
<file path=[Content_Types].xml><?xml version="1.0" encoding="utf-8"?>
<Types xmlns="http://schemas.openxmlformats.org/package/2006/content-types">
  <Default Extension="emf" ContentType="image/x-emf"/>
  <Default Extension="fntdata" ContentType="application/x-fontdata"/>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omments/modernComment_1382_A2AF1C3D.xml" ContentType="application/vnd.ms-powerpoint.comment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comments/modernComment_13A3_12FF8F9A.xml" ContentType="application/vnd.ms-powerpoint.comment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95.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tags/tag1.xml" ContentType="application/vnd.openxmlformats-officedocument.presentationml.tags+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63.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notesSlides/notesSlide175.xml" ContentType="application/vnd.openxmlformats-officedocument.presentationml.notesSlide+xml"/>
  <Override PartName="/ppt/comments/modernComment_7FFE55C8_3B67C8C6.xml" ContentType="application/vnd.ms-powerpoint.comments+xml"/>
  <Override PartName="/ppt/notesSlides/notesSlide176.xml" ContentType="application/vnd.openxmlformats-officedocument.presentationml.notesSlide+xml"/>
  <Override PartName="/ppt/notesSlides/notesSlide177.xml" ContentType="application/vnd.openxmlformats-officedocument.presentationml.notesSlide+xml"/>
  <Override PartName="/ppt/notesSlides/notesSlide178.xml" ContentType="application/vnd.openxmlformats-officedocument.presentationml.notesSlide+xml"/>
  <Override PartName="/ppt/notesSlides/notesSlide179.xml" ContentType="application/vnd.openxmlformats-officedocument.presentationml.notesSlide+xml"/>
  <Override PartName="/ppt/notesSlides/notesSlide180.xml" ContentType="application/vnd.openxmlformats-officedocument.presentationml.notesSlide+xml"/>
  <Override PartName="/ppt/notesSlides/notesSlide181.xml" ContentType="application/vnd.openxmlformats-officedocument.presentationml.notesSlide+xml"/>
  <Override PartName="/ppt/notesSlides/notesSlide182.xml" ContentType="application/vnd.openxmlformats-officedocument.presentationml.notesSlide+xml"/>
  <Override PartName="/ppt/notesSlides/notesSlide183.xml" ContentType="application/vnd.openxmlformats-officedocument.presentationml.notesSlide+xml"/>
  <Override PartName="/ppt/notesSlides/notesSlide184.xml" ContentType="application/vnd.openxmlformats-officedocument.presentationml.notesSlide+xml"/>
  <Override PartName="/ppt/notesSlides/notesSlide185.xml" ContentType="application/vnd.openxmlformats-officedocument.presentationml.notesSlide+xml"/>
  <Override PartName="/ppt/notesSlides/notesSlide186.xml" ContentType="application/vnd.openxmlformats-officedocument.presentationml.notesSlide+xml"/>
  <Override PartName="/ppt/notesSlides/notesSlide187.xml" ContentType="application/vnd.openxmlformats-officedocument.presentationml.notesSlide+xml"/>
  <Override PartName="/ppt/notesSlides/notesSlide188.xml" ContentType="application/vnd.openxmlformats-officedocument.presentationml.notesSlide+xml"/>
  <Override PartName="/ppt/notesSlides/notesSlide189.xml" ContentType="application/vnd.openxmlformats-officedocument.presentationml.notesSlide+xml"/>
  <Override PartName="/ppt/notesSlides/notesSlide190.xml" ContentType="application/vnd.openxmlformats-officedocument.presentationml.notesSlide+xml"/>
  <Override PartName="/ppt/notesSlides/notesSlide191.xml" ContentType="application/vnd.openxmlformats-officedocument.presentationml.notesSlide+xml"/>
  <Override PartName="/ppt/notesSlides/notesSlide192.xml" ContentType="application/vnd.openxmlformats-officedocument.presentationml.notesSlide+xml"/>
  <Override PartName="/ppt/notesSlides/notesSlide193.xml" ContentType="application/vnd.openxmlformats-officedocument.presentationml.notesSlide+xml"/>
  <Override PartName="/ppt/notesSlides/notesSlide194.xml" ContentType="application/vnd.openxmlformats-officedocument.presentationml.notesSlide+xml"/>
  <Override PartName="/ppt/notesSlides/notesSlide195.xml" ContentType="application/vnd.openxmlformats-officedocument.presentationml.notesSlide+xml"/>
  <Override PartName="/ppt/notesSlides/notesSlide196.xml" ContentType="application/vnd.openxmlformats-officedocument.presentationml.notesSlide+xml"/>
  <Override PartName="/ppt/notesSlides/notesSlide197.xml" ContentType="application/vnd.openxmlformats-officedocument.presentationml.notesSlide+xml"/>
  <Override PartName="/ppt/notesSlides/notesSlide198.xml" ContentType="application/vnd.openxmlformats-officedocument.presentationml.notesSlide+xml"/>
  <Override PartName="/ppt/notesSlides/notesSlide199.xml" ContentType="application/vnd.openxmlformats-officedocument.presentationml.notesSlide+xml"/>
  <Override PartName="/ppt/notesSlides/notesSlide200.xml" ContentType="application/vnd.openxmlformats-officedocument.presentationml.notesSlide+xml"/>
  <Override PartName="/ppt/notesSlides/notesSlide201.xml" ContentType="application/vnd.openxmlformats-officedocument.presentationml.notesSlide+xml"/>
  <Override PartName="/ppt/notesSlides/notesSlide202.xml" ContentType="application/vnd.openxmlformats-officedocument.presentationml.notesSlide+xml"/>
  <Override PartName="/ppt/notesSlides/notesSlide203.xml" ContentType="application/vnd.openxmlformats-officedocument.presentationml.notesSlide+xml"/>
  <Override PartName="/ppt/notesSlides/notesSlide204.xml" ContentType="application/vnd.openxmlformats-officedocument.presentationml.notesSlide+xml"/>
  <Override PartName="/ppt/notesSlides/notesSlide205.xml" ContentType="application/vnd.openxmlformats-officedocument.presentationml.notesSlide+xml"/>
  <Override PartName="/ppt/notesSlides/notesSlide206.xml" ContentType="application/vnd.openxmlformats-officedocument.presentationml.notesSlide+xml"/>
  <Override PartName="/ppt/notesSlides/notesSlide207.xml" ContentType="application/vnd.openxmlformats-officedocument.presentationml.notesSlide+xml"/>
  <Override PartName="/ppt/notesSlides/notesSlide208.xml" ContentType="application/vnd.openxmlformats-officedocument.presentationml.notesSlide+xml"/>
  <Override PartName="/ppt/notesSlides/notesSlide209.xml" ContentType="application/vnd.openxmlformats-officedocument.presentationml.notesSlide+xml"/>
  <Override PartName="/ppt/notesSlides/notesSlide210.xml" ContentType="application/vnd.openxmlformats-officedocument.presentationml.notesSlide+xml"/>
  <Override PartName="/ppt/notesSlides/notesSlide211.xml" ContentType="application/vnd.openxmlformats-officedocument.presentationml.notesSlide+xml"/>
  <Override PartName="/ppt/notesSlides/notesSlide212.xml" ContentType="application/vnd.openxmlformats-officedocument.presentationml.notesSlide+xml"/>
  <Override PartName="/ppt/notesSlides/notesSlide213.xml" ContentType="application/vnd.openxmlformats-officedocument.presentationml.notesSlide+xml"/>
  <Override PartName="/ppt/notesSlides/notesSlide214.xml" ContentType="application/vnd.openxmlformats-officedocument.presentationml.notesSlide+xml"/>
  <Override PartName="/ppt/notesSlides/notesSlide215.xml" ContentType="application/vnd.openxmlformats-officedocument.presentationml.notesSlide+xml"/>
  <Override PartName="/ppt/notesSlides/notesSlide216.xml" ContentType="application/vnd.openxmlformats-officedocument.presentationml.notesSlide+xml"/>
  <Override PartName="/ppt/notesSlides/notesSlide217.xml" ContentType="application/vnd.openxmlformats-officedocument.presentationml.notesSlide+xml"/>
  <Override PartName="/ppt/notesSlides/notesSlide218.xml" ContentType="application/vnd.openxmlformats-officedocument.presentationml.notesSlide+xml"/>
  <Override PartName="/ppt/notesSlides/notesSlide219.xml" ContentType="application/vnd.openxmlformats-officedocument.presentationml.notesSlide+xml"/>
  <Override PartName="/ppt/notesSlides/notesSlide220.xml" ContentType="application/vnd.openxmlformats-officedocument.presentationml.notesSlide+xml"/>
  <Override PartName="/ppt/notesSlides/notesSlide221.xml" ContentType="application/vnd.openxmlformats-officedocument.presentationml.notesSlide+xml"/>
  <Override PartName="/ppt/notesSlides/notesSlide222.xml" ContentType="application/vnd.openxmlformats-officedocument.presentationml.notesSlide+xml"/>
  <Override PartName="/ppt/notesSlides/notesSlide223.xml" ContentType="application/vnd.openxmlformats-officedocument.presentationml.notesSlide+xml"/>
  <Override PartName="/ppt/notesSlides/notesSlide224.xml" ContentType="application/vnd.openxmlformats-officedocument.presentationml.notesSlide+xml"/>
  <Override PartName="/ppt/notesSlides/notesSlide225.xml" ContentType="application/vnd.openxmlformats-officedocument.presentationml.notesSlide+xml"/>
  <Override PartName="/ppt/notesSlides/notesSlide226.xml" ContentType="application/vnd.openxmlformats-officedocument.presentationml.notesSlide+xml"/>
  <Override PartName="/ppt/notesSlides/notesSlide227.xml" ContentType="application/vnd.openxmlformats-officedocument.presentationml.notesSlide+xml"/>
  <Override PartName="/ppt/notesSlides/notesSlide228.xml" ContentType="application/vnd.openxmlformats-officedocument.presentationml.notesSlide+xml"/>
  <Override PartName="/ppt/notesSlides/notesSlide229.xml" ContentType="application/vnd.openxmlformats-officedocument.presentationml.notesSlide+xml"/>
  <Override PartName="/ppt/notesSlides/notesSlide230.xml" ContentType="application/vnd.openxmlformats-officedocument.presentationml.notesSlide+xml"/>
  <Override PartName="/ppt/notesSlides/notesSlide231.xml" ContentType="application/vnd.openxmlformats-officedocument.presentationml.notesSlide+xml"/>
  <Override PartName="/ppt/notesSlides/notesSlide232.xml" ContentType="application/vnd.openxmlformats-officedocument.presentationml.notesSlide+xml"/>
  <Override PartName="/ppt/notesSlides/notesSlide233.xml" ContentType="application/vnd.openxmlformats-officedocument.presentationml.notesSlide+xml"/>
  <Override PartName="/ppt/notesSlides/notesSlide234.xml" ContentType="application/vnd.openxmlformats-officedocument.presentationml.notesSlide+xml"/>
  <Override PartName="/ppt/notesSlides/notesSlide235.xml" ContentType="application/vnd.openxmlformats-officedocument.presentationml.notesSlide+xml"/>
  <Override PartName="/ppt/notesSlides/notesSlide236.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237.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238.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239.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240.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241.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notesSlides/notesSlide242.xml" ContentType="application/vnd.openxmlformats-officedocument.presentationml.notesSlide+xml"/>
  <Override PartName="/ppt/notesSlides/notesSlide243.xml" ContentType="application/vnd.openxmlformats-officedocument.presentationml.notesSlide+xml"/>
  <Override PartName="/ppt/notesSlides/notesSlide244.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bookmarkIdSeed="6">
  <p:sldMasterIdLst>
    <p:sldMasterId id="2147483648" r:id="rId4"/>
  </p:sldMasterIdLst>
  <p:notesMasterIdLst>
    <p:notesMasterId r:id="rId277"/>
  </p:notesMasterIdLst>
  <p:sldIdLst>
    <p:sldId id="5008" r:id="rId5"/>
    <p:sldId id="4905" r:id="rId6"/>
    <p:sldId id="4906" r:id="rId7"/>
    <p:sldId id="2147374523" r:id="rId8"/>
    <p:sldId id="2147374456" r:id="rId9"/>
    <p:sldId id="281" r:id="rId10"/>
    <p:sldId id="2147374473" r:id="rId11"/>
    <p:sldId id="295" r:id="rId12"/>
    <p:sldId id="4836" r:id="rId13"/>
    <p:sldId id="301" r:id="rId14"/>
    <p:sldId id="4900" r:id="rId15"/>
    <p:sldId id="4994" r:id="rId16"/>
    <p:sldId id="4870" r:id="rId17"/>
    <p:sldId id="4901" r:id="rId18"/>
    <p:sldId id="5112" r:id="rId19"/>
    <p:sldId id="5110" r:id="rId20"/>
    <p:sldId id="5111" r:id="rId21"/>
    <p:sldId id="5109" r:id="rId22"/>
    <p:sldId id="5108" r:id="rId23"/>
    <p:sldId id="4981" r:id="rId24"/>
    <p:sldId id="4983" r:id="rId25"/>
    <p:sldId id="4992" r:id="rId26"/>
    <p:sldId id="5011" r:id="rId27"/>
    <p:sldId id="5010" r:id="rId28"/>
    <p:sldId id="276" r:id="rId29"/>
    <p:sldId id="4907" r:id="rId30"/>
    <p:sldId id="4910" r:id="rId31"/>
    <p:sldId id="5107" r:id="rId32"/>
    <p:sldId id="5113" r:id="rId33"/>
    <p:sldId id="5012" r:id="rId34"/>
    <p:sldId id="5013" r:id="rId35"/>
    <p:sldId id="4997" r:id="rId36"/>
    <p:sldId id="5025" r:id="rId37"/>
    <p:sldId id="5026" r:id="rId38"/>
    <p:sldId id="5027" r:id="rId39"/>
    <p:sldId id="5036" r:id="rId40"/>
    <p:sldId id="5014" r:id="rId41"/>
    <p:sldId id="5114" r:id="rId42"/>
    <p:sldId id="5016" r:id="rId43"/>
    <p:sldId id="5028" r:id="rId44"/>
    <p:sldId id="5029" r:id="rId45"/>
    <p:sldId id="5038" r:id="rId46"/>
    <p:sldId id="5022" r:id="rId47"/>
    <p:sldId id="5115" r:id="rId48"/>
    <p:sldId id="5023" r:id="rId49"/>
    <p:sldId id="5024" r:id="rId50"/>
    <p:sldId id="5034" r:id="rId51"/>
    <p:sldId id="5035" r:id="rId52"/>
    <p:sldId id="5039" r:id="rId53"/>
    <p:sldId id="5017" r:id="rId54"/>
    <p:sldId id="4950" r:id="rId55"/>
    <p:sldId id="5018" r:id="rId56"/>
    <p:sldId id="5030" r:id="rId57"/>
    <p:sldId id="5031" r:id="rId58"/>
    <p:sldId id="5019" r:id="rId59"/>
    <p:sldId id="5020" r:id="rId60"/>
    <p:sldId id="5021" r:id="rId61"/>
    <p:sldId id="5032" r:id="rId62"/>
    <p:sldId id="5033" r:id="rId63"/>
    <p:sldId id="2147374474" r:id="rId64"/>
    <p:sldId id="2147374450" r:id="rId65"/>
    <p:sldId id="2147374451" r:id="rId66"/>
    <p:sldId id="2147374452" r:id="rId67"/>
    <p:sldId id="5116" r:id="rId68"/>
    <p:sldId id="4857" r:id="rId69"/>
    <p:sldId id="4861" r:id="rId70"/>
    <p:sldId id="4862" r:id="rId71"/>
    <p:sldId id="4844" r:id="rId72"/>
    <p:sldId id="4845" r:id="rId73"/>
    <p:sldId id="4859" r:id="rId74"/>
    <p:sldId id="4860" r:id="rId75"/>
    <p:sldId id="4846" r:id="rId76"/>
    <p:sldId id="4968" r:id="rId77"/>
    <p:sldId id="361" r:id="rId78"/>
    <p:sldId id="4964" r:id="rId79"/>
    <p:sldId id="4849" r:id="rId80"/>
    <p:sldId id="316" r:id="rId81"/>
    <p:sldId id="284" r:id="rId82"/>
    <p:sldId id="4993" r:id="rId83"/>
    <p:sldId id="5043" r:id="rId84"/>
    <p:sldId id="5044" r:id="rId85"/>
    <p:sldId id="5045" r:id="rId86"/>
    <p:sldId id="5046" r:id="rId87"/>
    <p:sldId id="5047" r:id="rId88"/>
    <p:sldId id="5097" r:id="rId89"/>
    <p:sldId id="4850" r:id="rId90"/>
    <p:sldId id="5096" r:id="rId91"/>
    <p:sldId id="5098" r:id="rId92"/>
    <p:sldId id="5099" r:id="rId93"/>
    <p:sldId id="5119" r:id="rId94"/>
    <p:sldId id="5000" r:id="rId95"/>
    <p:sldId id="5118" r:id="rId96"/>
    <p:sldId id="5001" r:id="rId97"/>
    <p:sldId id="5002" r:id="rId98"/>
    <p:sldId id="5003" r:id="rId99"/>
    <p:sldId id="5004" r:id="rId100"/>
    <p:sldId id="5005" r:id="rId101"/>
    <p:sldId id="5117" r:id="rId102"/>
    <p:sldId id="5007" r:id="rId103"/>
    <p:sldId id="5049" r:id="rId104"/>
    <p:sldId id="5051" r:id="rId105"/>
    <p:sldId id="5052" r:id="rId106"/>
    <p:sldId id="5053" r:id="rId107"/>
    <p:sldId id="5065" r:id="rId108"/>
    <p:sldId id="5066" r:id="rId109"/>
    <p:sldId id="5067" r:id="rId110"/>
    <p:sldId id="5068" r:id="rId111"/>
    <p:sldId id="5120" r:id="rId112"/>
    <p:sldId id="5070" r:id="rId113"/>
    <p:sldId id="4995" r:id="rId114"/>
    <p:sldId id="5071" r:id="rId115"/>
    <p:sldId id="5072" r:id="rId116"/>
    <p:sldId id="5073" r:id="rId117"/>
    <p:sldId id="5074" r:id="rId118"/>
    <p:sldId id="4985" r:id="rId119"/>
    <p:sldId id="5060" r:id="rId120"/>
    <p:sldId id="5061" r:id="rId121"/>
    <p:sldId id="2147374524" r:id="rId122"/>
    <p:sldId id="2147374471" r:id="rId123"/>
    <p:sldId id="292" r:id="rId124"/>
    <p:sldId id="4863" r:id="rId125"/>
    <p:sldId id="4794" r:id="rId126"/>
    <p:sldId id="5076" r:id="rId127"/>
    <p:sldId id="5075" r:id="rId128"/>
    <p:sldId id="5077" r:id="rId129"/>
    <p:sldId id="5079" r:id="rId130"/>
    <p:sldId id="5080" r:id="rId131"/>
    <p:sldId id="5081" r:id="rId132"/>
    <p:sldId id="5082" r:id="rId133"/>
    <p:sldId id="5083" r:id="rId134"/>
    <p:sldId id="5084" r:id="rId135"/>
    <p:sldId id="5085" r:id="rId136"/>
    <p:sldId id="5086" r:id="rId137"/>
    <p:sldId id="5087" r:id="rId138"/>
    <p:sldId id="5088" r:id="rId139"/>
    <p:sldId id="5090" r:id="rId140"/>
    <p:sldId id="5092" r:id="rId141"/>
    <p:sldId id="5093" r:id="rId142"/>
    <p:sldId id="4793" r:id="rId143"/>
    <p:sldId id="4801" r:id="rId144"/>
    <p:sldId id="2147374477" r:id="rId145"/>
    <p:sldId id="2147374481" r:id="rId146"/>
    <p:sldId id="2147374478" r:id="rId147"/>
    <p:sldId id="2147374479" r:id="rId148"/>
    <p:sldId id="2147374476" r:id="rId149"/>
    <p:sldId id="341" r:id="rId150"/>
    <p:sldId id="342" r:id="rId151"/>
    <p:sldId id="348" r:id="rId152"/>
    <p:sldId id="340" r:id="rId153"/>
    <p:sldId id="345" r:id="rId154"/>
    <p:sldId id="350" r:id="rId155"/>
    <p:sldId id="346" r:id="rId156"/>
    <p:sldId id="5064" r:id="rId157"/>
    <p:sldId id="5121" r:id="rId158"/>
    <p:sldId id="5059" r:id="rId159"/>
    <p:sldId id="5122" r:id="rId160"/>
    <p:sldId id="5123" r:id="rId161"/>
    <p:sldId id="5124" r:id="rId162"/>
    <p:sldId id="5126" r:id="rId163"/>
    <p:sldId id="5128" r:id="rId164"/>
    <p:sldId id="5129" r:id="rId165"/>
    <p:sldId id="5130" r:id="rId166"/>
    <p:sldId id="5131" r:id="rId167"/>
    <p:sldId id="275" r:id="rId168"/>
    <p:sldId id="4855" r:id="rId169"/>
    <p:sldId id="285" r:id="rId170"/>
    <p:sldId id="2147374453" r:id="rId171"/>
    <p:sldId id="2147374312" r:id="rId172"/>
    <p:sldId id="2147374521" r:id="rId173"/>
    <p:sldId id="2147374449" r:id="rId174"/>
    <p:sldId id="2147374351" r:id="rId175"/>
    <p:sldId id="2147374352" r:id="rId176"/>
    <p:sldId id="2147374348" r:id="rId177"/>
    <p:sldId id="2147374343" r:id="rId178"/>
    <p:sldId id="2147374520" r:id="rId179"/>
    <p:sldId id="2147374457" r:id="rId180"/>
    <p:sldId id="2147374355" r:id="rId181"/>
    <p:sldId id="2147374344" r:id="rId182"/>
    <p:sldId id="2147374458" r:id="rId183"/>
    <p:sldId id="2147374540" r:id="rId184"/>
    <p:sldId id="2147374543" r:id="rId185"/>
    <p:sldId id="2147374544" r:id="rId186"/>
    <p:sldId id="2147374519" r:id="rId187"/>
    <p:sldId id="2147374459" r:id="rId188"/>
    <p:sldId id="2147374532" r:id="rId189"/>
    <p:sldId id="2147374362" r:id="rId190"/>
    <p:sldId id="2147374517" r:id="rId191"/>
    <p:sldId id="2147374461" r:id="rId192"/>
    <p:sldId id="2147374464" r:id="rId193"/>
    <p:sldId id="2147374462" r:id="rId194"/>
    <p:sldId id="2147374463" r:id="rId195"/>
    <p:sldId id="2147374533" r:id="rId196"/>
    <p:sldId id="2147374534" r:id="rId197"/>
    <p:sldId id="2147374518" r:id="rId198"/>
    <p:sldId id="2147374467" r:id="rId199"/>
    <p:sldId id="2147374535" r:id="rId200"/>
    <p:sldId id="2147374536" r:id="rId201"/>
    <p:sldId id="2147374537" r:id="rId202"/>
    <p:sldId id="2147374522" r:id="rId203"/>
    <p:sldId id="269" r:id="rId204"/>
    <p:sldId id="2147374438" r:id="rId205"/>
    <p:sldId id="2147374439" r:id="rId206"/>
    <p:sldId id="4807" r:id="rId207"/>
    <p:sldId id="2147374506" r:id="rId208"/>
    <p:sldId id="2147374507" r:id="rId209"/>
    <p:sldId id="2147374410" r:id="rId210"/>
    <p:sldId id="2147374441" r:id="rId211"/>
    <p:sldId id="298" r:id="rId212"/>
    <p:sldId id="296" r:id="rId213"/>
    <p:sldId id="2147374526" r:id="rId214"/>
    <p:sldId id="2147374528" r:id="rId215"/>
    <p:sldId id="2147374442" r:id="rId216"/>
    <p:sldId id="2147374443" r:id="rId217"/>
    <p:sldId id="299" r:id="rId218"/>
    <p:sldId id="300" r:id="rId219"/>
    <p:sldId id="2147374510" r:id="rId220"/>
    <p:sldId id="2147374444" r:id="rId221"/>
    <p:sldId id="302" r:id="rId222"/>
    <p:sldId id="2147374435" r:id="rId223"/>
    <p:sldId id="2147374509" r:id="rId224"/>
    <p:sldId id="2147374317" r:id="rId225"/>
    <p:sldId id="2147374365" r:id="rId226"/>
    <p:sldId id="2147374371" r:id="rId227"/>
    <p:sldId id="2147374374" r:id="rId228"/>
    <p:sldId id="2147374431" r:id="rId229"/>
    <p:sldId id="2147374445" r:id="rId230"/>
    <p:sldId id="2147374525" r:id="rId231"/>
    <p:sldId id="2147374367" r:id="rId232"/>
    <p:sldId id="2147374446" r:id="rId233"/>
    <p:sldId id="2147374313" r:id="rId234"/>
    <p:sldId id="2147374314" r:id="rId235"/>
    <p:sldId id="2147374432" r:id="rId236"/>
    <p:sldId id="2147374377" r:id="rId237"/>
    <p:sldId id="2147374368" r:id="rId238"/>
    <p:sldId id="2147374447" r:id="rId239"/>
    <p:sldId id="2147374427" r:id="rId240"/>
    <p:sldId id="2147374448" r:id="rId241"/>
    <p:sldId id="2147374491" r:id="rId242"/>
    <p:sldId id="270" r:id="rId243"/>
    <p:sldId id="600" r:id="rId244"/>
    <p:sldId id="593" r:id="rId245"/>
    <p:sldId id="2147374553" r:id="rId246"/>
    <p:sldId id="596" r:id="rId247"/>
    <p:sldId id="602" r:id="rId248"/>
    <p:sldId id="597" r:id="rId249"/>
    <p:sldId id="2147374492" r:id="rId250"/>
    <p:sldId id="2147374494" r:id="rId251"/>
    <p:sldId id="2147374495" r:id="rId252"/>
    <p:sldId id="2147374496" r:id="rId253"/>
    <p:sldId id="2147374497" r:id="rId254"/>
    <p:sldId id="2147374541" r:id="rId255"/>
    <p:sldId id="2147374552" r:id="rId256"/>
    <p:sldId id="2147374546" r:id="rId257"/>
    <p:sldId id="2147374547" r:id="rId258"/>
    <p:sldId id="2147374548" r:id="rId259"/>
    <p:sldId id="2147374549" r:id="rId260"/>
    <p:sldId id="2147374550" r:id="rId261"/>
    <p:sldId id="2147374551" r:id="rId262"/>
    <p:sldId id="2147374498" r:id="rId263"/>
    <p:sldId id="2147374434" r:id="rId264"/>
    <p:sldId id="2147374328" r:id="rId265"/>
    <p:sldId id="2147374329" r:id="rId266"/>
    <p:sldId id="2147374330" r:id="rId267"/>
    <p:sldId id="2147374515" r:id="rId268"/>
    <p:sldId id="2147374514" r:id="rId269"/>
    <p:sldId id="2147374334" r:id="rId270"/>
    <p:sldId id="2147374516" r:id="rId271"/>
    <p:sldId id="2147374511" r:id="rId272"/>
    <p:sldId id="2147374554" r:id="rId273"/>
    <p:sldId id="2147374513" r:id="rId274"/>
    <p:sldId id="280" r:id="rId275"/>
    <p:sldId id="261" r:id="rId276"/>
  </p:sldIdLst>
  <p:sldSz cx="18288000" cy="10287000"/>
  <p:notesSz cx="6858000" cy="9144000"/>
  <p:embeddedFontLst>
    <p:embeddedFont>
      <p:font typeface="Avenir Next LT Pro" panose="020B0504020202020204" pitchFamily="34" charset="0"/>
      <p:regular r:id="rId278"/>
      <p:bold r:id="rId279"/>
      <p:italic r:id="rId280"/>
      <p:boldItalic r:id="rId281"/>
    </p:embeddedFont>
    <p:embeddedFont>
      <p:font typeface="Calibri" panose="020F0502020204030204" pitchFamily="34" charset="0"/>
      <p:regular r:id="rId282"/>
      <p:bold r:id="rId283"/>
      <p:italic r:id="rId284"/>
      <p:boldItalic r:id="rId285"/>
    </p:embeddedFont>
    <p:embeddedFont>
      <p:font typeface="Calibri Light" panose="020F0302020204030204" pitchFamily="34" charset="0"/>
      <p:regular r:id="rId286"/>
      <p:italic r:id="rId287"/>
    </p:embeddedFont>
    <p:embeddedFont>
      <p:font typeface="Cambria Math" panose="02040503050406030204" pitchFamily="18" charset="0"/>
      <p:regular r:id="rId288"/>
    </p:embeddedFont>
    <p:embeddedFont>
      <p:font typeface="Montserrat" panose="00000500000000000000" pitchFamily="2" charset="0"/>
      <p:regular r:id="rId289"/>
      <p:bold r:id="rId290"/>
      <p:italic r:id="rId291"/>
      <p:boldItalic r:id="rId292"/>
    </p:embeddedFont>
    <p:embeddedFont>
      <p:font typeface="OCR A Extended" panose="02010509020102010303" pitchFamily="50" charset="0"/>
      <p:regular r:id="rId293"/>
    </p:embeddedFont>
    <p:embeddedFont>
      <p:font typeface="Palatino Linotype" panose="02040502050505030304" pitchFamily="18" charset="0"/>
      <p:regular r:id="rId294"/>
      <p:bold r:id="rId295"/>
      <p:italic r:id="rId296"/>
      <p:boldItalic r:id="rId297"/>
    </p:embeddedFont>
    <p:embeddedFont>
      <p:font typeface="Roboto" panose="02000000000000000000" pitchFamily="2" charset="0"/>
      <p:regular r:id="rId298"/>
      <p:bold r:id="rId299"/>
      <p:italic r:id="rId300"/>
      <p:boldItalic r:id="rId301"/>
    </p:embeddedFont>
    <p:embeddedFont>
      <p:font typeface="Segoe UI" panose="020B0502040204020203" pitchFamily="34" charset="0"/>
      <p:regular r:id="rId302"/>
      <p:bold r:id="rId303"/>
      <p:italic r:id="rId304"/>
      <p:boldItalic r:id="rId305"/>
    </p:embeddedFont>
    <p:embeddedFont>
      <p:font typeface="Tenorite" panose="00000500000000000000" pitchFamily="2" charset="0"/>
      <p:regular r:id="rId306"/>
      <p:bold r:id="rId307"/>
      <p:italic r:id="rId308"/>
      <p:boldItalic r:id="rId309"/>
    </p:embeddedFont>
    <p:embeddedFont>
      <p:font typeface="Trebuchet MS" panose="020B0603020202020204" pitchFamily="34" charset="0"/>
      <p:regular r:id="rId310"/>
      <p:bold r:id="rId311"/>
      <p:italic r:id="rId312"/>
      <p:boldItalic r:id="rId313"/>
    </p:embeddedFont>
    <p:embeddedFont>
      <p:font typeface="Univers" panose="020B0503020202020204" pitchFamily="34" charset="0"/>
      <p:regular r:id="rId314"/>
      <p:bold r:id="rId315"/>
    </p:embeddedFont>
    <p:embeddedFont>
      <p:font typeface="Verdana" panose="020B0604030504040204" pitchFamily="34" charset="0"/>
      <p:regular r:id="rId316"/>
      <p:bold r:id="rId317"/>
      <p:italic r:id="rId318"/>
      <p:boldItalic r:id="rId319"/>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818217FC-A71B-46BF-915C-FD76A17FEC91}">
          <p14:sldIdLst>
            <p14:sldId id="5008"/>
            <p14:sldId id="4905"/>
            <p14:sldId id="4906"/>
            <p14:sldId id="2147374523"/>
            <p14:sldId id="2147374456"/>
          </p14:sldIdLst>
        </p14:section>
        <p14:section name="Chapter 1" id="{588BB92D-5629-4FCA-B9FF-36673075F0A9}">
          <p14:sldIdLst>
            <p14:sldId id="281"/>
            <p14:sldId id="2147374473"/>
            <p14:sldId id="295"/>
            <p14:sldId id="4836"/>
            <p14:sldId id="301"/>
            <p14:sldId id="4900"/>
            <p14:sldId id="4994"/>
            <p14:sldId id="4870"/>
            <p14:sldId id="4901"/>
            <p14:sldId id="5112"/>
            <p14:sldId id="5110"/>
            <p14:sldId id="5111"/>
            <p14:sldId id="5109"/>
            <p14:sldId id="5108"/>
            <p14:sldId id="4981"/>
          </p14:sldIdLst>
        </p14:section>
        <p14:section name="Chapter 2" id="{392DACAD-FBA5-4AF7-8CD6-00E845D64A4F}">
          <p14:sldIdLst>
            <p14:sldId id="4983"/>
            <p14:sldId id="4992"/>
            <p14:sldId id="5011"/>
            <p14:sldId id="5010"/>
            <p14:sldId id="276"/>
            <p14:sldId id="4907"/>
            <p14:sldId id="4910"/>
            <p14:sldId id="5107"/>
            <p14:sldId id="5113"/>
            <p14:sldId id="5012"/>
            <p14:sldId id="5013"/>
            <p14:sldId id="4997"/>
            <p14:sldId id="5025"/>
            <p14:sldId id="5026"/>
            <p14:sldId id="5027"/>
            <p14:sldId id="5036"/>
            <p14:sldId id="5014"/>
            <p14:sldId id="5114"/>
            <p14:sldId id="5016"/>
            <p14:sldId id="5028"/>
            <p14:sldId id="5029"/>
            <p14:sldId id="5038"/>
            <p14:sldId id="5022"/>
            <p14:sldId id="5115"/>
            <p14:sldId id="5023"/>
            <p14:sldId id="5024"/>
            <p14:sldId id="5034"/>
            <p14:sldId id="5035"/>
            <p14:sldId id="5039"/>
            <p14:sldId id="5017"/>
            <p14:sldId id="4950"/>
            <p14:sldId id="5018"/>
            <p14:sldId id="5030"/>
            <p14:sldId id="5031"/>
            <p14:sldId id="5019"/>
            <p14:sldId id="5020"/>
            <p14:sldId id="5021"/>
            <p14:sldId id="5032"/>
            <p14:sldId id="5033"/>
            <p14:sldId id="2147374474"/>
          </p14:sldIdLst>
        </p14:section>
        <p14:section name="Chapter 3" id="{AA7F2A8A-D825-421C-94AE-5E2A4E1097CF}">
          <p14:sldIdLst>
            <p14:sldId id="2147374450"/>
            <p14:sldId id="2147374451"/>
            <p14:sldId id="2147374452"/>
            <p14:sldId id="5116"/>
            <p14:sldId id="4857"/>
            <p14:sldId id="4861"/>
            <p14:sldId id="4862"/>
            <p14:sldId id="4844"/>
            <p14:sldId id="4845"/>
            <p14:sldId id="4859"/>
            <p14:sldId id="4860"/>
            <p14:sldId id="4846"/>
            <p14:sldId id="4968"/>
            <p14:sldId id="361"/>
            <p14:sldId id="4964"/>
            <p14:sldId id="4849"/>
            <p14:sldId id="316"/>
          </p14:sldIdLst>
        </p14:section>
        <p14:section name="Chapter 4" id="{1E29E723-C377-4D30-91EC-B9F85A7036BD}">
          <p14:sldIdLst>
            <p14:sldId id="284"/>
            <p14:sldId id="4993"/>
            <p14:sldId id="5043"/>
            <p14:sldId id="5044"/>
            <p14:sldId id="5045"/>
            <p14:sldId id="5046"/>
            <p14:sldId id="5047"/>
            <p14:sldId id="5097"/>
            <p14:sldId id="4850"/>
            <p14:sldId id="5096"/>
            <p14:sldId id="5098"/>
            <p14:sldId id="5099"/>
            <p14:sldId id="5119"/>
            <p14:sldId id="5000"/>
            <p14:sldId id="5118"/>
            <p14:sldId id="5001"/>
            <p14:sldId id="5002"/>
            <p14:sldId id="5003"/>
            <p14:sldId id="5004"/>
            <p14:sldId id="5005"/>
            <p14:sldId id="5117"/>
            <p14:sldId id="5007"/>
            <p14:sldId id="5049"/>
            <p14:sldId id="5051"/>
            <p14:sldId id="5052"/>
            <p14:sldId id="5053"/>
            <p14:sldId id="5065"/>
            <p14:sldId id="5066"/>
            <p14:sldId id="5067"/>
            <p14:sldId id="5068"/>
            <p14:sldId id="5120"/>
            <p14:sldId id="5070"/>
            <p14:sldId id="4995"/>
            <p14:sldId id="5071"/>
            <p14:sldId id="5072"/>
            <p14:sldId id="5073"/>
            <p14:sldId id="5074"/>
            <p14:sldId id="4985"/>
            <p14:sldId id="5060"/>
          </p14:sldIdLst>
        </p14:section>
        <p14:section name="Chapter 5" id="{DECBB249-2EB3-47B0-9641-B96E4CC50082}">
          <p14:sldIdLst>
            <p14:sldId id="5061"/>
            <p14:sldId id="2147374524"/>
            <p14:sldId id="2147374471"/>
            <p14:sldId id="292"/>
            <p14:sldId id="4863"/>
            <p14:sldId id="4794"/>
            <p14:sldId id="5076"/>
            <p14:sldId id="5075"/>
            <p14:sldId id="5077"/>
            <p14:sldId id="5079"/>
            <p14:sldId id="5080"/>
            <p14:sldId id="5081"/>
            <p14:sldId id="5082"/>
            <p14:sldId id="5083"/>
            <p14:sldId id="5084"/>
            <p14:sldId id="5085"/>
            <p14:sldId id="5086"/>
            <p14:sldId id="5087"/>
            <p14:sldId id="5088"/>
            <p14:sldId id="5090"/>
            <p14:sldId id="5092"/>
            <p14:sldId id="5093"/>
            <p14:sldId id="4793"/>
            <p14:sldId id="4801"/>
            <p14:sldId id="2147374477"/>
            <p14:sldId id="2147374481"/>
            <p14:sldId id="2147374478"/>
            <p14:sldId id="2147374479"/>
            <p14:sldId id="2147374476"/>
            <p14:sldId id="341"/>
            <p14:sldId id="342"/>
            <p14:sldId id="348"/>
            <p14:sldId id="340"/>
            <p14:sldId id="345"/>
            <p14:sldId id="350"/>
            <p14:sldId id="346"/>
            <p14:sldId id="5064"/>
            <p14:sldId id="5121"/>
            <p14:sldId id="5059"/>
            <p14:sldId id="5122"/>
            <p14:sldId id="5123"/>
            <p14:sldId id="5124"/>
            <p14:sldId id="5126"/>
            <p14:sldId id="5128"/>
            <p14:sldId id="5129"/>
            <p14:sldId id="5130"/>
            <p14:sldId id="5131"/>
            <p14:sldId id="275"/>
            <p14:sldId id="4855"/>
          </p14:sldIdLst>
        </p14:section>
        <p14:section name="Chapter 6" id="{3811C67A-1F4B-46E8-9833-03DADB6B4296}">
          <p14:sldIdLst>
            <p14:sldId id="285"/>
          </p14:sldIdLst>
        </p14:section>
        <p14:section name="Chapter 6.1" id="{00CAA76F-DB36-4ACA-9828-669D2BFA6F53}">
          <p14:sldIdLst>
            <p14:sldId id="2147374453"/>
            <p14:sldId id="2147374312"/>
            <p14:sldId id="2147374521"/>
            <p14:sldId id="2147374449"/>
            <p14:sldId id="2147374351"/>
            <p14:sldId id="2147374352"/>
            <p14:sldId id="2147374348"/>
            <p14:sldId id="2147374343"/>
            <p14:sldId id="2147374520"/>
            <p14:sldId id="2147374457"/>
            <p14:sldId id="2147374355"/>
            <p14:sldId id="2147374344"/>
            <p14:sldId id="2147374458"/>
            <p14:sldId id="2147374540"/>
            <p14:sldId id="2147374543"/>
            <p14:sldId id="2147374544"/>
            <p14:sldId id="2147374519"/>
            <p14:sldId id="2147374459"/>
            <p14:sldId id="2147374532"/>
            <p14:sldId id="2147374362"/>
            <p14:sldId id="2147374517"/>
            <p14:sldId id="2147374461"/>
            <p14:sldId id="2147374464"/>
            <p14:sldId id="2147374462"/>
            <p14:sldId id="2147374463"/>
            <p14:sldId id="2147374533"/>
            <p14:sldId id="2147374534"/>
            <p14:sldId id="2147374518"/>
            <p14:sldId id="2147374467"/>
            <p14:sldId id="2147374535"/>
            <p14:sldId id="2147374536"/>
            <p14:sldId id="2147374537"/>
            <p14:sldId id="2147374522"/>
            <p14:sldId id="269"/>
          </p14:sldIdLst>
        </p14:section>
        <p14:section name="Chapter 6.2" id="{56B223DA-B605-4BF7-A9F7-B97276C9F447}">
          <p14:sldIdLst>
            <p14:sldId id="2147374438"/>
            <p14:sldId id="2147374439"/>
            <p14:sldId id="4807"/>
            <p14:sldId id="2147374506"/>
            <p14:sldId id="2147374507"/>
            <p14:sldId id="2147374410"/>
            <p14:sldId id="2147374441"/>
            <p14:sldId id="298"/>
            <p14:sldId id="296"/>
            <p14:sldId id="2147374526"/>
            <p14:sldId id="2147374528"/>
            <p14:sldId id="2147374442"/>
            <p14:sldId id="2147374443"/>
            <p14:sldId id="299"/>
            <p14:sldId id="300"/>
            <p14:sldId id="2147374510"/>
            <p14:sldId id="2147374444"/>
            <p14:sldId id="302"/>
            <p14:sldId id="2147374435"/>
            <p14:sldId id="2147374509"/>
          </p14:sldIdLst>
        </p14:section>
        <p14:section name="Chapter 6.3" id="{8DE3ACC8-4694-4889-B4F8-8396A51FEC94}">
          <p14:sldIdLst>
            <p14:sldId id="2147374317"/>
            <p14:sldId id="2147374365"/>
            <p14:sldId id="2147374371"/>
            <p14:sldId id="2147374374"/>
            <p14:sldId id="2147374431"/>
            <p14:sldId id="2147374445"/>
            <p14:sldId id="2147374525"/>
            <p14:sldId id="2147374367"/>
            <p14:sldId id="2147374446"/>
            <p14:sldId id="2147374313"/>
            <p14:sldId id="2147374314"/>
            <p14:sldId id="2147374432"/>
            <p14:sldId id="2147374377"/>
            <p14:sldId id="2147374368"/>
            <p14:sldId id="2147374447"/>
            <p14:sldId id="2147374427"/>
          </p14:sldIdLst>
        </p14:section>
        <p14:section name="Chapter 6.4" id="{2B5B3A54-373D-4BAF-AF85-1C7D1ED033D2}">
          <p14:sldIdLst>
            <p14:sldId id="2147374448"/>
            <p14:sldId id="2147374491"/>
            <p14:sldId id="270"/>
            <p14:sldId id="600"/>
            <p14:sldId id="593"/>
            <p14:sldId id="2147374553"/>
            <p14:sldId id="596"/>
            <p14:sldId id="602"/>
            <p14:sldId id="597"/>
            <p14:sldId id="2147374492"/>
            <p14:sldId id="2147374494"/>
            <p14:sldId id="2147374495"/>
            <p14:sldId id="2147374496"/>
            <p14:sldId id="2147374497"/>
            <p14:sldId id="2147374541"/>
            <p14:sldId id="2147374552"/>
            <p14:sldId id="2147374546"/>
            <p14:sldId id="2147374547"/>
            <p14:sldId id="2147374548"/>
            <p14:sldId id="2147374549"/>
            <p14:sldId id="2147374550"/>
            <p14:sldId id="2147374551"/>
            <p14:sldId id="2147374498"/>
            <p14:sldId id="2147374434"/>
            <p14:sldId id="2147374328"/>
            <p14:sldId id="2147374329"/>
            <p14:sldId id="2147374330"/>
            <p14:sldId id="2147374515"/>
            <p14:sldId id="2147374514"/>
            <p14:sldId id="2147374334"/>
            <p14:sldId id="2147374516"/>
            <p14:sldId id="2147374511"/>
            <p14:sldId id="2147374554"/>
            <p14:sldId id="2147374513"/>
            <p14:sldId id="280"/>
            <p14:sldId id="261"/>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633F207-23B0-667B-4F8E-94393D03BAC4}" name="Benjamin Storm" initials="BS" userId="S::Benjamin.Storm@ivl.se::773a9a3e-4452-4e3d-aad6-3be02b8c7d57" providerId="AD"/>
  <p188:author id="{A1B43415-2D16-E1EE-01D3-2F0F40336A2D}" name="Nina Chi Johansson" initials="NCJ" userId="S::Nina.ChiJohansson@ivl.se::2815022e-dd7e-4385-9e61-0550dfa579d0" providerId="AD"/>
  <p188:author id="{88AD812A-CC40-71E1-51B1-3BDF62DAC7F6}" name="Olga Lysenko" initials="OL" userId="S::Olga.Lysenko@ivl.se::cdb40ec6-8923-4077-8b2c-47a39c332ef3" providerId="AD"/>
  <p188:author id="{E2B64647-D328-1A5C-555A-690D0CF2D9F7}" name="Diego Redondo Taberner" initials="DRT" userId="S::dredondo@fcirce.es::b2b68f25-d5d0-4875-b8a5-959896694530" providerId="AD"/>
  <p188:author id="{2F3CCE79-5A04-09C1-3D90-1C6D808EAF9C}" name="Maria Hernández Leal" initials="MHL" userId="S::Maria.Hernandez.Leal@ivl.se::0fe61b02-3aae-4976-9ae9-d4859552705c" providerId="AD"/>
  <p188:author id="{27A6E5A0-A681-456B-7339-51D21A65F7B0}" name="Pavinee Hasselberg" initials="PH" userId="S::Pavinee.Hasselberg@ivl.se::f8ef335e-8621-4ebe-bf64-20b69caf4444" providerId="AD"/>
  <p188:author id="{A88358EB-7095-594D-0A6A-7A18786A38F2}" name="Aditi Bhasin" initials="AB" userId="S::aditi.bhasin@ivl.se::f744b9b1-c09d-4e70-8994-a945e087ae7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9CC99"/>
    <a:srgbClr val="CC003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0E5FE13-FE4E-4AF1-AE76-C87846F20201}" v="1" dt="2023-10-26T10:12:06.637"/>
  </p1510:revLst>
</p1510:revInfo>
</file>

<file path=ppt/tableStyles.xml><?xml version="1.0" encoding="utf-8"?>
<a:tblStyleLst xmlns:a="http://schemas.openxmlformats.org/drawingml/2006/main" def="{5C22544A-7EE6-4342-B048-85BDC9FD1C3A}">
  <a:tblStyle styleId="{5C22544A-7EE6-4342-B048-85BDC9FD1C3A}" styleName="Stile medio 2 - Color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21E4AEA4-8DFA-4A89-87EB-49C32662AFE0}" styleName="Mellanmörkt format 2 - Dekorfärg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1063" autoAdjust="0"/>
    <p:restoredTop sz="77556" autoAdjust="0"/>
  </p:normalViewPr>
  <p:slideViewPr>
    <p:cSldViewPr snapToGrid="0">
      <p:cViewPr varScale="1">
        <p:scale>
          <a:sx n="59" d="100"/>
          <a:sy n="59" d="100"/>
        </p:scale>
        <p:origin x="1122" y="84"/>
      </p:cViewPr>
      <p:guideLst>
        <p:guide orient="horz" pos="2160"/>
        <p:guide pos="2880"/>
      </p:guideLst>
    </p:cSldViewPr>
  </p:slideViewPr>
  <p:outlineViewPr>
    <p:cViewPr>
      <p:scale>
        <a:sx n="33" d="100"/>
        <a:sy n="33" d="100"/>
      </p:scale>
      <p:origin x="0" y="-4515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3.xml"/><Relationship Id="rId299" Type="http://schemas.openxmlformats.org/officeDocument/2006/relationships/font" Target="fonts/font22.fntdata"/><Relationship Id="rId21" Type="http://schemas.openxmlformats.org/officeDocument/2006/relationships/slide" Target="slides/slide17.xml"/><Relationship Id="rId63" Type="http://schemas.openxmlformats.org/officeDocument/2006/relationships/slide" Target="slides/slide59.xml"/><Relationship Id="rId159" Type="http://schemas.openxmlformats.org/officeDocument/2006/relationships/slide" Target="slides/slide155.xml"/><Relationship Id="rId324" Type="http://schemas.microsoft.com/office/2015/10/relationships/revisionInfo" Target="revisionInfo.xml"/><Relationship Id="rId170" Type="http://schemas.openxmlformats.org/officeDocument/2006/relationships/slide" Target="slides/slide166.xml"/><Relationship Id="rId226" Type="http://schemas.openxmlformats.org/officeDocument/2006/relationships/slide" Target="slides/slide222.xml"/><Relationship Id="rId268" Type="http://schemas.openxmlformats.org/officeDocument/2006/relationships/slide" Target="slides/slide264.xml"/><Relationship Id="rId32" Type="http://schemas.openxmlformats.org/officeDocument/2006/relationships/slide" Target="slides/slide28.xml"/><Relationship Id="rId74" Type="http://schemas.openxmlformats.org/officeDocument/2006/relationships/slide" Target="slides/slide70.xml"/><Relationship Id="rId128" Type="http://schemas.openxmlformats.org/officeDocument/2006/relationships/slide" Target="slides/slide124.xml"/><Relationship Id="rId5" Type="http://schemas.openxmlformats.org/officeDocument/2006/relationships/slide" Target="slides/slide1.xml"/><Relationship Id="rId181" Type="http://schemas.openxmlformats.org/officeDocument/2006/relationships/slide" Target="slides/slide177.xml"/><Relationship Id="rId237" Type="http://schemas.openxmlformats.org/officeDocument/2006/relationships/slide" Target="slides/slide233.xml"/><Relationship Id="rId279" Type="http://schemas.openxmlformats.org/officeDocument/2006/relationships/font" Target="fonts/font2.fntdata"/><Relationship Id="rId43" Type="http://schemas.openxmlformats.org/officeDocument/2006/relationships/slide" Target="slides/slide39.xml"/><Relationship Id="rId139" Type="http://schemas.openxmlformats.org/officeDocument/2006/relationships/slide" Target="slides/slide135.xml"/><Relationship Id="rId290" Type="http://schemas.openxmlformats.org/officeDocument/2006/relationships/font" Target="fonts/font13.fntdata"/><Relationship Id="rId304" Type="http://schemas.openxmlformats.org/officeDocument/2006/relationships/font" Target="fonts/font27.fntdata"/><Relationship Id="rId85" Type="http://schemas.openxmlformats.org/officeDocument/2006/relationships/slide" Target="slides/slide81.xml"/><Relationship Id="rId150" Type="http://schemas.openxmlformats.org/officeDocument/2006/relationships/slide" Target="slides/slide146.xml"/><Relationship Id="rId192" Type="http://schemas.openxmlformats.org/officeDocument/2006/relationships/slide" Target="slides/slide188.xml"/><Relationship Id="rId206" Type="http://schemas.openxmlformats.org/officeDocument/2006/relationships/slide" Target="slides/slide202.xml"/><Relationship Id="rId248" Type="http://schemas.openxmlformats.org/officeDocument/2006/relationships/slide" Target="slides/slide244.xml"/><Relationship Id="rId12" Type="http://schemas.openxmlformats.org/officeDocument/2006/relationships/slide" Target="slides/slide8.xml"/><Relationship Id="rId108" Type="http://schemas.openxmlformats.org/officeDocument/2006/relationships/slide" Target="slides/slide104.xml"/><Relationship Id="rId315" Type="http://schemas.openxmlformats.org/officeDocument/2006/relationships/font" Target="fonts/font38.fntdata"/><Relationship Id="rId54" Type="http://schemas.openxmlformats.org/officeDocument/2006/relationships/slide" Target="slides/slide50.xml"/><Relationship Id="rId96" Type="http://schemas.openxmlformats.org/officeDocument/2006/relationships/slide" Target="slides/slide92.xml"/><Relationship Id="rId161" Type="http://schemas.openxmlformats.org/officeDocument/2006/relationships/slide" Target="slides/slide157.xml"/><Relationship Id="rId217" Type="http://schemas.openxmlformats.org/officeDocument/2006/relationships/slide" Target="slides/slide213.xml"/><Relationship Id="rId259" Type="http://schemas.openxmlformats.org/officeDocument/2006/relationships/slide" Target="slides/slide255.xml"/><Relationship Id="rId23" Type="http://schemas.openxmlformats.org/officeDocument/2006/relationships/slide" Target="slides/slide19.xml"/><Relationship Id="rId119" Type="http://schemas.openxmlformats.org/officeDocument/2006/relationships/slide" Target="slides/slide115.xml"/><Relationship Id="rId270" Type="http://schemas.openxmlformats.org/officeDocument/2006/relationships/slide" Target="slides/slide266.xml"/><Relationship Id="rId65" Type="http://schemas.openxmlformats.org/officeDocument/2006/relationships/slide" Target="slides/slide61.xml"/><Relationship Id="rId130" Type="http://schemas.openxmlformats.org/officeDocument/2006/relationships/slide" Target="slides/slide126.xml"/><Relationship Id="rId172" Type="http://schemas.openxmlformats.org/officeDocument/2006/relationships/slide" Target="slides/slide168.xml"/><Relationship Id="rId228" Type="http://schemas.openxmlformats.org/officeDocument/2006/relationships/slide" Target="slides/slide224.xml"/><Relationship Id="rId281" Type="http://schemas.openxmlformats.org/officeDocument/2006/relationships/font" Target="fonts/font4.fntdata"/><Relationship Id="rId34" Type="http://schemas.openxmlformats.org/officeDocument/2006/relationships/slide" Target="slides/slide30.xml"/><Relationship Id="rId76" Type="http://schemas.openxmlformats.org/officeDocument/2006/relationships/slide" Target="slides/slide72.xml"/><Relationship Id="rId141" Type="http://schemas.openxmlformats.org/officeDocument/2006/relationships/slide" Target="slides/slide137.xml"/><Relationship Id="rId7" Type="http://schemas.openxmlformats.org/officeDocument/2006/relationships/slide" Target="slides/slide3.xml"/><Relationship Id="rId162" Type="http://schemas.openxmlformats.org/officeDocument/2006/relationships/slide" Target="slides/slide158.xml"/><Relationship Id="rId183" Type="http://schemas.openxmlformats.org/officeDocument/2006/relationships/slide" Target="slides/slide179.xml"/><Relationship Id="rId218" Type="http://schemas.openxmlformats.org/officeDocument/2006/relationships/slide" Target="slides/slide214.xml"/><Relationship Id="rId239" Type="http://schemas.openxmlformats.org/officeDocument/2006/relationships/slide" Target="slides/slide235.xml"/><Relationship Id="rId250" Type="http://schemas.openxmlformats.org/officeDocument/2006/relationships/slide" Target="slides/slide246.xml"/><Relationship Id="rId271" Type="http://schemas.openxmlformats.org/officeDocument/2006/relationships/slide" Target="slides/slide267.xml"/><Relationship Id="rId292" Type="http://schemas.openxmlformats.org/officeDocument/2006/relationships/font" Target="fonts/font15.fntdata"/><Relationship Id="rId306" Type="http://schemas.openxmlformats.org/officeDocument/2006/relationships/font" Target="fonts/font29.fntdata"/><Relationship Id="rId24" Type="http://schemas.openxmlformats.org/officeDocument/2006/relationships/slide" Target="slides/slide20.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31" Type="http://schemas.openxmlformats.org/officeDocument/2006/relationships/slide" Target="slides/slide127.xml"/><Relationship Id="rId152" Type="http://schemas.openxmlformats.org/officeDocument/2006/relationships/slide" Target="slides/slide148.xml"/><Relationship Id="rId173" Type="http://schemas.openxmlformats.org/officeDocument/2006/relationships/slide" Target="slides/slide169.xml"/><Relationship Id="rId194" Type="http://schemas.openxmlformats.org/officeDocument/2006/relationships/slide" Target="slides/slide190.xml"/><Relationship Id="rId208" Type="http://schemas.openxmlformats.org/officeDocument/2006/relationships/slide" Target="slides/slide204.xml"/><Relationship Id="rId229" Type="http://schemas.openxmlformats.org/officeDocument/2006/relationships/slide" Target="slides/slide225.xml"/><Relationship Id="rId240" Type="http://schemas.openxmlformats.org/officeDocument/2006/relationships/slide" Target="slides/slide236.xml"/><Relationship Id="rId261" Type="http://schemas.openxmlformats.org/officeDocument/2006/relationships/slide" Target="slides/slide257.xml"/><Relationship Id="rId14" Type="http://schemas.openxmlformats.org/officeDocument/2006/relationships/slide" Target="slides/slide10.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282" Type="http://schemas.openxmlformats.org/officeDocument/2006/relationships/font" Target="fonts/font5.fntdata"/><Relationship Id="rId317" Type="http://schemas.openxmlformats.org/officeDocument/2006/relationships/font" Target="fonts/font40.fntdata"/><Relationship Id="rId8" Type="http://schemas.openxmlformats.org/officeDocument/2006/relationships/slide" Target="slides/slide4.xml"/><Relationship Id="rId98" Type="http://schemas.openxmlformats.org/officeDocument/2006/relationships/slide" Target="slides/slide94.xml"/><Relationship Id="rId121" Type="http://schemas.openxmlformats.org/officeDocument/2006/relationships/slide" Target="slides/slide117.xml"/><Relationship Id="rId142" Type="http://schemas.openxmlformats.org/officeDocument/2006/relationships/slide" Target="slides/slide138.xml"/><Relationship Id="rId163" Type="http://schemas.openxmlformats.org/officeDocument/2006/relationships/slide" Target="slides/slide159.xml"/><Relationship Id="rId184" Type="http://schemas.openxmlformats.org/officeDocument/2006/relationships/slide" Target="slides/slide180.xml"/><Relationship Id="rId219" Type="http://schemas.openxmlformats.org/officeDocument/2006/relationships/slide" Target="slides/slide215.xml"/><Relationship Id="rId230" Type="http://schemas.openxmlformats.org/officeDocument/2006/relationships/slide" Target="slides/slide226.xml"/><Relationship Id="rId251" Type="http://schemas.openxmlformats.org/officeDocument/2006/relationships/slide" Target="slides/slide247.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272" Type="http://schemas.openxmlformats.org/officeDocument/2006/relationships/slide" Target="slides/slide268.xml"/><Relationship Id="rId293" Type="http://schemas.openxmlformats.org/officeDocument/2006/relationships/font" Target="fonts/font16.fntdata"/><Relationship Id="rId307" Type="http://schemas.openxmlformats.org/officeDocument/2006/relationships/font" Target="fonts/font30.fntdata"/><Relationship Id="rId88" Type="http://schemas.openxmlformats.org/officeDocument/2006/relationships/slide" Target="slides/slide84.xml"/><Relationship Id="rId111" Type="http://schemas.openxmlformats.org/officeDocument/2006/relationships/slide" Target="slides/slide107.xml"/><Relationship Id="rId132" Type="http://schemas.openxmlformats.org/officeDocument/2006/relationships/slide" Target="slides/slide128.xml"/><Relationship Id="rId153" Type="http://schemas.openxmlformats.org/officeDocument/2006/relationships/slide" Target="slides/slide149.xml"/><Relationship Id="rId174" Type="http://schemas.openxmlformats.org/officeDocument/2006/relationships/slide" Target="slides/slide170.xml"/><Relationship Id="rId195" Type="http://schemas.openxmlformats.org/officeDocument/2006/relationships/slide" Target="slides/slide191.xml"/><Relationship Id="rId209" Type="http://schemas.openxmlformats.org/officeDocument/2006/relationships/slide" Target="slides/slide205.xml"/><Relationship Id="rId220" Type="http://schemas.openxmlformats.org/officeDocument/2006/relationships/slide" Target="slides/slide216.xml"/><Relationship Id="rId241" Type="http://schemas.openxmlformats.org/officeDocument/2006/relationships/slide" Target="slides/slide237.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262" Type="http://schemas.openxmlformats.org/officeDocument/2006/relationships/slide" Target="slides/slide258.xml"/><Relationship Id="rId283" Type="http://schemas.openxmlformats.org/officeDocument/2006/relationships/font" Target="fonts/font6.fntdata"/><Relationship Id="rId318" Type="http://schemas.openxmlformats.org/officeDocument/2006/relationships/font" Target="fonts/font41.fntdata"/><Relationship Id="rId78" Type="http://schemas.openxmlformats.org/officeDocument/2006/relationships/slide" Target="slides/slide74.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43" Type="http://schemas.openxmlformats.org/officeDocument/2006/relationships/slide" Target="slides/slide139.xml"/><Relationship Id="rId164" Type="http://schemas.openxmlformats.org/officeDocument/2006/relationships/slide" Target="slides/slide160.xml"/><Relationship Id="rId185" Type="http://schemas.openxmlformats.org/officeDocument/2006/relationships/slide" Target="slides/slide181.xml"/><Relationship Id="rId9" Type="http://schemas.openxmlformats.org/officeDocument/2006/relationships/slide" Target="slides/slide5.xml"/><Relationship Id="rId210" Type="http://schemas.openxmlformats.org/officeDocument/2006/relationships/slide" Target="slides/slide206.xml"/><Relationship Id="rId26" Type="http://schemas.openxmlformats.org/officeDocument/2006/relationships/slide" Target="slides/slide22.xml"/><Relationship Id="rId231" Type="http://schemas.openxmlformats.org/officeDocument/2006/relationships/slide" Target="slides/slide227.xml"/><Relationship Id="rId252" Type="http://schemas.openxmlformats.org/officeDocument/2006/relationships/slide" Target="slides/slide248.xml"/><Relationship Id="rId273" Type="http://schemas.openxmlformats.org/officeDocument/2006/relationships/slide" Target="slides/slide269.xml"/><Relationship Id="rId294" Type="http://schemas.openxmlformats.org/officeDocument/2006/relationships/font" Target="fonts/font17.fntdata"/><Relationship Id="rId308" Type="http://schemas.openxmlformats.org/officeDocument/2006/relationships/font" Target="fonts/font31.fntdata"/><Relationship Id="rId47" Type="http://schemas.openxmlformats.org/officeDocument/2006/relationships/slide" Target="slides/slide43.xml"/><Relationship Id="rId68" Type="http://schemas.openxmlformats.org/officeDocument/2006/relationships/slide" Target="slides/slide64.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slide" Target="slides/slide129.xml"/><Relationship Id="rId154" Type="http://schemas.openxmlformats.org/officeDocument/2006/relationships/slide" Target="slides/slide150.xml"/><Relationship Id="rId175" Type="http://schemas.openxmlformats.org/officeDocument/2006/relationships/slide" Target="slides/slide171.xml"/><Relationship Id="rId196" Type="http://schemas.openxmlformats.org/officeDocument/2006/relationships/slide" Target="slides/slide192.xml"/><Relationship Id="rId200" Type="http://schemas.openxmlformats.org/officeDocument/2006/relationships/slide" Target="slides/slide196.xml"/><Relationship Id="rId16" Type="http://schemas.openxmlformats.org/officeDocument/2006/relationships/slide" Target="slides/slide12.xml"/><Relationship Id="rId221" Type="http://schemas.openxmlformats.org/officeDocument/2006/relationships/slide" Target="slides/slide217.xml"/><Relationship Id="rId242" Type="http://schemas.openxmlformats.org/officeDocument/2006/relationships/slide" Target="slides/slide238.xml"/><Relationship Id="rId263" Type="http://schemas.openxmlformats.org/officeDocument/2006/relationships/slide" Target="slides/slide259.xml"/><Relationship Id="rId284" Type="http://schemas.openxmlformats.org/officeDocument/2006/relationships/font" Target="fonts/font7.fntdata"/><Relationship Id="rId319" Type="http://schemas.openxmlformats.org/officeDocument/2006/relationships/font" Target="fonts/font42.fntdata"/><Relationship Id="rId37" Type="http://schemas.openxmlformats.org/officeDocument/2006/relationships/slide" Target="slides/slide33.xml"/><Relationship Id="rId58" Type="http://schemas.openxmlformats.org/officeDocument/2006/relationships/slide" Target="slides/slide54.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44" Type="http://schemas.openxmlformats.org/officeDocument/2006/relationships/slide" Target="slides/slide140.xml"/><Relationship Id="rId90" Type="http://schemas.openxmlformats.org/officeDocument/2006/relationships/slide" Target="slides/slide86.xml"/><Relationship Id="rId165" Type="http://schemas.openxmlformats.org/officeDocument/2006/relationships/slide" Target="slides/slide161.xml"/><Relationship Id="rId186" Type="http://schemas.openxmlformats.org/officeDocument/2006/relationships/slide" Target="slides/slide182.xml"/><Relationship Id="rId211" Type="http://schemas.openxmlformats.org/officeDocument/2006/relationships/slide" Target="slides/slide207.xml"/><Relationship Id="rId232" Type="http://schemas.openxmlformats.org/officeDocument/2006/relationships/slide" Target="slides/slide228.xml"/><Relationship Id="rId253" Type="http://schemas.openxmlformats.org/officeDocument/2006/relationships/slide" Target="slides/slide249.xml"/><Relationship Id="rId274" Type="http://schemas.openxmlformats.org/officeDocument/2006/relationships/slide" Target="slides/slide270.xml"/><Relationship Id="rId295" Type="http://schemas.openxmlformats.org/officeDocument/2006/relationships/font" Target="fonts/font18.fntdata"/><Relationship Id="rId309" Type="http://schemas.openxmlformats.org/officeDocument/2006/relationships/font" Target="fonts/font32.fntdata"/><Relationship Id="rId27" Type="http://schemas.openxmlformats.org/officeDocument/2006/relationships/slide" Target="slides/slide23.xml"/><Relationship Id="rId48" Type="http://schemas.openxmlformats.org/officeDocument/2006/relationships/slide" Target="slides/slide44.xml"/><Relationship Id="rId69" Type="http://schemas.openxmlformats.org/officeDocument/2006/relationships/slide" Target="slides/slide65.xml"/><Relationship Id="rId113" Type="http://schemas.openxmlformats.org/officeDocument/2006/relationships/slide" Target="slides/slide109.xml"/><Relationship Id="rId134" Type="http://schemas.openxmlformats.org/officeDocument/2006/relationships/slide" Target="slides/slide130.xml"/><Relationship Id="rId320" Type="http://schemas.openxmlformats.org/officeDocument/2006/relationships/presProps" Target="presProps.xml"/><Relationship Id="rId80" Type="http://schemas.openxmlformats.org/officeDocument/2006/relationships/slide" Target="slides/slide76.xml"/><Relationship Id="rId155" Type="http://schemas.openxmlformats.org/officeDocument/2006/relationships/slide" Target="slides/slide151.xml"/><Relationship Id="rId176" Type="http://schemas.openxmlformats.org/officeDocument/2006/relationships/slide" Target="slides/slide172.xml"/><Relationship Id="rId197" Type="http://schemas.openxmlformats.org/officeDocument/2006/relationships/slide" Target="slides/slide193.xml"/><Relationship Id="rId201" Type="http://schemas.openxmlformats.org/officeDocument/2006/relationships/slide" Target="slides/slide197.xml"/><Relationship Id="rId222" Type="http://schemas.openxmlformats.org/officeDocument/2006/relationships/slide" Target="slides/slide218.xml"/><Relationship Id="rId243" Type="http://schemas.openxmlformats.org/officeDocument/2006/relationships/slide" Target="slides/slide239.xml"/><Relationship Id="rId264" Type="http://schemas.openxmlformats.org/officeDocument/2006/relationships/slide" Target="slides/slide260.xml"/><Relationship Id="rId285" Type="http://schemas.openxmlformats.org/officeDocument/2006/relationships/font" Target="fonts/font8.fntdata"/><Relationship Id="rId17" Type="http://schemas.openxmlformats.org/officeDocument/2006/relationships/slide" Target="slides/slide13.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24" Type="http://schemas.openxmlformats.org/officeDocument/2006/relationships/slide" Target="slides/slide120.xml"/><Relationship Id="rId310" Type="http://schemas.openxmlformats.org/officeDocument/2006/relationships/font" Target="fonts/font33.fntdata"/><Relationship Id="rId70" Type="http://schemas.openxmlformats.org/officeDocument/2006/relationships/slide" Target="slides/slide66.xml"/><Relationship Id="rId91" Type="http://schemas.openxmlformats.org/officeDocument/2006/relationships/slide" Target="slides/slide87.xml"/><Relationship Id="rId145" Type="http://schemas.openxmlformats.org/officeDocument/2006/relationships/slide" Target="slides/slide141.xml"/><Relationship Id="rId166" Type="http://schemas.openxmlformats.org/officeDocument/2006/relationships/slide" Target="slides/slide162.xml"/><Relationship Id="rId187" Type="http://schemas.openxmlformats.org/officeDocument/2006/relationships/slide" Target="slides/slide183.xml"/><Relationship Id="rId1" Type="http://schemas.openxmlformats.org/officeDocument/2006/relationships/customXml" Target="../customXml/item1.xml"/><Relationship Id="rId212" Type="http://schemas.openxmlformats.org/officeDocument/2006/relationships/slide" Target="slides/slide208.xml"/><Relationship Id="rId233" Type="http://schemas.openxmlformats.org/officeDocument/2006/relationships/slide" Target="slides/slide229.xml"/><Relationship Id="rId254" Type="http://schemas.openxmlformats.org/officeDocument/2006/relationships/slide" Target="slides/slide250.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275" Type="http://schemas.openxmlformats.org/officeDocument/2006/relationships/slide" Target="slides/slide271.xml"/><Relationship Id="rId296" Type="http://schemas.openxmlformats.org/officeDocument/2006/relationships/font" Target="fonts/font19.fntdata"/><Relationship Id="rId300" Type="http://schemas.openxmlformats.org/officeDocument/2006/relationships/font" Target="fonts/font23.fntdata"/><Relationship Id="rId60" Type="http://schemas.openxmlformats.org/officeDocument/2006/relationships/slide" Target="slides/slide56.xml"/><Relationship Id="rId81" Type="http://schemas.openxmlformats.org/officeDocument/2006/relationships/slide" Target="slides/slide77.xml"/><Relationship Id="rId135" Type="http://schemas.openxmlformats.org/officeDocument/2006/relationships/slide" Target="slides/slide131.xml"/><Relationship Id="rId156" Type="http://schemas.openxmlformats.org/officeDocument/2006/relationships/slide" Target="slides/slide152.xml"/><Relationship Id="rId177" Type="http://schemas.openxmlformats.org/officeDocument/2006/relationships/slide" Target="slides/slide173.xml"/><Relationship Id="rId198" Type="http://schemas.openxmlformats.org/officeDocument/2006/relationships/slide" Target="slides/slide194.xml"/><Relationship Id="rId321" Type="http://schemas.openxmlformats.org/officeDocument/2006/relationships/viewProps" Target="viewProps.xml"/><Relationship Id="rId202" Type="http://schemas.openxmlformats.org/officeDocument/2006/relationships/slide" Target="slides/slide198.xml"/><Relationship Id="rId223" Type="http://schemas.openxmlformats.org/officeDocument/2006/relationships/slide" Target="slides/slide219.xml"/><Relationship Id="rId244" Type="http://schemas.openxmlformats.org/officeDocument/2006/relationships/slide" Target="slides/slide240.xml"/><Relationship Id="rId18" Type="http://schemas.openxmlformats.org/officeDocument/2006/relationships/slide" Target="slides/slide14.xml"/><Relationship Id="rId39" Type="http://schemas.openxmlformats.org/officeDocument/2006/relationships/slide" Target="slides/slide35.xml"/><Relationship Id="rId265" Type="http://schemas.openxmlformats.org/officeDocument/2006/relationships/slide" Target="slides/slide261.xml"/><Relationship Id="rId286" Type="http://schemas.openxmlformats.org/officeDocument/2006/relationships/font" Target="fonts/font9.fntdata"/><Relationship Id="rId50" Type="http://schemas.openxmlformats.org/officeDocument/2006/relationships/slide" Target="slides/slide46.xml"/><Relationship Id="rId104" Type="http://schemas.openxmlformats.org/officeDocument/2006/relationships/slide" Target="slides/slide100.xml"/><Relationship Id="rId125" Type="http://schemas.openxmlformats.org/officeDocument/2006/relationships/slide" Target="slides/slide121.xml"/><Relationship Id="rId146" Type="http://schemas.openxmlformats.org/officeDocument/2006/relationships/slide" Target="slides/slide142.xml"/><Relationship Id="rId167" Type="http://schemas.openxmlformats.org/officeDocument/2006/relationships/slide" Target="slides/slide163.xml"/><Relationship Id="rId188" Type="http://schemas.openxmlformats.org/officeDocument/2006/relationships/slide" Target="slides/slide184.xml"/><Relationship Id="rId311" Type="http://schemas.openxmlformats.org/officeDocument/2006/relationships/font" Target="fonts/font34.fntdata"/><Relationship Id="rId71" Type="http://schemas.openxmlformats.org/officeDocument/2006/relationships/slide" Target="slides/slide67.xml"/><Relationship Id="rId92" Type="http://schemas.openxmlformats.org/officeDocument/2006/relationships/slide" Target="slides/slide88.xml"/><Relationship Id="rId213" Type="http://schemas.openxmlformats.org/officeDocument/2006/relationships/slide" Target="slides/slide209.xml"/><Relationship Id="rId234" Type="http://schemas.openxmlformats.org/officeDocument/2006/relationships/slide" Target="slides/slide230.xml"/><Relationship Id="rId2" Type="http://schemas.openxmlformats.org/officeDocument/2006/relationships/customXml" Target="../customXml/item2.xml"/><Relationship Id="rId29" Type="http://schemas.openxmlformats.org/officeDocument/2006/relationships/slide" Target="slides/slide25.xml"/><Relationship Id="rId255" Type="http://schemas.openxmlformats.org/officeDocument/2006/relationships/slide" Target="slides/slide251.xml"/><Relationship Id="rId276" Type="http://schemas.openxmlformats.org/officeDocument/2006/relationships/slide" Target="slides/slide272.xml"/><Relationship Id="rId297" Type="http://schemas.openxmlformats.org/officeDocument/2006/relationships/font" Target="fonts/font20.fntdata"/><Relationship Id="rId40" Type="http://schemas.openxmlformats.org/officeDocument/2006/relationships/slide" Target="slides/slide36.xml"/><Relationship Id="rId115" Type="http://schemas.openxmlformats.org/officeDocument/2006/relationships/slide" Target="slides/slide111.xml"/><Relationship Id="rId136" Type="http://schemas.openxmlformats.org/officeDocument/2006/relationships/slide" Target="slides/slide132.xml"/><Relationship Id="rId157" Type="http://schemas.openxmlformats.org/officeDocument/2006/relationships/slide" Target="slides/slide153.xml"/><Relationship Id="rId178" Type="http://schemas.openxmlformats.org/officeDocument/2006/relationships/slide" Target="slides/slide174.xml"/><Relationship Id="rId301" Type="http://schemas.openxmlformats.org/officeDocument/2006/relationships/font" Target="fonts/font24.fntdata"/><Relationship Id="rId322" Type="http://schemas.openxmlformats.org/officeDocument/2006/relationships/theme" Target="theme/theme1.xml"/><Relationship Id="rId61" Type="http://schemas.openxmlformats.org/officeDocument/2006/relationships/slide" Target="slides/slide57.xml"/><Relationship Id="rId82" Type="http://schemas.openxmlformats.org/officeDocument/2006/relationships/slide" Target="slides/slide78.xml"/><Relationship Id="rId199" Type="http://schemas.openxmlformats.org/officeDocument/2006/relationships/slide" Target="slides/slide195.xml"/><Relationship Id="rId203" Type="http://schemas.openxmlformats.org/officeDocument/2006/relationships/slide" Target="slides/slide199.xml"/><Relationship Id="rId19" Type="http://schemas.openxmlformats.org/officeDocument/2006/relationships/slide" Target="slides/slide15.xml"/><Relationship Id="rId224" Type="http://schemas.openxmlformats.org/officeDocument/2006/relationships/slide" Target="slides/slide220.xml"/><Relationship Id="rId245" Type="http://schemas.openxmlformats.org/officeDocument/2006/relationships/slide" Target="slides/slide241.xml"/><Relationship Id="rId266" Type="http://schemas.openxmlformats.org/officeDocument/2006/relationships/slide" Target="slides/slide262.xml"/><Relationship Id="rId287" Type="http://schemas.openxmlformats.org/officeDocument/2006/relationships/font" Target="fonts/font10.fntdata"/><Relationship Id="rId30" Type="http://schemas.openxmlformats.org/officeDocument/2006/relationships/slide" Target="slides/slide26.xml"/><Relationship Id="rId105" Type="http://schemas.openxmlformats.org/officeDocument/2006/relationships/slide" Target="slides/slide101.xml"/><Relationship Id="rId126" Type="http://schemas.openxmlformats.org/officeDocument/2006/relationships/slide" Target="slides/slide122.xml"/><Relationship Id="rId147" Type="http://schemas.openxmlformats.org/officeDocument/2006/relationships/slide" Target="slides/slide143.xml"/><Relationship Id="rId168" Type="http://schemas.openxmlformats.org/officeDocument/2006/relationships/slide" Target="slides/slide164.xml"/><Relationship Id="rId312" Type="http://schemas.openxmlformats.org/officeDocument/2006/relationships/font" Target="fonts/font35.fntdata"/><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189" Type="http://schemas.openxmlformats.org/officeDocument/2006/relationships/slide" Target="slides/slide185.xml"/><Relationship Id="rId3" Type="http://schemas.openxmlformats.org/officeDocument/2006/relationships/customXml" Target="../customXml/item3.xml"/><Relationship Id="rId214" Type="http://schemas.openxmlformats.org/officeDocument/2006/relationships/slide" Target="slides/slide210.xml"/><Relationship Id="rId235" Type="http://schemas.openxmlformats.org/officeDocument/2006/relationships/slide" Target="slides/slide231.xml"/><Relationship Id="rId256" Type="http://schemas.openxmlformats.org/officeDocument/2006/relationships/slide" Target="slides/slide252.xml"/><Relationship Id="rId277" Type="http://schemas.openxmlformats.org/officeDocument/2006/relationships/notesMaster" Target="notesMasters/notesMaster1.xml"/><Relationship Id="rId298" Type="http://schemas.openxmlformats.org/officeDocument/2006/relationships/font" Target="fonts/font21.fntdata"/><Relationship Id="rId116" Type="http://schemas.openxmlformats.org/officeDocument/2006/relationships/slide" Target="slides/slide112.xml"/><Relationship Id="rId137" Type="http://schemas.openxmlformats.org/officeDocument/2006/relationships/slide" Target="slides/slide133.xml"/><Relationship Id="rId158" Type="http://schemas.openxmlformats.org/officeDocument/2006/relationships/slide" Target="slides/slide154.xml"/><Relationship Id="rId302" Type="http://schemas.openxmlformats.org/officeDocument/2006/relationships/font" Target="fonts/font25.fntdata"/><Relationship Id="rId323" Type="http://schemas.openxmlformats.org/officeDocument/2006/relationships/tableStyles" Target="tableStyles.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179" Type="http://schemas.openxmlformats.org/officeDocument/2006/relationships/slide" Target="slides/slide175.xml"/><Relationship Id="rId190" Type="http://schemas.openxmlformats.org/officeDocument/2006/relationships/slide" Target="slides/slide186.xml"/><Relationship Id="rId204" Type="http://schemas.openxmlformats.org/officeDocument/2006/relationships/slide" Target="slides/slide200.xml"/><Relationship Id="rId225" Type="http://schemas.openxmlformats.org/officeDocument/2006/relationships/slide" Target="slides/slide221.xml"/><Relationship Id="rId246" Type="http://schemas.openxmlformats.org/officeDocument/2006/relationships/slide" Target="slides/slide242.xml"/><Relationship Id="rId267" Type="http://schemas.openxmlformats.org/officeDocument/2006/relationships/slide" Target="slides/slide263.xml"/><Relationship Id="rId288" Type="http://schemas.openxmlformats.org/officeDocument/2006/relationships/font" Target="fonts/font11.fntdata"/><Relationship Id="rId106" Type="http://schemas.openxmlformats.org/officeDocument/2006/relationships/slide" Target="slides/slide102.xml"/><Relationship Id="rId127" Type="http://schemas.openxmlformats.org/officeDocument/2006/relationships/slide" Target="slides/slide123.xml"/><Relationship Id="rId313" Type="http://schemas.openxmlformats.org/officeDocument/2006/relationships/font" Target="fonts/font36.fntdata"/><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94" Type="http://schemas.openxmlformats.org/officeDocument/2006/relationships/slide" Target="slides/slide90.xml"/><Relationship Id="rId148" Type="http://schemas.openxmlformats.org/officeDocument/2006/relationships/slide" Target="slides/slide144.xml"/><Relationship Id="rId169" Type="http://schemas.openxmlformats.org/officeDocument/2006/relationships/slide" Target="slides/slide165.xml"/><Relationship Id="rId4" Type="http://schemas.openxmlformats.org/officeDocument/2006/relationships/slideMaster" Target="slideMasters/slideMaster1.xml"/><Relationship Id="rId180" Type="http://schemas.openxmlformats.org/officeDocument/2006/relationships/slide" Target="slides/slide176.xml"/><Relationship Id="rId215" Type="http://schemas.openxmlformats.org/officeDocument/2006/relationships/slide" Target="slides/slide211.xml"/><Relationship Id="rId236" Type="http://schemas.openxmlformats.org/officeDocument/2006/relationships/slide" Target="slides/slide232.xml"/><Relationship Id="rId257" Type="http://schemas.openxmlformats.org/officeDocument/2006/relationships/slide" Target="slides/slide253.xml"/><Relationship Id="rId278" Type="http://schemas.openxmlformats.org/officeDocument/2006/relationships/font" Target="fonts/font1.fntdata"/><Relationship Id="rId303" Type="http://schemas.openxmlformats.org/officeDocument/2006/relationships/font" Target="fonts/font26.fntdata"/><Relationship Id="rId42" Type="http://schemas.openxmlformats.org/officeDocument/2006/relationships/slide" Target="slides/slide38.xml"/><Relationship Id="rId84" Type="http://schemas.openxmlformats.org/officeDocument/2006/relationships/slide" Target="slides/slide80.xml"/><Relationship Id="rId138" Type="http://schemas.openxmlformats.org/officeDocument/2006/relationships/slide" Target="slides/slide134.xml"/><Relationship Id="rId191" Type="http://schemas.openxmlformats.org/officeDocument/2006/relationships/slide" Target="slides/slide187.xml"/><Relationship Id="rId205" Type="http://schemas.openxmlformats.org/officeDocument/2006/relationships/slide" Target="slides/slide201.xml"/><Relationship Id="rId247" Type="http://schemas.openxmlformats.org/officeDocument/2006/relationships/slide" Target="slides/slide243.xml"/><Relationship Id="rId107" Type="http://schemas.openxmlformats.org/officeDocument/2006/relationships/slide" Target="slides/slide103.xml"/><Relationship Id="rId289" Type="http://schemas.openxmlformats.org/officeDocument/2006/relationships/font" Target="fonts/font12.fntdata"/><Relationship Id="rId11" Type="http://schemas.openxmlformats.org/officeDocument/2006/relationships/slide" Target="slides/slide7.xml"/><Relationship Id="rId53" Type="http://schemas.openxmlformats.org/officeDocument/2006/relationships/slide" Target="slides/slide49.xml"/><Relationship Id="rId149" Type="http://schemas.openxmlformats.org/officeDocument/2006/relationships/slide" Target="slides/slide145.xml"/><Relationship Id="rId314" Type="http://schemas.openxmlformats.org/officeDocument/2006/relationships/font" Target="fonts/font37.fntdata"/><Relationship Id="rId95" Type="http://schemas.openxmlformats.org/officeDocument/2006/relationships/slide" Target="slides/slide91.xml"/><Relationship Id="rId160" Type="http://schemas.openxmlformats.org/officeDocument/2006/relationships/slide" Target="slides/slide156.xml"/><Relationship Id="rId216" Type="http://schemas.openxmlformats.org/officeDocument/2006/relationships/slide" Target="slides/slide212.xml"/><Relationship Id="rId258" Type="http://schemas.openxmlformats.org/officeDocument/2006/relationships/slide" Target="slides/slide254.xml"/><Relationship Id="rId22" Type="http://schemas.openxmlformats.org/officeDocument/2006/relationships/slide" Target="slides/slide18.xml"/><Relationship Id="rId64" Type="http://schemas.openxmlformats.org/officeDocument/2006/relationships/slide" Target="slides/slide60.xml"/><Relationship Id="rId118" Type="http://schemas.openxmlformats.org/officeDocument/2006/relationships/slide" Target="slides/slide114.xml"/><Relationship Id="rId325" Type="http://schemas.microsoft.com/office/2018/10/relationships/authors" Target="authors.xml"/><Relationship Id="rId171" Type="http://schemas.openxmlformats.org/officeDocument/2006/relationships/slide" Target="slides/slide167.xml"/><Relationship Id="rId227" Type="http://schemas.openxmlformats.org/officeDocument/2006/relationships/slide" Target="slides/slide223.xml"/><Relationship Id="rId269" Type="http://schemas.openxmlformats.org/officeDocument/2006/relationships/slide" Target="slides/slide265.xml"/><Relationship Id="rId33" Type="http://schemas.openxmlformats.org/officeDocument/2006/relationships/slide" Target="slides/slide29.xml"/><Relationship Id="rId129" Type="http://schemas.openxmlformats.org/officeDocument/2006/relationships/slide" Target="slides/slide125.xml"/><Relationship Id="rId280" Type="http://schemas.openxmlformats.org/officeDocument/2006/relationships/font" Target="fonts/font3.fntdata"/><Relationship Id="rId75" Type="http://schemas.openxmlformats.org/officeDocument/2006/relationships/slide" Target="slides/slide71.xml"/><Relationship Id="rId140" Type="http://schemas.openxmlformats.org/officeDocument/2006/relationships/slide" Target="slides/slide136.xml"/><Relationship Id="rId182" Type="http://schemas.openxmlformats.org/officeDocument/2006/relationships/slide" Target="slides/slide178.xml"/><Relationship Id="rId6" Type="http://schemas.openxmlformats.org/officeDocument/2006/relationships/slide" Target="slides/slide2.xml"/><Relationship Id="rId238" Type="http://schemas.openxmlformats.org/officeDocument/2006/relationships/slide" Target="slides/slide234.xml"/><Relationship Id="rId291" Type="http://schemas.openxmlformats.org/officeDocument/2006/relationships/font" Target="fonts/font14.fntdata"/><Relationship Id="rId305" Type="http://schemas.openxmlformats.org/officeDocument/2006/relationships/font" Target="fonts/font28.fntdata"/><Relationship Id="rId44" Type="http://schemas.openxmlformats.org/officeDocument/2006/relationships/slide" Target="slides/slide40.xml"/><Relationship Id="rId86" Type="http://schemas.openxmlformats.org/officeDocument/2006/relationships/slide" Target="slides/slide82.xml"/><Relationship Id="rId151" Type="http://schemas.openxmlformats.org/officeDocument/2006/relationships/slide" Target="slides/slide147.xml"/><Relationship Id="rId193" Type="http://schemas.openxmlformats.org/officeDocument/2006/relationships/slide" Target="slides/slide189.xml"/><Relationship Id="rId207" Type="http://schemas.openxmlformats.org/officeDocument/2006/relationships/slide" Target="slides/slide203.xml"/><Relationship Id="rId249" Type="http://schemas.openxmlformats.org/officeDocument/2006/relationships/slide" Target="slides/slide245.xml"/><Relationship Id="rId13" Type="http://schemas.openxmlformats.org/officeDocument/2006/relationships/slide" Target="slides/slide9.xml"/><Relationship Id="rId109" Type="http://schemas.openxmlformats.org/officeDocument/2006/relationships/slide" Target="slides/slide105.xml"/><Relationship Id="rId260" Type="http://schemas.openxmlformats.org/officeDocument/2006/relationships/slide" Target="slides/slide256.xml"/><Relationship Id="rId316" Type="http://schemas.openxmlformats.org/officeDocument/2006/relationships/font" Target="fonts/font39.fntdata"/><Relationship Id="rId55" Type="http://schemas.openxmlformats.org/officeDocument/2006/relationships/slide" Target="slides/slide51.xml"/><Relationship Id="rId97" Type="http://schemas.openxmlformats.org/officeDocument/2006/relationships/slide" Target="slides/slide93.xml"/><Relationship Id="rId120" Type="http://schemas.openxmlformats.org/officeDocument/2006/relationships/slide" Target="slides/slide116.xml"/></Relationships>
</file>

<file path=ppt/charts/_rels/chart1.xml.rels><?xml version="1.0" encoding="UTF-8" standalone="yes"?>
<Relationships xmlns="http://schemas.openxmlformats.org/package/2006/relationships"><Relationship Id="rId3" Type="http://schemas.openxmlformats.org/officeDocument/2006/relationships/oleObject" Target="file:///\\secil.pt\dfsroot\Area%20Tecnica\CDAC\Restrito\3%20-%20PROJETOS%20ID\2%20-%20Projetos%20em%20Curso\AMB_2025_Retrofeed%20(H2020)\WP_6\Conclus&#245;es\Resumo_Conclus&#245;es.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secil.pt\dfsroot\Area%20Tecnica\CDAC\Restrito\3%20-%20PROJETOS%20ID\2%20-%20Projetos%20em%20Curso\AMB_2025_Retrofeed%20(H2020)\WP_6\Conclus&#245;es\Resumo_Conclus&#245;es.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secil.pt\dfsroot\Area%20Tecnica\CDAC\Restrito\3%20-%20PROJETOS%20ID\2%20-%20Projetos%20em%20Curso\AMB_2025_Retrofeed%20(H2020)\WP_6\Conclus&#245;es\Resumo_Conclus&#245;es.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secil.pt\dfsroot\Area%20Tecnica\CDAC\Restrito\3%20-%20PROJETOS%20ID\2%20-%20Projetos%20em%20Curso\AMB_2025_Retrofeed%20(H2020)\WP_6\Conclus&#245;es\Resumo_Conclus&#245;es.xlsx" TargetMode="External"/><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manualLayout>
          <c:layoutTarget val="inner"/>
          <c:xMode val="edge"/>
          <c:yMode val="edge"/>
          <c:x val="8.2458875808840731E-2"/>
          <c:y val="0.10326898326898326"/>
          <c:w val="0.84493386346508659"/>
          <c:h val="0.76233362721551712"/>
        </c:manualLayout>
      </c:layout>
      <c:barChart>
        <c:barDir val="col"/>
        <c:grouping val="clustered"/>
        <c:varyColors val="0"/>
        <c:ser>
          <c:idx val="0"/>
          <c:order val="0"/>
          <c:spPr>
            <a:solidFill>
              <a:schemeClr val="tx1">
                <a:lumMod val="65000"/>
                <a:lumOff val="35000"/>
              </a:schemeClr>
            </a:solidFill>
            <a:ln>
              <a:noFill/>
            </a:ln>
            <a:effectLst/>
          </c:spPr>
          <c:invertIfNegative val="0"/>
          <c:dPt>
            <c:idx val="0"/>
            <c:invertIfNegative val="0"/>
            <c:bubble3D val="0"/>
            <c:spPr>
              <a:solidFill>
                <a:schemeClr val="accent5">
                  <a:lumMod val="75000"/>
                </a:schemeClr>
              </a:solidFill>
              <a:ln>
                <a:noFill/>
              </a:ln>
              <a:effectLst/>
            </c:spPr>
            <c:extLst>
              <c:ext xmlns:c16="http://schemas.microsoft.com/office/drawing/2014/chart" uri="{C3380CC4-5D6E-409C-BE32-E72D297353CC}">
                <c16:uniqueId val="{00000001-617F-43D9-83F6-854A1EAE4EE6}"/>
              </c:ext>
            </c:extLst>
          </c:dPt>
          <c:dPt>
            <c:idx val="1"/>
            <c:invertIfNegative val="0"/>
            <c:bubble3D val="0"/>
            <c:spPr>
              <a:solidFill>
                <a:schemeClr val="accent6">
                  <a:lumMod val="75000"/>
                </a:schemeClr>
              </a:solidFill>
              <a:ln>
                <a:noFill/>
              </a:ln>
              <a:effectLst/>
            </c:spPr>
            <c:extLst>
              <c:ext xmlns:c16="http://schemas.microsoft.com/office/drawing/2014/chart" uri="{C3380CC4-5D6E-409C-BE32-E72D297353CC}">
                <c16:uniqueId val="{00000003-617F-43D9-83F6-854A1EAE4EE6}"/>
              </c:ext>
            </c:extLst>
          </c:dPt>
          <c:dPt>
            <c:idx val="2"/>
            <c:invertIfNegative val="0"/>
            <c:bubble3D val="0"/>
            <c:spPr>
              <a:solidFill>
                <a:srgbClr val="FFC000"/>
              </a:solidFill>
              <a:ln>
                <a:noFill/>
              </a:ln>
              <a:effectLst/>
            </c:spPr>
            <c:extLst>
              <c:ext xmlns:c16="http://schemas.microsoft.com/office/drawing/2014/chart" uri="{C3380CC4-5D6E-409C-BE32-E72D297353CC}">
                <c16:uniqueId val="{00000005-617F-43D9-83F6-854A1EAE4EE6}"/>
              </c:ext>
            </c:extLst>
          </c:dPt>
          <c:dLbls>
            <c:numFmt formatCode="0%" sourceLinked="0"/>
            <c:spPr>
              <a:noFill/>
              <a:ln>
                <a:noFill/>
              </a:ln>
              <a:effectLst/>
            </c:spPr>
            <c:txPr>
              <a:bodyPr rot="0" spcFirstLastPara="1" vertOverflow="clip" horzOverflow="clip"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Resumo!$D$4:$F$4</c:f>
              <c:strCache>
                <c:ptCount val="3"/>
                <c:pt idx="0">
                  <c:v>Trial Period</c:v>
                </c:pt>
                <c:pt idx="1">
                  <c:v>Best period</c:v>
                </c:pt>
                <c:pt idx="2">
                  <c:v>Annual Average</c:v>
                </c:pt>
              </c:strCache>
            </c:strRef>
          </c:cat>
          <c:val>
            <c:numRef>
              <c:f>Resumo!$D$21:$F$21</c:f>
              <c:numCache>
                <c:formatCode>0.0%</c:formatCode>
                <c:ptCount val="3"/>
                <c:pt idx="0">
                  <c:v>0.55438658540287888</c:v>
                </c:pt>
                <c:pt idx="1">
                  <c:v>0.66041779314860294</c:v>
                </c:pt>
                <c:pt idx="2">
                  <c:v>0.49199999999999999</c:v>
                </c:pt>
              </c:numCache>
            </c:numRef>
          </c:val>
          <c:extLst>
            <c:ext xmlns:c16="http://schemas.microsoft.com/office/drawing/2014/chart" uri="{C3380CC4-5D6E-409C-BE32-E72D297353CC}">
              <c16:uniqueId val="{00000006-617F-43D9-83F6-854A1EAE4EE6}"/>
            </c:ext>
          </c:extLst>
        </c:ser>
        <c:dLbls>
          <c:dLblPos val="outEnd"/>
          <c:showLegendKey val="0"/>
          <c:showVal val="1"/>
          <c:showCatName val="0"/>
          <c:showSerName val="0"/>
          <c:showPercent val="0"/>
          <c:showBubbleSize val="0"/>
        </c:dLbls>
        <c:gapWidth val="383"/>
        <c:overlap val="-90"/>
        <c:axId val="1885143952"/>
        <c:axId val="909952320"/>
      </c:barChart>
      <c:catAx>
        <c:axId val="18851439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cap="all" spc="120" normalizeH="0" baseline="0">
                <a:solidFill>
                  <a:schemeClr val="bg1"/>
                </a:solidFill>
                <a:latin typeface="+mn-lt"/>
                <a:ea typeface="+mn-ea"/>
                <a:cs typeface="+mn-cs"/>
              </a:defRPr>
            </a:pPr>
            <a:endParaRPr lang="en-US"/>
          </a:p>
        </c:txPr>
        <c:crossAx val="909952320"/>
        <c:crosses val="autoZero"/>
        <c:auto val="1"/>
        <c:lblAlgn val="ctr"/>
        <c:lblOffset val="100"/>
        <c:noMultiLvlLbl val="0"/>
      </c:catAx>
      <c:valAx>
        <c:axId val="909952320"/>
        <c:scaling>
          <c:orientation val="minMax"/>
        </c:scaling>
        <c:delete val="1"/>
        <c:axPos val="l"/>
        <c:title>
          <c:tx>
            <c:rich>
              <a:bodyPr rot="-5400000" spcFirstLastPara="1" vertOverflow="ellipsis" vert="horz" wrap="square" anchor="ctr" anchorCtr="1"/>
              <a:lstStyle/>
              <a:p>
                <a:pPr>
                  <a:defRPr sz="1400" b="0" i="0" u="none" strike="noStrike" kern="1200" cap="all" baseline="0">
                    <a:solidFill>
                      <a:schemeClr val="bg1"/>
                    </a:solidFill>
                    <a:latin typeface="+mn-lt"/>
                    <a:ea typeface="+mn-ea"/>
                    <a:cs typeface="+mn-cs"/>
                  </a:defRPr>
                </a:pPr>
                <a:r>
                  <a:rPr lang="en-GB" sz="1400" b="0" i="0" u="none" strike="noStrike" cap="none" baseline="0" dirty="0">
                    <a:solidFill>
                      <a:schemeClr val="bg1"/>
                    </a:solidFill>
                    <a:effectLst/>
                  </a:rPr>
                  <a:t>Alternative Fuel Rate</a:t>
                </a:r>
              </a:p>
              <a:p>
                <a:pPr>
                  <a:defRPr sz="1400">
                    <a:solidFill>
                      <a:schemeClr val="bg1"/>
                    </a:solidFill>
                  </a:defRPr>
                </a:pPr>
                <a:r>
                  <a:rPr lang="en-GB" sz="1400" b="0" i="0" u="none" strike="noStrike" cap="none" baseline="0" dirty="0">
                    <a:solidFill>
                      <a:schemeClr val="bg1"/>
                    </a:solidFill>
                    <a:effectLst/>
                  </a:rPr>
                  <a:t> (Energy %)</a:t>
                </a:r>
              </a:p>
            </c:rich>
          </c:tx>
          <c:overlay val="0"/>
          <c:spPr>
            <a:noFill/>
            <a:ln>
              <a:noFill/>
            </a:ln>
            <a:effectLst/>
          </c:spPr>
          <c:txPr>
            <a:bodyPr rot="-5400000" spcFirstLastPara="1" vertOverflow="ellipsis" vert="horz" wrap="square" anchor="ctr" anchorCtr="1"/>
            <a:lstStyle/>
            <a:p>
              <a:pPr>
                <a:defRPr sz="1400" b="0" i="0" u="none" strike="noStrike" kern="1200" cap="all" baseline="0">
                  <a:solidFill>
                    <a:schemeClr val="bg1"/>
                  </a:solidFill>
                  <a:latin typeface="+mn-lt"/>
                  <a:ea typeface="+mn-ea"/>
                  <a:cs typeface="+mn-cs"/>
                </a:defRPr>
              </a:pPr>
              <a:endParaRPr lang="en-US"/>
            </a:p>
          </c:txPr>
        </c:title>
        <c:numFmt formatCode="0.0%" sourceLinked="1"/>
        <c:majorTickMark val="none"/>
        <c:minorTickMark val="none"/>
        <c:tickLblPos val="nextTo"/>
        <c:crossAx val="18851439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manualLayout>
          <c:layoutTarget val="inner"/>
          <c:xMode val="edge"/>
          <c:yMode val="edge"/>
          <c:x val="8.2458875808840731E-2"/>
          <c:y val="0.10326898326898326"/>
          <c:w val="0.84493386346508659"/>
          <c:h val="0.76233362721551712"/>
        </c:manualLayout>
      </c:layout>
      <c:barChart>
        <c:barDir val="col"/>
        <c:grouping val="clustered"/>
        <c:varyColors val="0"/>
        <c:ser>
          <c:idx val="0"/>
          <c:order val="0"/>
          <c:spPr>
            <a:solidFill>
              <a:schemeClr val="accent5">
                <a:lumMod val="75000"/>
              </a:schemeClr>
            </a:solidFill>
            <a:ln>
              <a:noFill/>
            </a:ln>
            <a:effectLst/>
          </c:spPr>
          <c:invertIfNegative val="0"/>
          <c:dPt>
            <c:idx val="1"/>
            <c:invertIfNegative val="0"/>
            <c:bubble3D val="0"/>
            <c:spPr>
              <a:solidFill>
                <a:schemeClr val="accent6">
                  <a:lumMod val="75000"/>
                </a:schemeClr>
              </a:solidFill>
              <a:ln>
                <a:noFill/>
              </a:ln>
              <a:effectLst/>
            </c:spPr>
            <c:extLst>
              <c:ext xmlns:c16="http://schemas.microsoft.com/office/drawing/2014/chart" uri="{C3380CC4-5D6E-409C-BE32-E72D297353CC}">
                <c16:uniqueId val="{00000001-BB92-4D91-B028-EFA7EE6ABDB6}"/>
              </c:ext>
            </c:extLst>
          </c:dPt>
          <c:dPt>
            <c:idx val="2"/>
            <c:invertIfNegative val="0"/>
            <c:bubble3D val="0"/>
            <c:spPr>
              <a:solidFill>
                <a:srgbClr val="F6BD25"/>
              </a:solidFill>
              <a:ln>
                <a:noFill/>
              </a:ln>
              <a:effectLst/>
            </c:spPr>
            <c:extLst>
              <c:ext xmlns:c16="http://schemas.microsoft.com/office/drawing/2014/chart" uri="{C3380CC4-5D6E-409C-BE32-E72D297353CC}">
                <c16:uniqueId val="{00000003-BB92-4D91-B028-EFA7EE6ABDB6}"/>
              </c:ext>
            </c:extLst>
          </c:dPt>
          <c:dLbls>
            <c:spPr>
              <a:noFill/>
              <a:ln>
                <a:noFill/>
              </a:ln>
              <a:effectLst/>
            </c:spPr>
            <c:txPr>
              <a:bodyPr rot="0" spcFirstLastPara="1" vertOverflow="clip" horzOverflow="clip" vert="horz" wrap="square" lIns="38100" tIns="19050" rIns="38100" bIns="19050" anchor="ctr" anchorCtr="1">
                <a:spAutoFit/>
              </a:bodyPr>
              <a:lstStyle/>
              <a:p>
                <a:pPr>
                  <a:defRPr sz="16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Resumo!$D$4:$F$4</c:f>
              <c:strCache>
                <c:ptCount val="3"/>
                <c:pt idx="0">
                  <c:v>Trial Period</c:v>
                </c:pt>
                <c:pt idx="1">
                  <c:v>Best period</c:v>
                </c:pt>
                <c:pt idx="2">
                  <c:v>Annual Average</c:v>
                </c:pt>
              </c:strCache>
            </c:strRef>
          </c:cat>
          <c:val>
            <c:numRef>
              <c:f>Resumo!$D$20:$F$20</c:f>
              <c:numCache>
                <c:formatCode>0</c:formatCode>
                <c:ptCount val="3"/>
                <c:pt idx="0">
                  <c:v>879.58787922361546</c:v>
                </c:pt>
                <c:pt idx="1">
                  <c:v>881.69430774989712</c:v>
                </c:pt>
                <c:pt idx="2">
                  <c:v>931</c:v>
                </c:pt>
              </c:numCache>
            </c:numRef>
          </c:val>
          <c:extLst>
            <c:ext xmlns:c16="http://schemas.microsoft.com/office/drawing/2014/chart" uri="{C3380CC4-5D6E-409C-BE32-E72D297353CC}">
              <c16:uniqueId val="{00000004-BB92-4D91-B028-EFA7EE6ABDB6}"/>
            </c:ext>
          </c:extLst>
        </c:ser>
        <c:dLbls>
          <c:dLblPos val="outEnd"/>
          <c:showLegendKey val="0"/>
          <c:showVal val="1"/>
          <c:showCatName val="0"/>
          <c:showSerName val="0"/>
          <c:showPercent val="0"/>
          <c:showBubbleSize val="0"/>
        </c:dLbls>
        <c:gapWidth val="383"/>
        <c:overlap val="-90"/>
        <c:axId val="1885143952"/>
        <c:axId val="909952320"/>
      </c:barChart>
      <c:catAx>
        <c:axId val="18851439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cap="all" spc="120" normalizeH="0" baseline="0">
                <a:solidFill>
                  <a:schemeClr val="tx1"/>
                </a:solidFill>
                <a:latin typeface="+mn-lt"/>
                <a:ea typeface="+mn-ea"/>
                <a:cs typeface="+mn-cs"/>
              </a:defRPr>
            </a:pPr>
            <a:endParaRPr lang="en-US"/>
          </a:p>
        </c:txPr>
        <c:crossAx val="909952320"/>
        <c:crosses val="autoZero"/>
        <c:auto val="1"/>
        <c:lblAlgn val="ctr"/>
        <c:lblOffset val="100"/>
        <c:noMultiLvlLbl val="0"/>
      </c:catAx>
      <c:valAx>
        <c:axId val="909952320"/>
        <c:scaling>
          <c:orientation val="minMax"/>
        </c:scaling>
        <c:delete val="1"/>
        <c:axPos val="l"/>
        <c:title>
          <c:tx>
            <c:rich>
              <a:bodyPr rot="-5400000" spcFirstLastPara="1" vertOverflow="ellipsis" vert="horz" wrap="square" anchor="ctr" anchorCtr="1"/>
              <a:lstStyle/>
              <a:p>
                <a:pPr>
                  <a:defRPr sz="1600" b="0" i="0" u="none" strike="noStrike" kern="1200" cap="all" baseline="0">
                    <a:solidFill>
                      <a:schemeClr val="tx1"/>
                    </a:solidFill>
                    <a:latin typeface="+mn-lt"/>
                    <a:ea typeface="+mn-ea"/>
                    <a:cs typeface="+mn-cs"/>
                  </a:defRPr>
                </a:pPr>
                <a:r>
                  <a:rPr lang="en-US"/>
                  <a:t>T</a:t>
                </a:r>
                <a:r>
                  <a:rPr lang="pt-PT"/>
                  <a:t>hermal Energy Consumption </a:t>
                </a:r>
              </a:p>
              <a:p>
                <a:pPr>
                  <a:defRPr/>
                </a:pPr>
                <a:r>
                  <a:rPr lang="pt-PT"/>
                  <a:t>(kcal/kg clinker)</a:t>
                </a:r>
              </a:p>
            </c:rich>
          </c:tx>
          <c:overlay val="0"/>
          <c:spPr>
            <a:noFill/>
            <a:ln>
              <a:noFill/>
            </a:ln>
            <a:effectLst/>
          </c:spPr>
          <c:txPr>
            <a:bodyPr rot="-5400000" spcFirstLastPara="1" vertOverflow="ellipsis" vert="horz" wrap="square" anchor="ctr" anchorCtr="1"/>
            <a:lstStyle/>
            <a:p>
              <a:pPr>
                <a:defRPr sz="1600" b="0" i="0" u="none" strike="noStrike" kern="1200" cap="all" baseline="0">
                  <a:solidFill>
                    <a:schemeClr val="tx1"/>
                  </a:solidFill>
                  <a:latin typeface="+mn-lt"/>
                  <a:ea typeface="+mn-ea"/>
                  <a:cs typeface="+mn-cs"/>
                </a:defRPr>
              </a:pPr>
              <a:endParaRPr lang="en-US"/>
            </a:p>
          </c:txPr>
        </c:title>
        <c:numFmt formatCode="0" sourceLinked="1"/>
        <c:majorTickMark val="none"/>
        <c:minorTickMark val="none"/>
        <c:tickLblPos val="nextTo"/>
        <c:crossAx val="18851439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sz="1600">
          <a:solidFill>
            <a:schemeClr val="tx1"/>
          </a:solidFill>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manualLayout>
          <c:layoutTarget val="inner"/>
          <c:xMode val="edge"/>
          <c:yMode val="edge"/>
          <c:x val="8.091223471590607E-2"/>
          <c:y val="0.10326895157436294"/>
          <c:w val="0.84493386346508659"/>
          <c:h val="0.76233362721551712"/>
        </c:manualLayout>
      </c:layout>
      <c:barChart>
        <c:barDir val="col"/>
        <c:grouping val="clustered"/>
        <c:varyColors val="0"/>
        <c:ser>
          <c:idx val="0"/>
          <c:order val="0"/>
          <c:spPr>
            <a:solidFill>
              <a:schemeClr val="tx1">
                <a:lumMod val="65000"/>
                <a:lumOff val="35000"/>
              </a:schemeClr>
            </a:solidFill>
            <a:ln>
              <a:noFill/>
            </a:ln>
            <a:effectLst/>
          </c:spPr>
          <c:invertIfNegative val="0"/>
          <c:dPt>
            <c:idx val="0"/>
            <c:invertIfNegative val="0"/>
            <c:bubble3D val="0"/>
            <c:spPr>
              <a:solidFill>
                <a:schemeClr val="accent5">
                  <a:lumMod val="75000"/>
                </a:schemeClr>
              </a:solidFill>
              <a:ln>
                <a:noFill/>
              </a:ln>
              <a:effectLst/>
            </c:spPr>
            <c:extLst>
              <c:ext xmlns:c16="http://schemas.microsoft.com/office/drawing/2014/chart" uri="{C3380CC4-5D6E-409C-BE32-E72D297353CC}">
                <c16:uniqueId val="{00000001-B050-4C75-85BE-484D46F8F167}"/>
              </c:ext>
            </c:extLst>
          </c:dPt>
          <c:dPt>
            <c:idx val="1"/>
            <c:invertIfNegative val="0"/>
            <c:bubble3D val="0"/>
            <c:spPr>
              <a:solidFill>
                <a:schemeClr val="accent6">
                  <a:lumMod val="75000"/>
                </a:schemeClr>
              </a:solidFill>
              <a:ln>
                <a:noFill/>
              </a:ln>
              <a:effectLst/>
            </c:spPr>
            <c:extLst>
              <c:ext xmlns:c16="http://schemas.microsoft.com/office/drawing/2014/chart" uri="{C3380CC4-5D6E-409C-BE32-E72D297353CC}">
                <c16:uniqueId val="{00000003-B050-4C75-85BE-484D46F8F167}"/>
              </c:ext>
            </c:extLst>
          </c:dPt>
          <c:dPt>
            <c:idx val="2"/>
            <c:invertIfNegative val="0"/>
            <c:bubble3D val="0"/>
            <c:spPr>
              <a:solidFill>
                <a:srgbClr val="FFC000"/>
              </a:solidFill>
              <a:ln>
                <a:noFill/>
              </a:ln>
              <a:effectLst/>
            </c:spPr>
            <c:extLst>
              <c:ext xmlns:c16="http://schemas.microsoft.com/office/drawing/2014/chart" uri="{C3380CC4-5D6E-409C-BE32-E72D297353CC}">
                <c16:uniqueId val="{00000005-B050-4C75-85BE-484D46F8F167}"/>
              </c:ext>
            </c:extLst>
          </c:dPt>
          <c:dLbls>
            <c:numFmt formatCode="0%" sourceLinked="0"/>
            <c:spPr>
              <a:noFill/>
              <a:ln>
                <a:noFill/>
              </a:ln>
              <a:effectLst/>
            </c:spPr>
            <c:txPr>
              <a:bodyPr rot="0" spcFirstLastPara="1" vertOverflow="clip" horzOverflow="clip" vert="horz" wrap="square" lIns="38100" tIns="19050" rIns="38100" bIns="19050" anchor="ctr" anchorCtr="1">
                <a:spAutoFit/>
              </a:bodyPr>
              <a:lstStyle/>
              <a:p>
                <a:pPr>
                  <a:defRPr sz="18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Resumo!$D$4:$F$4</c:f>
              <c:strCache>
                <c:ptCount val="3"/>
                <c:pt idx="0">
                  <c:v>Trial Period</c:v>
                </c:pt>
                <c:pt idx="1">
                  <c:v>Best period</c:v>
                </c:pt>
                <c:pt idx="2">
                  <c:v>Annual Average</c:v>
                </c:pt>
              </c:strCache>
            </c:strRef>
          </c:cat>
          <c:val>
            <c:numRef>
              <c:f>Resumo!$D$21:$F$21</c:f>
              <c:numCache>
                <c:formatCode>0.0%</c:formatCode>
                <c:ptCount val="3"/>
                <c:pt idx="0">
                  <c:v>0.55438658540287888</c:v>
                </c:pt>
                <c:pt idx="1">
                  <c:v>0.66041779314860294</c:v>
                </c:pt>
                <c:pt idx="2">
                  <c:v>0.49199999999999999</c:v>
                </c:pt>
              </c:numCache>
            </c:numRef>
          </c:val>
          <c:extLst>
            <c:ext xmlns:c16="http://schemas.microsoft.com/office/drawing/2014/chart" uri="{C3380CC4-5D6E-409C-BE32-E72D297353CC}">
              <c16:uniqueId val="{00000006-B050-4C75-85BE-484D46F8F167}"/>
            </c:ext>
          </c:extLst>
        </c:ser>
        <c:dLbls>
          <c:dLblPos val="outEnd"/>
          <c:showLegendKey val="0"/>
          <c:showVal val="1"/>
          <c:showCatName val="0"/>
          <c:showSerName val="0"/>
          <c:showPercent val="0"/>
          <c:showBubbleSize val="0"/>
        </c:dLbls>
        <c:gapWidth val="383"/>
        <c:overlap val="-90"/>
        <c:axId val="1885143952"/>
        <c:axId val="909952320"/>
      </c:barChart>
      <c:catAx>
        <c:axId val="18851439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cap="all" spc="120" normalizeH="0" baseline="0">
                <a:solidFill>
                  <a:schemeClr val="tx1"/>
                </a:solidFill>
                <a:latin typeface="+mn-lt"/>
                <a:ea typeface="+mn-ea"/>
                <a:cs typeface="+mn-cs"/>
              </a:defRPr>
            </a:pPr>
            <a:endParaRPr lang="en-US"/>
          </a:p>
        </c:txPr>
        <c:crossAx val="909952320"/>
        <c:crosses val="autoZero"/>
        <c:auto val="1"/>
        <c:lblAlgn val="ctr"/>
        <c:lblOffset val="100"/>
        <c:noMultiLvlLbl val="0"/>
      </c:catAx>
      <c:valAx>
        <c:axId val="909952320"/>
        <c:scaling>
          <c:orientation val="minMax"/>
        </c:scaling>
        <c:delete val="1"/>
        <c:axPos val="l"/>
        <c:title>
          <c:tx>
            <c:rich>
              <a:bodyPr rot="-5400000" spcFirstLastPara="1" vertOverflow="ellipsis" vert="horz" wrap="square" anchor="ctr" anchorCtr="1"/>
              <a:lstStyle/>
              <a:p>
                <a:pPr>
                  <a:defRPr sz="1800" b="0" i="0" u="none" strike="noStrike" kern="1200" cap="all" baseline="0">
                    <a:solidFill>
                      <a:schemeClr val="tx1"/>
                    </a:solidFill>
                    <a:latin typeface="+mn-lt"/>
                    <a:ea typeface="+mn-ea"/>
                    <a:cs typeface="+mn-cs"/>
                  </a:defRPr>
                </a:pPr>
                <a:r>
                  <a:rPr lang="en-GB"/>
                  <a:t>Alternative Fuel Rate</a:t>
                </a:r>
              </a:p>
              <a:p>
                <a:pPr>
                  <a:defRPr/>
                </a:pPr>
                <a:r>
                  <a:rPr lang="en-GB"/>
                  <a:t> (Energy %)</a:t>
                </a:r>
              </a:p>
            </c:rich>
          </c:tx>
          <c:overlay val="0"/>
          <c:spPr>
            <a:noFill/>
            <a:ln>
              <a:noFill/>
            </a:ln>
            <a:effectLst/>
          </c:spPr>
          <c:txPr>
            <a:bodyPr rot="-5400000" spcFirstLastPara="1" vertOverflow="ellipsis" vert="horz" wrap="square" anchor="ctr" anchorCtr="1"/>
            <a:lstStyle/>
            <a:p>
              <a:pPr>
                <a:defRPr sz="1800" b="0" i="0" u="none" strike="noStrike" kern="1200" cap="all" baseline="0">
                  <a:solidFill>
                    <a:schemeClr val="tx1"/>
                  </a:solidFill>
                  <a:latin typeface="+mn-lt"/>
                  <a:ea typeface="+mn-ea"/>
                  <a:cs typeface="+mn-cs"/>
                </a:defRPr>
              </a:pPr>
              <a:endParaRPr lang="en-US"/>
            </a:p>
          </c:txPr>
        </c:title>
        <c:numFmt formatCode="0.0%" sourceLinked="1"/>
        <c:majorTickMark val="none"/>
        <c:minorTickMark val="none"/>
        <c:tickLblPos val="nextTo"/>
        <c:crossAx val="18851439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sz="1800">
          <a:solidFill>
            <a:schemeClr val="tx1"/>
          </a:solidFill>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manualLayout>
          <c:layoutTarget val="inner"/>
          <c:xMode val="edge"/>
          <c:yMode val="edge"/>
          <c:x val="8.2458875808840731E-2"/>
          <c:y val="3.8620930442859566E-2"/>
          <c:w val="0.84493386346508659"/>
          <c:h val="0.82698180089076179"/>
        </c:manualLayout>
      </c:layout>
      <c:barChart>
        <c:barDir val="col"/>
        <c:grouping val="clustered"/>
        <c:varyColors val="0"/>
        <c:ser>
          <c:idx val="0"/>
          <c:order val="0"/>
          <c:spPr>
            <a:solidFill>
              <a:schemeClr val="dk1">
                <a:tint val="88500"/>
              </a:schemeClr>
            </a:solidFill>
            <a:ln>
              <a:noFill/>
            </a:ln>
            <a:effectLst/>
          </c:spPr>
          <c:invertIfNegative val="0"/>
          <c:dPt>
            <c:idx val="0"/>
            <c:invertIfNegative val="0"/>
            <c:bubble3D val="0"/>
            <c:spPr>
              <a:solidFill>
                <a:schemeClr val="accent5">
                  <a:lumMod val="75000"/>
                </a:schemeClr>
              </a:solidFill>
              <a:ln>
                <a:noFill/>
              </a:ln>
              <a:effectLst/>
            </c:spPr>
            <c:extLst>
              <c:ext xmlns:c16="http://schemas.microsoft.com/office/drawing/2014/chart" uri="{C3380CC4-5D6E-409C-BE32-E72D297353CC}">
                <c16:uniqueId val="{00000001-E089-45D4-B26C-B2D6169F910F}"/>
              </c:ext>
            </c:extLst>
          </c:dPt>
          <c:dPt>
            <c:idx val="1"/>
            <c:invertIfNegative val="0"/>
            <c:bubble3D val="0"/>
            <c:spPr>
              <a:solidFill>
                <a:schemeClr val="accent6">
                  <a:lumMod val="75000"/>
                </a:schemeClr>
              </a:solidFill>
              <a:ln>
                <a:noFill/>
              </a:ln>
              <a:effectLst/>
            </c:spPr>
            <c:extLst>
              <c:ext xmlns:c16="http://schemas.microsoft.com/office/drawing/2014/chart" uri="{C3380CC4-5D6E-409C-BE32-E72D297353CC}">
                <c16:uniqueId val="{00000003-E089-45D4-B26C-B2D6169F910F}"/>
              </c:ext>
            </c:extLst>
          </c:dPt>
          <c:dPt>
            <c:idx val="2"/>
            <c:invertIfNegative val="0"/>
            <c:bubble3D val="0"/>
            <c:spPr>
              <a:solidFill>
                <a:srgbClr val="F6BD25"/>
              </a:solidFill>
              <a:ln>
                <a:noFill/>
              </a:ln>
              <a:effectLst/>
            </c:spPr>
            <c:extLst>
              <c:ext xmlns:c16="http://schemas.microsoft.com/office/drawing/2014/chart" uri="{C3380CC4-5D6E-409C-BE32-E72D297353CC}">
                <c16:uniqueId val="{00000005-E089-45D4-B26C-B2D6169F910F}"/>
              </c:ext>
            </c:extLst>
          </c:dPt>
          <c:dLbls>
            <c:spPr>
              <a:noFill/>
              <a:ln>
                <a:noFill/>
              </a:ln>
              <a:effectLst/>
            </c:spPr>
            <c:txPr>
              <a:bodyPr rot="0" spcFirstLastPara="1" vertOverflow="clip" horzOverflow="clip" vert="horz" wrap="square" lIns="38100" tIns="19050" rIns="38100" bIns="19050" anchor="ctr" anchorCtr="1">
                <a:spAutoFit/>
              </a:bodyPr>
              <a:lstStyle/>
              <a:p>
                <a:pPr>
                  <a:defRPr sz="20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Resumo!$D$4:$F$4</c:f>
              <c:strCache>
                <c:ptCount val="3"/>
                <c:pt idx="0">
                  <c:v>Trial Period</c:v>
                </c:pt>
                <c:pt idx="1">
                  <c:v>Best period</c:v>
                </c:pt>
                <c:pt idx="2">
                  <c:v>Annual Average</c:v>
                </c:pt>
              </c:strCache>
            </c:strRef>
          </c:cat>
          <c:val>
            <c:numRef>
              <c:f>Resumo!$D$19:$F$19</c:f>
              <c:numCache>
                <c:formatCode>0</c:formatCode>
                <c:ptCount val="3"/>
                <c:pt idx="0">
                  <c:v>279.11102665851575</c:v>
                </c:pt>
                <c:pt idx="1">
                  <c:v>268.97875703861916</c:v>
                </c:pt>
                <c:pt idx="2">
                  <c:v>301</c:v>
                </c:pt>
              </c:numCache>
            </c:numRef>
          </c:val>
          <c:extLst>
            <c:ext xmlns:c16="http://schemas.microsoft.com/office/drawing/2014/chart" uri="{C3380CC4-5D6E-409C-BE32-E72D297353CC}">
              <c16:uniqueId val="{00000006-E089-45D4-B26C-B2D6169F910F}"/>
            </c:ext>
          </c:extLst>
        </c:ser>
        <c:dLbls>
          <c:dLblPos val="outEnd"/>
          <c:showLegendKey val="0"/>
          <c:showVal val="1"/>
          <c:showCatName val="0"/>
          <c:showSerName val="0"/>
          <c:showPercent val="0"/>
          <c:showBubbleSize val="0"/>
        </c:dLbls>
        <c:gapWidth val="383"/>
        <c:overlap val="-90"/>
        <c:axId val="1885143952"/>
        <c:axId val="909952320"/>
      </c:barChart>
      <c:catAx>
        <c:axId val="18851439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000" b="0" i="0" u="none" strike="noStrike" kern="1200" cap="all" spc="120" normalizeH="0" baseline="0">
                <a:solidFill>
                  <a:schemeClr val="tx1"/>
                </a:solidFill>
                <a:latin typeface="+mn-lt"/>
                <a:ea typeface="+mn-ea"/>
                <a:cs typeface="+mn-cs"/>
              </a:defRPr>
            </a:pPr>
            <a:endParaRPr lang="en-US"/>
          </a:p>
        </c:txPr>
        <c:crossAx val="909952320"/>
        <c:crosses val="autoZero"/>
        <c:auto val="1"/>
        <c:lblAlgn val="ctr"/>
        <c:lblOffset val="100"/>
        <c:noMultiLvlLbl val="0"/>
      </c:catAx>
      <c:valAx>
        <c:axId val="909952320"/>
        <c:scaling>
          <c:orientation val="minMax"/>
        </c:scaling>
        <c:delete val="1"/>
        <c:axPos val="l"/>
        <c:title>
          <c:tx>
            <c:rich>
              <a:bodyPr rot="-5400000" spcFirstLastPara="1" vertOverflow="ellipsis" vert="horz" wrap="square" anchor="ctr" anchorCtr="1"/>
              <a:lstStyle/>
              <a:p>
                <a:pPr>
                  <a:defRPr sz="2000" b="0" i="0" u="none" strike="noStrike" kern="1200" cap="all" baseline="0">
                    <a:solidFill>
                      <a:schemeClr val="tx1"/>
                    </a:solidFill>
                    <a:latin typeface="+mn-lt"/>
                    <a:ea typeface="+mn-ea"/>
                    <a:cs typeface="+mn-cs"/>
                  </a:defRPr>
                </a:pPr>
                <a:r>
                  <a:rPr lang="pt-PT"/>
                  <a:t>CO2  Emissions </a:t>
                </a:r>
              </a:p>
              <a:p>
                <a:pPr>
                  <a:defRPr/>
                </a:pPr>
                <a:r>
                  <a:rPr lang="pt-PT"/>
                  <a:t>(kg CO2/ton clinker)</a:t>
                </a:r>
              </a:p>
            </c:rich>
          </c:tx>
          <c:overlay val="0"/>
          <c:spPr>
            <a:noFill/>
            <a:ln>
              <a:noFill/>
            </a:ln>
            <a:effectLst/>
          </c:spPr>
          <c:txPr>
            <a:bodyPr rot="-5400000" spcFirstLastPara="1" vertOverflow="ellipsis" vert="horz" wrap="square" anchor="ctr" anchorCtr="1"/>
            <a:lstStyle/>
            <a:p>
              <a:pPr>
                <a:defRPr sz="2000" b="0" i="0" u="none" strike="noStrike" kern="1200" cap="all" baseline="0">
                  <a:solidFill>
                    <a:schemeClr val="tx1"/>
                  </a:solidFill>
                  <a:latin typeface="+mn-lt"/>
                  <a:ea typeface="+mn-ea"/>
                  <a:cs typeface="+mn-cs"/>
                </a:defRPr>
              </a:pPr>
              <a:endParaRPr lang="en-US"/>
            </a:p>
          </c:txPr>
        </c:title>
        <c:numFmt formatCode="0" sourceLinked="1"/>
        <c:majorTickMark val="none"/>
        <c:minorTickMark val="none"/>
        <c:tickLblPos val="nextTo"/>
        <c:crossAx val="18851439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sz="2000">
          <a:solidFill>
            <a:schemeClr val="tx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Reversed" id="24">
  <a:schemeClr val="accent4"/>
</cs:colorStyle>
</file>

<file path=ppt/charts/colors2.xml><?xml version="1.0" encoding="utf-8"?>
<cs:colorStyle xmlns:cs="http://schemas.microsoft.com/office/drawing/2012/chartStyle" xmlns:a="http://schemas.openxmlformats.org/drawingml/2006/main" meth="withinLinearReversed" id="24">
  <a:schemeClr val="accent4"/>
</cs:colorStyle>
</file>

<file path=ppt/charts/colors3.xml><?xml version="1.0" encoding="utf-8"?>
<cs:colorStyle xmlns:cs="http://schemas.microsoft.com/office/drawing/2012/chartStyle" xmlns:a="http://schemas.openxmlformats.org/drawingml/2006/main" meth="withinLinearReversed" id="24">
  <a:schemeClr val="accent4"/>
</cs:colorStyle>
</file>

<file path=ppt/charts/colors4.xml><?xml version="1.0" encoding="utf-8"?>
<cs:colorStyle xmlns:cs="http://schemas.microsoft.com/office/drawing/2012/chartStyle" xmlns:a="http://schemas.openxmlformats.org/drawingml/2006/main" meth="cycle" id="20">
  <a:schemeClr val="dk1"/>
  <cs:variation>
    <a:tint val="88500"/>
  </cs:variation>
  <cs:variation>
    <a:tint val="55000"/>
  </cs:variation>
  <cs:variation>
    <a:tint val="75000"/>
  </cs:variation>
  <cs:variation>
    <a:tint val="98500"/>
  </cs:variation>
  <cs:variation>
    <a:tint val="30000"/>
  </cs:variation>
  <cs:variation>
    <a:tint val="60000"/>
  </cs:variation>
  <cs:variation>
    <a:tint val="80000"/>
  </cs:variation>
</cs:colorStyle>
</file>

<file path=ppt/charts/style1.xml><?xml version="1.0" encoding="utf-8"?>
<cs:chartStyle xmlns:cs="http://schemas.microsoft.com/office/drawing/2012/chartStyle" xmlns:a="http://schemas.openxmlformats.org/drawingml/2006/main" id="202">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800" b="0" i="0" u="none" strike="noStrike" kern="1200" baseline="0"/>
    <cs:bodyPr rot="-5400000" spcFirstLastPara="1" vertOverflow="clip" horzOverflow="clip" vert="horz" wrap="square" lIns="38100" tIns="19050" rIns="38100" bIns="19050" anchor="ctr" anchorCtr="1">
      <a:spAutoFit/>
    </cs:bodyPr>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02">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800" b="0" i="0" u="none" strike="noStrike" kern="1200" baseline="0"/>
    <cs:bodyPr rot="-5400000" spcFirstLastPara="1" vertOverflow="clip" horzOverflow="clip" vert="horz" wrap="square" lIns="38100" tIns="19050" rIns="38100" bIns="19050" anchor="ctr" anchorCtr="1">
      <a:spAutoFit/>
    </cs:bodyPr>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3.xml><?xml version="1.0" encoding="utf-8"?>
<cs:chartStyle xmlns:cs="http://schemas.microsoft.com/office/drawing/2012/chartStyle" xmlns:a="http://schemas.openxmlformats.org/drawingml/2006/main" id="202">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800" b="0" i="0" u="none" strike="noStrike" kern="1200" baseline="0"/>
    <cs:bodyPr rot="-5400000" spcFirstLastPara="1" vertOverflow="clip" horzOverflow="clip" vert="horz" wrap="square" lIns="38100" tIns="19050" rIns="38100" bIns="19050" anchor="ctr" anchorCtr="1">
      <a:spAutoFit/>
    </cs:bodyPr>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4.xml><?xml version="1.0" encoding="utf-8"?>
<cs:chartStyle xmlns:cs="http://schemas.microsoft.com/office/drawing/2012/chartStyle" xmlns:a="http://schemas.openxmlformats.org/drawingml/2006/main" id="202">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800" b="0" i="0" u="none" strike="noStrike" kern="1200" baseline="0"/>
    <cs:bodyPr rot="-5400000" spcFirstLastPara="1" vertOverflow="clip" horzOverflow="clip" vert="horz" wrap="square" lIns="38100" tIns="19050" rIns="38100" bIns="19050" anchor="ctr" anchorCtr="1">
      <a:spAutoFit/>
    </cs:bodyPr>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omments/modernComment_1382_A2AF1C3D.xml><?xml version="1.0" encoding="utf-8"?>
<p188:cmLst xmlns:a="http://schemas.openxmlformats.org/drawingml/2006/main" xmlns:r="http://schemas.openxmlformats.org/officeDocument/2006/relationships" xmlns:p188="http://schemas.microsoft.com/office/powerpoint/2018/8/main">
  <p188:cm id="{412DED61-2B14-464A-B81D-A3C8C9649A67}" authorId="{A1B43415-2D16-E1EE-01D3-2F0F40336A2D}" created="2023-10-13T06:26:26.882">
    <ac:txMkLst xmlns:ac="http://schemas.microsoft.com/office/drawing/2013/main/command">
      <pc:docMk xmlns:pc="http://schemas.microsoft.com/office/powerpoint/2013/main/command"/>
      <pc:sldMk xmlns:pc="http://schemas.microsoft.com/office/powerpoint/2013/main/command" cId="2729385021" sldId="4994"/>
      <ac:spMk id="32" creationId="{C6EB843E-D00A-49A0-A9CB-83132B48CD88}"/>
      <ac:txMk cp="86">
        <ac:context len="87" hash="2255136984"/>
      </ac:txMk>
    </ac:txMkLst>
    <p188:pos x="6579111" y="1385093"/>
    <p188:txBody>
      <a:bodyPr/>
      <a:lstStyle/>
      <a:p>
        <a:r>
          <a:rPr lang="sv-SE"/>
          <a:t>From  module 1?</a:t>
        </a:r>
      </a:p>
    </p188:txBody>
  </p188:cm>
</p188:cmLst>
</file>

<file path=ppt/comments/modernComment_13A3_12FF8F9A.xml><?xml version="1.0" encoding="utf-8"?>
<p188:cmLst xmlns:a="http://schemas.openxmlformats.org/drawingml/2006/main" xmlns:r="http://schemas.openxmlformats.org/officeDocument/2006/relationships" xmlns:p188="http://schemas.microsoft.com/office/powerpoint/2018/8/main">
  <p188:cm id="{D01B9D08-E572-44B7-9601-E66FE28C70F5}" authorId="{A1B43415-2D16-E1EE-01D3-2F0F40336A2D}" created="2023-10-13T08:24:19.167">
    <ac:txMkLst xmlns:ac="http://schemas.microsoft.com/office/drawing/2013/main/command">
      <pc:docMk xmlns:pc="http://schemas.microsoft.com/office/powerpoint/2013/main/command"/>
      <pc:sldMk xmlns:pc="http://schemas.microsoft.com/office/powerpoint/2013/main/command" cId="318738330" sldId="5027"/>
      <ac:spMk id="24" creationId="{A97EA764-7BA5-46E6-BD08-CD4E8F4C859F}"/>
      <ac:txMk cp="16" len="4">
        <ac:context len="227" hash="3744229624"/>
      </ac:txMk>
    </ac:txMkLst>
    <p188:pos x="981751" y="1490136"/>
    <p188:replyLst>
      <p188:reply id="{C35891E9-CF05-4AAA-A330-C64035F4A75A}" authorId="{A1B43415-2D16-E1EE-01D3-2F0F40336A2D}" created="2023-10-24T07:34:52.507">
        <p188:txBody>
          <a:bodyPr/>
          <a:lstStyle/>
          <a:p>
            <a:r>
              <a:rPr lang="en-GB"/>
              <a:t>@Benjamin? @Olga?</a:t>
            </a:r>
          </a:p>
        </p188:txBody>
      </p188:reply>
    </p188:replyLst>
    <p188:txBody>
      <a:bodyPr/>
      <a:lstStyle/>
      <a:p>
        <a:r>
          <a:rPr lang="sv-SE"/>
          <a:t>Do we have an answer to this? I guess we have right, please fill in the notes. </a:t>
        </a:r>
      </a:p>
    </p188:txBody>
  </p188:cm>
</p188:cmLst>
</file>

<file path=ppt/comments/modernComment_7FFE55C8_3B67C8C6.xml><?xml version="1.0" encoding="utf-8"?>
<p188:cmLst xmlns:a="http://schemas.openxmlformats.org/drawingml/2006/main" xmlns:r="http://schemas.openxmlformats.org/officeDocument/2006/relationships" xmlns:p188="http://schemas.microsoft.com/office/powerpoint/2018/8/main">
  <p188:cm id="{6ADDF587-BBEE-491F-904D-6DB7BCC797E6}" authorId="{A1B43415-2D16-E1EE-01D3-2F0F40336A2D}" created="2023-10-25T09:53:31.003">
    <ac:deMkLst xmlns:ac="http://schemas.microsoft.com/office/drawing/2013/main/command">
      <pc:docMk xmlns:pc="http://schemas.microsoft.com/office/powerpoint/2013/main/command"/>
      <pc:sldMk xmlns:pc="http://schemas.microsoft.com/office/powerpoint/2013/main/command" cId="996657350" sldId="2147374536"/>
      <ac:spMk id="4" creationId="{4DBA6E6C-EF4B-454F-10E8-510ECCEF6124}"/>
    </ac:deMkLst>
    <p188:txBody>
      <a:bodyPr/>
      <a:lstStyle/>
      <a:p>
        <a:r>
          <a:rPr lang="en-GB"/>
          <a:t>Olga comment?</a:t>
        </a:r>
      </a:p>
    </p188:txBody>
  </p188:cm>
</p188:cmLst>
</file>

<file path=ppt/diagrams/_rels/data11.xml.rels><?xml version="1.0" encoding="UTF-8" standalone="yes"?>
<Relationships xmlns="http://schemas.openxmlformats.org/package/2006/relationships"><Relationship Id="rId2" Type="http://schemas.openxmlformats.org/officeDocument/2006/relationships/hyperlink" Target="https://cembureau.eu/media/kuxd32gi/cembureau-2050-roadmap_final-version_web.pdf" TargetMode="External"/><Relationship Id="rId1" Type="http://schemas.openxmlformats.org/officeDocument/2006/relationships/hyperlink" Target="https://gccassociation.org/concretefuture/wp-content/uploads/2022/10/GCCA-Concrete-Future-Roadmap-Document-AW-2022.pdf" TargetMode="External"/></Relationships>
</file>

<file path=ppt/diagrams/_rels/data5.xml.rels><?xml version="1.0" encoding="UTF-8" standalone="yes"?>
<Relationships xmlns="http://schemas.openxmlformats.org/package/2006/relationships"><Relationship Id="rId3" Type="http://schemas.openxmlformats.org/officeDocument/2006/relationships/image" Target="../media/image97.jpeg"/><Relationship Id="rId2" Type="http://schemas.openxmlformats.org/officeDocument/2006/relationships/image" Target="../media/image96.jpeg"/><Relationship Id="rId1" Type="http://schemas.openxmlformats.org/officeDocument/2006/relationships/image" Target="../media/image95.jpeg"/></Relationships>
</file>

<file path=ppt/diagrams/_rels/drawing11.xml.rels><?xml version="1.0" encoding="UTF-8" standalone="yes"?>
<Relationships xmlns="http://schemas.openxmlformats.org/package/2006/relationships"><Relationship Id="rId2" Type="http://schemas.openxmlformats.org/officeDocument/2006/relationships/hyperlink" Target="https://cembureau.eu/media/kuxd32gi/cembureau-2050-roadmap_final-version_web.pdf" TargetMode="External"/><Relationship Id="rId1" Type="http://schemas.openxmlformats.org/officeDocument/2006/relationships/hyperlink" Target="https://gccassociation.org/concretefuture/wp-content/uploads/2022/10/GCCA-Concrete-Future-Roadmap-Document-AW-2022.pdf" TargetMode="External"/></Relationships>
</file>

<file path=ppt/diagrams/_rels/drawing5.xml.rels><?xml version="1.0" encoding="UTF-8" standalone="yes"?>
<Relationships xmlns="http://schemas.openxmlformats.org/package/2006/relationships"><Relationship Id="rId3" Type="http://schemas.openxmlformats.org/officeDocument/2006/relationships/image" Target="../media/image97.jpeg"/><Relationship Id="rId2" Type="http://schemas.openxmlformats.org/officeDocument/2006/relationships/image" Target="../media/image96.jpeg"/><Relationship Id="rId1" Type="http://schemas.openxmlformats.org/officeDocument/2006/relationships/image" Target="../media/image95.jpe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4">
  <dgm:title val=""/>
  <dgm:desc val=""/>
  <dgm:catLst>
    <dgm:cat type="accent2" pri="11400"/>
  </dgm:catLst>
  <dgm:styleLbl name="node0">
    <dgm:fillClrLst meth="cycle">
      <a:schemeClr val="accent2">
        <a:shade val="60000"/>
      </a:schemeClr>
    </dgm:fillClrLst>
    <dgm:linClrLst meth="repeat">
      <a:schemeClr val="lt1"/>
    </dgm:linClrLst>
    <dgm:effectClrLst/>
    <dgm:txLinClrLst/>
    <dgm:txFillClrLst/>
    <dgm:txEffectClrLst/>
  </dgm:styleLbl>
  <dgm:styleLbl name="node1">
    <dgm:fillClrLst meth="cycle">
      <a:schemeClr val="accent2">
        <a:shade val="50000"/>
      </a:schemeClr>
      <a:schemeClr val="accent2">
        <a:tint val="45000"/>
      </a:schemeClr>
    </dgm:fillClrLst>
    <dgm:linClrLst meth="repeat">
      <a:schemeClr val="lt1"/>
    </dgm:linClrLst>
    <dgm:effectClrLst/>
    <dgm:txLinClrLst/>
    <dgm:txFillClrLst/>
    <dgm:txEffectClrLst/>
  </dgm:styleLbl>
  <dgm:styleLbl name="alignNode1">
    <dgm:fillClrLst meth="cycle">
      <a:schemeClr val="accent2">
        <a:shade val="50000"/>
      </a:schemeClr>
      <a:schemeClr val="accent2">
        <a:tint val="45000"/>
      </a:schemeClr>
    </dgm:fillClrLst>
    <dgm:linClrLst meth="cycle">
      <a:schemeClr val="accent2">
        <a:shade val="50000"/>
      </a:schemeClr>
      <a:schemeClr val="accent2">
        <a:tint val="45000"/>
      </a:schemeClr>
    </dgm:linClrLst>
    <dgm:effectClrLst/>
    <dgm:txLinClrLst/>
    <dgm:txFillClrLst/>
    <dgm:txEffectClrLst/>
  </dgm:styleLbl>
  <dgm:styleLbl name="lnNode1">
    <dgm:fillClrLst meth="cycle">
      <a:schemeClr val="accent2">
        <a:shade val="50000"/>
      </a:schemeClr>
      <a:schemeClr val="accent2">
        <a:tint val="45000"/>
      </a:schemeClr>
    </dgm:fillClrLst>
    <dgm:linClrLst meth="repeat">
      <a:schemeClr val="lt1"/>
    </dgm:linClrLst>
    <dgm:effectClrLst/>
    <dgm:txLinClrLst/>
    <dgm:txFillClrLst/>
    <dgm:txEffectClrLst/>
  </dgm:styleLbl>
  <dgm:styleLbl name="vennNode1">
    <dgm:fillClrLst meth="cycle">
      <a:schemeClr val="accent2">
        <a:shade val="80000"/>
        <a:alpha val="50000"/>
      </a:schemeClr>
      <a:schemeClr val="accent2">
        <a:tint val="45000"/>
        <a:alpha val="50000"/>
      </a:schemeClr>
    </dgm:fillClrLst>
    <dgm:linClrLst meth="repeat">
      <a:schemeClr val="lt1"/>
    </dgm:linClrLst>
    <dgm:effectClrLst/>
    <dgm:txLinClrLst/>
    <dgm:txFillClrLst/>
    <dgm:txEffectClrLst/>
  </dgm:styleLbl>
  <dgm:styleLbl name="node2">
    <dgm:fillClrLst>
      <a:schemeClr val="accent2">
        <a:shade val="80000"/>
      </a:schemeClr>
    </dgm:fillClrLst>
    <dgm:linClrLst meth="repeat">
      <a:schemeClr val="lt1"/>
    </dgm:linClrLst>
    <dgm:effectClrLst/>
    <dgm:txLinClrLst/>
    <dgm:txFillClrLst/>
    <dgm:txEffectClrLst/>
  </dgm:styleLbl>
  <dgm:styleLbl name="node3">
    <dgm:fillClrLst>
      <a:schemeClr val="accent2">
        <a:tint val="99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dgm:txEffectClrLst/>
  </dgm:styleLbl>
  <dgm:styleLbl name="fgSibTrans2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dgm:txEffectClrLst/>
  </dgm:styleLbl>
  <dgm:styleLbl name="bgSibTrans2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dgm:txEffectClrLst/>
  </dgm:styleLbl>
  <dgm:styleLbl name="sibTrans1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0000"/>
      </a:schemeClr>
    </dgm:fillClrLst>
    <dgm:linClrLst meth="repeat">
      <a:schemeClr val="lt1"/>
    </dgm:linClrLst>
    <dgm:effectClrLst/>
    <dgm:txLinClrLst/>
    <dgm:txFillClrLst/>
    <dgm:txEffectClrLst/>
  </dgm:styleLbl>
  <dgm:styleLbl name="asst3">
    <dgm:fillClrLst>
      <a:schemeClr val="accent2">
        <a:tint val="70000"/>
      </a:schemeClr>
    </dgm:fillClrLst>
    <dgm:linClrLst meth="repeat">
      <a:schemeClr val="lt1"/>
    </dgm:linClrLst>
    <dgm:effectClrLst/>
    <dgm:txLinClrLst/>
    <dgm:txFillClrLst/>
    <dgm:txEffectClrLst/>
  </dgm:styleLbl>
  <dgm:styleLbl name="asst4">
    <dgm:fillClrLst>
      <a:schemeClr val="accent2">
        <a:tint val="5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shade val="80000"/>
      </a:schemeClr>
    </dgm:linClrLst>
    <dgm:effectClrLst/>
    <dgm:txLinClrLst/>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dk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2">
        <a:tint val="90000"/>
      </a:schemeClr>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2">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55000"/>
      </a:schemeClr>
    </dgm:fillClrLst>
    <dgm:linClrLst meth="repeat">
      <a:schemeClr val="accent2">
        <a:alpha val="90000"/>
        <a:tint val="55000"/>
      </a:schemeClr>
    </dgm:linClrLst>
    <dgm:effectClrLst/>
    <dgm:txLinClrLst/>
    <dgm:txFillClrLst meth="repeat">
      <a:schemeClr val="dk1"/>
    </dgm:txFillClrLst>
    <dgm:txEffectClrLst/>
  </dgm:styleLbl>
  <dgm:styleLbl name="alignAccFollowNode1">
    <dgm:fillClrLst meth="repeat">
      <a:schemeClr val="accent2">
        <a:alpha val="90000"/>
        <a:tint val="55000"/>
      </a:schemeClr>
    </dgm:fillClrLst>
    <dgm:linClrLst meth="repeat">
      <a:schemeClr val="accent2">
        <a:alpha val="90000"/>
        <a:tint val="55000"/>
      </a:schemeClr>
    </dgm:linClrLst>
    <dgm:effectClrLst/>
    <dgm:txLinClrLst/>
    <dgm:txFillClrLst meth="repeat">
      <a:schemeClr val="dk1"/>
    </dgm:txFillClrLst>
    <dgm:txEffectClrLst/>
  </dgm:styleLbl>
  <dgm:styleLbl name="bgAccFollowNode1">
    <dgm:fillClrLst meth="repeat">
      <a:schemeClr val="accent2">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50000"/>
      </a:schemeClr>
    </dgm:linClrLst>
    <dgm:effectClrLst/>
    <dgm:txLinClrLst/>
    <dgm:txFillClrLst meth="repeat">
      <a:schemeClr val="dk1"/>
    </dgm:txFillClrLst>
    <dgm:txEffectClrLst/>
  </dgm:styleLbl>
  <dgm:styleLbl name="bgShp">
    <dgm:fillClrLst meth="repeat">
      <a:schemeClr val="accent2">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55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CDB39A5-7E87-47D0-931B-33ABCE8F5D77}" type="doc">
      <dgm:prSet loTypeId="urn:microsoft.com/office/officeart/2005/8/layout/hierarchy3" loCatId="hierarchy" qsTypeId="urn:microsoft.com/office/officeart/2005/8/quickstyle/simple3" qsCatId="simple" csTypeId="urn:microsoft.com/office/officeart/2005/8/colors/accent1_2" csCatId="accent1" phldr="1"/>
      <dgm:spPr/>
      <dgm:t>
        <a:bodyPr/>
        <a:lstStyle/>
        <a:p>
          <a:endParaRPr lang="sv-SE"/>
        </a:p>
      </dgm:t>
    </dgm:pt>
    <dgm:pt modelId="{F983597F-DA80-4F9C-A941-7E50ED86E4D5}">
      <dgm:prSet phldrT="[Text]"/>
      <dgm:spPr/>
      <dgm:t>
        <a:bodyPr/>
        <a:lstStyle/>
        <a:p>
          <a:r>
            <a:rPr lang="sv-SE"/>
            <a:t>Fossil </a:t>
          </a:r>
          <a:r>
            <a:rPr lang="sv-SE" err="1"/>
            <a:t>based</a:t>
          </a:r>
          <a:endParaRPr lang="sv-SE"/>
        </a:p>
      </dgm:t>
    </dgm:pt>
    <dgm:pt modelId="{88A0BA8F-0B29-4D8D-8974-C01691138EBC}" type="parTrans" cxnId="{942AC286-12EC-4607-B23C-4FF531C8D715}">
      <dgm:prSet/>
      <dgm:spPr/>
      <dgm:t>
        <a:bodyPr/>
        <a:lstStyle/>
        <a:p>
          <a:endParaRPr lang="sv-SE"/>
        </a:p>
      </dgm:t>
    </dgm:pt>
    <dgm:pt modelId="{74DAE617-B287-489C-B588-A968B5B01E60}" type="sibTrans" cxnId="{942AC286-12EC-4607-B23C-4FF531C8D715}">
      <dgm:prSet/>
      <dgm:spPr/>
      <dgm:t>
        <a:bodyPr/>
        <a:lstStyle/>
        <a:p>
          <a:endParaRPr lang="sv-SE"/>
        </a:p>
      </dgm:t>
    </dgm:pt>
    <dgm:pt modelId="{BE805C98-979E-48FB-A642-0E68B1DF133B}">
      <dgm:prSet phldrT="[Text]"/>
      <dgm:spPr/>
      <dgm:t>
        <a:bodyPr/>
        <a:lstStyle/>
        <a:p>
          <a:r>
            <a:rPr lang="sv-SE"/>
            <a:t>Oil, NG, Diesel</a:t>
          </a:r>
        </a:p>
      </dgm:t>
    </dgm:pt>
    <dgm:pt modelId="{B3138C65-5F72-4AF1-809B-FC35FEF9CBD1}" type="parTrans" cxnId="{D8D8847B-533D-487B-85B7-8F8B03D840EB}">
      <dgm:prSet/>
      <dgm:spPr/>
      <dgm:t>
        <a:bodyPr/>
        <a:lstStyle/>
        <a:p>
          <a:endParaRPr lang="sv-SE"/>
        </a:p>
      </dgm:t>
    </dgm:pt>
    <dgm:pt modelId="{541B46D3-B48B-4A3C-A8CE-3B15B87FBBE3}" type="sibTrans" cxnId="{D8D8847B-533D-487B-85B7-8F8B03D840EB}">
      <dgm:prSet/>
      <dgm:spPr/>
      <dgm:t>
        <a:bodyPr/>
        <a:lstStyle/>
        <a:p>
          <a:endParaRPr lang="sv-SE"/>
        </a:p>
      </dgm:t>
    </dgm:pt>
    <dgm:pt modelId="{34519695-C1E5-45EF-804F-56BA89D84338}">
      <dgm:prSet phldrT="[Text]"/>
      <dgm:spPr/>
      <dgm:t>
        <a:bodyPr/>
        <a:lstStyle/>
        <a:p>
          <a:r>
            <a:rPr lang="sv-SE" err="1"/>
            <a:t>Homogeneous</a:t>
          </a:r>
          <a:r>
            <a:rPr lang="sv-SE"/>
            <a:t>, </a:t>
          </a:r>
          <a:r>
            <a:rPr lang="sv-SE" err="1"/>
            <a:t>high</a:t>
          </a:r>
          <a:r>
            <a:rPr lang="sv-SE"/>
            <a:t> </a:t>
          </a:r>
          <a:r>
            <a:rPr lang="sv-SE" err="1"/>
            <a:t>energy</a:t>
          </a:r>
          <a:r>
            <a:rPr lang="sv-SE"/>
            <a:t> </a:t>
          </a:r>
          <a:r>
            <a:rPr lang="sv-SE" err="1"/>
            <a:t>density</a:t>
          </a:r>
          <a:endParaRPr lang="sv-SE"/>
        </a:p>
      </dgm:t>
    </dgm:pt>
    <dgm:pt modelId="{FFFD8BE5-2485-40DC-9075-68E0ACBC8ACF}" type="parTrans" cxnId="{5185103C-AB3B-4F82-9879-E25839F9F264}">
      <dgm:prSet/>
      <dgm:spPr/>
      <dgm:t>
        <a:bodyPr/>
        <a:lstStyle/>
        <a:p>
          <a:endParaRPr lang="sv-SE"/>
        </a:p>
      </dgm:t>
    </dgm:pt>
    <dgm:pt modelId="{3EC3759C-9124-4029-98AB-0D6B8B55355A}" type="sibTrans" cxnId="{5185103C-AB3B-4F82-9879-E25839F9F264}">
      <dgm:prSet/>
      <dgm:spPr/>
      <dgm:t>
        <a:bodyPr/>
        <a:lstStyle/>
        <a:p>
          <a:endParaRPr lang="sv-SE"/>
        </a:p>
      </dgm:t>
    </dgm:pt>
    <dgm:pt modelId="{88108C57-134D-44BC-8EE4-8A2B2B904009}">
      <dgm:prSet phldrT="[Text]"/>
      <dgm:spPr/>
      <dgm:t>
        <a:bodyPr/>
        <a:lstStyle/>
        <a:p>
          <a:r>
            <a:rPr lang="sv-SE"/>
            <a:t>Not fossil </a:t>
          </a:r>
          <a:r>
            <a:rPr lang="sv-SE" err="1"/>
            <a:t>based</a:t>
          </a:r>
          <a:endParaRPr lang="sv-SE"/>
        </a:p>
      </dgm:t>
    </dgm:pt>
    <dgm:pt modelId="{1F2198EC-9154-48B0-AB7A-6819E06D33D1}" type="parTrans" cxnId="{86E2CD0D-9007-4226-9FBD-B9B078AFB6F2}">
      <dgm:prSet/>
      <dgm:spPr/>
      <dgm:t>
        <a:bodyPr/>
        <a:lstStyle/>
        <a:p>
          <a:endParaRPr lang="sv-SE"/>
        </a:p>
      </dgm:t>
    </dgm:pt>
    <dgm:pt modelId="{D4D66627-D3BC-4965-BEC5-7E6685CD24AA}" type="sibTrans" cxnId="{86E2CD0D-9007-4226-9FBD-B9B078AFB6F2}">
      <dgm:prSet/>
      <dgm:spPr/>
      <dgm:t>
        <a:bodyPr/>
        <a:lstStyle/>
        <a:p>
          <a:endParaRPr lang="sv-SE"/>
        </a:p>
      </dgm:t>
    </dgm:pt>
    <dgm:pt modelId="{0F64F1B1-BF8A-4AAF-82A4-E5C5FAB1E80A}">
      <dgm:prSet phldrT="[Text]"/>
      <dgm:spPr/>
      <dgm:t>
        <a:bodyPr/>
        <a:lstStyle/>
        <a:p>
          <a:r>
            <a:rPr lang="sv-SE" err="1"/>
            <a:t>Biomass,biogas</a:t>
          </a:r>
          <a:r>
            <a:rPr lang="sv-SE"/>
            <a:t>, hydrogen</a:t>
          </a:r>
        </a:p>
      </dgm:t>
    </dgm:pt>
    <dgm:pt modelId="{3534FB33-C168-41EB-9ABA-9B6470C8B7C9}" type="parTrans" cxnId="{CDDF35EA-533C-4317-B60E-49B49222CE4B}">
      <dgm:prSet/>
      <dgm:spPr/>
      <dgm:t>
        <a:bodyPr/>
        <a:lstStyle/>
        <a:p>
          <a:endParaRPr lang="sv-SE"/>
        </a:p>
      </dgm:t>
    </dgm:pt>
    <dgm:pt modelId="{60FA1263-E4AC-4BCE-8A70-5B9D5074A3D1}" type="sibTrans" cxnId="{CDDF35EA-533C-4317-B60E-49B49222CE4B}">
      <dgm:prSet/>
      <dgm:spPr/>
      <dgm:t>
        <a:bodyPr/>
        <a:lstStyle/>
        <a:p>
          <a:endParaRPr lang="sv-SE"/>
        </a:p>
      </dgm:t>
    </dgm:pt>
    <dgm:pt modelId="{3DC8D9E1-902E-41D5-ADFF-F65B2775C1BD}">
      <dgm:prSet phldrT="[Text]"/>
      <dgm:spPr/>
      <dgm:t>
        <a:bodyPr/>
        <a:lstStyle/>
        <a:p>
          <a:r>
            <a:rPr lang="sv-SE" err="1"/>
            <a:t>Lower</a:t>
          </a:r>
          <a:r>
            <a:rPr lang="sv-SE"/>
            <a:t> </a:t>
          </a:r>
          <a:r>
            <a:rPr lang="sv-SE" err="1"/>
            <a:t>energy</a:t>
          </a:r>
          <a:r>
            <a:rPr lang="sv-SE"/>
            <a:t> </a:t>
          </a:r>
          <a:r>
            <a:rPr lang="sv-SE" err="1"/>
            <a:t>density</a:t>
          </a:r>
          <a:r>
            <a:rPr lang="sv-SE"/>
            <a:t> </a:t>
          </a:r>
        </a:p>
      </dgm:t>
    </dgm:pt>
    <dgm:pt modelId="{BFB3EF04-84C7-4E1B-9768-37694E27640C}" type="parTrans" cxnId="{4C61EF52-9B41-4F97-8A1A-60702289CCD1}">
      <dgm:prSet/>
      <dgm:spPr/>
      <dgm:t>
        <a:bodyPr/>
        <a:lstStyle/>
        <a:p>
          <a:endParaRPr lang="sv-SE"/>
        </a:p>
      </dgm:t>
    </dgm:pt>
    <dgm:pt modelId="{A675214E-8559-45A2-BC61-4DA09DEF8578}" type="sibTrans" cxnId="{4C61EF52-9B41-4F97-8A1A-60702289CCD1}">
      <dgm:prSet/>
      <dgm:spPr/>
      <dgm:t>
        <a:bodyPr/>
        <a:lstStyle/>
        <a:p>
          <a:endParaRPr lang="sv-SE"/>
        </a:p>
      </dgm:t>
    </dgm:pt>
    <dgm:pt modelId="{4264A2CA-A6FC-4D45-90DD-C43A926776A4}">
      <dgm:prSet phldrT="[Text]"/>
      <dgm:spPr/>
      <dgm:t>
        <a:bodyPr/>
        <a:lstStyle/>
        <a:p>
          <a:r>
            <a:rPr lang="sv-SE"/>
            <a:t>Prices going </a:t>
          </a:r>
          <a:r>
            <a:rPr lang="sv-SE" err="1"/>
            <a:t>up</a:t>
          </a:r>
          <a:endParaRPr lang="sv-SE"/>
        </a:p>
      </dgm:t>
    </dgm:pt>
    <dgm:pt modelId="{FF0FE991-7A84-4397-ADFD-F40A14D475E4}" type="parTrans" cxnId="{3D04FD78-2C86-4109-9745-216EC5A42B1B}">
      <dgm:prSet/>
      <dgm:spPr/>
      <dgm:t>
        <a:bodyPr/>
        <a:lstStyle/>
        <a:p>
          <a:endParaRPr lang="sv-SE"/>
        </a:p>
      </dgm:t>
    </dgm:pt>
    <dgm:pt modelId="{0B1FC839-81CC-40E1-8675-2EAEF6596A9A}" type="sibTrans" cxnId="{3D04FD78-2C86-4109-9745-216EC5A42B1B}">
      <dgm:prSet/>
      <dgm:spPr/>
      <dgm:t>
        <a:bodyPr/>
        <a:lstStyle/>
        <a:p>
          <a:endParaRPr lang="sv-SE"/>
        </a:p>
      </dgm:t>
    </dgm:pt>
    <dgm:pt modelId="{920B4A2E-6DAA-4ABA-BB73-CEF15B00659C}">
      <dgm:prSet phldrT="[Text]"/>
      <dgm:spPr/>
      <dgm:t>
        <a:bodyPr/>
        <a:lstStyle/>
        <a:p>
          <a:r>
            <a:rPr lang="sv-SE"/>
            <a:t>Will </a:t>
          </a:r>
          <a:r>
            <a:rPr lang="sv-SE" err="1"/>
            <a:t>prices</a:t>
          </a:r>
          <a:r>
            <a:rPr lang="sv-SE"/>
            <a:t> go </a:t>
          </a:r>
          <a:r>
            <a:rPr lang="sv-SE" err="1"/>
            <a:t>dowm</a:t>
          </a:r>
          <a:r>
            <a:rPr lang="sv-SE"/>
            <a:t>?</a:t>
          </a:r>
        </a:p>
      </dgm:t>
    </dgm:pt>
    <dgm:pt modelId="{DCEE5CA1-6129-4A96-A52E-7813854476A8}" type="parTrans" cxnId="{F3D7C03B-49F5-46D6-AA7A-5BE02BBABE13}">
      <dgm:prSet/>
      <dgm:spPr/>
      <dgm:t>
        <a:bodyPr/>
        <a:lstStyle/>
        <a:p>
          <a:endParaRPr lang="sv-SE"/>
        </a:p>
      </dgm:t>
    </dgm:pt>
    <dgm:pt modelId="{27BBF2B8-A48D-4281-A2B4-DA891EF8208E}" type="sibTrans" cxnId="{F3D7C03B-49F5-46D6-AA7A-5BE02BBABE13}">
      <dgm:prSet/>
      <dgm:spPr/>
      <dgm:t>
        <a:bodyPr/>
        <a:lstStyle/>
        <a:p>
          <a:endParaRPr lang="sv-SE"/>
        </a:p>
      </dgm:t>
    </dgm:pt>
    <dgm:pt modelId="{5E893D17-31F5-4C0B-AD24-F3BCA7D20382}" type="pres">
      <dgm:prSet presAssocID="{4CDB39A5-7E87-47D0-931B-33ABCE8F5D77}" presName="diagram" presStyleCnt="0">
        <dgm:presLayoutVars>
          <dgm:chPref val="1"/>
          <dgm:dir/>
          <dgm:animOne val="branch"/>
          <dgm:animLvl val="lvl"/>
          <dgm:resizeHandles/>
        </dgm:presLayoutVars>
      </dgm:prSet>
      <dgm:spPr/>
    </dgm:pt>
    <dgm:pt modelId="{0B840665-B1A3-4346-A2FE-122A9D359D82}" type="pres">
      <dgm:prSet presAssocID="{F983597F-DA80-4F9C-A941-7E50ED86E4D5}" presName="root" presStyleCnt="0"/>
      <dgm:spPr/>
    </dgm:pt>
    <dgm:pt modelId="{0BE39247-F82E-4832-B643-FC437CC804BA}" type="pres">
      <dgm:prSet presAssocID="{F983597F-DA80-4F9C-A941-7E50ED86E4D5}" presName="rootComposite" presStyleCnt="0"/>
      <dgm:spPr/>
    </dgm:pt>
    <dgm:pt modelId="{AA94A2D5-360A-4AC0-A9B1-6F7FE69928AA}" type="pres">
      <dgm:prSet presAssocID="{F983597F-DA80-4F9C-A941-7E50ED86E4D5}" presName="rootText" presStyleLbl="node1" presStyleIdx="0" presStyleCnt="2" custScaleX="153333"/>
      <dgm:spPr/>
    </dgm:pt>
    <dgm:pt modelId="{58248C68-D67C-417F-ACFD-283B597804BC}" type="pres">
      <dgm:prSet presAssocID="{F983597F-DA80-4F9C-A941-7E50ED86E4D5}" presName="rootConnector" presStyleLbl="node1" presStyleIdx="0" presStyleCnt="2"/>
      <dgm:spPr/>
    </dgm:pt>
    <dgm:pt modelId="{B6247E33-FB06-46BD-9865-6541C17A8207}" type="pres">
      <dgm:prSet presAssocID="{F983597F-DA80-4F9C-A941-7E50ED86E4D5}" presName="childShape" presStyleCnt="0"/>
      <dgm:spPr/>
    </dgm:pt>
    <dgm:pt modelId="{A72E6D0F-38CA-43C4-9060-7ABE7DADA51F}" type="pres">
      <dgm:prSet presAssocID="{B3138C65-5F72-4AF1-809B-FC35FEF9CBD1}" presName="Name13" presStyleLbl="parChTrans1D2" presStyleIdx="0" presStyleCnt="6"/>
      <dgm:spPr/>
    </dgm:pt>
    <dgm:pt modelId="{921CF9BC-1CF6-4484-A69B-179E7BF1E14B}" type="pres">
      <dgm:prSet presAssocID="{BE805C98-979E-48FB-A642-0E68B1DF133B}" presName="childText" presStyleLbl="bgAcc1" presStyleIdx="0" presStyleCnt="6" custScaleX="211848">
        <dgm:presLayoutVars>
          <dgm:bulletEnabled val="1"/>
        </dgm:presLayoutVars>
      </dgm:prSet>
      <dgm:spPr/>
    </dgm:pt>
    <dgm:pt modelId="{6F26E007-3A75-4845-9C5C-C6FF775BF8CF}" type="pres">
      <dgm:prSet presAssocID="{FFFD8BE5-2485-40DC-9075-68E0ACBC8ACF}" presName="Name13" presStyleLbl="parChTrans1D2" presStyleIdx="1" presStyleCnt="6"/>
      <dgm:spPr/>
    </dgm:pt>
    <dgm:pt modelId="{EEFAF8FC-55EA-4A89-80C9-366BB51D2C64}" type="pres">
      <dgm:prSet presAssocID="{34519695-C1E5-45EF-804F-56BA89D84338}" presName="childText" presStyleLbl="bgAcc1" presStyleIdx="1" presStyleCnt="6" custScaleX="196614">
        <dgm:presLayoutVars>
          <dgm:bulletEnabled val="1"/>
        </dgm:presLayoutVars>
      </dgm:prSet>
      <dgm:spPr/>
    </dgm:pt>
    <dgm:pt modelId="{6C36A592-7906-4940-A233-DE4A03A33ADA}" type="pres">
      <dgm:prSet presAssocID="{FF0FE991-7A84-4397-ADFD-F40A14D475E4}" presName="Name13" presStyleLbl="parChTrans1D2" presStyleIdx="2" presStyleCnt="6"/>
      <dgm:spPr/>
    </dgm:pt>
    <dgm:pt modelId="{23C7A958-8DF5-4A30-B22B-79A769449AB5}" type="pres">
      <dgm:prSet presAssocID="{4264A2CA-A6FC-4D45-90DD-C43A926776A4}" presName="childText" presStyleLbl="bgAcc1" presStyleIdx="2" presStyleCnt="6" custScaleX="188172">
        <dgm:presLayoutVars>
          <dgm:bulletEnabled val="1"/>
        </dgm:presLayoutVars>
      </dgm:prSet>
      <dgm:spPr/>
    </dgm:pt>
    <dgm:pt modelId="{2E30B05D-11E9-4DC0-B424-C85307E4363A}" type="pres">
      <dgm:prSet presAssocID="{88108C57-134D-44BC-8EE4-8A2B2B904009}" presName="root" presStyleCnt="0"/>
      <dgm:spPr/>
    </dgm:pt>
    <dgm:pt modelId="{21D96ABA-867E-406A-BB23-2DD543412292}" type="pres">
      <dgm:prSet presAssocID="{88108C57-134D-44BC-8EE4-8A2B2B904009}" presName="rootComposite" presStyleCnt="0"/>
      <dgm:spPr/>
    </dgm:pt>
    <dgm:pt modelId="{4B17B1B2-5541-4797-A5CE-3D5D946103D9}" type="pres">
      <dgm:prSet presAssocID="{88108C57-134D-44BC-8EE4-8A2B2B904009}" presName="rootText" presStyleLbl="node1" presStyleIdx="1" presStyleCnt="2" custScaleX="158856"/>
      <dgm:spPr/>
    </dgm:pt>
    <dgm:pt modelId="{2D88116A-3FDC-418C-A422-7C644DDCC63B}" type="pres">
      <dgm:prSet presAssocID="{88108C57-134D-44BC-8EE4-8A2B2B904009}" presName="rootConnector" presStyleLbl="node1" presStyleIdx="1" presStyleCnt="2"/>
      <dgm:spPr/>
    </dgm:pt>
    <dgm:pt modelId="{5493391E-AB1D-4C1A-B482-86829DACDA5A}" type="pres">
      <dgm:prSet presAssocID="{88108C57-134D-44BC-8EE4-8A2B2B904009}" presName="childShape" presStyleCnt="0"/>
      <dgm:spPr/>
    </dgm:pt>
    <dgm:pt modelId="{AF456C06-E1A6-4ED8-91CD-EDF9C5B3C979}" type="pres">
      <dgm:prSet presAssocID="{3534FB33-C168-41EB-9ABA-9B6470C8B7C9}" presName="Name13" presStyleLbl="parChTrans1D2" presStyleIdx="3" presStyleCnt="6"/>
      <dgm:spPr/>
    </dgm:pt>
    <dgm:pt modelId="{BF388482-9EC5-4330-AE92-433491F59E3E}" type="pres">
      <dgm:prSet presAssocID="{0F64F1B1-BF8A-4AAF-82A4-E5C5FAB1E80A}" presName="childText" presStyleLbl="bgAcc1" presStyleIdx="3" presStyleCnt="6" custScaleX="216110">
        <dgm:presLayoutVars>
          <dgm:bulletEnabled val="1"/>
        </dgm:presLayoutVars>
      </dgm:prSet>
      <dgm:spPr/>
    </dgm:pt>
    <dgm:pt modelId="{19233220-CA67-40E4-BB47-62F7216348D5}" type="pres">
      <dgm:prSet presAssocID="{BFB3EF04-84C7-4E1B-9768-37694E27640C}" presName="Name13" presStyleLbl="parChTrans1D2" presStyleIdx="4" presStyleCnt="6"/>
      <dgm:spPr/>
    </dgm:pt>
    <dgm:pt modelId="{58A39F5B-146C-4332-A532-916B08FBB057}" type="pres">
      <dgm:prSet presAssocID="{3DC8D9E1-902E-41D5-ADFF-F65B2775C1BD}" presName="childText" presStyleLbl="bgAcc1" presStyleIdx="4" presStyleCnt="6" custScaleX="204836">
        <dgm:presLayoutVars>
          <dgm:bulletEnabled val="1"/>
        </dgm:presLayoutVars>
      </dgm:prSet>
      <dgm:spPr/>
    </dgm:pt>
    <dgm:pt modelId="{3D048702-813F-4861-9EF8-23F0BCEBD8A6}" type="pres">
      <dgm:prSet presAssocID="{DCEE5CA1-6129-4A96-A52E-7813854476A8}" presName="Name13" presStyleLbl="parChTrans1D2" presStyleIdx="5" presStyleCnt="6"/>
      <dgm:spPr/>
    </dgm:pt>
    <dgm:pt modelId="{0C79EDDE-B32F-42D5-A0A8-E7FC357EFC5D}" type="pres">
      <dgm:prSet presAssocID="{920B4A2E-6DAA-4ABA-BB73-CEF15B00659C}" presName="childText" presStyleLbl="bgAcc1" presStyleIdx="5" presStyleCnt="6" custScaleX="175419">
        <dgm:presLayoutVars>
          <dgm:bulletEnabled val="1"/>
        </dgm:presLayoutVars>
      </dgm:prSet>
      <dgm:spPr/>
    </dgm:pt>
  </dgm:ptLst>
  <dgm:cxnLst>
    <dgm:cxn modelId="{8550190A-19C0-4BE1-B4FE-61E69A3A8FF3}" type="presOf" srcId="{920B4A2E-6DAA-4ABA-BB73-CEF15B00659C}" destId="{0C79EDDE-B32F-42D5-A0A8-E7FC357EFC5D}" srcOrd="0" destOrd="0" presId="urn:microsoft.com/office/officeart/2005/8/layout/hierarchy3"/>
    <dgm:cxn modelId="{28D42E0B-279C-4CDD-B75B-204C87782BD5}" type="presOf" srcId="{88108C57-134D-44BC-8EE4-8A2B2B904009}" destId="{2D88116A-3FDC-418C-A422-7C644DDCC63B}" srcOrd="1" destOrd="0" presId="urn:microsoft.com/office/officeart/2005/8/layout/hierarchy3"/>
    <dgm:cxn modelId="{86E2CD0D-9007-4226-9FBD-B9B078AFB6F2}" srcId="{4CDB39A5-7E87-47D0-931B-33ABCE8F5D77}" destId="{88108C57-134D-44BC-8EE4-8A2B2B904009}" srcOrd="1" destOrd="0" parTransId="{1F2198EC-9154-48B0-AB7A-6819E06D33D1}" sibTransId="{D4D66627-D3BC-4965-BEC5-7E6685CD24AA}"/>
    <dgm:cxn modelId="{6328A32B-FB80-4295-AB0F-D42176AE6138}" type="presOf" srcId="{DCEE5CA1-6129-4A96-A52E-7813854476A8}" destId="{3D048702-813F-4861-9EF8-23F0BCEBD8A6}" srcOrd="0" destOrd="0" presId="urn:microsoft.com/office/officeart/2005/8/layout/hierarchy3"/>
    <dgm:cxn modelId="{F3D7C03B-49F5-46D6-AA7A-5BE02BBABE13}" srcId="{88108C57-134D-44BC-8EE4-8A2B2B904009}" destId="{920B4A2E-6DAA-4ABA-BB73-CEF15B00659C}" srcOrd="2" destOrd="0" parTransId="{DCEE5CA1-6129-4A96-A52E-7813854476A8}" sibTransId="{27BBF2B8-A48D-4281-A2B4-DA891EF8208E}"/>
    <dgm:cxn modelId="{5185103C-AB3B-4F82-9879-E25839F9F264}" srcId="{F983597F-DA80-4F9C-A941-7E50ED86E4D5}" destId="{34519695-C1E5-45EF-804F-56BA89D84338}" srcOrd="1" destOrd="0" parTransId="{FFFD8BE5-2485-40DC-9075-68E0ACBC8ACF}" sibTransId="{3EC3759C-9124-4029-98AB-0D6B8B55355A}"/>
    <dgm:cxn modelId="{1827755E-7C62-49BD-A3C9-6A14685F4881}" type="presOf" srcId="{4264A2CA-A6FC-4D45-90DD-C43A926776A4}" destId="{23C7A958-8DF5-4A30-B22B-79A769449AB5}" srcOrd="0" destOrd="0" presId="urn:microsoft.com/office/officeart/2005/8/layout/hierarchy3"/>
    <dgm:cxn modelId="{875BB56C-1152-440C-95BC-33BF80F2BDDF}" type="presOf" srcId="{F983597F-DA80-4F9C-A941-7E50ED86E4D5}" destId="{AA94A2D5-360A-4AC0-A9B1-6F7FE69928AA}" srcOrd="0" destOrd="0" presId="urn:microsoft.com/office/officeart/2005/8/layout/hierarchy3"/>
    <dgm:cxn modelId="{CD2BA16E-1F18-4AF6-93C0-9B58F8008497}" type="presOf" srcId="{FFFD8BE5-2485-40DC-9075-68E0ACBC8ACF}" destId="{6F26E007-3A75-4845-9C5C-C6FF775BF8CF}" srcOrd="0" destOrd="0" presId="urn:microsoft.com/office/officeart/2005/8/layout/hierarchy3"/>
    <dgm:cxn modelId="{C2665252-BF9B-4792-A8E1-D6110A15ADA8}" type="presOf" srcId="{BFB3EF04-84C7-4E1B-9768-37694E27640C}" destId="{19233220-CA67-40E4-BB47-62F7216348D5}" srcOrd="0" destOrd="0" presId="urn:microsoft.com/office/officeart/2005/8/layout/hierarchy3"/>
    <dgm:cxn modelId="{4C61EF52-9B41-4F97-8A1A-60702289CCD1}" srcId="{88108C57-134D-44BC-8EE4-8A2B2B904009}" destId="{3DC8D9E1-902E-41D5-ADFF-F65B2775C1BD}" srcOrd="1" destOrd="0" parTransId="{BFB3EF04-84C7-4E1B-9768-37694E27640C}" sibTransId="{A675214E-8559-45A2-BC61-4DA09DEF8578}"/>
    <dgm:cxn modelId="{91CBC258-99C9-4608-97C8-0544037E0660}" type="presOf" srcId="{3DC8D9E1-902E-41D5-ADFF-F65B2775C1BD}" destId="{58A39F5B-146C-4332-A532-916B08FBB057}" srcOrd="0" destOrd="0" presId="urn:microsoft.com/office/officeart/2005/8/layout/hierarchy3"/>
    <dgm:cxn modelId="{3D04FD78-2C86-4109-9745-216EC5A42B1B}" srcId="{F983597F-DA80-4F9C-A941-7E50ED86E4D5}" destId="{4264A2CA-A6FC-4D45-90DD-C43A926776A4}" srcOrd="2" destOrd="0" parTransId="{FF0FE991-7A84-4397-ADFD-F40A14D475E4}" sibTransId="{0B1FC839-81CC-40E1-8675-2EAEF6596A9A}"/>
    <dgm:cxn modelId="{F298AC79-6284-4133-B8E1-BDF2B1925188}" type="presOf" srcId="{FF0FE991-7A84-4397-ADFD-F40A14D475E4}" destId="{6C36A592-7906-4940-A233-DE4A03A33ADA}" srcOrd="0" destOrd="0" presId="urn:microsoft.com/office/officeart/2005/8/layout/hierarchy3"/>
    <dgm:cxn modelId="{D8D8847B-533D-487B-85B7-8F8B03D840EB}" srcId="{F983597F-DA80-4F9C-A941-7E50ED86E4D5}" destId="{BE805C98-979E-48FB-A642-0E68B1DF133B}" srcOrd="0" destOrd="0" parTransId="{B3138C65-5F72-4AF1-809B-FC35FEF9CBD1}" sibTransId="{541B46D3-B48B-4A3C-A8CE-3B15B87FBBE3}"/>
    <dgm:cxn modelId="{942AC286-12EC-4607-B23C-4FF531C8D715}" srcId="{4CDB39A5-7E87-47D0-931B-33ABCE8F5D77}" destId="{F983597F-DA80-4F9C-A941-7E50ED86E4D5}" srcOrd="0" destOrd="0" parTransId="{88A0BA8F-0B29-4D8D-8974-C01691138EBC}" sibTransId="{74DAE617-B287-489C-B588-A968B5B01E60}"/>
    <dgm:cxn modelId="{4D6197B7-6D48-4B7C-9457-4B92A502B267}" type="presOf" srcId="{34519695-C1E5-45EF-804F-56BA89D84338}" destId="{EEFAF8FC-55EA-4A89-80C9-366BB51D2C64}" srcOrd="0" destOrd="0" presId="urn:microsoft.com/office/officeart/2005/8/layout/hierarchy3"/>
    <dgm:cxn modelId="{DBAD08BA-7CC7-46AB-9077-05AAB8B3EEBD}" type="presOf" srcId="{4CDB39A5-7E87-47D0-931B-33ABCE8F5D77}" destId="{5E893D17-31F5-4C0B-AD24-F3BCA7D20382}" srcOrd="0" destOrd="0" presId="urn:microsoft.com/office/officeart/2005/8/layout/hierarchy3"/>
    <dgm:cxn modelId="{53B45BBE-337D-4409-9DBE-FAE9ADA59EC8}" type="presOf" srcId="{BE805C98-979E-48FB-A642-0E68B1DF133B}" destId="{921CF9BC-1CF6-4484-A69B-179E7BF1E14B}" srcOrd="0" destOrd="0" presId="urn:microsoft.com/office/officeart/2005/8/layout/hierarchy3"/>
    <dgm:cxn modelId="{249053C9-3077-4EB4-AFE8-BA320A6EE810}" type="presOf" srcId="{0F64F1B1-BF8A-4AAF-82A4-E5C5FAB1E80A}" destId="{BF388482-9EC5-4330-AE92-433491F59E3E}" srcOrd="0" destOrd="0" presId="urn:microsoft.com/office/officeart/2005/8/layout/hierarchy3"/>
    <dgm:cxn modelId="{5A732EE4-C35E-4EFB-AFE6-B44B7DE1CA57}" type="presOf" srcId="{F983597F-DA80-4F9C-A941-7E50ED86E4D5}" destId="{58248C68-D67C-417F-ACFD-283B597804BC}" srcOrd="1" destOrd="0" presId="urn:microsoft.com/office/officeart/2005/8/layout/hierarchy3"/>
    <dgm:cxn modelId="{EE795EE6-DD4E-4E11-BBA0-5402AEC307A9}" type="presOf" srcId="{B3138C65-5F72-4AF1-809B-FC35FEF9CBD1}" destId="{A72E6D0F-38CA-43C4-9060-7ABE7DADA51F}" srcOrd="0" destOrd="0" presId="urn:microsoft.com/office/officeart/2005/8/layout/hierarchy3"/>
    <dgm:cxn modelId="{CDDF35EA-533C-4317-B60E-49B49222CE4B}" srcId="{88108C57-134D-44BC-8EE4-8A2B2B904009}" destId="{0F64F1B1-BF8A-4AAF-82A4-E5C5FAB1E80A}" srcOrd="0" destOrd="0" parTransId="{3534FB33-C168-41EB-9ABA-9B6470C8B7C9}" sibTransId="{60FA1263-E4AC-4BCE-8A70-5B9D5074A3D1}"/>
    <dgm:cxn modelId="{415B0AEF-1517-4EE7-98A3-7568377F2BC6}" type="presOf" srcId="{88108C57-134D-44BC-8EE4-8A2B2B904009}" destId="{4B17B1B2-5541-4797-A5CE-3D5D946103D9}" srcOrd="0" destOrd="0" presId="urn:microsoft.com/office/officeart/2005/8/layout/hierarchy3"/>
    <dgm:cxn modelId="{C43175F1-AAE6-481C-8EDF-41BBD0244F81}" type="presOf" srcId="{3534FB33-C168-41EB-9ABA-9B6470C8B7C9}" destId="{AF456C06-E1A6-4ED8-91CD-EDF9C5B3C979}" srcOrd="0" destOrd="0" presId="urn:microsoft.com/office/officeart/2005/8/layout/hierarchy3"/>
    <dgm:cxn modelId="{2E5EA1E6-40B6-4E49-ADF5-4C88D2AA66AD}" type="presParOf" srcId="{5E893D17-31F5-4C0B-AD24-F3BCA7D20382}" destId="{0B840665-B1A3-4346-A2FE-122A9D359D82}" srcOrd="0" destOrd="0" presId="urn:microsoft.com/office/officeart/2005/8/layout/hierarchy3"/>
    <dgm:cxn modelId="{9DAD4C36-EF9C-49EA-8928-069ED6C41551}" type="presParOf" srcId="{0B840665-B1A3-4346-A2FE-122A9D359D82}" destId="{0BE39247-F82E-4832-B643-FC437CC804BA}" srcOrd="0" destOrd="0" presId="urn:microsoft.com/office/officeart/2005/8/layout/hierarchy3"/>
    <dgm:cxn modelId="{C273A981-476E-414F-9A74-98078D11D0A7}" type="presParOf" srcId="{0BE39247-F82E-4832-B643-FC437CC804BA}" destId="{AA94A2D5-360A-4AC0-A9B1-6F7FE69928AA}" srcOrd="0" destOrd="0" presId="urn:microsoft.com/office/officeart/2005/8/layout/hierarchy3"/>
    <dgm:cxn modelId="{87C48120-62FB-4902-9877-883F8CA69B26}" type="presParOf" srcId="{0BE39247-F82E-4832-B643-FC437CC804BA}" destId="{58248C68-D67C-417F-ACFD-283B597804BC}" srcOrd="1" destOrd="0" presId="urn:microsoft.com/office/officeart/2005/8/layout/hierarchy3"/>
    <dgm:cxn modelId="{DBEEEA35-4B18-47BC-8681-289A80F10231}" type="presParOf" srcId="{0B840665-B1A3-4346-A2FE-122A9D359D82}" destId="{B6247E33-FB06-46BD-9865-6541C17A8207}" srcOrd="1" destOrd="0" presId="urn:microsoft.com/office/officeart/2005/8/layout/hierarchy3"/>
    <dgm:cxn modelId="{0AB45152-59C2-4728-B2FF-18864778B9FC}" type="presParOf" srcId="{B6247E33-FB06-46BD-9865-6541C17A8207}" destId="{A72E6D0F-38CA-43C4-9060-7ABE7DADA51F}" srcOrd="0" destOrd="0" presId="urn:microsoft.com/office/officeart/2005/8/layout/hierarchy3"/>
    <dgm:cxn modelId="{123EE5AB-8947-4F1E-A611-53179A5FB954}" type="presParOf" srcId="{B6247E33-FB06-46BD-9865-6541C17A8207}" destId="{921CF9BC-1CF6-4484-A69B-179E7BF1E14B}" srcOrd="1" destOrd="0" presId="urn:microsoft.com/office/officeart/2005/8/layout/hierarchy3"/>
    <dgm:cxn modelId="{452AE770-2418-48F6-A21F-5F7E802AEC73}" type="presParOf" srcId="{B6247E33-FB06-46BD-9865-6541C17A8207}" destId="{6F26E007-3A75-4845-9C5C-C6FF775BF8CF}" srcOrd="2" destOrd="0" presId="urn:microsoft.com/office/officeart/2005/8/layout/hierarchy3"/>
    <dgm:cxn modelId="{DB1DB842-EB0E-4F09-9415-FAF377C10CE2}" type="presParOf" srcId="{B6247E33-FB06-46BD-9865-6541C17A8207}" destId="{EEFAF8FC-55EA-4A89-80C9-366BB51D2C64}" srcOrd="3" destOrd="0" presId="urn:microsoft.com/office/officeart/2005/8/layout/hierarchy3"/>
    <dgm:cxn modelId="{CC771640-9A3E-44F4-BE70-B9AC69EA0905}" type="presParOf" srcId="{B6247E33-FB06-46BD-9865-6541C17A8207}" destId="{6C36A592-7906-4940-A233-DE4A03A33ADA}" srcOrd="4" destOrd="0" presId="urn:microsoft.com/office/officeart/2005/8/layout/hierarchy3"/>
    <dgm:cxn modelId="{1FDCB787-3412-426C-8F88-AD03D54158CF}" type="presParOf" srcId="{B6247E33-FB06-46BD-9865-6541C17A8207}" destId="{23C7A958-8DF5-4A30-B22B-79A769449AB5}" srcOrd="5" destOrd="0" presId="urn:microsoft.com/office/officeart/2005/8/layout/hierarchy3"/>
    <dgm:cxn modelId="{50F17263-D85C-46BB-98A9-0FB7404D04F4}" type="presParOf" srcId="{5E893D17-31F5-4C0B-AD24-F3BCA7D20382}" destId="{2E30B05D-11E9-4DC0-B424-C85307E4363A}" srcOrd="1" destOrd="0" presId="urn:microsoft.com/office/officeart/2005/8/layout/hierarchy3"/>
    <dgm:cxn modelId="{72696604-0324-4607-B673-279E8CD85FAA}" type="presParOf" srcId="{2E30B05D-11E9-4DC0-B424-C85307E4363A}" destId="{21D96ABA-867E-406A-BB23-2DD543412292}" srcOrd="0" destOrd="0" presId="urn:microsoft.com/office/officeart/2005/8/layout/hierarchy3"/>
    <dgm:cxn modelId="{D889ECB8-8707-4647-8F8A-ED6761F7F5CA}" type="presParOf" srcId="{21D96ABA-867E-406A-BB23-2DD543412292}" destId="{4B17B1B2-5541-4797-A5CE-3D5D946103D9}" srcOrd="0" destOrd="0" presId="urn:microsoft.com/office/officeart/2005/8/layout/hierarchy3"/>
    <dgm:cxn modelId="{6DE473FD-4D8B-465D-8DE7-2A33849124BB}" type="presParOf" srcId="{21D96ABA-867E-406A-BB23-2DD543412292}" destId="{2D88116A-3FDC-418C-A422-7C644DDCC63B}" srcOrd="1" destOrd="0" presId="urn:microsoft.com/office/officeart/2005/8/layout/hierarchy3"/>
    <dgm:cxn modelId="{F300C702-C8DD-441A-9318-EDED78F2985B}" type="presParOf" srcId="{2E30B05D-11E9-4DC0-B424-C85307E4363A}" destId="{5493391E-AB1D-4C1A-B482-86829DACDA5A}" srcOrd="1" destOrd="0" presId="urn:microsoft.com/office/officeart/2005/8/layout/hierarchy3"/>
    <dgm:cxn modelId="{4FD1C639-B9BD-4BC2-986B-C10862EBAD0B}" type="presParOf" srcId="{5493391E-AB1D-4C1A-B482-86829DACDA5A}" destId="{AF456C06-E1A6-4ED8-91CD-EDF9C5B3C979}" srcOrd="0" destOrd="0" presId="urn:microsoft.com/office/officeart/2005/8/layout/hierarchy3"/>
    <dgm:cxn modelId="{A4D15F07-FD85-423A-A601-87AA0D4986DF}" type="presParOf" srcId="{5493391E-AB1D-4C1A-B482-86829DACDA5A}" destId="{BF388482-9EC5-4330-AE92-433491F59E3E}" srcOrd="1" destOrd="0" presId="urn:microsoft.com/office/officeart/2005/8/layout/hierarchy3"/>
    <dgm:cxn modelId="{30D4C818-3466-4FF6-9F9A-C7B7AF8AADE8}" type="presParOf" srcId="{5493391E-AB1D-4C1A-B482-86829DACDA5A}" destId="{19233220-CA67-40E4-BB47-62F7216348D5}" srcOrd="2" destOrd="0" presId="urn:microsoft.com/office/officeart/2005/8/layout/hierarchy3"/>
    <dgm:cxn modelId="{CDE37F5E-B109-4B5C-B538-596B17F56270}" type="presParOf" srcId="{5493391E-AB1D-4C1A-B482-86829DACDA5A}" destId="{58A39F5B-146C-4332-A532-916B08FBB057}" srcOrd="3" destOrd="0" presId="urn:microsoft.com/office/officeart/2005/8/layout/hierarchy3"/>
    <dgm:cxn modelId="{315A9E6C-DD8E-4415-8360-3A1C766609B8}" type="presParOf" srcId="{5493391E-AB1D-4C1A-B482-86829DACDA5A}" destId="{3D048702-813F-4861-9EF8-23F0BCEBD8A6}" srcOrd="4" destOrd="0" presId="urn:microsoft.com/office/officeart/2005/8/layout/hierarchy3"/>
    <dgm:cxn modelId="{3A10F675-CBF0-48EC-8CE6-D6273DFEFA01}" type="presParOf" srcId="{5493391E-AB1D-4C1A-B482-86829DACDA5A}" destId="{0C79EDDE-B32F-42D5-A0A8-E7FC357EFC5D}" srcOrd="5" destOrd="0" presId="urn:microsoft.com/office/officeart/2005/8/layout/hierarchy3"/>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F3A31658-6CF3-4038-9857-A69900CF8E8A}"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EAAD40BA-CD3F-4048-9A4E-6750250ECB8C}">
      <dgm:prSet custT="1"/>
      <dgm:spPr>
        <a:solidFill>
          <a:schemeClr val="accent2"/>
        </a:solidFill>
      </dgm:spPr>
      <dgm:t>
        <a:bodyPr/>
        <a:lstStyle/>
        <a:p>
          <a:pPr algn="ctr"/>
          <a:r>
            <a:rPr lang="en-US" sz="2400" b="0" i="0" dirty="0">
              <a:solidFill>
                <a:schemeClr val="bg1"/>
              </a:solidFill>
            </a:rPr>
            <a:t>Standards can set minimum recycled material quotas for products in sectors like vehicles, aviation systems, and appliances. ASAS takes a central role in organizing and participating in panels where academics and industry leaders collaborate on actionable initiatives within this framework.</a:t>
          </a:r>
          <a:endParaRPr lang="en-US" sz="2400" dirty="0">
            <a:solidFill>
              <a:schemeClr val="bg1"/>
            </a:solidFill>
          </a:endParaRPr>
        </a:p>
      </dgm:t>
    </dgm:pt>
    <dgm:pt modelId="{F3B298AF-5B84-4840-837A-A5C6070738D8}" type="parTrans" cxnId="{772C7C63-0B27-4051-A564-EB89D26FA16C}">
      <dgm:prSet/>
      <dgm:spPr/>
      <dgm:t>
        <a:bodyPr/>
        <a:lstStyle/>
        <a:p>
          <a:pPr algn="ctr"/>
          <a:endParaRPr lang="en-US" sz="4000">
            <a:solidFill>
              <a:schemeClr val="bg1"/>
            </a:solidFill>
          </a:endParaRPr>
        </a:p>
      </dgm:t>
    </dgm:pt>
    <dgm:pt modelId="{3917516A-91CF-4ABC-83E0-98C8A3A2E1D7}" type="sibTrans" cxnId="{772C7C63-0B27-4051-A564-EB89D26FA16C}">
      <dgm:prSet/>
      <dgm:spPr/>
      <dgm:t>
        <a:bodyPr/>
        <a:lstStyle/>
        <a:p>
          <a:pPr algn="ctr"/>
          <a:endParaRPr lang="en-US" sz="4000">
            <a:solidFill>
              <a:schemeClr val="bg1"/>
            </a:solidFill>
          </a:endParaRPr>
        </a:p>
      </dgm:t>
    </dgm:pt>
    <dgm:pt modelId="{7C0116BF-83EB-455C-A0CF-B420B6EC6E5D}">
      <dgm:prSet custT="1"/>
      <dgm:spPr>
        <a:solidFill>
          <a:schemeClr val="accent2"/>
        </a:solidFill>
      </dgm:spPr>
      <dgm:t>
        <a:bodyPr/>
        <a:lstStyle/>
        <a:p>
          <a:pPr algn="ctr"/>
          <a:r>
            <a:rPr lang="en-GB" sz="2400" dirty="0">
              <a:solidFill>
                <a:schemeClr val="bg1"/>
              </a:solidFill>
            </a:rPr>
            <a:t>National or Europe-wide incentives about investing on machines/systems about recycling can motivate the industry partners. Standards can define a minimum annual recycled material use to guarantee it.</a:t>
          </a:r>
          <a:endParaRPr lang="en-US" sz="2400" dirty="0">
            <a:solidFill>
              <a:schemeClr val="bg1"/>
            </a:solidFill>
          </a:endParaRPr>
        </a:p>
      </dgm:t>
    </dgm:pt>
    <dgm:pt modelId="{420E15D7-3148-4D0D-A983-39B4F257C1BC}" type="parTrans" cxnId="{D451D714-1527-42C8-B35E-B58231D22707}">
      <dgm:prSet/>
      <dgm:spPr/>
      <dgm:t>
        <a:bodyPr/>
        <a:lstStyle/>
        <a:p>
          <a:pPr algn="ctr"/>
          <a:endParaRPr lang="en-US" sz="4000">
            <a:solidFill>
              <a:schemeClr val="bg1"/>
            </a:solidFill>
          </a:endParaRPr>
        </a:p>
      </dgm:t>
    </dgm:pt>
    <dgm:pt modelId="{F3B2E71E-668D-45C4-A7C7-BD9DBCB76D57}" type="sibTrans" cxnId="{D451D714-1527-42C8-B35E-B58231D22707}">
      <dgm:prSet/>
      <dgm:spPr/>
      <dgm:t>
        <a:bodyPr/>
        <a:lstStyle/>
        <a:p>
          <a:pPr algn="ctr"/>
          <a:endParaRPr lang="en-US" sz="4000">
            <a:solidFill>
              <a:schemeClr val="bg1"/>
            </a:solidFill>
          </a:endParaRPr>
        </a:p>
      </dgm:t>
    </dgm:pt>
    <dgm:pt modelId="{96AB49D5-88AE-4461-8719-604A6FC36539}" type="pres">
      <dgm:prSet presAssocID="{F3A31658-6CF3-4038-9857-A69900CF8E8A}" presName="linear" presStyleCnt="0">
        <dgm:presLayoutVars>
          <dgm:animLvl val="lvl"/>
          <dgm:resizeHandles val="exact"/>
        </dgm:presLayoutVars>
      </dgm:prSet>
      <dgm:spPr/>
    </dgm:pt>
    <dgm:pt modelId="{B3843286-8D87-4BB1-AEA9-09DBE4A20DAC}" type="pres">
      <dgm:prSet presAssocID="{EAAD40BA-CD3F-4048-9A4E-6750250ECB8C}" presName="parentText" presStyleLbl="node1" presStyleIdx="0" presStyleCnt="2">
        <dgm:presLayoutVars>
          <dgm:chMax val="0"/>
          <dgm:bulletEnabled val="1"/>
        </dgm:presLayoutVars>
      </dgm:prSet>
      <dgm:spPr/>
    </dgm:pt>
    <dgm:pt modelId="{CD2F0D6C-967B-487A-BE7A-91AE8D6828F2}" type="pres">
      <dgm:prSet presAssocID="{3917516A-91CF-4ABC-83E0-98C8A3A2E1D7}" presName="spacer" presStyleCnt="0"/>
      <dgm:spPr/>
    </dgm:pt>
    <dgm:pt modelId="{A801473F-E36C-4FBD-A80B-AF40E1E283C1}" type="pres">
      <dgm:prSet presAssocID="{7C0116BF-83EB-455C-A0CF-B420B6EC6E5D}" presName="parentText" presStyleLbl="node1" presStyleIdx="1" presStyleCnt="2">
        <dgm:presLayoutVars>
          <dgm:chMax val="0"/>
          <dgm:bulletEnabled val="1"/>
        </dgm:presLayoutVars>
      </dgm:prSet>
      <dgm:spPr/>
    </dgm:pt>
  </dgm:ptLst>
  <dgm:cxnLst>
    <dgm:cxn modelId="{D451D714-1527-42C8-B35E-B58231D22707}" srcId="{F3A31658-6CF3-4038-9857-A69900CF8E8A}" destId="{7C0116BF-83EB-455C-A0CF-B420B6EC6E5D}" srcOrd="1" destOrd="0" parTransId="{420E15D7-3148-4D0D-A983-39B4F257C1BC}" sibTransId="{F3B2E71E-668D-45C4-A7C7-BD9DBCB76D57}"/>
    <dgm:cxn modelId="{772C7C63-0B27-4051-A564-EB89D26FA16C}" srcId="{F3A31658-6CF3-4038-9857-A69900CF8E8A}" destId="{EAAD40BA-CD3F-4048-9A4E-6750250ECB8C}" srcOrd="0" destOrd="0" parTransId="{F3B298AF-5B84-4840-837A-A5C6070738D8}" sibTransId="{3917516A-91CF-4ABC-83E0-98C8A3A2E1D7}"/>
    <dgm:cxn modelId="{3FE89C68-025E-429C-8ECF-4562ADBDB564}" type="presOf" srcId="{F3A31658-6CF3-4038-9857-A69900CF8E8A}" destId="{96AB49D5-88AE-4461-8719-604A6FC36539}" srcOrd="0" destOrd="0" presId="urn:microsoft.com/office/officeart/2005/8/layout/vList2"/>
    <dgm:cxn modelId="{8EA5B694-EF5E-4D3C-8AB2-9910E169BEC9}" type="presOf" srcId="{7C0116BF-83EB-455C-A0CF-B420B6EC6E5D}" destId="{A801473F-E36C-4FBD-A80B-AF40E1E283C1}" srcOrd="0" destOrd="0" presId="urn:microsoft.com/office/officeart/2005/8/layout/vList2"/>
    <dgm:cxn modelId="{F9DAE7C7-05B5-4E86-B710-F1C6BC1A68D3}" type="presOf" srcId="{EAAD40BA-CD3F-4048-9A4E-6750250ECB8C}" destId="{B3843286-8D87-4BB1-AEA9-09DBE4A20DAC}" srcOrd="0" destOrd="0" presId="urn:microsoft.com/office/officeart/2005/8/layout/vList2"/>
    <dgm:cxn modelId="{B3D937E0-4096-439D-90DD-2E2ECC58BD5F}" type="presParOf" srcId="{96AB49D5-88AE-4461-8719-604A6FC36539}" destId="{B3843286-8D87-4BB1-AEA9-09DBE4A20DAC}" srcOrd="0" destOrd="0" presId="urn:microsoft.com/office/officeart/2005/8/layout/vList2"/>
    <dgm:cxn modelId="{42E2A54E-9F85-4E86-B644-CFBE568583CD}" type="presParOf" srcId="{96AB49D5-88AE-4461-8719-604A6FC36539}" destId="{CD2F0D6C-967B-487A-BE7A-91AE8D6828F2}" srcOrd="1" destOrd="0" presId="urn:microsoft.com/office/officeart/2005/8/layout/vList2"/>
    <dgm:cxn modelId="{B6D2A5DE-E22D-42C3-BE3F-951E3EBD7093}" type="presParOf" srcId="{96AB49D5-88AE-4461-8719-604A6FC36539}" destId="{A801473F-E36C-4FBD-A80B-AF40E1E283C1}" srcOrd="2" destOrd="0" presId="urn:microsoft.com/office/officeart/2005/8/layout/vList2"/>
  </dgm:cxnLst>
  <dgm:bg>
    <a:noFill/>
  </dgm:bg>
  <dgm:whole/>
  <dgm:extLst>
    <a:ext uri="http://schemas.microsoft.com/office/drawing/2008/diagram">
      <dsp:dataModelExt xmlns:dsp="http://schemas.microsoft.com/office/drawing/2008/diagram" relId="rId10"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65EBAB6B-814C-4918-9CF2-71D9C2DABE78}"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E605146E-EF3B-4DDC-8662-C46272E59607}">
      <dgm:prSet/>
      <dgm:spPr>
        <a:solidFill>
          <a:schemeClr val="accent2"/>
        </a:solidFill>
      </dgm:spPr>
      <dgm:t>
        <a:bodyPr/>
        <a:lstStyle/>
        <a:p>
          <a:r>
            <a:rPr lang="en-US" i="1">
              <a:solidFill>
                <a:schemeClr val="bg1"/>
              </a:solidFill>
            </a:rPr>
            <a:t>The cement industry has its own decarbonization roadmap, that includes the fossil fuel reduction (alternative fuels) and the use of secondary materials, and the decisive political action in key areas. Companies are also establishing technology partnerships to develop decarbonisation solutions and new business models.</a:t>
          </a:r>
          <a:endParaRPr lang="en-US">
            <a:solidFill>
              <a:schemeClr val="bg1"/>
            </a:solidFill>
          </a:endParaRPr>
        </a:p>
      </dgm:t>
    </dgm:pt>
    <dgm:pt modelId="{44490D10-1C0A-46CC-9F2B-B985116E2A9E}" type="parTrans" cxnId="{34D63737-A9FC-41A0-BD47-0CBD08A5BFB3}">
      <dgm:prSet/>
      <dgm:spPr/>
      <dgm:t>
        <a:bodyPr/>
        <a:lstStyle/>
        <a:p>
          <a:endParaRPr lang="en-US">
            <a:solidFill>
              <a:schemeClr val="bg1"/>
            </a:solidFill>
          </a:endParaRPr>
        </a:p>
      </dgm:t>
    </dgm:pt>
    <dgm:pt modelId="{281F1507-7096-4065-ADCA-A9EB0B1C43CF}" type="sibTrans" cxnId="{34D63737-A9FC-41A0-BD47-0CBD08A5BFB3}">
      <dgm:prSet/>
      <dgm:spPr/>
      <dgm:t>
        <a:bodyPr/>
        <a:lstStyle/>
        <a:p>
          <a:endParaRPr lang="en-US">
            <a:solidFill>
              <a:schemeClr val="bg1"/>
            </a:solidFill>
          </a:endParaRPr>
        </a:p>
      </dgm:t>
    </dgm:pt>
    <dgm:pt modelId="{5A6AEB92-E510-428D-8C5B-C6E2155B6F1E}">
      <dgm:prSet/>
      <dgm:spPr>
        <a:solidFill>
          <a:schemeClr val="accent2"/>
        </a:solidFill>
      </dgm:spPr>
      <dgm:t>
        <a:bodyPr/>
        <a:lstStyle/>
        <a:p>
          <a:r>
            <a:rPr lang="en-US" i="1">
              <a:solidFill>
                <a:schemeClr val="bg1"/>
              </a:solidFill>
            </a:rPr>
            <a:t>In 2020, the members of the Global Cement and Concrete Association (GCCA) commit to producing carbon neutral concrete by 2050, in line with global climate targets. The 2050 Net Zero Roadmap sets out in detail how collectively, in collaboration with built environment stakeholders and policymakers, the companies will fully decarbonise the cement and concrete industry and provide net zero concrete for the world. (</a:t>
          </a:r>
          <a:r>
            <a:rPr lang="en-US" i="1" u="sng">
              <a:solidFill>
                <a:schemeClr val="bg1"/>
              </a:solidFill>
              <a:hlinkClick xmlns:r="http://schemas.openxmlformats.org/officeDocument/2006/relationships" r:id="rId1">
                <a:extLst>
                  <a:ext uri="{A12FA001-AC4F-418D-AE19-62706E023703}">
                    <ahyp:hlinkClr xmlns:ahyp="http://schemas.microsoft.com/office/drawing/2018/hyperlinkcolor" val="tx"/>
                  </a:ext>
                </a:extLst>
              </a:hlinkClick>
            </a:rPr>
            <a:t>https://gccassociation.org/concretefuture/wp-content/uploads/2022/10/GCCA-Concrete-Future-Roadmap-Document-AW-2022.pdf</a:t>
          </a:r>
          <a:r>
            <a:rPr lang="en-US" i="1">
              <a:solidFill>
                <a:schemeClr val="bg1"/>
              </a:solidFill>
            </a:rPr>
            <a:t>)</a:t>
          </a:r>
          <a:endParaRPr lang="en-US">
            <a:solidFill>
              <a:schemeClr val="bg1"/>
            </a:solidFill>
          </a:endParaRPr>
        </a:p>
      </dgm:t>
    </dgm:pt>
    <dgm:pt modelId="{ECDE3968-937C-404F-A82C-A9FE51D2809D}" type="parTrans" cxnId="{19AF20F2-1778-4849-A0FA-7878D9B50AC8}">
      <dgm:prSet/>
      <dgm:spPr/>
      <dgm:t>
        <a:bodyPr/>
        <a:lstStyle/>
        <a:p>
          <a:endParaRPr lang="en-US">
            <a:solidFill>
              <a:schemeClr val="bg1"/>
            </a:solidFill>
          </a:endParaRPr>
        </a:p>
      </dgm:t>
    </dgm:pt>
    <dgm:pt modelId="{88338FCC-4EF3-48CB-B940-2DC8F30210F6}" type="sibTrans" cxnId="{19AF20F2-1778-4849-A0FA-7878D9B50AC8}">
      <dgm:prSet/>
      <dgm:spPr/>
      <dgm:t>
        <a:bodyPr/>
        <a:lstStyle/>
        <a:p>
          <a:endParaRPr lang="en-US">
            <a:solidFill>
              <a:schemeClr val="bg1"/>
            </a:solidFill>
          </a:endParaRPr>
        </a:p>
      </dgm:t>
    </dgm:pt>
    <dgm:pt modelId="{22C5171C-1748-4D36-A56C-12A56F68CBC0}">
      <dgm:prSet/>
      <dgm:spPr>
        <a:solidFill>
          <a:schemeClr val="accent2"/>
        </a:solidFill>
      </dgm:spPr>
      <dgm:t>
        <a:bodyPr/>
        <a:lstStyle/>
        <a:p>
          <a:r>
            <a:rPr lang="en-GB" i="1">
              <a:solidFill>
                <a:schemeClr val="bg1"/>
              </a:solidFill>
            </a:rPr>
            <a:t>The European Cement Association (CEMBUREAU) also has the ambition to reduce the CO2 intensity to reach carbon neutrality along the value chain by 2050. CEMBUREAU’s Carbon Neutrality Roadmap establishes how the European cement industry can reduce its carbon emissions by 2050, and align with the objectives of the European Green Deal (</a:t>
          </a:r>
          <a:r>
            <a:rPr lang="en-GB" i="1" u="sng">
              <a:solidFill>
                <a:schemeClr val="bg1"/>
              </a:solidFill>
              <a:hlinkClick xmlns:r="http://schemas.openxmlformats.org/officeDocument/2006/relationships" r:id="rId2">
                <a:extLst>
                  <a:ext uri="{A12FA001-AC4F-418D-AE19-62706E023703}">
                    <ahyp:hlinkClr xmlns:ahyp="http://schemas.microsoft.com/office/drawing/2018/hyperlinkcolor" val="tx"/>
                  </a:ext>
                </a:extLst>
              </a:hlinkClick>
            </a:rPr>
            <a:t>cembureau-2050-roadmap_final-version_web.pdf</a:t>
          </a:r>
          <a:r>
            <a:rPr lang="en-GB" i="1">
              <a:solidFill>
                <a:schemeClr val="bg1"/>
              </a:solidFill>
            </a:rPr>
            <a:t>).</a:t>
          </a:r>
          <a:endParaRPr lang="en-US">
            <a:solidFill>
              <a:schemeClr val="bg1"/>
            </a:solidFill>
          </a:endParaRPr>
        </a:p>
      </dgm:t>
    </dgm:pt>
    <dgm:pt modelId="{85DE7203-8A1A-4BEB-B3EA-69D7BF7DA5EB}" type="parTrans" cxnId="{A87AB9E1-95E9-44B9-A9C3-AFB7EE5FB3E1}">
      <dgm:prSet/>
      <dgm:spPr/>
      <dgm:t>
        <a:bodyPr/>
        <a:lstStyle/>
        <a:p>
          <a:endParaRPr lang="en-US">
            <a:solidFill>
              <a:schemeClr val="bg1"/>
            </a:solidFill>
          </a:endParaRPr>
        </a:p>
      </dgm:t>
    </dgm:pt>
    <dgm:pt modelId="{924BF46D-FA08-499D-9938-1372B1B4BD95}" type="sibTrans" cxnId="{A87AB9E1-95E9-44B9-A9C3-AFB7EE5FB3E1}">
      <dgm:prSet/>
      <dgm:spPr/>
      <dgm:t>
        <a:bodyPr/>
        <a:lstStyle/>
        <a:p>
          <a:endParaRPr lang="en-US">
            <a:solidFill>
              <a:schemeClr val="bg1"/>
            </a:solidFill>
          </a:endParaRPr>
        </a:p>
      </dgm:t>
    </dgm:pt>
    <dgm:pt modelId="{372FEE76-FA3D-45AA-927D-FA2E5A29F850}">
      <dgm:prSet/>
      <dgm:spPr>
        <a:solidFill>
          <a:schemeClr val="accent2"/>
        </a:solidFill>
      </dgm:spPr>
      <dgm:t>
        <a:bodyPr/>
        <a:lstStyle/>
        <a:p>
          <a:r>
            <a:rPr lang="en-US" i="1">
              <a:solidFill>
                <a:schemeClr val="bg1"/>
              </a:solidFill>
            </a:rPr>
            <a:t>Additionally, the dissemination of such proposals should be made through scientific and industry specific congresses, publications in magazines and journals, information journeys, promotion workshops, and any other kind of dissemination events that can lead to the promotion and awareness of EU entities and general public, which might provide high impact on the implementation of the technologies.</a:t>
          </a:r>
          <a:endParaRPr lang="en-US">
            <a:solidFill>
              <a:schemeClr val="bg1"/>
            </a:solidFill>
          </a:endParaRPr>
        </a:p>
      </dgm:t>
    </dgm:pt>
    <dgm:pt modelId="{5CA651EE-1085-4A77-86B8-F3216B4FF3C3}" type="parTrans" cxnId="{3FD5EAF6-0D1A-4625-8141-9A6250ADA7B3}">
      <dgm:prSet/>
      <dgm:spPr/>
      <dgm:t>
        <a:bodyPr/>
        <a:lstStyle/>
        <a:p>
          <a:endParaRPr lang="en-US">
            <a:solidFill>
              <a:schemeClr val="bg1"/>
            </a:solidFill>
          </a:endParaRPr>
        </a:p>
      </dgm:t>
    </dgm:pt>
    <dgm:pt modelId="{CD2FE881-BF74-4303-98EC-555C29977F02}" type="sibTrans" cxnId="{3FD5EAF6-0D1A-4625-8141-9A6250ADA7B3}">
      <dgm:prSet/>
      <dgm:spPr/>
      <dgm:t>
        <a:bodyPr/>
        <a:lstStyle/>
        <a:p>
          <a:endParaRPr lang="en-US">
            <a:solidFill>
              <a:schemeClr val="bg1"/>
            </a:solidFill>
          </a:endParaRPr>
        </a:p>
      </dgm:t>
    </dgm:pt>
    <dgm:pt modelId="{D664F86D-FEEE-4E24-83DE-BFE3B14347FB}" type="pres">
      <dgm:prSet presAssocID="{65EBAB6B-814C-4918-9CF2-71D9C2DABE78}" presName="linear" presStyleCnt="0">
        <dgm:presLayoutVars>
          <dgm:animLvl val="lvl"/>
          <dgm:resizeHandles val="exact"/>
        </dgm:presLayoutVars>
      </dgm:prSet>
      <dgm:spPr/>
    </dgm:pt>
    <dgm:pt modelId="{2DFFA55A-18FF-4226-8500-ACDD0E3598A0}" type="pres">
      <dgm:prSet presAssocID="{E605146E-EF3B-4DDC-8662-C46272E59607}" presName="parentText" presStyleLbl="node1" presStyleIdx="0" presStyleCnt="4">
        <dgm:presLayoutVars>
          <dgm:chMax val="0"/>
          <dgm:bulletEnabled val="1"/>
        </dgm:presLayoutVars>
      </dgm:prSet>
      <dgm:spPr/>
    </dgm:pt>
    <dgm:pt modelId="{0F74990E-45EC-4C61-92F8-8546973C0932}" type="pres">
      <dgm:prSet presAssocID="{281F1507-7096-4065-ADCA-A9EB0B1C43CF}" presName="spacer" presStyleCnt="0"/>
      <dgm:spPr/>
    </dgm:pt>
    <dgm:pt modelId="{F6507C70-1D8B-4151-AA51-9843BD2F68D2}" type="pres">
      <dgm:prSet presAssocID="{5A6AEB92-E510-428D-8C5B-C6E2155B6F1E}" presName="parentText" presStyleLbl="node1" presStyleIdx="1" presStyleCnt="4">
        <dgm:presLayoutVars>
          <dgm:chMax val="0"/>
          <dgm:bulletEnabled val="1"/>
        </dgm:presLayoutVars>
      </dgm:prSet>
      <dgm:spPr/>
    </dgm:pt>
    <dgm:pt modelId="{0BCBB217-F05B-44CA-841F-0E3140167EA0}" type="pres">
      <dgm:prSet presAssocID="{88338FCC-4EF3-48CB-B940-2DC8F30210F6}" presName="spacer" presStyleCnt="0"/>
      <dgm:spPr/>
    </dgm:pt>
    <dgm:pt modelId="{A0589B8D-FF02-4CED-8A78-E70483041F5C}" type="pres">
      <dgm:prSet presAssocID="{22C5171C-1748-4D36-A56C-12A56F68CBC0}" presName="parentText" presStyleLbl="node1" presStyleIdx="2" presStyleCnt="4">
        <dgm:presLayoutVars>
          <dgm:chMax val="0"/>
          <dgm:bulletEnabled val="1"/>
        </dgm:presLayoutVars>
      </dgm:prSet>
      <dgm:spPr/>
    </dgm:pt>
    <dgm:pt modelId="{2599E089-9C55-4987-AF2B-D2DD4DF957E2}" type="pres">
      <dgm:prSet presAssocID="{924BF46D-FA08-499D-9938-1372B1B4BD95}" presName="spacer" presStyleCnt="0"/>
      <dgm:spPr/>
    </dgm:pt>
    <dgm:pt modelId="{8ECA87E3-F4E1-4F84-89B0-5EC608BB75AB}" type="pres">
      <dgm:prSet presAssocID="{372FEE76-FA3D-45AA-927D-FA2E5A29F850}" presName="parentText" presStyleLbl="node1" presStyleIdx="3" presStyleCnt="4">
        <dgm:presLayoutVars>
          <dgm:chMax val="0"/>
          <dgm:bulletEnabled val="1"/>
        </dgm:presLayoutVars>
      </dgm:prSet>
      <dgm:spPr/>
    </dgm:pt>
  </dgm:ptLst>
  <dgm:cxnLst>
    <dgm:cxn modelId="{93B3812B-43BA-423B-9BAB-3995BA3D7AAC}" type="presOf" srcId="{372FEE76-FA3D-45AA-927D-FA2E5A29F850}" destId="{8ECA87E3-F4E1-4F84-89B0-5EC608BB75AB}" srcOrd="0" destOrd="0" presId="urn:microsoft.com/office/officeart/2005/8/layout/vList2"/>
    <dgm:cxn modelId="{34D63737-A9FC-41A0-BD47-0CBD08A5BFB3}" srcId="{65EBAB6B-814C-4918-9CF2-71D9C2DABE78}" destId="{E605146E-EF3B-4DDC-8662-C46272E59607}" srcOrd="0" destOrd="0" parTransId="{44490D10-1C0A-46CC-9F2B-B985116E2A9E}" sibTransId="{281F1507-7096-4065-ADCA-A9EB0B1C43CF}"/>
    <dgm:cxn modelId="{651F3138-924D-4A21-A823-D707BBF4768C}" type="presOf" srcId="{65EBAB6B-814C-4918-9CF2-71D9C2DABE78}" destId="{D664F86D-FEEE-4E24-83DE-BFE3B14347FB}" srcOrd="0" destOrd="0" presId="urn:microsoft.com/office/officeart/2005/8/layout/vList2"/>
    <dgm:cxn modelId="{A6BFC63A-7571-41B4-8D39-C24AC867FF27}" type="presOf" srcId="{E605146E-EF3B-4DDC-8662-C46272E59607}" destId="{2DFFA55A-18FF-4226-8500-ACDD0E3598A0}" srcOrd="0" destOrd="0" presId="urn:microsoft.com/office/officeart/2005/8/layout/vList2"/>
    <dgm:cxn modelId="{BBACA189-282D-4B1C-BCFB-3D94339A7E82}" type="presOf" srcId="{22C5171C-1748-4D36-A56C-12A56F68CBC0}" destId="{A0589B8D-FF02-4CED-8A78-E70483041F5C}" srcOrd="0" destOrd="0" presId="urn:microsoft.com/office/officeart/2005/8/layout/vList2"/>
    <dgm:cxn modelId="{28691FC1-D3AE-4A82-A2BE-71BAA6F52AE2}" type="presOf" srcId="{5A6AEB92-E510-428D-8C5B-C6E2155B6F1E}" destId="{F6507C70-1D8B-4151-AA51-9843BD2F68D2}" srcOrd="0" destOrd="0" presId="urn:microsoft.com/office/officeart/2005/8/layout/vList2"/>
    <dgm:cxn modelId="{A87AB9E1-95E9-44B9-A9C3-AFB7EE5FB3E1}" srcId="{65EBAB6B-814C-4918-9CF2-71D9C2DABE78}" destId="{22C5171C-1748-4D36-A56C-12A56F68CBC0}" srcOrd="2" destOrd="0" parTransId="{85DE7203-8A1A-4BEB-B3EA-69D7BF7DA5EB}" sibTransId="{924BF46D-FA08-499D-9938-1372B1B4BD95}"/>
    <dgm:cxn modelId="{19AF20F2-1778-4849-A0FA-7878D9B50AC8}" srcId="{65EBAB6B-814C-4918-9CF2-71D9C2DABE78}" destId="{5A6AEB92-E510-428D-8C5B-C6E2155B6F1E}" srcOrd="1" destOrd="0" parTransId="{ECDE3968-937C-404F-A82C-A9FE51D2809D}" sibTransId="{88338FCC-4EF3-48CB-B940-2DC8F30210F6}"/>
    <dgm:cxn modelId="{3FD5EAF6-0D1A-4625-8141-9A6250ADA7B3}" srcId="{65EBAB6B-814C-4918-9CF2-71D9C2DABE78}" destId="{372FEE76-FA3D-45AA-927D-FA2E5A29F850}" srcOrd="3" destOrd="0" parTransId="{5CA651EE-1085-4A77-86B8-F3216B4FF3C3}" sibTransId="{CD2FE881-BF74-4303-98EC-555C29977F02}"/>
    <dgm:cxn modelId="{19D5262B-1C09-432C-A4A3-FF5B815FEB5F}" type="presParOf" srcId="{D664F86D-FEEE-4E24-83DE-BFE3B14347FB}" destId="{2DFFA55A-18FF-4226-8500-ACDD0E3598A0}" srcOrd="0" destOrd="0" presId="urn:microsoft.com/office/officeart/2005/8/layout/vList2"/>
    <dgm:cxn modelId="{0C5BE236-3189-48C0-9B25-747196DB1D12}" type="presParOf" srcId="{D664F86D-FEEE-4E24-83DE-BFE3B14347FB}" destId="{0F74990E-45EC-4C61-92F8-8546973C0932}" srcOrd="1" destOrd="0" presId="urn:microsoft.com/office/officeart/2005/8/layout/vList2"/>
    <dgm:cxn modelId="{46B98D8B-82A3-4C91-A355-75A56FDBF31C}" type="presParOf" srcId="{D664F86D-FEEE-4E24-83DE-BFE3B14347FB}" destId="{F6507C70-1D8B-4151-AA51-9843BD2F68D2}" srcOrd="2" destOrd="0" presId="urn:microsoft.com/office/officeart/2005/8/layout/vList2"/>
    <dgm:cxn modelId="{46F321B3-156F-4F07-A84D-3776C9DE706D}" type="presParOf" srcId="{D664F86D-FEEE-4E24-83DE-BFE3B14347FB}" destId="{0BCBB217-F05B-44CA-841F-0E3140167EA0}" srcOrd="3" destOrd="0" presId="urn:microsoft.com/office/officeart/2005/8/layout/vList2"/>
    <dgm:cxn modelId="{D7D07A71-7D40-4F5D-BBF7-E5CF979CF89C}" type="presParOf" srcId="{D664F86D-FEEE-4E24-83DE-BFE3B14347FB}" destId="{A0589B8D-FF02-4CED-8A78-E70483041F5C}" srcOrd="4" destOrd="0" presId="urn:microsoft.com/office/officeart/2005/8/layout/vList2"/>
    <dgm:cxn modelId="{84543834-BED0-466B-A124-9CFBBB8908B2}" type="presParOf" srcId="{D664F86D-FEEE-4E24-83DE-BFE3B14347FB}" destId="{2599E089-9C55-4987-AF2B-D2DD4DF957E2}" srcOrd="5" destOrd="0" presId="urn:microsoft.com/office/officeart/2005/8/layout/vList2"/>
    <dgm:cxn modelId="{D37D3DE2-54BE-44A5-BB7D-75D95355B37A}" type="presParOf" srcId="{D664F86D-FEEE-4E24-83DE-BFE3B14347FB}" destId="{8ECA87E3-F4E1-4F84-89B0-5EC608BB75AB}" srcOrd="6"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026875CD-E6D9-4CEF-86BB-554A97E2B0F9}" type="doc">
      <dgm:prSet loTypeId="urn:microsoft.com/office/officeart/2009/3/layout/HorizontalOrganizationChart" loCatId="hierarchy" qsTypeId="urn:microsoft.com/office/officeart/2005/8/quickstyle/simple1" qsCatId="simple" csTypeId="urn:microsoft.com/office/officeart/2005/8/colors/accent2_2" csCatId="accent2" phldr="1"/>
      <dgm:spPr/>
      <dgm:t>
        <a:bodyPr/>
        <a:lstStyle/>
        <a:p>
          <a:endParaRPr lang="sv-SE"/>
        </a:p>
      </dgm:t>
    </dgm:pt>
    <dgm:pt modelId="{554EE6E0-9A2D-42B7-99C8-69C22D6431E7}">
      <dgm:prSet phldrT="[Text]"/>
      <dgm:spPr/>
      <dgm:t>
        <a:bodyPr/>
        <a:lstStyle/>
        <a:p>
          <a:r>
            <a:rPr lang="en-GB" i="1">
              <a:effectLst/>
              <a:latin typeface="Arial" panose="020B0604020202020204" pitchFamily="34" charset="0"/>
              <a:ea typeface="Times New Roman" panose="02020603050405020304" pitchFamily="18" charset="0"/>
              <a:cs typeface="Times New Roman" panose="02020603050405020304" pitchFamily="18" charset="0"/>
            </a:rPr>
            <a:t>Ideas or action to overcome the impact that legislation or the lack of it has on your sector</a:t>
          </a:r>
          <a:endParaRPr lang="sv-SE"/>
        </a:p>
      </dgm:t>
    </dgm:pt>
    <dgm:pt modelId="{FA8CC698-BD13-492F-928F-F00CAE663C6D}" type="parTrans" cxnId="{A1111E73-4B04-45B6-AE8A-F363023DE3FE}">
      <dgm:prSet/>
      <dgm:spPr/>
      <dgm:t>
        <a:bodyPr/>
        <a:lstStyle/>
        <a:p>
          <a:endParaRPr lang="sv-SE">
            <a:solidFill>
              <a:schemeClr val="bg1"/>
            </a:solidFill>
          </a:endParaRPr>
        </a:p>
      </dgm:t>
    </dgm:pt>
    <dgm:pt modelId="{8D49D413-B616-4F0A-859D-8081A0ACFC81}" type="sibTrans" cxnId="{A1111E73-4B04-45B6-AE8A-F363023DE3FE}">
      <dgm:prSet/>
      <dgm:spPr/>
      <dgm:t>
        <a:bodyPr/>
        <a:lstStyle/>
        <a:p>
          <a:endParaRPr lang="sv-SE">
            <a:solidFill>
              <a:schemeClr val="bg1"/>
            </a:solidFill>
          </a:endParaRPr>
        </a:p>
      </dgm:t>
    </dgm:pt>
    <dgm:pt modelId="{8A1885B5-563D-4861-83EE-28A28507B012}">
      <dgm:prSet phldrT="[Text]"/>
      <dgm:spPr/>
      <dgm:t>
        <a:bodyPr/>
        <a:lstStyle/>
        <a:p>
          <a:pPr>
            <a:buFont typeface="Symbol" panose="05050102010706020507" pitchFamily="18" charset="2"/>
            <a:buChar char=""/>
          </a:pPr>
          <a:r>
            <a:rPr lang="en-GB" i="1">
              <a:effectLst/>
              <a:latin typeface="Arial" panose="020B0604020202020204" pitchFamily="34" charset="0"/>
              <a:ea typeface="Calibri" panose="020F0502020204030204" pitchFamily="34" charset="0"/>
              <a:cs typeface="Lohit Devanagari"/>
            </a:rPr>
            <a:t>Historic landfills are a source of waste which can be recovered for cement production (raw materials and fuels).</a:t>
          </a:r>
          <a:endParaRPr lang="sv-SE"/>
        </a:p>
      </dgm:t>
    </dgm:pt>
    <dgm:pt modelId="{1457457E-C177-47DE-A5BB-9F090DD49278}" type="parTrans" cxnId="{1CAC37F2-A6FD-4D1B-98C7-5D20518EFFD6}">
      <dgm:prSet/>
      <dgm:spPr/>
      <dgm:t>
        <a:bodyPr/>
        <a:lstStyle/>
        <a:p>
          <a:endParaRPr lang="sv-SE">
            <a:solidFill>
              <a:schemeClr val="bg1"/>
            </a:solidFill>
          </a:endParaRPr>
        </a:p>
      </dgm:t>
    </dgm:pt>
    <dgm:pt modelId="{A62FB65A-B035-4784-8B0F-10A4C18CAF26}" type="sibTrans" cxnId="{1CAC37F2-A6FD-4D1B-98C7-5D20518EFFD6}">
      <dgm:prSet/>
      <dgm:spPr/>
      <dgm:t>
        <a:bodyPr/>
        <a:lstStyle/>
        <a:p>
          <a:endParaRPr lang="sv-SE">
            <a:solidFill>
              <a:schemeClr val="bg1"/>
            </a:solidFill>
          </a:endParaRPr>
        </a:p>
      </dgm:t>
    </dgm:pt>
    <dgm:pt modelId="{882778BA-7F4D-4E75-905C-3810A591D88A}">
      <dgm:prSet phldrT="[Text]"/>
      <dgm:spPr/>
      <dgm:t>
        <a:bodyPr/>
        <a:lstStyle/>
        <a:p>
          <a:pPr>
            <a:buFont typeface="Symbol" panose="05050102010706020507" pitchFamily="18" charset="2"/>
            <a:buChar char=""/>
          </a:pPr>
          <a:r>
            <a:rPr lang="en-GB" i="1">
              <a:effectLst/>
              <a:latin typeface="Arial" panose="020B0604020202020204" pitchFamily="34" charset="0"/>
              <a:ea typeface="Calibri" panose="020F0502020204030204" pitchFamily="34" charset="0"/>
              <a:cs typeface="Lohit Devanagari"/>
            </a:rPr>
            <a:t>Construction and demolition wastes offer quantities of suitable raw materials.</a:t>
          </a:r>
          <a:endParaRPr lang="sv-SE"/>
        </a:p>
      </dgm:t>
    </dgm:pt>
    <dgm:pt modelId="{23C1A197-3CE9-467C-ADD3-C5F087629CD5}" type="parTrans" cxnId="{D1AB3659-8E34-46C3-BEB8-6E2DB66C8C40}">
      <dgm:prSet/>
      <dgm:spPr/>
      <dgm:t>
        <a:bodyPr/>
        <a:lstStyle/>
        <a:p>
          <a:endParaRPr lang="sv-SE">
            <a:solidFill>
              <a:schemeClr val="bg1"/>
            </a:solidFill>
          </a:endParaRPr>
        </a:p>
      </dgm:t>
    </dgm:pt>
    <dgm:pt modelId="{F57B2D35-73EE-46B4-AA57-ACD562F2C28C}" type="sibTrans" cxnId="{D1AB3659-8E34-46C3-BEB8-6E2DB66C8C40}">
      <dgm:prSet/>
      <dgm:spPr/>
      <dgm:t>
        <a:bodyPr/>
        <a:lstStyle/>
        <a:p>
          <a:endParaRPr lang="sv-SE">
            <a:solidFill>
              <a:schemeClr val="bg1"/>
            </a:solidFill>
          </a:endParaRPr>
        </a:p>
      </dgm:t>
    </dgm:pt>
    <dgm:pt modelId="{5DD9EDD9-CC97-4B5C-8492-0C1941462996}">
      <dgm:prSet phldrT="[Text]"/>
      <dgm:spPr/>
      <dgm:t>
        <a:bodyPr/>
        <a:lstStyle/>
        <a:p>
          <a:pPr>
            <a:buFont typeface="Symbol" panose="05050102010706020507" pitchFamily="18" charset="2"/>
            <a:buChar char=""/>
          </a:pPr>
          <a:r>
            <a:rPr lang="en-GB" i="1">
              <a:effectLst/>
              <a:latin typeface="Arial" panose="020B0604020202020204" pitchFamily="34" charset="0"/>
              <a:ea typeface="Calibri" panose="020F0502020204030204" pitchFamily="34" charset="0"/>
              <a:cs typeface="Lohit Devanagari"/>
            </a:rPr>
            <a:t>Establish a waste management system which assures the collection, sorting and fractioning of the desirable waste.</a:t>
          </a:r>
          <a:endParaRPr lang="sv-SE"/>
        </a:p>
      </dgm:t>
    </dgm:pt>
    <dgm:pt modelId="{8A356F03-16D9-4570-82A1-23F4A8553942}" type="parTrans" cxnId="{21F6E738-642C-4FDE-9F62-6A792DC40090}">
      <dgm:prSet/>
      <dgm:spPr/>
      <dgm:t>
        <a:bodyPr/>
        <a:lstStyle/>
        <a:p>
          <a:endParaRPr lang="sv-SE">
            <a:solidFill>
              <a:schemeClr val="bg1"/>
            </a:solidFill>
          </a:endParaRPr>
        </a:p>
      </dgm:t>
    </dgm:pt>
    <dgm:pt modelId="{7E4C3100-27F7-4B03-B7B4-2E78CFBAE9E4}" type="sibTrans" cxnId="{21F6E738-642C-4FDE-9F62-6A792DC40090}">
      <dgm:prSet/>
      <dgm:spPr/>
      <dgm:t>
        <a:bodyPr/>
        <a:lstStyle/>
        <a:p>
          <a:endParaRPr lang="sv-SE">
            <a:solidFill>
              <a:schemeClr val="bg1"/>
            </a:solidFill>
          </a:endParaRPr>
        </a:p>
      </dgm:t>
    </dgm:pt>
    <dgm:pt modelId="{D87673F9-EBBF-41C7-94C5-BF5524D0CC20}">
      <dgm:prSet phldrT="[Text]"/>
      <dgm:spPr/>
      <dgm:t>
        <a:bodyPr/>
        <a:lstStyle/>
        <a:p>
          <a:pPr>
            <a:buFont typeface="Symbol" panose="05050102010706020507" pitchFamily="18" charset="2"/>
            <a:buChar char=""/>
          </a:pPr>
          <a:r>
            <a:rPr lang="en-GB" i="1">
              <a:effectLst/>
              <a:latin typeface="Arial" panose="020B0604020202020204" pitchFamily="34" charset="0"/>
              <a:ea typeface="Calibri" panose="020F0502020204030204" pitchFamily="34" charset="0"/>
              <a:cs typeface="Lohit Devanagari"/>
            </a:rPr>
            <a:t>Industrial symbiosis to find new suitable secondary materials</a:t>
          </a:r>
          <a:endParaRPr lang="sv-SE"/>
        </a:p>
      </dgm:t>
    </dgm:pt>
    <dgm:pt modelId="{F77C24B8-1EBC-42CF-8A50-71A7A306C50C}" type="parTrans" cxnId="{C2C42C1A-8E4B-4A4C-974D-2521125BABA6}">
      <dgm:prSet/>
      <dgm:spPr/>
      <dgm:t>
        <a:bodyPr/>
        <a:lstStyle/>
        <a:p>
          <a:endParaRPr lang="sv-SE">
            <a:solidFill>
              <a:schemeClr val="bg1"/>
            </a:solidFill>
          </a:endParaRPr>
        </a:p>
      </dgm:t>
    </dgm:pt>
    <dgm:pt modelId="{16094659-10A6-4EA4-ABE9-46E71C84593D}" type="sibTrans" cxnId="{C2C42C1A-8E4B-4A4C-974D-2521125BABA6}">
      <dgm:prSet/>
      <dgm:spPr/>
      <dgm:t>
        <a:bodyPr/>
        <a:lstStyle/>
        <a:p>
          <a:endParaRPr lang="sv-SE">
            <a:solidFill>
              <a:schemeClr val="bg1"/>
            </a:solidFill>
          </a:endParaRPr>
        </a:p>
      </dgm:t>
    </dgm:pt>
    <dgm:pt modelId="{3B44CCED-50B0-4B6B-9118-D96F957ACC35}" type="pres">
      <dgm:prSet presAssocID="{026875CD-E6D9-4CEF-86BB-554A97E2B0F9}" presName="hierChild1" presStyleCnt="0">
        <dgm:presLayoutVars>
          <dgm:orgChart val="1"/>
          <dgm:chPref val="1"/>
          <dgm:dir/>
          <dgm:animOne val="branch"/>
          <dgm:animLvl val="lvl"/>
          <dgm:resizeHandles/>
        </dgm:presLayoutVars>
      </dgm:prSet>
      <dgm:spPr/>
    </dgm:pt>
    <dgm:pt modelId="{A9D23CF7-6ED0-4695-A3B1-C045699F0B50}" type="pres">
      <dgm:prSet presAssocID="{554EE6E0-9A2D-42B7-99C8-69C22D6431E7}" presName="hierRoot1" presStyleCnt="0">
        <dgm:presLayoutVars>
          <dgm:hierBranch val="init"/>
        </dgm:presLayoutVars>
      </dgm:prSet>
      <dgm:spPr/>
    </dgm:pt>
    <dgm:pt modelId="{6BF72E76-D31C-4FE7-8610-41F089AC1653}" type="pres">
      <dgm:prSet presAssocID="{554EE6E0-9A2D-42B7-99C8-69C22D6431E7}" presName="rootComposite1" presStyleCnt="0"/>
      <dgm:spPr/>
    </dgm:pt>
    <dgm:pt modelId="{17E4ABDB-28D0-484C-9A17-3859E5AEA975}" type="pres">
      <dgm:prSet presAssocID="{554EE6E0-9A2D-42B7-99C8-69C22D6431E7}" presName="rootText1" presStyleLbl="node0" presStyleIdx="0" presStyleCnt="1" custScaleX="61592" custScaleY="230835">
        <dgm:presLayoutVars>
          <dgm:chPref val="3"/>
        </dgm:presLayoutVars>
      </dgm:prSet>
      <dgm:spPr/>
    </dgm:pt>
    <dgm:pt modelId="{7B4D9554-DC76-42B2-B205-DAB0ED1CB94B}" type="pres">
      <dgm:prSet presAssocID="{554EE6E0-9A2D-42B7-99C8-69C22D6431E7}" presName="rootConnector1" presStyleLbl="node1" presStyleIdx="0" presStyleCnt="0"/>
      <dgm:spPr/>
    </dgm:pt>
    <dgm:pt modelId="{258717D1-54F9-435D-B426-3A06319BAFE4}" type="pres">
      <dgm:prSet presAssocID="{554EE6E0-9A2D-42B7-99C8-69C22D6431E7}" presName="hierChild2" presStyleCnt="0"/>
      <dgm:spPr/>
    </dgm:pt>
    <dgm:pt modelId="{5FF3083B-2E6C-4278-B08D-86565B4DA2C5}" type="pres">
      <dgm:prSet presAssocID="{1457457E-C177-47DE-A5BB-9F090DD49278}" presName="Name64" presStyleLbl="parChTrans1D2" presStyleIdx="0" presStyleCnt="4"/>
      <dgm:spPr/>
    </dgm:pt>
    <dgm:pt modelId="{D1BCD320-ADDC-41BD-B446-A4C38FF95848}" type="pres">
      <dgm:prSet presAssocID="{8A1885B5-563D-4861-83EE-28A28507B012}" presName="hierRoot2" presStyleCnt="0">
        <dgm:presLayoutVars>
          <dgm:hierBranch val="init"/>
        </dgm:presLayoutVars>
      </dgm:prSet>
      <dgm:spPr/>
    </dgm:pt>
    <dgm:pt modelId="{4FF68541-9DB0-4A06-98FF-4B4B8CB49B84}" type="pres">
      <dgm:prSet presAssocID="{8A1885B5-563D-4861-83EE-28A28507B012}" presName="rootComposite" presStyleCnt="0"/>
      <dgm:spPr/>
    </dgm:pt>
    <dgm:pt modelId="{A758E972-AD97-4A3F-8FF2-E333FF753CCE}" type="pres">
      <dgm:prSet presAssocID="{8A1885B5-563D-4861-83EE-28A28507B012}" presName="rootText" presStyleLbl="node2" presStyleIdx="0" presStyleCnt="4">
        <dgm:presLayoutVars>
          <dgm:chPref val="3"/>
        </dgm:presLayoutVars>
      </dgm:prSet>
      <dgm:spPr/>
    </dgm:pt>
    <dgm:pt modelId="{C87F5CA4-30D3-4841-8726-78D789C207B0}" type="pres">
      <dgm:prSet presAssocID="{8A1885B5-563D-4861-83EE-28A28507B012}" presName="rootConnector" presStyleLbl="node2" presStyleIdx="0" presStyleCnt="4"/>
      <dgm:spPr/>
    </dgm:pt>
    <dgm:pt modelId="{4A2C5E69-03E0-48F5-9041-9BA5F1EF401C}" type="pres">
      <dgm:prSet presAssocID="{8A1885B5-563D-4861-83EE-28A28507B012}" presName="hierChild4" presStyleCnt="0"/>
      <dgm:spPr/>
    </dgm:pt>
    <dgm:pt modelId="{D23950A8-0400-4C0C-9D0A-3E98B7E8692B}" type="pres">
      <dgm:prSet presAssocID="{8A1885B5-563D-4861-83EE-28A28507B012}" presName="hierChild5" presStyleCnt="0"/>
      <dgm:spPr/>
    </dgm:pt>
    <dgm:pt modelId="{6A2091D1-A6AA-4F64-AD7C-E7158DF03816}" type="pres">
      <dgm:prSet presAssocID="{23C1A197-3CE9-467C-ADD3-C5F087629CD5}" presName="Name64" presStyleLbl="parChTrans1D2" presStyleIdx="1" presStyleCnt="4"/>
      <dgm:spPr/>
    </dgm:pt>
    <dgm:pt modelId="{A68F1954-1667-4769-88CF-EB224F005207}" type="pres">
      <dgm:prSet presAssocID="{882778BA-7F4D-4E75-905C-3810A591D88A}" presName="hierRoot2" presStyleCnt="0">
        <dgm:presLayoutVars>
          <dgm:hierBranch val="init"/>
        </dgm:presLayoutVars>
      </dgm:prSet>
      <dgm:spPr/>
    </dgm:pt>
    <dgm:pt modelId="{C138D9CE-5A08-452B-9FF3-DAA7D05B504E}" type="pres">
      <dgm:prSet presAssocID="{882778BA-7F4D-4E75-905C-3810A591D88A}" presName="rootComposite" presStyleCnt="0"/>
      <dgm:spPr/>
    </dgm:pt>
    <dgm:pt modelId="{A0B7C142-6F06-46B7-9DD1-CB40B7C382A7}" type="pres">
      <dgm:prSet presAssocID="{882778BA-7F4D-4E75-905C-3810A591D88A}" presName="rootText" presStyleLbl="node2" presStyleIdx="1" presStyleCnt="4">
        <dgm:presLayoutVars>
          <dgm:chPref val="3"/>
        </dgm:presLayoutVars>
      </dgm:prSet>
      <dgm:spPr/>
    </dgm:pt>
    <dgm:pt modelId="{3A824E4E-6184-4673-9D6B-C7A5CC4FAFA9}" type="pres">
      <dgm:prSet presAssocID="{882778BA-7F4D-4E75-905C-3810A591D88A}" presName="rootConnector" presStyleLbl="node2" presStyleIdx="1" presStyleCnt="4"/>
      <dgm:spPr/>
    </dgm:pt>
    <dgm:pt modelId="{AE60400C-7FA3-403E-91E1-A6CDEBBE72A2}" type="pres">
      <dgm:prSet presAssocID="{882778BA-7F4D-4E75-905C-3810A591D88A}" presName="hierChild4" presStyleCnt="0"/>
      <dgm:spPr/>
    </dgm:pt>
    <dgm:pt modelId="{55EB0EFA-2ABD-4481-94B4-E0B0AF829F02}" type="pres">
      <dgm:prSet presAssocID="{882778BA-7F4D-4E75-905C-3810A591D88A}" presName="hierChild5" presStyleCnt="0"/>
      <dgm:spPr/>
    </dgm:pt>
    <dgm:pt modelId="{961E4D7D-AF91-4A4A-B7FF-12FF9D669142}" type="pres">
      <dgm:prSet presAssocID="{8A356F03-16D9-4570-82A1-23F4A8553942}" presName="Name64" presStyleLbl="parChTrans1D2" presStyleIdx="2" presStyleCnt="4"/>
      <dgm:spPr/>
    </dgm:pt>
    <dgm:pt modelId="{290672BE-D09F-4EC1-8550-CFBAB3A57767}" type="pres">
      <dgm:prSet presAssocID="{5DD9EDD9-CC97-4B5C-8492-0C1941462996}" presName="hierRoot2" presStyleCnt="0">
        <dgm:presLayoutVars>
          <dgm:hierBranch val="init"/>
        </dgm:presLayoutVars>
      </dgm:prSet>
      <dgm:spPr/>
    </dgm:pt>
    <dgm:pt modelId="{F9BE17C2-563E-4316-A2E5-C7E6AF558390}" type="pres">
      <dgm:prSet presAssocID="{5DD9EDD9-CC97-4B5C-8492-0C1941462996}" presName="rootComposite" presStyleCnt="0"/>
      <dgm:spPr/>
    </dgm:pt>
    <dgm:pt modelId="{3197E746-9ACD-4476-B3FA-89470947E893}" type="pres">
      <dgm:prSet presAssocID="{5DD9EDD9-CC97-4B5C-8492-0C1941462996}" presName="rootText" presStyleLbl="node2" presStyleIdx="2" presStyleCnt="4">
        <dgm:presLayoutVars>
          <dgm:chPref val="3"/>
        </dgm:presLayoutVars>
      </dgm:prSet>
      <dgm:spPr/>
    </dgm:pt>
    <dgm:pt modelId="{490F3A79-61AA-4E77-8229-9F83660A13F5}" type="pres">
      <dgm:prSet presAssocID="{5DD9EDD9-CC97-4B5C-8492-0C1941462996}" presName="rootConnector" presStyleLbl="node2" presStyleIdx="2" presStyleCnt="4"/>
      <dgm:spPr/>
    </dgm:pt>
    <dgm:pt modelId="{0F43DE8A-1530-4B0C-AA42-DC5936D41A87}" type="pres">
      <dgm:prSet presAssocID="{5DD9EDD9-CC97-4B5C-8492-0C1941462996}" presName="hierChild4" presStyleCnt="0"/>
      <dgm:spPr/>
    </dgm:pt>
    <dgm:pt modelId="{5441DCEE-F35E-400C-8581-67099E8CDE19}" type="pres">
      <dgm:prSet presAssocID="{5DD9EDD9-CC97-4B5C-8492-0C1941462996}" presName="hierChild5" presStyleCnt="0"/>
      <dgm:spPr/>
    </dgm:pt>
    <dgm:pt modelId="{1B83DA51-0397-4229-8FE4-F7D39A8C793A}" type="pres">
      <dgm:prSet presAssocID="{F77C24B8-1EBC-42CF-8A50-71A7A306C50C}" presName="Name64" presStyleLbl="parChTrans1D2" presStyleIdx="3" presStyleCnt="4"/>
      <dgm:spPr/>
    </dgm:pt>
    <dgm:pt modelId="{C9101A2B-4FCB-4088-B1B3-0441A6ACBCF1}" type="pres">
      <dgm:prSet presAssocID="{D87673F9-EBBF-41C7-94C5-BF5524D0CC20}" presName="hierRoot2" presStyleCnt="0">
        <dgm:presLayoutVars>
          <dgm:hierBranch val="init"/>
        </dgm:presLayoutVars>
      </dgm:prSet>
      <dgm:spPr/>
    </dgm:pt>
    <dgm:pt modelId="{126E71DA-C30C-4AF8-A3B7-35B20660A398}" type="pres">
      <dgm:prSet presAssocID="{D87673F9-EBBF-41C7-94C5-BF5524D0CC20}" presName="rootComposite" presStyleCnt="0"/>
      <dgm:spPr/>
    </dgm:pt>
    <dgm:pt modelId="{602DB18E-4962-4272-BB8B-E16EEDE5EA53}" type="pres">
      <dgm:prSet presAssocID="{D87673F9-EBBF-41C7-94C5-BF5524D0CC20}" presName="rootText" presStyleLbl="node2" presStyleIdx="3" presStyleCnt="4">
        <dgm:presLayoutVars>
          <dgm:chPref val="3"/>
        </dgm:presLayoutVars>
      </dgm:prSet>
      <dgm:spPr/>
    </dgm:pt>
    <dgm:pt modelId="{C2DCC80E-216F-431A-8991-521EBCDD7E78}" type="pres">
      <dgm:prSet presAssocID="{D87673F9-EBBF-41C7-94C5-BF5524D0CC20}" presName="rootConnector" presStyleLbl="node2" presStyleIdx="3" presStyleCnt="4"/>
      <dgm:spPr/>
    </dgm:pt>
    <dgm:pt modelId="{D90C4E67-2237-4CD3-A4E5-AA2301AA5397}" type="pres">
      <dgm:prSet presAssocID="{D87673F9-EBBF-41C7-94C5-BF5524D0CC20}" presName="hierChild4" presStyleCnt="0"/>
      <dgm:spPr/>
    </dgm:pt>
    <dgm:pt modelId="{58C84188-A4BB-4E34-9108-FC92A36DA71F}" type="pres">
      <dgm:prSet presAssocID="{D87673F9-EBBF-41C7-94C5-BF5524D0CC20}" presName="hierChild5" presStyleCnt="0"/>
      <dgm:spPr/>
    </dgm:pt>
    <dgm:pt modelId="{837A3ED5-5055-424B-87B2-4B5D6890E2B0}" type="pres">
      <dgm:prSet presAssocID="{554EE6E0-9A2D-42B7-99C8-69C22D6431E7}" presName="hierChild3" presStyleCnt="0"/>
      <dgm:spPr/>
    </dgm:pt>
  </dgm:ptLst>
  <dgm:cxnLst>
    <dgm:cxn modelId="{D436180B-E7D8-425A-BC98-63DDA0976CC8}" type="presOf" srcId="{1457457E-C177-47DE-A5BB-9F090DD49278}" destId="{5FF3083B-2E6C-4278-B08D-86565B4DA2C5}" srcOrd="0" destOrd="0" presId="urn:microsoft.com/office/officeart/2009/3/layout/HorizontalOrganizationChart"/>
    <dgm:cxn modelId="{E00E0912-371B-44B2-9B87-890204C7531E}" type="presOf" srcId="{23C1A197-3CE9-467C-ADD3-C5F087629CD5}" destId="{6A2091D1-A6AA-4F64-AD7C-E7158DF03816}" srcOrd="0" destOrd="0" presId="urn:microsoft.com/office/officeart/2009/3/layout/HorizontalOrganizationChart"/>
    <dgm:cxn modelId="{F5781016-AC16-4DBB-9CC1-6BD2D54A164C}" type="presOf" srcId="{F77C24B8-1EBC-42CF-8A50-71A7A306C50C}" destId="{1B83DA51-0397-4229-8FE4-F7D39A8C793A}" srcOrd="0" destOrd="0" presId="urn:microsoft.com/office/officeart/2009/3/layout/HorizontalOrganizationChart"/>
    <dgm:cxn modelId="{C2C42C1A-8E4B-4A4C-974D-2521125BABA6}" srcId="{554EE6E0-9A2D-42B7-99C8-69C22D6431E7}" destId="{D87673F9-EBBF-41C7-94C5-BF5524D0CC20}" srcOrd="3" destOrd="0" parTransId="{F77C24B8-1EBC-42CF-8A50-71A7A306C50C}" sibTransId="{16094659-10A6-4EA4-ABE9-46E71C84593D}"/>
    <dgm:cxn modelId="{EBAD4928-6905-4F11-854F-8ADB0646AE7E}" type="presOf" srcId="{8A1885B5-563D-4861-83EE-28A28507B012}" destId="{C87F5CA4-30D3-4841-8726-78D789C207B0}" srcOrd="1" destOrd="0" presId="urn:microsoft.com/office/officeart/2009/3/layout/HorizontalOrganizationChart"/>
    <dgm:cxn modelId="{21F6E738-642C-4FDE-9F62-6A792DC40090}" srcId="{554EE6E0-9A2D-42B7-99C8-69C22D6431E7}" destId="{5DD9EDD9-CC97-4B5C-8492-0C1941462996}" srcOrd="2" destOrd="0" parTransId="{8A356F03-16D9-4570-82A1-23F4A8553942}" sibTransId="{7E4C3100-27F7-4B03-B7B4-2E78CFBAE9E4}"/>
    <dgm:cxn modelId="{7F02D63C-98D8-4241-837B-CCB0049EEDF8}" type="presOf" srcId="{D87673F9-EBBF-41C7-94C5-BF5524D0CC20}" destId="{C2DCC80E-216F-431A-8991-521EBCDD7E78}" srcOrd="1" destOrd="0" presId="urn:microsoft.com/office/officeart/2009/3/layout/HorizontalOrganizationChart"/>
    <dgm:cxn modelId="{CB152860-9C81-4CCC-8756-6539FB000AE4}" type="presOf" srcId="{882778BA-7F4D-4E75-905C-3810A591D88A}" destId="{3A824E4E-6184-4673-9D6B-C7A5CC4FAFA9}" srcOrd="1" destOrd="0" presId="urn:microsoft.com/office/officeart/2009/3/layout/HorizontalOrganizationChart"/>
    <dgm:cxn modelId="{AC684C41-0939-486F-91D8-C5E3ECA461C9}" type="presOf" srcId="{026875CD-E6D9-4CEF-86BB-554A97E2B0F9}" destId="{3B44CCED-50B0-4B6B-9118-D96F957ACC35}" srcOrd="0" destOrd="0" presId="urn:microsoft.com/office/officeart/2009/3/layout/HorizontalOrganizationChart"/>
    <dgm:cxn modelId="{F62B4545-9A86-4621-A584-4BB41613720F}" type="presOf" srcId="{554EE6E0-9A2D-42B7-99C8-69C22D6431E7}" destId="{17E4ABDB-28D0-484C-9A17-3859E5AEA975}" srcOrd="0" destOrd="0" presId="urn:microsoft.com/office/officeart/2009/3/layout/HorizontalOrganizationChart"/>
    <dgm:cxn modelId="{A1111E73-4B04-45B6-AE8A-F363023DE3FE}" srcId="{026875CD-E6D9-4CEF-86BB-554A97E2B0F9}" destId="{554EE6E0-9A2D-42B7-99C8-69C22D6431E7}" srcOrd="0" destOrd="0" parTransId="{FA8CC698-BD13-492F-928F-F00CAE663C6D}" sibTransId="{8D49D413-B616-4F0A-859D-8081A0ACFC81}"/>
    <dgm:cxn modelId="{D1AB3659-8E34-46C3-BEB8-6E2DB66C8C40}" srcId="{554EE6E0-9A2D-42B7-99C8-69C22D6431E7}" destId="{882778BA-7F4D-4E75-905C-3810A591D88A}" srcOrd="1" destOrd="0" parTransId="{23C1A197-3CE9-467C-ADD3-C5F087629CD5}" sibTransId="{F57B2D35-73EE-46B4-AA57-ACD562F2C28C}"/>
    <dgm:cxn modelId="{79C71C9C-6F49-4B93-B39F-CBF7BA1EB57F}" type="presOf" srcId="{8A356F03-16D9-4570-82A1-23F4A8553942}" destId="{961E4D7D-AF91-4A4A-B7FF-12FF9D669142}" srcOrd="0" destOrd="0" presId="urn:microsoft.com/office/officeart/2009/3/layout/HorizontalOrganizationChart"/>
    <dgm:cxn modelId="{4750C4AC-1543-41E0-B85B-47893A7085C7}" type="presOf" srcId="{5DD9EDD9-CC97-4B5C-8492-0C1941462996}" destId="{3197E746-9ACD-4476-B3FA-89470947E893}" srcOrd="0" destOrd="0" presId="urn:microsoft.com/office/officeart/2009/3/layout/HorizontalOrganizationChart"/>
    <dgm:cxn modelId="{94B5E4D6-875A-49BC-B711-D55C16F8C331}" type="presOf" srcId="{5DD9EDD9-CC97-4B5C-8492-0C1941462996}" destId="{490F3A79-61AA-4E77-8229-9F83660A13F5}" srcOrd="1" destOrd="0" presId="urn:microsoft.com/office/officeart/2009/3/layout/HorizontalOrganizationChart"/>
    <dgm:cxn modelId="{5AA4DBD8-D446-45E1-9288-971B61A2B56F}" type="presOf" srcId="{554EE6E0-9A2D-42B7-99C8-69C22D6431E7}" destId="{7B4D9554-DC76-42B2-B205-DAB0ED1CB94B}" srcOrd="1" destOrd="0" presId="urn:microsoft.com/office/officeart/2009/3/layout/HorizontalOrganizationChart"/>
    <dgm:cxn modelId="{FE8B03E6-CC75-43D8-AE9E-69A3EA26FC3F}" type="presOf" srcId="{D87673F9-EBBF-41C7-94C5-BF5524D0CC20}" destId="{602DB18E-4962-4272-BB8B-E16EEDE5EA53}" srcOrd="0" destOrd="0" presId="urn:microsoft.com/office/officeart/2009/3/layout/HorizontalOrganizationChart"/>
    <dgm:cxn modelId="{F0B3D8EF-34F7-4EC7-97A5-90FB57A2DDA4}" type="presOf" srcId="{8A1885B5-563D-4861-83EE-28A28507B012}" destId="{A758E972-AD97-4A3F-8FF2-E333FF753CCE}" srcOrd="0" destOrd="0" presId="urn:microsoft.com/office/officeart/2009/3/layout/HorizontalOrganizationChart"/>
    <dgm:cxn modelId="{1CAC37F2-A6FD-4D1B-98C7-5D20518EFFD6}" srcId="{554EE6E0-9A2D-42B7-99C8-69C22D6431E7}" destId="{8A1885B5-563D-4861-83EE-28A28507B012}" srcOrd="0" destOrd="0" parTransId="{1457457E-C177-47DE-A5BB-9F090DD49278}" sibTransId="{A62FB65A-B035-4784-8B0F-10A4C18CAF26}"/>
    <dgm:cxn modelId="{932154F5-C615-49D8-B2DC-368AF787CCC5}" type="presOf" srcId="{882778BA-7F4D-4E75-905C-3810A591D88A}" destId="{A0B7C142-6F06-46B7-9DD1-CB40B7C382A7}" srcOrd="0" destOrd="0" presId="urn:microsoft.com/office/officeart/2009/3/layout/HorizontalOrganizationChart"/>
    <dgm:cxn modelId="{C950A62A-B3F8-4D0A-A17E-2A064DB5E2C9}" type="presParOf" srcId="{3B44CCED-50B0-4B6B-9118-D96F957ACC35}" destId="{A9D23CF7-6ED0-4695-A3B1-C045699F0B50}" srcOrd="0" destOrd="0" presId="urn:microsoft.com/office/officeart/2009/3/layout/HorizontalOrganizationChart"/>
    <dgm:cxn modelId="{E03824BE-F6B0-47AA-86AE-2DA54A3464C6}" type="presParOf" srcId="{A9D23CF7-6ED0-4695-A3B1-C045699F0B50}" destId="{6BF72E76-D31C-4FE7-8610-41F089AC1653}" srcOrd="0" destOrd="0" presId="urn:microsoft.com/office/officeart/2009/3/layout/HorizontalOrganizationChart"/>
    <dgm:cxn modelId="{894EC876-3195-401E-BA0B-07E1F1EC39DC}" type="presParOf" srcId="{6BF72E76-D31C-4FE7-8610-41F089AC1653}" destId="{17E4ABDB-28D0-484C-9A17-3859E5AEA975}" srcOrd="0" destOrd="0" presId="urn:microsoft.com/office/officeart/2009/3/layout/HorizontalOrganizationChart"/>
    <dgm:cxn modelId="{CD22B9D7-B972-403C-8980-70720FF5927C}" type="presParOf" srcId="{6BF72E76-D31C-4FE7-8610-41F089AC1653}" destId="{7B4D9554-DC76-42B2-B205-DAB0ED1CB94B}" srcOrd="1" destOrd="0" presId="urn:microsoft.com/office/officeart/2009/3/layout/HorizontalOrganizationChart"/>
    <dgm:cxn modelId="{5F135868-CE3C-4574-8520-27CB8773D6EE}" type="presParOf" srcId="{A9D23CF7-6ED0-4695-A3B1-C045699F0B50}" destId="{258717D1-54F9-435D-B426-3A06319BAFE4}" srcOrd="1" destOrd="0" presId="urn:microsoft.com/office/officeart/2009/3/layout/HorizontalOrganizationChart"/>
    <dgm:cxn modelId="{C395CE30-0510-4BC0-B8F9-F18190403026}" type="presParOf" srcId="{258717D1-54F9-435D-B426-3A06319BAFE4}" destId="{5FF3083B-2E6C-4278-B08D-86565B4DA2C5}" srcOrd="0" destOrd="0" presId="urn:microsoft.com/office/officeart/2009/3/layout/HorizontalOrganizationChart"/>
    <dgm:cxn modelId="{A9CB2295-B7F0-49FC-A80A-F17D68CE29C6}" type="presParOf" srcId="{258717D1-54F9-435D-B426-3A06319BAFE4}" destId="{D1BCD320-ADDC-41BD-B446-A4C38FF95848}" srcOrd="1" destOrd="0" presId="urn:microsoft.com/office/officeart/2009/3/layout/HorizontalOrganizationChart"/>
    <dgm:cxn modelId="{1EACE794-BA62-4F6F-B6C8-88864F1F2ABE}" type="presParOf" srcId="{D1BCD320-ADDC-41BD-B446-A4C38FF95848}" destId="{4FF68541-9DB0-4A06-98FF-4B4B8CB49B84}" srcOrd="0" destOrd="0" presId="urn:microsoft.com/office/officeart/2009/3/layout/HorizontalOrganizationChart"/>
    <dgm:cxn modelId="{6F3F7694-28B8-4B57-A274-87C37BD0B071}" type="presParOf" srcId="{4FF68541-9DB0-4A06-98FF-4B4B8CB49B84}" destId="{A758E972-AD97-4A3F-8FF2-E333FF753CCE}" srcOrd="0" destOrd="0" presId="urn:microsoft.com/office/officeart/2009/3/layout/HorizontalOrganizationChart"/>
    <dgm:cxn modelId="{BD179551-195C-4550-B05E-035146018734}" type="presParOf" srcId="{4FF68541-9DB0-4A06-98FF-4B4B8CB49B84}" destId="{C87F5CA4-30D3-4841-8726-78D789C207B0}" srcOrd="1" destOrd="0" presId="urn:microsoft.com/office/officeart/2009/3/layout/HorizontalOrganizationChart"/>
    <dgm:cxn modelId="{0151E5BA-54C3-4572-86C5-4CC350501D73}" type="presParOf" srcId="{D1BCD320-ADDC-41BD-B446-A4C38FF95848}" destId="{4A2C5E69-03E0-48F5-9041-9BA5F1EF401C}" srcOrd="1" destOrd="0" presId="urn:microsoft.com/office/officeart/2009/3/layout/HorizontalOrganizationChart"/>
    <dgm:cxn modelId="{5FC7C34B-F2C1-4D1A-8306-4EFBC560B5B3}" type="presParOf" srcId="{D1BCD320-ADDC-41BD-B446-A4C38FF95848}" destId="{D23950A8-0400-4C0C-9D0A-3E98B7E8692B}" srcOrd="2" destOrd="0" presId="urn:microsoft.com/office/officeart/2009/3/layout/HorizontalOrganizationChart"/>
    <dgm:cxn modelId="{2CE2C8DA-9273-4CA9-91F4-E23F228E2CE8}" type="presParOf" srcId="{258717D1-54F9-435D-B426-3A06319BAFE4}" destId="{6A2091D1-A6AA-4F64-AD7C-E7158DF03816}" srcOrd="2" destOrd="0" presId="urn:microsoft.com/office/officeart/2009/3/layout/HorizontalOrganizationChart"/>
    <dgm:cxn modelId="{88782E19-D532-4282-901B-29C592BB2809}" type="presParOf" srcId="{258717D1-54F9-435D-B426-3A06319BAFE4}" destId="{A68F1954-1667-4769-88CF-EB224F005207}" srcOrd="3" destOrd="0" presId="urn:microsoft.com/office/officeart/2009/3/layout/HorizontalOrganizationChart"/>
    <dgm:cxn modelId="{ACC39AA3-F4D7-4904-9394-ED65F6F2E02E}" type="presParOf" srcId="{A68F1954-1667-4769-88CF-EB224F005207}" destId="{C138D9CE-5A08-452B-9FF3-DAA7D05B504E}" srcOrd="0" destOrd="0" presId="urn:microsoft.com/office/officeart/2009/3/layout/HorizontalOrganizationChart"/>
    <dgm:cxn modelId="{12861648-3603-4754-AD9E-4FEEADD21C55}" type="presParOf" srcId="{C138D9CE-5A08-452B-9FF3-DAA7D05B504E}" destId="{A0B7C142-6F06-46B7-9DD1-CB40B7C382A7}" srcOrd="0" destOrd="0" presId="urn:microsoft.com/office/officeart/2009/3/layout/HorizontalOrganizationChart"/>
    <dgm:cxn modelId="{85443523-BDF5-40DA-B56D-B06F0A1B11EC}" type="presParOf" srcId="{C138D9CE-5A08-452B-9FF3-DAA7D05B504E}" destId="{3A824E4E-6184-4673-9D6B-C7A5CC4FAFA9}" srcOrd="1" destOrd="0" presId="urn:microsoft.com/office/officeart/2009/3/layout/HorizontalOrganizationChart"/>
    <dgm:cxn modelId="{F480C188-619B-484D-9DDE-C7A51CB11C6C}" type="presParOf" srcId="{A68F1954-1667-4769-88CF-EB224F005207}" destId="{AE60400C-7FA3-403E-91E1-A6CDEBBE72A2}" srcOrd="1" destOrd="0" presId="urn:microsoft.com/office/officeart/2009/3/layout/HorizontalOrganizationChart"/>
    <dgm:cxn modelId="{EEC8C333-D387-4278-A150-C1438B87950D}" type="presParOf" srcId="{A68F1954-1667-4769-88CF-EB224F005207}" destId="{55EB0EFA-2ABD-4481-94B4-E0B0AF829F02}" srcOrd="2" destOrd="0" presId="urn:microsoft.com/office/officeart/2009/3/layout/HorizontalOrganizationChart"/>
    <dgm:cxn modelId="{D4309BEC-FB52-473F-9E55-18FF594CCD5D}" type="presParOf" srcId="{258717D1-54F9-435D-B426-3A06319BAFE4}" destId="{961E4D7D-AF91-4A4A-B7FF-12FF9D669142}" srcOrd="4" destOrd="0" presId="urn:microsoft.com/office/officeart/2009/3/layout/HorizontalOrganizationChart"/>
    <dgm:cxn modelId="{F7B35119-A9F6-446C-A6BD-247E970521B9}" type="presParOf" srcId="{258717D1-54F9-435D-B426-3A06319BAFE4}" destId="{290672BE-D09F-4EC1-8550-CFBAB3A57767}" srcOrd="5" destOrd="0" presId="urn:microsoft.com/office/officeart/2009/3/layout/HorizontalOrganizationChart"/>
    <dgm:cxn modelId="{524D4912-5617-4CC1-A924-557AA89DF174}" type="presParOf" srcId="{290672BE-D09F-4EC1-8550-CFBAB3A57767}" destId="{F9BE17C2-563E-4316-A2E5-C7E6AF558390}" srcOrd="0" destOrd="0" presId="urn:microsoft.com/office/officeart/2009/3/layout/HorizontalOrganizationChart"/>
    <dgm:cxn modelId="{15F84403-D311-4722-AB08-F3FC36E401C6}" type="presParOf" srcId="{F9BE17C2-563E-4316-A2E5-C7E6AF558390}" destId="{3197E746-9ACD-4476-B3FA-89470947E893}" srcOrd="0" destOrd="0" presId="urn:microsoft.com/office/officeart/2009/3/layout/HorizontalOrganizationChart"/>
    <dgm:cxn modelId="{51C9997C-527C-4B7A-B3D3-62F15B9EF9A7}" type="presParOf" srcId="{F9BE17C2-563E-4316-A2E5-C7E6AF558390}" destId="{490F3A79-61AA-4E77-8229-9F83660A13F5}" srcOrd="1" destOrd="0" presId="urn:microsoft.com/office/officeart/2009/3/layout/HorizontalOrganizationChart"/>
    <dgm:cxn modelId="{0966AF37-FD46-4BCF-A02C-5998A80C53D4}" type="presParOf" srcId="{290672BE-D09F-4EC1-8550-CFBAB3A57767}" destId="{0F43DE8A-1530-4B0C-AA42-DC5936D41A87}" srcOrd="1" destOrd="0" presId="urn:microsoft.com/office/officeart/2009/3/layout/HorizontalOrganizationChart"/>
    <dgm:cxn modelId="{897D5B36-1572-442C-AED3-1E5DFF059EFF}" type="presParOf" srcId="{290672BE-D09F-4EC1-8550-CFBAB3A57767}" destId="{5441DCEE-F35E-400C-8581-67099E8CDE19}" srcOrd="2" destOrd="0" presId="urn:microsoft.com/office/officeart/2009/3/layout/HorizontalOrganizationChart"/>
    <dgm:cxn modelId="{056B871D-DFDA-4328-BFD5-CAF72B5EA5AA}" type="presParOf" srcId="{258717D1-54F9-435D-B426-3A06319BAFE4}" destId="{1B83DA51-0397-4229-8FE4-F7D39A8C793A}" srcOrd="6" destOrd="0" presId="urn:microsoft.com/office/officeart/2009/3/layout/HorizontalOrganizationChart"/>
    <dgm:cxn modelId="{39ACAAA7-79A8-49E7-9D14-B2EC06EAC329}" type="presParOf" srcId="{258717D1-54F9-435D-B426-3A06319BAFE4}" destId="{C9101A2B-4FCB-4088-B1B3-0441A6ACBCF1}" srcOrd="7" destOrd="0" presId="urn:microsoft.com/office/officeart/2009/3/layout/HorizontalOrganizationChart"/>
    <dgm:cxn modelId="{78D442E2-2516-4DBF-A381-87F8DA324DEE}" type="presParOf" srcId="{C9101A2B-4FCB-4088-B1B3-0441A6ACBCF1}" destId="{126E71DA-C30C-4AF8-A3B7-35B20660A398}" srcOrd="0" destOrd="0" presId="urn:microsoft.com/office/officeart/2009/3/layout/HorizontalOrganizationChart"/>
    <dgm:cxn modelId="{91269E06-68D5-4326-8A40-CD98DB4A80D7}" type="presParOf" srcId="{126E71DA-C30C-4AF8-A3B7-35B20660A398}" destId="{602DB18E-4962-4272-BB8B-E16EEDE5EA53}" srcOrd="0" destOrd="0" presId="urn:microsoft.com/office/officeart/2009/3/layout/HorizontalOrganizationChart"/>
    <dgm:cxn modelId="{0F829CFE-2B48-4422-A4D8-8A70A7A76AE4}" type="presParOf" srcId="{126E71DA-C30C-4AF8-A3B7-35B20660A398}" destId="{C2DCC80E-216F-431A-8991-521EBCDD7E78}" srcOrd="1" destOrd="0" presId="urn:microsoft.com/office/officeart/2009/3/layout/HorizontalOrganizationChart"/>
    <dgm:cxn modelId="{0B62CFE7-A2A6-4B70-AC3E-E5E7C558699B}" type="presParOf" srcId="{C9101A2B-4FCB-4088-B1B3-0441A6ACBCF1}" destId="{D90C4E67-2237-4CD3-A4E5-AA2301AA5397}" srcOrd="1" destOrd="0" presId="urn:microsoft.com/office/officeart/2009/3/layout/HorizontalOrganizationChart"/>
    <dgm:cxn modelId="{C9C9CBF4-FE20-41FA-BE32-6838C8BC09D5}" type="presParOf" srcId="{C9101A2B-4FCB-4088-B1B3-0441A6ACBCF1}" destId="{58C84188-A4BB-4E34-9108-FC92A36DA71F}" srcOrd="2" destOrd="0" presId="urn:microsoft.com/office/officeart/2009/3/layout/HorizontalOrganizationChart"/>
    <dgm:cxn modelId="{07669592-2607-4F61-AF82-CAF45E169D42}" type="presParOf" srcId="{A9D23CF7-6ED0-4695-A3B1-C045699F0B50}" destId="{837A3ED5-5055-424B-87B2-4B5D6890E2B0}" srcOrd="2" destOrd="0" presId="urn:microsoft.com/office/officeart/2009/3/layout/HorizontalOrganizationChart"/>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F3A31658-6CF3-4038-9857-A69900CF8E8A}"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EAAD40BA-CD3F-4048-9A4E-6750250ECB8C}">
      <dgm:prSet custT="1"/>
      <dgm:spPr>
        <a:solidFill>
          <a:schemeClr val="accent2"/>
        </a:solidFill>
      </dgm:spPr>
      <dgm:t>
        <a:bodyPr/>
        <a:lstStyle/>
        <a:p>
          <a:pPr algn="ctr"/>
          <a:r>
            <a:rPr lang="en-GB" sz="2000" i="1" dirty="0">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rPr>
            <a:t>The Fertilizers sector is very much compromised to overcome the mentioned barriers, being very active through association such as Fertilizers Europe (European Level) and IFA (International Level). </a:t>
          </a:r>
          <a:r>
            <a:rPr lang="en-GB" sz="2000" i="1" dirty="0" err="1">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rPr>
            <a:t>Fertiberia</a:t>
          </a:r>
          <a:r>
            <a:rPr lang="en-GB" sz="2000" i="1" dirty="0">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rPr>
            <a:t> belong to both of them and participate in many tasks related to circular economy such as reuse of </a:t>
          </a:r>
          <a:r>
            <a:rPr lang="en-GB" sz="2000" i="1" dirty="0" err="1">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rPr>
            <a:t>phosphogypsum</a:t>
          </a:r>
          <a:r>
            <a:rPr lang="en-GB" sz="2000" i="1" dirty="0">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rPr>
            <a:t>, ashes, </a:t>
          </a:r>
          <a:r>
            <a:rPr lang="en-GB" sz="2000" i="1" dirty="0" err="1">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rPr>
            <a:t>struvites</a:t>
          </a:r>
          <a:r>
            <a:rPr lang="en-GB" sz="2000" i="1" dirty="0">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rPr>
            <a:t>, wastewater, etc.</a:t>
          </a:r>
          <a:endParaRPr lang="en-US" sz="2000" dirty="0">
            <a:solidFill>
              <a:schemeClr val="bg1"/>
            </a:solidFill>
          </a:endParaRPr>
        </a:p>
      </dgm:t>
    </dgm:pt>
    <dgm:pt modelId="{F3B298AF-5B84-4840-837A-A5C6070738D8}" type="parTrans" cxnId="{772C7C63-0B27-4051-A564-EB89D26FA16C}">
      <dgm:prSet/>
      <dgm:spPr/>
      <dgm:t>
        <a:bodyPr/>
        <a:lstStyle/>
        <a:p>
          <a:pPr algn="ctr"/>
          <a:endParaRPr lang="en-US" sz="2000">
            <a:solidFill>
              <a:schemeClr val="bg1"/>
            </a:solidFill>
          </a:endParaRPr>
        </a:p>
      </dgm:t>
    </dgm:pt>
    <dgm:pt modelId="{3917516A-91CF-4ABC-83E0-98C8A3A2E1D7}" type="sibTrans" cxnId="{772C7C63-0B27-4051-A564-EB89D26FA16C}">
      <dgm:prSet/>
      <dgm:spPr/>
      <dgm:t>
        <a:bodyPr/>
        <a:lstStyle/>
        <a:p>
          <a:pPr algn="ctr"/>
          <a:endParaRPr lang="en-US" sz="2000">
            <a:solidFill>
              <a:schemeClr val="bg1"/>
            </a:solidFill>
          </a:endParaRPr>
        </a:p>
      </dgm:t>
    </dgm:pt>
    <dgm:pt modelId="{7C0116BF-83EB-455C-A0CF-B420B6EC6E5D}">
      <dgm:prSet custT="1"/>
      <dgm:spPr>
        <a:solidFill>
          <a:schemeClr val="accent2"/>
        </a:solidFill>
      </dgm:spPr>
      <dgm:t>
        <a:bodyPr/>
        <a:lstStyle/>
        <a:p>
          <a:pPr algn="ctr"/>
          <a:r>
            <a:rPr lang="en-GB" sz="2000" i="1" dirty="0">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rPr>
            <a:t>The sector is taking many actions related to energy efficiency, other sources of energy with less impact in the environment, new sources of nutrient raw material and best practises in the use of fertilizers. For example, this is a related communication from Fertilizers Europe:</a:t>
          </a:r>
          <a:r>
            <a:rPr lang="en-US" sz="2000" i="1" dirty="0">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rPr>
            <a:t>The EU's Farm to Fork Strategy aims to reduce </a:t>
          </a:r>
          <a:r>
            <a:rPr lang="en-US" sz="2000" i="1" dirty="0" err="1">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rPr>
            <a:t>fertiliser</a:t>
          </a:r>
          <a:r>
            <a:rPr lang="en-US" sz="2000" i="1" dirty="0">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rPr>
            <a:t> use and nutrient losses while maintaining yields by 2030, but abrupt reductions in nitrogen </a:t>
          </a:r>
          <a:r>
            <a:rPr lang="en-US" sz="2000" i="1" dirty="0" err="1">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rPr>
            <a:t>fertiliser</a:t>
          </a:r>
          <a:r>
            <a:rPr lang="en-US" sz="2000" i="1" dirty="0">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rPr>
            <a:t> use driven by geopolitical factors could harm yields and grain quality, highlighting the need to safeguard Europe's role in food availability and affordability amid ongoing uncertainties and rising food prices in the EU.</a:t>
          </a:r>
          <a:endParaRPr lang="en-US" sz="2000" dirty="0">
            <a:solidFill>
              <a:schemeClr val="bg1"/>
            </a:solidFill>
          </a:endParaRPr>
        </a:p>
      </dgm:t>
    </dgm:pt>
    <dgm:pt modelId="{420E15D7-3148-4D0D-A983-39B4F257C1BC}" type="parTrans" cxnId="{D451D714-1527-42C8-B35E-B58231D22707}">
      <dgm:prSet/>
      <dgm:spPr/>
      <dgm:t>
        <a:bodyPr/>
        <a:lstStyle/>
        <a:p>
          <a:pPr algn="ctr"/>
          <a:endParaRPr lang="en-US" sz="2000">
            <a:solidFill>
              <a:schemeClr val="bg1"/>
            </a:solidFill>
          </a:endParaRPr>
        </a:p>
      </dgm:t>
    </dgm:pt>
    <dgm:pt modelId="{F3B2E71E-668D-45C4-A7C7-BD9DBCB76D57}" type="sibTrans" cxnId="{D451D714-1527-42C8-B35E-B58231D22707}">
      <dgm:prSet/>
      <dgm:spPr/>
      <dgm:t>
        <a:bodyPr/>
        <a:lstStyle/>
        <a:p>
          <a:pPr algn="ctr"/>
          <a:endParaRPr lang="en-US" sz="2000">
            <a:solidFill>
              <a:schemeClr val="bg1"/>
            </a:solidFill>
          </a:endParaRPr>
        </a:p>
      </dgm:t>
    </dgm:pt>
    <dgm:pt modelId="{7424B825-8B63-44E9-A585-3AF8BB11FB66}">
      <dgm:prSet custT="1"/>
      <dgm:spPr>
        <a:solidFill>
          <a:schemeClr val="accent2"/>
        </a:solidFill>
      </dgm:spPr>
      <dgm:t>
        <a:bodyPr/>
        <a:lstStyle/>
        <a:p>
          <a:pPr algn="ctr"/>
          <a:r>
            <a:rPr lang="en-US" sz="2000" i="1" dirty="0" err="1">
              <a:solidFill>
                <a:schemeClr val="bg1"/>
              </a:solidFill>
              <a:effectLst/>
              <a:latin typeface="Arial" panose="020B0604020202020204" pitchFamily="34" charset="0"/>
              <a:cs typeface="Times New Roman" panose="02020603050405020304" pitchFamily="18" charset="0"/>
            </a:rPr>
            <a:t>Fertiberia</a:t>
          </a:r>
          <a:r>
            <a:rPr lang="en-US" sz="2000" i="1" dirty="0">
              <a:solidFill>
                <a:schemeClr val="bg1"/>
              </a:solidFill>
              <a:effectLst/>
              <a:latin typeface="Arial" panose="020B0604020202020204" pitchFamily="34" charset="0"/>
              <a:cs typeface="Times New Roman" panose="02020603050405020304" pitchFamily="18" charset="0"/>
            </a:rPr>
            <a:t> aims to achieve net-zero emissions in fertilizer production by 2030, using green hydrogen projects and circular economy initiatives such as </a:t>
          </a:r>
          <a:r>
            <a:rPr lang="en-US" sz="2000" i="1" dirty="0" err="1">
              <a:solidFill>
                <a:schemeClr val="bg1"/>
              </a:solidFill>
              <a:effectLst/>
              <a:latin typeface="Arial" panose="020B0604020202020204" pitchFamily="34" charset="0"/>
              <a:cs typeface="Times New Roman" panose="02020603050405020304" pitchFamily="18" charset="0"/>
            </a:rPr>
            <a:t>NewFert</a:t>
          </a:r>
          <a:r>
            <a:rPr lang="en-US" sz="2000" i="1" dirty="0">
              <a:solidFill>
                <a:schemeClr val="bg1"/>
              </a:solidFill>
              <a:effectLst/>
              <a:latin typeface="Arial" panose="020B0604020202020204" pitchFamily="34" charset="0"/>
              <a:cs typeface="Times New Roman" panose="02020603050405020304" pitchFamily="18" charset="0"/>
            </a:rPr>
            <a:t>, B-</a:t>
          </a:r>
          <a:r>
            <a:rPr lang="en-US" sz="2000" i="1" dirty="0" err="1">
              <a:solidFill>
                <a:schemeClr val="bg1"/>
              </a:solidFill>
              <a:effectLst/>
              <a:latin typeface="Arial" panose="020B0604020202020204" pitchFamily="34" charset="0"/>
              <a:cs typeface="Times New Roman" panose="02020603050405020304" pitchFamily="18" charset="0"/>
            </a:rPr>
            <a:t>Ferst</a:t>
          </a:r>
          <a:r>
            <a:rPr lang="en-US" sz="2000" i="1" dirty="0">
              <a:solidFill>
                <a:schemeClr val="bg1"/>
              </a:solidFill>
              <a:effectLst/>
              <a:latin typeface="Arial" panose="020B0604020202020204" pitchFamily="34" charset="0"/>
              <a:cs typeface="Times New Roman" panose="02020603050405020304" pitchFamily="18" charset="0"/>
            </a:rPr>
            <a:t>, </a:t>
          </a:r>
          <a:r>
            <a:rPr lang="en-US" sz="2000" i="1" dirty="0" err="1">
              <a:solidFill>
                <a:schemeClr val="bg1"/>
              </a:solidFill>
              <a:effectLst/>
              <a:latin typeface="Arial" panose="020B0604020202020204" pitchFamily="34" charset="0"/>
              <a:cs typeface="Times New Roman" panose="02020603050405020304" pitchFamily="18" charset="0"/>
            </a:rPr>
            <a:t>Retrofeed</a:t>
          </a:r>
          <a:r>
            <a:rPr lang="en-US" sz="2000" i="1" dirty="0">
              <a:solidFill>
                <a:schemeClr val="bg1"/>
              </a:solidFill>
              <a:effectLst/>
              <a:latin typeface="Arial" panose="020B0604020202020204" pitchFamily="34" charset="0"/>
              <a:cs typeface="Times New Roman" panose="02020603050405020304" pitchFamily="18" charset="0"/>
            </a:rPr>
            <a:t> and </a:t>
          </a:r>
          <a:r>
            <a:rPr lang="en-US" sz="2000" i="1" dirty="0" err="1">
              <a:solidFill>
                <a:schemeClr val="bg1"/>
              </a:solidFill>
              <a:effectLst/>
              <a:latin typeface="Arial" panose="020B0604020202020204" pitchFamily="34" charset="0"/>
              <a:cs typeface="Times New Roman" panose="02020603050405020304" pitchFamily="18" charset="0"/>
            </a:rPr>
            <a:t>Coralis</a:t>
          </a:r>
          <a:r>
            <a:rPr lang="en-US" sz="2000" i="1" dirty="0">
              <a:solidFill>
                <a:schemeClr val="bg1"/>
              </a:solidFill>
              <a:effectLst/>
              <a:latin typeface="Arial" panose="020B0604020202020204" pitchFamily="34" charset="0"/>
              <a:cs typeface="Times New Roman" panose="02020603050405020304" pitchFamily="18" charset="0"/>
            </a:rPr>
            <a:t>. At the NPK plant in Huelva, efforts include improving energy efficiency, incorporating non-hazardous waste into production and using low-carbon raw materials to reduce the carbon footprint of products</a:t>
          </a:r>
          <a:endParaRPr lang="en-US" sz="2000" dirty="0">
            <a:solidFill>
              <a:schemeClr val="bg1"/>
            </a:solidFill>
          </a:endParaRPr>
        </a:p>
      </dgm:t>
    </dgm:pt>
    <dgm:pt modelId="{F4F92AB8-D41F-48F5-93B7-410E8582DAC3}" type="parTrans" cxnId="{53F45797-CA45-4087-9AA6-A43F5117E5C4}">
      <dgm:prSet/>
      <dgm:spPr/>
      <dgm:t>
        <a:bodyPr/>
        <a:lstStyle/>
        <a:p>
          <a:endParaRPr lang="sv-SE" sz="2000"/>
        </a:p>
      </dgm:t>
    </dgm:pt>
    <dgm:pt modelId="{4FAA269E-769F-4D16-A1FB-33F21C2A8C79}" type="sibTrans" cxnId="{53F45797-CA45-4087-9AA6-A43F5117E5C4}">
      <dgm:prSet/>
      <dgm:spPr/>
      <dgm:t>
        <a:bodyPr/>
        <a:lstStyle/>
        <a:p>
          <a:endParaRPr lang="sv-SE" sz="2000"/>
        </a:p>
      </dgm:t>
    </dgm:pt>
    <dgm:pt modelId="{96AB49D5-88AE-4461-8719-604A6FC36539}" type="pres">
      <dgm:prSet presAssocID="{F3A31658-6CF3-4038-9857-A69900CF8E8A}" presName="linear" presStyleCnt="0">
        <dgm:presLayoutVars>
          <dgm:animLvl val="lvl"/>
          <dgm:resizeHandles val="exact"/>
        </dgm:presLayoutVars>
      </dgm:prSet>
      <dgm:spPr/>
    </dgm:pt>
    <dgm:pt modelId="{B3843286-8D87-4BB1-AEA9-09DBE4A20DAC}" type="pres">
      <dgm:prSet presAssocID="{EAAD40BA-CD3F-4048-9A4E-6750250ECB8C}" presName="parentText" presStyleLbl="node1" presStyleIdx="0" presStyleCnt="3">
        <dgm:presLayoutVars>
          <dgm:chMax val="0"/>
          <dgm:bulletEnabled val="1"/>
        </dgm:presLayoutVars>
      </dgm:prSet>
      <dgm:spPr/>
    </dgm:pt>
    <dgm:pt modelId="{CD2F0D6C-967B-487A-BE7A-91AE8D6828F2}" type="pres">
      <dgm:prSet presAssocID="{3917516A-91CF-4ABC-83E0-98C8A3A2E1D7}" presName="spacer" presStyleCnt="0"/>
      <dgm:spPr/>
    </dgm:pt>
    <dgm:pt modelId="{A801473F-E36C-4FBD-A80B-AF40E1E283C1}" type="pres">
      <dgm:prSet presAssocID="{7C0116BF-83EB-455C-A0CF-B420B6EC6E5D}" presName="parentText" presStyleLbl="node1" presStyleIdx="1" presStyleCnt="3">
        <dgm:presLayoutVars>
          <dgm:chMax val="0"/>
          <dgm:bulletEnabled val="1"/>
        </dgm:presLayoutVars>
      </dgm:prSet>
      <dgm:spPr/>
    </dgm:pt>
    <dgm:pt modelId="{4569BA81-A0DF-4507-815A-CCF8D63894BE}" type="pres">
      <dgm:prSet presAssocID="{F3B2E71E-668D-45C4-A7C7-BD9DBCB76D57}" presName="spacer" presStyleCnt="0"/>
      <dgm:spPr/>
    </dgm:pt>
    <dgm:pt modelId="{3B153BD7-D421-4A9A-8ADC-95DFE817F178}" type="pres">
      <dgm:prSet presAssocID="{7424B825-8B63-44E9-A585-3AF8BB11FB66}" presName="parentText" presStyleLbl="node1" presStyleIdx="2" presStyleCnt="3">
        <dgm:presLayoutVars>
          <dgm:chMax val="0"/>
          <dgm:bulletEnabled val="1"/>
        </dgm:presLayoutVars>
      </dgm:prSet>
      <dgm:spPr/>
    </dgm:pt>
  </dgm:ptLst>
  <dgm:cxnLst>
    <dgm:cxn modelId="{D451D714-1527-42C8-B35E-B58231D22707}" srcId="{F3A31658-6CF3-4038-9857-A69900CF8E8A}" destId="{7C0116BF-83EB-455C-A0CF-B420B6EC6E5D}" srcOrd="1" destOrd="0" parTransId="{420E15D7-3148-4D0D-A983-39B4F257C1BC}" sibTransId="{F3B2E71E-668D-45C4-A7C7-BD9DBCB76D57}"/>
    <dgm:cxn modelId="{772C7C63-0B27-4051-A564-EB89D26FA16C}" srcId="{F3A31658-6CF3-4038-9857-A69900CF8E8A}" destId="{EAAD40BA-CD3F-4048-9A4E-6750250ECB8C}" srcOrd="0" destOrd="0" parTransId="{F3B298AF-5B84-4840-837A-A5C6070738D8}" sibTransId="{3917516A-91CF-4ABC-83E0-98C8A3A2E1D7}"/>
    <dgm:cxn modelId="{3FE89C68-025E-429C-8ECF-4562ADBDB564}" type="presOf" srcId="{F3A31658-6CF3-4038-9857-A69900CF8E8A}" destId="{96AB49D5-88AE-4461-8719-604A6FC36539}" srcOrd="0" destOrd="0" presId="urn:microsoft.com/office/officeart/2005/8/layout/vList2"/>
    <dgm:cxn modelId="{8EA5B694-EF5E-4D3C-8AB2-9910E169BEC9}" type="presOf" srcId="{7C0116BF-83EB-455C-A0CF-B420B6EC6E5D}" destId="{A801473F-E36C-4FBD-A80B-AF40E1E283C1}" srcOrd="0" destOrd="0" presId="urn:microsoft.com/office/officeart/2005/8/layout/vList2"/>
    <dgm:cxn modelId="{53F45797-CA45-4087-9AA6-A43F5117E5C4}" srcId="{F3A31658-6CF3-4038-9857-A69900CF8E8A}" destId="{7424B825-8B63-44E9-A585-3AF8BB11FB66}" srcOrd="2" destOrd="0" parTransId="{F4F92AB8-D41F-48F5-93B7-410E8582DAC3}" sibTransId="{4FAA269E-769F-4D16-A1FB-33F21C2A8C79}"/>
    <dgm:cxn modelId="{8E2544A2-D471-40FE-8FF8-FA696B3624A7}" type="presOf" srcId="{7424B825-8B63-44E9-A585-3AF8BB11FB66}" destId="{3B153BD7-D421-4A9A-8ADC-95DFE817F178}" srcOrd="0" destOrd="0" presId="urn:microsoft.com/office/officeart/2005/8/layout/vList2"/>
    <dgm:cxn modelId="{F9DAE7C7-05B5-4E86-B710-F1C6BC1A68D3}" type="presOf" srcId="{EAAD40BA-CD3F-4048-9A4E-6750250ECB8C}" destId="{B3843286-8D87-4BB1-AEA9-09DBE4A20DAC}" srcOrd="0" destOrd="0" presId="urn:microsoft.com/office/officeart/2005/8/layout/vList2"/>
    <dgm:cxn modelId="{B3D937E0-4096-439D-90DD-2E2ECC58BD5F}" type="presParOf" srcId="{96AB49D5-88AE-4461-8719-604A6FC36539}" destId="{B3843286-8D87-4BB1-AEA9-09DBE4A20DAC}" srcOrd="0" destOrd="0" presId="urn:microsoft.com/office/officeart/2005/8/layout/vList2"/>
    <dgm:cxn modelId="{42E2A54E-9F85-4E86-B644-CFBE568583CD}" type="presParOf" srcId="{96AB49D5-88AE-4461-8719-604A6FC36539}" destId="{CD2F0D6C-967B-487A-BE7A-91AE8D6828F2}" srcOrd="1" destOrd="0" presId="urn:microsoft.com/office/officeart/2005/8/layout/vList2"/>
    <dgm:cxn modelId="{B6D2A5DE-E22D-42C3-BE3F-951E3EBD7093}" type="presParOf" srcId="{96AB49D5-88AE-4461-8719-604A6FC36539}" destId="{A801473F-E36C-4FBD-A80B-AF40E1E283C1}" srcOrd="2" destOrd="0" presId="urn:microsoft.com/office/officeart/2005/8/layout/vList2"/>
    <dgm:cxn modelId="{25DEE55D-FC23-4F96-ACE3-30AE34AA739F}" type="presParOf" srcId="{96AB49D5-88AE-4461-8719-604A6FC36539}" destId="{4569BA81-A0DF-4507-815A-CCF8D63894BE}" srcOrd="3" destOrd="0" presId="urn:microsoft.com/office/officeart/2005/8/layout/vList2"/>
    <dgm:cxn modelId="{7A13FAB8-94F8-448F-87FA-CFFFCDBD76EE}" type="presParOf" srcId="{96AB49D5-88AE-4461-8719-604A6FC36539}" destId="{3B153BD7-D421-4A9A-8ADC-95DFE817F178}" srcOrd="4" destOrd="0" presId="urn:microsoft.com/office/officeart/2005/8/layout/vList2"/>
  </dgm:cxnLst>
  <dgm:bg>
    <a:noFill/>
  </dgm:bg>
  <dgm:whole/>
  <dgm:extLst>
    <a:ext uri="http://schemas.microsoft.com/office/drawing/2008/diagram">
      <dsp:dataModelExt xmlns:dsp="http://schemas.microsoft.com/office/drawing/2008/diagram" relId="rId11"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F3A31658-6CF3-4038-9857-A69900CF8E8A}"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9E728B51-7A2E-42AA-95C6-F2F67E4F596D}">
      <dgm:prSet custT="1"/>
      <dgm:spPr>
        <a:solidFill>
          <a:schemeClr val="accent2"/>
        </a:solidFill>
      </dgm:spPr>
      <dgm:t>
        <a:bodyPr/>
        <a:lstStyle/>
        <a:p>
          <a:pPr algn="ctr">
            <a:buNone/>
          </a:pPr>
          <a:r>
            <a:rPr lang="en-GB" sz="2400" i="1" dirty="0">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rPr>
            <a:t>From Fertilizers Europe association, </a:t>
          </a:r>
          <a:r>
            <a:rPr lang="en-GB" sz="2400" i="1" dirty="0" err="1">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rPr>
            <a:t>Fertiberia</a:t>
          </a:r>
          <a:r>
            <a:rPr lang="en-GB" sz="2400" i="1" dirty="0">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rPr>
            <a:t> is working to simplify the current legislation at European level. Also is working with the National and Regional Administrations to get authorization as manager of non-hazardous waste in order to incorporate biobased and other waste as raw materials into the production process.</a:t>
          </a:r>
          <a:endParaRPr lang="en-US" sz="2400" dirty="0">
            <a:solidFill>
              <a:schemeClr val="bg1"/>
            </a:solidFill>
          </a:endParaRPr>
        </a:p>
      </dgm:t>
    </dgm:pt>
    <dgm:pt modelId="{CA212D6C-CB53-4811-B3AA-DACEFC8153CB}" type="parTrans" cxnId="{4C7EFCFE-537E-4E08-8A3C-7EA8C35B2C0E}">
      <dgm:prSet/>
      <dgm:spPr/>
      <dgm:t>
        <a:bodyPr/>
        <a:lstStyle/>
        <a:p>
          <a:pPr algn="ctr"/>
          <a:endParaRPr lang="sv-SE" sz="2400"/>
        </a:p>
      </dgm:t>
    </dgm:pt>
    <dgm:pt modelId="{248778DD-DFC2-4773-8415-5885A7C6D722}" type="sibTrans" cxnId="{4C7EFCFE-537E-4E08-8A3C-7EA8C35B2C0E}">
      <dgm:prSet/>
      <dgm:spPr/>
      <dgm:t>
        <a:bodyPr/>
        <a:lstStyle/>
        <a:p>
          <a:pPr algn="ctr"/>
          <a:endParaRPr lang="sv-SE" sz="2400"/>
        </a:p>
      </dgm:t>
    </dgm:pt>
    <dgm:pt modelId="{278026A5-DC1A-41F1-977D-C72B8CF2A292}">
      <dgm:prSet custT="1"/>
      <dgm:spPr>
        <a:solidFill>
          <a:schemeClr val="accent2"/>
        </a:solidFill>
      </dgm:spPr>
      <dgm:t>
        <a:bodyPr/>
        <a:lstStyle/>
        <a:p>
          <a:pPr algn="ctr">
            <a:buNone/>
          </a:pPr>
          <a:r>
            <a:rPr lang="en-GB" sz="2400" i="1" dirty="0">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rPr>
            <a:t>The greater impact can be achieved by coordinating circular projects with regulations in order to overcome the mentioned barriers in our sector and not to discourage good initiatives from the circular economy application to the production process.</a:t>
          </a:r>
          <a:endParaRPr lang="en-US" sz="2400" dirty="0">
            <a:solidFill>
              <a:schemeClr val="bg1"/>
            </a:solidFill>
          </a:endParaRPr>
        </a:p>
      </dgm:t>
    </dgm:pt>
    <dgm:pt modelId="{D466388C-F8F2-49D8-890F-8505562B8222}" type="parTrans" cxnId="{5B09149E-E657-4064-B066-CEFC65E3684E}">
      <dgm:prSet/>
      <dgm:spPr/>
      <dgm:t>
        <a:bodyPr/>
        <a:lstStyle/>
        <a:p>
          <a:pPr algn="ctr"/>
          <a:endParaRPr lang="sv-SE" sz="2400"/>
        </a:p>
      </dgm:t>
    </dgm:pt>
    <dgm:pt modelId="{D9AE78D5-5FB5-46D1-87D5-514D0A7A44F0}" type="sibTrans" cxnId="{5B09149E-E657-4064-B066-CEFC65E3684E}">
      <dgm:prSet/>
      <dgm:spPr/>
      <dgm:t>
        <a:bodyPr/>
        <a:lstStyle/>
        <a:p>
          <a:pPr algn="ctr"/>
          <a:endParaRPr lang="sv-SE" sz="2400"/>
        </a:p>
      </dgm:t>
    </dgm:pt>
    <dgm:pt modelId="{96AB49D5-88AE-4461-8719-604A6FC36539}" type="pres">
      <dgm:prSet presAssocID="{F3A31658-6CF3-4038-9857-A69900CF8E8A}" presName="linear" presStyleCnt="0">
        <dgm:presLayoutVars>
          <dgm:animLvl val="lvl"/>
          <dgm:resizeHandles val="exact"/>
        </dgm:presLayoutVars>
      </dgm:prSet>
      <dgm:spPr/>
    </dgm:pt>
    <dgm:pt modelId="{8305C8EB-19E1-4D02-974C-1CDB8D87DC9C}" type="pres">
      <dgm:prSet presAssocID="{9E728B51-7A2E-42AA-95C6-F2F67E4F596D}" presName="parentText" presStyleLbl="node1" presStyleIdx="0" presStyleCnt="2">
        <dgm:presLayoutVars>
          <dgm:chMax val="0"/>
          <dgm:bulletEnabled val="1"/>
        </dgm:presLayoutVars>
      </dgm:prSet>
      <dgm:spPr/>
    </dgm:pt>
    <dgm:pt modelId="{FCB656AD-A7AE-4D66-92F8-7765CE25095D}" type="pres">
      <dgm:prSet presAssocID="{248778DD-DFC2-4773-8415-5885A7C6D722}" presName="spacer" presStyleCnt="0"/>
      <dgm:spPr/>
    </dgm:pt>
    <dgm:pt modelId="{0B601BC3-A215-4390-8F27-823FD38208CA}" type="pres">
      <dgm:prSet presAssocID="{278026A5-DC1A-41F1-977D-C72B8CF2A292}" presName="parentText" presStyleLbl="node1" presStyleIdx="1" presStyleCnt="2">
        <dgm:presLayoutVars>
          <dgm:chMax val="0"/>
          <dgm:bulletEnabled val="1"/>
        </dgm:presLayoutVars>
      </dgm:prSet>
      <dgm:spPr/>
    </dgm:pt>
  </dgm:ptLst>
  <dgm:cxnLst>
    <dgm:cxn modelId="{73D8E128-4CA8-4588-AEE6-0EBB77BDA897}" type="presOf" srcId="{278026A5-DC1A-41F1-977D-C72B8CF2A292}" destId="{0B601BC3-A215-4390-8F27-823FD38208CA}" srcOrd="0" destOrd="0" presId="urn:microsoft.com/office/officeart/2005/8/layout/vList2"/>
    <dgm:cxn modelId="{3FE89C68-025E-429C-8ECF-4562ADBDB564}" type="presOf" srcId="{F3A31658-6CF3-4038-9857-A69900CF8E8A}" destId="{96AB49D5-88AE-4461-8719-604A6FC36539}" srcOrd="0" destOrd="0" presId="urn:microsoft.com/office/officeart/2005/8/layout/vList2"/>
    <dgm:cxn modelId="{BE24A56F-6192-4B31-BE5B-64FF59513CE8}" type="presOf" srcId="{9E728B51-7A2E-42AA-95C6-F2F67E4F596D}" destId="{8305C8EB-19E1-4D02-974C-1CDB8D87DC9C}" srcOrd="0" destOrd="0" presId="urn:microsoft.com/office/officeart/2005/8/layout/vList2"/>
    <dgm:cxn modelId="{5B09149E-E657-4064-B066-CEFC65E3684E}" srcId="{F3A31658-6CF3-4038-9857-A69900CF8E8A}" destId="{278026A5-DC1A-41F1-977D-C72B8CF2A292}" srcOrd="1" destOrd="0" parTransId="{D466388C-F8F2-49D8-890F-8505562B8222}" sibTransId="{D9AE78D5-5FB5-46D1-87D5-514D0A7A44F0}"/>
    <dgm:cxn modelId="{4C7EFCFE-537E-4E08-8A3C-7EA8C35B2C0E}" srcId="{F3A31658-6CF3-4038-9857-A69900CF8E8A}" destId="{9E728B51-7A2E-42AA-95C6-F2F67E4F596D}" srcOrd="0" destOrd="0" parTransId="{CA212D6C-CB53-4811-B3AA-DACEFC8153CB}" sibTransId="{248778DD-DFC2-4773-8415-5885A7C6D722}"/>
    <dgm:cxn modelId="{039D33A5-1FD2-4450-9DDF-667E10D862B8}" type="presParOf" srcId="{96AB49D5-88AE-4461-8719-604A6FC36539}" destId="{8305C8EB-19E1-4D02-974C-1CDB8D87DC9C}" srcOrd="0" destOrd="0" presId="urn:microsoft.com/office/officeart/2005/8/layout/vList2"/>
    <dgm:cxn modelId="{630D9907-EDFE-4B9A-81D4-84F5D229C752}" type="presParOf" srcId="{96AB49D5-88AE-4461-8719-604A6FC36539}" destId="{FCB656AD-A7AE-4D66-92F8-7765CE25095D}" srcOrd="1" destOrd="0" presId="urn:microsoft.com/office/officeart/2005/8/layout/vList2"/>
    <dgm:cxn modelId="{81207A55-2F33-4462-BAEC-108C14047783}" type="presParOf" srcId="{96AB49D5-88AE-4461-8719-604A6FC36539}" destId="{0B601BC3-A215-4390-8F27-823FD38208CA}" srcOrd="2" destOrd="0" presId="urn:microsoft.com/office/officeart/2005/8/layout/vList2"/>
  </dgm:cxnLst>
  <dgm:bg>
    <a:noFill/>
  </dgm:bg>
  <dgm:whole/>
  <dgm:extLst>
    <a:ext uri="http://schemas.microsoft.com/office/drawing/2008/diagram">
      <dsp:dataModelExt xmlns:dsp="http://schemas.microsoft.com/office/drawing/2008/diagram" relId="rId11"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0922A69D-D324-4030-8646-26572E62B323}" type="doc">
      <dgm:prSet loTypeId="urn:microsoft.com/office/officeart/2005/8/layout/vList2" loCatId="list" qsTypeId="urn:microsoft.com/office/officeart/2005/8/quickstyle/simple1" qsCatId="simple" csTypeId="urn:microsoft.com/office/officeart/2005/8/colors/accent2_2" csCatId="accent2" phldr="1"/>
      <dgm:spPr/>
      <dgm:t>
        <a:bodyPr/>
        <a:lstStyle/>
        <a:p>
          <a:endParaRPr lang="sv-SE"/>
        </a:p>
      </dgm:t>
    </dgm:pt>
    <dgm:pt modelId="{731639D5-3201-4BB0-A950-6FE4CB86744D}">
      <dgm:prSet phldrT="[Text]"/>
      <dgm:spPr/>
      <dgm:t>
        <a:bodyPr/>
        <a:lstStyle/>
        <a:p>
          <a:pPr algn="ctr"/>
          <a:r>
            <a:rPr lang="en-US" i="1"/>
            <a:t>Facilitating the import/export of waste only for the purpose of recovery</a:t>
          </a:r>
          <a:endParaRPr lang="sv-SE"/>
        </a:p>
      </dgm:t>
    </dgm:pt>
    <dgm:pt modelId="{9ADDC653-8B97-4E78-A87D-450F68C6EED7}" type="parTrans" cxnId="{9DC38CA9-6FFD-47D9-AFFF-68F74DF02239}">
      <dgm:prSet/>
      <dgm:spPr/>
      <dgm:t>
        <a:bodyPr/>
        <a:lstStyle/>
        <a:p>
          <a:pPr algn="ctr"/>
          <a:endParaRPr lang="sv-SE"/>
        </a:p>
      </dgm:t>
    </dgm:pt>
    <dgm:pt modelId="{DA343F77-9CDC-400B-9087-143113EAD9D0}" type="sibTrans" cxnId="{9DC38CA9-6FFD-47D9-AFFF-68F74DF02239}">
      <dgm:prSet/>
      <dgm:spPr/>
      <dgm:t>
        <a:bodyPr/>
        <a:lstStyle/>
        <a:p>
          <a:pPr algn="ctr"/>
          <a:endParaRPr lang="sv-SE"/>
        </a:p>
      </dgm:t>
    </dgm:pt>
    <dgm:pt modelId="{08DD5AEF-61D2-4F21-AF2A-17816F0690C3}">
      <dgm:prSet phldrT="[Text]"/>
      <dgm:spPr/>
      <dgm:t>
        <a:bodyPr/>
        <a:lstStyle/>
        <a:p>
          <a:pPr algn="ctr"/>
          <a:r>
            <a:rPr lang="en-US" i="1" dirty="0"/>
            <a:t>The clarify the definitions of some terms used in both European and National legislation (e.g. significant impact on the environment)</a:t>
          </a:r>
          <a:endParaRPr lang="sv-SE" dirty="0"/>
        </a:p>
      </dgm:t>
    </dgm:pt>
    <dgm:pt modelId="{A9D1EEEA-36A8-4145-8EDA-30EDAB293880}" type="parTrans" cxnId="{E16E3E22-6CD4-4448-A40B-ECD8BC0CD505}">
      <dgm:prSet/>
      <dgm:spPr/>
      <dgm:t>
        <a:bodyPr/>
        <a:lstStyle/>
        <a:p>
          <a:pPr algn="ctr"/>
          <a:endParaRPr lang="sv-SE"/>
        </a:p>
      </dgm:t>
    </dgm:pt>
    <dgm:pt modelId="{99E27B36-551B-47D2-A504-831FEDD98C57}" type="sibTrans" cxnId="{E16E3E22-6CD4-4448-A40B-ECD8BC0CD505}">
      <dgm:prSet/>
      <dgm:spPr/>
      <dgm:t>
        <a:bodyPr/>
        <a:lstStyle/>
        <a:p>
          <a:pPr algn="ctr"/>
          <a:endParaRPr lang="sv-SE"/>
        </a:p>
      </dgm:t>
    </dgm:pt>
    <dgm:pt modelId="{BBF54E24-3B16-4312-9980-C24B5AD23449}">
      <dgm:prSet phldrT="[Text]"/>
      <dgm:spPr/>
      <dgm:t>
        <a:bodyPr/>
        <a:lstStyle/>
        <a:p>
          <a:pPr algn="ctr"/>
          <a:r>
            <a:rPr lang="en-US" i="1" dirty="0"/>
            <a:t>Facilitate the authorization step for industrial tests of new materials and processes. If there is no European regulation regarding the end-of-waste of a product, it is the local authority that must take charge of defining the arrangements on a case-by-case basis. This is a very lengthy process that slows down circular economy activities.</a:t>
          </a:r>
        </a:p>
      </dgm:t>
    </dgm:pt>
    <dgm:pt modelId="{96DC2C72-249E-43CF-A258-492A945AC405}" type="parTrans" cxnId="{EAF6E042-0380-49AA-B0F7-82306924305D}">
      <dgm:prSet/>
      <dgm:spPr/>
      <dgm:t>
        <a:bodyPr/>
        <a:lstStyle/>
        <a:p>
          <a:pPr algn="ctr"/>
          <a:endParaRPr lang="sv-SE"/>
        </a:p>
      </dgm:t>
    </dgm:pt>
    <dgm:pt modelId="{0575F3BE-54B3-4488-84C8-815D73F55050}" type="sibTrans" cxnId="{EAF6E042-0380-49AA-B0F7-82306924305D}">
      <dgm:prSet/>
      <dgm:spPr/>
      <dgm:t>
        <a:bodyPr/>
        <a:lstStyle/>
        <a:p>
          <a:pPr algn="ctr"/>
          <a:endParaRPr lang="sv-SE"/>
        </a:p>
      </dgm:t>
    </dgm:pt>
    <dgm:pt modelId="{51AC72F1-53CB-4A4A-8E59-48F75BFB5584}">
      <dgm:prSet phldrT="[Text]"/>
      <dgm:spPr/>
      <dgm:t>
        <a:bodyPr/>
        <a:lstStyle/>
        <a:p>
          <a:pPr algn="ctr"/>
          <a:r>
            <a:rPr lang="en-US" i="1" dirty="0"/>
            <a:t>Dissemination in different national groups and with environmental authorities of the results regarding the positive impact and benefits (circular economy, CO2 emissions reduction, energy efficiency) obtained through implementing project’s technology.</a:t>
          </a:r>
        </a:p>
      </dgm:t>
    </dgm:pt>
    <dgm:pt modelId="{B26102C2-BD93-496A-9D9D-BD99D5AA70AA}" type="parTrans" cxnId="{4D0861B1-BF1C-483C-B542-EFAD835803EE}">
      <dgm:prSet/>
      <dgm:spPr/>
      <dgm:t>
        <a:bodyPr/>
        <a:lstStyle/>
        <a:p>
          <a:pPr algn="ctr"/>
          <a:endParaRPr lang="sv-SE"/>
        </a:p>
      </dgm:t>
    </dgm:pt>
    <dgm:pt modelId="{669D1C96-5EDE-44E4-BBA2-88F9EDBDB52F}" type="sibTrans" cxnId="{4D0861B1-BF1C-483C-B542-EFAD835803EE}">
      <dgm:prSet/>
      <dgm:spPr/>
      <dgm:t>
        <a:bodyPr/>
        <a:lstStyle/>
        <a:p>
          <a:pPr algn="ctr"/>
          <a:endParaRPr lang="sv-SE"/>
        </a:p>
      </dgm:t>
    </dgm:pt>
    <dgm:pt modelId="{5B26E378-01C4-42D2-95D5-A3328269F683}" type="pres">
      <dgm:prSet presAssocID="{0922A69D-D324-4030-8646-26572E62B323}" presName="linear" presStyleCnt="0">
        <dgm:presLayoutVars>
          <dgm:animLvl val="lvl"/>
          <dgm:resizeHandles val="exact"/>
        </dgm:presLayoutVars>
      </dgm:prSet>
      <dgm:spPr/>
    </dgm:pt>
    <dgm:pt modelId="{83E8D7F6-AAED-4F4F-9604-EA0615A86164}" type="pres">
      <dgm:prSet presAssocID="{731639D5-3201-4BB0-A950-6FE4CB86744D}" presName="parentText" presStyleLbl="node1" presStyleIdx="0" presStyleCnt="4">
        <dgm:presLayoutVars>
          <dgm:chMax val="0"/>
          <dgm:bulletEnabled val="1"/>
        </dgm:presLayoutVars>
      </dgm:prSet>
      <dgm:spPr/>
    </dgm:pt>
    <dgm:pt modelId="{28DF455C-3EEC-47F3-8832-9524C8E3DB6E}" type="pres">
      <dgm:prSet presAssocID="{DA343F77-9CDC-400B-9087-143113EAD9D0}" presName="spacer" presStyleCnt="0"/>
      <dgm:spPr/>
    </dgm:pt>
    <dgm:pt modelId="{80268C5B-E34C-4249-B1F7-0C11E22B2F24}" type="pres">
      <dgm:prSet presAssocID="{08DD5AEF-61D2-4F21-AF2A-17816F0690C3}" presName="parentText" presStyleLbl="node1" presStyleIdx="1" presStyleCnt="4">
        <dgm:presLayoutVars>
          <dgm:chMax val="0"/>
          <dgm:bulletEnabled val="1"/>
        </dgm:presLayoutVars>
      </dgm:prSet>
      <dgm:spPr/>
    </dgm:pt>
    <dgm:pt modelId="{7C1844F0-9D8E-433D-840B-DF569189616F}" type="pres">
      <dgm:prSet presAssocID="{99E27B36-551B-47D2-A504-831FEDD98C57}" presName="spacer" presStyleCnt="0"/>
      <dgm:spPr/>
    </dgm:pt>
    <dgm:pt modelId="{26BA6543-B512-4F1D-9052-1BC10938D579}" type="pres">
      <dgm:prSet presAssocID="{BBF54E24-3B16-4312-9980-C24B5AD23449}" presName="parentText" presStyleLbl="node1" presStyleIdx="2" presStyleCnt="4">
        <dgm:presLayoutVars>
          <dgm:chMax val="0"/>
          <dgm:bulletEnabled val="1"/>
        </dgm:presLayoutVars>
      </dgm:prSet>
      <dgm:spPr/>
    </dgm:pt>
    <dgm:pt modelId="{7174DE6D-DB92-4D20-8AA1-6CA3F7C9982A}" type="pres">
      <dgm:prSet presAssocID="{0575F3BE-54B3-4488-84C8-815D73F55050}" presName="spacer" presStyleCnt="0"/>
      <dgm:spPr/>
    </dgm:pt>
    <dgm:pt modelId="{10990B8B-35C8-4F15-9030-0A55DA98812B}" type="pres">
      <dgm:prSet presAssocID="{51AC72F1-53CB-4A4A-8E59-48F75BFB5584}" presName="parentText" presStyleLbl="node1" presStyleIdx="3" presStyleCnt="4">
        <dgm:presLayoutVars>
          <dgm:chMax val="0"/>
          <dgm:bulletEnabled val="1"/>
        </dgm:presLayoutVars>
      </dgm:prSet>
      <dgm:spPr/>
    </dgm:pt>
  </dgm:ptLst>
  <dgm:cxnLst>
    <dgm:cxn modelId="{E16E3E22-6CD4-4448-A40B-ECD8BC0CD505}" srcId="{0922A69D-D324-4030-8646-26572E62B323}" destId="{08DD5AEF-61D2-4F21-AF2A-17816F0690C3}" srcOrd="1" destOrd="0" parTransId="{A9D1EEEA-36A8-4145-8EDA-30EDAB293880}" sibTransId="{99E27B36-551B-47D2-A504-831FEDD98C57}"/>
    <dgm:cxn modelId="{9EFF6126-1083-482A-BE03-7644C95971A9}" type="presOf" srcId="{08DD5AEF-61D2-4F21-AF2A-17816F0690C3}" destId="{80268C5B-E34C-4249-B1F7-0C11E22B2F24}" srcOrd="0" destOrd="0" presId="urn:microsoft.com/office/officeart/2005/8/layout/vList2"/>
    <dgm:cxn modelId="{7836C035-94FC-45F3-97D4-15E6CC48B2A9}" type="presOf" srcId="{0922A69D-D324-4030-8646-26572E62B323}" destId="{5B26E378-01C4-42D2-95D5-A3328269F683}" srcOrd="0" destOrd="0" presId="urn:microsoft.com/office/officeart/2005/8/layout/vList2"/>
    <dgm:cxn modelId="{EAF6E042-0380-49AA-B0F7-82306924305D}" srcId="{0922A69D-D324-4030-8646-26572E62B323}" destId="{BBF54E24-3B16-4312-9980-C24B5AD23449}" srcOrd="2" destOrd="0" parTransId="{96DC2C72-249E-43CF-A258-492A945AC405}" sibTransId="{0575F3BE-54B3-4488-84C8-815D73F55050}"/>
    <dgm:cxn modelId="{9008F044-9A1F-4388-9A6C-808353BDC5A4}" type="presOf" srcId="{731639D5-3201-4BB0-A950-6FE4CB86744D}" destId="{83E8D7F6-AAED-4F4F-9604-EA0615A86164}" srcOrd="0" destOrd="0" presId="urn:microsoft.com/office/officeart/2005/8/layout/vList2"/>
    <dgm:cxn modelId="{9DC38CA9-6FFD-47D9-AFFF-68F74DF02239}" srcId="{0922A69D-D324-4030-8646-26572E62B323}" destId="{731639D5-3201-4BB0-A950-6FE4CB86744D}" srcOrd="0" destOrd="0" parTransId="{9ADDC653-8B97-4E78-A87D-450F68C6EED7}" sibTransId="{DA343F77-9CDC-400B-9087-143113EAD9D0}"/>
    <dgm:cxn modelId="{4D0861B1-BF1C-483C-B542-EFAD835803EE}" srcId="{0922A69D-D324-4030-8646-26572E62B323}" destId="{51AC72F1-53CB-4A4A-8E59-48F75BFB5584}" srcOrd="3" destOrd="0" parTransId="{B26102C2-BD93-496A-9D9D-BD99D5AA70AA}" sibTransId="{669D1C96-5EDE-44E4-BBA2-88F9EDBDB52F}"/>
    <dgm:cxn modelId="{ED53AEB2-4B25-49F7-B890-EB84659C6E3A}" type="presOf" srcId="{BBF54E24-3B16-4312-9980-C24B5AD23449}" destId="{26BA6543-B512-4F1D-9052-1BC10938D579}" srcOrd="0" destOrd="0" presId="urn:microsoft.com/office/officeart/2005/8/layout/vList2"/>
    <dgm:cxn modelId="{0E61DED0-238F-4A34-BD06-4AA4AD88657E}" type="presOf" srcId="{51AC72F1-53CB-4A4A-8E59-48F75BFB5584}" destId="{10990B8B-35C8-4F15-9030-0A55DA98812B}" srcOrd="0" destOrd="0" presId="urn:microsoft.com/office/officeart/2005/8/layout/vList2"/>
    <dgm:cxn modelId="{D8DA341B-A0E9-4398-A598-F9E094F4F07B}" type="presParOf" srcId="{5B26E378-01C4-42D2-95D5-A3328269F683}" destId="{83E8D7F6-AAED-4F4F-9604-EA0615A86164}" srcOrd="0" destOrd="0" presId="urn:microsoft.com/office/officeart/2005/8/layout/vList2"/>
    <dgm:cxn modelId="{1501E396-92D7-473C-B32C-82B617E2E53E}" type="presParOf" srcId="{5B26E378-01C4-42D2-95D5-A3328269F683}" destId="{28DF455C-3EEC-47F3-8832-9524C8E3DB6E}" srcOrd="1" destOrd="0" presId="urn:microsoft.com/office/officeart/2005/8/layout/vList2"/>
    <dgm:cxn modelId="{D7AB5071-8201-4EF6-A594-78A2852AE080}" type="presParOf" srcId="{5B26E378-01C4-42D2-95D5-A3328269F683}" destId="{80268C5B-E34C-4249-B1F7-0C11E22B2F24}" srcOrd="2" destOrd="0" presId="urn:microsoft.com/office/officeart/2005/8/layout/vList2"/>
    <dgm:cxn modelId="{F45DE455-A9CE-48D0-9EC7-D287763944E9}" type="presParOf" srcId="{5B26E378-01C4-42D2-95D5-A3328269F683}" destId="{7C1844F0-9D8E-433D-840B-DF569189616F}" srcOrd="3" destOrd="0" presId="urn:microsoft.com/office/officeart/2005/8/layout/vList2"/>
    <dgm:cxn modelId="{157692BF-7BC3-4724-996C-70C1D60D0094}" type="presParOf" srcId="{5B26E378-01C4-42D2-95D5-A3328269F683}" destId="{26BA6543-B512-4F1D-9052-1BC10938D579}" srcOrd="4" destOrd="0" presId="urn:microsoft.com/office/officeart/2005/8/layout/vList2"/>
    <dgm:cxn modelId="{D91CDE12-AFEF-4B52-8F7A-E1CF00709DDE}" type="presParOf" srcId="{5B26E378-01C4-42D2-95D5-A3328269F683}" destId="{7174DE6D-DB92-4D20-8AA1-6CA3F7C9982A}" srcOrd="5" destOrd="0" presId="urn:microsoft.com/office/officeart/2005/8/layout/vList2"/>
    <dgm:cxn modelId="{813E5CCC-E33C-4888-92A2-D11C7E2DD05E}" type="presParOf" srcId="{5B26E378-01C4-42D2-95D5-A3328269F683}" destId="{10990B8B-35C8-4F15-9030-0A55DA98812B}" srcOrd="6" destOrd="0" presId="urn:microsoft.com/office/officeart/2005/8/layout/vList2"/>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CDB39A5-7E87-47D0-931B-33ABCE8F5D77}" type="doc">
      <dgm:prSet loTypeId="urn:microsoft.com/office/officeart/2005/8/layout/hierarchy3" loCatId="hierarchy" qsTypeId="urn:microsoft.com/office/officeart/2005/8/quickstyle/simple3" qsCatId="simple" csTypeId="urn:microsoft.com/office/officeart/2005/8/colors/accent1_2" csCatId="accent1" phldr="1"/>
      <dgm:spPr/>
      <dgm:t>
        <a:bodyPr/>
        <a:lstStyle/>
        <a:p>
          <a:endParaRPr lang="sv-SE"/>
        </a:p>
      </dgm:t>
    </dgm:pt>
    <dgm:pt modelId="{F983597F-DA80-4F9C-A941-7E50ED86E4D5}">
      <dgm:prSet phldrT="[Text]"/>
      <dgm:spPr/>
      <dgm:t>
        <a:bodyPr/>
        <a:lstStyle/>
        <a:p>
          <a:r>
            <a:rPr lang="sv-SE"/>
            <a:t>Virgin material</a:t>
          </a:r>
        </a:p>
      </dgm:t>
    </dgm:pt>
    <dgm:pt modelId="{88A0BA8F-0B29-4D8D-8974-C01691138EBC}" type="parTrans" cxnId="{942AC286-12EC-4607-B23C-4FF531C8D715}">
      <dgm:prSet/>
      <dgm:spPr/>
      <dgm:t>
        <a:bodyPr/>
        <a:lstStyle/>
        <a:p>
          <a:endParaRPr lang="sv-SE"/>
        </a:p>
      </dgm:t>
    </dgm:pt>
    <dgm:pt modelId="{74DAE617-B287-489C-B588-A968B5B01E60}" type="sibTrans" cxnId="{942AC286-12EC-4607-B23C-4FF531C8D715}">
      <dgm:prSet/>
      <dgm:spPr/>
      <dgm:t>
        <a:bodyPr/>
        <a:lstStyle/>
        <a:p>
          <a:endParaRPr lang="sv-SE"/>
        </a:p>
      </dgm:t>
    </dgm:pt>
    <dgm:pt modelId="{BE805C98-979E-48FB-A642-0E68B1DF133B}">
      <dgm:prSet phldrT="[Text]" custT="1"/>
      <dgm:spPr/>
      <dgm:t>
        <a:bodyPr/>
        <a:lstStyle/>
        <a:p>
          <a:r>
            <a:rPr lang="sv-SE" sz="2000" err="1"/>
            <a:t>Some</a:t>
          </a:r>
          <a:r>
            <a:rPr lang="sv-SE" sz="2000"/>
            <a:t> </a:t>
          </a:r>
          <a:r>
            <a:rPr lang="sv-SE" sz="2000" err="1"/>
            <a:t>resources</a:t>
          </a:r>
          <a:r>
            <a:rPr lang="sv-SE" sz="2000"/>
            <a:t> </a:t>
          </a:r>
          <a:r>
            <a:rPr lang="sv-SE" sz="2000" err="1"/>
            <a:t>are</a:t>
          </a:r>
          <a:r>
            <a:rPr lang="sv-SE" sz="2000"/>
            <a:t> </a:t>
          </a:r>
          <a:r>
            <a:rPr lang="sv-SE" sz="2000" err="1"/>
            <a:t>getting</a:t>
          </a:r>
          <a:r>
            <a:rPr lang="sv-SE" sz="2000"/>
            <a:t> </a:t>
          </a:r>
          <a:r>
            <a:rPr lang="sv-SE" sz="2000" err="1"/>
            <a:t>scarce</a:t>
          </a:r>
          <a:r>
            <a:rPr lang="sv-SE" sz="2000"/>
            <a:t>. Ex: P</a:t>
          </a:r>
        </a:p>
      </dgm:t>
    </dgm:pt>
    <dgm:pt modelId="{B3138C65-5F72-4AF1-809B-FC35FEF9CBD1}" type="parTrans" cxnId="{D8D8847B-533D-487B-85B7-8F8B03D840EB}">
      <dgm:prSet/>
      <dgm:spPr/>
      <dgm:t>
        <a:bodyPr/>
        <a:lstStyle/>
        <a:p>
          <a:endParaRPr lang="sv-SE"/>
        </a:p>
      </dgm:t>
    </dgm:pt>
    <dgm:pt modelId="{541B46D3-B48B-4A3C-A8CE-3B15B87FBBE3}" type="sibTrans" cxnId="{D8D8847B-533D-487B-85B7-8F8B03D840EB}">
      <dgm:prSet/>
      <dgm:spPr/>
      <dgm:t>
        <a:bodyPr/>
        <a:lstStyle/>
        <a:p>
          <a:endParaRPr lang="sv-SE"/>
        </a:p>
      </dgm:t>
    </dgm:pt>
    <dgm:pt modelId="{34519695-C1E5-45EF-804F-56BA89D84338}">
      <dgm:prSet phldrT="[Text]" custT="1"/>
      <dgm:spPr/>
      <dgm:t>
        <a:bodyPr/>
        <a:lstStyle/>
        <a:p>
          <a:r>
            <a:rPr lang="sv-SE" sz="2000"/>
            <a:t>Energy is </a:t>
          </a:r>
          <a:r>
            <a:rPr lang="sv-SE" sz="2000" err="1"/>
            <a:t>needed</a:t>
          </a:r>
          <a:r>
            <a:rPr lang="sv-SE" sz="2000"/>
            <a:t> to </a:t>
          </a:r>
          <a:r>
            <a:rPr lang="sv-SE" sz="2000" err="1"/>
            <a:t>extract</a:t>
          </a:r>
          <a:r>
            <a:rPr lang="sv-SE" sz="2000"/>
            <a:t> </a:t>
          </a:r>
          <a:r>
            <a:rPr lang="sv-SE" sz="2000" err="1"/>
            <a:t>them</a:t>
          </a:r>
          <a:endParaRPr lang="sv-SE" sz="2000"/>
        </a:p>
      </dgm:t>
    </dgm:pt>
    <dgm:pt modelId="{FFFD8BE5-2485-40DC-9075-68E0ACBC8ACF}" type="parTrans" cxnId="{5185103C-AB3B-4F82-9879-E25839F9F264}">
      <dgm:prSet/>
      <dgm:spPr/>
      <dgm:t>
        <a:bodyPr/>
        <a:lstStyle/>
        <a:p>
          <a:endParaRPr lang="sv-SE"/>
        </a:p>
      </dgm:t>
    </dgm:pt>
    <dgm:pt modelId="{3EC3759C-9124-4029-98AB-0D6B8B55355A}" type="sibTrans" cxnId="{5185103C-AB3B-4F82-9879-E25839F9F264}">
      <dgm:prSet/>
      <dgm:spPr/>
      <dgm:t>
        <a:bodyPr/>
        <a:lstStyle/>
        <a:p>
          <a:endParaRPr lang="sv-SE"/>
        </a:p>
      </dgm:t>
    </dgm:pt>
    <dgm:pt modelId="{88108C57-134D-44BC-8EE4-8A2B2B904009}">
      <dgm:prSet phldrT="[Text]"/>
      <dgm:spPr/>
      <dgm:t>
        <a:bodyPr/>
        <a:lstStyle/>
        <a:p>
          <a:r>
            <a:rPr lang="sv-SE" err="1"/>
            <a:t>Recycle</a:t>
          </a:r>
          <a:r>
            <a:rPr lang="sv-SE"/>
            <a:t> streams</a:t>
          </a:r>
        </a:p>
      </dgm:t>
    </dgm:pt>
    <dgm:pt modelId="{1F2198EC-9154-48B0-AB7A-6819E06D33D1}" type="parTrans" cxnId="{86E2CD0D-9007-4226-9FBD-B9B078AFB6F2}">
      <dgm:prSet/>
      <dgm:spPr/>
      <dgm:t>
        <a:bodyPr/>
        <a:lstStyle/>
        <a:p>
          <a:endParaRPr lang="sv-SE"/>
        </a:p>
      </dgm:t>
    </dgm:pt>
    <dgm:pt modelId="{D4D66627-D3BC-4965-BEC5-7E6685CD24AA}" type="sibTrans" cxnId="{86E2CD0D-9007-4226-9FBD-B9B078AFB6F2}">
      <dgm:prSet/>
      <dgm:spPr/>
      <dgm:t>
        <a:bodyPr/>
        <a:lstStyle/>
        <a:p>
          <a:endParaRPr lang="sv-SE"/>
        </a:p>
      </dgm:t>
    </dgm:pt>
    <dgm:pt modelId="{0F64F1B1-BF8A-4AAF-82A4-E5C5FAB1E80A}">
      <dgm:prSet phldrT="[Text]" custT="1"/>
      <dgm:spPr/>
      <dgm:t>
        <a:bodyPr/>
        <a:lstStyle/>
        <a:p>
          <a:r>
            <a:rPr lang="sv-SE" sz="2000"/>
            <a:t>Streams </a:t>
          </a:r>
          <a:r>
            <a:rPr lang="sv-SE" sz="2000" err="1"/>
            <a:t>created</a:t>
          </a:r>
          <a:r>
            <a:rPr lang="sv-SE" sz="2000"/>
            <a:t> by the same </a:t>
          </a:r>
          <a:r>
            <a:rPr lang="sv-SE" sz="2000" err="1"/>
            <a:t>factory</a:t>
          </a:r>
          <a:r>
            <a:rPr lang="sv-SE" sz="2000"/>
            <a:t> or </a:t>
          </a:r>
          <a:r>
            <a:rPr lang="sv-SE" sz="2000" err="1"/>
            <a:t>nearby</a:t>
          </a:r>
          <a:r>
            <a:rPr lang="sv-SE" sz="2000"/>
            <a:t> </a:t>
          </a:r>
          <a:r>
            <a:rPr lang="sv-SE" sz="2000" err="1"/>
            <a:t>one</a:t>
          </a:r>
          <a:endParaRPr lang="sv-SE" sz="2000"/>
        </a:p>
      </dgm:t>
    </dgm:pt>
    <dgm:pt modelId="{3534FB33-C168-41EB-9ABA-9B6470C8B7C9}" type="parTrans" cxnId="{CDDF35EA-533C-4317-B60E-49B49222CE4B}">
      <dgm:prSet/>
      <dgm:spPr/>
      <dgm:t>
        <a:bodyPr/>
        <a:lstStyle/>
        <a:p>
          <a:endParaRPr lang="sv-SE"/>
        </a:p>
      </dgm:t>
    </dgm:pt>
    <dgm:pt modelId="{60FA1263-E4AC-4BCE-8A70-5B9D5074A3D1}" type="sibTrans" cxnId="{CDDF35EA-533C-4317-B60E-49B49222CE4B}">
      <dgm:prSet/>
      <dgm:spPr/>
      <dgm:t>
        <a:bodyPr/>
        <a:lstStyle/>
        <a:p>
          <a:endParaRPr lang="sv-SE"/>
        </a:p>
      </dgm:t>
    </dgm:pt>
    <dgm:pt modelId="{3DC8D9E1-902E-41D5-ADFF-F65B2775C1BD}">
      <dgm:prSet phldrT="[Text]" custT="1"/>
      <dgm:spPr/>
      <dgm:t>
        <a:bodyPr/>
        <a:lstStyle/>
        <a:p>
          <a:r>
            <a:rPr lang="sv-SE" sz="2000" err="1"/>
            <a:t>Depending</a:t>
          </a:r>
          <a:r>
            <a:rPr lang="sv-SE" sz="2000"/>
            <a:t> on the material </a:t>
          </a:r>
          <a:r>
            <a:rPr lang="sv-SE" sz="2000" err="1"/>
            <a:t>characteristics</a:t>
          </a:r>
          <a:r>
            <a:rPr lang="sv-SE" sz="2000"/>
            <a:t>, </a:t>
          </a:r>
          <a:r>
            <a:rPr lang="sv-SE" sz="2000" err="1"/>
            <a:t>more</a:t>
          </a:r>
          <a:r>
            <a:rPr lang="sv-SE" sz="2000"/>
            <a:t> or less </a:t>
          </a:r>
          <a:r>
            <a:rPr lang="sv-SE" sz="2000" err="1"/>
            <a:t>energy</a:t>
          </a:r>
          <a:r>
            <a:rPr lang="sv-SE" sz="2000"/>
            <a:t> will be </a:t>
          </a:r>
          <a:r>
            <a:rPr lang="sv-SE" sz="2000" err="1"/>
            <a:t>needed</a:t>
          </a:r>
          <a:r>
            <a:rPr lang="sv-SE" sz="2000"/>
            <a:t> to process it</a:t>
          </a:r>
        </a:p>
      </dgm:t>
    </dgm:pt>
    <dgm:pt modelId="{BFB3EF04-84C7-4E1B-9768-37694E27640C}" type="parTrans" cxnId="{4C61EF52-9B41-4F97-8A1A-60702289CCD1}">
      <dgm:prSet/>
      <dgm:spPr/>
      <dgm:t>
        <a:bodyPr/>
        <a:lstStyle/>
        <a:p>
          <a:endParaRPr lang="sv-SE"/>
        </a:p>
      </dgm:t>
    </dgm:pt>
    <dgm:pt modelId="{A675214E-8559-45A2-BC61-4DA09DEF8578}" type="sibTrans" cxnId="{4C61EF52-9B41-4F97-8A1A-60702289CCD1}">
      <dgm:prSet/>
      <dgm:spPr/>
      <dgm:t>
        <a:bodyPr/>
        <a:lstStyle/>
        <a:p>
          <a:endParaRPr lang="sv-SE"/>
        </a:p>
      </dgm:t>
    </dgm:pt>
    <dgm:pt modelId="{4264A2CA-A6FC-4D45-90DD-C43A926776A4}">
      <dgm:prSet phldrT="[Text]" custT="1"/>
      <dgm:spPr/>
      <dgm:t>
        <a:bodyPr/>
        <a:lstStyle/>
        <a:p>
          <a:r>
            <a:rPr lang="sv-SE" sz="2000" err="1"/>
            <a:t>Added</a:t>
          </a:r>
          <a:r>
            <a:rPr lang="sv-SE" sz="2000"/>
            <a:t> </a:t>
          </a:r>
          <a:r>
            <a:rPr lang="sv-SE" sz="2000" err="1"/>
            <a:t>cost</a:t>
          </a:r>
          <a:endParaRPr lang="sv-SE" sz="2000"/>
        </a:p>
      </dgm:t>
    </dgm:pt>
    <dgm:pt modelId="{FF0FE991-7A84-4397-ADFD-F40A14D475E4}" type="parTrans" cxnId="{3D04FD78-2C86-4109-9745-216EC5A42B1B}">
      <dgm:prSet/>
      <dgm:spPr/>
      <dgm:t>
        <a:bodyPr/>
        <a:lstStyle/>
        <a:p>
          <a:endParaRPr lang="sv-SE"/>
        </a:p>
      </dgm:t>
    </dgm:pt>
    <dgm:pt modelId="{0B1FC839-81CC-40E1-8675-2EAEF6596A9A}" type="sibTrans" cxnId="{3D04FD78-2C86-4109-9745-216EC5A42B1B}">
      <dgm:prSet/>
      <dgm:spPr/>
      <dgm:t>
        <a:bodyPr/>
        <a:lstStyle/>
        <a:p>
          <a:endParaRPr lang="sv-SE"/>
        </a:p>
      </dgm:t>
    </dgm:pt>
    <dgm:pt modelId="{920B4A2E-6DAA-4ABA-BB73-CEF15B00659C}">
      <dgm:prSet phldrT="[Text]" custT="1"/>
      <dgm:spPr/>
      <dgm:t>
        <a:bodyPr/>
        <a:lstStyle/>
        <a:p>
          <a:r>
            <a:rPr lang="sv-SE" sz="2000"/>
            <a:t>Saves in </a:t>
          </a:r>
          <a:r>
            <a:rPr lang="sv-SE" sz="2000" err="1"/>
            <a:t>costs</a:t>
          </a:r>
          <a:endParaRPr lang="sv-SE" sz="2000"/>
        </a:p>
      </dgm:t>
    </dgm:pt>
    <dgm:pt modelId="{DCEE5CA1-6129-4A96-A52E-7813854476A8}" type="parTrans" cxnId="{F3D7C03B-49F5-46D6-AA7A-5BE02BBABE13}">
      <dgm:prSet/>
      <dgm:spPr/>
      <dgm:t>
        <a:bodyPr/>
        <a:lstStyle/>
        <a:p>
          <a:endParaRPr lang="sv-SE"/>
        </a:p>
      </dgm:t>
    </dgm:pt>
    <dgm:pt modelId="{27BBF2B8-A48D-4281-A2B4-DA891EF8208E}" type="sibTrans" cxnId="{F3D7C03B-49F5-46D6-AA7A-5BE02BBABE13}">
      <dgm:prSet/>
      <dgm:spPr/>
      <dgm:t>
        <a:bodyPr/>
        <a:lstStyle/>
        <a:p>
          <a:endParaRPr lang="sv-SE"/>
        </a:p>
      </dgm:t>
    </dgm:pt>
    <dgm:pt modelId="{5E893D17-31F5-4C0B-AD24-F3BCA7D20382}" type="pres">
      <dgm:prSet presAssocID="{4CDB39A5-7E87-47D0-931B-33ABCE8F5D77}" presName="diagram" presStyleCnt="0">
        <dgm:presLayoutVars>
          <dgm:chPref val="1"/>
          <dgm:dir/>
          <dgm:animOne val="branch"/>
          <dgm:animLvl val="lvl"/>
          <dgm:resizeHandles/>
        </dgm:presLayoutVars>
      </dgm:prSet>
      <dgm:spPr/>
    </dgm:pt>
    <dgm:pt modelId="{0B840665-B1A3-4346-A2FE-122A9D359D82}" type="pres">
      <dgm:prSet presAssocID="{F983597F-DA80-4F9C-A941-7E50ED86E4D5}" presName="root" presStyleCnt="0"/>
      <dgm:spPr/>
    </dgm:pt>
    <dgm:pt modelId="{0BE39247-F82E-4832-B643-FC437CC804BA}" type="pres">
      <dgm:prSet presAssocID="{F983597F-DA80-4F9C-A941-7E50ED86E4D5}" presName="rootComposite" presStyleCnt="0"/>
      <dgm:spPr/>
    </dgm:pt>
    <dgm:pt modelId="{AA94A2D5-360A-4AC0-A9B1-6F7FE69928AA}" type="pres">
      <dgm:prSet presAssocID="{F983597F-DA80-4F9C-A941-7E50ED86E4D5}" presName="rootText" presStyleLbl="node1" presStyleIdx="0" presStyleCnt="2" custScaleX="153333"/>
      <dgm:spPr/>
    </dgm:pt>
    <dgm:pt modelId="{58248C68-D67C-417F-ACFD-283B597804BC}" type="pres">
      <dgm:prSet presAssocID="{F983597F-DA80-4F9C-A941-7E50ED86E4D5}" presName="rootConnector" presStyleLbl="node1" presStyleIdx="0" presStyleCnt="2"/>
      <dgm:spPr/>
    </dgm:pt>
    <dgm:pt modelId="{B6247E33-FB06-46BD-9865-6541C17A8207}" type="pres">
      <dgm:prSet presAssocID="{F983597F-DA80-4F9C-A941-7E50ED86E4D5}" presName="childShape" presStyleCnt="0"/>
      <dgm:spPr/>
    </dgm:pt>
    <dgm:pt modelId="{A72E6D0F-38CA-43C4-9060-7ABE7DADA51F}" type="pres">
      <dgm:prSet presAssocID="{B3138C65-5F72-4AF1-809B-FC35FEF9CBD1}" presName="Name13" presStyleLbl="parChTrans1D2" presStyleIdx="0" presStyleCnt="6"/>
      <dgm:spPr/>
    </dgm:pt>
    <dgm:pt modelId="{921CF9BC-1CF6-4484-A69B-179E7BF1E14B}" type="pres">
      <dgm:prSet presAssocID="{BE805C98-979E-48FB-A642-0E68B1DF133B}" presName="childText" presStyleLbl="bgAcc1" presStyleIdx="0" presStyleCnt="6" custScaleX="186605">
        <dgm:presLayoutVars>
          <dgm:bulletEnabled val="1"/>
        </dgm:presLayoutVars>
      </dgm:prSet>
      <dgm:spPr/>
    </dgm:pt>
    <dgm:pt modelId="{6F26E007-3A75-4845-9C5C-C6FF775BF8CF}" type="pres">
      <dgm:prSet presAssocID="{FFFD8BE5-2485-40DC-9075-68E0ACBC8ACF}" presName="Name13" presStyleLbl="parChTrans1D2" presStyleIdx="1" presStyleCnt="6"/>
      <dgm:spPr/>
    </dgm:pt>
    <dgm:pt modelId="{EEFAF8FC-55EA-4A89-80C9-366BB51D2C64}" type="pres">
      <dgm:prSet presAssocID="{34519695-C1E5-45EF-804F-56BA89D84338}" presName="childText" presStyleLbl="bgAcc1" presStyleIdx="1" presStyleCnt="6" custScaleX="196614">
        <dgm:presLayoutVars>
          <dgm:bulletEnabled val="1"/>
        </dgm:presLayoutVars>
      </dgm:prSet>
      <dgm:spPr/>
    </dgm:pt>
    <dgm:pt modelId="{6C36A592-7906-4940-A233-DE4A03A33ADA}" type="pres">
      <dgm:prSet presAssocID="{FF0FE991-7A84-4397-ADFD-F40A14D475E4}" presName="Name13" presStyleLbl="parChTrans1D2" presStyleIdx="2" presStyleCnt="6"/>
      <dgm:spPr/>
    </dgm:pt>
    <dgm:pt modelId="{23C7A958-8DF5-4A30-B22B-79A769449AB5}" type="pres">
      <dgm:prSet presAssocID="{4264A2CA-A6FC-4D45-90DD-C43A926776A4}" presName="childText" presStyleLbl="bgAcc1" presStyleIdx="2" presStyleCnt="6" custScaleX="188172">
        <dgm:presLayoutVars>
          <dgm:bulletEnabled val="1"/>
        </dgm:presLayoutVars>
      </dgm:prSet>
      <dgm:spPr/>
    </dgm:pt>
    <dgm:pt modelId="{2E30B05D-11E9-4DC0-B424-C85307E4363A}" type="pres">
      <dgm:prSet presAssocID="{88108C57-134D-44BC-8EE4-8A2B2B904009}" presName="root" presStyleCnt="0"/>
      <dgm:spPr/>
    </dgm:pt>
    <dgm:pt modelId="{21D96ABA-867E-406A-BB23-2DD543412292}" type="pres">
      <dgm:prSet presAssocID="{88108C57-134D-44BC-8EE4-8A2B2B904009}" presName="rootComposite" presStyleCnt="0"/>
      <dgm:spPr/>
    </dgm:pt>
    <dgm:pt modelId="{4B17B1B2-5541-4797-A5CE-3D5D946103D9}" type="pres">
      <dgm:prSet presAssocID="{88108C57-134D-44BC-8EE4-8A2B2B904009}" presName="rootText" presStyleLbl="node1" presStyleIdx="1" presStyleCnt="2" custScaleX="193242"/>
      <dgm:spPr/>
    </dgm:pt>
    <dgm:pt modelId="{2D88116A-3FDC-418C-A422-7C644DDCC63B}" type="pres">
      <dgm:prSet presAssocID="{88108C57-134D-44BC-8EE4-8A2B2B904009}" presName="rootConnector" presStyleLbl="node1" presStyleIdx="1" presStyleCnt="2"/>
      <dgm:spPr/>
    </dgm:pt>
    <dgm:pt modelId="{5493391E-AB1D-4C1A-B482-86829DACDA5A}" type="pres">
      <dgm:prSet presAssocID="{88108C57-134D-44BC-8EE4-8A2B2B904009}" presName="childShape" presStyleCnt="0"/>
      <dgm:spPr/>
    </dgm:pt>
    <dgm:pt modelId="{AF456C06-E1A6-4ED8-91CD-EDF9C5B3C979}" type="pres">
      <dgm:prSet presAssocID="{3534FB33-C168-41EB-9ABA-9B6470C8B7C9}" presName="Name13" presStyleLbl="parChTrans1D2" presStyleIdx="3" presStyleCnt="6"/>
      <dgm:spPr/>
    </dgm:pt>
    <dgm:pt modelId="{BF388482-9EC5-4330-AE92-433491F59E3E}" type="pres">
      <dgm:prSet presAssocID="{0F64F1B1-BF8A-4AAF-82A4-E5C5FAB1E80A}" presName="childText" presStyleLbl="bgAcc1" presStyleIdx="3" presStyleCnt="6" custScaleX="270219">
        <dgm:presLayoutVars>
          <dgm:bulletEnabled val="1"/>
        </dgm:presLayoutVars>
      </dgm:prSet>
      <dgm:spPr/>
    </dgm:pt>
    <dgm:pt modelId="{19233220-CA67-40E4-BB47-62F7216348D5}" type="pres">
      <dgm:prSet presAssocID="{BFB3EF04-84C7-4E1B-9768-37694E27640C}" presName="Name13" presStyleLbl="parChTrans1D2" presStyleIdx="4" presStyleCnt="6"/>
      <dgm:spPr/>
    </dgm:pt>
    <dgm:pt modelId="{58A39F5B-146C-4332-A532-916B08FBB057}" type="pres">
      <dgm:prSet presAssocID="{3DC8D9E1-902E-41D5-ADFF-F65B2775C1BD}" presName="childText" presStyleLbl="bgAcc1" presStyleIdx="4" presStyleCnt="6" custScaleX="282602">
        <dgm:presLayoutVars>
          <dgm:bulletEnabled val="1"/>
        </dgm:presLayoutVars>
      </dgm:prSet>
      <dgm:spPr/>
    </dgm:pt>
    <dgm:pt modelId="{3D048702-813F-4861-9EF8-23F0BCEBD8A6}" type="pres">
      <dgm:prSet presAssocID="{DCEE5CA1-6129-4A96-A52E-7813854476A8}" presName="Name13" presStyleLbl="parChTrans1D2" presStyleIdx="5" presStyleCnt="6"/>
      <dgm:spPr/>
    </dgm:pt>
    <dgm:pt modelId="{0C79EDDE-B32F-42D5-A0A8-E7FC357EFC5D}" type="pres">
      <dgm:prSet presAssocID="{920B4A2E-6DAA-4ABA-BB73-CEF15B00659C}" presName="childText" presStyleLbl="bgAcc1" presStyleIdx="5" presStyleCnt="6" custScaleX="175419">
        <dgm:presLayoutVars>
          <dgm:bulletEnabled val="1"/>
        </dgm:presLayoutVars>
      </dgm:prSet>
      <dgm:spPr/>
    </dgm:pt>
  </dgm:ptLst>
  <dgm:cxnLst>
    <dgm:cxn modelId="{8550190A-19C0-4BE1-B4FE-61E69A3A8FF3}" type="presOf" srcId="{920B4A2E-6DAA-4ABA-BB73-CEF15B00659C}" destId="{0C79EDDE-B32F-42D5-A0A8-E7FC357EFC5D}" srcOrd="0" destOrd="0" presId="urn:microsoft.com/office/officeart/2005/8/layout/hierarchy3"/>
    <dgm:cxn modelId="{28D42E0B-279C-4CDD-B75B-204C87782BD5}" type="presOf" srcId="{88108C57-134D-44BC-8EE4-8A2B2B904009}" destId="{2D88116A-3FDC-418C-A422-7C644DDCC63B}" srcOrd="1" destOrd="0" presId="urn:microsoft.com/office/officeart/2005/8/layout/hierarchy3"/>
    <dgm:cxn modelId="{86E2CD0D-9007-4226-9FBD-B9B078AFB6F2}" srcId="{4CDB39A5-7E87-47D0-931B-33ABCE8F5D77}" destId="{88108C57-134D-44BC-8EE4-8A2B2B904009}" srcOrd="1" destOrd="0" parTransId="{1F2198EC-9154-48B0-AB7A-6819E06D33D1}" sibTransId="{D4D66627-D3BC-4965-BEC5-7E6685CD24AA}"/>
    <dgm:cxn modelId="{6328A32B-FB80-4295-AB0F-D42176AE6138}" type="presOf" srcId="{DCEE5CA1-6129-4A96-A52E-7813854476A8}" destId="{3D048702-813F-4861-9EF8-23F0BCEBD8A6}" srcOrd="0" destOrd="0" presId="urn:microsoft.com/office/officeart/2005/8/layout/hierarchy3"/>
    <dgm:cxn modelId="{F3D7C03B-49F5-46D6-AA7A-5BE02BBABE13}" srcId="{88108C57-134D-44BC-8EE4-8A2B2B904009}" destId="{920B4A2E-6DAA-4ABA-BB73-CEF15B00659C}" srcOrd="2" destOrd="0" parTransId="{DCEE5CA1-6129-4A96-A52E-7813854476A8}" sibTransId="{27BBF2B8-A48D-4281-A2B4-DA891EF8208E}"/>
    <dgm:cxn modelId="{5185103C-AB3B-4F82-9879-E25839F9F264}" srcId="{F983597F-DA80-4F9C-A941-7E50ED86E4D5}" destId="{34519695-C1E5-45EF-804F-56BA89D84338}" srcOrd="1" destOrd="0" parTransId="{FFFD8BE5-2485-40DC-9075-68E0ACBC8ACF}" sibTransId="{3EC3759C-9124-4029-98AB-0D6B8B55355A}"/>
    <dgm:cxn modelId="{1827755E-7C62-49BD-A3C9-6A14685F4881}" type="presOf" srcId="{4264A2CA-A6FC-4D45-90DD-C43A926776A4}" destId="{23C7A958-8DF5-4A30-B22B-79A769449AB5}" srcOrd="0" destOrd="0" presId="urn:microsoft.com/office/officeart/2005/8/layout/hierarchy3"/>
    <dgm:cxn modelId="{875BB56C-1152-440C-95BC-33BF80F2BDDF}" type="presOf" srcId="{F983597F-DA80-4F9C-A941-7E50ED86E4D5}" destId="{AA94A2D5-360A-4AC0-A9B1-6F7FE69928AA}" srcOrd="0" destOrd="0" presId="urn:microsoft.com/office/officeart/2005/8/layout/hierarchy3"/>
    <dgm:cxn modelId="{CD2BA16E-1F18-4AF6-93C0-9B58F8008497}" type="presOf" srcId="{FFFD8BE5-2485-40DC-9075-68E0ACBC8ACF}" destId="{6F26E007-3A75-4845-9C5C-C6FF775BF8CF}" srcOrd="0" destOrd="0" presId="urn:microsoft.com/office/officeart/2005/8/layout/hierarchy3"/>
    <dgm:cxn modelId="{C2665252-BF9B-4792-A8E1-D6110A15ADA8}" type="presOf" srcId="{BFB3EF04-84C7-4E1B-9768-37694E27640C}" destId="{19233220-CA67-40E4-BB47-62F7216348D5}" srcOrd="0" destOrd="0" presId="urn:microsoft.com/office/officeart/2005/8/layout/hierarchy3"/>
    <dgm:cxn modelId="{4C61EF52-9B41-4F97-8A1A-60702289CCD1}" srcId="{88108C57-134D-44BC-8EE4-8A2B2B904009}" destId="{3DC8D9E1-902E-41D5-ADFF-F65B2775C1BD}" srcOrd="1" destOrd="0" parTransId="{BFB3EF04-84C7-4E1B-9768-37694E27640C}" sibTransId="{A675214E-8559-45A2-BC61-4DA09DEF8578}"/>
    <dgm:cxn modelId="{91CBC258-99C9-4608-97C8-0544037E0660}" type="presOf" srcId="{3DC8D9E1-902E-41D5-ADFF-F65B2775C1BD}" destId="{58A39F5B-146C-4332-A532-916B08FBB057}" srcOrd="0" destOrd="0" presId="urn:microsoft.com/office/officeart/2005/8/layout/hierarchy3"/>
    <dgm:cxn modelId="{3D04FD78-2C86-4109-9745-216EC5A42B1B}" srcId="{F983597F-DA80-4F9C-A941-7E50ED86E4D5}" destId="{4264A2CA-A6FC-4D45-90DD-C43A926776A4}" srcOrd="2" destOrd="0" parTransId="{FF0FE991-7A84-4397-ADFD-F40A14D475E4}" sibTransId="{0B1FC839-81CC-40E1-8675-2EAEF6596A9A}"/>
    <dgm:cxn modelId="{F298AC79-6284-4133-B8E1-BDF2B1925188}" type="presOf" srcId="{FF0FE991-7A84-4397-ADFD-F40A14D475E4}" destId="{6C36A592-7906-4940-A233-DE4A03A33ADA}" srcOrd="0" destOrd="0" presId="urn:microsoft.com/office/officeart/2005/8/layout/hierarchy3"/>
    <dgm:cxn modelId="{D8D8847B-533D-487B-85B7-8F8B03D840EB}" srcId="{F983597F-DA80-4F9C-A941-7E50ED86E4D5}" destId="{BE805C98-979E-48FB-A642-0E68B1DF133B}" srcOrd="0" destOrd="0" parTransId="{B3138C65-5F72-4AF1-809B-FC35FEF9CBD1}" sibTransId="{541B46D3-B48B-4A3C-A8CE-3B15B87FBBE3}"/>
    <dgm:cxn modelId="{942AC286-12EC-4607-B23C-4FF531C8D715}" srcId="{4CDB39A5-7E87-47D0-931B-33ABCE8F5D77}" destId="{F983597F-DA80-4F9C-A941-7E50ED86E4D5}" srcOrd="0" destOrd="0" parTransId="{88A0BA8F-0B29-4D8D-8974-C01691138EBC}" sibTransId="{74DAE617-B287-489C-B588-A968B5B01E60}"/>
    <dgm:cxn modelId="{4D6197B7-6D48-4B7C-9457-4B92A502B267}" type="presOf" srcId="{34519695-C1E5-45EF-804F-56BA89D84338}" destId="{EEFAF8FC-55EA-4A89-80C9-366BB51D2C64}" srcOrd="0" destOrd="0" presId="urn:microsoft.com/office/officeart/2005/8/layout/hierarchy3"/>
    <dgm:cxn modelId="{DBAD08BA-7CC7-46AB-9077-05AAB8B3EEBD}" type="presOf" srcId="{4CDB39A5-7E87-47D0-931B-33ABCE8F5D77}" destId="{5E893D17-31F5-4C0B-AD24-F3BCA7D20382}" srcOrd="0" destOrd="0" presId="urn:microsoft.com/office/officeart/2005/8/layout/hierarchy3"/>
    <dgm:cxn modelId="{53B45BBE-337D-4409-9DBE-FAE9ADA59EC8}" type="presOf" srcId="{BE805C98-979E-48FB-A642-0E68B1DF133B}" destId="{921CF9BC-1CF6-4484-A69B-179E7BF1E14B}" srcOrd="0" destOrd="0" presId="urn:microsoft.com/office/officeart/2005/8/layout/hierarchy3"/>
    <dgm:cxn modelId="{249053C9-3077-4EB4-AFE8-BA320A6EE810}" type="presOf" srcId="{0F64F1B1-BF8A-4AAF-82A4-E5C5FAB1E80A}" destId="{BF388482-9EC5-4330-AE92-433491F59E3E}" srcOrd="0" destOrd="0" presId="urn:microsoft.com/office/officeart/2005/8/layout/hierarchy3"/>
    <dgm:cxn modelId="{5A732EE4-C35E-4EFB-AFE6-B44B7DE1CA57}" type="presOf" srcId="{F983597F-DA80-4F9C-A941-7E50ED86E4D5}" destId="{58248C68-D67C-417F-ACFD-283B597804BC}" srcOrd="1" destOrd="0" presId="urn:microsoft.com/office/officeart/2005/8/layout/hierarchy3"/>
    <dgm:cxn modelId="{EE795EE6-DD4E-4E11-BBA0-5402AEC307A9}" type="presOf" srcId="{B3138C65-5F72-4AF1-809B-FC35FEF9CBD1}" destId="{A72E6D0F-38CA-43C4-9060-7ABE7DADA51F}" srcOrd="0" destOrd="0" presId="urn:microsoft.com/office/officeart/2005/8/layout/hierarchy3"/>
    <dgm:cxn modelId="{CDDF35EA-533C-4317-B60E-49B49222CE4B}" srcId="{88108C57-134D-44BC-8EE4-8A2B2B904009}" destId="{0F64F1B1-BF8A-4AAF-82A4-E5C5FAB1E80A}" srcOrd="0" destOrd="0" parTransId="{3534FB33-C168-41EB-9ABA-9B6470C8B7C9}" sibTransId="{60FA1263-E4AC-4BCE-8A70-5B9D5074A3D1}"/>
    <dgm:cxn modelId="{415B0AEF-1517-4EE7-98A3-7568377F2BC6}" type="presOf" srcId="{88108C57-134D-44BC-8EE4-8A2B2B904009}" destId="{4B17B1B2-5541-4797-A5CE-3D5D946103D9}" srcOrd="0" destOrd="0" presId="urn:microsoft.com/office/officeart/2005/8/layout/hierarchy3"/>
    <dgm:cxn modelId="{C43175F1-AAE6-481C-8EDF-41BBD0244F81}" type="presOf" srcId="{3534FB33-C168-41EB-9ABA-9B6470C8B7C9}" destId="{AF456C06-E1A6-4ED8-91CD-EDF9C5B3C979}" srcOrd="0" destOrd="0" presId="urn:microsoft.com/office/officeart/2005/8/layout/hierarchy3"/>
    <dgm:cxn modelId="{2E5EA1E6-40B6-4E49-ADF5-4C88D2AA66AD}" type="presParOf" srcId="{5E893D17-31F5-4C0B-AD24-F3BCA7D20382}" destId="{0B840665-B1A3-4346-A2FE-122A9D359D82}" srcOrd="0" destOrd="0" presId="urn:microsoft.com/office/officeart/2005/8/layout/hierarchy3"/>
    <dgm:cxn modelId="{9DAD4C36-EF9C-49EA-8928-069ED6C41551}" type="presParOf" srcId="{0B840665-B1A3-4346-A2FE-122A9D359D82}" destId="{0BE39247-F82E-4832-B643-FC437CC804BA}" srcOrd="0" destOrd="0" presId="urn:microsoft.com/office/officeart/2005/8/layout/hierarchy3"/>
    <dgm:cxn modelId="{C273A981-476E-414F-9A74-98078D11D0A7}" type="presParOf" srcId="{0BE39247-F82E-4832-B643-FC437CC804BA}" destId="{AA94A2D5-360A-4AC0-A9B1-6F7FE69928AA}" srcOrd="0" destOrd="0" presId="urn:microsoft.com/office/officeart/2005/8/layout/hierarchy3"/>
    <dgm:cxn modelId="{87C48120-62FB-4902-9877-883F8CA69B26}" type="presParOf" srcId="{0BE39247-F82E-4832-B643-FC437CC804BA}" destId="{58248C68-D67C-417F-ACFD-283B597804BC}" srcOrd="1" destOrd="0" presId="urn:microsoft.com/office/officeart/2005/8/layout/hierarchy3"/>
    <dgm:cxn modelId="{DBEEEA35-4B18-47BC-8681-289A80F10231}" type="presParOf" srcId="{0B840665-B1A3-4346-A2FE-122A9D359D82}" destId="{B6247E33-FB06-46BD-9865-6541C17A8207}" srcOrd="1" destOrd="0" presId="urn:microsoft.com/office/officeart/2005/8/layout/hierarchy3"/>
    <dgm:cxn modelId="{0AB45152-59C2-4728-B2FF-18864778B9FC}" type="presParOf" srcId="{B6247E33-FB06-46BD-9865-6541C17A8207}" destId="{A72E6D0F-38CA-43C4-9060-7ABE7DADA51F}" srcOrd="0" destOrd="0" presId="urn:microsoft.com/office/officeart/2005/8/layout/hierarchy3"/>
    <dgm:cxn modelId="{123EE5AB-8947-4F1E-A611-53179A5FB954}" type="presParOf" srcId="{B6247E33-FB06-46BD-9865-6541C17A8207}" destId="{921CF9BC-1CF6-4484-A69B-179E7BF1E14B}" srcOrd="1" destOrd="0" presId="urn:microsoft.com/office/officeart/2005/8/layout/hierarchy3"/>
    <dgm:cxn modelId="{452AE770-2418-48F6-A21F-5F7E802AEC73}" type="presParOf" srcId="{B6247E33-FB06-46BD-9865-6541C17A8207}" destId="{6F26E007-3A75-4845-9C5C-C6FF775BF8CF}" srcOrd="2" destOrd="0" presId="urn:microsoft.com/office/officeart/2005/8/layout/hierarchy3"/>
    <dgm:cxn modelId="{DB1DB842-EB0E-4F09-9415-FAF377C10CE2}" type="presParOf" srcId="{B6247E33-FB06-46BD-9865-6541C17A8207}" destId="{EEFAF8FC-55EA-4A89-80C9-366BB51D2C64}" srcOrd="3" destOrd="0" presId="urn:microsoft.com/office/officeart/2005/8/layout/hierarchy3"/>
    <dgm:cxn modelId="{CC771640-9A3E-44F4-BE70-B9AC69EA0905}" type="presParOf" srcId="{B6247E33-FB06-46BD-9865-6541C17A8207}" destId="{6C36A592-7906-4940-A233-DE4A03A33ADA}" srcOrd="4" destOrd="0" presId="urn:microsoft.com/office/officeart/2005/8/layout/hierarchy3"/>
    <dgm:cxn modelId="{1FDCB787-3412-426C-8F88-AD03D54158CF}" type="presParOf" srcId="{B6247E33-FB06-46BD-9865-6541C17A8207}" destId="{23C7A958-8DF5-4A30-B22B-79A769449AB5}" srcOrd="5" destOrd="0" presId="urn:microsoft.com/office/officeart/2005/8/layout/hierarchy3"/>
    <dgm:cxn modelId="{50F17263-D85C-46BB-98A9-0FB7404D04F4}" type="presParOf" srcId="{5E893D17-31F5-4C0B-AD24-F3BCA7D20382}" destId="{2E30B05D-11E9-4DC0-B424-C85307E4363A}" srcOrd="1" destOrd="0" presId="urn:microsoft.com/office/officeart/2005/8/layout/hierarchy3"/>
    <dgm:cxn modelId="{72696604-0324-4607-B673-279E8CD85FAA}" type="presParOf" srcId="{2E30B05D-11E9-4DC0-B424-C85307E4363A}" destId="{21D96ABA-867E-406A-BB23-2DD543412292}" srcOrd="0" destOrd="0" presId="urn:microsoft.com/office/officeart/2005/8/layout/hierarchy3"/>
    <dgm:cxn modelId="{D889ECB8-8707-4647-8F8A-ED6761F7F5CA}" type="presParOf" srcId="{21D96ABA-867E-406A-BB23-2DD543412292}" destId="{4B17B1B2-5541-4797-A5CE-3D5D946103D9}" srcOrd="0" destOrd="0" presId="urn:microsoft.com/office/officeart/2005/8/layout/hierarchy3"/>
    <dgm:cxn modelId="{6DE473FD-4D8B-465D-8DE7-2A33849124BB}" type="presParOf" srcId="{21D96ABA-867E-406A-BB23-2DD543412292}" destId="{2D88116A-3FDC-418C-A422-7C644DDCC63B}" srcOrd="1" destOrd="0" presId="urn:microsoft.com/office/officeart/2005/8/layout/hierarchy3"/>
    <dgm:cxn modelId="{F300C702-C8DD-441A-9318-EDED78F2985B}" type="presParOf" srcId="{2E30B05D-11E9-4DC0-B424-C85307E4363A}" destId="{5493391E-AB1D-4C1A-B482-86829DACDA5A}" srcOrd="1" destOrd="0" presId="urn:microsoft.com/office/officeart/2005/8/layout/hierarchy3"/>
    <dgm:cxn modelId="{4FD1C639-B9BD-4BC2-986B-C10862EBAD0B}" type="presParOf" srcId="{5493391E-AB1D-4C1A-B482-86829DACDA5A}" destId="{AF456C06-E1A6-4ED8-91CD-EDF9C5B3C979}" srcOrd="0" destOrd="0" presId="urn:microsoft.com/office/officeart/2005/8/layout/hierarchy3"/>
    <dgm:cxn modelId="{A4D15F07-FD85-423A-A601-87AA0D4986DF}" type="presParOf" srcId="{5493391E-AB1D-4C1A-B482-86829DACDA5A}" destId="{BF388482-9EC5-4330-AE92-433491F59E3E}" srcOrd="1" destOrd="0" presId="urn:microsoft.com/office/officeart/2005/8/layout/hierarchy3"/>
    <dgm:cxn modelId="{30D4C818-3466-4FF6-9F9A-C7B7AF8AADE8}" type="presParOf" srcId="{5493391E-AB1D-4C1A-B482-86829DACDA5A}" destId="{19233220-CA67-40E4-BB47-62F7216348D5}" srcOrd="2" destOrd="0" presId="urn:microsoft.com/office/officeart/2005/8/layout/hierarchy3"/>
    <dgm:cxn modelId="{CDE37F5E-B109-4B5C-B538-596B17F56270}" type="presParOf" srcId="{5493391E-AB1D-4C1A-B482-86829DACDA5A}" destId="{58A39F5B-146C-4332-A532-916B08FBB057}" srcOrd="3" destOrd="0" presId="urn:microsoft.com/office/officeart/2005/8/layout/hierarchy3"/>
    <dgm:cxn modelId="{315A9E6C-DD8E-4415-8360-3A1C766609B8}" type="presParOf" srcId="{5493391E-AB1D-4C1A-B482-86829DACDA5A}" destId="{3D048702-813F-4861-9EF8-23F0BCEBD8A6}" srcOrd="4" destOrd="0" presId="urn:microsoft.com/office/officeart/2005/8/layout/hierarchy3"/>
    <dgm:cxn modelId="{3A10F675-CBF0-48EC-8CE6-D6273DFEFA01}" type="presParOf" srcId="{5493391E-AB1D-4C1A-B482-86829DACDA5A}" destId="{0C79EDDE-B32F-42D5-A0A8-E7FC357EFC5D}" srcOrd="5" destOrd="0" presId="urn:microsoft.com/office/officeart/2005/8/layout/hierarchy3"/>
  </dgm:cxnLst>
  <dgm:bg/>
  <dgm:whole/>
  <dgm:extLst>
    <a:ext uri="http://schemas.microsoft.com/office/drawing/2008/diagram">
      <dsp:dataModelExt xmlns:dsp="http://schemas.microsoft.com/office/drawing/2008/diagram" relId="rId15"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97CD17B-6C3A-402A-B02A-7D4BC23DA4E9}"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9FB26EEA-D04A-48FF-99BF-2582E86F4287}">
      <dgm:prSet/>
      <dgm:spPr/>
      <dgm:t>
        <a:bodyPr/>
        <a:lstStyle/>
        <a:p>
          <a:r>
            <a:rPr lang="en-US" b="1"/>
            <a:t>Type of Digital Twin (DT): </a:t>
          </a:r>
          <a:r>
            <a:rPr lang="en-US"/>
            <a:t>Reduced order model (ROM) of tubular reactor for production of NPK fertilizer based on CFD simulations of the reaction process. </a:t>
          </a:r>
        </a:p>
      </dgm:t>
    </dgm:pt>
    <dgm:pt modelId="{8AC2AF0E-F3E0-441A-9B13-09347A04E0EE}" type="parTrans" cxnId="{31384E00-E149-4E8A-B84E-B9EAB9209A70}">
      <dgm:prSet/>
      <dgm:spPr/>
      <dgm:t>
        <a:bodyPr/>
        <a:lstStyle/>
        <a:p>
          <a:endParaRPr lang="en-US"/>
        </a:p>
      </dgm:t>
    </dgm:pt>
    <dgm:pt modelId="{BFB8681B-82F7-4864-B78F-90A3608F4A7A}" type="sibTrans" cxnId="{31384E00-E149-4E8A-B84E-B9EAB9209A70}">
      <dgm:prSet/>
      <dgm:spPr/>
      <dgm:t>
        <a:bodyPr/>
        <a:lstStyle/>
        <a:p>
          <a:endParaRPr lang="en-US"/>
        </a:p>
      </dgm:t>
    </dgm:pt>
    <dgm:pt modelId="{575A9558-C52B-476A-A1A4-261D969495E9}">
      <dgm:prSet/>
      <dgm:spPr/>
      <dgm:t>
        <a:bodyPr/>
        <a:lstStyle/>
        <a:p>
          <a:r>
            <a:rPr lang="en-US" b="1"/>
            <a:t>Goal: </a:t>
          </a:r>
          <a:r>
            <a:rPr lang="en-US" b="0"/>
            <a:t>Predict temperature and pH at outlet of tubular reactor for specific compositions of the recipes.</a:t>
          </a:r>
        </a:p>
      </dgm:t>
    </dgm:pt>
    <dgm:pt modelId="{BF3F9058-483D-4D7F-B0E3-DCF0023A323F}" type="parTrans" cxnId="{89D213BA-A903-4038-B27E-5738FA67737C}">
      <dgm:prSet/>
      <dgm:spPr/>
      <dgm:t>
        <a:bodyPr/>
        <a:lstStyle/>
        <a:p>
          <a:endParaRPr lang="en-US"/>
        </a:p>
      </dgm:t>
    </dgm:pt>
    <dgm:pt modelId="{AEAB29AF-C431-4FB7-B932-71201C548870}" type="sibTrans" cxnId="{89D213BA-A903-4038-B27E-5738FA67737C}">
      <dgm:prSet/>
      <dgm:spPr/>
      <dgm:t>
        <a:bodyPr/>
        <a:lstStyle/>
        <a:p>
          <a:endParaRPr lang="en-US"/>
        </a:p>
      </dgm:t>
    </dgm:pt>
    <dgm:pt modelId="{06FF54FC-5C33-4C73-A377-100AB7A65BE6}">
      <dgm:prSet/>
      <dgm:spPr/>
      <dgm:t>
        <a:bodyPr/>
        <a:lstStyle/>
        <a:p>
          <a:r>
            <a:rPr lang="en-US" b="1"/>
            <a:t>Input: </a:t>
          </a:r>
          <a:r>
            <a:rPr lang="en-US" b="0"/>
            <a:t>Material flows and stream properties based on recipes and data from </a:t>
          </a:r>
          <a:r>
            <a:rPr lang="en-US" b="0" err="1"/>
            <a:t>Fertiberia’s</a:t>
          </a:r>
          <a:r>
            <a:rPr lang="en-US" b="0"/>
            <a:t> pilot plant and laboratory tests.</a:t>
          </a:r>
        </a:p>
      </dgm:t>
    </dgm:pt>
    <dgm:pt modelId="{A6B98331-DD4E-40CB-967B-BD292B037753}" type="sibTrans" cxnId="{D26704A9-7418-4E8E-8106-F41587544861}">
      <dgm:prSet/>
      <dgm:spPr/>
      <dgm:t>
        <a:bodyPr/>
        <a:lstStyle/>
        <a:p>
          <a:endParaRPr lang="en-US"/>
        </a:p>
      </dgm:t>
    </dgm:pt>
    <dgm:pt modelId="{EDD37804-ADDE-4874-9CFF-32CBD85381F1}" type="parTrans" cxnId="{D26704A9-7418-4E8E-8106-F41587544861}">
      <dgm:prSet/>
      <dgm:spPr/>
      <dgm:t>
        <a:bodyPr/>
        <a:lstStyle/>
        <a:p>
          <a:endParaRPr lang="en-US"/>
        </a:p>
      </dgm:t>
    </dgm:pt>
    <dgm:pt modelId="{A255A22F-A7B4-42EE-8441-EC145B63BA3B}">
      <dgm:prSet/>
      <dgm:spPr/>
      <dgm:t>
        <a:bodyPr/>
        <a:lstStyle/>
        <a:p>
          <a:r>
            <a:rPr lang="en-US" b="1"/>
            <a:t>Benefits: </a:t>
          </a:r>
          <a:r>
            <a:rPr lang="en-US" b="0"/>
            <a:t>Achieve a higher process flexibility in terms of feedstock, reducing energy consumption and increasing process predictability</a:t>
          </a:r>
        </a:p>
      </dgm:t>
    </dgm:pt>
    <dgm:pt modelId="{47261F80-D744-4A4C-86A7-4AC13AA814C2}" type="sibTrans" cxnId="{AF6144E3-3623-472D-9DA8-E59B6DDFEC57}">
      <dgm:prSet/>
      <dgm:spPr/>
      <dgm:t>
        <a:bodyPr/>
        <a:lstStyle/>
        <a:p>
          <a:endParaRPr lang="en-US"/>
        </a:p>
      </dgm:t>
    </dgm:pt>
    <dgm:pt modelId="{5FAF0350-8FE7-4480-B26D-2A69929AC057}" type="parTrans" cxnId="{AF6144E3-3623-472D-9DA8-E59B6DDFEC57}">
      <dgm:prSet/>
      <dgm:spPr/>
      <dgm:t>
        <a:bodyPr/>
        <a:lstStyle/>
        <a:p>
          <a:endParaRPr lang="en-US"/>
        </a:p>
      </dgm:t>
    </dgm:pt>
    <dgm:pt modelId="{6F3681B6-1507-4C3B-B022-66CEF50104C8}" type="pres">
      <dgm:prSet presAssocID="{597CD17B-6C3A-402A-B02A-7D4BC23DA4E9}" presName="vert0" presStyleCnt="0">
        <dgm:presLayoutVars>
          <dgm:dir/>
          <dgm:animOne val="branch"/>
          <dgm:animLvl val="lvl"/>
        </dgm:presLayoutVars>
      </dgm:prSet>
      <dgm:spPr/>
    </dgm:pt>
    <dgm:pt modelId="{D70BC7DC-1E06-4E51-821B-4CE836E5F4E7}" type="pres">
      <dgm:prSet presAssocID="{9FB26EEA-D04A-48FF-99BF-2582E86F4287}" presName="thickLine" presStyleLbl="alignNode1" presStyleIdx="0" presStyleCnt="4"/>
      <dgm:spPr/>
    </dgm:pt>
    <dgm:pt modelId="{D0FD1DCD-3A50-4D37-A2F8-486D4E27B657}" type="pres">
      <dgm:prSet presAssocID="{9FB26EEA-D04A-48FF-99BF-2582E86F4287}" presName="horz1" presStyleCnt="0"/>
      <dgm:spPr/>
    </dgm:pt>
    <dgm:pt modelId="{92B8CCB3-105A-4A21-B390-46B84BF6DA5A}" type="pres">
      <dgm:prSet presAssocID="{9FB26EEA-D04A-48FF-99BF-2582E86F4287}" presName="tx1" presStyleLbl="revTx" presStyleIdx="0" presStyleCnt="4"/>
      <dgm:spPr/>
    </dgm:pt>
    <dgm:pt modelId="{533C93D2-DCB7-4E8E-B3E0-2B8070BA9B0B}" type="pres">
      <dgm:prSet presAssocID="{9FB26EEA-D04A-48FF-99BF-2582E86F4287}" presName="vert1" presStyleCnt="0"/>
      <dgm:spPr/>
    </dgm:pt>
    <dgm:pt modelId="{DEE27F63-37AC-4A30-BF05-68AA502C743E}" type="pres">
      <dgm:prSet presAssocID="{06FF54FC-5C33-4C73-A377-100AB7A65BE6}" presName="thickLine" presStyleLbl="alignNode1" presStyleIdx="1" presStyleCnt="4"/>
      <dgm:spPr/>
    </dgm:pt>
    <dgm:pt modelId="{D483470C-9B0D-4555-8D77-F020AF8CF4BC}" type="pres">
      <dgm:prSet presAssocID="{06FF54FC-5C33-4C73-A377-100AB7A65BE6}" presName="horz1" presStyleCnt="0"/>
      <dgm:spPr/>
    </dgm:pt>
    <dgm:pt modelId="{47F67E1A-A422-4415-BF61-00C0A6897C5F}" type="pres">
      <dgm:prSet presAssocID="{06FF54FC-5C33-4C73-A377-100AB7A65BE6}" presName="tx1" presStyleLbl="revTx" presStyleIdx="1" presStyleCnt="4"/>
      <dgm:spPr/>
    </dgm:pt>
    <dgm:pt modelId="{1BB6C224-725D-4A85-8827-0DD988FD09CC}" type="pres">
      <dgm:prSet presAssocID="{06FF54FC-5C33-4C73-A377-100AB7A65BE6}" presName="vert1" presStyleCnt="0"/>
      <dgm:spPr/>
    </dgm:pt>
    <dgm:pt modelId="{D17E4778-24BC-4C8A-AB99-010C137545AE}" type="pres">
      <dgm:prSet presAssocID="{575A9558-C52B-476A-A1A4-261D969495E9}" presName="thickLine" presStyleLbl="alignNode1" presStyleIdx="2" presStyleCnt="4"/>
      <dgm:spPr/>
    </dgm:pt>
    <dgm:pt modelId="{C196099F-8803-49F0-ADE3-986C49758C8B}" type="pres">
      <dgm:prSet presAssocID="{575A9558-C52B-476A-A1A4-261D969495E9}" presName="horz1" presStyleCnt="0"/>
      <dgm:spPr/>
    </dgm:pt>
    <dgm:pt modelId="{B240F05D-2BBA-4C57-987A-AF4597E57468}" type="pres">
      <dgm:prSet presAssocID="{575A9558-C52B-476A-A1A4-261D969495E9}" presName="tx1" presStyleLbl="revTx" presStyleIdx="2" presStyleCnt="4"/>
      <dgm:spPr/>
    </dgm:pt>
    <dgm:pt modelId="{3AA94C4D-E7DC-4804-821F-52B1CB0DBBF1}" type="pres">
      <dgm:prSet presAssocID="{575A9558-C52B-476A-A1A4-261D969495E9}" presName="vert1" presStyleCnt="0"/>
      <dgm:spPr/>
    </dgm:pt>
    <dgm:pt modelId="{87608EB8-A329-4EA3-9CAA-AC5FDC88EE0B}" type="pres">
      <dgm:prSet presAssocID="{A255A22F-A7B4-42EE-8441-EC145B63BA3B}" presName="thickLine" presStyleLbl="alignNode1" presStyleIdx="3" presStyleCnt="4"/>
      <dgm:spPr/>
    </dgm:pt>
    <dgm:pt modelId="{6D9504E5-3C46-4F00-9E71-C6BB79A37A16}" type="pres">
      <dgm:prSet presAssocID="{A255A22F-A7B4-42EE-8441-EC145B63BA3B}" presName="horz1" presStyleCnt="0"/>
      <dgm:spPr/>
    </dgm:pt>
    <dgm:pt modelId="{C74D0E37-1F8F-44B1-8ED3-598E62DC0516}" type="pres">
      <dgm:prSet presAssocID="{A255A22F-A7B4-42EE-8441-EC145B63BA3B}" presName="tx1" presStyleLbl="revTx" presStyleIdx="3" presStyleCnt="4"/>
      <dgm:spPr/>
    </dgm:pt>
    <dgm:pt modelId="{BC6146E7-F634-4E8D-9361-F8D67B2F6DBF}" type="pres">
      <dgm:prSet presAssocID="{A255A22F-A7B4-42EE-8441-EC145B63BA3B}" presName="vert1" presStyleCnt="0"/>
      <dgm:spPr/>
    </dgm:pt>
  </dgm:ptLst>
  <dgm:cxnLst>
    <dgm:cxn modelId="{31384E00-E149-4E8A-B84E-B9EAB9209A70}" srcId="{597CD17B-6C3A-402A-B02A-7D4BC23DA4E9}" destId="{9FB26EEA-D04A-48FF-99BF-2582E86F4287}" srcOrd="0" destOrd="0" parTransId="{8AC2AF0E-F3E0-441A-9B13-09347A04E0EE}" sibTransId="{BFB8681B-82F7-4864-B78F-90A3608F4A7A}"/>
    <dgm:cxn modelId="{FB78F431-5779-436E-82DA-B17801F67C95}" type="presOf" srcId="{06FF54FC-5C33-4C73-A377-100AB7A65BE6}" destId="{47F67E1A-A422-4415-BF61-00C0A6897C5F}" srcOrd="0" destOrd="0" presId="urn:microsoft.com/office/officeart/2008/layout/LinedList"/>
    <dgm:cxn modelId="{615DBD3F-6FE5-4183-B26B-DAC0431CFDD3}" type="presOf" srcId="{575A9558-C52B-476A-A1A4-261D969495E9}" destId="{B240F05D-2BBA-4C57-987A-AF4597E57468}" srcOrd="0" destOrd="0" presId="urn:microsoft.com/office/officeart/2008/layout/LinedList"/>
    <dgm:cxn modelId="{49054340-1CB2-4D2B-8710-E344117E4EDF}" type="presOf" srcId="{9FB26EEA-D04A-48FF-99BF-2582E86F4287}" destId="{92B8CCB3-105A-4A21-B390-46B84BF6DA5A}" srcOrd="0" destOrd="0" presId="urn:microsoft.com/office/officeart/2008/layout/LinedList"/>
    <dgm:cxn modelId="{D18923A6-19CD-4E6D-AC6A-D00B371C4990}" type="presOf" srcId="{A255A22F-A7B4-42EE-8441-EC145B63BA3B}" destId="{C74D0E37-1F8F-44B1-8ED3-598E62DC0516}" srcOrd="0" destOrd="0" presId="urn:microsoft.com/office/officeart/2008/layout/LinedList"/>
    <dgm:cxn modelId="{D26704A9-7418-4E8E-8106-F41587544861}" srcId="{597CD17B-6C3A-402A-B02A-7D4BC23DA4E9}" destId="{06FF54FC-5C33-4C73-A377-100AB7A65BE6}" srcOrd="1" destOrd="0" parTransId="{EDD37804-ADDE-4874-9CFF-32CBD85381F1}" sibTransId="{A6B98331-DD4E-40CB-967B-BD292B037753}"/>
    <dgm:cxn modelId="{EDDE57B3-05B2-4E1C-BD6E-2A577E3C2CBE}" type="presOf" srcId="{597CD17B-6C3A-402A-B02A-7D4BC23DA4E9}" destId="{6F3681B6-1507-4C3B-B022-66CEF50104C8}" srcOrd="0" destOrd="0" presId="urn:microsoft.com/office/officeart/2008/layout/LinedList"/>
    <dgm:cxn modelId="{89D213BA-A903-4038-B27E-5738FA67737C}" srcId="{597CD17B-6C3A-402A-B02A-7D4BC23DA4E9}" destId="{575A9558-C52B-476A-A1A4-261D969495E9}" srcOrd="2" destOrd="0" parTransId="{BF3F9058-483D-4D7F-B0E3-DCF0023A323F}" sibTransId="{AEAB29AF-C431-4FB7-B932-71201C548870}"/>
    <dgm:cxn modelId="{AF6144E3-3623-472D-9DA8-E59B6DDFEC57}" srcId="{597CD17B-6C3A-402A-B02A-7D4BC23DA4E9}" destId="{A255A22F-A7B4-42EE-8441-EC145B63BA3B}" srcOrd="3" destOrd="0" parTransId="{5FAF0350-8FE7-4480-B26D-2A69929AC057}" sibTransId="{47261F80-D744-4A4C-86A7-4AC13AA814C2}"/>
    <dgm:cxn modelId="{92E55008-B337-4C5A-B6C9-57445400628E}" type="presParOf" srcId="{6F3681B6-1507-4C3B-B022-66CEF50104C8}" destId="{D70BC7DC-1E06-4E51-821B-4CE836E5F4E7}" srcOrd="0" destOrd="0" presId="urn:microsoft.com/office/officeart/2008/layout/LinedList"/>
    <dgm:cxn modelId="{D9FF5941-0714-498A-952D-DAFAC80FE8E1}" type="presParOf" srcId="{6F3681B6-1507-4C3B-B022-66CEF50104C8}" destId="{D0FD1DCD-3A50-4D37-A2F8-486D4E27B657}" srcOrd="1" destOrd="0" presId="urn:microsoft.com/office/officeart/2008/layout/LinedList"/>
    <dgm:cxn modelId="{E9AF4EB8-5C3C-4459-8C76-5BA0CEF9D653}" type="presParOf" srcId="{D0FD1DCD-3A50-4D37-A2F8-486D4E27B657}" destId="{92B8CCB3-105A-4A21-B390-46B84BF6DA5A}" srcOrd="0" destOrd="0" presId="urn:microsoft.com/office/officeart/2008/layout/LinedList"/>
    <dgm:cxn modelId="{B5D58BF6-5BF9-4B86-95E3-6F37E173873A}" type="presParOf" srcId="{D0FD1DCD-3A50-4D37-A2F8-486D4E27B657}" destId="{533C93D2-DCB7-4E8E-B3E0-2B8070BA9B0B}" srcOrd="1" destOrd="0" presId="urn:microsoft.com/office/officeart/2008/layout/LinedList"/>
    <dgm:cxn modelId="{6AEFDC7C-1713-476A-A6E1-D6066B929533}" type="presParOf" srcId="{6F3681B6-1507-4C3B-B022-66CEF50104C8}" destId="{DEE27F63-37AC-4A30-BF05-68AA502C743E}" srcOrd="2" destOrd="0" presId="urn:microsoft.com/office/officeart/2008/layout/LinedList"/>
    <dgm:cxn modelId="{9879217A-F7F5-4145-9F30-6845DA2B47C0}" type="presParOf" srcId="{6F3681B6-1507-4C3B-B022-66CEF50104C8}" destId="{D483470C-9B0D-4555-8D77-F020AF8CF4BC}" srcOrd="3" destOrd="0" presId="urn:microsoft.com/office/officeart/2008/layout/LinedList"/>
    <dgm:cxn modelId="{40D97805-9528-4823-A2E7-9E901643F6F9}" type="presParOf" srcId="{D483470C-9B0D-4555-8D77-F020AF8CF4BC}" destId="{47F67E1A-A422-4415-BF61-00C0A6897C5F}" srcOrd="0" destOrd="0" presId="urn:microsoft.com/office/officeart/2008/layout/LinedList"/>
    <dgm:cxn modelId="{5F336AC0-446C-4918-8C75-B8CB2FCB87E3}" type="presParOf" srcId="{D483470C-9B0D-4555-8D77-F020AF8CF4BC}" destId="{1BB6C224-725D-4A85-8827-0DD988FD09CC}" srcOrd="1" destOrd="0" presId="urn:microsoft.com/office/officeart/2008/layout/LinedList"/>
    <dgm:cxn modelId="{DDC3EC69-78DC-4F2F-BF76-D8B00235E5BB}" type="presParOf" srcId="{6F3681B6-1507-4C3B-B022-66CEF50104C8}" destId="{D17E4778-24BC-4C8A-AB99-010C137545AE}" srcOrd="4" destOrd="0" presId="urn:microsoft.com/office/officeart/2008/layout/LinedList"/>
    <dgm:cxn modelId="{3708A46C-BB28-492F-9FA6-D97A1769D938}" type="presParOf" srcId="{6F3681B6-1507-4C3B-B022-66CEF50104C8}" destId="{C196099F-8803-49F0-ADE3-986C49758C8B}" srcOrd="5" destOrd="0" presId="urn:microsoft.com/office/officeart/2008/layout/LinedList"/>
    <dgm:cxn modelId="{237D31EA-6FC6-4CC3-A07D-4451F4C3C17E}" type="presParOf" srcId="{C196099F-8803-49F0-ADE3-986C49758C8B}" destId="{B240F05D-2BBA-4C57-987A-AF4597E57468}" srcOrd="0" destOrd="0" presId="urn:microsoft.com/office/officeart/2008/layout/LinedList"/>
    <dgm:cxn modelId="{B5BE9CF0-34D8-4F2D-980D-07FFB48BE9B8}" type="presParOf" srcId="{C196099F-8803-49F0-ADE3-986C49758C8B}" destId="{3AA94C4D-E7DC-4804-821F-52B1CB0DBBF1}" srcOrd="1" destOrd="0" presId="urn:microsoft.com/office/officeart/2008/layout/LinedList"/>
    <dgm:cxn modelId="{E91AEE58-E075-4940-92F4-B52D1212591A}" type="presParOf" srcId="{6F3681B6-1507-4C3B-B022-66CEF50104C8}" destId="{87608EB8-A329-4EA3-9CAA-AC5FDC88EE0B}" srcOrd="6" destOrd="0" presId="urn:microsoft.com/office/officeart/2008/layout/LinedList"/>
    <dgm:cxn modelId="{E3D8727E-F522-4821-9092-96F7D8B398ED}" type="presParOf" srcId="{6F3681B6-1507-4C3B-B022-66CEF50104C8}" destId="{6D9504E5-3C46-4F00-9E71-C6BB79A37A16}" srcOrd="7" destOrd="0" presId="urn:microsoft.com/office/officeart/2008/layout/LinedList"/>
    <dgm:cxn modelId="{C4CB40E1-B32F-4A0C-97E2-F5EAC930E457}" type="presParOf" srcId="{6D9504E5-3C46-4F00-9E71-C6BB79A37A16}" destId="{C74D0E37-1F8F-44B1-8ED3-598E62DC0516}" srcOrd="0" destOrd="0" presId="urn:microsoft.com/office/officeart/2008/layout/LinedList"/>
    <dgm:cxn modelId="{DA465977-E412-4EC6-97AC-13057B4FCB8D}" type="presParOf" srcId="{6D9504E5-3C46-4F00-9E71-C6BB79A37A16}" destId="{BC6146E7-F634-4E8D-9361-F8D67B2F6DBF}" srcOrd="1" destOrd="0" presId="urn:microsoft.com/office/officeart/2008/layout/LinedLis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B50D007F-FFF3-4692-A018-78696C8E4235}" type="doc">
      <dgm:prSet loTypeId="urn:microsoft.com/office/officeart/2005/8/layout/vProcess5" loCatId="process" qsTypeId="urn:microsoft.com/office/officeart/2005/8/quickstyle/simple3" qsCatId="simple" csTypeId="urn:microsoft.com/office/officeart/2005/8/colors/accent2_4" csCatId="accent2" phldr="1"/>
      <dgm:spPr/>
      <dgm:t>
        <a:bodyPr/>
        <a:lstStyle/>
        <a:p>
          <a:endParaRPr lang="en-US"/>
        </a:p>
      </dgm:t>
    </dgm:pt>
    <dgm:pt modelId="{912C7B03-6192-4651-AD0F-8838106E2697}">
      <dgm:prSet/>
      <dgm:spPr/>
      <dgm:t>
        <a:bodyPr/>
        <a:lstStyle/>
        <a:p>
          <a:r>
            <a:rPr lang="en-US" b="1"/>
            <a:t>Develop CFD model: Analyze</a:t>
          </a:r>
          <a:r>
            <a:rPr lang="en-US" b="0"/>
            <a:t> the tubular reactor and develop a strategy for building the CFD model. </a:t>
          </a:r>
          <a:r>
            <a:rPr lang="en-US" b="1"/>
            <a:t>Build</a:t>
          </a:r>
          <a:r>
            <a:rPr lang="en-US" b="0"/>
            <a:t> a CFD model of the full-scale reactor. </a:t>
          </a:r>
          <a:r>
            <a:rPr lang="en-US" b="1"/>
            <a:t>Validate </a:t>
          </a:r>
          <a:r>
            <a:rPr lang="en-US" b="0"/>
            <a:t>the model using results of pilot plant data and laboratory test results. </a:t>
          </a:r>
          <a:r>
            <a:rPr lang="en-US" b="1"/>
            <a:t>Obtain</a:t>
          </a:r>
          <a:r>
            <a:rPr lang="en-US" b="0"/>
            <a:t> pH and temperature at the reactor outlet for inlet conditions representing different recipes.  </a:t>
          </a:r>
        </a:p>
      </dgm:t>
    </dgm:pt>
    <dgm:pt modelId="{7C9DE34D-165B-4FB4-B462-DFC866CCC3CF}" type="parTrans" cxnId="{0C4B73A0-F9C7-4117-A778-FC86508C944B}">
      <dgm:prSet/>
      <dgm:spPr/>
      <dgm:t>
        <a:bodyPr/>
        <a:lstStyle/>
        <a:p>
          <a:endParaRPr lang="en-US"/>
        </a:p>
      </dgm:t>
    </dgm:pt>
    <dgm:pt modelId="{09686F40-426A-4F76-985A-F7EB755E1CD2}" type="sibTrans" cxnId="{0C4B73A0-F9C7-4117-A778-FC86508C944B}">
      <dgm:prSet/>
      <dgm:spPr>
        <a:solidFill>
          <a:srgbClr val="CC0033">
            <a:alpha val="90000"/>
          </a:srgbClr>
        </a:solidFill>
        <a:ln>
          <a:solidFill>
            <a:schemeClr val="accent6">
              <a:alpha val="90000"/>
            </a:schemeClr>
          </a:solidFill>
        </a:ln>
      </dgm:spPr>
      <dgm:t>
        <a:bodyPr/>
        <a:lstStyle/>
        <a:p>
          <a:endParaRPr lang="en-US"/>
        </a:p>
      </dgm:t>
    </dgm:pt>
    <dgm:pt modelId="{7225DDB9-E528-46C6-A90B-9A807DC588DC}">
      <dgm:prSet/>
      <dgm:spPr/>
      <dgm:t>
        <a:bodyPr/>
        <a:lstStyle/>
        <a:p>
          <a:r>
            <a:rPr lang="en-US" b="1" i="0"/>
            <a:t>Produce a DT from the ROM: </a:t>
          </a:r>
          <a:r>
            <a:rPr lang="en-US" b="0" i="0"/>
            <a:t>Export the ROM to a format that is appropriate to be used in control environments (such as SIMULINK). </a:t>
          </a:r>
          <a:endParaRPr lang="en-US"/>
        </a:p>
      </dgm:t>
    </dgm:pt>
    <dgm:pt modelId="{7688C4EA-453F-47E9-92EF-F14CEFBE0AA2}" type="parTrans" cxnId="{30A20E94-6A44-4519-B637-E5E19744B8E4}">
      <dgm:prSet/>
      <dgm:spPr/>
      <dgm:t>
        <a:bodyPr/>
        <a:lstStyle/>
        <a:p>
          <a:endParaRPr lang="en-US"/>
        </a:p>
      </dgm:t>
    </dgm:pt>
    <dgm:pt modelId="{D86CC92F-11A1-4767-BA1A-4A5B1541BC77}" type="sibTrans" cxnId="{30A20E94-6A44-4519-B637-E5E19744B8E4}">
      <dgm:prSet/>
      <dgm:spPr/>
      <dgm:t>
        <a:bodyPr/>
        <a:lstStyle/>
        <a:p>
          <a:endParaRPr lang="en-US"/>
        </a:p>
      </dgm:t>
    </dgm:pt>
    <dgm:pt modelId="{008CC418-D9F9-4C38-9D7F-4A0F55D16BC4}">
      <dgm:prSet/>
      <dgm:spPr/>
      <dgm:t>
        <a:bodyPr/>
        <a:lstStyle/>
        <a:p>
          <a:r>
            <a:rPr lang="en-US" b="1"/>
            <a:t>Produce a reduced order model (ROM) from CFD simulations</a:t>
          </a:r>
          <a:r>
            <a:rPr lang="en-US" b="0" i="0"/>
            <a:t>: </a:t>
          </a:r>
          <a:r>
            <a:rPr lang="en-US"/>
            <a:t>ROM is a mathematical representation that reduces the complexity and time of the CFD simulation</a:t>
          </a:r>
          <a:r>
            <a:rPr lang="en-US" b="0" i="0"/>
            <a:t>. The ROM is built from the outputs of several CFD simulations covering a range of values for the inputs of interest. For new set-points, the ROM gives </a:t>
          </a:r>
          <a:r>
            <a:rPr lang="en-US" b="1" i="0"/>
            <a:t>immediate</a:t>
          </a:r>
          <a:r>
            <a:rPr lang="en-US" b="0" i="0"/>
            <a:t> responses.</a:t>
          </a:r>
          <a:endParaRPr lang="en-US"/>
        </a:p>
      </dgm:t>
    </dgm:pt>
    <dgm:pt modelId="{BDC0216D-369C-4415-A404-BA9207BB5062}" type="parTrans" cxnId="{463D385F-93EE-4A4A-AE1C-5BF4DCB585DE}">
      <dgm:prSet/>
      <dgm:spPr/>
      <dgm:t>
        <a:bodyPr/>
        <a:lstStyle/>
        <a:p>
          <a:endParaRPr lang="sv-SE"/>
        </a:p>
      </dgm:t>
    </dgm:pt>
    <dgm:pt modelId="{ADAABC8D-58FC-4D13-A12C-D27DDECBEB0E}" type="sibTrans" cxnId="{463D385F-93EE-4A4A-AE1C-5BF4DCB585DE}">
      <dgm:prSet/>
      <dgm:spPr>
        <a:solidFill>
          <a:schemeClr val="accent1">
            <a:alpha val="90000"/>
          </a:schemeClr>
        </a:solidFill>
      </dgm:spPr>
      <dgm:t>
        <a:bodyPr/>
        <a:lstStyle/>
        <a:p>
          <a:endParaRPr lang="sv-SE"/>
        </a:p>
      </dgm:t>
    </dgm:pt>
    <dgm:pt modelId="{D96D0978-32A8-4F5A-87F1-31EFB557E591}" type="pres">
      <dgm:prSet presAssocID="{B50D007F-FFF3-4692-A018-78696C8E4235}" presName="outerComposite" presStyleCnt="0">
        <dgm:presLayoutVars>
          <dgm:chMax val="5"/>
          <dgm:dir/>
          <dgm:resizeHandles val="exact"/>
        </dgm:presLayoutVars>
      </dgm:prSet>
      <dgm:spPr/>
    </dgm:pt>
    <dgm:pt modelId="{5186B1BA-872C-4C13-8537-53B8440A5178}" type="pres">
      <dgm:prSet presAssocID="{B50D007F-FFF3-4692-A018-78696C8E4235}" presName="dummyMaxCanvas" presStyleCnt="0">
        <dgm:presLayoutVars/>
      </dgm:prSet>
      <dgm:spPr/>
    </dgm:pt>
    <dgm:pt modelId="{41C8BBC3-303E-4DF4-B119-72B973921D0A}" type="pres">
      <dgm:prSet presAssocID="{B50D007F-FFF3-4692-A018-78696C8E4235}" presName="ThreeNodes_1" presStyleLbl="node1" presStyleIdx="0" presStyleCnt="3">
        <dgm:presLayoutVars>
          <dgm:bulletEnabled val="1"/>
        </dgm:presLayoutVars>
      </dgm:prSet>
      <dgm:spPr/>
    </dgm:pt>
    <dgm:pt modelId="{68D56729-AD41-46B2-9C0B-EAF065C6894E}" type="pres">
      <dgm:prSet presAssocID="{B50D007F-FFF3-4692-A018-78696C8E4235}" presName="ThreeNodes_2" presStyleLbl="node1" presStyleIdx="1" presStyleCnt="3">
        <dgm:presLayoutVars>
          <dgm:bulletEnabled val="1"/>
        </dgm:presLayoutVars>
      </dgm:prSet>
      <dgm:spPr/>
    </dgm:pt>
    <dgm:pt modelId="{1F2A7C0D-663F-42A8-9C20-2D37322BE7CB}" type="pres">
      <dgm:prSet presAssocID="{B50D007F-FFF3-4692-A018-78696C8E4235}" presName="ThreeNodes_3" presStyleLbl="node1" presStyleIdx="2" presStyleCnt="3">
        <dgm:presLayoutVars>
          <dgm:bulletEnabled val="1"/>
        </dgm:presLayoutVars>
      </dgm:prSet>
      <dgm:spPr/>
    </dgm:pt>
    <dgm:pt modelId="{240B2BB7-84D2-46D8-8088-CFF2A45461D2}" type="pres">
      <dgm:prSet presAssocID="{B50D007F-FFF3-4692-A018-78696C8E4235}" presName="ThreeConn_1-2" presStyleLbl="fgAccFollowNode1" presStyleIdx="0" presStyleCnt="2">
        <dgm:presLayoutVars>
          <dgm:bulletEnabled val="1"/>
        </dgm:presLayoutVars>
      </dgm:prSet>
      <dgm:spPr/>
    </dgm:pt>
    <dgm:pt modelId="{CFE174CA-E2F5-4F2E-AFEF-EC05AEE67155}" type="pres">
      <dgm:prSet presAssocID="{B50D007F-FFF3-4692-A018-78696C8E4235}" presName="ThreeConn_2-3" presStyleLbl="fgAccFollowNode1" presStyleIdx="1" presStyleCnt="2">
        <dgm:presLayoutVars>
          <dgm:bulletEnabled val="1"/>
        </dgm:presLayoutVars>
      </dgm:prSet>
      <dgm:spPr/>
    </dgm:pt>
    <dgm:pt modelId="{3444C587-8458-4C7F-B2DF-7F88A9D8BEA9}" type="pres">
      <dgm:prSet presAssocID="{B50D007F-FFF3-4692-A018-78696C8E4235}" presName="ThreeNodes_1_text" presStyleLbl="node1" presStyleIdx="2" presStyleCnt="3">
        <dgm:presLayoutVars>
          <dgm:bulletEnabled val="1"/>
        </dgm:presLayoutVars>
      </dgm:prSet>
      <dgm:spPr/>
    </dgm:pt>
    <dgm:pt modelId="{CBE60288-F35A-438D-BA2A-36408D5A71E9}" type="pres">
      <dgm:prSet presAssocID="{B50D007F-FFF3-4692-A018-78696C8E4235}" presName="ThreeNodes_2_text" presStyleLbl="node1" presStyleIdx="2" presStyleCnt="3">
        <dgm:presLayoutVars>
          <dgm:bulletEnabled val="1"/>
        </dgm:presLayoutVars>
      </dgm:prSet>
      <dgm:spPr/>
    </dgm:pt>
    <dgm:pt modelId="{EA37DD2C-CABC-45DD-A52B-55A6C93D8525}" type="pres">
      <dgm:prSet presAssocID="{B50D007F-FFF3-4692-A018-78696C8E4235}" presName="ThreeNodes_3_text" presStyleLbl="node1" presStyleIdx="2" presStyleCnt="3">
        <dgm:presLayoutVars>
          <dgm:bulletEnabled val="1"/>
        </dgm:presLayoutVars>
      </dgm:prSet>
      <dgm:spPr/>
    </dgm:pt>
  </dgm:ptLst>
  <dgm:cxnLst>
    <dgm:cxn modelId="{EFCBD200-9FDB-48D5-AA61-63EA7939DB83}" type="presOf" srcId="{008CC418-D9F9-4C38-9D7F-4A0F55D16BC4}" destId="{68D56729-AD41-46B2-9C0B-EAF065C6894E}" srcOrd="0" destOrd="0" presId="urn:microsoft.com/office/officeart/2005/8/layout/vProcess5"/>
    <dgm:cxn modelId="{94AC1940-2838-4412-ABC8-79E0CFBE421A}" type="presOf" srcId="{008CC418-D9F9-4C38-9D7F-4A0F55D16BC4}" destId="{CBE60288-F35A-438D-BA2A-36408D5A71E9}" srcOrd="1" destOrd="0" presId="urn:microsoft.com/office/officeart/2005/8/layout/vProcess5"/>
    <dgm:cxn modelId="{463D385F-93EE-4A4A-AE1C-5BF4DCB585DE}" srcId="{B50D007F-FFF3-4692-A018-78696C8E4235}" destId="{008CC418-D9F9-4C38-9D7F-4A0F55D16BC4}" srcOrd="1" destOrd="0" parTransId="{BDC0216D-369C-4415-A404-BA9207BB5062}" sibTransId="{ADAABC8D-58FC-4D13-A12C-D27DDECBEB0E}"/>
    <dgm:cxn modelId="{A3E56A65-0E57-41C3-8528-39EACB1D42A7}" type="presOf" srcId="{B50D007F-FFF3-4692-A018-78696C8E4235}" destId="{D96D0978-32A8-4F5A-87F1-31EFB557E591}" srcOrd="0" destOrd="0" presId="urn:microsoft.com/office/officeart/2005/8/layout/vProcess5"/>
    <dgm:cxn modelId="{81A9E06D-CE99-42FA-A591-A8663041C0B9}" type="presOf" srcId="{912C7B03-6192-4651-AD0F-8838106E2697}" destId="{3444C587-8458-4C7F-B2DF-7F88A9D8BEA9}" srcOrd="1" destOrd="0" presId="urn:microsoft.com/office/officeart/2005/8/layout/vProcess5"/>
    <dgm:cxn modelId="{313F817C-98A9-4DF3-8275-731E89C52166}" type="presOf" srcId="{912C7B03-6192-4651-AD0F-8838106E2697}" destId="{41C8BBC3-303E-4DF4-B119-72B973921D0A}" srcOrd="0" destOrd="0" presId="urn:microsoft.com/office/officeart/2005/8/layout/vProcess5"/>
    <dgm:cxn modelId="{C789F37F-0330-448D-9553-2C3261729A8A}" type="presOf" srcId="{7225DDB9-E528-46C6-A90B-9A807DC588DC}" destId="{1F2A7C0D-663F-42A8-9C20-2D37322BE7CB}" srcOrd="0" destOrd="0" presId="urn:microsoft.com/office/officeart/2005/8/layout/vProcess5"/>
    <dgm:cxn modelId="{30A20E94-6A44-4519-B637-E5E19744B8E4}" srcId="{B50D007F-FFF3-4692-A018-78696C8E4235}" destId="{7225DDB9-E528-46C6-A90B-9A807DC588DC}" srcOrd="2" destOrd="0" parTransId="{7688C4EA-453F-47E9-92EF-F14CEFBE0AA2}" sibTransId="{D86CC92F-11A1-4767-BA1A-4A5B1541BC77}"/>
    <dgm:cxn modelId="{0C4B73A0-F9C7-4117-A778-FC86508C944B}" srcId="{B50D007F-FFF3-4692-A018-78696C8E4235}" destId="{912C7B03-6192-4651-AD0F-8838106E2697}" srcOrd="0" destOrd="0" parTransId="{7C9DE34D-165B-4FB4-B462-DFC866CCC3CF}" sibTransId="{09686F40-426A-4F76-985A-F7EB755E1CD2}"/>
    <dgm:cxn modelId="{A1FD1AD4-15B8-4E22-960C-B5694273E672}" type="presOf" srcId="{09686F40-426A-4F76-985A-F7EB755E1CD2}" destId="{240B2BB7-84D2-46D8-8088-CFF2A45461D2}" srcOrd="0" destOrd="0" presId="urn:microsoft.com/office/officeart/2005/8/layout/vProcess5"/>
    <dgm:cxn modelId="{9FFA2DDE-DC93-459B-89CB-54EBBC9565F2}" type="presOf" srcId="{ADAABC8D-58FC-4D13-A12C-D27DDECBEB0E}" destId="{CFE174CA-E2F5-4F2E-AFEF-EC05AEE67155}" srcOrd="0" destOrd="0" presId="urn:microsoft.com/office/officeart/2005/8/layout/vProcess5"/>
    <dgm:cxn modelId="{EAEF0FEE-708E-4ABB-8E22-5A4FA29913F6}" type="presOf" srcId="{7225DDB9-E528-46C6-A90B-9A807DC588DC}" destId="{EA37DD2C-CABC-45DD-A52B-55A6C93D8525}" srcOrd="1" destOrd="0" presId="urn:microsoft.com/office/officeart/2005/8/layout/vProcess5"/>
    <dgm:cxn modelId="{E434C551-689B-4B3A-B646-6E2C157DC2F6}" type="presParOf" srcId="{D96D0978-32A8-4F5A-87F1-31EFB557E591}" destId="{5186B1BA-872C-4C13-8537-53B8440A5178}" srcOrd="0" destOrd="0" presId="urn:microsoft.com/office/officeart/2005/8/layout/vProcess5"/>
    <dgm:cxn modelId="{EBCE1A8C-0EBE-47D1-BFF6-82305353D84C}" type="presParOf" srcId="{D96D0978-32A8-4F5A-87F1-31EFB557E591}" destId="{41C8BBC3-303E-4DF4-B119-72B973921D0A}" srcOrd="1" destOrd="0" presId="urn:microsoft.com/office/officeart/2005/8/layout/vProcess5"/>
    <dgm:cxn modelId="{4CF3D668-0FEC-45ED-BD2E-A8F9C8041B4C}" type="presParOf" srcId="{D96D0978-32A8-4F5A-87F1-31EFB557E591}" destId="{68D56729-AD41-46B2-9C0B-EAF065C6894E}" srcOrd="2" destOrd="0" presId="urn:microsoft.com/office/officeart/2005/8/layout/vProcess5"/>
    <dgm:cxn modelId="{01D9C493-0CB8-45C4-BF4E-9465732C7D9E}" type="presParOf" srcId="{D96D0978-32A8-4F5A-87F1-31EFB557E591}" destId="{1F2A7C0D-663F-42A8-9C20-2D37322BE7CB}" srcOrd="3" destOrd="0" presId="urn:microsoft.com/office/officeart/2005/8/layout/vProcess5"/>
    <dgm:cxn modelId="{931B9BAE-C056-48E2-9C94-7CE860E33590}" type="presParOf" srcId="{D96D0978-32A8-4F5A-87F1-31EFB557E591}" destId="{240B2BB7-84D2-46D8-8088-CFF2A45461D2}" srcOrd="4" destOrd="0" presId="urn:microsoft.com/office/officeart/2005/8/layout/vProcess5"/>
    <dgm:cxn modelId="{D1657E97-C130-4C2F-A53F-AEFFE1BAD814}" type="presParOf" srcId="{D96D0978-32A8-4F5A-87F1-31EFB557E591}" destId="{CFE174CA-E2F5-4F2E-AFEF-EC05AEE67155}" srcOrd="5" destOrd="0" presId="urn:microsoft.com/office/officeart/2005/8/layout/vProcess5"/>
    <dgm:cxn modelId="{D9A50AEF-F555-46DC-9090-33477C91182E}" type="presParOf" srcId="{D96D0978-32A8-4F5A-87F1-31EFB557E591}" destId="{3444C587-8458-4C7F-B2DF-7F88A9D8BEA9}" srcOrd="6" destOrd="0" presId="urn:microsoft.com/office/officeart/2005/8/layout/vProcess5"/>
    <dgm:cxn modelId="{FCA6387C-D031-4042-81F3-4EF821671A25}" type="presParOf" srcId="{D96D0978-32A8-4F5A-87F1-31EFB557E591}" destId="{CBE60288-F35A-438D-BA2A-36408D5A71E9}" srcOrd="7" destOrd="0" presId="urn:microsoft.com/office/officeart/2005/8/layout/vProcess5"/>
    <dgm:cxn modelId="{7EC7A782-8C37-418B-9FD3-B2F16951673C}" type="presParOf" srcId="{D96D0978-32A8-4F5A-87F1-31EFB557E591}" destId="{EA37DD2C-CABC-45DD-A52B-55A6C93D8525}" srcOrd="8" destOrd="0" presId="urn:microsoft.com/office/officeart/2005/8/layout/vProcess5"/>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14205B02-E99F-4E7A-9D76-8E12DAF939A5}" type="doc">
      <dgm:prSet loTypeId="urn:microsoft.com/office/officeart/2005/8/layout/vList4" loCatId="list" qsTypeId="urn:microsoft.com/office/officeart/2005/8/quickstyle/simple1" qsCatId="simple" csTypeId="urn:microsoft.com/office/officeart/2005/8/colors/accent1_1" csCatId="accent1" phldr="1"/>
      <dgm:spPr/>
      <dgm:t>
        <a:bodyPr/>
        <a:lstStyle/>
        <a:p>
          <a:endParaRPr lang="sv-SE"/>
        </a:p>
      </dgm:t>
    </dgm:pt>
    <dgm:pt modelId="{B1CBCE0F-0A94-4724-90B4-85D18BDB2406}">
      <dgm:prSet phldrT="[Text]"/>
      <dgm:spPr/>
      <dgm:t>
        <a:bodyPr/>
        <a:lstStyle/>
        <a:p>
          <a:r>
            <a:rPr lang="sv-SE" err="1"/>
            <a:t>Environmental</a:t>
          </a:r>
          <a:r>
            <a:rPr lang="sv-SE"/>
            <a:t> LCA – E-LCA </a:t>
          </a:r>
        </a:p>
      </dgm:t>
    </dgm:pt>
    <dgm:pt modelId="{79456DF3-71CD-4F63-AA11-493243BB03A9}" type="parTrans" cxnId="{C28EA7CC-D443-4046-B0F8-323848053A8F}">
      <dgm:prSet/>
      <dgm:spPr/>
      <dgm:t>
        <a:bodyPr/>
        <a:lstStyle/>
        <a:p>
          <a:endParaRPr lang="sv-SE"/>
        </a:p>
      </dgm:t>
    </dgm:pt>
    <dgm:pt modelId="{3AA64C17-217D-4F4A-A61E-711522D7367B}" type="sibTrans" cxnId="{C28EA7CC-D443-4046-B0F8-323848053A8F}">
      <dgm:prSet/>
      <dgm:spPr/>
      <dgm:t>
        <a:bodyPr/>
        <a:lstStyle/>
        <a:p>
          <a:endParaRPr lang="sv-SE"/>
        </a:p>
      </dgm:t>
    </dgm:pt>
    <dgm:pt modelId="{3318A609-6850-460C-A94F-3B9CD725D7BD}">
      <dgm:prSet phldrT="[Text]"/>
      <dgm:spPr/>
      <dgm:t>
        <a:bodyPr/>
        <a:lstStyle/>
        <a:p>
          <a:r>
            <a:rPr lang="sv-SE" err="1"/>
            <a:t>Assess</a:t>
          </a:r>
          <a:r>
            <a:rPr lang="sv-SE"/>
            <a:t> the </a:t>
          </a:r>
          <a:r>
            <a:rPr lang="sv-SE" err="1"/>
            <a:t>envionmental</a:t>
          </a:r>
          <a:r>
            <a:rPr lang="sv-SE"/>
            <a:t> </a:t>
          </a:r>
          <a:r>
            <a:rPr lang="sv-SE" err="1"/>
            <a:t>impact</a:t>
          </a:r>
          <a:r>
            <a:rPr lang="sv-SE"/>
            <a:t> </a:t>
          </a:r>
          <a:r>
            <a:rPr lang="sv-SE" err="1"/>
            <a:t>of</a:t>
          </a:r>
          <a:r>
            <a:rPr lang="sv-SE"/>
            <a:t> a </a:t>
          </a:r>
          <a:r>
            <a:rPr lang="sv-SE" err="1"/>
            <a:t>product</a:t>
          </a:r>
          <a:r>
            <a:rPr lang="sv-SE"/>
            <a:t>/service</a:t>
          </a:r>
        </a:p>
      </dgm:t>
    </dgm:pt>
    <dgm:pt modelId="{8B80E452-5B70-446C-A2FB-0DE672DFC0E8}" type="parTrans" cxnId="{19565CF3-216A-4A18-96A2-708FA8CE7AFE}">
      <dgm:prSet/>
      <dgm:spPr/>
      <dgm:t>
        <a:bodyPr/>
        <a:lstStyle/>
        <a:p>
          <a:endParaRPr lang="sv-SE"/>
        </a:p>
      </dgm:t>
    </dgm:pt>
    <dgm:pt modelId="{DBF63655-CCB8-4A8B-AE00-024189AB65BA}" type="sibTrans" cxnId="{19565CF3-216A-4A18-96A2-708FA8CE7AFE}">
      <dgm:prSet/>
      <dgm:spPr/>
      <dgm:t>
        <a:bodyPr/>
        <a:lstStyle/>
        <a:p>
          <a:endParaRPr lang="sv-SE"/>
        </a:p>
      </dgm:t>
    </dgm:pt>
    <dgm:pt modelId="{0BDC5E8B-AA6E-49EB-A348-295971C25043}">
      <dgm:prSet phldrT="[Text]"/>
      <dgm:spPr/>
      <dgm:t>
        <a:bodyPr/>
        <a:lstStyle/>
        <a:p>
          <a:r>
            <a:rPr lang="sv-SE"/>
            <a:t>Life </a:t>
          </a:r>
          <a:r>
            <a:rPr lang="sv-SE" err="1"/>
            <a:t>cycle</a:t>
          </a:r>
          <a:r>
            <a:rPr lang="sv-SE"/>
            <a:t> </a:t>
          </a:r>
          <a:r>
            <a:rPr lang="sv-SE" err="1"/>
            <a:t>costing</a:t>
          </a:r>
          <a:r>
            <a:rPr lang="sv-SE"/>
            <a:t> – LCC</a:t>
          </a:r>
        </a:p>
      </dgm:t>
    </dgm:pt>
    <dgm:pt modelId="{486838FD-7B22-4D39-9AE3-59FB653F0057}" type="parTrans" cxnId="{E94402D5-C615-4A27-94A3-B4B0A9520977}">
      <dgm:prSet/>
      <dgm:spPr/>
      <dgm:t>
        <a:bodyPr/>
        <a:lstStyle/>
        <a:p>
          <a:endParaRPr lang="sv-SE"/>
        </a:p>
      </dgm:t>
    </dgm:pt>
    <dgm:pt modelId="{E0B06E2E-B827-4880-9B83-0EAB4897502C}" type="sibTrans" cxnId="{E94402D5-C615-4A27-94A3-B4B0A9520977}">
      <dgm:prSet/>
      <dgm:spPr/>
      <dgm:t>
        <a:bodyPr/>
        <a:lstStyle/>
        <a:p>
          <a:endParaRPr lang="sv-SE"/>
        </a:p>
      </dgm:t>
    </dgm:pt>
    <dgm:pt modelId="{97A4003F-D801-4091-81BB-5D9DE35FC69E}">
      <dgm:prSet phldrT="[Text]"/>
      <dgm:spPr/>
      <dgm:t>
        <a:bodyPr/>
        <a:lstStyle/>
        <a:p>
          <a:r>
            <a:rPr lang="sv-SE" err="1"/>
            <a:t>Quantifying</a:t>
          </a:r>
          <a:r>
            <a:rPr lang="sv-SE"/>
            <a:t> the </a:t>
          </a:r>
          <a:r>
            <a:rPr lang="sv-SE" err="1"/>
            <a:t>costs</a:t>
          </a:r>
          <a:r>
            <a:rPr lang="sv-SE"/>
            <a:t> </a:t>
          </a:r>
          <a:r>
            <a:rPr lang="sv-SE" err="1"/>
            <a:t>that</a:t>
          </a:r>
          <a:r>
            <a:rPr lang="sv-SE"/>
            <a:t> </a:t>
          </a:r>
          <a:r>
            <a:rPr lang="sv-SE" err="1"/>
            <a:t>will</a:t>
          </a:r>
          <a:r>
            <a:rPr lang="sv-SE"/>
            <a:t> be </a:t>
          </a:r>
          <a:r>
            <a:rPr lang="sv-SE" err="1"/>
            <a:t>incured</a:t>
          </a:r>
          <a:r>
            <a:rPr lang="sv-SE"/>
            <a:t> </a:t>
          </a:r>
          <a:r>
            <a:rPr lang="sv-SE" err="1"/>
            <a:t>during</a:t>
          </a:r>
          <a:r>
            <a:rPr lang="sv-SE"/>
            <a:t> the </a:t>
          </a:r>
          <a:r>
            <a:rPr lang="sv-SE" err="1"/>
            <a:t>life</a:t>
          </a:r>
          <a:r>
            <a:rPr lang="sv-SE"/>
            <a:t> </a:t>
          </a:r>
          <a:r>
            <a:rPr lang="sv-SE" err="1"/>
            <a:t>cycle</a:t>
          </a:r>
          <a:r>
            <a:rPr lang="sv-SE"/>
            <a:t> </a:t>
          </a:r>
          <a:r>
            <a:rPr lang="sv-SE" err="1"/>
            <a:t>of</a:t>
          </a:r>
          <a:r>
            <a:rPr lang="sv-SE"/>
            <a:t> a </a:t>
          </a:r>
          <a:r>
            <a:rPr lang="sv-SE" err="1"/>
            <a:t>product</a:t>
          </a:r>
          <a:r>
            <a:rPr lang="sv-SE"/>
            <a:t>/service</a:t>
          </a:r>
        </a:p>
      </dgm:t>
    </dgm:pt>
    <dgm:pt modelId="{4D7BA4F1-4298-44F9-9ADA-4AC8B8F85446}" type="sibTrans" cxnId="{3E19E3FD-65EE-4AEA-9DAC-B86E54E46901}">
      <dgm:prSet/>
      <dgm:spPr/>
      <dgm:t>
        <a:bodyPr/>
        <a:lstStyle/>
        <a:p>
          <a:endParaRPr lang="sv-SE"/>
        </a:p>
      </dgm:t>
    </dgm:pt>
    <dgm:pt modelId="{CE4EE743-6A00-45E5-85ED-41B85FF6B4EE}" type="parTrans" cxnId="{3E19E3FD-65EE-4AEA-9DAC-B86E54E46901}">
      <dgm:prSet/>
      <dgm:spPr/>
      <dgm:t>
        <a:bodyPr/>
        <a:lstStyle/>
        <a:p>
          <a:endParaRPr lang="sv-SE"/>
        </a:p>
      </dgm:t>
    </dgm:pt>
    <dgm:pt modelId="{149212E0-3C03-439A-8870-9F0D63244FD1}">
      <dgm:prSet phldrT="[Text]"/>
      <dgm:spPr/>
      <dgm:t>
        <a:bodyPr/>
        <a:lstStyle/>
        <a:p>
          <a:r>
            <a:rPr lang="sv-SE"/>
            <a:t>Social LCA – S-LCA</a:t>
          </a:r>
        </a:p>
      </dgm:t>
    </dgm:pt>
    <dgm:pt modelId="{CABEA5E4-E8E8-4308-809E-07E1F5DF22A0}" type="parTrans" cxnId="{14A80C2A-80E2-4E7A-8FE2-40CDA6412BB7}">
      <dgm:prSet/>
      <dgm:spPr/>
      <dgm:t>
        <a:bodyPr/>
        <a:lstStyle/>
        <a:p>
          <a:endParaRPr lang="sv-SE"/>
        </a:p>
      </dgm:t>
    </dgm:pt>
    <dgm:pt modelId="{D34BA121-33CB-49AD-B897-55ED60C3D8CC}" type="sibTrans" cxnId="{14A80C2A-80E2-4E7A-8FE2-40CDA6412BB7}">
      <dgm:prSet/>
      <dgm:spPr/>
      <dgm:t>
        <a:bodyPr/>
        <a:lstStyle/>
        <a:p>
          <a:endParaRPr lang="sv-SE"/>
        </a:p>
      </dgm:t>
    </dgm:pt>
    <dgm:pt modelId="{F4591F3A-A313-4105-8966-FC098FA54ED1}">
      <dgm:prSet phldrT="[Text]"/>
      <dgm:spPr/>
      <dgm:t>
        <a:bodyPr/>
        <a:lstStyle/>
        <a:p>
          <a:r>
            <a:rPr lang="sv-SE" err="1"/>
            <a:t>Assessing</a:t>
          </a:r>
          <a:r>
            <a:rPr lang="sv-SE"/>
            <a:t> the social </a:t>
          </a:r>
          <a:r>
            <a:rPr lang="sv-SE" err="1"/>
            <a:t>impact</a:t>
          </a:r>
          <a:r>
            <a:rPr lang="sv-SE"/>
            <a:t> </a:t>
          </a:r>
          <a:r>
            <a:rPr lang="sv-SE" err="1"/>
            <a:t>of</a:t>
          </a:r>
          <a:r>
            <a:rPr lang="sv-SE"/>
            <a:t> a </a:t>
          </a:r>
          <a:r>
            <a:rPr lang="sv-SE" err="1"/>
            <a:t>product</a:t>
          </a:r>
          <a:r>
            <a:rPr lang="sv-SE"/>
            <a:t>/service </a:t>
          </a:r>
        </a:p>
      </dgm:t>
    </dgm:pt>
    <dgm:pt modelId="{E4A9CFE8-E283-4EAB-9165-DE4ECA1D70B2}" type="parTrans" cxnId="{0B927257-9754-4F64-94D9-5B5B241F00C4}">
      <dgm:prSet/>
      <dgm:spPr/>
      <dgm:t>
        <a:bodyPr/>
        <a:lstStyle/>
        <a:p>
          <a:endParaRPr lang="sv-SE"/>
        </a:p>
      </dgm:t>
    </dgm:pt>
    <dgm:pt modelId="{A3C54EFB-70A0-4947-B51A-598A57A6E2FE}" type="sibTrans" cxnId="{0B927257-9754-4F64-94D9-5B5B241F00C4}">
      <dgm:prSet/>
      <dgm:spPr/>
      <dgm:t>
        <a:bodyPr/>
        <a:lstStyle/>
        <a:p>
          <a:endParaRPr lang="sv-SE"/>
        </a:p>
      </dgm:t>
    </dgm:pt>
    <dgm:pt modelId="{316BA1C9-F732-44EA-9C97-DEDB6A2D9BAC}" type="pres">
      <dgm:prSet presAssocID="{14205B02-E99F-4E7A-9D76-8E12DAF939A5}" presName="linear" presStyleCnt="0">
        <dgm:presLayoutVars>
          <dgm:dir/>
          <dgm:resizeHandles val="exact"/>
        </dgm:presLayoutVars>
      </dgm:prSet>
      <dgm:spPr/>
    </dgm:pt>
    <dgm:pt modelId="{5412C3F0-A729-4D69-B287-80A425D0EBE2}" type="pres">
      <dgm:prSet presAssocID="{B1CBCE0F-0A94-4724-90B4-85D18BDB2406}" presName="comp" presStyleCnt="0"/>
      <dgm:spPr/>
    </dgm:pt>
    <dgm:pt modelId="{43B29FFE-F0FB-46C0-A450-E34DF803ECD1}" type="pres">
      <dgm:prSet presAssocID="{B1CBCE0F-0A94-4724-90B4-85D18BDB2406}" presName="box" presStyleLbl="node1" presStyleIdx="0" presStyleCnt="3" custLinFactNeighborX="-839"/>
      <dgm:spPr/>
    </dgm:pt>
    <dgm:pt modelId="{ED4330B6-A97C-4A53-B54B-E6323C753690}" type="pres">
      <dgm:prSet presAssocID="{B1CBCE0F-0A94-4724-90B4-85D18BDB2406}" presName="img" presStyleLbl="fgImgPlace1" presStyleIdx="0" presStyleCnt="3"/>
      <dgm:spPr>
        <a:blipFill>
          <a:blip xmlns:r="http://schemas.openxmlformats.org/officeDocument/2006/relationships" r:embed="rId1">
            <a:extLst>
              <a:ext uri="{28A0092B-C50C-407E-A947-70E740481C1C}">
                <a14:useLocalDpi xmlns:a14="http://schemas.microsoft.com/office/drawing/2010/main" val="0"/>
              </a:ext>
            </a:extLst>
          </a:blip>
          <a:srcRect/>
          <a:stretch>
            <a:fillRect t="-2000" b="-2000"/>
          </a:stretch>
        </a:blipFill>
      </dgm:spPr>
    </dgm:pt>
    <dgm:pt modelId="{D3173C81-994A-4ACC-99E1-8F47E2F5F5AD}" type="pres">
      <dgm:prSet presAssocID="{B1CBCE0F-0A94-4724-90B4-85D18BDB2406}" presName="text" presStyleLbl="node1" presStyleIdx="0" presStyleCnt="3">
        <dgm:presLayoutVars>
          <dgm:bulletEnabled val="1"/>
        </dgm:presLayoutVars>
      </dgm:prSet>
      <dgm:spPr/>
    </dgm:pt>
    <dgm:pt modelId="{3A58C768-0787-4BA0-AA60-1799B69113F2}" type="pres">
      <dgm:prSet presAssocID="{3AA64C17-217D-4F4A-A61E-711522D7367B}" presName="spacer" presStyleCnt="0"/>
      <dgm:spPr/>
    </dgm:pt>
    <dgm:pt modelId="{4A9656B5-8701-44C7-8C90-A64253CBD6A3}" type="pres">
      <dgm:prSet presAssocID="{0BDC5E8B-AA6E-49EB-A348-295971C25043}" presName="comp" presStyleCnt="0"/>
      <dgm:spPr/>
    </dgm:pt>
    <dgm:pt modelId="{5F0D2987-0F79-472B-B341-5FA22BFE2031}" type="pres">
      <dgm:prSet presAssocID="{0BDC5E8B-AA6E-49EB-A348-295971C25043}" presName="box" presStyleLbl="node1" presStyleIdx="1" presStyleCnt="3"/>
      <dgm:spPr/>
    </dgm:pt>
    <dgm:pt modelId="{657C9EB7-EA6A-423A-B56B-2E6CD9A37ED3}" type="pres">
      <dgm:prSet presAssocID="{0BDC5E8B-AA6E-49EB-A348-295971C25043}" presName="img" presStyleLbl="fgImgPlace1" presStyleIdx="1" presStyleCnt="3"/>
      <dgm:spPr>
        <a:blipFill>
          <a:blip xmlns:r="http://schemas.openxmlformats.org/officeDocument/2006/relationships" r:embed="rId2" cstate="print">
            <a:extLst>
              <a:ext uri="{28A0092B-C50C-407E-A947-70E740481C1C}">
                <a14:useLocalDpi xmlns:a14="http://schemas.microsoft.com/office/drawing/2010/main" val="0"/>
              </a:ext>
            </a:extLst>
          </a:blip>
          <a:srcRect/>
          <a:stretch>
            <a:fillRect t="-2000" b="-2000"/>
          </a:stretch>
        </a:blipFill>
      </dgm:spPr>
    </dgm:pt>
    <dgm:pt modelId="{999DD500-243C-47CD-869D-A41BB53BC2AC}" type="pres">
      <dgm:prSet presAssocID="{0BDC5E8B-AA6E-49EB-A348-295971C25043}" presName="text" presStyleLbl="node1" presStyleIdx="1" presStyleCnt="3">
        <dgm:presLayoutVars>
          <dgm:bulletEnabled val="1"/>
        </dgm:presLayoutVars>
      </dgm:prSet>
      <dgm:spPr/>
    </dgm:pt>
    <dgm:pt modelId="{2D371893-AE28-4221-A1BA-43A04DFBD450}" type="pres">
      <dgm:prSet presAssocID="{E0B06E2E-B827-4880-9B83-0EAB4897502C}" presName="spacer" presStyleCnt="0"/>
      <dgm:spPr/>
    </dgm:pt>
    <dgm:pt modelId="{BE55027C-C0B6-462A-B364-818127703943}" type="pres">
      <dgm:prSet presAssocID="{149212E0-3C03-439A-8870-9F0D63244FD1}" presName="comp" presStyleCnt="0"/>
      <dgm:spPr/>
    </dgm:pt>
    <dgm:pt modelId="{69E67C5E-CAD1-4303-90DD-9303D83738ED}" type="pres">
      <dgm:prSet presAssocID="{149212E0-3C03-439A-8870-9F0D63244FD1}" presName="box" presStyleLbl="node1" presStyleIdx="2" presStyleCnt="3"/>
      <dgm:spPr/>
    </dgm:pt>
    <dgm:pt modelId="{CB0130F3-D563-4E42-ADE0-DD4A630D45AE}" type="pres">
      <dgm:prSet presAssocID="{149212E0-3C03-439A-8870-9F0D63244FD1}" presName="img" presStyleLbl="fgImgPlace1" presStyleIdx="2" presStyleCnt="3"/>
      <dgm:spPr>
        <a:blipFill>
          <a:blip xmlns:r="http://schemas.openxmlformats.org/officeDocument/2006/relationships" r:embed="rId3" cstate="print">
            <a:extLst>
              <a:ext uri="{28A0092B-C50C-407E-A947-70E740481C1C}">
                <a14:useLocalDpi xmlns:a14="http://schemas.microsoft.com/office/drawing/2010/main" val="0"/>
              </a:ext>
            </a:extLst>
          </a:blip>
          <a:srcRect/>
          <a:stretch>
            <a:fillRect t="-8000" b="-8000"/>
          </a:stretch>
        </a:blipFill>
      </dgm:spPr>
    </dgm:pt>
    <dgm:pt modelId="{0038BC4B-7DCB-4A73-B431-33A56DB5DAF4}" type="pres">
      <dgm:prSet presAssocID="{149212E0-3C03-439A-8870-9F0D63244FD1}" presName="text" presStyleLbl="node1" presStyleIdx="2" presStyleCnt="3">
        <dgm:presLayoutVars>
          <dgm:bulletEnabled val="1"/>
        </dgm:presLayoutVars>
      </dgm:prSet>
      <dgm:spPr/>
    </dgm:pt>
  </dgm:ptLst>
  <dgm:cxnLst>
    <dgm:cxn modelId="{C688EF23-68CF-47CD-9669-ACE620277D15}" type="presOf" srcId="{14205B02-E99F-4E7A-9D76-8E12DAF939A5}" destId="{316BA1C9-F732-44EA-9C97-DEDB6A2D9BAC}" srcOrd="0" destOrd="0" presId="urn:microsoft.com/office/officeart/2005/8/layout/vList4"/>
    <dgm:cxn modelId="{14A80C2A-80E2-4E7A-8FE2-40CDA6412BB7}" srcId="{14205B02-E99F-4E7A-9D76-8E12DAF939A5}" destId="{149212E0-3C03-439A-8870-9F0D63244FD1}" srcOrd="2" destOrd="0" parTransId="{CABEA5E4-E8E8-4308-809E-07E1F5DF22A0}" sibTransId="{D34BA121-33CB-49AD-B897-55ED60C3D8CC}"/>
    <dgm:cxn modelId="{85C45B37-022A-4740-8A32-6F25B044FDBA}" type="presOf" srcId="{B1CBCE0F-0A94-4724-90B4-85D18BDB2406}" destId="{D3173C81-994A-4ACC-99E1-8F47E2F5F5AD}" srcOrd="1" destOrd="0" presId="urn:microsoft.com/office/officeart/2005/8/layout/vList4"/>
    <dgm:cxn modelId="{C176E541-2F7F-4BFA-857B-8B0A7128E337}" type="presOf" srcId="{F4591F3A-A313-4105-8966-FC098FA54ED1}" destId="{0038BC4B-7DCB-4A73-B431-33A56DB5DAF4}" srcOrd="1" destOrd="1" presId="urn:microsoft.com/office/officeart/2005/8/layout/vList4"/>
    <dgm:cxn modelId="{3C5EEA4A-56F9-467C-BF17-A5580C681894}" type="presOf" srcId="{B1CBCE0F-0A94-4724-90B4-85D18BDB2406}" destId="{43B29FFE-F0FB-46C0-A450-E34DF803ECD1}" srcOrd="0" destOrd="0" presId="urn:microsoft.com/office/officeart/2005/8/layout/vList4"/>
    <dgm:cxn modelId="{03B58A4F-E21C-46D2-A862-90CE1FF0ECCD}" type="presOf" srcId="{3318A609-6850-460C-A94F-3B9CD725D7BD}" destId="{43B29FFE-F0FB-46C0-A450-E34DF803ECD1}" srcOrd="0" destOrd="1" presId="urn:microsoft.com/office/officeart/2005/8/layout/vList4"/>
    <dgm:cxn modelId="{E4C09772-2A43-4138-AFF2-24793C167142}" type="presOf" srcId="{0BDC5E8B-AA6E-49EB-A348-295971C25043}" destId="{999DD500-243C-47CD-869D-A41BB53BC2AC}" srcOrd="1" destOrd="0" presId="urn:microsoft.com/office/officeart/2005/8/layout/vList4"/>
    <dgm:cxn modelId="{B3121A73-A14A-4389-8439-DE70C2A49E3E}" type="presOf" srcId="{3318A609-6850-460C-A94F-3B9CD725D7BD}" destId="{D3173C81-994A-4ACC-99E1-8F47E2F5F5AD}" srcOrd="1" destOrd="1" presId="urn:microsoft.com/office/officeart/2005/8/layout/vList4"/>
    <dgm:cxn modelId="{B47DD373-2FDB-45B1-B836-D8B6F9E2507F}" type="presOf" srcId="{149212E0-3C03-439A-8870-9F0D63244FD1}" destId="{69E67C5E-CAD1-4303-90DD-9303D83738ED}" srcOrd="0" destOrd="0" presId="urn:microsoft.com/office/officeart/2005/8/layout/vList4"/>
    <dgm:cxn modelId="{716AD875-BB67-4996-A7B9-ABB36FF6C07D}" type="presOf" srcId="{97A4003F-D801-4091-81BB-5D9DE35FC69E}" destId="{999DD500-243C-47CD-869D-A41BB53BC2AC}" srcOrd="1" destOrd="1" presId="urn:microsoft.com/office/officeart/2005/8/layout/vList4"/>
    <dgm:cxn modelId="{0B927257-9754-4F64-94D9-5B5B241F00C4}" srcId="{149212E0-3C03-439A-8870-9F0D63244FD1}" destId="{F4591F3A-A313-4105-8966-FC098FA54ED1}" srcOrd="0" destOrd="0" parTransId="{E4A9CFE8-E283-4EAB-9165-DE4ECA1D70B2}" sibTransId="{A3C54EFB-70A0-4947-B51A-598A57A6E2FE}"/>
    <dgm:cxn modelId="{41C97484-55F4-4B17-8AAA-37B0897EB63C}" type="presOf" srcId="{F4591F3A-A313-4105-8966-FC098FA54ED1}" destId="{69E67C5E-CAD1-4303-90DD-9303D83738ED}" srcOrd="0" destOrd="1" presId="urn:microsoft.com/office/officeart/2005/8/layout/vList4"/>
    <dgm:cxn modelId="{4F9CED95-F6B5-41E0-A033-4A1B8DBD0BF5}" type="presOf" srcId="{149212E0-3C03-439A-8870-9F0D63244FD1}" destId="{0038BC4B-7DCB-4A73-B431-33A56DB5DAF4}" srcOrd="1" destOrd="0" presId="urn:microsoft.com/office/officeart/2005/8/layout/vList4"/>
    <dgm:cxn modelId="{B4613EA1-127C-4D19-85DF-41094375B161}" type="presOf" srcId="{97A4003F-D801-4091-81BB-5D9DE35FC69E}" destId="{5F0D2987-0F79-472B-B341-5FA22BFE2031}" srcOrd="0" destOrd="1" presId="urn:microsoft.com/office/officeart/2005/8/layout/vList4"/>
    <dgm:cxn modelId="{C28EA7CC-D443-4046-B0F8-323848053A8F}" srcId="{14205B02-E99F-4E7A-9D76-8E12DAF939A5}" destId="{B1CBCE0F-0A94-4724-90B4-85D18BDB2406}" srcOrd="0" destOrd="0" parTransId="{79456DF3-71CD-4F63-AA11-493243BB03A9}" sibTransId="{3AA64C17-217D-4F4A-A61E-711522D7367B}"/>
    <dgm:cxn modelId="{3CEAFBD1-4867-44BD-B6B4-8D93AE08AB89}" type="presOf" srcId="{0BDC5E8B-AA6E-49EB-A348-295971C25043}" destId="{5F0D2987-0F79-472B-B341-5FA22BFE2031}" srcOrd="0" destOrd="0" presId="urn:microsoft.com/office/officeart/2005/8/layout/vList4"/>
    <dgm:cxn modelId="{E94402D5-C615-4A27-94A3-B4B0A9520977}" srcId="{14205B02-E99F-4E7A-9D76-8E12DAF939A5}" destId="{0BDC5E8B-AA6E-49EB-A348-295971C25043}" srcOrd="1" destOrd="0" parTransId="{486838FD-7B22-4D39-9AE3-59FB653F0057}" sibTransId="{E0B06E2E-B827-4880-9B83-0EAB4897502C}"/>
    <dgm:cxn modelId="{19565CF3-216A-4A18-96A2-708FA8CE7AFE}" srcId="{B1CBCE0F-0A94-4724-90B4-85D18BDB2406}" destId="{3318A609-6850-460C-A94F-3B9CD725D7BD}" srcOrd="0" destOrd="0" parTransId="{8B80E452-5B70-446C-A2FB-0DE672DFC0E8}" sibTransId="{DBF63655-CCB8-4A8B-AE00-024189AB65BA}"/>
    <dgm:cxn modelId="{3E19E3FD-65EE-4AEA-9DAC-B86E54E46901}" srcId="{0BDC5E8B-AA6E-49EB-A348-295971C25043}" destId="{97A4003F-D801-4091-81BB-5D9DE35FC69E}" srcOrd="0" destOrd="0" parTransId="{CE4EE743-6A00-45E5-85ED-41B85FF6B4EE}" sibTransId="{4D7BA4F1-4298-44F9-9ADA-4AC8B8F85446}"/>
    <dgm:cxn modelId="{EB5C2B99-2D9C-4E30-8B67-420770E423C0}" type="presParOf" srcId="{316BA1C9-F732-44EA-9C97-DEDB6A2D9BAC}" destId="{5412C3F0-A729-4D69-B287-80A425D0EBE2}" srcOrd="0" destOrd="0" presId="urn:microsoft.com/office/officeart/2005/8/layout/vList4"/>
    <dgm:cxn modelId="{7D1ADBB4-B3DB-40B8-8BBE-ED21675FB16B}" type="presParOf" srcId="{5412C3F0-A729-4D69-B287-80A425D0EBE2}" destId="{43B29FFE-F0FB-46C0-A450-E34DF803ECD1}" srcOrd="0" destOrd="0" presId="urn:microsoft.com/office/officeart/2005/8/layout/vList4"/>
    <dgm:cxn modelId="{4638CBAB-0E1C-4B2B-A73D-157FEBC267CA}" type="presParOf" srcId="{5412C3F0-A729-4D69-B287-80A425D0EBE2}" destId="{ED4330B6-A97C-4A53-B54B-E6323C753690}" srcOrd="1" destOrd="0" presId="urn:microsoft.com/office/officeart/2005/8/layout/vList4"/>
    <dgm:cxn modelId="{ED45E1FC-6964-43B8-A38C-CD198EC80336}" type="presParOf" srcId="{5412C3F0-A729-4D69-B287-80A425D0EBE2}" destId="{D3173C81-994A-4ACC-99E1-8F47E2F5F5AD}" srcOrd="2" destOrd="0" presId="urn:microsoft.com/office/officeart/2005/8/layout/vList4"/>
    <dgm:cxn modelId="{3420C716-3EA3-4CFD-93F0-CB39F1EB6151}" type="presParOf" srcId="{316BA1C9-F732-44EA-9C97-DEDB6A2D9BAC}" destId="{3A58C768-0787-4BA0-AA60-1799B69113F2}" srcOrd="1" destOrd="0" presId="urn:microsoft.com/office/officeart/2005/8/layout/vList4"/>
    <dgm:cxn modelId="{FD9DE028-40BD-4CEC-8092-76415C47E2C8}" type="presParOf" srcId="{316BA1C9-F732-44EA-9C97-DEDB6A2D9BAC}" destId="{4A9656B5-8701-44C7-8C90-A64253CBD6A3}" srcOrd="2" destOrd="0" presId="urn:microsoft.com/office/officeart/2005/8/layout/vList4"/>
    <dgm:cxn modelId="{652D722A-7684-4AE7-9EA1-CB0C3F40251E}" type="presParOf" srcId="{4A9656B5-8701-44C7-8C90-A64253CBD6A3}" destId="{5F0D2987-0F79-472B-B341-5FA22BFE2031}" srcOrd="0" destOrd="0" presId="urn:microsoft.com/office/officeart/2005/8/layout/vList4"/>
    <dgm:cxn modelId="{7CA55B23-218C-4D91-9AD0-3E7EC9AE2204}" type="presParOf" srcId="{4A9656B5-8701-44C7-8C90-A64253CBD6A3}" destId="{657C9EB7-EA6A-423A-B56B-2E6CD9A37ED3}" srcOrd="1" destOrd="0" presId="urn:microsoft.com/office/officeart/2005/8/layout/vList4"/>
    <dgm:cxn modelId="{336BBD82-EB65-4161-98A0-99D1BEF14A95}" type="presParOf" srcId="{4A9656B5-8701-44C7-8C90-A64253CBD6A3}" destId="{999DD500-243C-47CD-869D-A41BB53BC2AC}" srcOrd="2" destOrd="0" presId="urn:microsoft.com/office/officeart/2005/8/layout/vList4"/>
    <dgm:cxn modelId="{34A03525-F8AF-4EE8-9AFC-CC8F98FC0AF4}" type="presParOf" srcId="{316BA1C9-F732-44EA-9C97-DEDB6A2D9BAC}" destId="{2D371893-AE28-4221-A1BA-43A04DFBD450}" srcOrd="3" destOrd="0" presId="urn:microsoft.com/office/officeart/2005/8/layout/vList4"/>
    <dgm:cxn modelId="{5A8558FE-B831-4036-A6A8-7A18A3D9B058}" type="presParOf" srcId="{316BA1C9-F732-44EA-9C97-DEDB6A2D9BAC}" destId="{BE55027C-C0B6-462A-B364-818127703943}" srcOrd="4" destOrd="0" presId="urn:microsoft.com/office/officeart/2005/8/layout/vList4"/>
    <dgm:cxn modelId="{722C09B2-EC38-473D-8A12-50CEA49DDC04}" type="presParOf" srcId="{BE55027C-C0B6-462A-B364-818127703943}" destId="{69E67C5E-CAD1-4303-90DD-9303D83738ED}" srcOrd="0" destOrd="0" presId="urn:microsoft.com/office/officeart/2005/8/layout/vList4"/>
    <dgm:cxn modelId="{18A1F2E5-2043-4627-BFCE-03C31D502903}" type="presParOf" srcId="{BE55027C-C0B6-462A-B364-818127703943}" destId="{CB0130F3-D563-4E42-ADE0-DD4A630D45AE}" srcOrd="1" destOrd="0" presId="urn:microsoft.com/office/officeart/2005/8/layout/vList4"/>
    <dgm:cxn modelId="{95964838-71B8-41FF-8487-687F1E745D81}" type="presParOf" srcId="{BE55027C-C0B6-462A-B364-818127703943}" destId="{0038BC4B-7DCB-4A73-B431-33A56DB5DAF4}" srcOrd="2" destOrd="0" presId="urn:microsoft.com/office/officeart/2005/8/layout/vList4"/>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578B5132-F1DD-48C8-94B5-DCA2571AF503}" type="doc">
      <dgm:prSet loTypeId="urn:microsoft.com/office/officeart/2005/8/layout/default" loCatId="list" qsTypeId="urn:microsoft.com/office/officeart/2005/8/quickstyle/simple5" qsCatId="simple" csTypeId="urn:microsoft.com/office/officeart/2005/8/colors/accent1_2" csCatId="accent1" phldr="1"/>
      <dgm:spPr/>
      <dgm:t>
        <a:bodyPr/>
        <a:lstStyle/>
        <a:p>
          <a:endParaRPr lang="sv-SE"/>
        </a:p>
      </dgm:t>
    </dgm:pt>
    <dgm:pt modelId="{8D2AA296-6AFF-4CB8-8446-F1E8A4E57A52}">
      <dgm:prSet phldrT="[Text]"/>
      <dgm:spPr/>
      <dgm:t>
        <a:bodyPr/>
        <a:lstStyle/>
        <a:p>
          <a:r>
            <a:rPr lang="en-US"/>
            <a:t>LCA identifies the main sources of environmental impact and areas for product improvement. </a:t>
          </a:r>
          <a:endParaRPr lang="sv-SE"/>
        </a:p>
      </dgm:t>
    </dgm:pt>
    <dgm:pt modelId="{84A836E5-7734-4C26-A73E-4320F2A3DF28}" type="parTrans" cxnId="{3079FA56-9B80-4F2F-9261-2FF98AFDBB82}">
      <dgm:prSet/>
      <dgm:spPr/>
      <dgm:t>
        <a:bodyPr/>
        <a:lstStyle/>
        <a:p>
          <a:endParaRPr lang="sv-SE"/>
        </a:p>
      </dgm:t>
    </dgm:pt>
    <dgm:pt modelId="{B360E0C8-8CFF-43E5-804C-0222CA297F64}" type="sibTrans" cxnId="{3079FA56-9B80-4F2F-9261-2FF98AFDBB82}">
      <dgm:prSet/>
      <dgm:spPr/>
      <dgm:t>
        <a:bodyPr/>
        <a:lstStyle/>
        <a:p>
          <a:endParaRPr lang="sv-SE"/>
        </a:p>
      </dgm:t>
    </dgm:pt>
    <dgm:pt modelId="{52671517-1A15-4EBD-BF69-D72650AC5D44}">
      <dgm:prSet phldrT="[Text]"/>
      <dgm:spPr/>
      <dgm:t>
        <a:bodyPr/>
        <a:lstStyle/>
        <a:p>
          <a:r>
            <a:rPr lang="en-US"/>
            <a:t>It supports decision making by different stakeholders. </a:t>
          </a:r>
          <a:endParaRPr lang="sv-SE"/>
        </a:p>
      </dgm:t>
    </dgm:pt>
    <dgm:pt modelId="{AD3042B6-EA12-4FEC-8B2D-C8D4E07EF973}" type="parTrans" cxnId="{E727AB8D-9AD4-4B78-95E2-BB04079F662A}">
      <dgm:prSet/>
      <dgm:spPr/>
      <dgm:t>
        <a:bodyPr/>
        <a:lstStyle/>
        <a:p>
          <a:endParaRPr lang="sv-SE"/>
        </a:p>
      </dgm:t>
    </dgm:pt>
    <dgm:pt modelId="{9F12D599-1B47-44B0-A6F9-D2923F6FB152}" type="sibTrans" cxnId="{E727AB8D-9AD4-4B78-95E2-BB04079F662A}">
      <dgm:prSet/>
      <dgm:spPr/>
      <dgm:t>
        <a:bodyPr/>
        <a:lstStyle/>
        <a:p>
          <a:endParaRPr lang="sv-SE"/>
        </a:p>
      </dgm:t>
    </dgm:pt>
    <dgm:pt modelId="{0771C167-8AF7-4F14-9DF9-34562FB386B8}">
      <dgm:prSet phldrT="[Text]"/>
      <dgm:spPr/>
      <dgm:t>
        <a:bodyPr/>
        <a:lstStyle/>
        <a:p>
          <a:r>
            <a:rPr lang="en-US"/>
            <a:t>By taking a life-cycle perspective, all stages of a product's life are considered, avoiding burden shifting and negative impacts caused by isolated improvements in one part of the system.</a:t>
          </a:r>
          <a:r>
            <a:rPr lang="en-GB"/>
            <a:t> </a:t>
          </a:r>
          <a:endParaRPr lang="sv-SE"/>
        </a:p>
      </dgm:t>
    </dgm:pt>
    <dgm:pt modelId="{20FE9646-4765-4FCB-9D0D-9F3A8A4807BE}" type="parTrans" cxnId="{14C6F093-8E2A-48D7-9DFC-DBF5A0D34F85}">
      <dgm:prSet/>
      <dgm:spPr/>
      <dgm:t>
        <a:bodyPr/>
        <a:lstStyle/>
        <a:p>
          <a:endParaRPr lang="sv-SE"/>
        </a:p>
      </dgm:t>
    </dgm:pt>
    <dgm:pt modelId="{1DE6DBD5-4498-447D-9075-2E54C5CA7F96}" type="sibTrans" cxnId="{14C6F093-8E2A-48D7-9DFC-DBF5A0D34F85}">
      <dgm:prSet/>
      <dgm:spPr/>
      <dgm:t>
        <a:bodyPr/>
        <a:lstStyle/>
        <a:p>
          <a:endParaRPr lang="sv-SE"/>
        </a:p>
      </dgm:t>
    </dgm:pt>
    <dgm:pt modelId="{0AE61ECF-892D-475C-B68D-31FCBF14E85E}" type="pres">
      <dgm:prSet presAssocID="{578B5132-F1DD-48C8-94B5-DCA2571AF503}" presName="diagram" presStyleCnt="0">
        <dgm:presLayoutVars>
          <dgm:dir/>
          <dgm:resizeHandles val="exact"/>
        </dgm:presLayoutVars>
      </dgm:prSet>
      <dgm:spPr/>
    </dgm:pt>
    <dgm:pt modelId="{1A96D7FC-D10E-4C58-9B0E-13BA621BF81B}" type="pres">
      <dgm:prSet presAssocID="{8D2AA296-6AFF-4CB8-8446-F1E8A4E57A52}" presName="node" presStyleLbl="node1" presStyleIdx="0" presStyleCnt="3">
        <dgm:presLayoutVars>
          <dgm:bulletEnabled val="1"/>
        </dgm:presLayoutVars>
      </dgm:prSet>
      <dgm:spPr/>
    </dgm:pt>
    <dgm:pt modelId="{3A172AE8-624B-4DB6-B6B1-4A59FDD66681}" type="pres">
      <dgm:prSet presAssocID="{B360E0C8-8CFF-43E5-804C-0222CA297F64}" presName="sibTrans" presStyleCnt="0"/>
      <dgm:spPr/>
    </dgm:pt>
    <dgm:pt modelId="{74F52783-5425-411C-8968-DE62D017BD7B}" type="pres">
      <dgm:prSet presAssocID="{52671517-1A15-4EBD-BF69-D72650AC5D44}" presName="node" presStyleLbl="node1" presStyleIdx="1" presStyleCnt="3">
        <dgm:presLayoutVars>
          <dgm:bulletEnabled val="1"/>
        </dgm:presLayoutVars>
      </dgm:prSet>
      <dgm:spPr/>
    </dgm:pt>
    <dgm:pt modelId="{014E671E-0B49-4126-B1EE-D0BC1DD87779}" type="pres">
      <dgm:prSet presAssocID="{9F12D599-1B47-44B0-A6F9-D2923F6FB152}" presName="sibTrans" presStyleCnt="0"/>
      <dgm:spPr/>
    </dgm:pt>
    <dgm:pt modelId="{4BC11004-5F62-40AF-8814-0107ECC0DCC1}" type="pres">
      <dgm:prSet presAssocID="{0771C167-8AF7-4F14-9DF9-34562FB386B8}" presName="node" presStyleLbl="node1" presStyleIdx="2" presStyleCnt="3">
        <dgm:presLayoutVars>
          <dgm:bulletEnabled val="1"/>
        </dgm:presLayoutVars>
      </dgm:prSet>
      <dgm:spPr/>
    </dgm:pt>
  </dgm:ptLst>
  <dgm:cxnLst>
    <dgm:cxn modelId="{7B96EE06-3F0B-4DED-84DB-58FEB6687C0A}" type="presOf" srcId="{52671517-1A15-4EBD-BF69-D72650AC5D44}" destId="{74F52783-5425-411C-8968-DE62D017BD7B}" srcOrd="0" destOrd="0" presId="urn:microsoft.com/office/officeart/2005/8/layout/default"/>
    <dgm:cxn modelId="{3079FA56-9B80-4F2F-9261-2FF98AFDBB82}" srcId="{578B5132-F1DD-48C8-94B5-DCA2571AF503}" destId="{8D2AA296-6AFF-4CB8-8446-F1E8A4E57A52}" srcOrd="0" destOrd="0" parTransId="{84A836E5-7734-4C26-A73E-4320F2A3DF28}" sibTransId="{B360E0C8-8CFF-43E5-804C-0222CA297F64}"/>
    <dgm:cxn modelId="{E727AB8D-9AD4-4B78-95E2-BB04079F662A}" srcId="{578B5132-F1DD-48C8-94B5-DCA2571AF503}" destId="{52671517-1A15-4EBD-BF69-D72650AC5D44}" srcOrd="1" destOrd="0" parTransId="{AD3042B6-EA12-4FEC-8B2D-C8D4E07EF973}" sibTransId="{9F12D599-1B47-44B0-A6F9-D2923F6FB152}"/>
    <dgm:cxn modelId="{14C6F093-8E2A-48D7-9DFC-DBF5A0D34F85}" srcId="{578B5132-F1DD-48C8-94B5-DCA2571AF503}" destId="{0771C167-8AF7-4F14-9DF9-34562FB386B8}" srcOrd="2" destOrd="0" parTransId="{20FE9646-4765-4FCB-9D0D-9F3A8A4807BE}" sibTransId="{1DE6DBD5-4498-447D-9075-2E54C5CA7F96}"/>
    <dgm:cxn modelId="{D0668798-A404-4E67-8A47-DD2E9BD3CD46}" type="presOf" srcId="{0771C167-8AF7-4F14-9DF9-34562FB386B8}" destId="{4BC11004-5F62-40AF-8814-0107ECC0DCC1}" srcOrd="0" destOrd="0" presId="urn:microsoft.com/office/officeart/2005/8/layout/default"/>
    <dgm:cxn modelId="{A249AEA1-E4C0-454B-B06A-53B3858CA4D4}" type="presOf" srcId="{578B5132-F1DD-48C8-94B5-DCA2571AF503}" destId="{0AE61ECF-892D-475C-B68D-31FCBF14E85E}" srcOrd="0" destOrd="0" presId="urn:microsoft.com/office/officeart/2005/8/layout/default"/>
    <dgm:cxn modelId="{74A79EAB-5D1D-4DB0-925E-0A3FABF3A240}" type="presOf" srcId="{8D2AA296-6AFF-4CB8-8446-F1E8A4E57A52}" destId="{1A96D7FC-D10E-4C58-9B0E-13BA621BF81B}" srcOrd="0" destOrd="0" presId="urn:microsoft.com/office/officeart/2005/8/layout/default"/>
    <dgm:cxn modelId="{95F9183C-B8D4-4D97-8B2F-B0179463BC3F}" type="presParOf" srcId="{0AE61ECF-892D-475C-B68D-31FCBF14E85E}" destId="{1A96D7FC-D10E-4C58-9B0E-13BA621BF81B}" srcOrd="0" destOrd="0" presId="urn:microsoft.com/office/officeart/2005/8/layout/default"/>
    <dgm:cxn modelId="{56561C69-3C6E-4FF1-8920-1A0A04EB5CD8}" type="presParOf" srcId="{0AE61ECF-892D-475C-B68D-31FCBF14E85E}" destId="{3A172AE8-624B-4DB6-B6B1-4A59FDD66681}" srcOrd="1" destOrd="0" presId="urn:microsoft.com/office/officeart/2005/8/layout/default"/>
    <dgm:cxn modelId="{076DDC60-13F7-491E-9B65-B1E87A7DB47A}" type="presParOf" srcId="{0AE61ECF-892D-475C-B68D-31FCBF14E85E}" destId="{74F52783-5425-411C-8968-DE62D017BD7B}" srcOrd="2" destOrd="0" presId="urn:microsoft.com/office/officeart/2005/8/layout/default"/>
    <dgm:cxn modelId="{BDF4793F-D675-4C36-8BE0-C7BAB3FE91D4}" type="presParOf" srcId="{0AE61ECF-892D-475C-B68D-31FCBF14E85E}" destId="{014E671E-0B49-4126-B1EE-D0BC1DD87779}" srcOrd="3" destOrd="0" presId="urn:microsoft.com/office/officeart/2005/8/layout/default"/>
    <dgm:cxn modelId="{63100F13-17B7-4CF5-8624-A60DF4F0DD44}" type="presParOf" srcId="{0AE61ECF-892D-475C-B68D-31FCBF14E85E}" destId="{4BC11004-5F62-40AF-8814-0107ECC0DCC1}" srcOrd="4" destOrd="0" presId="urn:microsoft.com/office/officeart/2005/8/layout/defaul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E211E5E8-254B-4D33-A3FF-E5D660754DAA}" type="doc">
      <dgm:prSet loTypeId="urn:microsoft.com/office/officeart/2005/8/layout/process2" loCatId="process" qsTypeId="urn:microsoft.com/office/officeart/2005/8/quickstyle/simple1" qsCatId="simple" csTypeId="urn:microsoft.com/office/officeart/2005/8/colors/accent1_2" csCatId="accent1" phldr="1"/>
      <dgm:spPr/>
    </dgm:pt>
    <dgm:pt modelId="{7C224CEE-7C42-48F0-9888-7FAD6502DFC6}">
      <dgm:prSet phldrT="[Text]"/>
      <dgm:spPr/>
      <dgm:t>
        <a:bodyPr/>
        <a:lstStyle/>
        <a:p>
          <a:r>
            <a:rPr lang="sv-SE" err="1"/>
            <a:t>Unit</a:t>
          </a:r>
          <a:r>
            <a:rPr lang="sv-SE"/>
            <a:t> process</a:t>
          </a:r>
        </a:p>
      </dgm:t>
    </dgm:pt>
    <dgm:pt modelId="{59E43587-6818-4791-A443-2D6D233007A1}" type="parTrans" cxnId="{3DC6B533-460C-4BF4-99DF-49807CC306CB}">
      <dgm:prSet/>
      <dgm:spPr/>
      <dgm:t>
        <a:bodyPr/>
        <a:lstStyle/>
        <a:p>
          <a:endParaRPr lang="sv-SE"/>
        </a:p>
      </dgm:t>
    </dgm:pt>
    <dgm:pt modelId="{62BE16CA-CF00-4BD0-9898-18A1FE059D54}" type="sibTrans" cxnId="{3DC6B533-460C-4BF4-99DF-49807CC306CB}">
      <dgm:prSet/>
      <dgm:spPr/>
      <dgm:t>
        <a:bodyPr/>
        <a:lstStyle/>
        <a:p>
          <a:endParaRPr lang="sv-SE"/>
        </a:p>
      </dgm:t>
    </dgm:pt>
    <dgm:pt modelId="{B19DCB3B-3BB3-44D1-94B5-1E566C74BB4B}">
      <dgm:prSet phldrT="[Text]"/>
      <dgm:spPr/>
      <dgm:t>
        <a:bodyPr/>
        <a:lstStyle/>
        <a:p>
          <a:r>
            <a:rPr lang="sv-SE" err="1"/>
            <a:t>Unit</a:t>
          </a:r>
          <a:r>
            <a:rPr lang="sv-SE"/>
            <a:t> process</a:t>
          </a:r>
        </a:p>
      </dgm:t>
    </dgm:pt>
    <dgm:pt modelId="{82C4F8F5-17BB-4093-88C9-0512C1144BDB}" type="parTrans" cxnId="{A724D192-2105-4EF5-A860-26F7D4F88E93}">
      <dgm:prSet/>
      <dgm:spPr/>
      <dgm:t>
        <a:bodyPr/>
        <a:lstStyle/>
        <a:p>
          <a:endParaRPr lang="sv-SE"/>
        </a:p>
      </dgm:t>
    </dgm:pt>
    <dgm:pt modelId="{B31F1E0E-78EE-46E0-87ED-37DD2BDFF490}" type="sibTrans" cxnId="{A724D192-2105-4EF5-A860-26F7D4F88E93}">
      <dgm:prSet/>
      <dgm:spPr/>
      <dgm:t>
        <a:bodyPr/>
        <a:lstStyle/>
        <a:p>
          <a:endParaRPr lang="sv-SE"/>
        </a:p>
      </dgm:t>
    </dgm:pt>
    <dgm:pt modelId="{AF2DDEDA-B202-406C-89A1-985FA803241B}">
      <dgm:prSet phldrT="[Text]"/>
      <dgm:spPr/>
      <dgm:t>
        <a:bodyPr/>
        <a:lstStyle/>
        <a:p>
          <a:r>
            <a:rPr lang="sv-SE" err="1"/>
            <a:t>Unit</a:t>
          </a:r>
          <a:r>
            <a:rPr lang="sv-SE"/>
            <a:t> process</a:t>
          </a:r>
        </a:p>
      </dgm:t>
    </dgm:pt>
    <dgm:pt modelId="{A4CD74CC-0BBF-458E-8716-48CA3AE13234}" type="parTrans" cxnId="{ADF9F91E-5617-4479-B2EF-01CEF149EC78}">
      <dgm:prSet/>
      <dgm:spPr/>
      <dgm:t>
        <a:bodyPr/>
        <a:lstStyle/>
        <a:p>
          <a:endParaRPr lang="sv-SE"/>
        </a:p>
      </dgm:t>
    </dgm:pt>
    <dgm:pt modelId="{0535A636-D6CB-4A36-A904-1D974E848FFF}" type="sibTrans" cxnId="{ADF9F91E-5617-4479-B2EF-01CEF149EC78}">
      <dgm:prSet/>
      <dgm:spPr/>
      <dgm:t>
        <a:bodyPr/>
        <a:lstStyle/>
        <a:p>
          <a:endParaRPr lang="sv-SE"/>
        </a:p>
      </dgm:t>
    </dgm:pt>
    <dgm:pt modelId="{4FBA4C73-3411-411D-A336-79C57AA93564}" type="pres">
      <dgm:prSet presAssocID="{E211E5E8-254B-4D33-A3FF-E5D660754DAA}" presName="linearFlow" presStyleCnt="0">
        <dgm:presLayoutVars>
          <dgm:resizeHandles val="exact"/>
        </dgm:presLayoutVars>
      </dgm:prSet>
      <dgm:spPr/>
    </dgm:pt>
    <dgm:pt modelId="{F8FDF89B-A5F5-441A-9FAE-BC213FB9393A}" type="pres">
      <dgm:prSet presAssocID="{7C224CEE-7C42-48F0-9888-7FAD6502DFC6}" presName="node" presStyleLbl="node1" presStyleIdx="0" presStyleCnt="3">
        <dgm:presLayoutVars>
          <dgm:bulletEnabled val="1"/>
        </dgm:presLayoutVars>
      </dgm:prSet>
      <dgm:spPr/>
    </dgm:pt>
    <dgm:pt modelId="{19450AEE-5C78-484B-8E15-9A74F3F80D8C}" type="pres">
      <dgm:prSet presAssocID="{62BE16CA-CF00-4BD0-9898-18A1FE059D54}" presName="sibTrans" presStyleLbl="sibTrans2D1" presStyleIdx="0" presStyleCnt="2"/>
      <dgm:spPr/>
    </dgm:pt>
    <dgm:pt modelId="{C924A3D2-EA35-4322-9FB2-DEE06AB23441}" type="pres">
      <dgm:prSet presAssocID="{62BE16CA-CF00-4BD0-9898-18A1FE059D54}" presName="connectorText" presStyleLbl="sibTrans2D1" presStyleIdx="0" presStyleCnt="2"/>
      <dgm:spPr/>
    </dgm:pt>
    <dgm:pt modelId="{997FC45B-CC40-42D1-9532-6FEF5AC98618}" type="pres">
      <dgm:prSet presAssocID="{B19DCB3B-3BB3-44D1-94B5-1E566C74BB4B}" presName="node" presStyleLbl="node1" presStyleIdx="1" presStyleCnt="3">
        <dgm:presLayoutVars>
          <dgm:bulletEnabled val="1"/>
        </dgm:presLayoutVars>
      </dgm:prSet>
      <dgm:spPr/>
    </dgm:pt>
    <dgm:pt modelId="{67713A88-3ADF-4070-A7FE-E1A7CE8B3EB9}" type="pres">
      <dgm:prSet presAssocID="{B31F1E0E-78EE-46E0-87ED-37DD2BDFF490}" presName="sibTrans" presStyleLbl="sibTrans2D1" presStyleIdx="1" presStyleCnt="2"/>
      <dgm:spPr/>
    </dgm:pt>
    <dgm:pt modelId="{64B5218A-409D-4951-8874-2F7374A14D01}" type="pres">
      <dgm:prSet presAssocID="{B31F1E0E-78EE-46E0-87ED-37DD2BDFF490}" presName="connectorText" presStyleLbl="sibTrans2D1" presStyleIdx="1" presStyleCnt="2"/>
      <dgm:spPr/>
    </dgm:pt>
    <dgm:pt modelId="{31E4A2C6-9C36-4DD1-8E6A-48EC6379CE92}" type="pres">
      <dgm:prSet presAssocID="{AF2DDEDA-B202-406C-89A1-985FA803241B}" presName="node" presStyleLbl="node1" presStyleIdx="2" presStyleCnt="3">
        <dgm:presLayoutVars>
          <dgm:bulletEnabled val="1"/>
        </dgm:presLayoutVars>
      </dgm:prSet>
      <dgm:spPr/>
    </dgm:pt>
  </dgm:ptLst>
  <dgm:cxnLst>
    <dgm:cxn modelId="{8E8BBF02-5723-44E7-A4F8-D2CE8B570D84}" type="presOf" srcId="{B31F1E0E-78EE-46E0-87ED-37DD2BDFF490}" destId="{67713A88-3ADF-4070-A7FE-E1A7CE8B3EB9}" srcOrd="0" destOrd="0" presId="urn:microsoft.com/office/officeart/2005/8/layout/process2"/>
    <dgm:cxn modelId="{ADF9F91E-5617-4479-B2EF-01CEF149EC78}" srcId="{E211E5E8-254B-4D33-A3FF-E5D660754DAA}" destId="{AF2DDEDA-B202-406C-89A1-985FA803241B}" srcOrd="2" destOrd="0" parTransId="{A4CD74CC-0BBF-458E-8716-48CA3AE13234}" sibTransId="{0535A636-D6CB-4A36-A904-1D974E848FFF}"/>
    <dgm:cxn modelId="{3DC6B533-460C-4BF4-99DF-49807CC306CB}" srcId="{E211E5E8-254B-4D33-A3FF-E5D660754DAA}" destId="{7C224CEE-7C42-48F0-9888-7FAD6502DFC6}" srcOrd="0" destOrd="0" parTransId="{59E43587-6818-4791-A443-2D6D233007A1}" sibTransId="{62BE16CA-CF00-4BD0-9898-18A1FE059D54}"/>
    <dgm:cxn modelId="{73E93A60-9139-4C4D-BEC1-E0985FDAB26F}" type="presOf" srcId="{7C224CEE-7C42-48F0-9888-7FAD6502DFC6}" destId="{F8FDF89B-A5F5-441A-9FAE-BC213FB9393A}" srcOrd="0" destOrd="0" presId="urn:microsoft.com/office/officeart/2005/8/layout/process2"/>
    <dgm:cxn modelId="{A724D192-2105-4EF5-A860-26F7D4F88E93}" srcId="{E211E5E8-254B-4D33-A3FF-E5D660754DAA}" destId="{B19DCB3B-3BB3-44D1-94B5-1E566C74BB4B}" srcOrd="1" destOrd="0" parTransId="{82C4F8F5-17BB-4093-88C9-0512C1144BDB}" sibTransId="{B31F1E0E-78EE-46E0-87ED-37DD2BDFF490}"/>
    <dgm:cxn modelId="{2BD3B9A0-6F11-44E2-B61F-91CA3A15A4BD}" type="presOf" srcId="{B31F1E0E-78EE-46E0-87ED-37DD2BDFF490}" destId="{64B5218A-409D-4951-8874-2F7374A14D01}" srcOrd="1" destOrd="0" presId="urn:microsoft.com/office/officeart/2005/8/layout/process2"/>
    <dgm:cxn modelId="{F9F147A4-4D30-43F0-8A2B-C9EA81937C22}" type="presOf" srcId="{E211E5E8-254B-4D33-A3FF-E5D660754DAA}" destId="{4FBA4C73-3411-411D-A336-79C57AA93564}" srcOrd="0" destOrd="0" presId="urn:microsoft.com/office/officeart/2005/8/layout/process2"/>
    <dgm:cxn modelId="{D713ABA7-2DA2-4F52-9C80-A66ED66799A1}" type="presOf" srcId="{B19DCB3B-3BB3-44D1-94B5-1E566C74BB4B}" destId="{997FC45B-CC40-42D1-9532-6FEF5AC98618}" srcOrd="0" destOrd="0" presId="urn:microsoft.com/office/officeart/2005/8/layout/process2"/>
    <dgm:cxn modelId="{B98759A8-E091-4061-9226-C117F1DAE7FC}" type="presOf" srcId="{62BE16CA-CF00-4BD0-9898-18A1FE059D54}" destId="{C924A3D2-EA35-4322-9FB2-DEE06AB23441}" srcOrd="1" destOrd="0" presId="urn:microsoft.com/office/officeart/2005/8/layout/process2"/>
    <dgm:cxn modelId="{06E5B6D7-C178-446C-96A2-9031C42AAA9E}" type="presOf" srcId="{AF2DDEDA-B202-406C-89A1-985FA803241B}" destId="{31E4A2C6-9C36-4DD1-8E6A-48EC6379CE92}" srcOrd="0" destOrd="0" presId="urn:microsoft.com/office/officeart/2005/8/layout/process2"/>
    <dgm:cxn modelId="{7CA404F2-2E92-46AA-93E9-D8C0DFB3D5C4}" type="presOf" srcId="{62BE16CA-CF00-4BD0-9898-18A1FE059D54}" destId="{19450AEE-5C78-484B-8E15-9A74F3F80D8C}" srcOrd="0" destOrd="0" presId="urn:microsoft.com/office/officeart/2005/8/layout/process2"/>
    <dgm:cxn modelId="{82EAA5EF-3C51-4AD7-8DFD-3168D1811502}" type="presParOf" srcId="{4FBA4C73-3411-411D-A336-79C57AA93564}" destId="{F8FDF89B-A5F5-441A-9FAE-BC213FB9393A}" srcOrd="0" destOrd="0" presId="urn:microsoft.com/office/officeart/2005/8/layout/process2"/>
    <dgm:cxn modelId="{29FB5EAE-2C8E-4147-8D01-8F8C4D137894}" type="presParOf" srcId="{4FBA4C73-3411-411D-A336-79C57AA93564}" destId="{19450AEE-5C78-484B-8E15-9A74F3F80D8C}" srcOrd="1" destOrd="0" presId="urn:microsoft.com/office/officeart/2005/8/layout/process2"/>
    <dgm:cxn modelId="{731C9398-E569-48A0-8A39-14F3B9CEF1E2}" type="presParOf" srcId="{19450AEE-5C78-484B-8E15-9A74F3F80D8C}" destId="{C924A3D2-EA35-4322-9FB2-DEE06AB23441}" srcOrd="0" destOrd="0" presId="urn:microsoft.com/office/officeart/2005/8/layout/process2"/>
    <dgm:cxn modelId="{F2A439D4-4AB6-4DF9-8F6D-F479F9C4EDD4}" type="presParOf" srcId="{4FBA4C73-3411-411D-A336-79C57AA93564}" destId="{997FC45B-CC40-42D1-9532-6FEF5AC98618}" srcOrd="2" destOrd="0" presId="urn:microsoft.com/office/officeart/2005/8/layout/process2"/>
    <dgm:cxn modelId="{B9424C66-0209-4123-982B-6BB31A2B4F4F}" type="presParOf" srcId="{4FBA4C73-3411-411D-A336-79C57AA93564}" destId="{67713A88-3ADF-4070-A7FE-E1A7CE8B3EB9}" srcOrd="3" destOrd="0" presId="urn:microsoft.com/office/officeart/2005/8/layout/process2"/>
    <dgm:cxn modelId="{062CD035-7AEB-4C87-83AC-D9A82D6821E7}" type="presParOf" srcId="{67713A88-3ADF-4070-A7FE-E1A7CE8B3EB9}" destId="{64B5218A-409D-4951-8874-2F7374A14D01}" srcOrd="0" destOrd="0" presId="urn:microsoft.com/office/officeart/2005/8/layout/process2"/>
    <dgm:cxn modelId="{29E30144-B5C8-4B13-9A5E-B16B18EF03E8}" type="presParOf" srcId="{4FBA4C73-3411-411D-A336-79C57AA93564}" destId="{31E4A2C6-9C36-4DD1-8E6A-48EC6379CE92}" srcOrd="4" destOrd="0" presId="urn:microsoft.com/office/officeart/2005/8/layout/process2"/>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6ACC3AA1-6A57-44CE-8DDB-A0A25A6CC479}" type="doc">
      <dgm:prSet loTypeId="urn:microsoft.com/office/officeart/2005/8/layout/process1" loCatId="process" qsTypeId="urn:microsoft.com/office/officeart/2005/8/quickstyle/3d1" qsCatId="3D" csTypeId="urn:microsoft.com/office/officeart/2005/8/colors/accent1_2" csCatId="accent1" phldr="1"/>
      <dgm:spPr/>
      <dgm:t>
        <a:bodyPr/>
        <a:lstStyle/>
        <a:p>
          <a:endParaRPr lang="sv-SE"/>
        </a:p>
      </dgm:t>
    </dgm:pt>
    <dgm:pt modelId="{02D4007B-038B-429A-9C49-156CA166A697}">
      <dgm:prSet phldrT="[Text]"/>
      <dgm:spPr/>
      <dgm:t>
        <a:bodyPr/>
        <a:lstStyle/>
        <a:p>
          <a:r>
            <a:rPr lang="sv-SE" err="1"/>
            <a:t>Create</a:t>
          </a:r>
          <a:r>
            <a:rPr lang="sv-SE"/>
            <a:t> a </a:t>
          </a:r>
          <a:r>
            <a:rPr lang="sv-SE" err="1"/>
            <a:t>flowchart</a:t>
          </a:r>
          <a:r>
            <a:rPr lang="sv-SE"/>
            <a:t> </a:t>
          </a:r>
          <a:r>
            <a:rPr lang="sv-SE" err="1"/>
            <a:t>according</a:t>
          </a:r>
          <a:r>
            <a:rPr lang="sv-SE"/>
            <a:t> to </a:t>
          </a:r>
          <a:r>
            <a:rPr lang="sv-SE" err="1"/>
            <a:t>defined</a:t>
          </a:r>
          <a:r>
            <a:rPr lang="sv-SE"/>
            <a:t> system </a:t>
          </a:r>
          <a:r>
            <a:rPr lang="sv-SE" err="1"/>
            <a:t>boundaries</a:t>
          </a:r>
          <a:endParaRPr lang="sv-SE"/>
        </a:p>
      </dgm:t>
    </dgm:pt>
    <dgm:pt modelId="{28A7ECC5-17A8-417A-A2FA-367225B6909B}" type="parTrans" cxnId="{776CDC64-28BD-443C-962A-197CD78A617A}">
      <dgm:prSet/>
      <dgm:spPr/>
      <dgm:t>
        <a:bodyPr/>
        <a:lstStyle/>
        <a:p>
          <a:endParaRPr lang="sv-SE"/>
        </a:p>
      </dgm:t>
    </dgm:pt>
    <dgm:pt modelId="{4F99E3C4-FB4C-495F-9FBB-DAAF3893B3F4}" type="sibTrans" cxnId="{776CDC64-28BD-443C-962A-197CD78A617A}">
      <dgm:prSet/>
      <dgm:spPr/>
      <dgm:t>
        <a:bodyPr/>
        <a:lstStyle/>
        <a:p>
          <a:endParaRPr lang="sv-SE"/>
        </a:p>
      </dgm:t>
    </dgm:pt>
    <dgm:pt modelId="{CB86357B-CD71-4ACF-9F76-0EF1BD97E86A}">
      <dgm:prSet phldrT="[Text]"/>
      <dgm:spPr/>
      <dgm:t>
        <a:bodyPr/>
        <a:lstStyle/>
        <a:p>
          <a:r>
            <a:rPr lang="sv-SE"/>
            <a:t>Collect data for all </a:t>
          </a:r>
          <a:r>
            <a:rPr lang="sv-SE" err="1"/>
            <a:t>activities</a:t>
          </a:r>
          <a:r>
            <a:rPr lang="sv-SE"/>
            <a:t> </a:t>
          </a:r>
          <a:r>
            <a:rPr lang="sv-SE" err="1"/>
            <a:t>depending</a:t>
          </a:r>
          <a:r>
            <a:rPr lang="sv-SE"/>
            <a:t> on the </a:t>
          </a:r>
          <a:r>
            <a:rPr lang="sv-SE" err="1"/>
            <a:t>type</a:t>
          </a:r>
          <a:r>
            <a:rPr lang="sv-SE"/>
            <a:t> </a:t>
          </a:r>
          <a:r>
            <a:rPr lang="sv-SE" err="1"/>
            <a:t>of</a:t>
          </a:r>
          <a:r>
            <a:rPr lang="sv-SE"/>
            <a:t> </a:t>
          </a:r>
          <a:r>
            <a:rPr lang="sv-SE" err="1"/>
            <a:t>assessment</a:t>
          </a:r>
          <a:r>
            <a:rPr lang="sv-SE"/>
            <a:t> </a:t>
          </a:r>
        </a:p>
      </dgm:t>
    </dgm:pt>
    <dgm:pt modelId="{B1719C52-0F81-4290-B2B3-29D322EB796B}" type="parTrans" cxnId="{D6242EA0-2713-4B92-8970-D89CAF9EE584}">
      <dgm:prSet/>
      <dgm:spPr/>
      <dgm:t>
        <a:bodyPr/>
        <a:lstStyle/>
        <a:p>
          <a:endParaRPr lang="sv-SE"/>
        </a:p>
      </dgm:t>
    </dgm:pt>
    <dgm:pt modelId="{AB0E292F-F72C-4D47-83DE-E12426E8696C}" type="sibTrans" cxnId="{D6242EA0-2713-4B92-8970-D89CAF9EE584}">
      <dgm:prSet/>
      <dgm:spPr/>
      <dgm:t>
        <a:bodyPr/>
        <a:lstStyle/>
        <a:p>
          <a:endParaRPr lang="sv-SE"/>
        </a:p>
      </dgm:t>
    </dgm:pt>
    <dgm:pt modelId="{B0AB15DF-EB28-4875-9BC2-77992A661421}">
      <dgm:prSet phldrT="[Text]"/>
      <dgm:spPr/>
      <dgm:t>
        <a:bodyPr/>
        <a:lstStyle/>
        <a:p>
          <a:r>
            <a:rPr lang="en-US"/>
            <a:t>Calculate the amount of resources used and emissions from the system in relation to the functional unit</a:t>
          </a:r>
          <a:endParaRPr lang="sv-SE"/>
        </a:p>
      </dgm:t>
    </dgm:pt>
    <dgm:pt modelId="{BF068EB2-886E-4A2D-AC04-385A31E3B822}" type="parTrans" cxnId="{5561B367-CFA9-408B-88EE-65C254791C30}">
      <dgm:prSet/>
      <dgm:spPr/>
      <dgm:t>
        <a:bodyPr/>
        <a:lstStyle/>
        <a:p>
          <a:endParaRPr lang="sv-SE"/>
        </a:p>
      </dgm:t>
    </dgm:pt>
    <dgm:pt modelId="{C95E0EA2-CC3E-4CFB-A7CB-8A60EF83685D}" type="sibTrans" cxnId="{5561B367-CFA9-408B-88EE-65C254791C30}">
      <dgm:prSet/>
      <dgm:spPr/>
      <dgm:t>
        <a:bodyPr/>
        <a:lstStyle/>
        <a:p>
          <a:endParaRPr lang="sv-SE"/>
        </a:p>
      </dgm:t>
    </dgm:pt>
    <dgm:pt modelId="{601A8AB7-894F-4EDF-80D5-271F97C4D61F}" type="pres">
      <dgm:prSet presAssocID="{6ACC3AA1-6A57-44CE-8DDB-A0A25A6CC479}" presName="Name0" presStyleCnt="0">
        <dgm:presLayoutVars>
          <dgm:dir/>
          <dgm:resizeHandles val="exact"/>
        </dgm:presLayoutVars>
      </dgm:prSet>
      <dgm:spPr/>
    </dgm:pt>
    <dgm:pt modelId="{6615850A-DCF1-4CBF-8822-3DBC2BA5A7EC}" type="pres">
      <dgm:prSet presAssocID="{02D4007B-038B-429A-9C49-156CA166A697}" presName="node" presStyleLbl="node1" presStyleIdx="0" presStyleCnt="3">
        <dgm:presLayoutVars>
          <dgm:bulletEnabled val="1"/>
        </dgm:presLayoutVars>
      </dgm:prSet>
      <dgm:spPr/>
    </dgm:pt>
    <dgm:pt modelId="{68971258-C650-49C2-B25B-00640DB2007E}" type="pres">
      <dgm:prSet presAssocID="{4F99E3C4-FB4C-495F-9FBB-DAAF3893B3F4}" presName="sibTrans" presStyleLbl="sibTrans2D1" presStyleIdx="0" presStyleCnt="2"/>
      <dgm:spPr/>
    </dgm:pt>
    <dgm:pt modelId="{4166BF69-0C86-42AD-AB9B-F5E8517EECB7}" type="pres">
      <dgm:prSet presAssocID="{4F99E3C4-FB4C-495F-9FBB-DAAF3893B3F4}" presName="connectorText" presStyleLbl="sibTrans2D1" presStyleIdx="0" presStyleCnt="2"/>
      <dgm:spPr/>
    </dgm:pt>
    <dgm:pt modelId="{EC3F327E-6073-4321-9441-AB1EFFBBBF4F}" type="pres">
      <dgm:prSet presAssocID="{CB86357B-CD71-4ACF-9F76-0EF1BD97E86A}" presName="node" presStyleLbl="node1" presStyleIdx="1" presStyleCnt="3">
        <dgm:presLayoutVars>
          <dgm:bulletEnabled val="1"/>
        </dgm:presLayoutVars>
      </dgm:prSet>
      <dgm:spPr/>
    </dgm:pt>
    <dgm:pt modelId="{DE6E1A7E-5477-4077-89E9-740500FDD07A}" type="pres">
      <dgm:prSet presAssocID="{AB0E292F-F72C-4D47-83DE-E12426E8696C}" presName="sibTrans" presStyleLbl="sibTrans2D1" presStyleIdx="1" presStyleCnt="2"/>
      <dgm:spPr/>
    </dgm:pt>
    <dgm:pt modelId="{0123431D-787F-42CF-B67F-307ECF413F80}" type="pres">
      <dgm:prSet presAssocID="{AB0E292F-F72C-4D47-83DE-E12426E8696C}" presName="connectorText" presStyleLbl="sibTrans2D1" presStyleIdx="1" presStyleCnt="2"/>
      <dgm:spPr/>
    </dgm:pt>
    <dgm:pt modelId="{1BC1F484-55AF-4522-95A8-BAA51A7F449A}" type="pres">
      <dgm:prSet presAssocID="{B0AB15DF-EB28-4875-9BC2-77992A661421}" presName="node" presStyleLbl="node1" presStyleIdx="2" presStyleCnt="3">
        <dgm:presLayoutVars>
          <dgm:bulletEnabled val="1"/>
        </dgm:presLayoutVars>
      </dgm:prSet>
      <dgm:spPr/>
    </dgm:pt>
  </dgm:ptLst>
  <dgm:cxnLst>
    <dgm:cxn modelId="{1C9E9C1A-072D-425A-91AE-06804301ABF0}" type="presOf" srcId="{AB0E292F-F72C-4D47-83DE-E12426E8696C}" destId="{0123431D-787F-42CF-B67F-307ECF413F80}" srcOrd="1" destOrd="0" presId="urn:microsoft.com/office/officeart/2005/8/layout/process1"/>
    <dgm:cxn modelId="{58594C5E-FEE2-4B5C-AA00-8EFEDD731EA0}" type="presOf" srcId="{4F99E3C4-FB4C-495F-9FBB-DAAF3893B3F4}" destId="{68971258-C650-49C2-B25B-00640DB2007E}" srcOrd="0" destOrd="0" presId="urn:microsoft.com/office/officeart/2005/8/layout/process1"/>
    <dgm:cxn modelId="{86D08D63-F881-431D-8A99-70043033B15C}" type="presOf" srcId="{02D4007B-038B-429A-9C49-156CA166A697}" destId="{6615850A-DCF1-4CBF-8822-3DBC2BA5A7EC}" srcOrd="0" destOrd="0" presId="urn:microsoft.com/office/officeart/2005/8/layout/process1"/>
    <dgm:cxn modelId="{776CDC64-28BD-443C-962A-197CD78A617A}" srcId="{6ACC3AA1-6A57-44CE-8DDB-A0A25A6CC479}" destId="{02D4007B-038B-429A-9C49-156CA166A697}" srcOrd="0" destOrd="0" parTransId="{28A7ECC5-17A8-417A-A2FA-367225B6909B}" sibTransId="{4F99E3C4-FB4C-495F-9FBB-DAAF3893B3F4}"/>
    <dgm:cxn modelId="{5561B367-CFA9-408B-88EE-65C254791C30}" srcId="{6ACC3AA1-6A57-44CE-8DDB-A0A25A6CC479}" destId="{B0AB15DF-EB28-4875-9BC2-77992A661421}" srcOrd="2" destOrd="0" parTransId="{BF068EB2-886E-4A2D-AC04-385A31E3B822}" sibTransId="{C95E0EA2-CC3E-4CFB-A7CB-8A60EF83685D}"/>
    <dgm:cxn modelId="{51C49B6F-68CA-4C05-9DFB-22520B8B55F2}" type="presOf" srcId="{AB0E292F-F72C-4D47-83DE-E12426E8696C}" destId="{DE6E1A7E-5477-4077-89E9-740500FDD07A}" srcOrd="0" destOrd="0" presId="urn:microsoft.com/office/officeart/2005/8/layout/process1"/>
    <dgm:cxn modelId="{78174571-FE80-4BFE-9170-6A214BCB6129}" type="presOf" srcId="{6ACC3AA1-6A57-44CE-8DDB-A0A25A6CC479}" destId="{601A8AB7-894F-4EDF-80D5-271F97C4D61F}" srcOrd="0" destOrd="0" presId="urn:microsoft.com/office/officeart/2005/8/layout/process1"/>
    <dgm:cxn modelId="{D6242EA0-2713-4B92-8970-D89CAF9EE584}" srcId="{6ACC3AA1-6A57-44CE-8DDB-A0A25A6CC479}" destId="{CB86357B-CD71-4ACF-9F76-0EF1BD97E86A}" srcOrd="1" destOrd="0" parTransId="{B1719C52-0F81-4290-B2B3-29D322EB796B}" sibTransId="{AB0E292F-F72C-4D47-83DE-E12426E8696C}"/>
    <dgm:cxn modelId="{EB53C3A5-2EAD-4272-A088-501448767811}" type="presOf" srcId="{4F99E3C4-FB4C-495F-9FBB-DAAF3893B3F4}" destId="{4166BF69-0C86-42AD-AB9B-F5E8517EECB7}" srcOrd="1" destOrd="0" presId="urn:microsoft.com/office/officeart/2005/8/layout/process1"/>
    <dgm:cxn modelId="{4506BDC5-DDEA-4883-8738-E158596BE22F}" type="presOf" srcId="{CB86357B-CD71-4ACF-9F76-0EF1BD97E86A}" destId="{EC3F327E-6073-4321-9441-AB1EFFBBBF4F}" srcOrd="0" destOrd="0" presId="urn:microsoft.com/office/officeart/2005/8/layout/process1"/>
    <dgm:cxn modelId="{213FABFE-E530-481A-825B-766CD88542CE}" type="presOf" srcId="{B0AB15DF-EB28-4875-9BC2-77992A661421}" destId="{1BC1F484-55AF-4522-95A8-BAA51A7F449A}" srcOrd="0" destOrd="0" presId="urn:microsoft.com/office/officeart/2005/8/layout/process1"/>
    <dgm:cxn modelId="{2CB7D379-E1EC-4FD4-B25A-DE8963750CED}" type="presParOf" srcId="{601A8AB7-894F-4EDF-80D5-271F97C4D61F}" destId="{6615850A-DCF1-4CBF-8822-3DBC2BA5A7EC}" srcOrd="0" destOrd="0" presId="urn:microsoft.com/office/officeart/2005/8/layout/process1"/>
    <dgm:cxn modelId="{2A2ABAF8-1571-4FC9-B9E8-9BC477BE6B3A}" type="presParOf" srcId="{601A8AB7-894F-4EDF-80D5-271F97C4D61F}" destId="{68971258-C650-49C2-B25B-00640DB2007E}" srcOrd="1" destOrd="0" presId="urn:microsoft.com/office/officeart/2005/8/layout/process1"/>
    <dgm:cxn modelId="{7BBE3142-7DC1-41DA-933C-63FA7046E7D8}" type="presParOf" srcId="{68971258-C650-49C2-B25B-00640DB2007E}" destId="{4166BF69-0C86-42AD-AB9B-F5E8517EECB7}" srcOrd="0" destOrd="0" presId="urn:microsoft.com/office/officeart/2005/8/layout/process1"/>
    <dgm:cxn modelId="{7ADCC643-B336-4547-8CC7-117CB8212B58}" type="presParOf" srcId="{601A8AB7-894F-4EDF-80D5-271F97C4D61F}" destId="{EC3F327E-6073-4321-9441-AB1EFFBBBF4F}" srcOrd="2" destOrd="0" presId="urn:microsoft.com/office/officeart/2005/8/layout/process1"/>
    <dgm:cxn modelId="{2D9B08BA-815E-48D4-9DA0-BFE76DC92376}" type="presParOf" srcId="{601A8AB7-894F-4EDF-80D5-271F97C4D61F}" destId="{DE6E1A7E-5477-4077-89E9-740500FDD07A}" srcOrd="3" destOrd="0" presId="urn:microsoft.com/office/officeart/2005/8/layout/process1"/>
    <dgm:cxn modelId="{753B1594-3A1F-44A8-B078-779F1C6C0FEC}" type="presParOf" srcId="{DE6E1A7E-5477-4077-89E9-740500FDD07A}" destId="{0123431D-787F-42CF-B67F-307ECF413F80}" srcOrd="0" destOrd="0" presId="urn:microsoft.com/office/officeart/2005/8/layout/process1"/>
    <dgm:cxn modelId="{8E107B10-0E71-4F8B-B2ED-23D629F04F21}" type="presParOf" srcId="{601A8AB7-894F-4EDF-80D5-271F97C4D61F}" destId="{1BC1F484-55AF-4522-95A8-BAA51A7F449A}" srcOrd="4" destOrd="0" presId="urn:microsoft.com/office/officeart/2005/8/layout/process1"/>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AC978C93-076C-4C56-90B5-B14CBA90B22A}" type="doc">
      <dgm:prSet loTypeId="urn:microsoft.com/office/officeart/2005/8/layout/process2" loCatId="process" qsTypeId="urn:microsoft.com/office/officeart/2005/8/quickstyle/3d2" qsCatId="3D" csTypeId="urn:microsoft.com/office/officeart/2005/8/colors/accent1_3" csCatId="accent1" phldr="1"/>
      <dgm:spPr/>
      <dgm:t>
        <a:bodyPr/>
        <a:lstStyle/>
        <a:p>
          <a:endParaRPr lang="sv-SE"/>
        </a:p>
      </dgm:t>
    </dgm:pt>
    <dgm:pt modelId="{BA64727E-575B-4D4D-94D5-12686BDB18C8}">
      <dgm:prSet phldrT="[Text]" custT="1"/>
      <dgm:spPr/>
      <dgm:t>
        <a:bodyPr/>
        <a:lstStyle/>
        <a:p>
          <a:pPr algn="ctr"/>
          <a:r>
            <a:rPr lang="sv-SE" sz="1800"/>
            <a:t> </a:t>
          </a:r>
          <a:r>
            <a:rPr lang="sv-SE" sz="3200" err="1"/>
            <a:t>Classification</a:t>
          </a:r>
          <a:endParaRPr lang="sv-SE" sz="1800"/>
        </a:p>
      </dgm:t>
    </dgm:pt>
    <dgm:pt modelId="{D35D5FC6-143B-486C-AD8B-BDC3E0034D74}" type="parTrans" cxnId="{938FBD1D-C9F7-4C7F-B312-9DA461214B07}">
      <dgm:prSet/>
      <dgm:spPr/>
      <dgm:t>
        <a:bodyPr/>
        <a:lstStyle/>
        <a:p>
          <a:endParaRPr lang="sv-SE"/>
        </a:p>
      </dgm:t>
    </dgm:pt>
    <dgm:pt modelId="{D0EA0B09-1895-4BBC-9A85-1AD22E71DFD5}" type="sibTrans" cxnId="{938FBD1D-C9F7-4C7F-B312-9DA461214B07}">
      <dgm:prSet/>
      <dgm:spPr/>
      <dgm:t>
        <a:bodyPr/>
        <a:lstStyle/>
        <a:p>
          <a:endParaRPr lang="sv-SE"/>
        </a:p>
      </dgm:t>
    </dgm:pt>
    <dgm:pt modelId="{3AE8C42B-CDF7-4204-9CC2-0C09B738EDB1}">
      <dgm:prSet phldrT="[Text]" custT="1"/>
      <dgm:spPr/>
      <dgm:t>
        <a:bodyPr/>
        <a:lstStyle/>
        <a:p>
          <a:pPr algn="ctr"/>
          <a:r>
            <a:rPr lang="sv-SE" sz="3200" err="1"/>
            <a:t>Characterization</a:t>
          </a:r>
          <a:endParaRPr lang="sv-SE" sz="3200"/>
        </a:p>
      </dgm:t>
    </dgm:pt>
    <dgm:pt modelId="{3919F0A8-358A-4A70-8193-D7C478C5AB84}" type="parTrans" cxnId="{BAE4AA7B-66DC-490B-8C1F-73FBDA51EC67}">
      <dgm:prSet/>
      <dgm:spPr/>
      <dgm:t>
        <a:bodyPr/>
        <a:lstStyle/>
        <a:p>
          <a:endParaRPr lang="sv-SE"/>
        </a:p>
      </dgm:t>
    </dgm:pt>
    <dgm:pt modelId="{25E11874-C219-454F-90C2-F9D55DCB96BE}" type="sibTrans" cxnId="{BAE4AA7B-66DC-490B-8C1F-73FBDA51EC67}">
      <dgm:prSet/>
      <dgm:spPr/>
      <dgm:t>
        <a:bodyPr/>
        <a:lstStyle/>
        <a:p>
          <a:endParaRPr lang="sv-SE"/>
        </a:p>
      </dgm:t>
    </dgm:pt>
    <dgm:pt modelId="{730E9857-E13E-4806-82FF-2F49F42E1504}">
      <dgm:prSet phldrT="[Text]" custT="1"/>
      <dgm:spPr/>
      <dgm:t>
        <a:bodyPr/>
        <a:lstStyle/>
        <a:p>
          <a:pPr algn="ctr"/>
          <a:r>
            <a:rPr lang="sv-SE" sz="3200" err="1"/>
            <a:t>Weighting</a:t>
          </a:r>
          <a:r>
            <a:rPr lang="sv-SE" sz="3200"/>
            <a:t> and </a:t>
          </a:r>
          <a:r>
            <a:rPr lang="sv-SE" sz="3200" err="1"/>
            <a:t>normalisation</a:t>
          </a:r>
          <a:r>
            <a:rPr lang="sv-SE" sz="3200"/>
            <a:t> etc.</a:t>
          </a:r>
        </a:p>
      </dgm:t>
    </dgm:pt>
    <dgm:pt modelId="{B07C6465-C475-4892-BD23-4A0FCD630EB0}" type="parTrans" cxnId="{386A0FFE-CCCF-4587-A813-1720737C5F5B}">
      <dgm:prSet/>
      <dgm:spPr/>
      <dgm:t>
        <a:bodyPr/>
        <a:lstStyle/>
        <a:p>
          <a:endParaRPr lang="sv-SE"/>
        </a:p>
      </dgm:t>
    </dgm:pt>
    <dgm:pt modelId="{C8FA48F0-64FE-4AEC-988C-D4F1EB582010}" type="sibTrans" cxnId="{386A0FFE-CCCF-4587-A813-1720737C5F5B}">
      <dgm:prSet/>
      <dgm:spPr/>
      <dgm:t>
        <a:bodyPr/>
        <a:lstStyle/>
        <a:p>
          <a:endParaRPr lang="sv-SE"/>
        </a:p>
      </dgm:t>
    </dgm:pt>
    <dgm:pt modelId="{AEC36E4E-8DA3-4241-9E09-62F2D0F0D668}" type="pres">
      <dgm:prSet presAssocID="{AC978C93-076C-4C56-90B5-B14CBA90B22A}" presName="linearFlow" presStyleCnt="0">
        <dgm:presLayoutVars>
          <dgm:resizeHandles val="exact"/>
        </dgm:presLayoutVars>
      </dgm:prSet>
      <dgm:spPr/>
    </dgm:pt>
    <dgm:pt modelId="{74673CC9-B1D3-4ECD-A50B-9BA66ADE82E4}" type="pres">
      <dgm:prSet presAssocID="{BA64727E-575B-4D4D-94D5-12686BDB18C8}" presName="node" presStyleLbl="node1" presStyleIdx="0" presStyleCnt="3" custScaleX="143096">
        <dgm:presLayoutVars>
          <dgm:bulletEnabled val="1"/>
        </dgm:presLayoutVars>
      </dgm:prSet>
      <dgm:spPr/>
    </dgm:pt>
    <dgm:pt modelId="{54388463-AA21-46BB-A979-FA60D0D0139C}" type="pres">
      <dgm:prSet presAssocID="{D0EA0B09-1895-4BBC-9A85-1AD22E71DFD5}" presName="sibTrans" presStyleLbl="sibTrans2D1" presStyleIdx="0" presStyleCnt="2"/>
      <dgm:spPr/>
    </dgm:pt>
    <dgm:pt modelId="{AF8A8004-BF2C-440D-94D5-45C15DC496AC}" type="pres">
      <dgm:prSet presAssocID="{D0EA0B09-1895-4BBC-9A85-1AD22E71DFD5}" presName="connectorText" presStyleLbl="sibTrans2D1" presStyleIdx="0" presStyleCnt="2"/>
      <dgm:spPr/>
    </dgm:pt>
    <dgm:pt modelId="{FEA6B750-61DB-4A1C-8AE9-E5CEB3DFBDB2}" type="pres">
      <dgm:prSet presAssocID="{3AE8C42B-CDF7-4204-9CC2-0C09B738EDB1}" presName="node" presStyleLbl="node1" presStyleIdx="1" presStyleCnt="3" custScaleX="144263">
        <dgm:presLayoutVars>
          <dgm:bulletEnabled val="1"/>
        </dgm:presLayoutVars>
      </dgm:prSet>
      <dgm:spPr/>
    </dgm:pt>
    <dgm:pt modelId="{833A9DEC-8C47-420F-AB6E-67EE8024EE75}" type="pres">
      <dgm:prSet presAssocID="{25E11874-C219-454F-90C2-F9D55DCB96BE}" presName="sibTrans" presStyleLbl="sibTrans2D1" presStyleIdx="1" presStyleCnt="2"/>
      <dgm:spPr/>
    </dgm:pt>
    <dgm:pt modelId="{757D0219-553A-418C-9727-0E93ADC1A1D3}" type="pres">
      <dgm:prSet presAssocID="{25E11874-C219-454F-90C2-F9D55DCB96BE}" presName="connectorText" presStyleLbl="sibTrans2D1" presStyleIdx="1" presStyleCnt="2"/>
      <dgm:spPr/>
    </dgm:pt>
    <dgm:pt modelId="{65D0B4ED-779F-488F-9BB2-BAAE99469CE8}" type="pres">
      <dgm:prSet presAssocID="{730E9857-E13E-4806-82FF-2F49F42E1504}" presName="node" presStyleLbl="node1" presStyleIdx="2" presStyleCnt="3" custScaleX="145270">
        <dgm:presLayoutVars>
          <dgm:bulletEnabled val="1"/>
        </dgm:presLayoutVars>
      </dgm:prSet>
      <dgm:spPr/>
    </dgm:pt>
  </dgm:ptLst>
  <dgm:cxnLst>
    <dgm:cxn modelId="{A20BE415-EBAF-4BED-8DAF-AA9F77210297}" type="presOf" srcId="{730E9857-E13E-4806-82FF-2F49F42E1504}" destId="{65D0B4ED-779F-488F-9BB2-BAAE99469CE8}" srcOrd="0" destOrd="0" presId="urn:microsoft.com/office/officeart/2005/8/layout/process2"/>
    <dgm:cxn modelId="{938FBD1D-C9F7-4C7F-B312-9DA461214B07}" srcId="{AC978C93-076C-4C56-90B5-B14CBA90B22A}" destId="{BA64727E-575B-4D4D-94D5-12686BDB18C8}" srcOrd="0" destOrd="0" parTransId="{D35D5FC6-143B-486C-AD8B-BDC3E0034D74}" sibTransId="{D0EA0B09-1895-4BBC-9A85-1AD22E71DFD5}"/>
    <dgm:cxn modelId="{9EFC6C26-A573-4874-88FF-3567B1D3233E}" type="presOf" srcId="{3AE8C42B-CDF7-4204-9CC2-0C09B738EDB1}" destId="{FEA6B750-61DB-4A1C-8AE9-E5CEB3DFBDB2}" srcOrd="0" destOrd="0" presId="urn:microsoft.com/office/officeart/2005/8/layout/process2"/>
    <dgm:cxn modelId="{7D7D916F-9716-4542-AC0A-E2EA59A2B39E}" type="presOf" srcId="{25E11874-C219-454F-90C2-F9D55DCB96BE}" destId="{833A9DEC-8C47-420F-AB6E-67EE8024EE75}" srcOrd="0" destOrd="0" presId="urn:microsoft.com/office/officeart/2005/8/layout/process2"/>
    <dgm:cxn modelId="{BAE4AA7B-66DC-490B-8C1F-73FBDA51EC67}" srcId="{AC978C93-076C-4C56-90B5-B14CBA90B22A}" destId="{3AE8C42B-CDF7-4204-9CC2-0C09B738EDB1}" srcOrd="1" destOrd="0" parTransId="{3919F0A8-358A-4A70-8193-D7C478C5AB84}" sibTransId="{25E11874-C219-454F-90C2-F9D55DCB96BE}"/>
    <dgm:cxn modelId="{88D1D9A9-8A18-4929-B416-247C3C8C527D}" type="presOf" srcId="{BA64727E-575B-4D4D-94D5-12686BDB18C8}" destId="{74673CC9-B1D3-4ECD-A50B-9BA66ADE82E4}" srcOrd="0" destOrd="0" presId="urn:microsoft.com/office/officeart/2005/8/layout/process2"/>
    <dgm:cxn modelId="{C0A31AB0-DE1E-4B39-AFE0-4957A82EC275}" type="presOf" srcId="{25E11874-C219-454F-90C2-F9D55DCB96BE}" destId="{757D0219-553A-418C-9727-0E93ADC1A1D3}" srcOrd="1" destOrd="0" presId="urn:microsoft.com/office/officeart/2005/8/layout/process2"/>
    <dgm:cxn modelId="{9DCBBDB8-23CF-484D-8384-8643A50D7A5E}" type="presOf" srcId="{D0EA0B09-1895-4BBC-9A85-1AD22E71DFD5}" destId="{54388463-AA21-46BB-A979-FA60D0D0139C}" srcOrd="0" destOrd="0" presId="urn:microsoft.com/office/officeart/2005/8/layout/process2"/>
    <dgm:cxn modelId="{87A611BA-79D4-425D-82C0-87E73007D306}" type="presOf" srcId="{D0EA0B09-1895-4BBC-9A85-1AD22E71DFD5}" destId="{AF8A8004-BF2C-440D-94D5-45C15DC496AC}" srcOrd="1" destOrd="0" presId="urn:microsoft.com/office/officeart/2005/8/layout/process2"/>
    <dgm:cxn modelId="{D97543C1-FFD3-425B-824A-A388DC455FAA}" type="presOf" srcId="{AC978C93-076C-4C56-90B5-B14CBA90B22A}" destId="{AEC36E4E-8DA3-4241-9E09-62F2D0F0D668}" srcOrd="0" destOrd="0" presId="urn:microsoft.com/office/officeart/2005/8/layout/process2"/>
    <dgm:cxn modelId="{386A0FFE-CCCF-4587-A813-1720737C5F5B}" srcId="{AC978C93-076C-4C56-90B5-B14CBA90B22A}" destId="{730E9857-E13E-4806-82FF-2F49F42E1504}" srcOrd="2" destOrd="0" parTransId="{B07C6465-C475-4892-BD23-4A0FCD630EB0}" sibTransId="{C8FA48F0-64FE-4AEC-988C-D4F1EB582010}"/>
    <dgm:cxn modelId="{7A866AA2-5042-4F94-B318-4B6B815BB498}" type="presParOf" srcId="{AEC36E4E-8DA3-4241-9E09-62F2D0F0D668}" destId="{74673CC9-B1D3-4ECD-A50B-9BA66ADE82E4}" srcOrd="0" destOrd="0" presId="urn:microsoft.com/office/officeart/2005/8/layout/process2"/>
    <dgm:cxn modelId="{C58F7404-ADA9-4B7C-8282-E4F599D1173D}" type="presParOf" srcId="{AEC36E4E-8DA3-4241-9E09-62F2D0F0D668}" destId="{54388463-AA21-46BB-A979-FA60D0D0139C}" srcOrd="1" destOrd="0" presId="urn:microsoft.com/office/officeart/2005/8/layout/process2"/>
    <dgm:cxn modelId="{4A8AED06-36F1-4DEB-96B2-63206399921E}" type="presParOf" srcId="{54388463-AA21-46BB-A979-FA60D0D0139C}" destId="{AF8A8004-BF2C-440D-94D5-45C15DC496AC}" srcOrd="0" destOrd="0" presId="urn:microsoft.com/office/officeart/2005/8/layout/process2"/>
    <dgm:cxn modelId="{7EF6D4DB-67E7-490B-8E67-3558D5DF3CCC}" type="presParOf" srcId="{AEC36E4E-8DA3-4241-9E09-62F2D0F0D668}" destId="{FEA6B750-61DB-4A1C-8AE9-E5CEB3DFBDB2}" srcOrd="2" destOrd="0" presId="urn:microsoft.com/office/officeart/2005/8/layout/process2"/>
    <dgm:cxn modelId="{7CBC4AD5-1CD8-44F0-8934-CE623763C3DB}" type="presParOf" srcId="{AEC36E4E-8DA3-4241-9E09-62F2D0F0D668}" destId="{833A9DEC-8C47-420F-AB6E-67EE8024EE75}" srcOrd="3" destOrd="0" presId="urn:microsoft.com/office/officeart/2005/8/layout/process2"/>
    <dgm:cxn modelId="{855C3E42-D292-4B65-95D5-7417AC460545}" type="presParOf" srcId="{833A9DEC-8C47-420F-AB6E-67EE8024EE75}" destId="{757D0219-553A-418C-9727-0E93ADC1A1D3}" srcOrd="0" destOrd="0" presId="urn:microsoft.com/office/officeart/2005/8/layout/process2"/>
    <dgm:cxn modelId="{086EEC23-3C4E-46E8-BC76-DD0376C865E9}" type="presParOf" srcId="{AEC36E4E-8DA3-4241-9E09-62F2D0F0D668}" destId="{65D0B4ED-779F-488F-9BB2-BAAE99469CE8}" srcOrd="4" destOrd="0" presId="urn:microsoft.com/office/officeart/2005/8/layout/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A94A2D5-360A-4AC0-A9B1-6F7FE69928AA}">
      <dsp:nvSpPr>
        <dsp:cNvPr id="0" name=""/>
        <dsp:cNvSpPr/>
      </dsp:nvSpPr>
      <dsp:spPr>
        <a:xfrm>
          <a:off x="34977" y="620"/>
          <a:ext cx="2729558" cy="890075"/>
        </a:xfrm>
        <a:prstGeom prst="roundRect">
          <a:avLst>
            <a:gd name="adj" fmla="val 10000"/>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5245" tIns="36830" rIns="55245" bIns="36830" numCol="1" spcCol="1270" anchor="ctr" anchorCtr="0">
          <a:noAutofit/>
        </a:bodyPr>
        <a:lstStyle/>
        <a:p>
          <a:pPr marL="0" lvl="0" indent="0" algn="ctr" defTabSz="1289050">
            <a:lnSpc>
              <a:spcPct val="90000"/>
            </a:lnSpc>
            <a:spcBef>
              <a:spcPct val="0"/>
            </a:spcBef>
            <a:spcAft>
              <a:spcPct val="35000"/>
            </a:spcAft>
            <a:buNone/>
          </a:pPr>
          <a:r>
            <a:rPr lang="sv-SE" sz="2900" kern="1200"/>
            <a:t>Fossil </a:t>
          </a:r>
          <a:r>
            <a:rPr lang="sv-SE" sz="2900" kern="1200" err="1"/>
            <a:t>based</a:t>
          </a:r>
          <a:endParaRPr lang="sv-SE" sz="2900" kern="1200"/>
        </a:p>
      </dsp:txBody>
      <dsp:txXfrm>
        <a:off x="61046" y="26689"/>
        <a:ext cx="2677420" cy="837937"/>
      </dsp:txXfrm>
    </dsp:sp>
    <dsp:sp modelId="{A72E6D0F-38CA-43C4-9060-7ABE7DADA51F}">
      <dsp:nvSpPr>
        <dsp:cNvPr id="0" name=""/>
        <dsp:cNvSpPr/>
      </dsp:nvSpPr>
      <dsp:spPr>
        <a:xfrm>
          <a:off x="307933" y="890696"/>
          <a:ext cx="272955" cy="667556"/>
        </a:xfrm>
        <a:custGeom>
          <a:avLst/>
          <a:gdLst/>
          <a:ahLst/>
          <a:cxnLst/>
          <a:rect l="0" t="0" r="0" b="0"/>
          <a:pathLst>
            <a:path>
              <a:moveTo>
                <a:pt x="0" y="0"/>
              </a:moveTo>
              <a:lnTo>
                <a:pt x="0" y="667556"/>
              </a:lnTo>
              <a:lnTo>
                <a:pt x="272955" y="667556"/>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21CF9BC-1CF6-4484-A69B-179E7BF1E14B}">
      <dsp:nvSpPr>
        <dsp:cNvPr id="0" name=""/>
        <dsp:cNvSpPr/>
      </dsp:nvSpPr>
      <dsp:spPr>
        <a:xfrm>
          <a:off x="580889" y="1113215"/>
          <a:ext cx="3016971" cy="890075"/>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45720" tIns="30480" rIns="45720" bIns="30480" numCol="1" spcCol="1270" anchor="ctr" anchorCtr="0">
          <a:noAutofit/>
        </a:bodyPr>
        <a:lstStyle/>
        <a:p>
          <a:pPr marL="0" lvl="0" indent="0" algn="ctr" defTabSz="1066800">
            <a:lnSpc>
              <a:spcPct val="90000"/>
            </a:lnSpc>
            <a:spcBef>
              <a:spcPct val="0"/>
            </a:spcBef>
            <a:spcAft>
              <a:spcPct val="35000"/>
            </a:spcAft>
            <a:buNone/>
          </a:pPr>
          <a:r>
            <a:rPr lang="sv-SE" sz="2400" kern="1200"/>
            <a:t>Oil, NG, Diesel</a:t>
          </a:r>
        </a:p>
      </dsp:txBody>
      <dsp:txXfrm>
        <a:off x="606958" y="1139284"/>
        <a:ext cx="2964833" cy="837937"/>
      </dsp:txXfrm>
    </dsp:sp>
    <dsp:sp modelId="{6F26E007-3A75-4845-9C5C-C6FF775BF8CF}">
      <dsp:nvSpPr>
        <dsp:cNvPr id="0" name=""/>
        <dsp:cNvSpPr/>
      </dsp:nvSpPr>
      <dsp:spPr>
        <a:xfrm>
          <a:off x="307933" y="890696"/>
          <a:ext cx="272955" cy="1780150"/>
        </a:xfrm>
        <a:custGeom>
          <a:avLst/>
          <a:gdLst/>
          <a:ahLst/>
          <a:cxnLst/>
          <a:rect l="0" t="0" r="0" b="0"/>
          <a:pathLst>
            <a:path>
              <a:moveTo>
                <a:pt x="0" y="0"/>
              </a:moveTo>
              <a:lnTo>
                <a:pt x="0" y="1780150"/>
              </a:lnTo>
              <a:lnTo>
                <a:pt x="272955" y="1780150"/>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EFAF8FC-55EA-4A89-80C9-366BB51D2C64}">
      <dsp:nvSpPr>
        <dsp:cNvPr id="0" name=""/>
        <dsp:cNvSpPr/>
      </dsp:nvSpPr>
      <dsp:spPr>
        <a:xfrm>
          <a:off x="580889" y="2225809"/>
          <a:ext cx="2800020" cy="890075"/>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45720" tIns="30480" rIns="45720" bIns="30480" numCol="1" spcCol="1270" anchor="ctr" anchorCtr="0">
          <a:noAutofit/>
        </a:bodyPr>
        <a:lstStyle/>
        <a:p>
          <a:pPr marL="0" lvl="0" indent="0" algn="ctr" defTabSz="1066800">
            <a:lnSpc>
              <a:spcPct val="90000"/>
            </a:lnSpc>
            <a:spcBef>
              <a:spcPct val="0"/>
            </a:spcBef>
            <a:spcAft>
              <a:spcPct val="35000"/>
            </a:spcAft>
            <a:buNone/>
          </a:pPr>
          <a:r>
            <a:rPr lang="sv-SE" sz="2400" kern="1200" err="1"/>
            <a:t>Homogeneous</a:t>
          </a:r>
          <a:r>
            <a:rPr lang="sv-SE" sz="2400" kern="1200"/>
            <a:t>, </a:t>
          </a:r>
          <a:r>
            <a:rPr lang="sv-SE" sz="2400" kern="1200" err="1"/>
            <a:t>high</a:t>
          </a:r>
          <a:r>
            <a:rPr lang="sv-SE" sz="2400" kern="1200"/>
            <a:t> </a:t>
          </a:r>
          <a:r>
            <a:rPr lang="sv-SE" sz="2400" kern="1200" err="1"/>
            <a:t>energy</a:t>
          </a:r>
          <a:r>
            <a:rPr lang="sv-SE" sz="2400" kern="1200"/>
            <a:t> </a:t>
          </a:r>
          <a:r>
            <a:rPr lang="sv-SE" sz="2400" kern="1200" err="1"/>
            <a:t>density</a:t>
          </a:r>
          <a:endParaRPr lang="sv-SE" sz="2400" kern="1200"/>
        </a:p>
      </dsp:txBody>
      <dsp:txXfrm>
        <a:off x="606958" y="2251878"/>
        <a:ext cx="2747882" cy="837937"/>
      </dsp:txXfrm>
    </dsp:sp>
    <dsp:sp modelId="{6C36A592-7906-4940-A233-DE4A03A33ADA}">
      <dsp:nvSpPr>
        <dsp:cNvPr id="0" name=""/>
        <dsp:cNvSpPr/>
      </dsp:nvSpPr>
      <dsp:spPr>
        <a:xfrm>
          <a:off x="307933" y="890696"/>
          <a:ext cx="272955" cy="2892745"/>
        </a:xfrm>
        <a:custGeom>
          <a:avLst/>
          <a:gdLst/>
          <a:ahLst/>
          <a:cxnLst/>
          <a:rect l="0" t="0" r="0" b="0"/>
          <a:pathLst>
            <a:path>
              <a:moveTo>
                <a:pt x="0" y="0"/>
              </a:moveTo>
              <a:lnTo>
                <a:pt x="0" y="2892745"/>
              </a:lnTo>
              <a:lnTo>
                <a:pt x="272955" y="289274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3C7A958-8DF5-4A30-B22B-79A769449AB5}">
      <dsp:nvSpPr>
        <dsp:cNvPr id="0" name=""/>
        <dsp:cNvSpPr/>
      </dsp:nvSpPr>
      <dsp:spPr>
        <a:xfrm>
          <a:off x="580889" y="3338403"/>
          <a:ext cx="2679796" cy="890075"/>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45720" tIns="30480" rIns="45720" bIns="30480" numCol="1" spcCol="1270" anchor="ctr" anchorCtr="0">
          <a:noAutofit/>
        </a:bodyPr>
        <a:lstStyle/>
        <a:p>
          <a:pPr marL="0" lvl="0" indent="0" algn="ctr" defTabSz="1066800">
            <a:lnSpc>
              <a:spcPct val="90000"/>
            </a:lnSpc>
            <a:spcBef>
              <a:spcPct val="0"/>
            </a:spcBef>
            <a:spcAft>
              <a:spcPct val="35000"/>
            </a:spcAft>
            <a:buNone/>
          </a:pPr>
          <a:r>
            <a:rPr lang="sv-SE" sz="2400" kern="1200"/>
            <a:t>Prices going </a:t>
          </a:r>
          <a:r>
            <a:rPr lang="sv-SE" sz="2400" kern="1200" err="1"/>
            <a:t>up</a:t>
          </a:r>
          <a:endParaRPr lang="sv-SE" sz="2400" kern="1200"/>
        </a:p>
      </dsp:txBody>
      <dsp:txXfrm>
        <a:off x="606958" y="3364472"/>
        <a:ext cx="2627658" cy="837937"/>
      </dsp:txXfrm>
    </dsp:sp>
    <dsp:sp modelId="{4B17B1B2-5541-4797-A5CE-3D5D946103D9}">
      <dsp:nvSpPr>
        <dsp:cNvPr id="0" name=""/>
        <dsp:cNvSpPr/>
      </dsp:nvSpPr>
      <dsp:spPr>
        <a:xfrm>
          <a:off x="3477322" y="620"/>
          <a:ext cx="2827876" cy="890075"/>
        </a:xfrm>
        <a:prstGeom prst="roundRect">
          <a:avLst>
            <a:gd name="adj" fmla="val 10000"/>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5245" tIns="36830" rIns="55245" bIns="36830" numCol="1" spcCol="1270" anchor="ctr" anchorCtr="0">
          <a:noAutofit/>
        </a:bodyPr>
        <a:lstStyle/>
        <a:p>
          <a:pPr marL="0" lvl="0" indent="0" algn="ctr" defTabSz="1289050">
            <a:lnSpc>
              <a:spcPct val="90000"/>
            </a:lnSpc>
            <a:spcBef>
              <a:spcPct val="0"/>
            </a:spcBef>
            <a:spcAft>
              <a:spcPct val="35000"/>
            </a:spcAft>
            <a:buNone/>
          </a:pPr>
          <a:r>
            <a:rPr lang="sv-SE" sz="2900" kern="1200"/>
            <a:t>Not fossil </a:t>
          </a:r>
          <a:r>
            <a:rPr lang="sv-SE" sz="2900" kern="1200" err="1"/>
            <a:t>based</a:t>
          </a:r>
          <a:endParaRPr lang="sv-SE" sz="2900" kern="1200"/>
        </a:p>
      </dsp:txBody>
      <dsp:txXfrm>
        <a:off x="3503391" y="26689"/>
        <a:ext cx="2775738" cy="837937"/>
      </dsp:txXfrm>
    </dsp:sp>
    <dsp:sp modelId="{AF456C06-E1A6-4ED8-91CD-EDF9C5B3C979}">
      <dsp:nvSpPr>
        <dsp:cNvPr id="0" name=""/>
        <dsp:cNvSpPr/>
      </dsp:nvSpPr>
      <dsp:spPr>
        <a:xfrm>
          <a:off x="3760110" y="890696"/>
          <a:ext cx="282787" cy="667556"/>
        </a:xfrm>
        <a:custGeom>
          <a:avLst/>
          <a:gdLst/>
          <a:ahLst/>
          <a:cxnLst/>
          <a:rect l="0" t="0" r="0" b="0"/>
          <a:pathLst>
            <a:path>
              <a:moveTo>
                <a:pt x="0" y="0"/>
              </a:moveTo>
              <a:lnTo>
                <a:pt x="0" y="667556"/>
              </a:lnTo>
              <a:lnTo>
                <a:pt x="282787" y="667556"/>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F388482-9EC5-4330-AE92-433491F59E3E}">
      <dsp:nvSpPr>
        <dsp:cNvPr id="0" name=""/>
        <dsp:cNvSpPr/>
      </dsp:nvSpPr>
      <dsp:spPr>
        <a:xfrm>
          <a:off x="4042898" y="1113215"/>
          <a:ext cx="3077667" cy="890075"/>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45720" tIns="30480" rIns="45720" bIns="30480" numCol="1" spcCol="1270" anchor="ctr" anchorCtr="0">
          <a:noAutofit/>
        </a:bodyPr>
        <a:lstStyle/>
        <a:p>
          <a:pPr marL="0" lvl="0" indent="0" algn="ctr" defTabSz="1066800">
            <a:lnSpc>
              <a:spcPct val="90000"/>
            </a:lnSpc>
            <a:spcBef>
              <a:spcPct val="0"/>
            </a:spcBef>
            <a:spcAft>
              <a:spcPct val="35000"/>
            </a:spcAft>
            <a:buNone/>
          </a:pPr>
          <a:r>
            <a:rPr lang="sv-SE" sz="2400" kern="1200" err="1"/>
            <a:t>Biomass,biogas</a:t>
          </a:r>
          <a:r>
            <a:rPr lang="sv-SE" sz="2400" kern="1200"/>
            <a:t>, hydrogen</a:t>
          </a:r>
        </a:p>
      </dsp:txBody>
      <dsp:txXfrm>
        <a:off x="4068967" y="1139284"/>
        <a:ext cx="3025529" cy="837937"/>
      </dsp:txXfrm>
    </dsp:sp>
    <dsp:sp modelId="{19233220-CA67-40E4-BB47-62F7216348D5}">
      <dsp:nvSpPr>
        <dsp:cNvPr id="0" name=""/>
        <dsp:cNvSpPr/>
      </dsp:nvSpPr>
      <dsp:spPr>
        <a:xfrm>
          <a:off x="3760110" y="890696"/>
          <a:ext cx="282787" cy="1780150"/>
        </a:xfrm>
        <a:custGeom>
          <a:avLst/>
          <a:gdLst/>
          <a:ahLst/>
          <a:cxnLst/>
          <a:rect l="0" t="0" r="0" b="0"/>
          <a:pathLst>
            <a:path>
              <a:moveTo>
                <a:pt x="0" y="0"/>
              </a:moveTo>
              <a:lnTo>
                <a:pt x="0" y="1780150"/>
              </a:lnTo>
              <a:lnTo>
                <a:pt x="282787" y="1780150"/>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8A39F5B-146C-4332-A532-916B08FBB057}">
      <dsp:nvSpPr>
        <dsp:cNvPr id="0" name=""/>
        <dsp:cNvSpPr/>
      </dsp:nvSpPr>
      <dsp:spPr>
        <a:xfrm>
          <a:off x="4042898" y="2225809"/>
          <a:ext cx="2917112" cy="890075"/>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45720" tIns="30480" rIns="45720" bIns="30480" numCol="1" spcCol="1270" anchor="ctr" anchorCtr="0">
          <a:noAutofit/>
        </a:bodyPr>
        <a:lstStyle/>
        <a:p>
          <a:pPr marL="0" lvl="0" indent="0" algn="ctr" defTabSz="1066800">
            <a:lnSpc>
              <a:spcPct val="90000"/>
            </a:lnSpc>
            <a:spcBef>
              <a:spcPct val="0"/>
            </a:spcBef>
            <a:spcAft>
              <a:spcPct val="35000"/>
            </a:spcAft>
            <a:buNone/>
          </a:pPr>
          <a:r>
            <a:rPr lang="sv-SE" sz="2400" kern="1200" err="1"/>
            <a:t>Lower</a:t>
          </a:r>
          <a:r>
            <a:rPr lang="sv-SE" sz="2400" kern="1200"/>
            <a:t> </a:t>
          </a:r>
          <a:r>
            <a:rPr lang="sv-SE" sz="2400" kern="1200" err="1"/>
            <a:t>energy</a:t>
          </a:r>
          <a:r>
            <a:rPr lang="sv-SE" sz="2400" kern="1200"/>
            <a:t> </a:t>
          </a:r>
          <a:r>
            <a:rPr lang="sv-SE" sz="2400" kern="1200" err="1"/>
            <a:t>density</a:t>
          </a:r>
          <a:r>
            <a:rPr lang="sv-SE" sz="2400" kern="1200"/>
            <a:t> </a:t>
          </a:r>
        </a:p>
      </dsp:txBody>
      <dsp:txXfrm>
        <a:off x="4068967" y="2251878"/>
        <a:ext cx="2864974" cy="837937"/>
      </dsp:txXfrm>
    </dsp:sp>
    <dsp:sp modelId="{3D048702-813F-4861-9EF8-23F0BCEBD8A6}">
      <dsp:nvSpPr>
        <dsp:cNvPr id="0" name=""/>
        <dsp:cNvSpPr/>
      </dsp:nvSpPr>
      <dsp:spPr>
        <a:xfrm>
          <a:off x="3760110" y="890696"/>
          <a:ext cx="282787" cy="2892745"/>
        </a:xfrm>
        <a:custGeom>
          <a:avLst/>
          <a:gdLst/>
          <a:ahLst/>
          <a:cxnLst/>
          <a:rect l="0" t="0" r="0" b="0"/>
          <a:pathLst>
            <a:path>
              <a:moveTo>
                <a:pt x="0" y="0"/>
              </a:moveTo>
              <a:lnTo>
                <a:pt x="0" y="2892745"/>
              </a:lnTo>
              <a:lnTo>
                <a:pt x="282787" y="289274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C79EDDE-B32F-42D5-A0A8-E7FC357EFC5D}">
      <dsp:nvSpPr>
        <dsp:cNvPr id="0" name=""/>
        <dsp:cNvSpPr/>
      </dsp:nvSpPr>
      <dsp:spPr>
        <a:xfrm>
          <a:off x="4042898" y="3338403"/>
          <a:ext cx="2498178" cy="890075"/>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45720" tIns="30480" rIns="45720" bIns="30480" numCol="1" spcCol="1270" anchor="ctr" anchorCtr="0">
          <a:noAutofit/>
        </a:bodyPr>
        <a:lstStyle/>
        <a:p>
          <a:pPr marL="0" lvl="0" indent="0" algn="ctr" defTabSz="1066800">
            <a:lnSpc>
              <a:spcPct val="90000"/>
            </a:lnSpc>
            <a:spcBef>
              <a:spcPct val="0"/>
            </a:spcBef>
            <a:spcAft>
              <a:spcPct val="35000"/>
            </a:spcAft>
            <a:buNone/>
          </a:pPr>
          <a:r>
            <a:rPr lang="sv-SE" sz="2400" kern="1200"/>
            <a:t>Will </a:t>
          </a:r>
          <a:r>
            <a:rPr lang="sv-SE" sz="2400" kern="1200" err="1"/>
            <a:t>prices</a:t>
          </a:r>
          <a:r>
            <a:rPr lang="sv-SE" sz="2400" kern="1200"/>
            <a:t> go </a:t>
          </a:r>
          <a:r>
            <a:rPr lang="sv-SE" sz="2400" kern="1200" err="1"/>
            <a:t>dowm</a:t>
          </a:r>
          <a:r>
            <a:rPr lang="sv-SE" sz="2400" kern="1200"/>
            <a:t>?</a:t>
          </a:r>
        </a:p>
      </dsp:txBody>
      <dsp:txXfrm>
        <a:off x="4068967" y="3364472"/>
        <a:ext cx="2446040" cy="837937"/>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3843286-8D87-4BB1-AEA9-09DBE4A20DAC}">
      <dsp:nvSpPr>
        <dsp:cNvPr id="0" name=""/>
        <dsp:cNvSpPr/>
      </dsp:nvSpPr>
      <dsp:spPr>
        <a:xfrm>
          <a:off x="0" y="1348264"/>
          <a:ext cx="9451569" cy="1901250"/>
        </a:xfrm>
        <a:prstGeom prst="roundRect">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b="0" i="0" kern="1200" dirty="0">
              <a:solidFill>
                <a:schemeClr val="bg1"/>
              </a:solidFill>
            </a:rPr>
            <a:t>Standards can set minimum recycled material quotas for products in sectors like vehicles, aviation systems, and appliances. ASAS takes a central role in organizing and participating in panels where academics and industry leaders collaborate on actionable initiatives within this framework.</a:t>
          </a:r>
          <a:endParaRPr lang="en-US" sz="2400" kern="1200" dirty="0">
            <a:solidFill>
              <a:schemeClr val="bg1"/>
            </a:solidFill>
          </a:endParaRPr>
        </a:p>
      </dsp:txBody>
      <dsp:txXfrm>
        <a:off x="92811" y="1441075"/>
        <a:ext cx="9265947" cy="1715628"/>
      </dsp:txXfrm>
    </dsp:sp>
    <dsp:sp modelId="{A801473F-E36C-4FBD-A80B-AF40E1E283C1}">
      <dsp:nvSpPr>
        <dsp:cNvPr id="0" name=""/>
        <dsp:cNvSpPr/>
      </dsp:nvSpPr>
      <dsp:spPr>
        <a:xfrm>
          <a:off x="0" y="3436715"/>
          <a:ext cx="9451569" cy="1901250"/>
        </a:xfrm>
        <a:prstGeom prst="roundRect">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GB" sz="2400" kern="1200" dirty="0">
              <a:solidFill>
                <a:schemeClr val="bg1"/>
              </a:solidFill>
            </a:rPr>
            <a:t>National or Europe-wide incentives about investing on machines/systems about recycling can motivate the industry partners. Standards can define a minimum annual recycled material use to guarantee it.</a:t>
          </a:r>
          <a:endParaRPr lang="en-US" sz="2400" kern="1200" dirty="0">
            <a:solidFill>
              <a:schemeClr val="bg1"/>
            </a:solidFill>
          </a:endParaRPr>
        </a:p>
      </dsp:txBody>
      <dsp:txXfrm>
        <a:off x="92811" y="3529526"/>
        <a:ext cx="9265947" cy="1715628"/>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DFFA55A-18FF-4226-8500-ACDD0E3598A0}">
      <dsp:nvSpPr>
        <dsp:cNvPr id="0" name=""/>
        <dsp:cNvSpPr/>
      </dsp:nvSpPr>
      <dsp:spPr>
        <a:xfrm>
          <a:off x="0" y="351116"/>
          <a:ext cx="17160240" cy="1385133"/>
        </a:xfrm>
        <a:prstGeom prst="roundRect">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i="1" kern="1200">
              <a:solidFill>
                <a:schemeClr val="bg1"/>
              </a:solidFill>
            </a:rPr>
            <a:t>The cement industry has its own decarbonization roadmap, that includes the fossil fuel reduction (alternative fuels) and the use of secondary materials, and the decisive political action in key areas. Companies are also establishing technology partnerships to develop decarbonisation solutions and new business models.</a:t>
          </a:r>
          <a:endParaRPr lang="en-US" sz="2100" kern="1200">
            <a:solidFill>
              <a:schemeClr val="bg1"/>
            </a:solidFill>
          </a:endParaRPr>
        </a:p>
      </dsp:txBody>
      <dsp:txXfrm>
        <a:off x="67617" y="418733"/>
        <a:ext cx="17025006" cy="1249899"/>
      </dsp:txXfrm>
    </dsp:sp>
    <dsp:sp modelId="{F6507C70-1D8B-4151-AA51-9843BD2F68D2}">
      <dsp:nvSpPr>
        <dsp:cNvPr id="0" name=""/>
        <dsp:cNvSpPr/>
      </dsp:nvSpPr>
      <dsp:spPr>
        <a:xfrm>
          <a:off x="0" y="1796729"/>
          <a:ext cx="17160240" cy="1385133"/>
        </a:xfrm>
        <a:prstGeom prst="roundRect">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i="1" kern="1200">
              <a:solidFill>
                <a:schemeClr val="bg1"/>
              </a:solidFill>
            </a:rPr>
            <a:t>In 2020, the members of the Global Cement and Concrete Association (GCCA) commit to producing carbon neutral concrete by 2050, in line with global climate targets. The 2050 Net Zero Roadmap sets out in detail how collectively, in collaboration with built environment stakeholders and policymakers, the companies will fully decarbonise the cement and concrete industry and provide net zero concrete for the world. (</a:t>
          </a:r>
          <a:r>
            <a:rPr lang="en-US" sz="2100" i="1" u="sng" kern="1200">
              <a:solidFill>
                <a:schemeClr val="bg1"/>
              </a:solidFill>
              <a:hlinkClick xmlns:r="http://schemas.openxmlformats.org/officeDocument/2006/relationships" r:id="rId1">
                <a:extLst>
                  <a:ext uri="{A12FA001-AC4F-418D-AE19-62706E023703}">
                    <ahyp:hlinkClr xmlns:ahyp="http://schemas.microsoft.com/office/drawing/2018/hyperlinkcolor" val="tx"/>
                  </a:ext>
                </a:extLst>
              </a:hlinkClick>
            </a:rPr>
            <a:t>https://gccassociation.org/concretefuture/wp-content/uploads/2022/10/GCCA-Concrete-Future-Roadmap-Document-AW-2022.pdf</a:t>
          </a:r>
          <a:r>
            <a:rPr lang="en-US" sz="2100" i="1" kern="1200">
              <a:solidFill>
                <a:schemeClr val="bg1"/>
              </a:solidFill>
            </a:rPr>
            <a:t>)</a:t>
          </a:r>
          <a:endParaRPr lang="en-US" sz="2100" kern="1200">
            <a:solidFill>
              <a:schemeClr val="bg1"/>
            </a:solidFill>
          </a:endParaRPr>
        </a:p>
      </dsp:txBody>
      <dsp:txXfrm>
        <a:off x="67617" y="1864346"/>
        <a:ext cx="17025006" cy="1249899"/>
      </dsp:txXfrm>
    </dsp:sp>
    <dsp:sp modelId="{A0589B8D-FF02-4CED-8A78-E70483041F5C}">
      <dsp:nvSpPr>
        <dsp:cNvPr id="0" name=""/>
        <dsp:cNvSpPr/>
      </dsp:nvSpPr>
      <dsp:spPr>
        <a:xfrm>
          <a:off x="0" y="3242343"/>
          <a:ext cx="17160240" cy="1385133"/>
        </a:xfrm>
        <a:prstGeom prst="roundRect">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GB" sz="2100" i="1" kern="1200">
              <a:solidFill>
                <a:schemeClr val="bg1"/>
              </a:solidFill>
            </a:rPr>
            <a:t>The European Cement Association (CEMBUREAU) also has the ambition to reduce the CO2 intensity to reach carbon neutrality along the value chain by 2050. CEMBUREAU’s Carbon Neutrality Roadmap establishes how the European cement industry can reduce its carbon emissions by 2050, and align with the objectives of the European Green Deal (</a:t>
          </a:r>
          <a:r>
            <a:rPr lang="en-GB" sz="2100" i="1" u="sng" kern="1200">
              <a:solidFill>
                <a:schemeClr val="bg1"/>
              </a:solidFill>
              <a:hlinkClick xmlns:r="http://schemas.openxmlformats.org/officeDocument/2006/relationships" r:id="rId2">
                <a:extLst>
                  <a:ext uri="{A12FA001-AC4F-418D-AE19-62706E023703}">
                    <ahyp:hlinkClr xmlns:ahyp="http://schemas.microsoft.com/office/drawing/2018/hyperlinkcolor" val="tx"/>
                  </a:ext>
                </a:extLst>
              </a:hlinkClick>
            </a:rPr>
            <a:t>cembureau-2050-roadmap_final-version_web.pdf</a:t>
          </a:r>
          <a:r>
            <a:rPr lang="en-GB" sz="2100" i="1" kern="1200">
              <a:solidFill>
                <a:schemeClr val="bg1"/>
              </a:solidFill>
            </a:rPr>
            <a:t>).</a:t>
          </a:r>
          <a:endParaRPr lang="en-US" sz="2100" kern="1200">
            <a:solidFill>
              <a:schemeClr val="bg1"/>
            </a:solidFill>
          </a:endParaRPr>
        </a:p>
      </dsp:txBody>
      <dsp:txXfrm>
        <a:off x="67617" y="3309960"/>
        <a:ext cx="17025006" cy="1249899"/>
      </dsp:txXfrm>
    </dsp:sp>
    <dsp:sp modelId="{8ECA87E3-F4E1-4F84-89B0-5EC608BB75AB}">
      <dsp:nvSpPr>
        <dsp:cNvPr id="0" name=""/>
        <dsp:cNvSpPr/>
      </dsp:nvSpPr>
      <dsp:spPr>
        <a:xfrm>
          <a:off x="0" y="4687957"/>
          <a:ext cx="17160240" cy="1385133"/>
        </a:xfrm>
        <a:prstGeom prst="roundRect">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i="1" kern="1200">
              <a:solidFill>
                <a:schemeClr val="bg1"/>
              </a:solidFill>
            </a:rPr>
            <a:t>Additionally, the dissemination of such proposals should be made through scientific and industry specific congresses, publications in magazines and journals, information journeys, promotion workshops, and any other kind of dissemination events that can lead to the promotion and awareness of EU entities and general public, which might provide high impact on the implementation of the technologies.</a:t>
          </a:r>
          <a:endParaRPr lang="en-US" sz="2100" kern="1200">
            <a:solidFill>
              <a:schemeClr val="bg1"/>
            </a:solidFill>
          </a:endParaRPr>
        </a:p>
      </dsp:txBody>
      <dsp:txXfrm>
        <a:off x="67617" y="4755574"/>
        <a:ext cx="17025006" cy="1249899"/>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B83DA51-0397-4229-8FE4-F7D39A8C793A}">
      <dsp:nvSpPr>
        <dsp:cNvPr id="0" name=""/>
        <dsp:cNvSpPr/>
      </dsp:nvSpPr>
      <dsp:spPr>
        <a:xfrm>
          <a:off x="2668106" y="3347369"/>
          <a:ext cx="839414" cy="2707112"/>
        </a:xfrm>
        <a:custGeom>
          <a:avLst/>
          <a:gdLst/>
          <a:ahLst/>
          <a:cxnLst/>
          <a:rect l="0" t="0" r="0" b="0"/>
          <a:pathLst>
            <a:path>
              <a:moveTo>
                <a:pt x="0" y="0"/>
              </a:moveTo>
              <a:lnTo>
                <a:pt x="419707" y="0"/>
              </a:lnTo>
              <a:lnTo>
                <a:pt x="419707" y="2707112"/>
              </a:lnTo>
              <a:lnTo>
                <a:pt x="839414" y="2707112"/>
              </a:lnTo>
            </a:path>
          </a:pathLst>
        </a:custGeom>
        <a:noFill/>
        <a:ln w="25400" cap="flat" cmpd="sng" algn="ctr">
          <a:solidFill>
            <a:schemeClr val="accent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61E4D7D-AF91-4A4A-B7FF-12FF9D669142}">
      <dsp:nvSpPr>
        <dsp:cNvPr id="0" name=""/>
        <dsp:cNvSpPr/>
      </dsp:nvSpPr>
      <dsp:spPr>
        <a:xfrm>
          <a:off x="2668106" y="3347369"/>
          <a:ext cx="839414" cy="902370"/>
        </a:xfrm>
        <a:custGeom>
          <a:avLst/>
          <a:gdLst/>
          <a:ahLst/>
          <a:cxnLst/>
          <a:rect l="0" t="0" r="0" b="0"/>
          <a:pathLst>
            <a:path>
              <a:moveTo>
                <a:pt x="0" y="0"/>
              </a:moveTo>
              <a:lnTo>
                <a:pt x="419707" y="0"/>
              </a:lnTo>
              <a:lnTo>
                <a:pt x="419707" y="902370"/>
              </a:lnTo>
              <a:lnTo>
                <a:pt x="839414" y="902370"/>
              </a:lnTo>
            </a:path>
          </a:pathLst>
        </a:custGeom>
        <a:noFill/>
        <a:ln w="25400" cap="flat" cmpd="sng" algn="ctr">
          <a:solidFill>
            <a:schemeClr val="accent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A2091D1-A6AA-4F64-AD7C-E7158DF03816}">
      <dsp:nvSpPr>
        <dsp:cNvPr id="0" name=""/>
        <dsp:cNvSpPr/>
      </dsp:nvSpPr>
      <dsp:spPr>
        <a:xfrm>
          <a:off x="2668106" y="2444998"/>
          <a:ext cx="839414" cy="902370"/>
        </a:xfrm>
        <a:custGeom>
          <a:avLst/>
          <a:gdLst/>
          <a:ahLst/>
          <a:cxnLst/>
          <a:rect l="0" t="0" r="0" b="0"/>
          <a:pathLst>
            <a:path>
              <a:moveTo>
                <a:pt x="0" y="902370"/>
              </a:moveTo>
              <a:lnTo>
                <a:pt x="419707" y="902370"/>
              </a:lnTo>
              <a:lnTo>
                <a:pt x="419707" y="0"/>
              </a:lnTo>
              <a:lnTo>
                <a:pt x="839414" y="0"/>
              </a:lnTo>
            </a:path>
          </a:pathLst>
        </a:custGeom>
        <a:noFill/>
        <a:ln w="25400" cap="flat" cmpd="sng" algn="ctr">
          <a:solidFill>
            <a:schemeClr val="accent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FF3083B-2E6C-4278-B08D-86565B4DA2C5}">
      <dsp:nvSpPr>
        <dsp:cNvPr id="0" name=""/>
        <dsp:cNvSpPr/>
      </dsp:nvSpPr>
      <dsp:spPr>
        <a:xfrm>
          <a:off x="2668106" y="640256"/>
          <a:ext cx="839414" cy="2707112"/>
        </a:xfrm>
        <a:custGeom>
          <a:avLst/>
          <a:gdLst/>
          <a:ahLst/>
          <a:cxnLst/>
          <a:rect l="0" t="0" r="0" b="0"/>
          <a:pathLst>
            <a:path>
              <a:moveTo>
                <a:pt x="0" y="2707112"/>
              </a:moveTo>
              <a:lnTo>
                <a:pt x="419707" y="2707112"/>
              </a:lnTo>
              <a:lnTo>
                <a:pt x="419707" y="0"/>
              </a:lnTo>
              <a:lnTo>
                <a:pt x="839414" y="0"/>
              </a:lnTo>
            </a:path>
          </a:pathLst>
        </a:custGeom>
        <a:noFill/>
        <a:ln w="25400" cap="flat" cmpd="sng" algn="ctr">
          <a:solidFill>
            <a:schemeClr val="accent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7E4ABDB-28D0-484C-9A17-3859E5AEA975}">
      <dsp:nvSpPr>
        <dsp:cNvPr id="0" name=""/>
        <dsp:cNvSpPr/>
      </dsp:nvSpPr>
      <dsp:spPr>
        <a:xfrm>
          <a:off x="83044" y="1869900"/>
          <a:ext cx="2585061" cy="2954936"/>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GB" sz="2200" i="1" kern="1200">
              <a:effectLst/>
              <a:latin typeface="Arial" panose="020B0604020202020204" pitchFamily="34" charset="0"/>
              <a:ea typeface="Times New Roman" panose="02020603050405020304" pitchFamily="18" charset="0"/>
              <a:cs typeface="Times New Roman" panose="02020603050405020304" pitchFamily="18" charset="0"/>
            </a:rPr>
            <a:t>Ideas or action to overcome the impact that legislation or the lack of it has on your sector</a:t>
          </a:r>
          <a:endParaRPr lang="sv-SE" sz="2200" kern="1200"/>
        </a:p>
      </dsp:txBody>
      <dsp:txXfrm>
        <a:off x="83044" y="1869900"/>
        <a:ext cx="2585061" cy="2954936"/>
      </dsp:txXfrm>
    </dsp:sp>
    <dsp:sp modelId="{A758E972-AD97-4A3F-8FF2-E333FF753CCE}">
      <dsp:nvSpPr>
        <dsp:cNvPr id="0" name=""/>
        <dsp:cNvSpPr/>
      </dsp:nvSpPr>
      <dsp:spPr>
        <a:xfrm>
          <a:off x="3507521" y="202"/>
          <a:ext cx="4197074" cy="1280107"/>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Font typeface="Symbol" panose="05050102010706020507" pitchFamily="18" charset="2"/>
            <a:buNone/>
          </a:pPr>
          <a:r>
            <a:rPr lang="en-GB" sz="2200" i="1" kern="1200">
              <a:effectLst/>
              <a:latin typeface="Arial" panose="020B0604020202020204" pitchFamily="34" charset="0"/>
              <a:ea typeface="Calibri" panose="020F0502020204030204" pitchFamily="34" charset="0"/>
              <a:cs typeface="Lohit Devanagari"/>
            </a:rPr>
            <a:t>Historic landfills are a source of waste which can be recovered for cement production (raw materials and fuels).</a:t>
          </a:r>
          <a:endParaRPr lang="sv-SE" sz="2200" kern="1200"/>
        </a:p>
      </dsp:txBody>
      <dsp:txXfrm>
        <a:off x="3507521" y="202"/>
        <a:ext cx="4197074" cy="1280107"/>
      </dsp:txXfrm>
    </dsp:sp>
    <dsp:sp modelId="{A0B7C142-6F06-46B7-9DD1-CB40B7C382A7}">
      <dsp:nvSpPr>
        <dsp:cNvPr id="0" name=""/>
        <dsp:cNvSpPr/>
      </dsp:nvSpPr>
      <dsp:spPr>
        <a:xfrm>
          <a:off x="3507521" y="1804944"/>
          <a:ext cx="4197074" cy="1280107"/>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Font typeface="Symbol" panose="05050102010706020507" pitchFamily="18" charset="2"/>
            <a:buNone/>
          </a:pPr>
          <a:r>
            <a:rPr lang="en-GB" sz="2200" i="1" kern="1200">
              <a:effectLst/>
              <a:latin typeface="Arial" panose="020B0604020202020204" pitchFamily="34" charset="0"/>
              <a:ea typeface="Calibri" panose="020F0502020204030204" pitchFamily="34" charset="0"/>
              <a:cs typeface="Lohit Devanagari"/>
            </a:rPr>
            <a:t>Construction and demolition wastes offer quantities of suitable raw materials.</a:t>
          </a:r>
          <a:endParaRPr lang="sv-SE" sz="2200" kern="1200"/>
        </a:p>
      </dsp:txBody>
      <dsp:txXfrm>
        <a:off x="3507521" y="1804944"/>
        <a:ext cx="4197074" cy="1280107"/>
      </dsp:txXfrm>
    </dsp:sp>
    <dsp:sp modelId="{3197E746-9ACD-4476-B3FA-89470947E893}">
      <dsp:nvSpPr>
        <dsp:cNvPr id="0" name=""/>
        <dsp:cNvSpPr/>
      </dsp:nvSpPr>
      <dsp:spPr>
        <a:xfrm>
          <a:off x="3507521" y="3609686"/>
          <a:ext cx="4197074" cy="1280107"/>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Font typeface="Symbol" panose="05050102010706020507" pitchFamily="18" charset="2"/>
            <a:buNone/>
          </a:pPr>
          <a:r>
            <a:rPr lang="en-GB" sz="2200" i="1" kern="1200">
              <a:effectLst/>
              <a:latin typeface="Arial" panose="020B0604020202020204" pitchFamily="34" charset="0"/>
              <a:ea typeface="Calibri" panose="020F0502020204030204" pitchFamily="34" charset="0"/>
              <a:cs typeface="Lohit Devanagari"/>
            </a:rPr>
            <a:t>Establish a waste management system which assures the collection, sorting and fractioning of the desirable waste.</a:t>
          </a:r>
          <a:endParaRPr lang="sv-SE" sz="2200" kern="1200"/>
        </a:p>
      </dsp:txBody>
      <dsp:txXfrm>
        <a:off x="3507521" y="3609686"/>
        <a:ext cx="4197074" cy="1280107"/>
      </dsp:txXfrm>
    </dsp:sp>
    <dsp:sp modelId="{602DB18E-4962-4272-BB8B-E16EEDE5EA53}">
      <dsp:nvSpPr>
        <dsp:cNvPr id="0" name=""/>
        <dsp:cNvSpPr/>
      </dsp:nvSpPr>
      <dsp:spPr>
        <a:xfrm>
          <a:off x="3507521" y="5414427"/>
          <a:ext cx="4197074" cy="1280107"/>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Font typeface="Symbol" panose="05050102010706020507" pitchFamily="18" charset="2"/>
            <a:buNone/>
          </a:pPr>
          <a:r>
            <a:rPr lang="en-GB" sz="2200" i="1" kern="1200">
              <a:effectLst/>
              <a:latin typeface="Arial" panose="020B0604020202020204" pitchFamily="34" charset="0"/>
              <a:ea typeface="Calibri" panose="020F0502020204030204" pitchFamily="34" charset="0"/>
              <a:cs typeface="Lohit Devanagari"/>
            </a:rPr>
            <a:t>Industrial symbiosis to find new suitable secondary materials</a:t>
          </a:r>
          <a:endParaRPr lang="sv-SE" sz="2200" kern="1200"/>
        </a:p>
      </dsp:txBody>
      <dsp:txXfrm>
        <a:off x="3507521" y="5414427"/>
        <a:ext cx="4197074" cy="1280107"/>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3843286-8D87-4BB1-AEA9-09DBE4A20DAC}">
      <dsp:nvSpPr>
        <dsp:cNvPr id="0" name=""/>
        <dsp:cNvSpPr/>
      </dsp:nvSpPr>
      <dsp:spPr>
        <a:xfrm>
          <a:off x="0" y="146636"/>
          <a:ext cx="13296900" cy="1871542"/>
        </a:xfrm>
        <a:prstGeom prst="roundRect">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GB" sz="2000" i="1" kern="1200" dirty="0">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rPr>
            <a:t>The Fertilizers sector is very much compromised to overcome the mentioned barriers, being very active through association such as Fertilizers Europe (European Level) and IFA (International Level). </a:t>
          </a:r>
          <a:r>
            <a:rPr lang="en-GB" sz="2000" i="1" kern="1200" dirty="0" err="1">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rPr>
            <a:t>Fertiberia</a:t>
          </a:r>
          <a:r>
            <a:rPr lang="en-GB" sz="2000" i="1" kern="1200" dirty="0">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rPr>
            <a:t> belong to both of them and participate in many tasks related to circular economy such as reuse of </a:t>
          </a:r>
          <a:r>
            <a:rPr lang="en-GB" sz="2000" i="1" kern="1200" dirty="0" err="1">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rPr>
            <a:t>phosphogypsum</a:t>
          </a:r>
          <a:r>
            <a:rPr lang="en-GB" sz="2000" i="1" kern="1200" dirty="0">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rPr>
            <a:t>, ashes, </a:t>
          </a:r>
          <a:r>
            <a:rPr lang="en-GB" sz="2000" i="1" kern="1200" dirty="0" err="1">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rPr>
            <a:t>struvites</a:t>
          </a:r>
          <a:r>
            <a:rPr lang="en-GB" sz="2000" i="1" kern="1200" dirty="0">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rPr>
            <a:t>, wastewater, etc.</a:t>
          </a:r>
          <a:endParaRPr lang="en-US" sz="2000" kern="1200" dirty="0">
            <a:solidFill>
              <a:schemeClr val="bg1"/>
            </a:solidFill>
          </a:endParaRPr>
        </a:p>
      </dsp:txBody>
      <dsp:txXfrm>
        <a:off x="91361" y="237997"/>
        <a:ext cx="13114178" cy="1688820"/>
      </dsp:txXfrm>
    </dsp:sp>
    <dsp:sp modelId="{A801473F-E36C-4FBD-A80B-AF40E1E283C1}">
      <dsp:nvSpPr>
        <dsp:cNvPr id="0" name=""/>
        <dsp:cNvSpPr/>
      </dsp:nvSpPr>
      <dsp:spPr>
        <a:xfrm>
          <a:off x="0" y="2205379"/>
          <a:ext cx="13296900" cy="1871542"/>
        </a:xfrm>
        <a:prstGeom prst="roundRect">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GB" sz="2000" i="1" kern="1200" dirty="0">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rPr>
            <a:t>The sector is taking many actions related to energy efficiency, other sources of energy with less impact in the environment, new sources of nutrient raw material and best practises in the use of fertilizers. For example, this is a related communication from Fertilizers Europe:</a:t>
          </a:r>
          <a:r>
            <a:rPr lang="en-US" sz="2000" i="1" kern="1200" dirty="0">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rPr>
            <a:t>The EU's Farm to Fork Strategy aims to reduce </a:t>
          </a:r>
          <a:r>
            <a:rPr lang="en-US" sz="2000" i="1" kern="1200" dirty="0" err="1">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rPr>
            <a:t>fertiliser</a:t>
          </a:r>
          <a:r>
            <a:rPr lang="en-US" sz="2000" i="1" kern="1200" dirty="0">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rPr>
            <a:t> use and nutrient losses while maintaining yields by 2030, but abrupt reductions in nitrogen </a:t>
          </a:r>
          <a:r>
            <a:rPr lang="en-US" sz="2000" i="1" kern="1200" dirty="0" err="1">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rPr>
            <a:t>fertiliser</a:t>
          </a:r>
          <a:r>
            <a:rPr lang="en-US" sz="2000" i="1" kern="1200" dirty="0">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rPr>
            <a:t> use driven by geopolitical factors could harm yields and grain quality, highlighting the need to safeguard Europe's role in food availability and affordability amid ongoing uncertainties and rising food prices in the EU.</a:t>
          </a:r>
          <a:endParaRPr lang="en-US" sz="2000" kern="1200" dirty="0">
            <a:solidFill>
              <a:schemeClr val="bg1"/>
            </a:solidFill>
          </a:endParaRPr>
        </a:p>
      </dsp:txBody>
      <dsp:txXfrm>
        <a:off x="91361" y="2296740"/>
        <a:ext cx="13114178" cy="1688820"/>
      </dsp:txXfrm>
    </dsp:sp>
    <dsp:sp modelId="{3B153BD7-D421-4A9A-8ADC-95DFE817F178}">
      <dsp:nvSpPr>
        <dsp:cNvPr id="0" name=""/>
        <dsp:cNvSpPr/>
      </dsp:nvSpPr>
      <dsp:spPr>
        <a:xfrm>
          <a:off x="0" y="4264121"/>
          <a:ext cx="13296900" cy="1871542"/>
        </a:xfrm>
        <a:prstGeom prst="roundRect">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i="1" kern="1200" dirty="0" err="1">
              <a:solidFill>
                <a:schemeClr val="bg1"/>
              </a:solidFill>
              <a:effectLst/>
              <a:latin typeface="Arial" panose="020B0604020202020204" pitchFamily="34" charset="0"/>
              <a:cs typeface="Times New Roman" panose="02020603050405020304" pitchFamily="18" charset="0"/>
            </a:rPr>
            <a:t>Fertiberia</a:t>
          </a:r>
          <a:r>
            <a:rPr lang="en-US" sz="2000" i="1" kern="1200" dirty="0">
              <a:solidFill>
                <a:schemeClr val="bg1"/>
              </a:solidFill>
              <a:effectLst/>
              <a:latin typeface="Arial" panose="020B0604020202020204" pitchFamily="34" charset="0"/>
              <a:cs typeface="Times New Roman" panose="02020603050405020304" pitchFamily="18" charset="0"/>
            </a:rPr>
            <a:t> aims to achieve net-zero emissions in fertilizer production by 2030, using green hydrogen projects and circular economy initiatives such as </a:t>
          </a:r>
          <a:r>
            <a:rPr lang="en-US" sz="2000" i="1" kern="1200" dirty="0" err="1">
              <a:solidFill>
                <a:schemeClr val="bg1"/>
              </a:solidFill>
              <a:effectLst/>
              <a:latin typeface="Arial" panose="020B0604020202020204" pitchFamily="34" charset="0"/>
              <a:cs typeface="Times New Roman" panose="02020603050405020304" pitchFamily="18" charset="0"/>
            </a:rPr>
            <a:t>NewFert</a:t>
          </a:r>
          <a:r>
            <a:rPr lang="en-US" sz="2000" i="1" kern="1200" dirty="0">
              <a:solidFill>
                <a:schemeClr val="bg1"/>
              </a:solidFill>
              <a:effectLst/>
              <a:latin typeface="Arial" panose="020B0604020202020204" pitchFamily="34" charset="0"/>
              <a:cs typeface="Times New Roman" panose="02020603050405020304" pitchFamily="18" charset="0"/>
            </a:rPr>
            <a:t>, B-</a:t>
          </a:r>
          <a:r>
            <a:rPr lang="en-US" sz="2000" i="1" kern="1200" dirty="0" err="1">
              <a:solidFill>
                <a:schemeClr val="bg1"/>
              </a:solidFill>
              <a:effectLst/>
              <a:latin typeface="Arial" panose="020B0604020202020204" pitchFamily="34" charset="0"/>
              <a:cs typeface="Times New Roman" panose="02020603050405020304" pitchFamily="18" charset="0"/>
            </a:rPr>
            <a:t>Ferst</a:t>
          </a:r>
          <a:r>
            <a:rPr lang="en-US" sz="2000" i="1" kern="1200" dirty="0">
              <a:solidFill>
                <a:schemeClr val="bg1"/>
              </a:solidFill>
              <a:effectLst/>
              <a:latin typeface="Arial" panose="020B0604020202020204" pitchFamily="34" charset="0"/>
              <a:cs typeface="Times New Roman" panose="02020603050405020304" pitchFamily="18" charset="0"/>
            </a:rPr>
            <a:t>, </a:t>
          </a:r>
          <a:r>
            <a:rPr lang="en-US" sz="2000" i="1" kern="1200" dirty="0" err="1">
              <a:solidFill>
                <a:schemeClr val="bg1"/>
              </a:solidFill>
              <a:effectLst/>
              <a:latin typeface="Arial" panose="020B0604020202020204" pitchFamily="34" charset="0"/>
              <a:cs typeface="Times New Roman" panose="02020603050405020304" pitchFamily="18" charset="0"/>
            </a:rPr>
            <a:t>Retrofeed</a:t>
          </a:r>
          <a:r>
            <a:rPr lang="en-US" sz="2000" i="1" kern="1200" dirty="0">
              <a:solidFill>
                <a:schemeClr val="bg1"/>
              </a:solidFill>
              <a:effectLst/>
              <a:latin typeface="Arial" panose="020B0604020202020204" pitchFamily="34" charset="0"/>
              <a:cs typeface="Times New Roman" panose="02020603050405020304" pitchFamily="18" charset="0"/>
            </a:rPr>
            <a:t> and </a:t>
          </a:r>
          <a:r>
            <a:rPr lang="en-US" sz="2000" i="1" kern="1200" dirty="0" err="1">
              <a:solidFill>
                <a:schemeClr val="bg1"/>
              </a:solidFill>
              <a:effectLst/>
              <a:latin typeface="Arial" panose="020B0604020202020204" pitchFamily="34" charset="0"/>
              <a:cs typeface="Times New Roman" panose="02020603050405020304" pitchFamily="18" charset="0"/>
            </a:rPr>
            <a:t>Coralis</a:t>
          </a:r>
          <a:r>
            <a:rPr lang="en-US" sz="2000" i="1" kern="1200" dirty="0">
              <a:solidFill>
                <a:schemeClr val="bg1"/>
              </a:solidFill>
              <a:effectLst/>
              <a:latin typeface="Arial" panose="020B0604020202020204" pitchFamily="34" charset="0"/>
              <a:cs typeface="Times New Roman" panose="02020603050405020304" pitchFamily="18" charset="0"/>
            </a:rPr>
            <a:t>. At the NPK plant in Huelva, efforts include improving energy efficiency, incorporating non-hazardous waste into production and using low-carbon raw materials to reduce the carbon footprint of products</a:t>
          </a:r>
          <a:endParaRPr lang="en-US" sz="2000" kern="1200" dirty="0">
            <a:solidFill>
              <a:schemeClr val="bg1"/>
            </a:solidFill>
          </a:endParaRPr>
        </a:p>
      </dsp:txBody>
      <dsp:txXfrm>
        <a:off x="91361" y="4355482"/>
        <a:ext cx="13114178" cy="1688820"/>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305C8EB-19E1-4D02-974C-1CDB8D87DC9C}">
      <dsp:nvSpPr>
        <dsp:cNvPr id="0" name=""/>
        <dsp:cNvSpPr/>
      </dsp:nvSpPr>
      <dsp:spPr>
        <a:xfrm>
          <a:off x="0" y="588741"/>
          <a:ext cx="10668000" cy="1977300"/>
        </a:xfrm>
        <a:prstGeom prst="roundRect">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GB" sz="2400" i="1" kern="1200" dirty="0">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rPr>
            <a:t>From Fertilizers Europe association, </a:t>
          </a:r>
          <a:r>
            <a:rPr lang="en-GB" sz="2400" i="1" kern="1200" dirty="0" err="1">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rPr>
            <a:t>Fertiberia</a:t>
          </a:r>
          <a:r>
            <a:rPr lang="en-GB" sz="2400" i="1" kern="1200" dirty="0">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rPr>
            <a:t> is working to simplify the current legislation at European level. Also is working with the National and Regional Administrations to get authorization as manager of non-hazardous waste in order to incorporate biobased and other waste as raw materials into the production process.</a:t>
          </a:r>
          <a:endParaRPr lang="en-US" sz="2400" kern="1200" dirty="0">
            <a:solidFill>
              <a:schemeClr val="bg1"/>
            </a:solidFill>
          </a:endParaRPr>
        </a:p>
      </dsp:txBody>
      <dsp:txXfrm>
        <a:off x="96524" y="685265"/>
        <a:ext cx="10474952" cy="1784252"/>
      </dsp:txXfrm>
    </dsp:sp>
    <dsp:sp modelId="{0B601BC3-A215-4390-8F27-823FD38208CA}">
      <dsp:nvSpPr>
        <dsp:cNvPr id="0" name=""/>
        <dsp:cNvSpPr/>
      </dsp:nvSpPr>
      <dsp:spPr>
        <a:xfrm>
          <a:off x="0" y="2753241"/>
          <a:ext cx="10668000" cy="1977300"/>
        </a:xfrm>
        <a:prstGeom prst="roundRect">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GB" sz="2400" i="1" kern="1200" dirty="0">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rPr>
            <a:t>The greater impact can be achieved by coordinating circular projects with regulations in order to overcome the mentioned barriers in our sector and not to discourage good initiatives from the circular economy application to the production process.</a:t>
          </a:r>
          <a:endParaRPr lang="en-US" sz="2400" kern="1200" dirty="0">
            <a:solidFill>
              <a:schemeClr val="bg1"/>
            </a:solidFill>
          </a:endParaRPr>
        </a:p>
      </dsp:txBody>
      <dsp:txXfrm>
        <a:off x="96524" y="2849765"/>
        <a:ext cx="10474952" cy="1784252"/>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3E8D7F6-AAED-4F4F-9604-EA0615A86164}">
      <dsp:nvSpPr>
        <dsp:cNvPr id="0" name=""/>
        <dsp:cNvSpPr/>
      </dsp:nvSpPr>
      <dsp:spPr>
        <a:xfrm>
          <a:off x="0" y="97599"/>
          <a:ext cx="11544697" cy="1490104"/>
        </a:xfrm>
        <a:prstGeom prst="round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i="1" kern="1200"/>
            <a:t>Facilitating the import/export of waste only for the purpose of recovery</a:t>
          </a:r>
          <a:endParaRPr lang="sv-SE" sz="2200" kern="1200"/>
        </a:p>
      </dsp:txBody>
      <dsp:txXfrm>
        <a:off x="72741" y="170340"/>
        <a:ext cx="11399215" cy="1344622"/>
      </dsp:txXfrm>
    </dsp:sp>
    <dsp:sp modelId="{80268C5B-E34C-4249-B1F7-0C11E22B2F24}">
      <dsp:nvSpPr>
        <dsp:cNvPr id="0" name=""/>
        <dsp:cNvSpPr/>
      </dsp:nvSpPr>
      <dsp:spPr>
        <a:xfrm>
          <a:off x="0" y="1651064"/>
          <a:ext cx="11544697" cy="1490104"/>
        </a:xfrm>
        <a:prstGeom prst="round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i="1" kern="1200" dirty="0"/>
            <a:t>The clarify the definitions of some terms used in both European and National legislation (e.g. significant impact on the environment)</a:t>
          </a:r>
          <a:endParaRPr lang="sv-SE" sz="2200" kern="1200" dirty="0"/>
        </a:p>
      </dsp:txBody>
      <dsp:txXfrm>
        <a:off x="72741" y="1723805"/>
        <a:ext cx="11399215" cy="1344622"/>
      </dsp:txXfrm>
    </dsp:sp>
    <dsp:sp modelId="{26BA6543-B512-4F1D-9052-1BC10938D579}">
      <dsp:nvSpPr>
        <dsp:cNvPr id="0" name=""/>
        <dsp:cNvSpPr/>
      </dsp:nvSpPr>
      <dsp:spPr>
        <a:xfrm>
          <a:off x="0" y="3204529"/>
          <a:ext cx="11544697" cy="1490104"/>
        </a:xfrm>
        <a:prstGeom prst="round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i="1" kern="1200" dirty="0"/>
            <a:t>Facilitate the authorization step for industrial tests of new materials and processes. If there is no European regulation regarding the end-of-waste of a product, it is the local authority that must take charge of defining the arrangements on a case-by-case basis. This is a very lengthy process that slows down circular economy activities.</a:t>
          </a:r>
        </a:p>
      </dsp:txBody>
      <dsp:txXfrm>
        <a:off x="72741" y="3277270"/>
        <a:ext cx="11399215" cy="1344622"/>
      </dsp:txXfrm>
    </dsp:sp>
    <dsp:sp modelId="{10990B8B-35C8-4F15-9030-0A55DA98812B}">
      <dsp:nvSpPr>
        <dsp:cNvPr id="0" name=""/>
        <dsp:cNvSpPr/>
      </dsp:nvSpPr>
      <dsp:spPr>
        <a:xfrm>
          <a:off x="0" y="4757993"/>
          <a:ext cx="11544697" cy="1490104"/>
        </a:xfrm>
        <a:prstGeom prst="round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i="1" kern="1200" dirty="0"/>
            <a:t>Dissemination in different national groups and with environmental authorities of the results regarding the positive impact and benefits (circular economy, CO2 emissions reduction, energy efficiency) obtained through implementing project’s technology.</a:t>
          </a:r>
        </a:p>
      </dsp:txBody>
      <dsp:txXfrm>
        <a:off x="72741" y="4830734"/>
        <a:ext cx="11399215" cy="134462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A94A2D5-360A-4AC0-A9B1-6F7FE69928AA}">
      <dsp:nvSpPr>
        <dsp:cNvPr id="0" name=""/>
        <dsp:cNvSpPr/>
      </dsp:nvSpPr>
      <dsp:spPr>
        <a:xfrm>
          <a:off x="2081" y="118624"/>
          <a:ext cx="2811456" cy="916781"/>
        </a:xfrm>
        <a:prstGeom prst="roundRect">
          <a:avLst>
            <a:gd name="adj" fmla="val 10000"/>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0960" tIns="40640" rIns="60960" bIns="40640" numCol="1" spcCol="1270" anchor="ctr" anchorCtr="0">
          <a:noAutofit/>
        </a:bodyPr>
        <a:lstStyle/>
        <a:p>
          <a:pPr marL="0" lvl="0" indent="0" algn="ctr" defTabSz="1422400">
            <a:lnSpc>
              <a:spcPct val="90000"/>
            </a:lnSpc>
            <a:spcBef>
              <a:spcPct val="0"/>
            </a:spcBef>
            <a:spcAft>
              <a:spcPct val="35000"/>
            </a:spcAft>
            <a:buNone/>
          </a:pPr>
          <a:r>
            <a:rPr lang="sv-SE" sz="3200" kern="1200"/>
            <a:t>Virgin material</a:t>
          </a:r>
        </a:p>
      </dsp:txBody>
      <dsp:txXfrm>
        <a:off x="28933" y="145476"/>
        <a:ext cx="2757752" cy="863077"/>
      </dsp:txXfrm>
    </dsp:sp>
    <dsp:sp modelId="{A72E6D0F-38CA-43C4-9060-7ABE7DADA51F}">
      <dsp:nvSpPr>
        <dsp:cNvPr id="0" name=""/>
        <dsp:cNvSpPr/>
      </dsp:nvSpPr>
      <dsp:spPr>
        <a:xfrm>
          <a:off x="283227" y="1035405"/>
          <a:ext cx="281145" cy="687585"/>
        </a:xfrm>
        <a:custGeom>
          <a:avLst/>
          <a:gdLst/>
          <a:ahLst/>
          <a:cxnLst/>
          <a:rect l="0" t="0" r="0" b="0"/>
          <a:pathLst>
            <a:path>
              <a:moveTo>
                <a:pt x="0" y="0"/>
              </a:moveTo>
              <a:lnTo>
                <a:pt x="0" y="687585"/>
              </a:lnTo>
              <a:lnTo>
                <a:pt x="281145" y="68758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21CF9BC-1CF6-4484-A69B-179E7BF1E14B}">
      <dsp:nvSpPr>
        <dsp:cNvPr id="0" name=""/>
        <dsp:cNvSpPr/>
      </dsp:nvSpPr>
      <dsp:spPr>
        <a:xfrm>
          <a:off x="564372" y="1264601"/>
          <a:ext cx="2737215" cy="916781"/>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38100" tIns="25400" rIns="38100" bIns="25400" numCol="1" spcCol="1270" anchor="ctr" anchorCtr="0">
          <a:noAutofit/>
        </a:bodyPr>
        <a:lstStyle/>
        <a:p>
          <a:pPr marL="0" lvl="0" indent="0" algn="ctr" defTabSz="889000">
            <a:lnSpc>
              <a:spcPct val="90000"/>
            </a:lnSpc>
            <a:spcBef>
              <a:spcPct val="0"/>
            </a:spcBef>
            <a:spcAft>
              <a:spcPct val="35000"/>
            </a:spcAft>
            <a:buNone/>
          </a:pPr>
          <a:r>
            <a:rPr lang="sv-SE" sz="2000" kern="1200" err="1"/>
            <a:t>Some</a:t>
          </a:r>
          <a:r>
            <a:rPr lang="sv-SE" sz="2000" kern="1200"/>
            <a:t> </a:t>
          </a:r>
          <a:r>
            <a:rPr lang="sv-SE" sz="2000" kern="1200" err="1"/>
            <a:t>resources</a:t>
          </a:r>
          <a:r>
            <a:rPr lang="sv-SE" sz="2000" kern="1200"/>
            <a:t> </a:t>
          </a:r>
          <a:r>
            <a:rPr lang="sv-SE" sz="2000" kern="1200" err="1"/>
            <a:t>are</a:t>
          </a:r>
          <a:r>
            <a:rPr lang="sv-SE" sz="2000" kern="1200"/>
            <a:t> </a:t>
          </a:r>
          <a:r>
            <a:rPr lang="sv-SE" sz="2000" kern="1200" err="1"/>
            <a:t>getting</a:t>
          </a:r>
          <a:r>
            <a:rPr lang="sv-SE" sz="2000" kern="1200"/>
            <a:t> </a:t>
          </a:r>
          <a:r>
            <a:rPr lang="sv-SE" sz="2000" kern="1200" err="1"/>
            <a:t>scarce</a:t>
          </a:r>
          <a:r>
            <a:rPr lang="sv-SE" sz="2000" kern="1200"/>
            <a:t>. Ex: P</a:t>
          </a:r>
        </a:p>
      </dsp:txBody>
      <dsp:txXfrm>
        <a:off x="591224" y="1291453"/>
        <a:ext cx="2683511" cy="863077"/>
      </dsp:txXfrm>
    </dsp:sp>
    <dsp:sp modelId="{6F26E007-3A75-4845-9C5C-C6FF775BF8CF}">
      <dsp:nvSpPr>
        <dsp:cNvPr id="0" name=""/>
        <dsp:cNvSpPr/>
      </dsp:nvSpPr>
      <dsp:spPr>
        <a:xfrm>
          <a:off x="283227" y="1035405"/>
          <a:ext cx="281145" cy="1833562"/>
        </a:xfrm>
        <a:custGeom>
          <a:avLst/>
          <a:gdLst/>
          <a:ahLst/>
          <a:cxnLst/>
          <a:rect l="0" t="0" r="0" b="0"/>
          <a:pathLst>
            <a:path>
              <a:moveTo>
                <a:pt x="0" y="0"/>
              </a:moveTo>
              <a:lnTo>
                <a:pt x="0" y="1833562"/>
              </a:lnTo>
              <a:lnTo>
                <a:pt x="281145" y="1833562"/>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EFAF8FC-55EA-4A89-80C9-366BB51D2C64}">
      <dsp:nvSpPr>
        <dsp:cNvPr id="0" name=""/>
        <dsp:cNvSpPr/>
      </dsp:nvSpPr>
      <dsp:spPr>
        <a:xfrm>
          <a:off x="564372" y="2410577"/>
          <a:ext cx="2884032" cy="916781"/>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38100" tIns="25400" rIns="38100" bIns="25400" numCol="1" spcCol="1270" anchor="ctr" anchorCtr="0">
          <a:noAutofit/>
        </a:bodyPr>
        <a:lstStyle/>
        <a:p>
          <a:pPr marL="0" lvl="0" indent="0" algn="ctr" defTabSz="889000">
            <a:lnSpc>
              <a:spcPct val="90000"/>
            </a:lnSpc>
            <a:spcBef>
              <a:spcPct val="0"/>
            </a:spcBef>
            <a:spcAft>
              <a:spcPct val="35000"/>
            </a:spcAft>
            <a:buNone/>
          </a:pPr>
          <a:r>
            <a:rPr lang="sv-SE" sz="2000" kern="1200"/>
            <a:t>Energy is </a:t>
          </a:r>
          <a:r>
            <a:rPr lang="sv-SE" sz="2000" kern="1200" err="1"/>
            <a:t>needed</a:t>
          </a:r>
          <a:r>
            <a:rPr lang="sv-SE" sz="2000" kern="1200"/>
            <a:t> to </a:t>
          </a:r>
          <a:r>
            <a:rPr lang="sv-SE" sz="2000" kern="1200" err="1"/>
            <a:t>extract</a:t>
          </a:r>
          <a:r>
            <a:rPr lang="sv-SE" sz="2000" kern="1200"/>
            <a:t> </a:t>
          </a:r>
          <a:r>
            <a:rPr lang="sv-SE" sz="2000" kern="1200" err="1"/>
            <a:t>them</a:t>
          </a:r>
          <a:endParaRPr lang="sv-SE" sz="2000" kern="1200"/>
        </a:p>
      </dsp:txBody>
      <dsp:txXfrm>
        <a:off x="591224" y="2437429"/>
        <a:ext cx="2830328" cy="863077"/>
      </dsp:txXfrm>
    </dsp:sp>
    <dsp:sp modelId="{6C36A592-7906-4940-A233-DE4A03A33ADA}">
      <dsp:nvSpPr>
        <dsp:cNvPr id="0" name=""/>
        <dsp:cNvSpPr/>
      </dsp:nvSpPr>
      <dsp:spPr>
        <a:xfrm>
          <a:off x="283227" y="1035405"/>
          <a:ext cx="281145" cy="2979539"/>
        </a:xfrm>
        <a:custGeom>
          <a:avLst/>
          <a:gdLst/>
          <a:ahLst/>
          <a:cxnLst/>
          <a:rect l="0" t="0" r="0" b="0"/>
          <a:pathLst>
            <a:path>
              <a:moveTo>
                <a:pt x="0" y="0"/>
              </a:moveTo>
              <a:lnTo>
                <a:pt x="0" y="2979539"/>
              </a:lnTo>
              <a:lnTo>
                <a:pt x="281145" y="2979539"/>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3C7A958-8DF5-4A30-B22B-79A769449AB5}">
      <dsp:nvSpPr>
        <dsp:cNvPr id="0" name=""/>
        <dsp:cNvSpPr/>
      </dsp:nvSpPr>
      <dsp:spPr>
        <a:xfrm>
          <a:off x="564372" y="3556554"/>
          <a:ext cx="2760200" cy="916781"/>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38100" tIns="25400" rIns="38100" bIns="25400" numCol="1" spcCol="1270" anchor="ctr" anchorCtr="0">
          <a:noAutofit/>
        </a:bodyPr>
        <a:lstStyle/>
        <a:p>
          <a:pPr marL="0" lvl="0" indent="0" algn="ctr" defTabSz="889000">
            <a:lnSpc>
              <a:spcPct val="90000"/>
            </a:lnSpc>
            <a:spcBef>
              <a:spcPct val="0"/>
            </a:spcBef>
            <a:spcAft>
              <a:spcPct val="35000"/>
            </a:spcAft>
            <a:buNone/>
          </a:pPr>
          <a:r>
            <a:rPr lang="sv-SE" sz="2000" kern="1200" err="1"/>
            <a:t>Added</a:t>
          </a:r>
          <a:r>
            <a:rPr lang="sv-SE" sz="2000" kern="1200"/>
            <a:t> </a:t>
          </a:r>
          <a:r>
            <a:rPr lang="sv-SE" sz="2000" kern="1200" err="1"/>
            <a:t>cost</a:t>
          </a:r>
          <a:endParaRPr lang="sv-SE" sz="2000" kern="1200"/>
        </a:p>
      </dsp:txBody>
      <dsp:txXfrm>
        <a:off x="591224" y="3583406"/>
        <a:ext cx="2706496" cy="863077"/>
      </dsp:txXfrm>
    </dsp:sp>
    <dsp:sp modelId="{4B17B1B2-5541-4797-A5CE-3D5D946103D9}">
      <dsp:nvSpPr>
        <dsp:cNvPr id="0" name=""/>
        <dsp:cNvSpPr/>
      </dsp:nvSpPr>
      <dsp:spPr>
        <a:xfrm>
          <a:off x="3271928" y="118624"/>
          <a:ext cx="3543212" cy="916781"/>
        </a:xfrm>
        <a:prstGeom prst="roundRect">
          <a:avLst>
            <a:gd name="adj" fmla="val 10000"/>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0960" tIns="40640" rIns="60960" bIns="40640" numCol="1" spcCol="1270" anchor="ctr" anchorCtr="0">
          <a:noAutofit/>
        </a:bodyPr>
        <a:lstStyle/>
        <a:p>
          <a:pPr marL="0" lvl="0" indent="0" algn="ctr" defTabSz="1422400">
            <a:lnSpc>
              <a:spcPct val="90000"/>
            </a:lnSpc>
            <a:spcBef>
              <a:spcPct val="0"/>
            </a:spcBef>
            <a:spcAft>
              <a:spcPct val="35000"/>
            </a:spcAft>
            <a:buNone/>
          </a:pPr>
          <a:r>
            <a:rPr lang="sv-SE" sz="3200" kern="1200" err="1"/>
            <a:t>Recycle</a:t>
          </a:r>
          <a:r>
            <a:rPr lang="sv-SE" sz="3200" kern="1200"/>
            <a:t> streams</a:t>
          </a:r>
        </a:p>
      </dsp:txBody>
      <dsp:txXfrm>
        <a:off x="3298780" y="145476"/>
        <a:ext cx="3489508" cy="863077"/>
      </dsp:txXfrm>
    </dsp:sp>
    <dsp:sp modelId="{AF456C06-E1A6-4ED8-91CD-EDF9C5B3C979}">
      <dsp:nvSpPr>
        <dsp:cNvPr id="0" name=""/>
        <dsp:cNvSpPr/>
      </dsp:nvSpPr>
      <dsp:spPr>
        <a:xfrm>
          <a:off x="3626249" y="1035405"/>
          <a:ext cx="354321" cy="687585"/>
        </a:xfrm>
        <a:custGeom>
          <a:avLst/>
          <a:gdLst/>
          <a:ahLst/>
          <a:cxnLst/>
          <a:rect l="0" t="0" r="0" b="0"/>
          <a:pathLst>
            <a:path>
              <a:moveTo>
                <a:pt x="0" y="0"/>
              </a:moveTo>
              <a:lnTo>
                <a:pt x="0" y="687585"/>
              </a:lnTo>
              <a:lnTo>
                <a:pt x="354321" y="68758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F388482-9EC5-4330-AE92-433491F59E3E}">
      <dsp:nvSpPr>
        <dsp:cNvPr id="0" name=""/>
        <dsp:cNvSpPr/>
      </dsp:nvSpPr>
      <dsp:spPr>
        <a:xfrm>
          <a:off x="3980571" y="1264601"/>
          <a:ext cx="3963707" cy="916781"/>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38100" tIns="25400" rIns="38100" bIns="25400" numCol="1" spcCol="1270" anchor="ctr" anchorCtr="0">
          <a:noAutofit/>
        </a:bodyPr>
        <a:lstStyle/>
        <a:p>
          <a:pPr marL="0" lvl="0" indent="0" algn="ctr" defTabSz="889000">
            <a:lnSpc>
              <a:spcPct val="90000"/>
            </a:lnSpc>
            <a:spcBef>
              <a:spcPct val="0"/>
            </a:spcBef>
            <a:spcAft>
              <a:spcPct val="35000"/>
            </a:spcAft>
            <a:buNone/>
          </a:pPr>
          <a:r>
            <a:rPr lang="sv-SE" sz="2000" kern="1200"/>
            <a:t>Streams </a:t>
          </a:r>
          <a:r>
            <a:rPr lang="sv-SE" sz="2000" kern="1200" err="1"/>
            <a:t>created</a:t>
          </a:r>
          <a:r>
            <a:rPr lang="sv-SE" sz="2000" kern="1200"/>
            <a:t> by the same </a:t>
          </a:r>
          <a:r>
            <a:rPr lang="sv-SE" sz="2000" kern="1200" err="1"/>
            <a:t>factory</a:t>
          </a:r>
          <a:r>
            <a:rPr lang="sv-SE" sz="2000" kern="1200"/>
            <a:t> or </a:t>
          </a:r>
          <a:r>
            <a:rPr lang="sv-SE" sz="2000" kern="1200" err="1"/>
            <a:t>nearby</a:t>
          </a:r>
          <a:r>
            <a:rPr lang="sv-SE" sz="2000" kern="1200"/>
            <a:t> </a:t>
          </a:r>
          <a:r>
            <a:rPr lang="sv-SE" sz="2000" kern="1200" err="1"/>
            <a:t>one</a:t>
          </a:r>
          <a:endParaRPr lang="sv-SE" sz="2000" kern="1200"/>
        </a:p>
      </dsp:txBody>
      <dsp:txXfrm>
        <a:off x="4007423" y="1291453"/>
        <a:ext cx="3910003" cy="863077"/>
      </dsp:txXfrm>
    </dsp:sp>
    <dsp:sp modelId="{19233220-CA67-40E4-BB47-62F7216348D5}">
      <dsp:nvSpPr>
        <dsp:cNvPr id="0" name=""/>
        <dsp:cNvSpPr/>
      </dsp:nvSpPr>
      <dsp:spPr>
        <a:xfrm>
          <a:off x="3626249" y="1035405"/>
          <a:ext cx="354321" cy="1833562"/>
        </a:xfrm>
        <a:custGeom>
          <a:avLst/>
          <a:gdLst/>
          <a:ahLst/>
          <a:cxnLst/>
          <a:rect l="0" t="0" r="0" b="0"/>
          <a:pathLst>
            <a:path>
              <a:moveTo>
                <a:pt x="0" y="0"/>
              </a:moveTo>
              <a:lnTo>
                <a:pt x="0" y="1833562"/>
              </a:lnTo>
              <a:lnTo>
                <a:pt x="354321" y="1833562"/>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8A39F5B-146C-4332-A532-916B08FBB057}">
      <dsp:nvSpPr>
        <dsp:cNvPr id="0" name=""/>
        <dsp:cNvSpPr/>
      </dsp:nvSpPr>
      <dsp:spPr>
        <a:xfrm>
          <a:off x="3980571" y="2410577"/>
          <a:ext cx="4145347" cy="916781"/>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38100" tIns="25400" rIns="38100" bIns="25400" numCol="1" spcCol="1270" anchor="ctr" anchorCtr="0">
          <a:noAutofit/>
        </a:bodyPr>
        <a:lstStyle/>
        <a:p>
          <a:pPr marL="0" lvl="0" indent="0" algn="ctr" defTabSz="889000">
            <a:lnSpc>
              <a:spcPct val="90000"/>
            </a:lnSpc>
            <a:spcBef>
              <a:spcPct val="0"/>
            </a:spcBef>
            <a:spcAft>
              <a:spcPct val="35000"/>
            </a:spcAft>
            <a:buNone/>
          </a:pPr>
          <a:r>
            <a:rPr lang="sv-SE" sz="2000" kern="1200" err="1"/>
            <a:t>Depending</a:t>
          </a:r>
          <a:r>
            <a:rPr lang="sv-SE" sz="2000" kern="1200"/>
            <a:t> on the material </a:t>
          </a:r>
          <a:r>
            <a:rPr lang="sv-SE" sz="2000" kern="1200" err="1"/>
            <a:t>characteristics</a:t>
          </a:r>
          <a:r>
            <a:rPr lang="sv-SE" sz="2000" kern="1200"/>
            <a:t>, </a:t>
          </a:r>
          <a:r>
            <a:rPr lang="sv-SE" sz="2000" kern="1200" err="1"/>
            <a:t>more</a:t>
          </a:r>
          <a:r>
            <a:rPr lang="sv-SE" sz="2000" kern="1200"/>
            <a:t> or less </a:t>
          </a:r>
          <a:r>
            <a:rPr lang="sv-SE" sz="2000" kern="1200" err="1"/>
            <a:t>energy</a:t>
          </a:r>
          <a:r>
            <a:rPr lang="sv-SE" sz="2000" kern="1200"/>
            <a:t> will be </a:t>
          </a:r>
          <a:r>
            <a:rPr lang="sv-SE" sz="2000" kern="1200" err="1"/>
            <a:t>needed</a:t>
          </a:r>
          <a:r>
            <a:rPr lang="sv-SE" sz="2000" kern="1200"/>
            <a:t> to process it</a:t>
          </a:r>
        </a:p>
      </dsp:txBody>
      <dsp:txXfrm>
        <a:off x="4007423" y="2437429"/>
        <a:ext cx="4091643" cy="863077"/>
      </dsp:txXfrm>
    </dsp:sp>
    <dsp:sp modelId="{3D048702-813F-4861-9EF8-23F0BCEBD8A6}">
      <dsp:nvSpPr>
        <dsp:cNvPr id="0" name=""/>
        <dsp:cNvSpPr/>
      </dsp:nvSpPr>
      <dsp:spPr>
        <a:xfrm>
          <a:off x="3626249" y="1035405"/>
          <a:ext cx="354321" cy="2979539"/>
        </a:xfrm>
        <a:custGeom>
          <a:avLst/>
          <a:gdLst/>
          <a:ahLst/>
          <a:cxnLst/>
          <a:rect l="0" t="0" r="0" b="0"/>
          <a:pathLst>
            <a:path>
              <a:moveTo>
                <a:pt x="0" y="0"/>
              </a:moveTo>
              <a:lnTo>
                <a:pt x="0" y="2979539"/>
              </a:lnTo>
              <a:lnTo>
                <a:pt x="354321" y="2979539"/>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C79EDDE-B32F-42D5-A0A8-E7FC357EFC5D}">
      <dsp:nvSpPr>
        <dsp:cNvPr id="0" name=""/>
        <dsp:cNvSpPr/>
      </dsp:nvSpPr>
      <dsp:spPr>
        <a:xfrm>
          <a:off x="3980571" y="3556554"/>
          <a:ext cx="2573133" cy="916781"/>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38100" tIns="25400" rIns="38100" bIns="25400" numCol="1" spcCol="1270" anchor="ctr" anchorCtr="0">
          <a:noAutofit/>
        </a:bodyPr>
        <a:lstStyle/>
        <a:p>
          <a:pPr marL="0" lvl="0" indent="0" algn="ctr" defTabSz="889000">
            <a:lnSpc>
              <a:spcPct val="90000"/>
            </a:lnSpc>
            <a:spcBef>
              <a:spcPct val="0"/>
            </a:spcBef>
            <a:spcAft>
              <a:spcPct val="35000"/>
            </a:spcAft>
            <a:buNone/>
          </a:pPr>
          <a:r>
            <a:rPr lang="sv-SE" sz="2000" kern="1200"/>
            <a:t>Saves in </a:t>
          </a:r>
          <a:r>
            <a:rPr lang="sv-SE" sz="2000" kern="1200" err="1"/>
            <a:t>costs</a:t>
          </a:r>
          <a:endParaRPr lang="sv-SE" sz="2000" kern="1200"/>
        </a:p>
      </dsp:txBody>
      <dsp:txXfrm>
        <a:off x="4007423" y="3583406"/>
        <a:ext cx="2519429" cy="86307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70BC7DC-1E06-4E51-821B-4CE836E5F4E7}">
      <dsp:nvSpPr>
        <dsp:cNvPr id="0" name=""/>
        <dsp:cNvSpPr/>
      </dsp:nvSpPr>
      <dsp:spPr>
        <a:xfrm>
          <a:off x="0" y="0"/>
          <a:ext cx="15737306"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2B8CCB3-105A-4A21-B390-46B84BF6DA5A}">
      <dsp:nvSpPr>
        <dsp:cNvPr id="0" name=""/>
        <dsp:cNvSpPr/>
      </dsp:nvSpPr>
      <dsp:spPr>
        <a:xfrm>
          <a:off x="0" y="0"/>
          <a:ext cx="15737306" cy="12135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3350" tIns="133350" rIns="133350" bIns="133350" numCol="1" spcCol="1270" anchor="t" anchorCtr="0">
          <a:noAutofit/>
        </a:bodyPr>
        <a:lstStyle/>
        <a:p>
          <a:pPr marL="0" lvl="0" indent="0" algn="l" defTabSz="1555750">
            <a:lnSpc>
              <a:spcPct val="90000"/>
            </a:lnSpc>
            <a:spcBef>
              <a:spcPct val="0"/>
            </a:spcBef>
            <a:spcAft>
              <a:spcPct val="35000"/>
            </a:spcAft>
            <a:buNone/>
          </a:pPr>
          <a:r>
            <a:rPr lang="en-US" sz="3500" b="1" kern="1200"/>
            <a:t>Type of Digital Twin (DT): </a:t>
          </a:r>
          <a:r>
            <a:rPr lang="en-US" sz="3500" kern="1200"/>
            <a:t>Reduced order model (ROM) of tubular reactor for production of NPK fertilizer based on CFD simulations of the reaction process. </a:t>
          </a:r>
        </a:p>
      </dsp:txBody>
      <dsp:txXfrm>
        <a:off x="0" y="0"/>
        <a:ext cx="15737306" cy="1213553"/>
      </dsp:txXfrm>
    </dsp:sp>
    <dsp:sp modelId="{DEE27F63-37AC-4A30-BF05-68AA502C743E}">
      <dsp:nvSpPr>
        <dsp:cNvPr id="0" name=""/>
        <dsp:cNvSpPr/>
      </dsp:nvSpPr>
      <dsp:spPr>
        <a:xfrm>
          <a:off x="0" y="1213553"/>
          <a:ext cx="15737306"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7F67E1A-A422-4415-BF61-00C0A6897C5F}">
      <dsp:nvSpPr>
        <dsp:cNvPr id="0" name=""/>
        <dsp:cNvSpPr/>
      </dsp:nvSpPr>
      <dsp:spPr>
        <a:xfrm>
          <a:off x="0" y="1213553"/>
          <a:ext cx="15737306" cy="12135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3350" tIns="133350" rIns="133350" bIns="133350" numCol="1" spcCol="1270" anchor="t" anchorCtr="0">
          <a:noAutofit/>
        </a:bodyPr>
        <a:lstStyle/>
        <a:p>
          <a:pPr marL="0" lvl="0" indent="0" algn="l" defTabSz="1555750">
            <a:lnSpc>
              <a:spcPct val="90000"/>
            </a:lnSpc>
            <a:spcBef>
              <a:spcPct val="0"/>
            </a:spcBef>
            <a:spcAft>
              <a:spcPct val="35000"/>
            </a:spcAft>
            <a:buNone/>
          </a:pPr>
          <a:r>
            <a:rPr lang="en-US" sz="3500" b="1" kern="1200"/>
            <a:t>Input: </a:t>
          </a:r>
          <a:r>
            <a:rPr lang="en-US" sz="3500" b="0" kern="1200"/>
            <a:t>Material flows and stream properties based on recipes and data from </a:t>
          </a:r>
          <a:r>
            <a:rPr lang="en-US" sz="3500" b="0" kern="1200" err="1"/>
            <a:t>Fertiberia’s</a:t>
          </a:r>
          <a:r>
            <a:rPr lang="en-US" sz="3500" b="0" kern="1200"/>
            <a:t> pilot plant and laboratory tests.</a:t>
          </a:r>
        </a:p>
      </dsp:txBody>
      <dsp:txXfrm>
        <a:off x="0" y="1213553"/>
        <a:ext cx="15737306" cy="1213553"/>
      </dsp:txXfrm>
    </dsp:sp>
    <dsp:sp modelId="{D17E4778-24BC-4C8A-AB99-010C137545AE}">
      <dsp:nvSpPr>
        <dsp:cNvPr id="0" name=""/>
        <dsp:cNvSpPr/>
      </dsp:nvSpPr>
      <dsp:spPr>
        <a:xfrm>
          <a:off x="0" y="2427106"/>
          <a:ext cx="15737306"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240F05D-2BBA-4C57-987A-AF4597E57468}">
      <dsp:nvSpPr>
        <dsp:cNvPr id="0" name=""/>
        <dsp:cNvSpPr/>
      </dsp:nvSpPr>
      <dsp:spPr>
        <a:xfrm>
          <a:off x="0" y="2427106"/>
          <a:ext cx="15737306" cy="12135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3350" tIns="133350" rIns="133350" bIns="133350" numCol="1" spcCol="1270" anchor="t" anchorCtr="0">
          <a:noAutofit/>
        </a:bodyPr>
        <a:lstStyle/>
        <a:p>
          <a:pPr marL="0" lvl="0" indent="0" algn="l" defTabSz="1555750">
            <a:lnSpc>
              <a:spcPct val="90000"/>
            </a:lnSpc>
            <a:spcBef>
              <a:spcPct val="0"/>
            </a:spcBef>
            <a:spcAft>
              <a:spcPct val="35000"/>
            </a:spcAft>
            <a:buNone/>
          </a:pPr>
          <a:r>
            <a:rPr lang="en-US" sz="3500" b="1" kern="1200"/>
            <a:t>Goal: </a:t>
          </a:r>
          <a:r>
            <a:rPr lang="en-US" sz="3500" b="0" kern="1200"/>
            <a:t>Predict temperature and pH at outlet of tubular reactor for specific compositions of the recipes.</a:t>
          </a:r>
        </a:p>
      </dsp:txBody>
      <dsp:txXfrm>
        <a:off x="0" y="2427106"/>
        <a:ext cx="15737306" cy="1213553"/>
      </dsp:txXfrm>
    </dsp:sp>
    <dsp:sp modelId="{87608EB8-A329-4EA3-9CAA-AC5FDC88EE0B}">
      <dsp:nvSpPr>
        <dsp:cNvPr id="0" name=""/>
        <dsp:cNvSpPr/>
      </dsp:nvSpPr>
      <dsp:spPr>
        <a:xfrm>
          <a:off x="0" y="3640660"/>
          <a:ext cx="15737306"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74D0E37-1F8F-44B1-8ED3-598E62DC0516}">
      <dsp:nvSpPr>
        <dsp:cNvPr id="0" name=""/>
        <dsp:cNvSpPr/>
      </dsp:nvSpPr>
      <dsp:spPr>
        <a:xfrm>
          <a:off x="0" y="3640660"/>
          <a:ext cx="15737306" cy="12135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3350" tIns="133350" rIns="133350" bIns="133350" numCol="1" spcCol="1270" anchor="t" anchorCtr="0">
          <a:noAutofit/>
        </a:bodyPr>
        <a:lstStyle/>
        <a:p>
          <a:pPr marL="0" lvl="0" indent="0" algn="l" defTabSz="1555750">
            <a:lnSpc>
              <a:spcPct val="90000"/>
            </a:lnSpc>
            <a:spcBef>
              <a:spcPct val="0"/>
            </a:spcBef>
            <a:spcAft>
              <a:spcPct val="35000"/>
            </a:spcAft>
            <a:buNone/>
          </a:pPr>
          <a:r>
            <a:rPr lang="en-US" sz="3500" b="1" kern="1200"/>
            <a:t>Benefits: </a:t>
          </a:r>
          <a:r>
            <a:rPr lang="en-US" sz="3500" b="0" kern="1200"/>
            <a:t>Achieve a higher process flexibility in terms of feedstock, reducing energy consumption and increasing process predictability</a:t>
          </a:r>
        </a:p>
      </dsp:txBody>
      <dsp:txXfrm>
        <a:off x="0" y="3640660"/>
        <a:ext cx="15737306" cy="1213553"/>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1C8BBC3-303E-4DF4-B119-72B973921D0A}">
      <dsp:nvSpPr>
        <dsp:cNvPr id="0" name=""/>
        <dsp:cNvSpPr/>
      </dsp:nvSpPr>
      <dsp:spPr>
        <a:xfrm>
          <a:off x="0" y="0"/>
          <a:ext cx="14590573" cy="1994719"/>
        </a:xfrm>
        <a:prstGeom prst="roundRect">
          <a:avLst>
            <a:gd name="adj" fmla="val 10000"/>
          </a:avLst>
        </a:prstGeom>
        <a:gradFill rotWithShape="0">
          <a:gsLst>
            <a:gs pos="0">
              <a:schemeClr val="accent2">
                <a:shade val="50000"/>
                <a:hueOff val="0"/>
                <a:satOff val="0"/>
                <a:lumOff val="0"/>
                <a:alphaOff val="0"/>
                <a:tint val="50000"/>
                <a:satMod val="300000"/>
              </a:schemeClr>
            </a:gs>
            <a:gs pos="35000">
              <a:schemeClr val="accent2">
                <a:shade val="50000"/>
                <a:hueOff val="0"/>
                <a:satOff val="0"/>
                <a:lumOff val="0"/>
                <a:alphaOff val="0"/>
                <a:tint val="37000"/>
                <a:satMod val="300000"/>
              </a:schemeClr>
            </a:gs>
            <a:gs pos="100000">
              <a:schemeClr val="accent2">
                <a:shade val="50000"/>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b="1" kern="1200"/>
            <a:t>Develop CFD model: Analyze</a:t>
          </a:r>
          <a:r>
            <a:rPr lang="en-US" sz="2500" b="0" kern="1200"/>
            <a:t> the tubular reactor and develop a strategy for building the CFD model. </a:t>
          </a:r>
          <a:r>
            <a:rPr lang="en-US" sz="2500" b="1" kern="1200"/>
            <a:t>Build</a:t>
          </a:r>
          <a:r>
            <a:rPr lang="en-US" sz="2500" b="0" kern="1200"/>
            <a:t> a CFD model of the full-scale reactor. </a:t>
          </a:r>
          <a:r>
            <a:rPr lang="en-US" sz="2500" b="1" kern="1200"/>
            <a:t>Validate </a:t>
          </a:r>
          <a:r>
            <a:rPr lang="en-US" sz="2500" b="0" kern="1200"/>
            <a:t>the model using results of pilot plant data and laboratory test results. </a:t>
          </a:r>
          <a:r>
            <a:rPr lang="en-US" sz="2500" b="1" kern="1200"/>
            <a:t>Obtain</a:t>
          </a:r>
          <a:r>
            <a:rPr lang="en-US" sz="2500" b="0" kern="1200"/>
            <a:t> pH and temperature at the reactor outlet for inlet conditions representing different recipes.  </a:t>
          </a:r>
        </a:p>
      </dsp:txBody>
      <dsp:txXfrm>
        <a:off x="58423" y="58423"/>
        <a:ext cx="12438116" cy="1877873"/>
      </dsp:txXfrm>
    </dsp:sp>
    <dsp:sp modelId="{68D56729-AD41-46B2-9C0B-EAF065C6894E}">
      <dsp:nvSpPr>
        <dsp:cNvPr id="0" name=""/>
        <dsp:cNvSpPr/>
      </dsp:nvSpPr>
      <dsp:spPr>
        <a:xfrm>
          <a:off x="1287403" y="2327172"/>
          <a:ext cx="14590573" cy="1994719"/>
        </a:xfrm>
        <a:prstGeom prst="roundRect">
          <a:avLst>
            <a:gd name="adj" fmla="val 10000"/>
          </a:avLst>
        </a:prstGeom>
        <a:gradFill rotWithShape="0">
          <a:gsLst>
            <a:gs pos="0">
              <a:schemeClr val="accent2">
                <a:shade val="50000"/>
                <a:hueOff val="0"/>
                <a:satOff val="8867"/>
                <a:lumOff val="24887"/>
                <a:alphaOff val="0"/>
                <a:tint val="50000"/>
                <a:satMod val="300000"/>
              </a:schemeClr>
            </a:gs>
            <a:gs pos="35000">
              <a:schemeClr val="accent2">
                <a:shade val="50000"/>
                <a:hueOff val="0"/>
                <a:satOff val="8867"/>
                <a:lumOff val="24887"/>
                <a:alphaOff val="0"/>
                <a:tint val="37000"/>
                <a:satMod val="300000"/>
              </a:schemeClr>
            </a:gs>
            <a:gs pos="100000">
              <a:schemeClr val="accent2">
                <a:shade val="50000"/>
                <a:hueOff val="0"/>
                <a:satOff val="8867"/>
                <a:lumOff val="24887"/>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b="1" kern="1200"/>
            <a:t>Produce a reduced order model (ROM) from CFD simulations</a:t>
          </a:r>
          <a:r>
            <a:rPr lang="en-US" sz="2500" b="0" i="0" kern="1200"/>
            <a:t>: </a:t>
          </a:r>
          <a:r>
            <a:rPr lang="en-US" sz="2500" kern="1200"/>
            <a:t>ROM is a mathematical representation that reduces the complexity and time of the CFD simulation</a:t>
          </a:r>
          <a:r>
            <a:rPr lang="en-US" sz="2500" b="0" i="0" kern="1200"/>
            <a:t>. The ROM is built from the outputs of several CFD simulations covering a range of values for the inputs of interest. For new set-points, the ROM gives </a:t>
          </a:r>
          <a:r>
            <a:rPr lang="en-US" sz="2500" b="1" i="0" kern="1200"/>
            <a:t>immediate</a:t>
          </a:r>
          <a:r>
            <a:rPr lang="en-US" sz="2500" b="0" i="0" kern="1200"/>
            <a:t> responses.</a:t>
          </a:r>
          <a:endParaRPr lang="en-US" sz="2500" kern="1200"/>
        </a:p>
      </dsp:txBody>
      <dsp:txXfrm>
        <a:off x="1345826" y="2385595"/>
        <a:ext cx="11889756" cy="1877873"/>
      </dsp:txXfrm>
    </dsp:sp>
    <dsp:sp modelId="{1F2A7C0D-663F-42A8-9C20-2D37322BE7CB}">
      <dsp:nvSpPr>
        <dsp:cNvPr id="0" name=""/>
        <dsp:cNvSpPr/>
      </dsp:nvSpPr>
      <dsp:spPr>
        <a:xfrm>
          <a:off x="2574806" y="4654344"/>
          <a:ext cx="14590573" cy="1994719"/>
        </a:xfrm>
        <a:prstGeom prst="roundRect">
          <a:avLst>
            <a:gd name="adj" fmla="val 10000"/>
          </a:avLst>
        </a:prstGeom>
        <a:gradFill rotWithShape="0">
          <a:gsLst>
            <a:gs pos="0">
              <a:schemeClr val="accent2">
                <a:shade val="50000"/>
                <a:hueOff val="0"/>
                <a:satOff val="8867"/>
                <a:lumOff val="24887"/>
                <a:alphaOff val="0"/>
                <a:tint val="50000"/>
                <a:satMod val="300000"/>
              </a:schemeClr>
            </a:gs>
            <a:gs pos="35000">
              <a:schemeClr val="accent2">
                <a:shade val="50000"/>
                <a:hueOff val="0"/>
                <a:satOff val="8867"/>
                <a:lumOff val="24887"/>
                <a:alphaOff val="0"/>
                <a:tint val="37000"/>
                <a:satMod val="300000"/>
              </a:schemeClr>
            </a:gs>
            <a:gs pos="100000">
              <a:schemeClr val="accent2">
                <a:shade val="50000"/>
                <a:hueOff val="0"/>
                <a:satOff val="8867"/>
                <a:lumOff val="24887"/>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US" sz="2500" b="1" i="0" kern="1200"/>
            <a:t>Produce a DT from the ROM: </a:t>
          </a:r>
          <a:r>
            <a:rPr lang="en-US" sz="2500" b="0" i="0" kern="1200"/>
            <a:t>Export the ROM to a format that is appropriate to be used in control environments (such as SIMULINK). </a:t>
          </a:r>
          <a:endParaRPr lang="en-US" sz="2500" kern="1200"/>
        </a:p>
      </dsp:txBody>
      <dsp:txXfrm>
        <a:off x="2633229" y="4712767"/>
        <a:ext cx="11889756" cy="1877873"/>
      </dsp:txXfrm>
    </dsp:sp>
    <dsp:sp modelId="{240B2BB7-84D2-46D8-8088-CFF2A45461D2}">
      <dsp:nvSpPr>
        <dsp:cNvPr id="0" name=""/>
        <dsp:cNvSpPr/>
      </dsp:nvSpPr>
      <dsp:spPr>
        <a:xfrm>
          <a:off x="13294005" y="1512662"/>
          <a:ext cx="1296567" cy="1296567"/>
        </a:xfrm>
        <a:prstGeom prst="downArrow">
          <a:avLst>
            <a:gd name="adj1" fmla="val 55000"/>
            <a:gd name="adj2" fmla="val 45000"/>
          </a:avLst>
        </a:prstGeom>
        <a:solidFill>
          <a:srgbClr val="CC0033">
            <a:alpha val="90000"/>
          </a:srgbClr>
        </a:solidFill>
        <a:ln w="9525" cap="flat" cmpd="sng" algn="ctr">
          <a:solidFill>
            <a:schemeClr val="accent6">
              <a:alpha val="9000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1600200">
            <a:lnSpc>
              <a:spcPct val="90000"/>
            </a:lnSpc>
            <a:spcBef>
              <a:spcPct val="0"/>
            </a:spcBef>
            <a:spcAft>
              <a:spcPct val="35000"/>
            </a:spcAft>
            <a:buNone/>
          </a:pPr>
          <a:endParaRPr lang="en-US" sz="3600" kern="1200"/>
        </a:p>
      </dsp:txBody>
      <dsp:txXfrm>
        <a:off x="13585733" y="1512662"/>
        <a:ext cx="713111" cy="975667"/>
      </dsp:txXfrm>
    </dsp:sp>
    <dsp:sp modelId="{CFE174CA-E2F5-4F2E-AFEF-EC05AEE67155}">
      <dsp:nvSpPr>
        <dsp:cNvPr id="0" name=""/>
        <dsp:cNvSpPr/>
      </dsp:nvSpPr>
      <dsp:spPr>
        <a:xfrm>
          <a:off x="14581409" y="3826536"/>
          <a:ext cx="1296567" cy="1296567"/>
        </a:xfrm>
        <a:prstGeom prst="downArrow">
          <a:avLst>
            <a:gd name="adj1" fmla="val 55000"/>
            <a:gd name="adj2" fmla="val 45000"/>
          </a:avLst>
        </a:prstGeom>
        <a:solidFill>
          <a:schemeClr val="accent1">
            <a:alpha val="90000"/>
          </a:schemeClr>
        </a:solidFill>
        <a:ln w="9525" cap="flat" cmpd="sng" algn="ctr">
          <a:solidFill>
            <a:schemeClr val="accent2">
              <a:alpha val="90000"/>
              <a:tint val="55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1600200">
            <a:lnSpc>
              <a:spcPct val="90000"/>
            </a:lnSpc>
            <a:spcBef>
              <a:spcPct val="0"/>
            </a:spcBef>
            <a:spcAft>
              <a:spcPct val="35000"/>
            </a:spcAft>
            <a:buNone/>
          </a:pPr>
          <a:endParaRPr lang="sv-SE" sz="3600" kern="1200"/>
        </a:p>
      </dsp:txBody>
      <dsp:txXfrm>
        <a:off x="14873137" y="3826536"/>
        <a:ext cx="713111" cy="975667"/>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B29FFE-F0FB-46C0-A450-E34DF803ECD1}">
      <dsp:nvSpPr>
        <dsp:cNvPr id="0" name=""/>
        <dsp:cNvSpPr/>
      </dsp:nvSpPr>
      <dsp:spPr>
        <a:xfrm>
          <a:off x="0" y="0"/>
          <a:ext cx="16169747" cy="2114761"/>
        </a:xfrm>
        <a:prstGeom prst="roundRect">
          <a:avLst>
            <a:gd name="adj" fmla="val 10000"/>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1450" tIns="171450" rIns="171450" bIns="171450" numCol="1" spcCol="1270" anchor="t" anchorCtr="0">
          <a:noAutofit/>
        </a:bodyPr>
        <a:lstStyle/>
        <a:p>
          <a:pPr marL="0" lvl="0" indent="0" algn="l" defTabSz="2000250">
            <a:lnSpc>
              <a:spcPct val="90000"/>
            </a:lnSpc>
            <a:spcBef>
              <a:spcPct val="0"/>
            </a:spcBef>
            <a:spcAft>
              <a:spcPct val="35000"/>
            </a:spcAft>
            <a:buNone/>
          </a:pPr>
          <a:r>
            <a:rPr lang="sv-SE" sz="4500" kern="1200" err="1"/>
            <a:t>Environmental</a:t>
          </a:r>
          <a:r>
            <a:rPr lang="sv-SE" sz="4500" kern="1200"/>
            <a:t> LCA – E-LCA </a:t>
          </a:r>
        </a:p>
        <a:p>
          <a:pPr marL="285750" lvl="1" indent="-285750" algn="l" defTabSz="1555750">
            <a:lnSpc>
              <a:spcPct val="90000"/>
            </a:lnSpc>
            <a:spcBef>
              <a:spcPct val="0"/>
            </a:spcBef>
            <a:spcAft>
              <a:spcPct val="15000"/>
            </a:spcAft>
            <a:buChar char="•"/>
          </a:pPr>
          <a:r>
            <a:rPr lang="sv-SE" sz="3500" kern="1200" err="1"/>
            <a:t>Assess</a:t>
          </a:r>
          <a:r>
            <a:rPr lang="sv-SE" sz="3500" kern="1200"/>
            <a:t> the </a:t>
          </a:r>
          <a:r>
            <a:rPr lang="sv-SE" sz="3500" kern="1200" err="1"/>
            <a:t>envionmental</a:t>
          </a:r>
          <a:r>
            <a:rPr lang="sv-SE" sz="3500" kern="1200"/>
            <a:t> </a:t>
          </a:r>
          <a:r>
            <a:rPr lang="sv-SE" sz="3500" kern="1200" err="1"/>
            <a:t>impact</a:t>
          </a:r>
          <a:r>
            <a:rPr lang="sv-SE" sz="3500" kern="1200"/>
            <a:t> </a:t>
          </a:r>
          <a:r>
            <a:rPr lang="sv-SE" sz="3500" kern="1200" err="1"/>
            <a:t>of</a:t>
          </a:r>
          <a:r>
            <a:rPr lang="sv-SE" sz="3500" kern="1200"/>
            <a:t> a </a:t>
          </a:r>
          <a:r>
            <a:rPr lang="sv-SE" sz="3500" kern="1200" err="1"/>
            <a:t>product</a:t>
          </a:r>
          <a:r>
            <a:rPr lang="sv-SE" sz="3500" kern="1200"/>
            <a:t>/service</a:t>
          </a:r>
        </a:p>
      </dsp:txBody>
      <dsp:txXfrm>
        <a:off x="3445425" y="0"/>
        <a:ext cx="12724321" cy="2114761"/>
      </dsp:txXfrm>
    </dsp:sp>
    <dsp:sp modelId="{ED4330B6-A97C-4A53-B54B-E6323C753690}">
      <dsp:nvSpPr>
        <dsp:cNvPr id="0" name=""/>
        <dsp:cNvSpPr/>
      </dsp:nvSpPr>
      <dsp:spPr>
        <a:xfrm>
          <a:off x="211476" y="211476"/>
          <a:ext cx="3233949" cy="1691809"/>
        </a:xfrm>
        <a:prstGeom prst="roundRect">
          <a:avLst>
            <a:gd name="adj" fmla="val 10000"/>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t="-2000" b="-2000"/>
          </a:stretch>
        </a:blip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F0D2987-0F79-472B-B341-5FA22BFE2031}">
      <dsp:nvSpPr>
        <dsp:cNvPr id="0" name=""/>
        <dsp:cNvSpPr/>
      </dsp:nvSpPr>
      <dsp:spPr>
        <a:xfrm>
          <a:off x="0" y="2326237"/>
          <a:ext cx="16169747" cy="2114761"/>
        </a:xfrm>
        <a:prstGeom prst="roundRect">
          <a:avLst>
            <a:gd name="adj" fmla="val 10000"/>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1450" tIns="171450" rIns="171450" bIns="171450" numCol="1" spcCol="1270" anchor="t" anchorCtr="0">
          <a:noAutofit/>
        </a:bodyPr>
        <a:lstStyle/>
        <a:p>
          <a:pPr marL="0" lvl="0" indent="0" algn="l" defTabSz="2000250">
            <a:lnSpc>
              <a:spcPct val="90000"/>
            </a:lnSpc>
            <a:spcBef>
              <a:spcPct val="0"/>
            </a:spcBef>
            <a:spcAft>
              <a:spcPct val="35000"/>
            </a:spcAft>
            <a:buNone/>
          </a:pPr>
          <a:r>
            <a:rPr lang="sv-SE" sz="4500" kern="1200"/>
            <a:t>Life </a:t>
          </a:r>
          <a:r>
            <a:rPr lang="sv-SE" sz="4500" kern="1200" err="1"/>
            <a:t>cycle</a:t>
          </a:r>
          <a:r>
            <a:rPr lang="sv-SE" sz="4500" kern="1200"/>
            <a:t> </a:t>
          </a:r>
          <a:r>
            <a:rPr lang="sv-SE" sz="4500" kern="1200" err="1"/>
            <a:t>costing</a:t>
          </a:r>
          <a:r>
            <a:rPr lang="sv-SE" sz="4500" kern="1200"/>
            <a:t> – LCC</a:t>
          </a:r>
        </a:p>
        <a:p>
          <a:pPr marL="285750" lvl="1" indent="-285750" algn="l" defTabSz="1555750">
            <a:lnSpc>
              <a:spcPct val="90000"/>
            </a:lnSpc>
            <a:spcBef>
              <a:spcPct val="0"/>
            </a:spcBef>
            <a:spcAft>
              <a:spcPct val="15000"/>
            </a:spcAft>
            <a:buChar char="•"/>
          </a:pPr>
          <a:r>
            <a:rPr lang="sv-SE" sz="3500" kern="1200" err="1"/>
            <a:t>Quantifying</a:t>
          </a:r>
          <a:r>
            <a:rPr lang="sv-SE" sz="3500" kern="1200"/>
            <a:t> the </a:t>
          </a:r>
          <a:r>
            <a:rPr lang="sv-SE" sz="3500" kern="1200" err="1"/>
            <a:t>costs</a:t>
          </a:r>
          <a:r>
            <a:rPr lang="sv-SE" sz="3500" kern="1200"/>
            <a:t> </a:t>
          </a:r>
          <a:r>
            <a:rPr lang="sv-SE" sz="3500" kern="1200" err="1"/>
            <a:t>that</a:t>
          </a:r>
          <a:r>
            <a:rPr lang="sv-SE" sz="3500" kern="1200"/>
            <a:t> </a:t>
          </a:r>
          <a:r>
            <a:rPr lang="sv-SE" sz="3500" kern="1200" err="1"/>
            <a:t>will</a:t>
          </a:r>
          <a:r>
            <a:rPr lang="sv-SE" sz="3500" kern="1200"/>
            <a:t> be </a:t>
          </a:r>
          <a:r>
            <a:rPr lang="sv-SE" sz="3500" kern="1200" err="1"/>
            <a:t>incured</a:t>
          </a:r>
          <a:r>
            <a:rPr lang="sv-SE" sz="3500" kern="1200"/>
            <a:t> </a:t>
          </a:r>
          <a:r>
            <a:rPr lang="sv-SE" sz="3500" kern="1200" err="1"/>
            <a:t>during</a:t>
          </a:r>
          <a:r>
            <a:rPr lang="sv-SE" sz="3500" kern="1200"/>
            <a:t> the </a:t>
          </a:r>
          <a:r>
            <a:rPr lang="sv-SE" sz="3500" kern="1200" err="1"/>
            <a:t>life</a:t>
          </a:r>
          <a:r>
            <a:rPr lang="sv-SE" sz="3500" kern="1200"/>
            <a:t> </a:t>
          </a:r>
          <a:r>
            <a:rPr lang="sv-SE" sz="3500" kern="1200" err="1"/>
            <a:t>cycle</a:t>
          </a:r>
          <a:r>
            <a:rPr lang="sv-SE" sz="3500" kern="1200"/>
            <a:t> </a:t>
          </a:r>
          <a:r>
            <a:rPr lang="sv-SE" sz="3500" kern="1200" err="1"/>
            <a:t>of</a:t>
          </a:r>
          <a:r>
            <a:rPr lang="sv-SE" sz="3500" kern="1200"/>
            <a:t> a </a:t>
          </a:r>
          <a:r>
            <a:rPr lang="sv-SE" sz="3500" kern="1200" err="1"/>
            <a:t>product</a:t>
          </a:r>
          <a:r>
            <a:rPr lang="sv-SE" sz="3500" kern="1200"/>
            <a:t>/service</a:t>
          </a:r>
        </a:p>
      </dsp:txBody>
      <dsp:txXfrm>
        <a:off x="3445425" y="2326237"/>
        <a:ext cx="12724321" cy="2114761"/>
      </dsp:txXfrm>
    </dsp:sp>
    <dsp:sp modelId="{657C9EB7-EA6A-423A-B56B-2E6CD9A37ED3}">
      <dsp:nvSpPr>
        <dsp:cNvPr id="0" name=""/>
        <dsp:cNvSpPr/>
      </dsp:nvSpPr>
      <dsp:spPr>
        <a:xfrm>
          <a:off x="211476" y="2537713"/>
          <a:ext cx="3233949" cy="1691809"/>
        </a:xfrm>
        <a:prstGeom prst="roundRect">
          <a:avLst>
            <a:gd name="adj" fmla="val 10000"/>
          </a:avLst>
        </a:prstGeom>
        <a:blipFill>
          <a:blip xmlns:r="http://schemas.openxmlformats.org/officeDocument/2006/relationships" r:embed="rId2" cstate="print">
            <a:extLst>
              <a:ext uri="{28A0092B-C50C-407E-A947-70E740481C1C}">
                <a14:useLocalDpi xmlns:a14="http://schemas.microsoft.com/office/drawing/2010/main" val="0"/>
              </a:ext>
            </a:extLst>
          </a:blip>
          <a:srcRect/>
          <a:stretch>
            <a:fillRect t="-2000" b="-2000"/>
          </a:stretch>
        </a:blip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9E67C5E-CAD1-4303-90DD-9303D83738ED}">
      <dsp:nvSpPr>
        <dsp:cNvPr id="0" name=""/>
        <dsp:cNvSpPr/>
      </dsp:nvSpPr>
      <dsp:spPr>
        <a:xfrm>
          <a:off x="0" y="4652475"/>
          <a:ext cx="16169747" cy="2114761"/>
        </a:xfrm>
        <a:prstGeom prst="roundRect">
          <a:avLst>
            <a:gd name="adj" fmla="val 10000"/>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1450" tIns="171450" rIns="171450" bIns="171450" numCol="1" spcCol="1270" anchor="t" anchorCtr="0">
          <a:noAutofit/>
        </a:bodyPr>
        <a:lstStyle/>
        <a:p>
          <a:pPr marL="0" lvl="0" indent="0" algn="l" defTabSz="2000250">
            <a:lnSpc>
              <a:spcPct val="90000"/>
            </a:lnSpc>
            <a:spcBef>
              <a:spcPct val="0"/>
            </a:spcBef>
            <a:spcAft>
              <a:spcPct val="35000"/>
            </a:spcAft>
            <a:buNone/>
          </a:pPr>
          <a:r>
            <a:rPr lang="sv-SE" sz="4500" kern="1200"/>
            <a:t>Social LCA – S-LCA</a:t>
          </a:r>
        </a:p>
        <a:p>
          <a:pPr marL="285750" lvl="1" indent="-285750" algn="l" defTabSz="1555750">
            <a:lnSpc>
              <a:spcPct val="90000"/>
            </a:lnSpc>
            <a:spcBef>
              <a:spcPct val="0"/>
            </a:spcBef>
            <a:spcAft>
              <a:spcPct val="15000"/>
            </a:spcAft>
            <a:buChar char="•"/>
          </a:pPr>
          <a:r>
            <a:rPr lang="sv-SE" sz="3500" kern="1200" err="1"/>
            <a:t>Assessing</a:t>
          </a:r>
          <a:r>
            <a:rPr lang="sv-SE" sz="3500" kern="1200"/>
            <a:t> the social </a:t>
          </a:r>
          <a:r>
            <a:rPr lang="sv-SE" sz="3500" kern="1200" err="1"/>
            <a:t>impact</a:t>
          </a:r>
          <a:r>
            <a:rPr lang="sv-SE" sz="3500" kern="1200"/>
            <a:t> </a:t>
          </a:r>
          <a:r>
            <a:rPr lang="sv-SE" sz="3500" kern="1200" err="1"/>
            <a:t>of</a:t>
          </a:r>
          <a:r>
            <a:rPr lang="sv-SE" sz="3500" kern="1200"/>
            <a:t> a </a:t>
          </a:r>
          <a:r>
            <a:rPr lang="sv-SE" sz="3500" kern="1200" err="1"/>
            <a:t>product</a:t>
          </a:r>
          <a:r>
            <a:rPr lang="sv-SE" sz="3500" kern="1200"/>
            <a:t>/service </a:t>
          </a:r>
        </a:p>
      </dsp:txBody>
      <dsp:txXfrm>
        <a:off x="3445425" y="4652475"/>
        <a:ext cx="12724321" cy="2114761"/>
      </dsp:txXfrm>
    </dsp:sp>
    <dsp:sp modelId="{CB0130F3-D563-4E42-ADE0-DD4A630D45AE}">
      <dsp:nvSpPr>
        <dsp:cNvPr id="0" name=""/>
        <dsp:cNvSpPr/>
      </dsp:nvSpPr>
      <dsp:spPr>
        <a:xfrm>
          <a:off x="211476" y="4863951"/>
          <a:ext cx="3233949" cy="1691809"/>
        </a:xfrm>
        <a:prstGeom prst="roundRect">
          <a:avLst>
            <a:gd name="adj" fmla="val 10000"/>
          </a:avLst>
        </a:prstGeom>
        <a:blipFill>
          <a:blip xmlns:r="http://schemas.openxmlformats.org/officeDocument/2006/relationships" r:embed="rId3" cstate="print">
            <a:extLst>
              <a:ext uri="{28A0092B-C50C-407E-A947-70E740481C1C}">
                <a14:useLocalDpi xmlns:a14="http://schemas.microsoft.com/office/drawing/2010/main" val="0"/>
              </a:ext>
            </a:extLst>
          </a:blip>
          <a:srcRect/>
          <a:stretch>
            <a:fillRect t="-8000" b="-8000"/>
          </a:stretch>
        </a:blip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A96D7FC-D10E-4C58-9B0E-13BA621BF81B}">
      <dsp:nvSpPr>
        <dsp:cNvPr id="0" name=""/>
        <dsp:cNvSpPr/>
      </dsp:nvSpPr>
      <dsp:spPr>
        <a:xfrm>
          <a:off x="1031" y="61164"/>
          <a:ext cx="4024053" cy="2414431"/>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LCA identifies the main sources of environmental impact and areas for product improvement. </a:t>
          </a:r>
          <a:endParaRPr lang="sv-SE" sz="2300" kern="1200"/>
        </a:p>
      </dsp:txBody>
      <dsp:txXfrm>
        <a:off x="1031" y="61164"/>
        <a:ext cx="4024053" cy="2414431"/>
      </dsp:txXfrm>
    </dsp:sp>
    <dsp:sp modelId="{74F52783-5425-411C-8968-DE62D017BD7B}">
      <dsp:nvSpPr>
        <dsp:cNvPr id="0" name=""/>
        <dsp:cNvSpPr/>
      </dsp:nvSpPr>
      <dsp:spPr>
        <a:xfrm>
          <a:off x="4427490" y="61164"/>
          <a:ext cx="4024053" cy="2414431"/>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It supports decision making by different stakeholders. </a:t>
          </a:r>
          <a:endParaRPr lang="sv-SE" sz="2300" kern="1200"/>
        </a:p>
      </dsp:txBody>
      <dsp:txXfrm>
        <a:off x="4427490" y="61164"/>
        <a:ext cx="4024053" cy="2414431"/>
      </dsp:txXfrm>
    </dsp:sp>
    <dsp:sp modelId="{4BC11004-5F62-40AF-8814-0107ECC0DCC1}">
      <dsp:nvSpPr>
        <dsp:cNvPr id="0" name=""/>
        <dsp:cNvSpPr/>
      </dsp:nvSpPr>
      <dsp:spPr>
        <a:xfrm>
          <a:off x="2214260" y="2878001"/>
          <a:ext cx="4024053" cy="2414431"/>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By taking a life-cycle perspective, all stages of a product's life are considered, avoiding burden shifting and negative impacts caused by isolated improvements in one part of the system.</a:t>
          </a:r>
          <a:r>
            <a:rPr lang="en-GB" sz="2300" kern="1200"/>
            <a:t> </a:t>
          </a:r>
          <a:endParaRPr lang="sv-SE" sz="2300" kern="1200"/>
        </a:p>
      </dsp:txBody>
      <dsp:txXfrm>
        <a:off x="2214260" y="2878001"/>
        <a:ext cx="4024053" cy="2414431"/>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8FDF89B-A5F5-441A-9FAE-BC213FB9393A}">
      <dsp:nvSpPr>
        <dsp:cNvPr id="0" name=""/>
        <dsp:cNvSpPr/>
      </dsp:nvSpPr>
      <dsp:spPr>
        <a:xfrm>
          <a:off x="1595615" y="0"/>
          <a:ext cx="2447567" cy="1359759"/>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ctr" defTabSz="1689100">
            <a:lnSpc>
              <a:spcPct val="90000"/>
            </a:lnSpc>
            <a:spcBef>
              <a:spcPct val="0"/>
            </a:spcBef>
            <a:spcAft>
              <a:spcPct val="35000"/>
            </a:spcAft>
            <a:buNone/>
          </a:pPr>
          <a:r>
            <a:rPr lang="sv-SE" sz="3800" kern="1200" err="1"/>
            <a:t>Unit</a:t>
          </a:r>
          <a:r>
            <a:rPr lang="sv-SE" sz="3800" kern="1200"/>
            <a:t> process</a:t>
          </a:r>
        </a:p>
      </dsp:txBody>
      <dsp:txXfrm>
        <a:off x="1635441" y="39826"/>
        <a:ext cx="2367915" cy="1280107"/>
      </dsp:txXfrm>
    </dsp:sp>
    <dsp:sp modelId="{19450AEE-5C78-484B-8E15-9A74F3F80D8C}">
      <dsp:nvSpPr>
        <dsp:cNvPr id="0" name=""/>
        <dsp:cNvSpPr/>
      </dsp:nvSpPr>
      <dsp:spPr>
        <a:xfrm rot="5400000">
          <a:off x="2564445" y="1393754"/>
          <a:ext cx="509909" cy="611891"/>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200150">
            <a:lnSpc>
              <a:spcPct val="90000"/>
            </a:lnSpc>
            <a:spcBef>
              <a:spcPct val="0"/>
            </a:spcBef>
            <a:spcAft>
              <a:spcPct val="35000"/>
            </a:spcAft>
            <a:buNone/>
          </a:pPr>
          <a:endParaRPr lang="sv-SE" sz="2700" kern="1200"/>
        </a:p>
      </dsp:txBody>
      <dsp:txXfrm rot="-5400000">
        <a:off x="2635833" y="1444745"/>
        <a:ext cx="367135" cy="356936"/>
      </dsp:txXfrm>
    </dsp:sp>
    <dsp:sp modelId="{997FC45B-CC40-42D1-9532-6FEF5AC98618}">
      <dsp:nvSpPr>
        <dsp:cNvPr id="0" name=""/>
        <dsp:cNvSpPr/>
      </dsp:nvSpPr>
      <dsp:spPr>
        <a:xfrm>
          <a:off x="1595615" y="2039640"/>
          <a:ext cx="2447567" cy="1359759"/>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ctr" defTabSz="1689100">
            <a:lnSpc>
              <a:spcPct val="90000"/>
            </a:lnSpc>
            <a:spcBef>
              <a:spcPct val="0"/>
            </a:spcBef>
            <a:spcAft>
              <a:spcPct val="35000"/>
            </a:spcAft>
            <a:buNone/>
          </a:pPr>
          <a:r>
            <a:rPr lang="sv-SE" sz="3800" kern="1200" err="1"/>
            <a:t>Unit</a:t>
          </a:r>
          <a:r>
            <a:rPr lang="sv-SE" sz="3800" kern="1200"/>
            <a:t> process</a:t>
          </a:r>
        </a:p>
      </dsp:txBody>
      <dsp:txXfrm>
        <a:off x="1635441" y="2079466"/>
        <a:ext cx="2367915" cy="1280107"/>
      </dsp:txXfrm>
    </dsp:sp>
    <dsp:sp modelId="{67713A88-3ADF-4070-A7FE-E1A7CE8B3EB9}">
      <dsp:nvSpPr>
        <dsp:cNvPr id="0" name=""/>
        <dsp:cNvSpPr/>
      </dsp:nvSpPr>
      <dsp:spPr>
        <a:xfrm rot="5400000">
          <a:off x="2564445" y="3433394"/>
          <a:ext cx="509909" cy="611891"/>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200150">
            <a:lnSpc>
              <a:spcPct val="90000"/>
            </a:lnSpc>
            <a:spcBef>
              <a:spcPct val="0"/>
            </a:spcBef>
            <a:spcAft>
              <a:spcPct val="35000"/>
            </a:spcAft>
            <a:buNone/>
          </a:pPr>
          <a:endParaRPr lang="sv-SE" sz="2700" kern="1200"/>
        </a:p>
      </dsp:txBody>
      <dsp:txXfrm rot="-5400000">
        <a:off x="2635833" y="3484385"/>
        <a:ext cx="367135" cy="356936"/>
      </dsp:txXfrm>
    </dsp:sp>
    <dsp:sp modelId="{31E4A2C6-9C36-4DD1-8E6A-48EC6379CE92}">
      <dsp:nvSpPr>
        <dsp:cNvPr id="0" name=""/>
        <dsp:cNvSpPr/>
      </dsp:nvSpPr>
      <dsp:spPr>
        <a:xfrm>
          <a:off x="1595615" y="4079279"/>
          <a:ext cx="2447567" cy="1359759"/>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ctr" defTabSz="1689100">
            <a:lnSpc>
              <a:spcPct val="90000"/>
            </a:lnSpc>
            <a:spcBef>
              <a:spcPct val="0"/>
            </a:spcBef>
            <a:spcAft>
              <a:spcPct val="35000"/>
            </a:spcAft>
            <a:buNone/>
          </a:pPr>
          <a:r>
            <a:rPr lang="sv-SE" sz="3800" kern="1200" err="1"/>
            <a:t>Unit</a:t>
          </a:r>
          <a:r>
            <a:rPr lang="sv-SE" sz="3800" kern="1200"/>
            <a:t> process</a:t>
          </a:r>
        </a:p>
      </dsp:txBody>
      <dsp:txXfrm>
        <a:off x="1635441" y="4119105"/>
        <a:ext cx="2367915" cy="1280107"/>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615850A-DCF1-4CBF-8822-3DBC2BA5A7EC}">
      <dsp:nvSpPr>
        <dsp:cNvPr id="0" name=""/>
        <dsp:cNvSpPr/>
      </dsp:nvSpPr>
      <dsp:spPr>
        <a:xfrm>
          <a:off x="12629" y="1621863"/>
          <a:ext cx="3774809" cy="2264885"/>
        </a:xfrm>
        <a:prstGeom prst="roundRect">
          <a:avLst>
            <a:gd name="adj" fmla="val 10000"/>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sv-SE" sz="2800" kern="1200" err="1"/>
            <a:t>Create</a:t>
          </a:r>
          <a:r>
            <a:rPr lang="sv-SE" sz="2800" kern="1200"/>
            <a:t> a </a:t>
          </a:r>
          <a:r>
            <a:rPr lang="sv-SE" sz="2800" kern="1200" err="1"/>
            <a:t>flowchart</a:t>
          </a:r>
          <a:r>
            <a:rPr lang="sv-SE" sz="2800" kern="1200"/>
            <a:t> </a:t>
          </a:r>
          <a:r>
            <a:rPr lang="sv-SE" sz="2800" kern="1200" err="1"/>
            <a:t>according</a:t>
          </a:r>
          <a:r>
            <a:rPr lang="sv-SE" sz="2800" kern="1200"/>
            <a:t> to </a:t>
          </a:r>
          <a:r>
            <a:rPr lang="sv-SE" sz="2800" kern="1200" err="1"/>
            <a:t>defined</a:t>
          </a:r>
          <a:r>
            <a:rPr lang="sv-SE" sz="2800" kern="1200"/>
            <a:t> system </a:t>
          </a:r>
          <a:r>
            <a:rPr lang="sv-SE" sz="2800" kern="1200" err="1"/>
            <a:t>boundaries</a:t>
          </a:r>
          <a:endParaRPr lang="sv-SE" sz="2800" kern="1200"/>
        </a:p>
      </dsp:txBody>
      <dsp:txXfrm>
        <a:off x="78965" y="1688199"/>
        <a:ext cx="3642137" cy="2132213"/>
      </dsp:txXfrm>
    </dsp:sp>
    <dsp:sp modelId="{68971258-C650-49C2-B25B-00640DB2007E}">
      <dsp:nvSpPr>
        <dsp:cNvPr id="0" name=""/>
        <dsp:cNvSpPr/>
      </dsp:nvSpPr>
      <dsp:spPr>
        <a:xfrm>
          <a:off x="4164919" y="2286229"/>
          <a:ext cx="800259" cy="936152"/>
        </a:xfrm>
        <a:prstGeom prst="rightArrow">
          <a:avLst>
            <a:gd name="adj1" fmla="val 60000"/>
            <a:gd name="adj2" fmla="val 50000"/>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z="-80000" prstMaterial="plastic">
          <a:bevelT w="50800" h="50800"/>
          <a:bevelB w="25400" h="25400" prst="angle"/>
        </a:sp3d>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977900">
            <a:lnSpc>
              <a:spcPct val="90000"/>
            </a:lnSpc>
            <a:spcBef>
              <a:spcPct val="0"/>
            </a:spcBef>
            <a:spcAft>
              <a:spcPct val="35000"/>
            </a:spcAft>
            <a:buNone/>
          </a:pPr>
          <a:endParaRPr lang="sv-SE" sz="2200" kern="1200"/>
        </a:p>
      </dsp:txBody>
      <dsp:txXfrm>
        <a:off x="4164919" y="2473459"/>
        <a:ext cx="560181" cy="561692"/>
      </dsp:txXfrm>
    </dsp:sp>
    <dsp:sp modelId="{EC3F327E-6073-4321-9441-AB1EFFBBBF4F}">
      <dsp:nvSpPr>
        <dsp:cNvPr id="0" name=""/>
        <dsp:cNvSpPr/>
      </dsp:nvSpPr>
      <dsp:spPr>
        <a:xfrm>
          <a:off x="5297362" y="1621863"/>
          <a:ext cx="3774809" cy="2264885"/>
        </a:xfrm>
        <a:prstGeom prst="roundRect">
          <a:avLst>
            <a:gd name="adj" fmla="val 10000"/>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sv-SE" sz="2800" kern="1200"/>
            <a:t>Collect data for all </a:t>
          </a:r>
          <a:r>
            <a:rPr lang="sv-SE" sz="2800" kern="1200" err="1"/>
            <a:t>activities</a:t>
          </a:r>
          <a:r>
            <a:rPr lang="sv-SE" sz="2800" kern="1200"/>
            <a:t> </a:t>
          </a:r>
          <a:r>
            <a:rPr lang="sv-SE" sz="2800" kern="1200" err="1"/>
            <a:t>depending</a:t>
          </a:r>
          <a:r>
            <a:rPr lang="sv-SE" sz="2800" kern="1200"/>
            <a:t> on the </a:t>
          </a:r>
          <a:r>
            <a:rPr lang="sv-SE" sz="2800" kern="1200" err="1"/>
            <a:t>type</a:t>
          </a:r>
          <a:r>
            <a:rPr lang="sv-SE" sz="2800" kern="1200"/>
            <a:t> </a:t>
          </a:r>
          <a:r>
            <a:rPr lang="sv-SE" sz="2800" kern="1200" err="1"/>
            <a:t>of</a:t>
          </a:r>
          <a:r>
            <a:rPr lang="sv-SE" sz="2800" kern="1200"/>
            <a:t> </a:t>
          </a:r>
          <a:r>
            <a:rPr lang="sv-SE" sz="2800" kern="1200" err="1"/>
            <a:t>assessment</a:t>
          </a:r>
          <a:r>
            <a:rPr lang="sv-SE" sz="2800" kern="1200"/>
            <a:t> </a:t>
          </a:r>
        </a:p>
      </dsp:txBody>
      <dsp:txXfrm>
        <a:off x="5363698" y="1688199"/>
        <a:ext cx="3642137" cy="2132213"/>
      </dsp:txXfrm>
    </dsp:sp>
    <dsp:sp modelId="{DE6E1A7E-5477-4077-89E9-740500FDD07A}">
      <dsp:nvSpPr>
        <dsp:cNvPr id="0" name=""/>
        <dsp:cNvSpPr/>
      </dsp:nvSpPr>
      <dsp:spPr>
        <a:xfrm>
          <a:off x="9449652" y="2286229"/>
          <a:ext cx="800259" cy="936152"/>
        </a:xfrm>
        <a:prstGeom prst="rightArrow">
          <a:avLst>
            <a:gd name="adj1" fmla="val 60000"/>
            <a:gd name="adj2" fmla="val 50000"/>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z="-80000" prstMaterial="plastic">
          <a:bevelT w="50800" h="50800"/>
          <a:bevelB w="25400" h="25400" prst="angle"/>
        </a:sp3d>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977900">
            <a:lnSpc>
              <a:spcPct val="90000"/>
            </a:lnSpc>
            <a:spcBef>
              <a:spcPct val="0"/>
            </a:spcBef>
            <a:spcAft>
              <a:spcPct val="35000"/>
            </a:spcAft>
            <a:buNone/>
          </a:pPr>
          <a:endParaRPr lang="sv-SE" sz="2200" kern="1200"/>
        </a:p>
      </dsp:txBody>
      <dsp:txXfrm>
        <a:off x="9449652" y="2473459"/>
        <a:ext cx="560181" cy="561692"/>
      </dsp:txXfrm>
    </dsp:sp>
    <dsp:sp modelId="{1BC1F484-55AF-4522-95A8-BAA51A7F449A}">
      <dsp:nvSpPr>
        <dsp:cNvPr id="0" name=""/>
        <dsp:cNvSpPr/>
      </dsp:nvSpPr>
      <dsp:spPr>
        <a:xfrm>
          <a:off x="10582095" y="1621863"/>
          <a:ext cx="3774809" cy="2264885"/>
        </a:xfrm>
        <a:prstGeom prst="roundRect">
          <a:avLst>
            <a:gd name="adj" fmla="val 10000"/>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a:t>Calculate the amount of resources used and emissions from the system in relation to the functional unit</a:t>
          </a:r>
          <a:endParaRPr lang="sv-SE" sz="2800" kern="1200"/>
        </a:p>
      </dsp:txBody>
      <dsp:txXfrm>
        <a:off x="10648431" y="1688199"/>
        <a:ext cx="3642137" cy="2132213"/>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4673CC9-B1D3-4ECD-A50B-9BA66ADE82E4}">
      <dsp:nvSpPr>
        <dsp:cNvPr id="0" name=""/>
        <dsp:cNvSpPr/>
      </dsp:nvSpPr>
      <dsp:spPr>
        <a:xfrm>
          <a:off x="482826" y="1970"/>
          <a:ext cx="5770103" cy="1008082"/>
        </a:xfrm>
        <a:prstGeom prst="roundRect">
          <a:avLst>
            <a:gd name="adj" fmla="val 10000"/>
          </a:avLst>
        </a:prstGeom>
        <a:gradFill rotWithShape="0">
          <a:gsLst>
            <a:gs pos="0">
              <a:schemeClr val="accent1">
                <a:shade val="80000"/>
                <a:hueOff val="0"/>
                <a:satOff val="0"/>
                <a:lumOff val="0"/>
                <a:alphaOff val="0"/>
                <a:shade val="51000"/>
                <a:satMod val="130000"/>
              </a:schemeClr>
            </a:gs>
            <a:gs pos="80000">
              <a:schemeClr val="accent1">
                <a:shade val="80000"/>
                <a:hueOff val="0"/>
                <a:satOff val="0"/>
                <a:lumOff val="0"/>
                <a:alphaOff val="0"/>
                <a:shade val="93000"/>
                <a:satMod val="130000"/>
              </a:schemeClr>
            </a:gs>
            <a:gs pos="100000">
              <a:schemeClr val="accent1">
                <a:shade val="8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sv-SE" sz="1800" kern="1200"/>
            <a:t> </a:t>
          </a:r>
          <a:r>
            <a:rPr lang="sv-SE" sz="3200" kern="1200" err="1"/>
            <a:t>Classification</a:t>
          </a:r>
          <a:endParaRPr lang="sv-SE" sz="1800" kern="1200"/>
        </a:p>
      </dsp:txBody>
      <dsp:txXfrm>
        <a:off x="512352" y="31496"/>
        <a:ext cx="5711051" cy="949030"/>
      </dsp:txXfrm>
    </dsp:sp>
    <dsp:sp modelId="{54388463-AA21-46BB-A979-FA60D0D0139C}">
      <dsp:nvSpPr>
        <dsp:cNvPr id="0" name=""/>
        <dsp:cNvSpPr/>
      </dsp:nvSpPr>
      <dsp:spPr>
        <a:xfrm rot="5400000">
          <a:off x="3178862" y="1035255"/>
          <a:ext cx="378030" cy="453637"/>
        </a:xfrm>
        <a:prstGeom prst="rightArrow">
          <a:avLst>
            <a:gd name="adj1" fmla="val 60000"/>
            <a:gd name="adj2" fmla="val 50000"/>
          </a:avLst>
        </a:prstGeom>
        <a:solidFill>
          <a:schemeClr val="accent1">
            <a:shade val="9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sv-SE" sz="2000" kern="1200"/>
        </a:p>
      </dsp:txBody>
      <dsp:txXfrm rot="-5400000">
        <a:off x="3231786" y="1073059"/>
        <a:ext cx="272183" cy="264621"/>
      </dsp:txXfrm>
    </dsp:sp>
    <dsp:sp modelId="{FEA6B750-61DB-4A1C-8AE9-E5CEB3DFBDB2}">
      <dsp:nvSpPr>
        <dsp:cNvPr id="0" name=""/>
        <dsp:cNvSpPr/>
      </dsp:nvSpPr>
      <dsp:spPr>
        <a:xfrm>
          <a:off x="459297" y="1514094"/>
          <a:ext cx="5817160" cy="1008082"/>
        </a:xfrm>
        <a:prstGeom prst="roundRect">
          <a:avLst>
            <a:gd name="adj" fmla="val 10000"/>
          </a:avLst>
        </a:prstGeom>
        <a:gradFill rotWithShape="0">
          <a:gsLst>
            <a:gs pos="0">
              <a:schemeClr val="accent1">
                <a:shade val="80000"/>
                <a:hueOff val="312772"/>
                <a:satOff val="-24292"/>
                <a:lumOff val="18155"/>
                <a:alphaOff val="0"/>
                <a:shade val="51000"/>
                <a:satMod val="130000"/>
              </a:schemeClr>
            </a:gs>
            <a:gs pos="80000">
              <a:schemeClr val="accent1">
                <a:shade val="80000"/>
                <a:hueOff val="312772"/>
                <a:satOff val="-24292"/>
                <a:lumOff val="18155"/>
                <a:alphaOff val="0"/>
                <a:shade val="93000"/>
                <a:satMod val="130000"/>
              </a:schemeClr>
            </a:gs>
            <a:gs pos="100000">
              <a:schemeClr val="accent1">
                <a:shade val="80000"/>
                <a:hueOff val="312772"/>
                <a:satOff val="-24292"/>
                <a:lumOff val="18155"/>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sv-SE" sz="3200" kern="1200" err="1"/>
            <a:t>Characterization</a:t>
          </a:r>
          <a:endParaRPr lang="sv-SE" sz="3200" kern="1200"/>
        </a:p>
      </dsp:txBody>
      <dsp:txXfrm>
        <a:off x="488823" y="1543620"/>
        <a:ext cx="5758108" cy="949030"/>
      </dsp:txXfrm>
    </dsp:sp>
    <dsp:sp modelId="{833A9DEC-8C47-420F-AB6E-67EE8024EE75}">
      <dsp:nvSpPr>
        <dsp:cNvPr id="0" name=""/>
        <dsp:cNvSpPr/>
      </dsp:nvSpPr>
      <dsp:spPr>
        <a:xfrm rot="5400000">
          <a:off x="3178862" y="2547379"/>
          <a:ext cx="378030" cy="453637"/>
        </a:xfrm>
        <a:prstGeom prst="rightArrow">
          <a:avLst>
            <a:gd name="adj1" fmla="val 60000"/>
            <a:gd name="adj2" fmla="val 50000"/>
          </a:avLst>
        </a:prstGeom>
        <a:solidFill>
          <a:schemeClr val="accent1">
            <a:shade val="90000"/>
            <a:hueOff val="635391"/>
            <a:satOff val="-48584"/>
            <a:lumOff val="34351"/>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sv-SE" sz="2000" kern="1200"/>
        </a:p>
      </dsp:txBody>
      <dsp:txXfrm rot="-5400000">
        <a:off x="3231786" y="2585183"/>
        <a:ext cx="272183" cy="264621"/>
      </dsp:txXfrm>
    </dsp:sp>
    <dsp:sp modelId="{65D0B4ED-779F-488F-9BB2-BAAE99469CE8}">
      <dsp:nvSpPr>
        <dsp:cNvPr id="0" name=""/>
        <dsp:cNvSpPr/>
      </dsp:nvSpPr>
      <dsp:spPr>
        <a:xfrm>
          <a:off x="438994" y="3026218"/>
          <a:ext cx="5857766" cy="1008082"/>
        </a:xfrm>
        <a:prstGeom prst="roundRect">
          <a:avLst>
            <a:gd name="adj" fmla="val 10000"/>
          </a:avLst>
        </a:prstGeom>
        <a:gradFill rotWithShape="0">
          <a:gsLst>
            <a:gs pos="0">
              <a:schemeClr val="accent1">
                <a:shade val="80000"/>
                <a:hueOff val="625543"/>
                <a:satOff val="-48584"/>
                <a:lumOff val="36311"/>
                <a:alphaOff val="0"/>
                <a:shade val="51000"/>
                <a:satMod val="130000"/>
              </a:schemeClr>
            </a:gs>
            <a:gs pos="80000">
              <a:schemeClr val="accent1">
                <a:shade val="80000"/>
                <a:hueOff val="625543"/>
                <a:satOff val="-48584"/>
                <a:lumOff val="36311"/>
                <a:alphaOff val="0"/>
                <a:shade val="93000"/>
                <a:satMod val="130000"/>
              </a:schemeClr>
            </a:gs>
            <a:gs pos="100000">
              <a:schemeClr val="accent1">
                <a:shade val="80000"/>
                <a:hueOff val="625543"/>
                <a:satOff val="-48584"/>
                <a:lumOff val="36311"/>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sv-SE" sz="3200" kern="1200" err="1"/>
            <a:t>Weighting</a:t>
          </a:r>
          <a:r>
            <a:rPr lang="sv-SE" sz="3200" kern="1200"/>
            <a:t> and </a:t>
          </a:r>
          <a:r>
            <a:rPr lang="sv-SE" sz="3200" kern="1200" err="1"/>
            <a:t>normalisation</a:t>
          </a:r>
          <a:r>
            <a:rPr lang="sv-SE" sz="3200" kern="1200"/>
            <a:t> etc.</a:t>
          </a:r>
        </a:p>
      </dsp:txBody>
      <dsp:txXfrm>
        <a:off x="468520" y="3055744"/>
        <a:ext cx="5798714" cy="949030"/>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2.xml><?xml version="1.0" encoding="utf-8"?>
<dgm:layoutDef xmlns:dgm="http://schemas.openxmlformats.org/drawingml/2006/diagram" xmlns:a="http://schemas.openxmlformats.org/drawingml/2006/main" uniqueId="urn:microsoft.com/office/officeart/2009/3/layout/HorizontalOrganizationChart">
  <dgm:title val=""/>
  <dgm:desc val=""/>
  <dgm:catLst>
    <dgm:cat type="hierarchy" pri="43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305"/>
      <dgm:constr type="w" for="des" forName="rootComposite" refType="w" fact="10"/>
      <dgm:constr type="h" for="des" forName="rootComposite" refType="w" refFor="des" refForName="rootComposite1" fact="0.305"/>
      <dgm:constr type="w" for="des" forName="rootComposite3" refType="w" fact="10"/>
      <dgm:constr type="h" for="des" forName="rootComposite3" refType="w" refFor="des" refForName="rootComposite1" fact="0.305"/>
      <dgm:constr type="primFontSz" for="des" ptType="node" op="equ"/>
      <dgm:constr type="sp" for="des" op="equ"/>
      <dgm:constr type="sp" for="des" forName="hierRoot1" refType="w" refFor="des" refForName="rootComposite1" fact="0.2"/>
      <dgm:constr type="sp" for="des" forName="hierRoot2" refType="sp" refFor="des" refForName="hierRoot1"/>
      <dgm:constr type="sp" for="des" forName="hierRoot3" refType="sp" refFor="des" refForName="hierRoot1"/>
      <dgm:constr type="sibSp" refType="w" refFor="des" refForName="rootComposite1" fact="0.125"/>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125"/>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func="var" arg="dir" op="equ" val="norm">
                  <dgm:alg type="hierRoot">
                    <dgm:param type="hierAlign" val="lT"/>
                  </dgm:alg>
                  <dgm:constrLst>
                    <dgm:constr type="alignOff" val="0.75"/>
                  </dgm:constrLst>
                </dgm:if>
                <dgm:else name="Name9">
                  <dgm:alg type="hierRoot">
                    <dgm:param type="hierAlign" val="rT"/>
                  </dgm:alg>
                  <dgm:constrLst>
                    <dgm:constr type="alignOff" val="0.75"/>
                  </dgm:constrLst>
                </dgm:else>
              </dgm:choose>
            </dgm:if>
            <dgm:if name="Name10" func="var" arg="hierBranch" op="equ" val="r">
              <dgm:choose name="Name11">
                <dgm:if name="Name12" func="var" arg="dir" op="equ" val="norm">
                  <dgm:alg type="hierRoot">
                    <dgm:param type="hierAlign" val="lB"/>
                  </dgm:alg>
                  <dgm:constrLst>
                    <dgm:constr type="alignOff" val="0.75"/>
                  </dgm:constrLst>
                </dgm:if>
                <dgm:else name="Name13">
                  <dgm:alg type="hierRoot">
                    <dgm:param type="hierAlign" val="rB"/>
                  </dgm:alg>
                  <dgm:constrLst>
                    <dgm:constr type="alignOff" val="0.75"/>
                  </dgm:constrLst>
                </dgm:else>
              </dgm:choose>
            </dgm:if>
            <dgm:if name="Name14" func="var" arg="hierBranch" op="equ" val="hang">
              <dgm:choose name="Name15">
                <dgm:if name="Name16" func="var" arg="dir" op="equ" val="norm">
                  <dgm:alg type="hierRoot">
                    <dgm:param type="hierAlign" val="lCtrCh"/>
                  </dgm:alg>
                  <dgm:constrLst>
                    <dgm:constr type="alignOff" val="0.65"/>
                  </dgm:constrLst>
                </dgm:if>
                <dgm:else name="Name17">
                  <dgm:alg type="hierRoot">
                    <dgm:param type="hierAlign" val="rCtrCh"/>
                  </dgm:alg>
                  <dgm:constrLst>
                    <dgm:constr type="alignOff" val="0.65"/>
                  </dgm:constrLst>
                </dgm:else>
              </dgm:choose>
            </dgm:if>
            <dgm:else name="Name18">
              <dgm:choose name="Name19">
                <dgm:if name="Name20" func="var" arg="dir" op="equ" val="norm">
                  <dgm:alg type="hierRoot">
                    <dgm:param type="hierAlign" val="lCtrCh"/>
                  </dgm:alg>
                  <dgm:constrLst>
                    <dgm:constr type="alignOff"/>
                    <dgm:constr type="bendDist" for="des" ptType="parTrans" refType="sp" fact="0.5"/>
                  </dgm:constrLst>
                </dgm:if>
                <dgm:else name="Name21">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22">
              <dgm:if name="Name23"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24"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25"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6">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7">
              <dgm:if name="Name28" func="var" arg="hierBranch" op="equ" val="l">
                <dgm:choose name="Name29">
                  <dgm:if name="Name30" func="var" arg="dir" op="equ" val="norm">
                    <dgm:alg type="hierChild">
                      <dgm:param type="chAlign" val="t"/>
                      <dgm:param type="linDir" val="fromL"/>
                    </dgm:alg>
                  </dgm:if>
                  <dgm:else name="Name31">
                    <dgm:alg type="hierChild">
                      <dgm:param type="chAlign" val="t"/>
                      <dgm:param type="linDir" val="fromR"/>
                    </dgm:alg>
                  </dgm:else>
                </dgm:choose>
              </dgm:if>
              <dgm:if name="Name32" func="var" arg="hierBranch" op="equ" val="r">
                <dgm:choose name="Name33">
                  <dgm:if name="Name34" func="var" arg="dir" op="equ" val="norm">
                    <dgm:alg type="hierChild">
                      <dgm:param type="chAlign" val="b"/>
                      <dgm:param type="linDir" val="fromL"/>
                    </dgm:alg>
                  </dgm:if>
                  <dgm:else name="Name35">
                    <dgm:alg type="hierChild">
                      <dgm:param type="chAlign" val="b"/>
                      <dgm:param type="linDir" val="fromR"/>
                    </dgm:alg>
                  </dgm:else>
                </dgm:choose>
              </dgm:if>
              <dgm:if name="Name36" func="var" arg="hierBranch" op="equ" val="hang">
                <dgm:choose name="Name37">
                  <dgm:if name="Name38" func="var" arg="dir" op="equ" val="norm">
                    <dgm:alg type="hierChild">
                      <dgm:param type="chAlign" val="l"/>
                      <dgm:param type="linDir" val="fromT"/>
                      <dgm:param type="secChAlign" val="t"/>
                      <dgm:param type="secLinDir" val="fromL"/>
                    </dgm:alg>
                  </dgm:if>
                  <dgm:else name="Name39">
                    <dgm:alg type="hierChild">
                      <dgm:param type="chAlign" val="r"/>
                      <dgm:param type="linDir" val="fromT"/>
                      <dgm:param type="secChAlign" val="t"/>
                      <dgm:param type="secLinDir" val="fromR"/>
                    </dgm:alg>
                  </dgm:else>
                </dgm:choose>
              </dgm:if>
              <dgm:else name="Name40">
                <dgm:choose name="Name41">
                  <dgm:if name="Name42" func="var" arg="dir" op="equ" val="norm">
                    <dgm:alg type="hierChild">
                      <dgm:param type="linDir" val="fromT"/>
                      <dgm:param type="chAlign" val="l"/>
                    </dgm:alg>
                  </dgm:if>
                  <dgm:else name="Name43">
                    <dgm:alg type="hierChild">
                      <dgm:param type="linDir" val="fromT"/>
                      <dgm:param type="chAlign" val="r"/>
                    </dgm:alg>
                  </dgm:else>
                </dgm:choose>
              </dgm:else>
            </dgm:choose>
            <dgm:shape xmlns:r="http://schemas.openxmlformats.org/officeDocument/2006/relationships" r:blip="">
              <dgm:adjLst/>
            </dgm:shape>
            <dgm:presOf/>
            <dgm:constrLst/>
            <dgm:ruleLst/>
            <dgm:forEach name="rep2a" axis="ch" ptType="nonAsst">
              <dgm:forEach name="Name44" axis="precedSib" ptType="parTrans" st="-1" cnt="1">
                <dgm:choose name="Name45">
                  <dgm:if name="Name46" func="var" arg="hierBranch" op="equ" val="hang">
                    <dgm:layoutNode name="Name47">
                      <dgm:choose name="Name48">
                        <dgm:if name="Name49" func="var" arg="dir" op="equ" val="norm">
                          <dgm:alg type="conn">
                            <dgm:param type="connRout" val="bend"/>
                            <dgm:param type="dim" val="1D"/>
                            <dgm:param type="endSty" val="noArr"/>
                            <dgm:param type="begPts" val="midR"/>
                            <dgm:param type="endPts" val="bCtr tCtr"/>
                          </dgm:alg>
                        </dgm:if>
                        <dgm:else name="Name50">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1" func="var" arg="hierBranch" op="equ" val="l">
                    <dgm:layoutNode name="Name52">
                      <dgm:choose name="Name53">
                        <dgm:if name="Name54" func="var" arg="dir" op="equ" val="norm">
                          <dgm:alg type="conn">
                            <dgm:param type="connRout" val="bend"/>
                            <dgm:param type="dim" val="1D"/>
                            <dgm:param type="endSty" val="noArr"/>
                            <dgm:param type="begPts" val="midR"/>
                            <dgm:param type="endPts" val="tCtr"/>
                          </dgm:alg>
                        </dgm:if>
                        <dgm:else name="Name55">
                          <dgm:alg type="conn">
                            <dgm:param type="connRout" val="bend"/>
                            <dgm:param type="dim" val="1D"/>
                            <dgm:param type="endSty" val="noArr"/>
                            <dgm:param type="begPts" val="midL"/>
                            <dgm:param type="endPts" val="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6" func="var" arg="hierBranch" op="equ" val="r">
                    <dgm:layoutNode name="Name57">
                      <dgm:choose name="Name58">
                        <dgm:if name="Name59" func="var" arg="dir" op="equ" val="norm">
                          <dgm:alg type="conn">
                            <dgm:param type="connRout" val="bend"/>
                            <dgm:param type="dim" val="1D"/>
                            <dgm:param type="endSty" val="noArr"/>
                            <dgm:param type="begPts" val="midR"/>
                            <dgm:param type="endPts" val="bCtr"/>
                          </dgm:alg>
                        </dgm:if>
                        <dgm:else name="Name60">
                          <dgm:alg type="conn">
                            <dgm:param type="connRout" val="bend"/>
                            <dgm:param type="dim" val="1D"/>
                            <dgm:param type="endSty" val="noArr"/>
                            <dgm:param type="begPts" val="midL"/>
                            <dgm:param type="endPts" val="bCtr"/>
                          </dgm:alg>
                        </dgm:else>
                      </dgm:choose>
                      <dgm:shape xmlns:r="http://schemas.openxmlformats.org/officeDocument/2006/relationships" type="conn" r:blip="" zOrderOff="-99999">
                        <dgm:adjLst/>
                      </dgm:shape>
                      <dgm:presOf axis="self"/>
                      <dgm:constrLst>
                        <dgm:constr type="begPad"/>
                        <dgm:constr type="endPad"/>
                      </dgm:constrLst>
                      <dgm:ruleLst/>
                    </dgm:layoutNode>
                  </dgm:if>
                  <dgm:else name="Name61">
                    <dgm:choose name="Name62">
                      <dgm:if name="Name63" func="var" arg="dir" op="equ" val="norm">
                        <dgm:layoutNode name="Name64">
                          <dgm:alg type="conn">
                            <dgm:param type="connRout" val="bend"/>
                            <dgm:param type="dim" val="1D"/>
                            <dgm:param type="endSty" val="noArr"/>
                            <dgm:param type="begPts" val="midR"/>
                            <dgm:param type="endPts" val="midL"/>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else name="Name65">
                        <dgm:layoutNode name="Name66">
                          <dgm:alg type="conn">
                            <dgm:param type="connRout" val="bend"/>
                            <dgm:param type="dim" val="1D"/>
                            <dgm:param type="endSty" val="noArr"/>
                            <dgm:param type="begPts" val="midL"/>
                            <dgm:param type="endPts" val="midR"/>
                            <dgm:param type="bendPt" val="end"/>
                          </dgm:alg>
                          <dgm:shape xmlns:r="http://schemas.openxmlformats.org/officeDocument/2006/relationships" type="conn" r:blip="" zOrderOff="-99999">
                            <dgm:adjLst/>
                          </dgm:shape>
                          <dgm:presOf axis="self"/>
                          <dgm:constrLst>
                            <dgm:constr type="begPad"/>
                            <dgm:constr type="endPad"/>
                          </dgm:constrLst>
                          <dgm:ruleLst/>
                        </dgm:layoutNode>
                      </dgm:else>
                    </dgm:choose>
                  </dgm:else>
                </dgm:choose>
              </dgm:forEach>
              <dgm:layoutNode name="hierRoot2">
                <dgm:varLst>
                  <dgm:hierBranch val="init"/>
                </dgm:varLst>
                <dgm:choose name="Name67">
                  <dgm:if name="Name68" func="var" arg="hierBranch" op="equ" val="l">
                    <dgm:choose name="Name69">
                      <dgm:if name="Name70" func="var" arg="dir" op="equ" val="norm">
                        <dgm:alg type="hierRoot">
                          <dgm:param type="hierAlign" val="lT"/>
                        </dgm:alg>
                        <dgm:constrLst>
                          <dgm:constr type="alignOff" val="0.75"/>
                        </dgm:constrLst>
                      </dgm:if>
                      <dgm:else name="Name71">
                        <dgm:alg type="hierRoot">
                          <dgm:param type="hierAlign" val="rT"/>
                        </dgm:alg>
                        <dgm:constrLst>
                          <dgm:constr type="alignOff" val="0.75"/>
                        </dgm:constrLst>
                      </dgm:else>
                    </dgm:choose>
                  </dgm:if>
                  <dgm:if name="Name72" func="var" arg="hierBranch" op="equ" val="r">
                    <dgm:choose name="Name73">
                      <dgm:if name="Name74" func="var" arg="dir" op="equ" val="norm">
                        <dgm:alg type="hierRoot">
                          <dgm:param type="hierAlign" val="lB"/>
                        </dgm:alg>
                        <dgm:constrLst>
                          <dgm:constr type="alignOff" val="0.75"/>
                        </dgm:constrLst>
                      </dgm:if>
                      <dgm:else name="Name75">
                        <dgm:alg type="hierRoot">
                          <dgm:param type="hierAlign" val="rB"/>
                        </dgm:alg>
                        <dgm:constrLst>
                          <dgm:constr type="alignOff" val="0.75"/>
                        </dgm:constrLst>
                      </dgm:else>
                    </dgm:choose>
                  </dgm:if>
                  <dgm:if name="Name76" func="var" arg="hierBranch" op="equ" val="hang">
                    <dgm:choose name="Name77">
                      <dgm:if name="Name78" func="var" arg="dir" op="equ" val="norm">
                        <dgm:alg type="hierRoot">
                          <dgm:param type="hierAlign" val="lCtrCh"/>
                        </dgm:alg>
                        <dgm:constrLst>
                          <dgm:constr type="alignOff" val="0.65"/>
                        </dgm:constrLst>
                      </dgm:if>
                      <dgm:else name="Name79">
                        <dgm:alg type="hierRoot">
                          <dgm:param type="hierAlign" val="rCtrCh"/>
                        </dgm:alg>
                        <dgm:constrLst>
                          <dgm:constr type="alignOff" val="0.65"/>
                        </dgm:constrLst>
                      </dgm:else>
                    </dgm:choose>
                  </dgm:if>
                  <dgm:else name="Name80">
                    <dgm:choose name="Name81">
                      <dgm:if name="Name82" func="var" arg="dir" op="equ" val="norm">
                        <dgm:alg type="hierRoot">
                          <dgm:param type="hierAlign" val="lCtrCh"/>
                        </dgm:alg>
                        <dgm:constrLst>
                          <dgm:constr type="alignOff"/>
                          <dgm:constr type="bendDist" for="des" ptType="parTrans" refType="sp" fact="0.5"/>
                        </dgm:constrLst>
                      </dgm:if>
                      <dgm:else name="Name83">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
                  <dgm:alg type="composite"/>
                  <dgm:shape xmlns:r="http://schemas.openxmlformats.org/officeDocument/2006/relationships" r:blip="">
                    <dgm:adjLst/>
                  </dgm:shape>
                  <dgm:presOf axis="self" ptType="node" cnt="1"/>
                  <dgm:choose name="Name84">
                    <dgm:if name="Name85"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6"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7"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8">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9">
                    <dgm:if name="Name90" func="var" arg="hierBranch" op="equ" val="l">
                      <dgm:choose name="Name91">
                        <dgm:if name="Name92" func="var" arg="dir" op="equ" val="norm">
                          <dgm:alg type="hierChild">
                            <dgm:param type="chAlign" val="t"/>
                            <dgm:param type="linDir" val="fromL"/>
                          </dgm:alg>
                        </dgm:if>
                        <dgm:else name="Name93">
                          <dgm:alg type="hierChild">
                            <dgm:param type="chAlign" val="t"/>
                            <dgm:param type="linDir" val="fromR"/>
                          </dgm:alg>
                        </dgm:else>
                      </dgm:choose>
                    </dgm:if>
                    <dgm:if name="Name94" func="var" arg="hierBranch" op="equ" val="r">
                      <dgm:choose name="Name95">
                        <dgm:if name="Name96" func="var" arg="dir" op="equ" val="norm">
                          <dgm:alg type="hierChild">
                            <dgm:param type="chAlign" val="b"/>
                            <dgm:param type="linDir" val="fromL"/>
                          </dgm:alg>
                        </dgm:if>
                        <dgm:else name="Name97">
                          <dgm:alg type="hierChild">
                            <dgm:param type="chAlign" val="b"/>
                            <dgm:param type="linDir" val="fromR"/>
                          </dgm:alg>
                        </dgm:else>
                      </dgm:choose>
                    </dgm:if>
                    <dgm:if name="Name98" func="var" arg="hierBranch" op="equ" val="hang">
                      <dgm:choose name="Name99">
                        <dgm:if name="Name100" func="var" arg="dir" op="equ" val="norm">
                          <dgm:alg type="hierChild">
                            <dgm:param type="chAlign" val="l"/>
                            <dgm:param type="linDir" val="fromT"/>
                            <dgm:param type="secChAlign" val="t"/>
                            <dgm:param type="secLinDir" val="fromL"/>
                          </dgm:alg>
                        </dgm:if>
                        <dgm:else name="Name101">
                          <dgm:alg type="hierChild">
                            <dgm:param type="chAlign" val="r"/>
                            <dgm:param type="linDir" val="fromT"/>
                            <dgm:param type="secChAlign" val="t"/>
                            <dgm:param type="secLinDir" val="fromR"/>
                          </dgm:alg>
                        </dgm:else>
                      </dgm:choose>
                    </dgm:if>
                    <dgm:else name="Name102">
                      <dgm:choose name="Name103">
                        <dgm:if name="Name104" func="var" arg="dir" op="equ" val="norm">
                          <dgm:alg type="hierChild">
                            <dgm:param type="linDir" val="fromT"/>
                            <dgm:param type="chAlign" val="l"/>
                          </dgm:alg>
                        </dgm:if>
                        <dgm:else name="Name105">
                          <dgm:alg type="hierChild">
                            <dgm:param type="linDir" val="fromT"/>
                            <dgm:param type="chAlign" val="r"/>
                          </dgm:alg>
                        </dgm:else>
                      </dgm:choose>
                    </dgm:else>
                  </dgm:choose>
                  <dgm:shape xmlns:r="http://schemas.openxmlformats.org/officeDocument/2006/relationships" r:blip="">
                    <dgm:adjLst/>
                  </dgm:shape>
                  <dgm:presOf/>
                  <dgm:constrLst/>
                  <dgm:ruleLst/>
                  <dgm:forEach name="Name106" ref="rep2a"/>
                </dgm:layoutNode>
                <dgm:layoutNode name="hierChild5">
                  <dgm:choose name="Name107">
                    <dgm:if name="Name108" func="var" arg="dir" op="equ" val="norm">
                      <dgm:alg type="hierChild">
                        <dgm:param type="chAlign" val="l"/>
                        <dgm:param type="linDir" val="fromT"/>
                        <dgm:param type="secChAlign" val="t"/>
                        <dgm:param type="secLinDir" val="fromL"/>
                      </dgm:alg>
                    </dgm:if>
                    <dgm:else name="Name109">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10" ref="rep2b"/>
                </dgm:layoutNode>
              </dgm:layoutNode>
            </dgm:forEach>
          </dgm:layoutNode>
          <dgm:layoutNode name="hierChild3">
            <dgm:choose name="Name111">
              <dgm:if name="Name112" func="var" arg="dir" op="equ" val="norm">
                <dgm:alg type="hierChild">
                  <dgm:param type="chAlign" val="l"/>
                  <dgm:param type="linDir" val="fromT"/>
                  <dgm:param type="secChAlign" val="t"/>
                  <dgm:param type="secLinDir" val="fromL"/>
                </dgm:alg>
              </dgm:if>
              <dgm:else name="Name113">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rep2b" axis="ch" ptType="asst">
              <dgm:forEach name="Name114" axis="precedSib" ptType="parTrans" st="-1" cnt="1">
                <dgm:layoutNode name="Name115">
                  <dgm:choose name="Name116">
                    <dgm:if name="Name117" func="var" arg="dir" op="equ" val="norm">
                      <dgm:alg type="conn">
                        <dgm:param type="connRout" val="bend"/>
                        <dgm:param type="dim" val="1D"/>
                        <dgm:param type="endSty" val="noArr"/>
                        <dgm:param type="begPts" val="midR"/>
                        <dgm:param type="endPts" val="bCtr tCtr"/>
                      </dgm:alg>
                    </dgm:if>
                    <dgm:else name="Name118">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9">
                  <dgm:if name="Name120" func="var" arg="hierBranch" op="equ" val="l">
                    <dgm:choose name="Name121">
                      <dgm:if name="Name122" func="var" arg="dir" op="equ" val="norm">
                        <dgm:alg type="hierRoot">
                          <dgm:param type="hierAlign" val="lT"/>
                        </dgm:alg>
                        <dgm:constrLst>
                          <dgm:constr type="alignOff" val="0.75"/>
                        </dgm:constrLst>
                      </dgm:if>
                      <dgm:else name="Name123">
                        <dgm:alg type="hierRoot">
                          <dgm:param type="hierAlign" val="rT"/>
                        </dgm:alg>
                        <dgm:constrLst>
                          <dgm:constr type="alignOff" val="0.75"/>
                        </dgm:constrLst>
                      </dgm:else>
                    </dgm:choose>
                  </dgm:if>
                  <dgm:if name="Name124" func="var" arg="hierBranch" op="equ" val="r">
                    <dgm:choose name="Name125">
                      <dgm:if name="Name126" func="var" arg="dir" op="equ" val="norm">
                        <dgm:alg type="hierRoot">
                          <dgm:param type="hierAlign" val="lB"/>
                        </dgm:alg>
                        <dgm:constrLst>
                          <dgm:constr type="alignOff" val="0.75"/>
                        </dgm:constrLst>
                      </dgm:if>
                      <dgm:else name="Name127">
                        <dgm:alg type="hierRoot">
                          <dgm:param type="hierAlign" val="rB"/>
                        </dgm:alg>
                        <dgm:constrLst>
                          <dgm:constr type="alignOff" val="0.75"/>
                        </dgm:constrLst>
                      </dgm:else>
                    </dgm:choose>
                  </dgm:if>
                  <dgm:if name="Name128" func="var" arg="hierBranch" op="equ" val="hang">
                    <dgm:choose name="Name129">
                      <dgm:if name="Name130" func="var" arg="dir" op="equ" val="norm">
                        <dgm:alg type="hierRoot">
                          <dgm:param type="hierAlign" val="lCtrCh"/>
                        </dgm:alg>
                        <dgm:constrLst>
                          <dgm:constr type="alignOff" val="0.65"/>
                        </dgm:constrLst>
                      </dgm:if>
                      <dgm:else name="Name131">
                        <dgm:alg type="hierRoot">
                          <dgm:param type="hierAlign" val="rCtrCh"/>
                        </dgm:alg>
                        <dgm:constrLst>
                          <dgm:constr type="alignOff" val="0.65"/>
                        </dgm:constrLst>
                      </dgm:else>
                    </dgm:choose>
                  </dgm:if>
                  <dgm:else name="Name132">
                    <dgm:choose name="Name133">
                      <dgm:if name="Name134" func="var" arg="dir" op="equ" val="norm">
                        <dgm:alg type="hierRoot">
                          <dgm:param type="hierAlign" val="lCtrCh"/>
                        </dgm:alg>
                        <dgm:constrLst>
                          <dgm:constr type="alignOff"/>
                          <dgm:constr type="bendDist" for="des" ptType="parTrans" refType="sp" fact="0.5"/>
                        </dgm:constrLst>
                      </dgm:if>
                      <dgm:else name="Name135">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3">
                  <dgm:alg type="composite"/>
                  <dgm:shape xmlns:r="http://schemas.openxmlformats.org/officeDocument/2006/relationships" r:blip="">
                    <dgm:adjLst/>
                  </dgm:shape>
                  <dgm:presOf axis="self" ptType="node" cnt="1"/>
                  <dgm:choose name="Name136">
                    <dgm:if name="Name137"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38"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39"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40">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41">
                    <dgm:if name="Name142" func="var" arg="hierBranch" op="equ" val="l">
                      <dgm:choose name="Name143">
                        <dgm:if name="Name144" func="var" arg="dir" op="equ" val="norm">
                          <dgm:alg type="hierChild">
                            <dgm:param type="chAlign" val="t"/>
                            <dgm:param type="linDir" val="fromL"/>
                          </dgm:alg>
                        </dgm:if>
                        <dgm:else name="Name145">
                          <dgm:alg type="hierChild">
                            <dgm:param type="chAlign" val="t"/>
                            <dgm:param type="linDir" val="fromR"/>
                          </dgm:alg>
                        </dgm:else>
                      </dgm:choose>
                    </dgm:if>
                    <dgm:if name="Name146" func="var" arg="hierBranch" op="equ" val="r">
                      <dgm:choose name="Name147">
                        <dgm:if name="Name148" func="var" arg="dir" op="equ" val="norm">
                          <dgm:alg type="hierChild">
                            <dgm:param type="chAlign" val="b"/>
                            <dgm:param type="linDir" val="fromL"/>
                          </dgm:alg>
                        </dgm:if>
                        <dgm:else name="Name149">
                          <dgm:alg type="hierChild">
                            <dgm:param type="chAlign" val="b"/>
                            <dgm:param type="linDir" val="fromR"/>
                          </dgm:alg>
                        </dgm:else>
                      </dgm:choose>
                    </dgm:if>
                    <dgm:if name="Name150" func="var" arg="hierBranch" op="equ" val="hang">
                      <dgm:choose name="Name151">
                        <dgm:if name="Name152" func="var" arg="dir" op="equ" val="norm">
                          <dgm:alg type="hierChild">
                            <dgm:param type="chAlign" val="l"/>
                            <dgm:param type="linDir" val="fromT"/>
                            <dgm:param type="secChAlign" val="t"/>
                            <dgm:param type="secLinDir" val="fromL"/>
                          </dgm:alg>
                        </dgm:if>
                        <dgm:else name="Name153">
                          <dgm:alg type="hierChild">
                            <dgm:param type="chAlign" val="r"/>
                            <dgm:param type="linDir" val="fromT"/>
                            <dgm:param type="secChAlign" val="t"/>
                            <dgm:param type="secLinDir" val="fromR"/>
                          </dgm:alg>
                        </dgm:else>
                      </dgm:choose>
                    </dgm:if>
                    <dgm:else name="Name154">
                      <dgm:choose name="Name155">
                        <dgm:if name="Name156" func="var" arg="dir" op="equ" val="norm">
                          <dgm:alg type="hierChild">
                            <dgm:param type="linDir" val="fromT"/>
                            <dgm:param type="chAlign" val="l"/>
                          </dgm:alg>
                        </dgm:if>
                        <dgm:else name="Name157">
                          <dgm:alg type="hierChild">
                            <dgm:param type="linDir" val="fromT"/>
                            <dgm:param type="chAlign" val="r"/>
                          </dgm:alg>
                        </dgm:else>
                      </dgm:choose>
                    </dgm:else>
                  </dgm:choose>
                  <dgm:shape xmlns:r="http://schemas.openxmlformats.org/officeDocument/2006/relationships" r:blip="">
                    <dgm:adjLst/>
                  </dgm:shape>
                  <dgm:presOf/>
                  <dgm:constrLst/>
                  <dgm:ruleLst/>
                  <dgm:forEach name="Name158" ref="rep2a"/>
                </dgm:layoutNode>
                <dgm:layoutNode name="hierChild7">
                  <dgm:choose name="Name159">
                    <dgm:if name="Name160" func="var" arg="dir" op="equ" val="norm">
                      <dgm:alg type="hierChild">
                        <dgm:param type="chAlign" val="l"/>
                        <dgm:param type="linDir" val="fromT"/>
                        <dgm:param type="secChAlign" val="t"/>
                        <dgm:param type="secLinDir" val="fromL"/>
                      </dgm:alg>
                    </dgm:if>
                    <dgm:else name="Name161">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62" ref="rep2b"/>
                </dgm:layoutNode>
              </dgm:layoutNode>
            </dgm:forEach>
          </dgm:layoutNode>
        </dgm:layoutNode>
      </dgm:forEach>
    </dgm:forEach>
  </dgm:layoutNode>
</dgm:layoutDef>
</file>

<file path=ppt/diagrams/layout1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5.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process2">
  <dgm:title val=""/>
  <dgm:desc val=""/>
  <dgm:catLst>
    <dgm:cat type="process"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resizeHandles val="exact"/>
    </dgm:varLst>
    <dgm:alg type="lin">
      <dgm:param type="linDir" val="fromT"/>
    </dgm:alg>
    <dgm:shape xmlns:r="http://schemas.openxmlformats.org/officeDocument/2006/relationships" r:blip="">
      <dgm:adjLst/>
    </dgm:shape>
    <dgm:presOf/>
    <dgm:constrLst>
      <dgm:constr type="h" for="ch" ptType="node" refType="h"/>
      <dgm:constr type="h" for="ch" ptType="sibTrans" refType="h" refFor="ch" refPtType="node" fact="0.5"/>
      <dgm:constr type="w" for="ch" ptType="node"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choose name="Name0">
          <dgm:if name="Name1" axis="root des" ptType="all node" func="maxDepth" op="gt" val="1">
            <dgm:alg type="tx">
              <dgm:param type="parTxLTRAlign" val="l"/>
              <dgm:param type="parTxRTLAlign" val="r"/>
              <dgm:param type="txAnchorVertCh" val="mid"/>
            </dgm:alg>
          </dgm:if>
          <dgm:else name="Name2">
            <dgm:alg type="tx"/>
          </dgm:else>
        </dgm:choose>
        <dgm:shape xmlns:r="http://schemas.openxmlformats.org/officeDocument/2006/relationships" type="roundRect" r:blip="">
          <dgm:adjLst>
            <dgm:adj idx="1" val="0.1"/>
          </dgm:adjLst>
        </dgm:shape>
        <dgm:presOf axis="desOrSelf" ptType="node"/>
        <dgm:constrLst>
          <dgm:constr type="w" refType="h" fact="1.8"/>
          <dgm:constr type="tMarg" refType="primFontSz" fact="0.3"/>
          <dgm:constr type="bMarg" refType="primFontSz" fact="0.3"/>
          <dgm:constr type="lMarg" refType="primFontSz" fact="0.3"/>
          <dgm:constr type="rMarg" refType="primFontSz" fact="0.3"/>
        </dgm:constrLst>
        <dgm:ruleLst>
          <dgm:rule type="primFontSz" val="18" fact="NaN" max="NaN"/>
          <dgm:rule type="w" val="NaN" fact="4" max="NaN"/>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w" refType="h" fact="0.9"/>
            <dgm:constr type="connDist"/>
            <dgm:constr type="wArH" refType="w" fact="0.5"/>
            <dgm:constr type="hArH" refType="w"/>
            <dgm:constr type="stemThick" refType="w" fact="0.6"/>
            <dgm:constr type="begPad" refType="connDist" fact="0.125"/>
            <dgm:constr type="endPad" refType="connDist" fact="0.125"/>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process2">
  <dgm:title val=""/>
  <dgm:desc val=""/>
  <dgm:catLst>
    <dgm:cat type="process"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resizeHandles val="exact"/>
    </dgm:varLst>
    <dgm:alg type="lin">
      <dgm:param type="linDir" val="fromT"/>
    </dgm:alg>
    <dgm:shape xmlns:r="http://schemas.openxmlformats.org/officeDocument/2006/relationships" r:blip="">
      <dgm:adjLst/>
    </dgm:shape>
    <dgm:presOf/>
    <dgm:constrLst>
      <dgm:constr type="h" for="ch" ptType="node" refType="h"/>
      <dgm:constr type="h" for="ch" ptType="sibTrans" refType="h" refFor="ch" refPtType="node" fact="0.5"/>
      <dgm:constr type="w" for="ch" ptType="node"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choose name="Name0">
          <dgm:if name="Name1" axis="root des" ptType="all node" func="maxDepth" op="gt" val="1">
            <dgm:alg type="tx">
              <dgm:param type="parTxLTRAlign" val="l"/>
              <dgm:param type="parTxRTLAlign" val="r"/>
              <dgm:param type="txAnchorVertCh" val="mid"/>
            </dgm:alg>
          </dgm:if>
          <dgm:else name="Name2">
            <dgm:alg type="tx"/>
          </dgm:else>
        </dgm:choose>
        <dgm:shape xmlns:r="http://schemas.openxmlformats.org/officeDocument/2006/relationships" type="roundRect" r:blip="">
          <dgm:adjLst>
            <dgm:adj idx="1" val="0.1"/>
          </dgm:adjLst>
        </dgm:shape>
        <dgm:presOf axis="desOrSelf" ptType="node"/>
        <dgm:constrLst>
          <dgm:constr type="w" refType="h" fact="1.8"/>
          <dgm:constr type="tMarg" refType="primFontSz" fact="0.3"/>
          <dgm:constr type="bMarg" refType="primFontSz" fact="0.3"/>
          <dgm:constr type="lMarg" refType="primFontSz" fact="0.3"/>
          <dgm:constr type="rMarg" refType="primFontSz" fact="0.3"/>
        </dgm:constrLst>
        <dgm:ruleLst>
          <dgm:rule type="primFontSz" val="18" fact="NaN" max="NaN"/>
          <dgm:rule type="w" val="NaN" fact="4" max="NaN"/>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w" refType="h" fact="0.9"/>
            <dgm:constr type="connDist"/>
            <dgm:constr type="wArH" refType="w" fact="0.5"/>
            <dgm:constr type="hArH" refType="w"/>
            <dgm:constr type="stemThick" refType="w" fact="0.6"/>
            <dgm:constr type="begPad" refType="connDist" fact="0.125"/>
            <dgm:constr type="endPad" refType="connDist" fact="0.125"/>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Segnaposto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9774613-75CB-4E15-B551-E61F26055CEE}" type="datetimeFigureOut">
              <a:rPr lang="en-GB" smtClean="0"/>
              <a:t>31/10/2023</a:t>
            </a:fld>
            <a:endParaRPr lang="en-GB"/>
          </a:p>
        </p:txBody>
      </p:sp>
      <p:sp>
        <p:nvSpPr>
          <p:cNvPr id="4" name="Segnaposto immagin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Segnaposto note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a:p>
        </p:txBody>
      </p:sp>
      <p:sp>
        <p:nvSpPr>
          <p:cNvPr id="6" name="Segnaposto piè di pa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egnaposto numero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84DB91F-1AD8-437C-8866-3636784D0854}" type="slidenum">
              <a:rPr lang="en-GB" smtClean="0"/>
              <a:t>‹#›</a:t>
            </a:fld>
            <a:endParaRPr lang="en-GB"/>
          </a:p>
        </p:txBody>
      </p:sp>
    </p:spTree>
    <p:extLst>
      <p:ext uri="{BB962C8B-B14F-4D97-AF65-F5344CB8AC3E}">
        <p14:creationId xmlns:p14="http://schemas.microsoft.com/office/powerpoint/2010/main" val="37752647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3" Type="http://schemas.openxmlformats.org/officeDocument/2006/relationships/hyperlink" Target="https://www.lifecycleinitiative.org/library/single-use-nappies-and-their-alternatives/" TargetMode="External"/><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191.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201.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204.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206.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2" Type="http://schemas.openxmlformats.org/officeDocument/2006/relationships/slide" Target="../slides/slide21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214.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2" Type="http://schemas.openxmlformats.org/officeDocument/2006/relationships/slide" Target="../slides/slide215.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2" Type="http://schemas.openxmlformats.org/officeDocument/2006/relationships/slide" Target="../slides/slide216.xml"/><Relationship Id="rId1" Type="http://schemas.openxmlformats.org/officeDocument/2006/relationships/notesMaster" Target="../notesMasters/notesMaster1.xml"/></Relationships>
</file>

<file path=ppt/notesSlides/_rels/notesSlide193.xml.rels><?xml version="1.0" encoding="UTF-8" standalone="yes"?>
<Relationships xmlns="http://schemas.openxmlformats.org/package/2006/relationships"><Relationship Id="rId2" Type="http://schemas.openxmlformats.org/officeDocument/2006/relationships/slide" Target="../slides/slide217.xml"/><Relationship Id="rId1" Type="http://schemas.openxmlformats.org/officeDocument/2006/relationships/notesMaster" Target="../notesMasters/notesMaster1.xml"/></Relationships>
</file>

<file path=ppt/notesSlides/_rels/notesSlide194.xml.rels><?xml version="1.0" encoding="UTF-8" standalone="yes"?>
<Relationships xmlns="http://schemas.openxmlformats.org/package/2006/relationships"><Relationship Id="rId2" Type="http://schemas.openxmlformats.org/officeDocument/2006/relationships/slide" Target="../slides/slide218.xml"/><Relationship Id="rId1" Type="http://schemas.openxmlformats.org/officeDocument/2006/relationships/notesMaster" Target="../notesMasters/notesMaster1.xml"/></Relationships>
</file>

<file path=ppt/notesSlides/_rels/notesSlide195.xml.rels><?xml version="1.0" encoding="UTF-8" standalone="yes"?>
<Relationships xmlns="http://schemas.openxmlformats.org/package/2006/relationships"><Relationship Id="rId2" Type="http://schemas.openxmlformats.org/officeDocument/2006/relationships/slide" Target="../slides/slide219.xml"/><Relationship Id="rId1" Type="http://schemas.openxmlformats.org/officeDocument/2006/relationships/notesMaster" Target="../notesMasters/notesMaster1.xml"/></Relationships>
</file>

<file path=ppt/notesSlides/_rels/notesSlide196.xml.rels><?xml version="1.0" encoding="UTF-8" standalone="yes"?>
<Relationships xmlns="http://schemas.openxmlformats.org/package/2006/relationships"><Relationship Id="rId2" Type="http://schemas.openxmlformats.org/officeDocument/2006/relationships/slide" Target="../slides/slide220.xml"/><Relationship Id="rId1" Type="http://schemas.openxmlformats.org/officeDocument/2006/relationships/notesMaster" Target="../notesMasters/notesMaster1.xml"/></Relationships>
</file>

<file path=ppt/notesSlides/_rels/notesSlide197.xml.rels><?xml version="1.0" encoding="UTF-8" standalone="yes"?>
<Relationships xmlns="http://schemas.openxmlformats.org/package/2006/relationships"><Relationship Id="rId2" Type="http://schemas.openxmlformats.org/officeDocument/2006/relationships/slide" Target="../slides/slide221.xml"/><Relationship Id="rId1" Type="http://schemas.openxmlformats.org/officeDocument/2006/relationships/notesMaster" Target="../notesMasters/notesMaster1.xml"/></Relationships>
</file>

<file path=ppt/notesSlides/_rels/notesSlide198.xml.rels><?xml version="1.0" encoding="UTF-8" standalone="yes"?>
<Relationships xmlns="http://schemas.openxmlformats.org/package/2006/relationships"><Relationship Id="rId2" Type="http://schemas.openxmlformats.org/officeDocument/2006/relationships/slide" Target="../slides/slide222.xml"/><Relationship Id="rId1" Type="http://schemas.openxmlformats.org/officeDocument/2006/relationships/notesMaster" Target="../notesMasters/notesMaster1.xml"/></Relationships>
</file>

<file path=ppt/notesSlides/_rels/notesSlide199.xml.rels><?xml version="1.0" encoding="UTF-8" standalone="yes"?>
<Relationships xmlns="http://schemas.openxmlformats.org/package/2006/relationships"><Relationship Id="rId2" Type="http://schemas.openxmlformats.org/officeDocument/2006/relationships/slide" Target="../slides/slide2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00.xml.rels><?xml version="1.0" encoding="UTF-8" standalone="yes"?>
<Relationships xmlns="http://schemas.openxmlformats.org/package/2006/relationships"><Relationship Id="rId2" Type="http://schemas.openxmlformats.org/officeDocument/2006/relationships/slide" Target="../slides/slide224.xml"/><Relationship Id="rId1" Type="http://schemas.openxmlformats.org/officeDocument/2006/relationships/notesMaster" Target="../notesMasters/notesMaster1.xml"/></Relationships>
</file>

<file path=ppt/notesSlides/_rels/notesSlide201.xml.rels><?xml version="1.0" encoding="UTF-8" standalone="yes"?>
<Relationships xmlns="http://schemas.openxmlformats.org/package/2006/relationships"><Relationship Id="rId2" Type="http://schemas.openxmlformats.org/officeDocument/2006/relationships/slide" Target="../slides/slide225.xml"/><Relationship Id="rId1" Type="http://schemas.openxmlformats.org/officeDocument/2006/relationships/notesMaster" Target="../notesMasters/notesMaster1.xml"/></Relationships>
</file>

<file path=ppt/notesSlides/_rels/notesSlide202.xml.rels><?xml version="1.0" encoding="UTF-8" standalone="yes"?>
<Relationships xmlns="http://schemas.openxmlformats.org/package/2006/relationships"><Relationship Id="rId2" Type="http://schemas.openxmlformats.org/officeDocument/2006/relationships/slide" Target="../slides/slide226.xml"/><Relationship Id="rId1" Type="http://schemas.openxmlformats.org/officeDocument/2006/relationships/notesMaster" Target="../notesMasters/notesMaster1.xml"/></Relationships>
</file>

<file path=ppt/notesSlides/_rels/notesSlide203.xml.rels><?xml version="1.0" encoding="UTF-8" standalone="yes"?>
<Relationships xmlns="http://schemas.openxmlformats.org/package/2006/relationships"><Relationship Id="rId2" Type="http://schemas.openxmlformats.org/officeDocument/2006/relationships/slide" Target="../slides/slide227.xml"/><Relationship Id="rId1" Type="http://schemas.openxmlformats.org/officeDocument/2006/relationships/notesMaster" Target="../notesMasters/notesMaster1.xml"/></Relationships>
</file>

<file path=ppt/notesSlides/_rels/notesSlide204.xml.rels><?xml version="1.0" encoding="UTF-8" standalone="yes"?>
<Relationships xmlns="http://schemas.openxmlformats.org/package/2006/relationships"><Relationship Id="rId2" Type="http://schemas.openxmlformats.org/officeDocument/2006/relationships/slide" Target="../slides/slide228.xml"/><Relationship Id="rId1" Type="http://schemas.openxmlformats.org/officeDocument/2006/relationships/notesMaster" Target="../notesMasters/notesMaster1.xml"/></Relationships>
</file>

<file path=ppt/notesSlides/_rels/notesSlide205.xml.rels><?xml version="1.0" encoding="UTF-8" standalone="yes"?>
<Relationships xmlns="http://schemas.openxmlformats.org/package/2006/relationships"><Relationship Id="rId2" Type="http://schemas.openxmlformats.org/officeDocument/2006/relationships/slide" Target="../slides/slide229.xml"/><Relationship Id="rId1" Type="http://schemas.openxmlformats.org/officeDocument/2006/relationships/notesMaster" Target="../notesMasters/notesMaster1.xml"/></Relationships>
</file>

<file path=ppt/notesSlides/_rels/notesSlide206.xml.rels><?xml version="1.0" encoding="UTF-8" standalone="yes"?>
<Relationships xmlns="http://schemas.openxmlformats.org/package/2006/relationships"><Relationship Id="rId2" Type="http://schemas.openxmlformats.org/officeDocument/2006/relationships/slide" Target="../slides/slide230.xml"/><Relationship Id="rId1" Type="http://schemas.openxmlformats.org/officeDocument/2006/relationships/notesMaster" Target="../notesMasters/notesMaster1.xml"/></Relationships>
</file>

<file path=ppt/notesSlides/_rels/notesSlide207.xml.rels><?xml version="1.0" encoding="UTF-8" standalone="yes"?>
<Relationships xmlns="http://schemas.openxmlformats.org/package/2006/relationships"><Relationship Id="rId2" Type="http://schemas.openxmlformats.org/officeDocument/2006/relationships/slide" Target="../slides/slide231.xml"/><Relationship Id="rId1" Type="http://schemas.openxmlformats.org/officeDocument/2006/relationships/notesMaster" Target="../notesMasters/notesMaster1.xml"/></Relationships>
</file>

<file path=ppt/notesSlides/_rels/notesSlide208.xml.rels><?xml version="1.0" encoding="UTF-8" standalone="yes"?>
<Relationships xmlns="http://schemas.openxmlformats.org/package/2006/relationships"><Relationship Id="rId2" Type="http://schemas.openxmlformats.org/officeDocument/2006/relationships/slide" Target="../slides/slide232.xml"/><Relationship Id="rId1" Type="http://schemas.openxmlformats.org/officeDocument/2006/relationships/notesMaster" Target="../notesMasters/notesMaster1.xml"/></Relationships>
</file>

<file path=ppt/notesSlides/_rels/notesSlide209.xml.rels><?xml version="1.0" encoding="UTF-8" standalone="yes"?>
<Relationships xmlns="http://schemas.openxmlformats.org/package/2006/relationships"><Relationship Id="rId2" Type="http://schemas.openxmlformats.org/officeDocument/2006/relationships/slide" Target="../slides/slide23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0.xml.rels><?xml version="1.0" encoding="UTF-8" standalone="yes"?>
<Relationships xmlns="http://schemas.openxmlformats.org/package/2006/relationships"><Relationship Id="rId2" Type="http://schemas.openxmlformats.org/officeDocument/2006/relationships/slide" Target="../slides/slide234.xml"/><Relationship Id="rId1" Type="http://schemas.openxmlformats.org/officeDocument/2006/relationships/notesMaster" Target="../notesMasters/notesMaster1.xml"/></Relationships>
</file>

<file path=ppt/notesSlides/_rels/notesSlide211.xml.rels><?xml version="1.0" encoding="UTF-8" standalone="yes"?>
<Relationships xmlns="http://schemas.openxmlformats.org/package/2006/relationships"><Relationship Id="rId2" Type="http://schemas.openxmlformats.org/officeDocument/2006/relationships/slide" Target="../slides/slide235.xml"/><Relationship Id="rId1" Type="http://schemas.openxmlformats.org/officeDocument/2006/relationships/notesMaster" Target="../notesMasters/notesMaster1.xml"/></Relationships>
</file>

<file path=ppt/notesSlides/_rels/notesSlide212.xml.rels><?xml version="1.0" encoding="UTF-8" standalone="yes"?>
<Relationships xmlns="http://schemas.openxmlformats.org/package/2006/relationships"><Relationship Id="rId2" Type="http://schemas.openxmlformats.org/officeDocument/2006/relationships/slide" Target="../slides/slide236.xml"/><Relationship Id="rId1" Type="http://schemas.openxmlformats.org/officeDocument/2006/relationships/notesMaster" Target="../notesMasters/notesMaster1.xml"/></Relationships>
</file>

<file path=ppt/notesSlides/_rels/notesSlide213.xml.rels><?xml version="1.0" encoding="UTF-8" standalone="yes"?>
<Relationships xmlns="http://schemas.openxmlformats.org/package/2006/relationships"><Relationship Id="rId2" Type="http://schemas.openxmlformats.org/officeDocument/2006/relationships/slide" Target="../slides/slide237.xml"/><Relationship Id="rId1" Type="http://schemas.openxmlformats.org/officeDocument/2006/relationships/notesMaster" Target="../notesMasters/notesMaster1.xml"/></Relationships>
</file>

<file path=ppt/notesSlides/_rels/notesSlide214.xml.rels><?xml version="1.0" encoding="UTF-8" standalone="yes"?>
<Relationships xmlns="http://schemas.openxmlformats.org/package/2006/relationships"><Relationship Id="rId2" Type="http://schemas.openxmlformats.org/officeDocument/2006/relationships/slide" Target="../slides/slide238.xml"/><Relationship Id="rId1" Type="http://schemas.openxmlformats.org/officeDocument/2006/relationships/notesMaster" Target="../notesMasters/notesMaster1.xml"/></Relationships>
</file>

<file path=ppt/notesSlides/_rels/notesSlide215.xml.rels><?xml version="1.0" encoding="UTF-8" standalone="yes"?>
<Relationships xmlns="http://schemas.openxmlformats.org/package/2006/relationships"><Relationship Id="rId2" Type="http://schemas.openxmlformats.org/officeDocument/2006/relationships/slide" Target="../slides/slide240.xml"/><Relationship Id="rId1" Type="http://schemas.openxmlformats.org/officeDocument/2006/relationships/notesMaster" Target="../notesMasters/notesMaster1.xml"/></Relationships>
</file>

<file path=ppt/notesSlides/_rels/notesSlide216.xml.rels><?xml version="1.0" encoding="UTF-8" standalone="yes"?>
<Relationships xmlns="http://schemas.openxmlformats.org/package/2006/relationships"><Relationship Id="rId2" Type="http://schemas.openxmlformats.org/officeDocument/2006/relationships/slide" Target="../slides/slide241.xml"/><Relationship Id="rId1" Type="http://schemas.openxmlformats.org/officeDocument/2006/relationships/notesMaster" Target="../notesMasters/notesMaster1.xml"/></Relationships>
</file>

<file path=ppt/notesSlides/_rels/notesSlide217.xml.rels><?xml version="1.0" encoding="UTF-8" standalone="yes"?>
<Relationships xmlns="http://schemas.openxmlformats.org/package/2006/relationships"><Relationship Id="rId2" Type="http://schemas.openxmlformats.org/officeDocument/2006/relationships/slide" Target="../slides/slide242.xml"/><Relationship Id="rId1" Type="http://schemas.openxmlformats.org/officeDocument/2006/relationships/notesMaster" Target="../notesMasters/notesMaster1.xml"/></Relationships>
</file>

<file path=ppt/notesSlides/_rels/notesSlide218.xml.rels><?xml version="1.0" encoding="UTF-8" standalone="yes"?>
<Relationships xmlns="http://schemas.openxmlformats.org/package/2006/relationships"><Relationship Id="rId2" Type="http://schemas.openxmlformats.org/officeDocument/2006/relationships/slide" Target="../slides/slide243.xml"/><Relationship Id="rId1" Type="http://schemas.openxmlformats.org/officeDocument/2006/relationships/notesMaster" Target="../notesMasters/notesMaster1.xml"/></Relationships>
</file>

<file path=ppt/notesSlides/_rels/notesSlide219.xml.rels><?xml version="1.0" encoding="UTF-8" standalone="yes"?>
<Relationships xmlns="http://schemas.openxmlformats.org/package/2006/relationships"><Relationship Id="rId2" Type="http://schemas.openxmlformats.org/officeDocument/2006/relationships/slide" Target="../slides/slide24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0.xml.rels><?xml version="1.0" encoding="UTF-8" standalone="yes"?>
<Relationships xmlns="http://schemas.openxmlformats.org/package/2006/relationships"><Relationship Id="rId2" Type="http://schemas.openxmlformats.org/officeDocument/2006/relationships/slide" Target="../slides/slide245.xml"/><Relationship Id="rId1" Type="http://schemas.openxmlformats.org/officeDocument/2006/relationships/notesMaster" Target="../notesMasters/notesMaster1.xml"/></Relationships>
</file>

<file path=ppt/notesSlides/_rels/notesSlide221.xml.rels><?xml version="1.0" encoding="UTF-8" standalone="yes"?>
<Relationships xmlns="http://schemas.openxmlformats.org/package/2006/relationships"><Relationship Id="rId2" Type="http://schemas.openxmlformats.org/officeDocument/2006/relationships/slide" Target="../slides/slide246.xml"/><Relationship Id="rId1" Type="http://schemas.openxmlformats.org/officeDocument/2006/relationships/notesMaster" Target="../notesMasters/notesMaster1.xml"/></Relationships>
</file>

<file path=ppt/notesSlides/_rels/notesSlide222.xml.rels><?xml version="1.0" encoding="UTF-8" standalone="yes"?>
<Relationships xmlns="http://schemas.openxmlformats.org/package/2006/relationships"><Relationship Id="rId2" Type="http://schemas.openxmlformats.org/officeDocument/2006/relationships/slide" Target="../slides/slide247.xml"/><Relationship Id="rId1" Type="http://schemas.openxmlformats.org/officeDocument/2006/relationships/notesMaster" Target="../notesMasters/notesMaster1.xml"/></Relationships>
</file>

<file path=ppt/notesSlides/_rels/notesSlide223.xml.rels><?xml version="1.0" encoding="UTF-8" standalone="yes"?>
<Relationships xmlns="http://schemas.openxmlformats.org/package/2006/relationships"><Relationship Id="rId3" Type="http://schemas.openxmlformats.org/officeDocument/2006/relationships/hyperlink" Target="https://www.fertilizerseurope.com/wp-content/uploads/2023/07/Industry-Facts-and-figures-2023.pdf" TargetMode="External"/><Relationship Id="rId2" Type="http://schemas.openxmlformats.org/officeDocument/2006/relationships/slide" Target="../slides/slide248.xml"/><Relationship Id="rId1" Type="http://schemas.openxmlformats.org/officeDocument/2006/relationships/notesMaster" Target="../notesMasters/notesMaster1.xml"/><Relationship Id="rId4" Type="http://schemas.openxmlformats.org/officeDocument/2006/relationships/hyperlink" Target="https://www.fertilizerseurope.com/wp-content/uploads/2020/01/The-carbon-footprint-of-fertilizer-production_Regional-reference-values.pdf" TargetMode="External"/></Relationships>
</file>

<file path=ppt/notesSlides/_rels/notesSlide224.xml.rels><?xml version="1.0" encoding="UTF-8" standalone="yes"?>
<Relationships xmlns="http://schemas.openxmlformats.org/package/2006/relationships"><Relationship Id="rId2" Type="http://schemas.openxmlformats.org/officeDocument/2006/relationships/slide" Target="../slides/slide249.xml"/><Relationship Id="rId1" Type="http://schemas.openxmlformats.org/officeDocument/2006/relationships/notesMaster" Target="../notesMasters/notesMaster1.xml"/></Relationships>
</file>

<file path=ppt/notesSlides/_rels/notesSlide225.xml.rels><?xml version="1.0" encoding="UTF-8" standalone="yes"?>
<Relationships xmlns="http://schemas.openxmlformats.org/package/2006/relationships"><Relationship Id="rId2" Type="http://schemas.openxmlformats.org/officeDocument/2006/relationships/slide" Target="../slides/slide250.xml"/><Relationship Id="rId1" Type="http://schemas.openxmlformats.org/officeDocument/2006/relationships/notesMaster" Target="../notesMasters/notesMaster1.xml"/></Relationships>
</file>

<file path=ppt/notesSlides/_rels/notesSlide226.xml.rels><?xml version="1.0" encoding="UTF-8" standalone="yes"?>
<Relationships xmlns="http://schemas.openxmlformats.org/package/2006/relationships"><Relationship Id="rId2" Type="http://schemas.openxmlformats.org/officeDocument/2006/relationships/slide" Target="../slides/slide251.xml"/><Relationship Id="rId1" Type="http://schemas.openxmlformats.org/officeDocument/2006/relationships/notesMaster" Target="../notesMasters/notesMaster1.xml"/></Relationships>
</file>

<file path=ppt/notesSlides/_rels/notesSlide227.xml.rels><?xml version="1.0" encoding="UTF-8" standalone="yes"?>
<Relationships xmlns="http://schemas.openxmlformats.org/package/2006/relationships"><Relationship Id="rId3" Type="http://schemas.openxmlformats.org/officeDocument/2006/relationships/hyperlink" Target="https://www.decisiondatabases.com/ip/27121-ceramic-frit-market-analysis-report" TargetMode="External"/><Relationship Id="rId2" Type="http://schemas.openxmlformats.org/officeDocument/2006/relationships/slide" Target="../slides/slide252.xml"/><Relationship Id="rId1" Type="http://schemas.openxmlformats.org/officeDocument/2006/relationships/notesMaster" Target="../notesMasters/notesMaster1.xml"/></Relationships>
</file>

<file path=ppt/notesSlides/_rels/notesSlide228.xml.rels><?xml version="1.0" encoding="UTF-8" standalone="yes"?>
<Relationships xmlns="http://schemas.openxmlformats.org/package/2006/relationships"><Relationship Id="rId2" Type="http://schemas.openxmlformats.org/officeDocument/2006/relationships/slide" Target="../slides/slide253.xml"/><Relationship Id="rId1" Type="http://schemas.openxmlformats.org/officeDocument/2006/relationships/notesMaster" Target="../notesMasters/notesMaster1.xml"/></Relationships>
</file>

<file path=ppt/notesSlides/_rels/notesSlide229.xml.rels><?xml version="1.0" encoding="UTF-8" standalone="yes"?>
<Relationships xmlns="http://schemas.openxmlformats.org/package/2006/relationships"><Relationship Id="rId2" Type="http://schemas.openxmlformats.org/officeDocument/2006/relationships/slide" Target="../slides/slide25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0.xml.rels><?xml version="1.0" encoding="UTF-8" standalone="yes"?>
<Relationships xmlns="http://schemas.openxmlformats.org/package/2006/relationships"><Relationship Id="rId2" Type="http://schemas.openxmlformats.org/officeDocument/2006/relationships/slide" Target="../slides/slide255.xml"/><Relationship Id="rId1" Type="http://schemas.openxmlformats.org/officeDocument/2006/relationships/notesMaster" Target="../notesMasters/notesMaster1.xml"/></Relationships>
</file>

<file path=ppt/notesSlides/_rels/notesSlide231.xml.rels><?xml version="1.0" encoding="UTF-8" standalone="yes"?>
<Relationships xmlns="http://schemas.openxmlformats.org/package/2006/relationships"><Relationship Id="rId2" Type="http://schemas.openxmlformats.org/officeDocument/2006/relationships/slide" Target="../slides/slide256.xml"/><Relationship Id="rId1" Type="http://schemas.openxmlformats.org/officeDocument/2006/relationships/notesMaster" Target="../notesMasters/notesMaster1.xml"/></Relationships>
</file>

<file path=ppt/notesSlides/_rels/notesSlide232.xml.rels><?xml version="1.0" encoding="UTF-8" standalone="yes"?>
<Relationships xmlns="http://schemas.openxmlformats.org/package/2006/relationships"><Relationship Id="rId2" Type="http://schemas.openxmlformats.org/officeDocument/2006/relationships/slide" Target="../slides/slide257.xml"/><Relationship Id="rId1" Type="http://schemas.openxmlformats.org/officeDocument/2006/relationships/notesMaster" Target="../notesMasters/notesMaster1.xml"/></Relationships>
</file>

<file path=ppt/notesSlides/_rels/notesSlide233.xml.rels><?xml version="1.0" encoding="UTF-8" standalone="yes"?>
<Relationships xmlns="http://schemas.openxmlformats.org/package/2006/relationships"><Relationship Id="rId2" Type="http://schemas.openxmlformats.org/officeDocument/2006/relationships/slide" Target="../slides/slide258.xml"/><Relationship Id="rId1" Type="http://schemas.openxmlformats.org/officeDocument/2006/relationships/notesMaster" Target="../notesMasters/notesMaster1.xml"/></Relationships>
</file>

<file path=ppt/notesSlides/_rels/notesSlide234.xml.rels><?xml version="1.0" encoding="UTF-8" standalone="yes"?>
<Relationships xmlns="http://schemas.openxmlformats.org/package/2006/relationships"><Relationship Id="rId2" Type="http://schemas.openxmlformats.org/officeDocument/2006/relationships/slide" Target="../slides/slide259.xml"/><Relationship Id="rId1" Type="http://schemas.openxmlformats.org/officeDocument/2006/relationships/notesMaster" Target="../notesMasters/notesMaster1.xml"/></Relationships>
</file>

<file path=ppt/notesSlides/_rels/notesSlide235.xml.rels><?xml version="1.0" encoding="UTF-8" standalone="yes"?>
<Relationships xmlns="http://schemas.openxmlformats.org/package/2006/relationships"><Relationship Id="rId2" Type="http://schemas.openxmlformats.org/officeDocument/2006/relationships/slide" Target="../slides/slide260.xml"/><Relationship Id="rId1" Type="http://schemas.openxmlformats.org/officeDocument/2006/relationships/notesMaster" Target="../notesMasters/notesMaster1.xml"/></Relationships>
</file>

<file path=ppt/notesSlides/_rels/notesSlide236.xml.rels><?xml version="1.0" encoding="UTF-8" standalone="yes"?>
<Relationships xmlns="http://schemas.openxmlformats.org/package/2006/relationships"><Relationship Id="rId2" Type="http://schemas.openxmlformats.org/officeDocument/2006/relationships/slide" Target="../slides/slide261.xml"/><Relationship Id="rId1" Type="http://schemas.openxmlformats.org/officeDocument/2006/relationships/notesMaster" Target="../notesMasters/notesMaster1.xml"/></Relationships>
</file>

<file path=ppt/notesSlides/_rels/notesSlide237.xml.rels><?xml version="1.0" encoding="UTF-8" standalone="yes"?>
<Relationships xmlns="http://schemas.openxmlformats.org/package/2006/relationships"><Relationship Id="rId2" Type="http://schemas.openxmlformats.org/officeDocument/2006/relationships/slide" Target="../slides/slide262.xml"/><Relationship Id="rId1" Type="http://schemas.openxmlformats.org/officeDocument/2006/relationships/notesMaster" Target="../notesMasters/notesMaster1.xml"/></Relationships>
</file>

<file path=ppt/notesSlides/_rels/notesSlide238.xml.rels><?xml version="1.0" encoding="UTF-8" standalone="yes"?>
<Relationships xmlns="http://schemas.openxmlformats.org/package/2006/relationships"><Relationship Id="rId2" Type="http://schemas.openxmlformats.org/officeDocument/2006/relationships/slide" Target="../slides/slide263.xml"/><Relationship Id="rId1" Type="http://schemas.openxmlformats.org/officeDocument/2006/relationships/notesMaster" Target="../notesMasters/notesMaster1.xml"/></Relationships>
</file>

<file path=ppt/notesSlides/_rels/notesSlide239.xml.rels><?xml version="1.0" encoding="UTF-8" standalone="yes"?>
<Relationships xmlns="http://schemas.openxmlformats.org/package/2006/relationships"><Relationship Id="rId2" Type="http://schemas.openxmlformats.org/officeDocument/2006/relationships/slide" Target="../slides/slide26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0.xml.rels><?xml version="1.0" encoding="UTF-8" standalone="yes"?>
<Relationships xmlns="http://schemas.openxmlformats.org/package/2006/relationships"><Relationship Id="rId2" Type="http://schemas.openxmlformats.org/officeDocument/2006/relationships/slide" Target="../slides/slide265.xml"/><Relationship Id="rId1" Type="http://schemas.openxmlformats.org/officeDocument/2006/relationships/notesMaster" Target="../notesMasters/notesMaster1.xml"/></Relationships>
</file>

<file path=ppt/notesSlides/_rels/notesSlide241.xml.rels><?xml version="1.0" encoding="UTF-8" standalone="yes"?>
<Relationships xmlns="http://schemas.openxmlformats.org/package/2006/relationships"><Relationship Id="rId2" Type="http://schemas.openxmlformats.org/officeDocument/2006/relationships/slide" Target="../slides/slide266.xml"/><Relationship Id="rId1" Type="http://schemas.openxmlformats.org/officeDocument/2006/relationships/notesMaster" Target="../notesMasters/notesMaster1.xml"/></Relationships>
</file>

<file path=ppt/notesSlides/_rels/notesSlide242.xml.rels><?xml version="1.0" encoding="UTF-8" standalone="yes"?>
<Relationships xmlns="http://schemas.openxmlformats.org/package/2006/relationships"><Relationship Id="rId2" Type="http://schemas.openxmlformats.org/officeDocument/2006/relationships/slide" Target="../slides/slide268.xml"/><Relationship Id="rId1" Type="http://schemas.openxmlformats.org/officeDocument/2006/relationships/notesMaster" Target="../notesMasters/notesMaster1.xml"/></Relationships>
</file>

<file path=ppt/notesSlides/_rels/notesSlide243.xml.rels><?xml version="1.0" encoding="UTF-8" standalone="yes"?>
<Relationships xmlns="http://schemas.openxmlformats.org/package/2006/relationships"><Relationship Id="rId3" Type="http://schemas.openxmlformats.org/officeDocument/2006/relationships/hyperlink" Target="https://retrofeed.eu/" TargetMode="External"/><Relationship Id="rId2" Type="http://schemas.openxmlformats.org/officeDocument/2006/relationships/slide" Target="../slides/slide269.xml"/><Relationship Id="rId1" Type="http://schemas.openxmlformats.org/officeDocument/2006/relationships/notesMaster" Target="../notesMasters/notesMaster1.xml"/></Relationships>
</file>

<file path=ppt/notesSlides/_rels/notesSlide244.xml.rels><?xml version="1.0" encoding="UTF-8" standalone="yes"?>
<Relationships xmlns="http://schemas.openxmlformats.org/package/2006/relationships"><Relationship Id="rId2" Type="http://schemas.openxmlformats.org/officeDocument/2006/relationships/slide" Target="../slides/slide27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3" Type="http://schemas.openxmlformats.org/officeDocument/2006/relationships/hyperlink" Target="https://retrofeed.eu/deliverables-1/" TargetMode="External"/><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3" Type="http://schemas.openxmlformats.org/officeDocument/2006/relationships/hyperlink" Target="#_bookmark0"/><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3" Type="http://schemas.openxmlformats.org/officeDocument/2006/relationships/hyperlink" Target="#_bookmark4"/><Relationship Id="rId2" Type="http://schemas.openxmlformats.org/officeDocument/2006/relationships/slide" Target="../slides/slide93.xml"/><Relationship Id="rId1" Type="http://schemas.openxmlformats.org/officeDocument/2006/relationships/notesMaster" Target="../notesMasters/notesMaster1.xml"/><Relationship Id="rId4" Type="http://schemas.openxmlformats.org/officeDocument/2006/relationships/hyperlink" Target="#_bookmark5"/></Relationships>
</file>

<file path=ppt/notesSlides/_rels/notesSlide86.xml.rels><?xml version="1.0" encoding="UTF-8" standalone="yes"?>
<Relationships xmlns="http://schemas.openxmlformats.org/package/2006/relationships"><Relationship Id="rId3" Type="http://schemas.openxmlformats.org/officeDocument/2006/relationships/hyperlink" Target="#_bookmark6"/><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3" Type="http://schemas.openxmlformats.org/officeDocument/2006/relationships/hyperlink" Target="#_bookmark10"/><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3" Type="http://schemas.openxmlformats.org/officeDocument/2006/relationships/hyperlink" Target="#_bookmark17"/><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en-GB" noProof="0" dirty="0"/>
          </a:p>
        </p:txBody>
      </p:sp>
      <p:sp>
        <p:nvSpPr>
          <p:cNvPr id="4" name="Platshållare för bildnummer 3"/>
          <p:cNvSpPr>
            <a:spLocks noGrp="1"/>
          </p:cNvSpPr>
          <p:nvPr>
            <p:ph type="sldNum" sz="quarter" idx="5"/>
          </p:nvPr>
        </p:nvSpPr>
        <p:spPr/>
        <p:txBody>
          <a:bodyPr/>
          <a:lstStyle/>
          <a:p>
            <a:fld id="{F84DB91F-1AD8-437C-8866-3636784D0854}" type="slidenum">
              <a:rPr lang="en-GB" smtClean="0"/>
              <a:t>1</a:t>
            </a:fld>
            <a:endParaRPr lang="en-GB"/>
          </a:p>
        </p:txBody>
      </p:sp>
    </p:spTree>
    <p:extLst>
      <p:ext uri="{BB962C8B-B14F-4D97-AF65-F5344CB8AC3E}">
        <p14:creationId xmlns:p14="http://schemas.microsoft.com/office/powerpoint/2010/main" val="395241300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baseline="0" dirty="0">
                <a:solidFill>
                  <a:srgbClr val="000000"/>
                </a:solidFill>
                <a:latin typeface="Arial" panose="020B0604020202020204" pitchFamily="34" charset="0"/>
              </a:rPr>
              <a:t>There is a desire to reduce fuel costs to lower overall cost of production. This was true for cement, as an example. For the demonstration site partner SECIL, fuel replacement is a priority but there are concerns that fossil fuel replacement leads to higher variations in fuel characteristics (alternative fuels) with the effect that heat consumption goes up and production efficiency goes down. However, they see this being addressed through better digital control, as seen in RETROFEED. They also assume that alternative fuels will soon be cheaper than fossil fuels and this would be beneficial to the entire cement industry. </a:t>
            </a:r>
          </a:p>
          <a:p>
            <a:endParaRPr lang="en-US" sz="1200" b="0" i="0" u="none" strike="noStrike" baseline="0" dirty="0">
              <a:solidFill>
                <a:srgbClr val="000000"/>
              </a:solidFill>
              <a:latin typeface="Arial" panose="020B0604020202020204" pitchFamily="34" charset="0"/>
            </a:endParaRPr>
          </a:p>
          <a:p>
            <a:r>
              <a:rPr lang="en-US" sz="1200" b="0" i="0" u="none" strike="noStrike" baseline="0" dirty="0">
                <a:solidFill>
                  <a:srgbClr val="000000"/>
                </a:solidFill>
                <a:latin typeface="Arial" panose="020B0604020202020204" pitchFamily="34" charset="0"/>
              </a:rPr>
              <a:t>For the demonstration site partner ASAŞ, the main objective is to lower input costs by increasing the share of contaminated scrap instead of pure </a:t>
            </a:r>
            <a:r>
              <a:rPr lang="en-US" sz="1200" b="0" i="0" u="none" strike="noStrike" baseline="0" dirty="0" err="1">
                <a:solidFill>
                  <a:srgbClr val="000000"/>
                </a:solidFill>
                <a:latin typeface="Arial" panose="020B0604020202020204" pitchFamily="34" charset="0"/>
              </a:rPr>
              <a:t>aluminium</a:t>
            </a:r>
            <a:r>
              <a:rPr lang="en-US" sz="1200" b="0" i="0" u="none" strike="noStrike" baseline="0" dirty="0">
                <a:solidFill>
                  <a:srgbClr val="000000"/>
                </a:solidFill>
                <a:latin typeface="Arial" panose="020B0604020202020204" pitchFamily="34" charset="0"/>
              </a:rPr>
              <a:t> ingots by being able to also use oily/</a:t>
            </a:r>
            <a:r>
              <a:rPr lang="en-US" sz="1200" b="0" i="0" u="none" strike="noStrike" baseline="0" dirty="0" err="1">
                <a:solidFill>
                  <a:srgbClr val="000000"/>
                </a:solidFill>
                <a:latin typeface="Arial" panose="020B0604020202020204" pitchFamily="34" charset="0"/>
              </a:rPr>
              <a:t>coloured</a:t>
            </a:r>
            <a:r>
              <a:rPr lang="en-US" sz="1200" b="0" i="0" u="none" strike="noStrike" baseline="0" dirty="0">
                <a:solidFill>
                  <a:srgbClr val="000000"/>
                </a:solidFill>
                <a:latin typeface="Arial" panose="020B0604020202020204" pitchFamily="34" charset="0"/>
              </a:rPr>
              <a:t> scrap in addition to today’s scrap used. The company expects to use less energy due to better control and that scrap takes up about 10 times less energy to be molten than pure </a:t>
            </a:r>
            <a:r>
              <a:rPr lang="en-US" sz="1200" b="0" i="0" u="none" strike="noStrike" baseline="0" dirty="0" err="1">
                <a:solidFill>
                  <a:srgbClr val="000000"/>
                </a:solidFill>
                <a:latin typeface="Arial" panose="020B0604020202020204" pitchFamily="34" charset="0"/>
              </a:rPr>
              <a:t>aluminium</a:t>
            </a:r>
            <a:r>
              <a:rPr lang="en-US" sz="1200" b="0" i="0" u="none" strike="noStrike" baseline="0" dirty="0">
                <a:solidFill>
                  <a:srgbClr val="000000"/>
                </a:solidFill>
                <a:latin typeface="Arial" panose="020B0604020202020204" pitchFamily="34" charset="0"/>
              </a:rPr>
              <a:t>. The use of the painted/oily – and thus cheaper – scrap will lower raw material costs. </a:t>
            </a:r>
            <a:endParaRPr lang="sv-SE" sz="2400" kern="100" dirty="0">
              <a:solidFill>
                <a:srgbClr val="404040"/>
              </a:solidFill>
              <a:effectLst/>
              <a:latin typeface="+mj-lt"/>
              <a:ea typeface="Noto Sans CJK SC"/>
              <a:cs typeface="Lohit Devanagari"/>
            </a:endParaRPr>
          </a:p>
          <a:p>
            <a:endParaRPr lang="sv-S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4DB91F-1AD8-437C-8866-3636784D085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2983231"/>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50000"/>
              </a:lnSpc>
            </a:pPr>
            <a:r>
              <a:rPr lang="en-US" sz="1200">
                <a:cs typeface="Arial" panose="020B0604020202020204" pitchFamily="34" charset="0"/>
              </a:rPr>
              <a:t>In order to select a turbulence model for further simulations, a </a:t>
            </a:r>
            <a:r>
              <a:rPr lang="en-US" sz="1200" b="1">
                <a:cs typeface="Arial" panose="020B0604020202020204" pitchFamily="34" charset="0"/>
              </a:rPr>
              <a:t>sensitivity analysis </a:t>
            </a:r>
            <a:r>
              <a:rPr lang="en-US" sz="1200">
                <a:cs typeface="Arial" panose="020B0604020202020204" pitchFamily="34" charset="0"/>
              </a:rPr>
              <a:t>was performed by running several simulations with different models. </a:t>
            </a:r>
          </a:p>
          <a:p>
            <a:pPr algn="just">
              <a:lnSpc>
                <a:spcPct val="150000"/>
              </a:lnSpc>
            </a:pPr>
            <a:endParaRPr lang="en-US" sz="1200">
              <a:cs typeface="Arial" panose="020B0604020202020204" pitchFamily="34" charset="0"/>
            </a:endParaRPr>
          </a:p>
          <a:p>
            <a:pPr algn="just">
              <a:lnSpc>
                <a:spcPct val="150000"/>
              </a:lnSpc>
            </a:pPr>
            <a:r>
              <a:rPr lang="en-US" sz="1200">
                <a:cs typeface="Arial" panose="020B0604020202020204" pitchFamily="34" charset="0"/>
              </a:rPr>
              <a:t>The </a:t>
            </a:r>
            <a:r>
              <a:rPr lang="en-US" sz="1200" b="1">
                <a:cs typeface="Arial" panose="020B0604020202020204" pitchFamily="34" charset="0"/>
              </a:rPr>
              <a:t>LES model </a:t>
            </a:r>
            <a:r>
              <a:rPr lang="en-US" sz="1200">
                <a:cs typeface="Arial" panose="020B0604020202020204" pitchFamily="34" charset="0"/>
              </a:rPr>
              <a:t>is accurate but computationally expensive, so a </a:t>
            </a:r>
            <a:r>
              <a:rPr lang="en-US" sz="1200" b="1">
                <a:cs typeface="Arial" panose="020B0604020202020204" pitchFamily="34" charset="0"/>
              </a:rPr>
              <a:t>RANS model </a:t>
            </a:r>
            <a:r>
              <a:rPr lang="en-US" sz="1200">
                <a:cs typeface="Arial" panose="020B0604020202020204" pitchFamily="34" charset="0"/>
              </a:rPr>
              <a:t>was chosen. The results of simulations with different RANS models were compared with the results of the LES model (see figure). </a:t>
            </a:r>
          </a:p>
          <a:p>
            <a:pPr algn="just">
              <a:lnSpc>
                <a:spcPct val="150000"/>
              </a:lnSpc>
            </a:pPr>
            <a:endParaRPr lang="en-US" sz="1200">
              <a:cs typeface="Arial" panose="020B0604020202020204" pitchFamily="34" charset="0"/>
            </a:endParaRPr>
          </a:p>
          <a:p>
            <a:pPr algn="just">
              <a:lnSpc>
                <a:spcPct val="150000"/>
              </a:lnSpc>
            </a:pPr>
            <a:r>
              <a:rPr lang="en-US" sz="1200">
                <a:cs typeface="Arial" panose="020B0604020202020204" pitchFamily="34" charset="0"/>
              </a:rPr>
              <a:t>The RANS model with the closest match was selected for further simulations, which varied from case to case.</a:t>
            </a:r>
            <a:endParaRPr lang="sv-SE" sz="1200">
              <a:cs typeface="Arial" panose="020B0604020202020204" pitchFamily="34" charset="0"/>
            </a:endParaRPr>
          </a:p>
          <a:p>
            <a:endParaRPr lang="sv-SE"/>
          </a:p>
        </p:txBody>
      </p:sp>
      <p:sp>
        <p:nvSpPr>
          <p:cNvPr id="4" name="Slide Number Placeholder 3"/>
          <p:cNvSpPr>
            <a:spLocks noGrp="1"/>
          </p:cNvSpPr>
          <p:nvPr>
            <p:ph type="sldNum" sz="quarter" idx="5"/>
          </p:nvPr>
        </p:nvSpPr>
        <p:spPr/>
        <p:txBody>
          <a:bodyPr/>
          <a:lstStyle/>
          <a:p>
            <a:fld id="{F84DB91F-1AD8-437C-8866-3636784D0854}" type="slidenum">
              <a:rPr lang="en-GB" smtClean="0"/>
              <a:t>108</a:t>
            </a:fld>
            <a:endParaRPr lang="en-GB"/>
          </a:p>
        </p:txBody>
      </p:sp>
    </p:spTree>
    <p:extLst>
      <p:ext uri="{BB962C8B-B14F-4D97-AF65-F5344CB8AC3E}">
        <p14:creationId xmlns:p14="http://schemas.microsoft.com/office/powerpoint/2010/main" val="1713610857"/>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4DB91F-1AD8-437C-8866-3636784D085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4465216"/>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u="none" strike="noStrike" baseline="0">
                <a:solidFill>
                  <a:srgbClr val="000000"/>
                </a:solidFill>
                <a:latin typeface="Arial" panose="020B0604020202020204" pitchFamily="34" charset="0"/>
              </a:rPr>
              <a:t>Explanation of the creation of the ROM</a:t>
            </a:r>
            <a:endParaRPr lang="sv-SE"/>
          </a:p>
          <a:p>
            <a:pPr marL="457200" indent="-457200">
              <a:spcBef>
                <a:spcPct val="20000"/>
              </a:spcBef>
              <a:buFont typeface="Arial" panose="020B0604020202020204" pitchFamily="34" charset="0"/>
              <a:buChar char="•"/>
            </a:pPr>
            <a:r>
              <a:rPr lang="en-US" sz="1200" b="0" i="0"/>
              <a:t>The ROM is built from the outputs of several CFD simulations covering a range of values for the inputs of interest.</a:t>
            </a:r>
            <a:endParaRPr lang="sv-SE" sz="1200" b="0" i="0"/>
          </a:p>
          <a:p>
            <a:pPr marL="457200" indent="-457200">
              <a:spcBef>
                <a:spcPct val="20000"/>
              </a:spcBef>
              <a:buFont typeface="Arial" panose="020B0604020202020204" pitchFamily="34" charset="0"/>
              <a:buChar char="•"/>
            </a:pPr>
            <a:r>
              <a:rPr lang="sv-SE" sz="1200"/>
              <a:t>To </a:t>
            </a:r>
            <a:r>
              <a:rPr lang="sv-SE" sz="1200" err="1"/>
              <a:t>create</a:t>
            </a:r>
            <a:r>
              <a:rPr lang="sv-SE" sz="1200"/>
              <a:t> the ROM, 9 experiments </a:t>
            </a:r>
            <a:r>
              <a:rPr lang="sv-SE" sz="1200" err="1"/>
              <a:t>were</a:t>
            </a:r>
            <a:r>
              <a:rPr lang="sv-SE" sz="1200"/>
              <a:t> </a:t>
            </a:r>
            <a:r>
              <a:rPr lang="sv-SE" sz="1200" err="1"/>
              <a:t>simulated</a:t>
            </a:r>
            <a:r>
              <a:rPr lang="sv-SE" sz="1200"/>
              <a:t>, </a:t>
            </a:r>
            <a:r>
              <a:rPr lang="sv-SE" sz="1200" err="1"/>
              <a:t>using</a:t>
            </a:r>
            <a:r>
              <a:rPr lang="sv-SE" sz="1200"/>
              <a:t> the </a:t>
            </a:r>
            <a:r>
              <a:rPr lang="sv-SE" sz="1200" err="1"/>
              <a:t>built</a:t>
            </a:r>
            <a:r>
              <a:rPr lang="sv-SE" sz="1200"/>
              <a:t> CFD </a:t>
            </a:r>
            <a:r>
              <a:rPr lang="sv-SE" sz="1200" err="1"/>
              <a:t>model</a:t>
            </a:r>
            <a:r>
              <a:rPr lang="sv-SE" sz="1200"/>
              <a:t>.</a:t>
            </a:r>
          </a:p>
          <a:p>
            <a:pPr marL="457200" indent="-457200">
              <a:spcBef>
                <a:spcPct val="20000"/>
              </a:spcBef>
              <a:buFont typeface="Arial" panose="020B0604020202020204" pitchFamily="34" charset="0"/>
              <a:buChar char="•"/>
            </a:pPr>
            <a:r>
              <a:rPr lang="sv-SE" sz="1200"/>
              <a:t>The </a:t>
            </a:r>
            <a:r>
              <a:rPr lang="sv-SE" sz="1200" err="1"/>
              <a:t>cases</a:t>
            </a:r>
            <a:r>
              <a:rPr lang="sv-SE" sz="1200"/>
              <a:t> </a:t>
            </a:r>
            <a:r>
              <a:rPr lang="sv-SE" sz="1200" err="1"/>
              <a:t>were</a:t>
            </a:r>
            <a:r>
              <a:rPr lang="sv-SE" sz="1200"/>
              <a:t> </a:t>
            </a:r>
            <a:r>
              <a:rPr lang="sv-SE" sz="1200" err="1"/>
              <a:t>selected</a:t>
            </a:r>
            <a:r>
              <a:rPr lang="sv-SE" sz="1200"/>
              <a:t> from real </a:t>
            </a:r>
            <a:r>
              <a:rPr lang="sv-SE" sz="1200" err="1"/>
              <a:t>operational</a:t>
            </a:r>
            <a:r>
              <a:rPr lang="sv-SE" sz="1200"/>
              <a:t> </a:t>
            </a:r>
            <a:r>
              <a:rPr lang="sv-SE" sz="1200" err="1"/>
              <a:t>values</a:t>
            </a:r>
            <a:r>
              <a:rPr lang="sv-SE" sz="1200"/>
              <a:t> </a:t>
            </a:r>
            <a:r>
              <a:rPr lang="sv-SE" sz="1200" err="1"/>
              <a:t>used</a:t>
            </a:r>
            <a:r>
              <a:rPr lang="sv-SE" sz="1200"/>
              <a:t> in </a:t>
            </a:r>
            <a:r>
              <a:rPr lang="sv-SE" sz="1200" err="1"/>
              <a:t>Fertiberia</a:t>
            </a:r>
            <a:r>
              <a:rPr lang="sv-SE" sz="1200"/>
              <a:t> demosite, </a:t>
            </a:r>
            <a:r>
              <a:rPr lang="sv-SE" sz="1200" err="1"/>
              <a:t>meaning</a:t>
            </a:r>
            <a:r>
              <a:rPr lang="sv-SE" sz="1200"/>
              <a:t> </a:t>
            </a:r>
            <a:r>
              <a:rPr lang="sv-SE" sz="1200" err="1"/>
              <a:t>that</a:t>
            </a:r>
            <a:r>
              <a:rPr lang="sv-SE" sz="1200"/>
              <a:t> a</a:t>
            </a:r>
            <a:r>
              <a:rPr lang="sv-SE" sz="1200">
                <a:sym typeface="Wingdings" panose="05000000000000000000" pitchFamily="2" charset="2"/>
              </a:rPr>
              <a:t>ll </a:t>
            </a:r>
            <a:r>
              <a:rPr lang="sv-SE" sz="1200" err="1">
                <a:sym typeface="Wingdings" panose="05000000000000000000" pitchFamily="2" charset="2"/>
              </a:rPr>
              <a:t>simulated</a:t>
            </a:r>
            <a:r>
              <a:rPr lang="sv-SE" sz="1200">
                <a:sym typeface="Wingdings" panose="05000000000000000000" pitchFamily="2" charset="2"/>
              </a:rPr>
              <a:t> experiments </a:t>
            </a:r>
            <a:r>
              <a:rPr lang="sv-SE" sz="1200" err="1">
                <a:sym typeface="Wingdings" panose="05000000000000000000" pitchFamily="2" charset="2"/>
              </a:rPr>
              <a:t>corresponded</a:t>
            </a:r>
            <a:r>
              <a:rPr lang="sv-SE" sz="1200">
                <a:sym typeface="Wingdings" panose="05000000000000000000" pitchFamily="2" charset="2"/>
              </a:rPr>
              <a:t> to real </a:t>
            </a:r>
            <a:r>
              <a:rPr lang="sv-SE" sz="1200" err="1">
                <a:sym typeface="Wingdings" panose="05000000000000000000" pitchFamily="2" charset="2"/>
              </a:rPr>
              <a:t>fertilizer</a:t>
            </a:r>
            <a:r>
              <a:rPr lang="sv-SE" sz="1200">
                <a:sym typeface="Wingdings" panose="05000000000000000000" pitchFamily="2" charset="2"/>
              </a:rPr>
              <a:t> </a:t>
            </a:r>
            <a:r>
              <a:rPr lang="sv-SE" sz="1200" err="1">
                <a:sym typeface="Wingdings" panose="05000000000000000000" pitchFamily="2" charset="2"/>
              </a:rPr>
              <a:t>recipes</a:t>
            </a:r>
            <a:r>
              <a:rPr lang="sv-SE" sz="1200">
                <a:sym typeface="Wingdings" panose="05000000000000000000" pitchFamily="2" charset="2"/>
              </a:rPr>
              <a:t>.</a:t>
            </a:r>
          </a:p>
          <a:p>
            <a:pPr marL="457200" indent="-457200">
              <a:spcBef>
                <a:spcPct val="20000"/>
              </a:spcBef>
              <a:buFont typeface="Arial" panose="020B0604020202020204" pitchFamily="34" charset="0"/>
              <a:buChar char="•"/>
            </a:pPr>
            <a:r>
              <a:rPr lang="sv-SE" sz="1200"/>
              <a:t>The inputs and outputs </a:t>
            </a:r>
            <a:r>
              <a:rPr lang="sv-SE" sz="1200" err="1"/>
              <a:t>used</a:t>
            </a:r>
            <a:r>
              <a:rPr lang="sv-SE" sz="1200"/>
              <a:t> to </a:t>
            </a:r>
            <a:r>
              <a:rPr lang="sv-SE" sz="1200" err="1"/>
              <a:t>create</a:t>
            </a:r>
            <a:r>
              <a:rPr lang="sv-SE" sz="1200"/>
              <a:t> the ROM </a:t>
            </a:r>
            <a:r>
              <a:rPr lang="sv-SE" sz="1200" err="1"/>
              <a:t>are</a:t>
            </a:r>
            <a:r>
              <a:rPr lang="sv-SE" sz="1200"/>
              <a:t> </a:t>
            </a:r>
            <a:r>
              <a:rPr lang="sv-SE" sz="1200" err="1"/>
              <a:t>presented</a:t>
            </a:r>
            <a:r>
              <a:rPr lang="sv-SE" sz="1200"/>
              <a:t> </a:t>
            </a:r>
            <a:r>
              <a:rPr lang="sv-SE" sz="1200" err="1"/>
              <a:t>below</a:t>
            </a:r>
            <a:r>
              <a:rPr lang="sv-SE" sz="1200"/>
              <a:t> in the </a:t>
            </a:r>
            <a:r>
              <a:rPr lang="sv-SE" sz="1200" err="1"/>
              <a:t>boxes</a:t>
            </a:r>
            <a:r>
              <a:rPr lang="sv-SE" sz="1200"/>
              <a:t> (Input to ROM and output from ROM).</a:t>
            </a:r>
          </a:p>
          <a:p>
            <a:endParaRPr lang="sv-SE"/>
          </a:p>
          <a:p>
            <a:r>
              <a:rPr lang="sv-SE" sz="1200" b="1"/>
              <a:t>Repetition: </a:t>
            </a:r>
            <a:r>
              <a:rPr lang="sv-SE" sz="1200" b="1" err="1"/>
              <a:t>Reduced</a:t>
            </a:r>
            <a:r>
              <a:rPr lang="sv-SE" sz="1200" b="1"/>
              <a:t> order </a:t>
            </a:r>
            <a:r>
              <a:rPr lang="sv-SE" sz="1200" b="1" err="1"/>
              <a:t>model</a:t>
            </a:r>
            <a:r>
              <a:rPr lang="sv-SE" sz="1200" b="1"/>
              <a:t> (ROM)</a:t>
            </a:r>
          </a:p>
          <a:p>
            <a:r>
              <a:rPr lang="en-US" sz="1200"/>
              <a:t>The ROM is built from the simulations run with the Computational Fluid Dynamics (CFD) model under different scenarios. It can be thought of as a complex interpolation scheme between the desired input values and the outputs obtained from the simulations run with those inputs. Once the ROM is obtained, new scenarios can be calculated in real time.</a:t>
            </a:r>
            <a:endParaRPr lang="sv-SE" sz="1200"/>
          </a:p>
          <a:p>
            <a:endParaRPr lang="sv-SE"/>
          </a:p>
          <a:p>
            <a:r>
              <a:rPr lang="sv-SE" b="1" i="0"/>
              <a:t>Repetition </a:t>
            </a:r>
            <a:r>
              <a:rPr lang="sv-SE" b="1" i="0" err="1"/>
              <a:t>of</a:t>
            </a:r>
            <a:r>
              <a:rPr lang="sv-SE" b="1" i="0"/>
              <a:t> </a:t>
            </a:r>
            <a:r>
              <a:rPr lang="sv-SE" b="1" i="0" err="1"/>
              <a:t>previous</a:t>
            </a:r>
            <a:r>
              <a:rPr lang="sv-SE" b="1" i="0"/>
              <a:t> step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baseline="0">
                <a:solidFill>
                  <a:srgbClr val="000000"/>
                </a:solidFill>
                <a:latin typeface="Arial" panose="020B0604020202020204" pitchFamily="34" charset="0"/>
              </a:rPr>
              <a:t>After </a:t>
            </a:r>
            <a:r>
              <a:rPr lang="en-US" sz="1200" i="0">
                <a:solidFill>
                  <a:srgbClr val="000000"/>
                </a:solidFill>
                <a:latin typeface="Arial" panose="020B0604020202020204" pitchFamily="34" charset="0"/>
              </a:rPr>
              <a:t>a geometric representation of the r</a:t>
            </a:r>
            <a:r>
              <a:rPr lang="en-US" sz="1200" b="0" i="0" u="none" strike="noStrike" baseline="0">
                <a:solidFill>
                  <a:srgbClr val="000000"/>
                </a:solidFill>
                <a:latin typeface="Arial" panose="020B0604020202020204" pitchFamily="34" charset="0"/>
              </a:rPr>
              <a:t>eactor had been built and turbulence models had been chosen, simulations of the mixing and reactions inside the reactor could be run in ANSYS Fluent in order to create a ROM.  </a:t>
            </a:r>
          </a:p>
          <a:p>
            <a:endParaRPr lang="sv-SE"/>
          </a:p>
        </p:txBody>
      </p:sp>
      <p:sp>
        <p:nvSpPr>
          <p:cNvPr id="4" name="Slide Number Placeholder 3"/>
          <p:cNvSpPr>
            <a:spLocks noGrp="1"/>
          </p:cNvSpPr>
          <p:nvPr>
            <p:ph type="sldNum" sz="quarter" idx="5"/>
          </p:nvPr>
        </p:nvSpPr>
        <p:spPr/>
        <p:txBody>
          <a:bodyPr/>
          <a:lstStyle/>
          <a:p>
            <a:fld id="{F84DB91F-1AD8-437C-8866-3636784D0854}" type="slidenum">
              <a:rPr lang="en-GB" smtClean="0"/>
              <a:t>110</a:t>
            </a:fld>
            <a:endParaRPr lang="en-GB"/>
          </a:p>
        </p:txBody>
      </p:sp>
    </p:spTree>
    <p:extLst>
      <p:ext uri="{BB962C8B-B14F-4D97-AF65-F5344CB8AC3E}">
        <p14:creationId xmlns:p14="http://schemas.microsoft.com/office/powerpoint/2010/main" val="3223016589"/>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sv-SE"/>
          </a:p>
        </p:txBody>
      </p:sp>
      <p:sp>
        <p:nvSpPr>
          <p:cNvPr id="4" name="Slide Number Placeholder 3"/>
          <p:cNvSpPr>
            <a:spLocks noGrp="1"/>
          </p:cNvSpPr>
          <p:nvPr>
            <p:ph type="sldNum" sz="quarter" idx="5"/>
          </p:nvPr>
        </p:nvSpPr>
        <p:spPr/>
        <p:txBody>
          <a:bodyPr/>
          <a:lstStyle/>
          <a:p>
            <a:fld id="{F84DB91F-1AD8-437C-8866-3636784D0854}" type="slidenum">
              <a:rPr lang="en-GB" smtClean="0"/>
              <a:t>111</a:t>
            </a:fld>
            <a:endParaRPr lang="en-GB"/>
          </a:p>
        </p:txBody>
      </p:sp>
    </p:spTree>
    <p:extLst>
      <p:ext uri="{BB962C8B-B14F-4D97-AF65-F5344CB8AC3E}">
        <p14:creationId xmlns:p14="http://schemas.microsoft.com/office/powerpoint/2010/main" val="813551582"/>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200"/>
              <a:t>The </a:t>
            </a:r>
            <a:r>
              <a:rPr lang="sv-SE" sz="1200" err="1"/>
              <a:t>turbulence</a:t>
            </a:r>
            <a:r>
              <a:rPr lang="sv-SE" sz="1200"/>
              <a:t> </a:t>
            </a:r>
            <a:r>
              <a:rPr lang="sv-SE" sz="1200" err="1"/>
              <a:t>model</a:t>
            </a:r>
            <a:r>
              <a:rPr lang="sv-SE" sz="1200"/>
              <a:t> </a:t>
            </a:r>
            <a:r>
              <a:rPr lang="sv-SE" sz="1200" err="1"/>
              <a:t>which</a:t>
            </a:r>
            <a:r>
              <a:rPr lang="sv-SE" sz="1200"/>
              <a:t> </a:t>
            </a:r>
            <a:r>
              <a:rPr lang="sv-SE" sz="1200" err="1"/>
              <a:t>was</a:t>
            </a:r>
            <a:r>
              <a:rPr lang="sv-SE" sz="1200"/>
              <a:t> best </a:t>
            </a:r>
            <a:r>
              <a:rPr lang="sv-SE" sz="1200" err="1"/>
              <a:t>adjusted</a:t>
            </a:r>
            <a:r>
              <a:rPr lang="sv-SE" sz="1200"/>
              <a:t> in all operating </a:t>
            </a:r>
            <a:r>
              <a:rPr lang="sv-SE" sz="1200" err="1"/>
              <a:t>conditions</a:t>
            </a:r>
            <a:r>
              <a:rPr lang="sv-SE" sz="1200"/>
              <a:t> is </a:t>
            </a:r>
            <a:r>
              <a:rPr lang="sv-SE" sz="1200" err="1"/>
              <a:t>selected</a:t>
            </a:r>
            <a:r>
              <a:rPr lang="sv-SE" sz="1200"/>
              <a:t> </a:t>
            </a:r>
            <a:r>
              <a:rPr lang="sv-SE" sz="1200">
                <a:sym typeface="Wingdings" panose="05000000000000000000" pitchFamily="2" charset="2"/>
              </a:rPr>
              <a:t> </a:t>
            </a:r>
            <a:r>
              <a:rPr lang="sv-SE" sz="1200" b="1">
                <a:sym typeface="Wingdings" panose="05000000000000000000" pitchFamily="2" charset="2"/>
              </a:rPr>
              <a:t>SST-Transition in the </a:t>
            </a:r>
            <a:r>
              <a:rPr lang="sv-SE" sz="1200" b="1" err="1">
                <a:sym typeface="Wingdings" panose="05000000000000000000" pitchFamily="2" charset="2"/>
              </a:rPr>
              <a:t>case</a:t>
            </a:r>
            <a:r>
              <a:rPr lang="sv-SE" sz="1200" b="1">
                <a:sym typeface="Wingdings" panose="05000000000000000000" pitchFamily="2" charset="2"/>
              </a:rPr>
              <a:t> </a:t>
            </a:r>
            <a:r>
              <a:rPr lang="sv-SE" sz="1200" b="1" err="1">
                <a:sym typeface="Wingdings" panose="05000000000000000000" pitchFamily="2" charset="2"/>
              </a:rPr>
              <a:t>of</a:t>
            </a:r>
            <a:r>
              <a:rPr lang="sv-SE" sz="1200" b="1">
                <a:sym typeface="Wingdings" panose="05000000000000000000" pitchFamily="2" charset="2"/>
              </a:rPr>
              <a:t> FERTIBERIA</a:t>
            </a:r>
            <a:endParaRPr lang="sv-SE" sz="1200" b="1"/>
          </a:p>
          <a:p>
            <a:endParaRPr lang="sv-SE"/>
          </a:p>
        </p:txBody>
      </p:sp>
      <p:sp>
        <p:nvSpPr>
          <p:cNvPr id="4" name="Slide Number Placeholder 3"/>
          <p:cNvSpPr>
            <a:spLocks noGrp="1"/>
          </p:cNvSpPr>
          <p:nvPr>
            <p:ph type="sldNum" sz="quarter" idx="5"/>
          </p:nvPr>
        </p:nvSpPr>
        <p:spPr/>
        <p:txBody>
          <a:bodyPr/>
          <a:lstStyle/>
          <a:p>
            <a:fld id="{F84DB91F-1AD8-437C-8866-3636784D0854}" type="slidenum">
              <a:rPr lang="en-GB" smtClean="0"/>
              <a:t>112</a:t>
            </a:fld>
            <a:endParaRPr lang="en-GB"/>
          </a:p>
        </p:txBody>
      </p:sp>
    </p:spTree>
    <p:extLst>
      <p:ext uri="{BB962C8B-B14F-4D97-AF65-F5344CB8AC3E}">
        <p14:creationId xmlns:p14="http://schemas.microsoft.com/office/powerpoint/2010/main" val="1818348961"/>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4DB91F-1AD8-437C-8866-3636784D085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1630418"/>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sz="1200" err="1">
                <a:latin typeface="Arial MT"/>
              </a:rPr>
              <a:t>Functional</a:t>
            </a:r>
            <a:r>
              <a:rPr lang="sv-SE" sz="1200">
                <a:latin typeface="Arial MT"/>
              </a:rPr>
              <a:t> </a:t>
            </a:r>
            <a:r>
              <a:rPr lang="sv-SE" sz="1200" err="1">
                <a:latin typeface="Arial MT"/>
              </a:rPr>
              <a:t>Mock-up</a:t>
            </a:r>
            <a:r>
              <a:rPr lang="sv-SE" sz="1200">
                <a:latin typeface="Arial MT"/>
              </a:rPr>
              <a:t> </a:t>
            </a:r>
            <a:r>
              <a:rPr lang="sv-SE" sz="1200" err="1">
                <a:latin typeface="Arial MT"/>
              </a:rPr>
              <a:t>Unit</a:t>
            </a:r>
            <a:r>
              <a:rPr lang="sv-SE" sz="1200">
                <a:latin typeface="Arial MT"/>
              </a:rPr>
              <a:t> (FMU) </a:t>
            </a:r>
            <a:r>
              <a:rPr lang="sv-SE" sz="1200" err="1">
                <a:latin typeface="Arial MT"/>
              </a:rPr>
              <a:t>modules</a:t>
            </a:r>
            <a:r>
              <a:rPr lang="sv-SE" sz="1200">
                <a:latin typeface="Arial MT"/>
              </a:rPr>
              <a:t> </a:t>
            </a:r>
            <a:r>
              <a:rPr lang="sv-SE" sz="1200" err="1">
                <a:latin typeface="Arial MT"/>
              </a:rPr>
              <a:t>are</a:t>
            </a:r>
            <a:r>
              <a:rPr lang="sv-SE" sz="1200">
                <a:latin typeface="Arial MT"/>
              </a:rPr>
              <a:t> </a:t>
            </a:r>
            <a:r>
              <a:rPr lang="sv-SE" sz="1200" err="1">
                <a:latin typeface="Arial MT"/>
              </a:rPr>
              <a:t>created</a:t>
            </a:r>
            <a:r>
              <a:rPr lang="sv-SE" sz="1200">
                <a:latin typeface="Arial MT"/>
              </a:rPr>
              <a:t> to be </a:t>
            </a:r>
            <a:r>
              <a:rPr lang="sv-SE" sz="1200" err="1">
                <a:latin typeface="Arial MT"/>
              </a:rPr>
              <a:t>recalled</a:t>
            </a:r>
            <a:r>
              <a:rPr lang="sv-SE" sz="1200">
                <a:latin typeface="Arial MT"/>
              </a:rPr>
              <a:t> by </a:t>
            </a:r>
            <a:r>
              <a:rPr lang="sv-SE" sz="1200" err="1">
                <a:latin typeface="Arial MT"/>
              </a:rPr>
              <a:t>Descrete</a:t>
            </a:r>
            <a:r>
              <a:rPr lang="sv-SE" sz="1200">
                <a:latin typeface="Arial MT"/>
              </a:rPr>
              <a:t> Event Simulation (DES) and </a:t>
            </a:r>
            <a:r>
              <a:rPr lang="sv-SE" sz="1200" err="1">
                <a:latin typeface="Arial MT"/>
              </a:rPr>
              <a:t>constitues</a:t>
            </a:r>
            <a:r>
              <a:rPr lang="sv-SE" sz="1200">
                <a:latin typeface="Arial MT"/>
              </a:rPr>
              <a:t> </a:t>
            </a:r>
            <a:r>
              <a:rPr lang="sv-SE" sz="1200" err="1">
                <a:latin typeface="Arial MT"/>
              </a:rPr>
              <a:t>of</a:t>
            </a:r>
            <a:r>
              <a:rPr lang="sv-SE" sz="1200">
                <a:latin typeface="Arial MT"/>
              </a:rPr>
              <a:t> a FMU </a:t>
            </a:r>
            <a:r>
              <a:rPr lang="sv-SE" sz="1200" err="1">
                <a:latin typeface="Arial MT"/>
              </a:rPr>
              <a:t>zip-file</a:t>
            </a:r>
            <a:r>
              <a:rPr lang="sv-SE" sz="1200">
                <a:latin typeface="Arial MT"/>
              </a:rPr>
              <a:t> </a:t>
            </a:r>
            <a:r>
              <a:rPr lang="sv-SE" sz="1200" err="1">
                <a:latin typeface="Arial MT"/>
              </a:rPr>
              <a:t>composed</a:t>
            </a:r>
            <a:r>
              <a:rPr lang="sv-SE" sz="1200">
                <a:latin typeface="Arial MT"/>
              </a:rPr>
              <a:t> </a:t>
            </a:r>
            <a:r>
              <a:rPr lang="sv-SE" sz="1200" err="1">
                <a:latin typeface="Arial MT"/>
              </a:rPr>
              <a:t>of</a:t>
            </a:r>
            <a:r>
              <a:rPr lang="sv-SE" sz="1200">
                <a:latin typeface="Arial MT"/>
              </a:rPr>
              <a:t>:</a:t>
            </a:r>
          </a:p>
          <a:p>
            <a:endParaRPr lang="sv-SE" sz="1200">
              <a:latin typeface="Arial MT"/>
            </a:endParaRPr>
          </a:p>
          <a:p>
            <a:pPr marL="342900" indent="-342900">
              <a:buFont typeface="Arial" panose="020B0604020202020204" pitchFamily="34" charset="0"/>
              <a:buChar char="•"/>
            </a:pPr>
            <a:r>
              <a:rPr lang="sv-SE" sz="1200">
                <a:latin typeface="Arial MT"/>
              </a:rPr>
              <a:t>An XML </a:t>
            </a:r>
            <a:r>
              <a:rPr lang="sv-SE" sz="1200" err="1">
                <a:latin typeface="Arial MT"/>
              </a:rPr>
              <a:t>file</a:t>
            </a:r>
            <a:r>
              <a:rPr lang="sv-SE" sz="1200">
                <a:latin typeface="Arial MT"/>
              </a:rPr>
              <a:t> to </a:t>
            </a:r>
            <a:r>
              <a:rPr lang="sv-SE" sz="1200" err="1">
                <a:latin typeface="Arial MT"/>
              </a:rPr>
              <a:t>define</a:t>
            </a:r>
            <a:r>
              <a:rPr lang="sv-SE" sz="1200">
                <a:latin typeface="Arial MT"/>
              </a:rPr>
              <a:t> the </a:t>
            </a:r>
            <a:r>
              <a:rPr lang="sv-SE" sz="1200" err="1">
                <a:latin typeface="Arial MT"/>
              </a:rPr>
              <a:t>variables</a:t>
            </a:r>
            <a:r>
              <a:rPr lang="sv-SE" sz="1200">
                <a:latin typeface="Arial MT"/>
              </a:rPr>
              <a:t> inside the FMU</a:t>
            </a:r>
          </a:p>
          <a:p>
            <a:pPr marL="342900" indent="-342900">
              <a:buFont typeface="Arial" panose="020B0604020202020204" pitchFamily="34" charset="0"/>
              <a:buChar char="•"/>
            </a:pPr>
            <a:r>
              <a:rPr lang="sv-SE" sz="1200">
                <a:latin typeface="Arial MT"/>
              </a:rPr>
              <a:t>The </a:t>
            </a:r>
            <a:r>
              <a:rPr lang="sv-SE" sz="1200" err="1">
                <a:latin typeface="Arial MT"/>
              </a:rPr>
              <a:t>equations</a:t>
            </a:r>
            <a:r>
              <a:rPr lang="sv-SE" sz="1200">
                <a:latin typeface="Arial MT"/>
              </a:rPr>
              <a:t> </a:t>
            </a:r>
            <a:r>
              <a:rPr lang="sv-SE" sz="1200" err="1">
                <a:latin typeface="Arial MT"/>
              </a:rPr>
              <a:t>used</a:t>
            </a:r>
            <a:r>
              <a:rPr lang="sv-SE" sz="1200">
                <a:latin typeface="Arial MT"/>
              </a:rPr>
              <a:t> by the </a:t>
            </a:r>
            <a:r>
              <a:rPr lang="sv-SE" sz="1200" err="1">
                <a:latin typeface="Arial MT"/>
              </a:rPr>
              <a:t>model</a:t>
            </a:r>
            <a:r>
              <a:rPr lang="sv-SE" sz="1200">
                <a:latin typeface="Arial MT"/>
              </a:rPr>
              <a:t> (set </a:t>
            </a:r>
            <a:r>
              <a:rPr lang="sv-SE" sz="1200" err="1">
                <a:latin typeface="Arial MT"/>
              </a:rPr>
              <a:t>of</a:t>
            </a:r>
            <a:r>
              <a:rPr lang="sv-SE" sz="1200">
                <a:latin typeface="Arial MT"/>
              </a:rPr>
              <a:t> C </a:t>
            </a:r>
            <a:r>
              <a:rPr lang="sv-SE" sz="1200" err="1">
                <a:latin typeface="Arial MT"/>
              </a:rPr>
              <a:t>functions</a:t>
            </a:r>
            <a:r>
              <a:rPr lang="sv-SE" sz="1200">
                <a:latin typeface="Arial MT"/>
              </a:rPr>
              <a:t>)</a:t>
            </a:r>
          </a:p>
          <a:p>
            <a:pPr marL="342900" indent="-342900">
              <a:buFont typeface="Arial" panose="020B0604020202020204" pitchFamily="34" charset="0"/>
              <a:buChar char="•"/>
            </a:pPr>
            <a:r>
              <a:rPr lang="sv-SE" sz="1200" err="1">
                <a:latin typeface="Arial MT"/>
              </a:rPr>
              <a:t>Other</a:t>
            </a:r>
            <a:r>
              <a:rPr lang="sv-SE" sz="1200">
                <a:latin typeface="Arial MT"/>
              </a:rPr>
              <a:t> data, </a:t>
            </a:r>
            <a:r>
              <a:rPr lang="sv-SE" sz="1200" err="1">
                <a:latin typeface="Arial MT"/>
              </a:rPr>
              <a:t>such</a:t>
            </a:r>
            <a:r>
              <a:rPr lang="sv-SE" sz="1200">
                <a:latin typeface="Arial MT"/>
              </a:rPr>
              <a:t> as </a:t>
            </a:r>
            <a:r>
              <a:rPr lang="sv-SE" sz="1200" err="1">
                <a:latin typeface="Arial MT"/>
              </a:rPr>
              <a:t>tables</a:t>
            </a:r>
            <a:r>
              <a:rPr lang="sv-SE" sz="1200">
                <a:latin typeface="Arial MT"/>
              </a:rPr>
              <a:t> or </a:t>
            </a:r>
            <a:r>
              <a:rPr lang="sv-SE" sz="1200" err="1">
                <a:latin typeface="Arial MT"/>
              </a:rPr>
              <a:t>comments</a:t>
            </a:r>
            <a:r>
              <a:rPr lang="sv-SE" sz="1200">
                <a:latin typeface="Arial MT"/>
              </a:rPr>
              <a:t> </a:t>
            </a:r>
            <a:r>
              <a:rPr lang="sv-SE" sz="1200" err="1">
                <a:latin typeface="Arial MT"/>
              </a:rPr>
              <a:t>about</a:t>
            </a:r>
            <a:r>
              <a:rPr lang="sv-SE" sz="1200">
                <a:latin typeface="Arial MT"/>
              </a:rPr>
              <a:t> the </a:t>
            </a:r>
            <a:r>
              <a:rPr lang="sv-SE" sz="1200" err="1">
                <a:latin typeface="Arial MT"/>
              </a:rPr>
              <a:t>model</a:t>
            </a:r>
            <a:r>
              <a:rPr lang="sv-SE" sz="1200">
                <a:latin typeface="Arial MT"/>
              </a:rPr>
              <a:t>.</a:t>
            </a:r>
          </a:p>
          <a:p>
            <a:pPr marL="0" indent="0">
              <a:buFont typeface="Arial" panose="020B0604020202020204" pitchFamily="34" charset="0"/>
              <a:buNone/>
            </a:pPr>
            <a:endParaRPr lang="sv-SE" sz="1200">
              <a:latin typeface="Arial MT"/>
            </a:endParaRPr>
          </a:p>
          <a:p>
            <a:r>
              <a:rPr lang="sv-SE" sz="1200" err="1">
                <a:latin typeface="Arial MT"/>
              </a:rPr>
              <a:t>This</a:t>
            </a:r>
            <a:r>
              <a:rPr lang="sv-SE" sz="1200">
                <a:latin typeface="Arial MT"/>
              </a:rPr>
              <a:t> is </a:t>
            </a:r>
            <a:r>
              <a:rPr lang="sv-SE" sz="1200" err="1">
                <a:latin typeface="Arial MT"/>
              </a:rPr>
              <a:t>how</a:t>
            </a:r>
            <a:r>
              <a:rPr lang="sv-SE" sz="1200">
                <a:latin typeface="Arial MT"/>
              </a:rPr>
              <a:t> the FERTIBERIA </a:t>
            </a:r>
            <a:r>
              <a:rPr lang="sv-SE" sz="1200" err="1">
                <a:latin typeface="Arial MT"/>
              </a:rPr>
              <a:t>Reduced</a:t>
            </a:r>
            <a:r>
              <a:rPr lang="sv-SE" sz="1200">
                <a:latin typeface="Arial MT"/>
              </a:rPr>
              <a:t> Order </a:t>
            </a:r>
            <a:r>
              <a:rPr lang="sv-SE" sz="1200" err="1">
                <a:latin typeface="Arial MT"/>
              </a:rPr>
              <a:t>Model</a:t>
            </a:r>
            <a:r>
              <a:rPr lang="sv-SE" sz="1200">
                <a:latin typeface="Arial MT"/>
              </a:rPr>
              <a:t> (ROM) is </a:t>
            </a:r>
            <a:r>
              <a:rPr lang="sv-SE" sz="1200" err="1">
                <a:latin typeface="Arial MT"/>
              </a:rPr>
              <a:t>exported</a:t>
            </a:r>
            <a:r>
              <a:rPr lang="sv-SE" sz="1200">
                <a:latin typeface="Arial MT"/>
              </a:rPr>
              <a:t> to be </a:t>
            </a:r>
            <a:r>
              <a:rPr lang="sv-SE" sz="1200" err="1">
                <a:latin typeface="Arial MT"/>
              </a:rPr>
              <a:t>used</a:t>
            </a:r>
            <a:r>
              <a:rPr lang="sv-SE" sz="1200">
                <a:latin typeface="Arial MT"/>
              </a:rPr>
              <a:t> by the Decision Support System (DSS).</a:t>
            </a:r>
          </a:p>
          <a:p>
            <a:endParaRPr lang="sv-SE" sz="1200">
              <a:latin typeface="Arial MT"/>
            </a:endParaRPr>
          </a:p>
          <a:p>
            <a:endParaRPr lang="sv-SE" sz="1200">
              <a:latin typeface="Arial MT"/>
            </a:endParaRPr>
          </a:p>
          <a:p>
            <a:endParaRPr lang="sv-SE"/>
          </a:p>
        </p:txBody>
      </p:sp>
      <p:sp>
        <p:nvSpPr>
          <p:cNvPr id="4" name="Slide Number Placeholder 3"/>
          <p:cNvSpPr>
            <a:spLocks noGrp="1"/>
          </p:cNvSpPr>
          <p:nvPr>
            <p:ph type="sldNum" sz="quarter" idx="5"/>
          </p:nvPr>
        </p:nvSpPr>
        <p:spPr/>
        <p:txBody>
          <a:bodyPr/>
          <a:lstStyle/>
          <a:p>
            <a:fld id="{F84DB91F-1AD8-437C-8866-3636784D0854}" type="slidenum">
              <a:rPr lang="en-GB" smtClean="0"/>
              <a:t>114</a:t>
            </a:fld>
            <a:endParaRPr lang="en-GB"/>
          </a:p>
        </p:txBody>
      </p:sp>
    </p:spTree>
    <p:extLst>
      <p:ext uri="{BB962C8B-B14F-4D97-AF65-F5344CB8AC3E}">
        <p14:creationId xmlns:p14="http://schemas.microsoft.com/office/powerpoint/2010/main" val="1776695594"/>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r>
              <a:rPr lang="en-US" sz="3600" b="1"/>
              <a:t>Correct answers</a:t>
            </a:r>
          </a:p>
          <a:p>
            <a:pPr marL="0" indent="0">
              <a:buFont typeface="+mj-lt"/>
              <a:buNone/>
            </a:pPr>
            <a:endParaRPr lang="en-US" sz="3600"/>
          </a:p>
          <a:p>
            <a:pPr marL="0" indent="0">
              <a:buFont typeface="+mj-lt"/>
              <a:buNone/>
            </a:pPr>
            <a:r>
              <a:rPr lang="en-US" sz="3600"/>
              <a:t>1. Which turbulence model is the most computationally heavy?</a:t>
            </a:r>
          </a:p>
          <a:p>
            <a:pPr marL="1200150" lvl="1" indent="-742950">
              <a:buFont typeface="+mj-lt"/>
              <a:buAutoNum type="alphaUcPeriod"/>
            </a:pPr>
            <a:r>
              <a:rPr lang="sv-SE" sz="3600" err="1">
                <a:highlight>
                  <a:srgbClr val="00FF00"/>
                </a:highlight>
              </a:rPr>
              <a:t>Large</a:t>
            </a:r>
            <a:r>
              <a:rPr lang="sv-SE" sz="3600">
                <a:highlight>
                  <a:srgbClr val="00FF00"/>
                </a:highlight>
              </a:rPr>
              <a:t> Eddy Simulation (LES) </a:t>
            </a:r>
          </a:p>
          <a:p>
            <a:endParaRPr lang="sv-SE" sz="3600"/>
          </a:p>
          <a:p>
            <a:pPr marL="0" indent="0">
              <a:buFont typeface="+mj-lt"/>
              <a:buNone/>
            </a:pPr>
            <a:r>
              <a:rPr lang="sv-SE" sz="3600"/>
              <a:t>2. </a:t>
            </a:r>
            <a:r>
              <a:rPr lang="sv-SE" sz="3600" err="1"/>
              <a:t>Which</a:t>
            </a:r>
            <a:r>
              <a:rPr lang="sv-SE" sz="3600"/>
              <a:t> </a:t>
            </a:r>
            <a:r>
              <a:rPr lang="sv-SE" sz="3600" err="1"/>
              <a:t>of</a:t>
            </a:r>
            <a:r>
              <a:rPr lang="sv-SE" sz="3600"/>
              <a:t> the </a:t>
            </a:r>
            <a:r>
              <a:rPr lang="sv-SE" sz="3600" err="1"/>
              <a:t>following</a:t>
            </a:r>
            <a:r>
              <a:rPr lang="sv-SE" sz="3600"/>
              <a:t> </a:t>
            </a:r>
            <a:r>
              <a:rPr lang="sv-SE" sz="3600" err="1"/>
              <a:t>techniques</a:t>
            </a:r>
            <a:r>
              <a:rPr lang="sv-SE" sz="3600"/>
              <a:t> </a:t>
            </a:r>
            <a:r>
              <a:rPr lang="sv-SE" sz="3600" err="1"/>
              <a:t>could</a:t>
            </a:r>
            <a:r>
              <a:rPr lang="sv-SE" sz="3600"/>
              <a:t> be </a:t>
            </a:r>
            <a:r>
              <a:rPr lang="sv-SE" sz="3600" err="1"/>
              <a:t>utilized</a:t>
            </a:r>
            <a:r>
              <a:rPr lang="sv-SE" sz="3600"/>
              <a:t> in the </a:t>
            </a:r>
            <a:r>
              <a:rPr lang="sv-SE" sz="3600" err="1"/>
              <a:t>development</a:t>
            </a:r>
            <a:r>
              <a:rPr lang="sv-SE" sz="3600"/>
              <a:t> </a:t>
            </a:r>
            <a:r>
              <a:rPr lang="sv-SE" sz="3600" err="1"/>
              <a:t>of</a:t>
            </a:r>
            <a:r>
              <a:rPr lang="sv-SE" sz="3600"/>
              <a:t> digital </a:t>
            </a:r>
            <a:r>
              <a:rPr lang="sv-SE" sz="3600" err="1"/>
              <a:t>twin</a:t>
            </a:r>
            <a:r>
              <a:rPr lang="sv-SE" sz="3600"/>
              <a:t>?</a:t>
            </a:r>
          </a:p>
          <a:p>
            <a:pPr marL="1200150" lvl="1" indent="-742950">
              <a:buFont typeface="+mj-lt"/>
              <a:buAutoNum type="alphaUcPeriod"/>
            </a:pPr>
            <a:r>
              <a:rPr lang="sv-SE" sz="3600" err="1">
                <a:highlight>
                  <a:srgbClr val="00FF00"/>
                </a:highlight>
              </a:rPr>
              <a:t>Machine</a:t>
            </a:r>
            <a:r>
              <a:rPr lang="sv-SE" sz="3600">
                <a:highlight>
                  <a:srgbClr val="00FF00"/>
                </a:highlight>
              </a:rPr>
              <a:t> Learning</a:t>
            </a:r>
          </a:p>
          <a:p>
            <a:pPr marL="1200150" lvl="1" indent="-742950">
              <a:buFont typeface="+mj-lt"/>
              <a:buAutoNum type="alphaUcPeriod"/>
            </a:pPr>
            <a:r>
              <a:rPr lang="sv-SE" sz="3600" err="1">
                <a:highlight>
                  <a:srgbClr val="00FF00"/>
                </a:highlight>
              </a:rPr>
              <a:t>Computational</a:t>
            </a:r>
            <a:r>
              <a:rPr lang="sv-SE" sz="3600">
                <a:highlight>
                  <a:srgbClr val="00FF00"/>
                </a:highlight>
              </a:rPr>
              <a:t> Fluid Dynamics (CFD)</a:t>
            </a:r>
            <a:endParaRPr lang="sv-SE" sz="3600"/>
          </a:p>
          <a:p>
            <a:pPr marL="1200150" lvl="1" indent="-742950">
              <a:buFont typeface="+mj-lt"/>
              <a:buAutoNum type="alphaUcPeriod"/>
            </a:pPr>
            <a:endParaRPr lang="sv-SE" sz="3600"/>
          </a:p>
          <a:p>
            <a:pPr marL="0" indent="0">
              <a:buFont typeface="+mj-lt"/>
              <a:buNone/>
            </a:pPr>
            <a:r>
              <a:rPr lang="sv-SE" sz="3600"/>
              <a:t>3. </a:t>
            </a:r>
            <a:r>
              <a:rPr lang="sv-SE" sz="3600" err="1"/>
              <a:t>Which</a:t>
            </a:r>
            <a:r>
              <a:rPr lang="sv-SE" sz="3600"/>
              <a:t> parameters </a:t>
            </a:r>
            <a:r>
              <a:rPr lang="sv-SE" sz="3600" err="1"/>
              <a:t>need</a:t>
            </a:r>
            <a:r>
              <a:rPr lang="sv-SE" sz="3600"/>
              <a:t> to be </a:t>
            </a:r>
            <a:r>
              <a:rPr lang="sv-SE" sz="3600" err="1"/>
              <a:t>verified</a:t>
            </a:r>
            <a:r>
              <a:rPr lang="sv-SE" sz="3600"/>
              <a:t> to </a:t>
            </a:r>
            <a:r>
              <a:rPr lang="sv-SE" sz="3600" err="1"/>
              <a:t>assess</a:t>
            </a:r>
            <a:r>
              <a:rPr lang="sv-SE" sz="3600"/>
              <a:t> the </a:t>
            </a:r>
            <a:r>
              <a:rPr lang="sv-SE" sz="3600" err="1"/>
              <a:t>quality</a:t>
            </a:r>
            <a:r>
              <a:rPr lang="sv-SE" sz="3600"/>
              <a:t> </a:t>
            </a:r>
            <a:r>
              <a:rPr lang="sv-SE" sz="3600" err="1"/>
              <a:t>of</a:t>
            </a:r>
            <a:r>
              <a:rPr lang="sv-SE" sz="3600"/>
              <a:t> ROM?</a:t>
            </a:r>
          </a:p>
          <a:p>
            <a:pPr marL="1200150" lvl="1" indent="-742950">
              <a:buFont typeface="+mj-lt"/>
              <a:buAutoNum type="alphaUcPeriod"/>
            </a:pPr>
            <a:r>
              <a:rPr lang="sv-SE" sz="3600" err="1">
                <a:highlight>
                  <a:srgbClr val="00FF00"/>
                </a:highlight>
              </a:rPr>
              <a:t>Goodness</a:t>
            </a:r>
            <a:r>
              <a:rPr lang="sv-SE" sz="3600">
                <a:highlight>
                  <a:srgbClr val="00FF00"/>
                </a:highlight>
              </a:rPr>
              <a:t> </a:t>
            </a:r>
            <a:r>
              <a:rPr lang="sv-SE" sz="3600" err="1">
                <a:highlight>
                  <a:srgbClr val="00FF00"/>
                </a:highlight>
              </a:rPr>
              <a:t>of</a:t>
            </a:r>
            <a:r>
              <a:rPr lang="sv-SE" sz="3600">
                <a:highlight>
                  <a:srgbClr val="00FF00"/>
                </a:highlight>
              </a:rPr>
              <a:t> fit</a:t>
            </a:r>
          </a:p>
          <a:p>
            <a:pPr algn="l"/>
            <a:endParaRPr lang="sv-SE" sz="1800" b="0" i="0" u="none" strike="noStrike" baseline="0">
              <a:solidFill>
                <a:srgbClr val="000000"/>
              </a:solidFill>
              <a:latin typeface="Arial" panose="020B0604020202020204" pitchFamily="34" charset="0"/>
            </a:endParaRPr>
          </a:p>
        </p:txBody>
      </p:sp>
      <p:sp>
        <p:nvSpPr>
          <p:cNvPr id="4" name="Slide Number Placeholder 3"/>
          <p:cNvSpPr>
            <a:spLocks noGrp="1"/>
          </p:cNvSpPr>
          <p:nvPr>
            <p:ph type="sldNum" sz="quarter" idx="5"/>
          </p:nvPr>
        </p:nvSpPr>
        <p:spPr/>
        <p:txBody>
          <a:bodyPr/>
          <a:lstStyle/>
          <a:p>
            <a:fld id="{F84DB91F-1AD8-437C-8866-3636784D0854}" type="slidenum">
              <a:rPr lang="en-GB" smtClean="0"/>
              <a:t>115</a:t>
            </a:fld>
            <a:endParaRPr lang="en-GB"/>
          </a:p>
        </p:txBody>
      </p:sp>
    </p:spTree>
    <p:extLst>
      <p:ext uri="{BB962C8B-B14F-4D97-AF65-F5344CB8AC3E}">
        <p14:creationId xmlns:p14="http://schemas.microsoft.com/office/powerpoint/2010/main" val="1471396758"/>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dirty="0"/>
              <a:t>. </a:t>
            </a:r>
          </a:p>
          <a:p>
            <a:endParaRPr lang="sv-S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4DB91F-1AD8-437C-8866-3636784D085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5818948"/>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err="1"/>
              <a:t>Normally</a:t>
            </a:r>
            <a:r>
              <a:rPr lang="sv-SE" dirty="0"/>
              <a:t> </a:t>
            </a:r>
            <a:r>
              <a:rPr lang="sv-SE" dirty="0" err="1"/>
              <a:t>when</a:t>
            </a:r>
            <a:r>
              <a:rPr lang="sv-SE" dirty="0"/>
              <a:t> </a:t>
            </a:r>
            <a:r>
              <a:rPr lang="sv-SE" dirty="0" err="1"/>
              <a:t>one</a:t>
            </a:r>
            <a:r>
              <a:rPr lang="sv-SE" dirty="0"/>
              <a:t> talks </a:t>
            </a:r>
            <a:r>
              <a:rPr lang="sv-SE" dirty="0" err="1"/>
              <a:t>about</a:t>
            </a:r>
            <a:r>
              <a:rPr lang="sv-SE" dirty="0"/>
              <a:t> LCA, it </a:t>
            </a:r>
            <a:r>
              <a:rPr lang="sv-SE" dirty="0" err="1"/>
              <a:t>normally</a:t>
            </a:r>
            <a:r>
              <a:rPr lang="sv-SE" dirty="0"/>
              <a:t> </a:t>
            </a:r>
            <a:r>
              <a:rPr lang="sv-SE" dirty="0" err="1"/>
              <a:t>refer</a:t>
            </a:r>
            <a:r>
              <a:rPr lang="sv-SE" dirty="0"/>
              <a:t> to an </a:t>
            </a:r>
            <a:r>
              <a:rPr lang="sv-SE" dirty="0" err="1"/>
              <a:t>environmental</a:t>
            </a:r>
            <a:r>
              <a:rPr lang="sv-SE" dirty="0"/>
              <a:t> LCA </a:t>
            </a:r>
            <a:r>
              <a:rPr lang="sv-SE" dirty="0" err="1"/>
              <a:t>which</a:t>
            </a:r>
            <a:r>
              <a:rPr lang="sv-SE" dirty="0"/>
              <a:t> </a:t>
            </a:r>
            <a:r>
              <a:rPr lang="sv-SE" dirty="0" err="1"/>
              <a:t>quantify</a:t>
            </a:r>
            <a:r>
              <a:rPr lang="sv-SE" dirty="0"/>
              <a:t> the </a:t>
            </a:r>
            <a:r>
              <a:rPr lang="sv-SE" dirty="0" err="1"/>
              <a:t>environmental</a:t>
            </a:r>
            <a:r>
              <a:rPr lang="sv-SE" dirty="0"/>
              <a:t> </a:t>
            </a:r>
            <a:r>
              <a:rPr lang="sv-SE" dirty="0" err="1"/>
              <a:t>impact</a:t>
            </a:r>
            <a:r>
              <a:rPr lang="sv-SE" dirty="0"/>
              <a:t> </a:t>
            </a:r>
            <a:r>
              <a:rPr lang="sv-SE" dirty="0" err="1"/>
              <a:t>of</a:t>
            </a:r>
            <a:r>
              <a:rPr lang="sv-SE" dirty="0"/>
              <a:t> a </a:t>
            </a:r>
            <a:r>
              <a:rPr lang="sv-SE" dirty="0" err="1"/>
              <a:t>product</a:t>
            </a:r>
            <a:r>
              <a:rPr lang="sv-SE" dirty="0"/>
              <a:t> or service. </a:t>
            </a:r>
            <a:r>
              <a:rPr lang="sv-SE" dirty="0" err="1"/>
              <a:t>However</a:t>
            </a:r>
            <a:r>
              <a:rPr lang="sv-SE" dirty="0"/>
              <a:t>, </a:t>
            </a:r>
            <a:r>
              <a:rPr lang="sv-SE" dirty="0" err="1"/>
              <a:t>there</a:t>
            </a:r>
            <a:r>
              <a:rPr lang="sv-SE" dirty="0"/>
              <a:t> </a:t>
            </a:r>
            <a:r>
              <a:rPr lang="sv-SE" dirty="0" err="1"/>
              <a:t>are</a:t>
            </a:r>
            <a:r>
              <a:rPr lang="sv-SE" dirty="0"/>
              <a:t> </a:t>
            </a:r>
            <a:r>
              <a:rPr lang="sv-SE" dirty="0" err="1"/>
              <a:t>also</a:t>
            </a:r>
            <a:r>
              <a:rPr lang="sv-SE" dirty="0"/>
              <a:t> </a:t>
            </a:r>
            <a:r>
              <a:rPr lang="sv-SE" dirty="0" err="1"/>
              <a:t>other</a:t>
            </a:r>
            <a:r>
              <a:rPr lang="sv-SE" dirty="0"/>
              <a:t> </a:t>
            </a:r>
            <a:r>
              <a:rPr lang="sv-SE" dirty="0" err="1"/>
              <a:t>types</a:t>
            </a:r>
            <a:r>
              <a:rPr lang="sv-SE" dirty="0"/>
              <a:t> </a:t>
            </a:r>
            <a:r>
              <a:rPr lang="sv-SE" dirty="0" err="1"/>
              <a:t>of</a:t>
            </a:r>
            <a:r>
              <a:rPr lang="sv-SE" dirty="0"/>
              <a:t> LCA </a:t>
            </a:r>
            <a:r>
              <a:rPr lang="sv-SE" dirty="0" err="1"/>
              <a:t>which</a:t>
            </a:r>
            <a:r>
              <a:rPr lang="sv-SE" dirty="0"/>
              <a:t> </a:t>
            </a:r>
            <a:r>
              <a:rPr lang="sv-SE" dirty="0" err="1"/>
              <a:t>quantify</a:t>
            </a:r>
            <a:r>
              <a:rPr lang="sv-SE" dirty="0"/>
              <a:t> </a:t>
            </a:r>
            <a:r>
              <a:rPr lang="sv-SE" dirty="0" err="1"/>
              <a:t>other</a:t>
            </a:r>
            <a:r>
              <a:rPr lang="sv-SE" dirty="0"/>
              <a:t> </a:t>
            </a:r>
            <a:r>
              <a:rPr lang="sv-SE" dirty="0" err="1"/>
              <a:t>aspect</a:t>
            </a:r>
            <a:r>
              <a:rPr lang="sv-SE" dirty="0"/>
              <a:t> </a:t>
            </a:r>
            <a:r>
              <a:rPr lang="sv-SE" dirty="0" err="1"/>
              <a:t>of</a:t>
            </a:r>
            <a:r>
              <a:rPr lang="sv-SE" dirty="0"/>
              <a:t> </a:t>
            </a:r>
            <a:r>
              <a:rPr lang="sv-SE" dirty="0" err="1"/>
              <a:t>sustainability</a:t>
            </a:r>
            <a:r>
              <a:rPr lang="sv-SE" dirty="0"/>
              <a:t>. </a:t>
            </a:r>
          </a:p>
          <a:p>
            <a:endParaRPr lang="sv-SE" dirty="0"/>
          </a:p>
          <a:p>
            <a:pPr marL="0" marR="0" lvl="0" indent="0" algn="l" defTabSz="914400" rtl="0" eaLnBrk="1" fontAlgn="auto" latinLnBrk="0" hangingPunct="1">
              <a:lnSpc>
                <a:spcPct val="100000"/>
              </a:lnSpc>
              <a:spcBef>
                <a:spcPts val="0"/>
              </a:spcBef>
              <a:spcAft>
                <a:spcPts val="0"/>
              </a:spcAft>
              <a:buClrTx/>
              <a:buSzTx/>
              <a:buFontTx/>
              <a:buNone/>
              <a:tabLst/>
              <a:defRPr/>
            </a:pPr>
            <a:r>
              <a:rPr lang="sv-SE" dirty="0"/>
              <a:t>Life </a:t>
            </a:r>
            <a:r>
              <a:rPr lang="sv-SE" dirty="0" err="1"/>
              <a:t>cycle</a:t>
            </a:r>
            <a:r>
              <a:rPr lang="sv-SE" dirty="0"/>
              <a:t> </a:t>
            </a:r>
            <a:r>
              <a:rPr lang="sv-SE" dirty="0" err="1"/>
              <a:t>costing</a:t>
            </a:r>
            <a:r>
              <a:rPr lang="sv-SE" dirty="0"/>
              <a:t> or LCC – </a:t>
            </a:r>
            <a:r>
              <a:rPr lang="sv-SE" dirty="0" err="1"/>
              <a:t>quantify</a:t>
            </a:r>
            <a:r>
              <a:rPr lang="sv-SE" dirty="0"/>
              <a:t> the </a:t>
            </a:r>
            <a:r>
              <a:rPr lang="sv-SE" dirty="0" err="1"/>
              <a:t>costs</a:t>
            </a:r>
            <a:r>
              <a:rPr lang="sv-SE" dirty="0"/>
              <a:t> </a:t>
            </a:r>
            <a:r>
              <a:rPr lang="sv-SE" dirty="0" err="1"/>
              <a:t>that</a:t>
            </a:r>
            <a:r>
              <a:rPr lang="sv-SE" dirty="0"/>
              <a:t> </a:t>
            </a:r>
            <a:r>
              <a:rPr lang="sv-SE" dirty="0" err="1"/>
              <a:t>will</a:t>
            </a:r>
            <a:r>
              <a:rPr lang="sv-SE" dirty="0"/>
              <a:t> be </a:t>
            </a:r>
            <a:r>
              <a:rPr lang="sv-SE" dirty="0" err="1"/>
              <a:t>incured</a:t>
            </a:r>
            <a:r>
              <a:rPr lang="sv-SE" dirty="0"/>
              <a:t> </a:t>
            </a:r>
            <a:r>
              <a:rPr lang="sv-SE" dirty="0" err="1"/>
              <a:t>during</a:t>
            </a:r>
            <a:r>
              <a:rPr lang="sv-SE" dirty="0"/>
              <a:t> the </a:t>
            </a:r>
            <a:r>
              <a:rPr lang="sv-SE" dirty="0" err="1"/>
              <a:t>life</a:t>
            </a:r>
            <a:r>
              <a:rPr lang="sv-SE" dirty="0"/>
              <a:t> </a:t>
            </a:r>
            <a:r>
              <a:rPr lang="sv-SE" dirty="0" err="1"/>
              <a:t>cycle</a:t>
            </a:r>
            <a:r>
              <a:rPr lang="sv-SE" dirty="0"/>
              <a:t> </a:t>
            </a:r>
            <a:r>
              <a:rPr lang="sv-SE" dirty="0" err="1"/>
              <a:t>of</a:t>
            </a:r>
            <a:r>
              <a:rPr lang="sv-SE" dirty="0"/>
              <a:t> a </a:t>
            </a:r>
            <a:r>
              <a:rPr lang="sv-SE" dirty="0" err="1"/>
              <a:t>product</a:t>
            </a:r>
            <a:r>
              <a:rPr lang="sv-SE" dirty="0"/>
              <a:t>/service</a:t>
            </a:r>
            <a:endParaRPr lang="en-GB" dirty="0"/>
          </a:p>
          <a:p>
            <a:endParaRPr lang="sv-SE" dirty="0"/>
          </a:p>
          <a:p>
            <a:r>
              <a:rPr lang="sv-SE" dirty="0"/>
              <a:t>Social LCA – </a:t>
            </a:r>
            <a:r>
              <a:rPr lang="sv-SE" dirty="0" err="1"/>
              <a:t>assessing</a:t>
            </a:r>
            <a:r>
              <a:rPr lang="sv-SE" dirty="0"/>
              <a:t> the social </a:t>
            </a:r>
            <a:r>
              <a:rPr lang="sv-SE" dirty="0" err="1"/>
              <a:t>impact</a:t>
            </a:r>
            <a:r>
              <a:rPr lang="sv-SE" dirty="0"/>
              <a:t> </a:t>
            </a:r>
            <a:r>
              <a:rPr lang="sv-SE" dirty="0" err="1"/>
              <a:t>of</a:t>
            </a:r>
            <a:r>
              <a:rPr lang="sv-SE" dirty="0"/>
              <a:t> a </a:t>
            </a:r>
            <a:r>
              <a:rPr lang="sv-SE" dirty="0" err="1"/>
              <a:t>product</a:t>
            </a:r>
            <a:r>
              <a:rPr lang="sv-SE" dirty="0"/>
              <a:t>/service </a:t>
            </a:r>
          </a:p>
          <a:p>
            <a:endParaRPr lang="sv-SE" dirty="0"/>
          </a:p>
          <a:p>
            <a:r>
              <a:rPr lang="sv-SE" b="1" dirty="0"/>
              <a:t>The </a:t>
            </a:r>
            <a:r>
              <a:rPr lang="sv-SE" b="1" dirty="0" err="1"/>
              <a:t>three</a:t>
            </a:r>
            <a:r>
              <a:rPr lang="sv-SE" b="1" dirty="0"/>
              <a:t> different </a:t>
            </a:r>
            <a:r>
              <a:rPr lang="sv-SE" b="1" dirty="0" err="1"/>
              <a:t>types</a:t>
            </a:r>
            <a:r>
              <a:rPr lang="sv-SE" b="1" dirty="0"/>
              <a:t> </a:t>
            </a:r>
            <a:r>
              <a:rPr lang="sv-SE" b="1" dirty="0" err="1"/>
              <a:t>of</a:t>
            </a:r>
            <a:r>
              <a:rPr lang="sv-SE" b="1" dirty="0"/>
              <a:t> LCA </a:t>
            </a:r>
            <a:r>
              <a:rPr lang="sv-SE" b="1" dirty="0" err="1"/>
              <a:t>follows</a:t>
            </a:r>
            <a:r>
              <a:rPr lang="sv-SE" b="1" dirty="0"/>
              <a:t> the </a:t>
            </a:r>
            <a:r>
              <a:rPr lang="sv-SE" b="1" dirty="0" err="1"/>
              <a:t>four</a:t>
            </a:r>
            <a:r>
              <a:rPr lang="sv-SE" b="1" dirty="0"/>
              <a:t> steps given in 5.1</a:t>
            </a:r>
          </a:p>
          <a:p>
            <a:endParaRPr lang="sv-SE" b="1" dirty="0"/>
          </a:p>
          <a:p>
            <a:pPr marL="342900" indent="-342900">
              <a:buAutoNum type="arabicPeriod"/>
            </a:pPr>
            <a:r>
              <a:rPr lang="en-US" sz="2400" b="1" dirty="0"/>
              <a:t>Goal and scope definition</a:t>
            </a:r>
            <a:endParaRPr lang="en-GB" sz="2400" dirty="0"/>
          </a:p>
          <a:p>
            <a:pPr marL="342900" indent="-342900">
              <a:buAutoNum type="arabicPeriod"/>
            </a:pPr>
            <a:r>
              <a:rPr lang="en-GB" sz="2400" b="1" dirty="0"/>
              <a:t>Inventory analysis</a:t>
            </a:r>
            <a:endParaRPr lang="en-GB" sz="2400" dirty="0"/>
          </a:p>
          <a:p>
            <a:pPr marL="342900" indent="-342900">
              <a:buAutoNum type="arabicPeriod"/>
            </a:pPr>
            <a:r>
              <a:rPr lang="en-GB" sz="2400" b="1" dirty="0"/>
              <a:t>Impact assessment </a:t>
            </a:r>
            <a:endParaRPr lang="en-GB" sz="2400" dirty="0"/>
          </a:p>
          <a:p>
            <a:pPr marL="342900" indent="-342900">
              <a:buAutoNum type="arabicPeriod"/>
            </a:pPr>
            <a:r>
              <a:rPr lang="en-GB" sz="2400" b="1" dirty="0"/>
              <a:t>Interpretation </a:t>
            </a:r>
          </a:p>
          <a:p>
            <a:pPr marL="342900" indent="-342900">
              <a:buAutoNum type="arabicPeriod"/>
            </a:pPr>
            <a:endParaRPr lang="en-GB" sz="2400" b="1" dirty="0"/>
          </a:p>
          <a:p>
            <a:pPr marL="0" indent="0">
              <a:buNone/>
            </a:pPr>
            <a:r>
              <a:rPr lang="en-GB" sz="2400" b="1" dirty="0"/>
              <a:t>Therefore, LCC and S-LCA also is mentioned in this chapter. </a:t>
            </a:r>
          </a:p>
          <a:p>
            <a:endParaRPr lang="sv-SE" b="1" dirty="0"/>
          </a:p>
        </p:txBody>
      </p:sp>
      <p:sp>
        <p:nvSpPr>
          <p:cNvPr id="4" name="Slide Number Placeholder 3"/>
          <p:cNvSpPr>
            <a:spLocks noGrp="1"/>
          </p:cNvSpPr>
          <p:nvPr>
            <p:ph type="sldNum" sz="quarter" idx="5"/>
          </p:nvPr>
        </p:nvSpPr>
        <p:spPr/>
        <p:txBody>
          <a:bodyPr/>
          <a:lstStyle/>
          <a:p>
            <a:fld id="{56F27705-2196-417A-A13D-48C8CEB92D2A}" type="slidenum">
              <a:rPr lang="sv-SE" smtClean="0"/>
              <a:t>119</a:t>
            </a:fld>
            <a:endParaRPr lang="sv-SE"/>
          </a:p>
        </p:txBody>
      </p:sp>
    </p:spTree>
    <p:extLst>
      <p:ext uri="{BB962C8B-B14F-4D97-AF65-F5344CB8AC3E}">
        <p14:creationId xmlns:p14="http://schemas.microsoft.com/office/powerpoint/2010/main" val="14977280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sz="1800" b="0" i="0" u="none" strike="noStrike" baseline="0">
              <a:solidFill>
                <a:srgbClr val="000000"/>
              </a:solidFill>
              <a:latin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4DB91F-1AD8-437C-8866-3636784D085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02007169"/>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fld id="{F84DB91F-1AD8-437C-8866-3636784D0854}" type="slidenum">
              <a:rPr lang="en-GB" smtClean="0"/>
              <a:t>120</a:t>
            </a:fld>
            <a:endParaRPr lang="en-GB"/>
          </a:p>
        </p:txBody>
      </p:sp>
    </p:spTree>
    <p:extLst>
      <p:ext uri="{BB962C8B-B14F-4D97-AF65-F5344CB8AC3E}">
        <p14:creationId xmlns:p14="http://schemas.microsoft.com/office/powerpoint/2010/main" val="893997556"/>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err="1"/>
              <a:t>Introduction</a:t>
            </a:r>
            <a:r>
              <a:rPr lang="sv-SE"/>
              <a:t> </a:t>
            </a:r>
            <a:r>
              <a:rPr lang="sv-SE" err="1"/>
              <a:t>of</a:t>
            </a:r>
            <a:r>
              <a:rPr lang="sv-SE"/>
              <a:t> LCA is to </a:t>
            </a:r>
            <a:r>
              <a:rPr lang="sv-SE" err="1"/>
              <a:t>introduce</a:t>
            </a:r>
            <a:r>
              <a:rPr lang="sv-SE"/>
              <a:t> the </a:t>
            </a:r>
            <a:r>
              <a:rPr lang="sv-SE" err="1"/>
              <a:t>concept</a:t>
            </a:r>
            <a:r>
              <a:rPr lang="sv-SE"/>
              <a:t> </a:t>
            </a:r>
            <a:r>
              <a:rPr lang="sv-SE" err="1"/>
              <a:t>of</a:t>
            </a:r>
            <a:r>
              <a:rPr lang="sv-SE"/>
              <a:t> LCA and </a:t>
            </a:r>
            <a:r>
              <a:rPr lang="sv-SE" err="1"/>
              <a:t>what</a:t>
            </a:r>
            <a:r>
              <a:rPr lang="sv-SE"/>
              <a:t> the </a:t>
            </a:r>
            <a:r>
              <a:rPr lang="sv-SE" err="1"/>
              <a:t>method</a:t>
            </a:r>
            <a:r>
              <a:rPr lang="sv-SE"/>
              <a:t> is </a:t>
            </a:r>
            <a:r>
              <a:rPr lang="sv-SE" err="1"/>
              <a:t>used</a:t>
            </a:r>
            <a:r>
              <a:rPr lang="sv-SE"/>
              <a:t> for. </a:t>
            </a:r>
          </a:p>
          <a:p>
            <a:endParaRPr lang="sv-SE"/>
          </a:p>
          <a:p>
            <a:r>
              <a:rPr lang="sv-SE"/>
              <a:t>LCA is a </a:t>
            </a:r>
            <a:r>
              <a:rPr lang="sv-SE" sz="1200" kern="100" err="1">
                <a:solidFill>
                  <a:srgbClr val="404040"/>
                </a:solidFill>
                <a:latin typeface="+mj-lt"/>
              </a:rPr>
              <a:t>a</a:t>
            </a:r>
            <a:r>
              <a:rPr lang="sv-SE" sz="1200" kern="100">
                <a:solidFill>
                  <a:srgbClr val="404040"/>
                </a:solidFill>
                <a:latin typeface="+mj-lt"/>
              </a:rPr>
              <a:t> </a:t>
            </a:r>
            <a:r>
              <a:rPr lang="sv-SE" sz="1200" kern="100" err="1">
                <a:solidFill>
                  <a:srgbClr val="404040"/>
                </a:solidFill>
                <a:latin typeface="+mj-lt"/>
              </a:rPr>
              <a:t>methodology</a:t>
            </a:r>
            <a:r>
              <a:rPr lang="sv-SE" sz="1200" kern="100">
                <a:solidFill>
                  <a:srgbClr val="404040"/>
                </a:solidFill>
                <a:latin typeface="+mj-lt"/>
              </a:rPr>
              <a:t> </a:t>
            </a:r>
            <a:r>
              <a:rPr lang="sv-SE" sz="1200" kern="100" err="1">
                <a:solidFill>
                  <a:srgbClr val="404040"/>
                </a:solidFill>
                <a:latin typeface="+mj-lt"/>
              </a:rPr>
              <a:t>used</a:t>
            </a:r>
            <a:r>
              <a:rPr lang="sv-SE" sz="1200" kern="100">
                <a:solidFill>
                  <a:srgbClr val="404040"/>
                </a:solidFill>
                <a:latin typeface="+mj-lt"/>
              </a:rPr>
              <a:t> to </a:t>
            </a:r>
            <a:r>
              <a:rPr lang="sv-SE" sz="1200" kern="100" err="1">
                <a:solidFill>
                  <a:srgbClr val="404040"/>
                </a:solidFill>
                <a:latin typeface="+mj-lt"/>
              </a:rPr>
              <a:t>assess</a:t>
            </a:r>
            <a:r>
              <a:rPr lang="sv-SE" sz="1200" kern="100">
                <a:solidFill>
                  <a:srgbClr val="404040"/>
                </a:solidFill>
                <a:latin typeface="+mj-lt"/>
              </a:rPr>
              <a:t> the </a:t>
            </a:r>
            <a:r>
              <a:rPr lang="sv-SE" sz="1200" kern="100" err="1">
                <a:solidFill>
                  <a:srgbClr val="404040"/>
                </a:solidFill>
                <a:latin typeface="+mj-lt"/>
              </a:rPr>
              <a:t>environmental</a:t>
            </a:r>
            <a:r>
              <a:rPr lang="sv-SE" sz="1200" kern="100">
                <a:solidFill>
                  <a:srgbClr val="404040"/>
                </a:solidFill>
                <a:latin typeface="+mj-lt"/>
              </a:rPr>
              <a:t> </a:t>
            </a:r>
            <a:r>
              <a:rPr lang="sv-SE" sz="1200" kern="100" err="1">
                <a:solidFill>
                  <a:srgbClr val="404040"/>
                </a:solidFill>
                <a:latin typeface="+mj-lt"/>
              </a:rPr>
              <a:t>impact</a:t>
            </a:r>
            <a:r>
              <a:rPr lang="sv-SE" sz="1200" kern="100">
                <a:solidFill>
                  <a:srgbClr val="404040"/>
                </a:solidFill>
                <a:latin typeface="+mj-lt"/>
              </a:rPr>
              <a:t> </a:t>
            </a:r>
            <a:r>
              <a:rPr lang="sv-SE" sz="1200" kern="100" err="1">
                <a:solidFill>
                  <a:srgbClr val="404040"/>
                </a:solidFill>
                <a:latin typeface="+mj-lt"/>
              </a:rPr>
              <a:t>of</a:t>
            </a:r>
            <a:r>
              <a:rPr lang="sv-SE" sz="1200" kern="100">
                <a:solidFill>
                  <a:srgbClr val="404040"/>
                </a:solidFill>
                <a:latin typeface="+mj-lt"/>
              </a:rPr>
              <a:t> a </a:t>
            </a:r>
            <a:r>
              <a:rPr lang="sv-SE" sz="1200" kern="100" err="1">
                <a:solidFill>
                  <a:srgbClr val="404040"/>
                </a:solidFill>
                <a:latin typeface="+mj-lt"/>
              </a:rPr>
              <a:t>product</a:t>
            </a:r>
            <a:r>
              <a:rPr lang="sv-SE" sz="1200" kern="100">
                <a:solidFill>
                  <a:srgbClr val="404040"/>
                </a:solidFill>
                <a:latin typeface="+mj-lt"/>
              </a:rPr>
              <a:t> or service </a:t>
            </a:r>
            <a:r>
              <a:rPr lang="sv-SE" sz="1200" kern="100" err="1">
                <a:solidFill>
                  <a:srgbClr val="404040"/>
                </a:solidFill>
                <a:latin typeface="+mj-lt"/>
              </a:rPr>
              <a:t>throughout</a:t>
            </a:r>
            <a:r>
              <a:rPr lang="sv-SE" sz="1200" kern="100">
                <a:solidFill>
                  <a:srgbClr val="404040"/>
                </a:solidFill>
                <a:latin typeface="+mj-lt"/>
              </a:rPr>
              <a:t> </a:t>
            </a:r>
            <a:r>
              <a:rPr lang="sv-SE" sz="1200" kern="100" err="1">
                <a:solidFill>
                  <a:srgbClr val="404040"/>
                </a:solidFill>
                <a:latin typeface="+mj-lt"/>
              </a:rPr>
              <a:t>its</a:t>
            </a:r>
            <a:r>
              <a:rPr lang="sv-SE" sz="1200" kern="100">
                <a:solidFill>
                  <a:srgbClr val="404040"/>
                </a:solidFill>
                <a:latin typeface="+mj-lt"/>
              </a:rPr>
              <a:t> </a:t>
            </a:r>
            <a:r>
              <a:rPr lang="sv-SE" sz="1200" kern="100" err="1">
                <a:solidFill>
                  <a:srgbClr val="404040"/>
                </a:solidFill>
                <a:latin typeface="+mj-lt"/>
              </a:rPr>
              <a:t>life</a:t>
            </a:r>
            <a:r>
              <a:rPr lang="sv-SE" sz="1200" kern="100">
                <a:solidFill>
                  <a:srgbClr val="404040"/>
                </a:solidFill>
                <a:latin typeface="+mj-lt"/>
              </a:rPr>
              <a:t> </a:t>
            </a:r>
            <a:r>
              <a:rPr lang="sv-SE" sz="1200" kern="100" err="1">
                <a:solidFill>
                  <a:srgbClr val="404040"/>
                </a:solidFill>
                <a:latin typeface="+mj-lt"/>
              </a:rPr>
              <a:t>cycle</a:t>
            </a:r>
            <a:r>
              <a:rPr lang="sv-SE" sz="1200" kern="100">
                <a:solidFill>
                  <a:srgbClr val="404040"/>
                </a:solidFill>
                <a:latin typeface="+mj-lt"/>
              </a:rPr>
              <a:t> i.e. from </a:t>
            </a:r>
            <a:r>
              <a:rPr lang="sv-SE" sz="1200" kern="100" err="1">
                <a:solidFill>
                  <a:srgbClr val="404040"/>
                </a:solidFill>
                <a:latin typeface="+mj-lt"/>
              </a:rPr>
              <a:t>raw</a:t>
            </a:r>
            <a:r>
              <a:rPr lang="sv-SE" sz="1200" kern="100">
                <a:solidFill>
                  <a:srgbClr val="404040"/>
                </a:solidFill>
                <a:latin typeface="+mj-lt"/>
              </a:rPr>
              <a:t> material </a:t>
            </a:r>
            <a:r>
              <a:rPr lang="sv-SE" sz="1200" kern="100" err="1">
                <a:solidFill>
                  <a:srgbClr val="404040"/>
                </a:solidFill>
                <a:latin typeface="+mj-lt"/>
              </a:rPr>
              <a:t>extraction</a:t>
            </a:r>
            <a:r>
              <a:rPr lang="sv-SE" sz="1200" kern="100">
                <a:solidFill>
                  <a:srgbClr val="404040"/>
                </a:solidFill>
                <a:latin typeface="+mj-lt"/>
              </a:rPr>
              <a:t> to the </a:t>
            </a:r>
            <a:r>
              <a:rPr lang="sv-SE" sz="1200" kern="100" err="1">
                <a:solidFill>
                  <a:srgbClr val="404040"/>
                </a:solidFill>
                <a:latin typeface="+mj-lt"/>
              </a:rPr>
              <a:t>disposal</a:t>
            </a:r>
            <a:r>
              <a:rPr lang="sv-SE" sz="1200" kern="100">
                <a:solidFill>
                  <a:srgbClr val="404040"/>
                </a:solidFill>
                <a:latin typeface="+mj-lt"/>
              </a:rPr>
              <a:t>/recycling </a:t>
            </a:r>
            <a:r>
              <a:rPr lang="sv-SE" sz="1200" kern="100" err="1">
                <a:solidFill>
                  <a:srgbClr val="404040"/>
                </a:solidFill>
                <a:latin typeface="+mj-lt"/>
              </a:rPr>
              <a:t>of</a:t>
            </a:r>
            <a:r>
              <a:rPr lang="sv-SE" sz="1200" kern="100">
                <a:solidFill>
                  <a:srgbClr val="404040"/>
                </a:solidFill>
                <a:latin typeface="+mj-lt"/>
              </a:rPr>
              <a:t> it. </a:t>
            </a:r>
            <a:endParaRPr lang="sv-SE"/>
          </a:p>
        </p:txBody>
      </p:sp>
      <p:sp>
        <p:nvSpPr>
          <p:cNvPr id="4" name="Slide Number Placeholder 3"/>
          <p:cNvSpPr>
            <a:spLocks noGrp="1"/>
          </p:cNvSpPr>
          <p:nvPr>
            <p:ph type="sldNum" sz="quarter" idx="5"/>
          </p:nvPr>
        </p:nvSpPr>
        <p:spPr/>
        <p:txBody>
          <a:bodyPr/>
          <a:lstStyle/>
          <a:p>
            <a:fld id="{F84DB91F-1AD8-437C-8866-3636784D0854}" type="slidenum">
              <a:rPr lang="en-GB" smtClean="0"/>
              <a:t>121</a:t>
            </a:fld>
            <a:endParaRPr lang="en-GB"/>
          </a:p>
        </p:txBody>
      </p:sp>
    </p:spTree>
    <p:extLst>
      <p:ext uri="{BB962C8B-B14F-4D97-AF65-F5344CB8AC3E}">
        <p14:creationId xmlns:p14="http://schemas.microsoft.com/office/powerpoint/2010/main" val="482741753"/>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t>This is an example for the life cycle concept “</a:t>
            </a:r>
            <a:r>
              <a:rPr lang="en-GB" b="1"/>
              <a:t>cradle-to-grave</a:t>
            </a:r>
            <a:r>
              <a:rPr lang="en-GB"/>
              <a:t>”. The picture depicts life cycle of a wooden chair, starting from growing the trees and ending by incineration of the chair after its use phase. What’s happen after the product is discarded is called “end-of-life” (</a:t>
            </a:r>
            <a:r>
              <a:rPr lang="en-GB" err="1"/>
              <a:t>EoL</a:t>
            </a:r>
            <a:r>
              <a:rPr lang="en-GB"/>
              <a:t>). The product can be disposed of in different ways e.g. through incineration, recycling or landfill.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a:p>
          <a:p>
            <a:pPr marL="0" marR="0" lvl="0" indent="0" algn="l" defTabSz="914400" rtl="0" eaLnBrk="1" fontAlgn="auto" latinLnBrk="0" hangingPunct="1">
              <a:lnSpc>
                <a:spcPct val="100000"/>
              </a:lnSpc>
              <a:spcBef>
                <a:spcPts val="0"/>
              </a:spcBef>
              <a:spcAft>
                <a:spcPts val="0"/>
              </a:spcAft>
              <a:buClrTx/>
              <a:buSzTx/>
              <a:buFontTx/>
              <a:buNone/>
              <a:tabLst/>
              <a:defRPr/>
            </a:pPr>
            <a:r>
              <a:rPr lang="en-GB"/>
              <a:t>Other normal terms used when refer to different stages in life cycle is upstream and downstream. The part from raw material extraction process up to the production of the product is usually referred to as </a:t>
            </a:r>
            <a:r>
              <a:rPr lang="en-GB" b="1"/>
              <a:t>upstream</a:t>
            </a:r>
            <a:r>
              <a:rPr lang="en-GB"/>
              <a:t> processes and from use stage to end-of-life is called </a:t>
            </a:r>
            <a:r>
              <a:rPr lang="en-GB" b="1"/>
              <a:t>downstream</a:t>
            </a:r>
            <a:r>
              <a:rPr lang="en-GB"/>
              <a:t> process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a:p>
          <a:p>
            <a:endParaRPr lang="en-GB"/>
          </a:p>
        </p:txBody>
      </p:sp>
      <p:sp>
        <p:nvSpPr>
          <p:cNvPr id="4" name="Slide Number Placeholder 3"/>
          <p:cNvSpPr>
            <a:spLocks noGrp="1"/>
          </p:cNvSpPr>
          <p:nvPr>
            <p:ph type="sldNum" sz="quarter" idx="10"/>
          </p:nvPr>
        </p:nvSpPr>
        <p:spPr/>
        <p:txBody>
          <a:bodyPr/>
          <a:lstStyle/>
          <a:p>
            <a:fld id="{56F27705-2196-417A-A13D-48C8CEB92D2A}" type="slidenum">
              <a:rPr lang="sv-SE" smtClean="0"/>
              <a:t>122</a:t>
            </a:fld>
            <a:endParaRPr lang="sv-SE"/>
          </a:p>
        </p:txBody>
      </p:sp>
    </p:spTree>
    <p:extLst>
      <p:ext uri="{BB962C8B-B14F-4D97-AF65-F5344CB8AC3E}">
        <p14:creationId xmlns:p14="http://schemas.microsoft.com/office/powerpoint/2010/main" val="1431071978"/>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031"/>
          <p:cNvSpPr>
            <a:spLocks noGrp="1" noChangeArrowheads="1"/>
          </p:cNvSpPr>
          <p:nvPr>
            <p:ph type="sldNum" sz="quarter" idx="5"/>
          </p:nvPr>
        </p:nvSpPr>
        <p:spPr>
          <a:ln/>
        </p:spPr>
        <p:txBody>
          <a:bodyPr/>
          <a:lstStyle/>
          <a:p>
            <a:fld id="{2E3E1D74-C1B3-4432-A755-F98978B717B5}" type="slidenum">
              <a:rPr lang="sv-SE"/>
              <a:pPr/>
              <a:t>123</a:t>
            </a:fld>
            <a:endParaRPr lang="sv-SE"/>
          </a:p>
        </p:txBody>
      </p:sp>
      <p:sp>
        <p:nvSpPr>
          <p:cNvPr id="721922" name="Rectangle 2"/>
          <p:cNvSpPr>
            <a:spLocks noGrp="1" noRot="1" noChangeAspect="1" noChangeArrowheads="1" noTextEdit="1"/>
          </p:cNvSpPr>
          <p:nvPr>
            <p:ph type="sldImg"/>
          </p:nvPr>
        </p:nvSpPr>
        <p:spPr>
          <a:xfrm>
            <a:off x="2697163" y="509588"/>
            <a:ext cx="4532312" cy="2549525"/>
          </a:xfrm>
          <a:ln/>
        </p:spPr>
      </p:sp>
      <p:sp>
        <p:nvSpPr>
          <p:cNvPr id="721923" name="Rectangle 3"/>
          <p:cNvSpPr>
            <a:spLocks noGrp="1" noChangeArrowheads="1"/>
          </p:cNvSpPr>
          <p:nvPr>
            <p:ph type="body" idx="1"/>
          </p:nvPr>
        </p:nvSpPr>
        <p:spPr/>
        <p:txBody>
          <a:bodyPr/>
          <a:lstStyle/>
          <a:p>
            <a:r>
              <a:rPr lang="sv-SE"/>
              <a:t>LCA </a:t>
            </a:r>
            <a:r>
              <a:rPr lang="sv-SE" err="1"/>
              <a:t>can</a:t>
            </a:r>
            <a:r>
              <a:rPr lang="sv-SE"/>
              <a:t> be </a:t>
            </a:r>
            <a:r>
              <a:rPr lang="sv-SE" err="1"/>
              <a:t>useful</a:t>
            </a:r>
            <a:r>
              <a:rPr lang="sv-SE"/>
              <a:t> for </a:t>
            </a:r>
            <a:r>
              <a:rPr lang="sv-SE" err="1"/>
              <a:t>many</a:t>
            </a:r>
            <a:r>
              <a:rPr lang="sv-SE"/>
              <a:t> </a:t>
            </a:r>
            <a:r>
              <a:rPr lang="sv-SE" err="1"/>
              <a:t>reasons</a:t>
            </a:r>
            <a:r>
              <a:rPr lang="sv-SE"/>
              <a:t>: </a:t>
            </a:r>
          </a:p>
          <a:p>
            <a:endParaRPr lang="sv-SE"/>
          </a:p>
          <a:p>
            <a:r>
              <a:rPr lang="sv-SE"/>
              <a:t>The </a:t>
            </a:r>
            <a:r>
              <a:rPr lang="sv-SE" err="1"/>
              <a:t>first</a:t>
            </a:r>
            <a:r>
              <a:rPr lang="sv-SE"/>
              <a:t> </a:t>
            </a:r>
            <a:r>
              <a:rPr lang="sv-SE" err="1"/>
              <a:t>obvious</a:t>
            </a:r>
            <a:r>
              <a:rPr lang="sv-SE"/>
              <a:t> </a:t>
            </a:r>
            <a:r>
              <a:rPr lang="sv-SE" err="1"/>
              <a:t>reason</a:t>
            </a:r>
            <a:r>
              <a:rPr lang="sv-SE"/>
              <a:t> is </a:t>
            </a:r>
            <a:r>
              <a:rPr lang="sv-SE" err="1"/>
              <a:t>that</a:t>
            </a:r>
            <a:r>
              <a:rPr lang="sv-SE"/>
              <a:t> it </a:t>
            </a:r>
            <a:r>
              <a:rPr lang="sv-SE" err="1"/>
              <a:t>can</a:t>
            </a:r>
            <a:r>
              <a:rPr lang="sv-SE"/>
              <a:t> be </a:t>
            </a:r>
            <a:r>
              <a:rPr lang="sv-SE" err="1"/>
              <a:t>used</a:t>
            </a:r>
            <a:r>
              <a:rPr lang="sv-SE"/>
              <a:t> to </a:t>
            </a:r>
            <a:r>
              <a:rPr lang="sv-SE" err="1"/>
              <a:t>quantify</a:t>
            </a:r>
            <a:r>
              <a:rPr lang="sv-SE"/>
              <a:t> the </a:t>
            </a:r>
            <a:r>
              <a:rPr lang="sv-SE" err="1"/>
              <a:t>environmental</a:t>
            </a:r>
            <a:r>
              <a:rPr lang="sv-SE"/>
              <a:t> </a:t>
            </a:r>
            <a:r>
              <a:rPr lang="sv-SE" err="1"/>
              <a:t>impact</a:t>
            </a:r>
            <a:r>
              <a:rPr lang="sv-SE"/>
              <a:t> </a:t>
            </a:r>
            <a:r>
              <a:rPr lang="sv-SE" err="1"/>
              <a:t>of</a:t>
            </a:r>
            <a:r>
              <a:rPr lang="sv-SE"/>
              <a:t> the </a:t>
            </a:r>
            <a:r>
              <a:rPr lang="sv-SE" err="1"/>
              <a:t>product</a:t>
            </a:r>
            <a:r>
              <a:rPr lang="sv-SE"/>
              <a:t>. By </a:t>
            </a:r>
            <a:r>
              <a:rPr lang="sv-SE" err="1"/>
              <a:t>knowing</a:t>
            </a:r>
            <a:r>
              <a:rPr lang="sv-SE"/>
              <a:t> </a:t>
            </a:r>
            <a:r>
              <a:rPr lang="sv-SE" err="1"/>
              <a:t>how</a:t>
            </a:r>
            <a:r>
              <a:rPr lang="sv-SE"/>
              <a:t> </a:t>
            </a:r>
            <a:r>
              <a:rPr lang="sv-SE" err="1"/>
              <a:t>much</a:t>
            </a:r>
            <a:r>
              <a:rPr lang="sv-SE"/>
              <a:t> different </a:t>
            </a:r>
            <a:r>
              <a:rPr lang="sv-SE" err="1"/>
              <a:t>life</a:t>
            </a:r>
            <a:r>
              <a:rPr lang="sv-SE"/>
              <a:t> </a:t>
            </a:r>
            <a:r>
              <a:rPr lang="sv-SE" err="1"/>
              <a:t>cycle</a:t>
            </a:r>
            <a:r>
              <a:rPr lang="sv-SE"/>
              <a:t> </a:t>
            </a:r>
            <a:r>
              <a:rPr lang="sv-SE" err="1"/>
              <a:t>stages</a:t>
            </a:r>
            <a:r>
              <a:rPr lang="sv-SE"/>
              <a:t> </a:t>
            </a:r>
            <a:r>
              <a:rPr lang="sv-SE" err="1"/>
              <a:t>contribute</a:t>
            </a:r>
            <a:r>
              <a:rPr lang="sv-SE"/>
              <a:t> to the </a:t>
            </a:r>
            <a:r>
              <a:rPr lang="sv-SE" err="1"/>
              <a:t>environmental</a:t>
            </a:r>
            <a:r>
              <a:rPr lang="sv-SE"/>
              <a:t> </a:t>
            </a:r>
            <a:r>
              <a:rPr lang="sv-SE" err="1"/>
              <a:t>impact</a:t>
            </a:r>
            <a:r>
              <a:rPr lang="sv-SE"/>
              <a:t>, it is </a:t>
            </a:r>
            <a:r>
              <a:rPr lang="sv-SE" err="1"/>
              <a:t>then</a:t>
            </a:r>
            <a:r>
              <a:rPr lang="sv-SE"/>
              <a:t> </a:t>
            </a:r>
            <a:r>
              <a:rPr lang="sv-SE" err="1"/>
              <a:t>possible</a:t>
            </a:r>
            <a:r>
              <a:rPr lang="sv-SE"/>
              <a:t> to </a:t>
            </a:r>
            <a:r>
              <a:rPr lang="sv-SE" err="1"/>
              <a:t>identify</a:t>
            </a:r>
            <a:r>
              <a:rPr lang="sv-SE"/>
              <a:t> the </a:t>
            </a:r>
            <a:r>
              <a:rPr lang="sv-SE" err="1"/>
              <a:t>main</a:t>
            </a:r>
            <a:r>
              <a:rPr lang="sv-SE"/>
              <a:t> </a:t>
            </a:r>
            <a:r>
              <a:rPr lang="sv-SE" err="1"/>
              <a:t>contributor</a:t>
            </a:r>
            <a:r>
              <a:rPr lang="sv-SE"/>
              <a:t> (source) </a:t>
            </a:r>
            <a:r>
              <a:rPr lang="sv-SE" err="1"/>
              <a:t>of</a:t>
            </a:r>
            <a:r>
              <a:rPr lang="sv-SE"/>
              <a:t> the </a:t>
            </a:r>
            <a:r>
              <a:rPr lang="sv-SE" err="1"/>
              <a:t>impact</a:t>
            </a:r>
            <a:r>
              <a:rPr lang="sv-SE"/>
              <a:t>, </a:t>
            </a:r>
            <a:r>
              <a:rPr lang="sv-SE" err="1"/>
              <a:t>we</a:t>
            </a:r>
            <a:r>
              <a:rPr lang="sv-SE"/>
              <a:t> call </a:t>
            </a:r>
            <a:r>
              <a:rPr lang="sv-SE" err="1"/>
              <a:t>this</a:t>
            </a:r>
            <a:r>
              <a:rPr lang="sv-SE"/>
              <a:t> a </a:t>
            </a:r>
            <a:r>
              <a:rPr lang="sv-SE" err="1"/>
              <a:t>hotspot</a:t>
            </a:r>
            <a:r>
              <a:rPr lang="sv-SE"/>
              <a:t> </a:t>
            </a:r>
            <a:r>
              <a:rPr lang="sv-SE" err="1"/>
              <a:t>analysis</a:t>
            </a:r>
            <a:r>
              <a:rPr lang="sv-SE"/>
              <a:t>. The </a:t>
            </a:r>
            <a:r>
              <a:rPr lang="sv-SE" err="1"/>
              <a:t>hotspot</a:t>
            </a:r>
            <a:r>
              <a:rPr lang="sv-SE"/>
              <a:t> </a:t>
            </a:r>
            <a:r>
              <a:rPr lang="sv-SE" err="1"/>
              <a:t>analysis</a:t>
            </a:r>
            <a:r>
              <a:rPr lang="sv-SE"/>
              <a:t> </a:t>
            </a:r>
            <a:r>
              <a:rPr lang="sv-SE" err="1"/>
              <a:t>can</a:t>
            </a:r>
            <a:r>
              <a:rPr lang="sv-SE"/>
              <a:t> </a:t>
            </a:r>
            <a:r>
              <a:rPr lang="sv-SE" err="1"/>
              <a:t>then</a:t>
            </a:r>
            <a:r>
              <a:rPr lang="sv-SE"/>
              <a:t> be </a:t>
            </a:r>
            <a:r>
              <a:rPr lang="sv-SE" err="1"/>
              <a:t>used</a:t>
            </a:r>
            <a:r>
              <a:rPr lang="sv-SE"/>
              <a:t> to </a:t>
            </a:r>
            <a:r>
              <a:rPr lang="sv-SE" err="1"/>
              <a:t>identify</a:t>
            </a:r>
            <a:r>
              <a:rPr lang="sv-SE"/>
              <a:t> the areas (</a:t>
            </a:r>
            <a:r>
              <a:rPr lang="sv-SE" err="1"/>
              <a:t>e.g</a:t>
            </a:r>
            <a:r>
              <a:rPr lang="sv-SE"/>
              <a:t>. in terms </a:t>
            </a:r>
            <a:r>
              <a:rPr lang="sv-SE" err="1"/>
              <a:t>of</a:t>
            </a:r>
            <a:r>
              <a:rPr lang="sv-SE"/>
              <a:t> materials and </a:t>
            </a:r>
            <a:r>
              <a:rPr lang="sv-SE" err="1"/>
              <a:t>energy</a:t>
            </a:r>
            <a:r>
              <a:rPr lang="sv-SE"/>
              <a:t> in the </a:t>
            </a:r>
            <a:r>
              <a:rPr lang="sv-SE" err="1"/>
              <a:t>life</a:t>
            </a:r>
            <a:r>
              <a:rPr lang="sv-SE"/>
              <a:t> </a:t>
            </a:r>
            <a:r>
              <a:rPr lang="sv-SE" err="1"/>
              <a:t>cycle</a:t>
            </a:r>
            <a:r>
              <a:rPr lang="sv-SE"/>
              <a:t> </a:t>
            </a:r>
            <a:r>
              <a:rPr lang="sv-SE" err="1"/>
              <a:t>stages</a:t>
            </a:r>
            <a:r>
              <a:rPr lang="sv-SE"/>
              <a:t>) </a:t>
            </a:r>
            <a:r>
              <a:rPr lang="sv-SE" err="1"/>
              <a:t>that</a:t>
            </a:r>
            <a:r>
              <a:rPr lang="sv-SE"/>
              <a:t> </a:t>
            </a:r>
            <a:r>
              <a:rPr lang="sv-SE" err="1"/>
              <a:t>can</a:t>
            </a:r>
            <a:r>
              <a:rPr lang="sv-SE"/>
              <a:t> be </a:t>
            </a:r>
            <a:r>
              <a:rPr lang="sv-SE" err="1"/>
              <a:t>improved</a:t>
            </a:r>
            <a:r>
              <a:rPr lang="sv-SE"/>
              <a:t>. </a:t>
            </a:r>
          </a:p>
          <a:p>
            <a:endParaRPr lang="sv-SE"/>
          </a:p>
          <a:p>
            <a:r>
              <a:rPr lang="sv-SE" err="1"/>
              <a:t>Using</a:t>
            </a:r>
            <a:r>
              <a:rPr lang="sv-SE"/>
              <a:t> </a:t>
            </a:r>
            <a:r>
              <a:rPr lang="sv-SE" err="1"/>
              <a:t>life-cycle</a:t>
            </a:r>
            <a:r>
              <a:rPr lang="sv-SE"/>
              <a:t> </a:t>
            </a:r>
            <a:r>
              <a:rPr lang="sv-SE" err="1"/>
              <a:t>perspective</a:t>
            </a:r>
            <a:r>
              <a:rPr lang="sv-SE"/>
              <a:t> is </a:t>
            </a:r>
            <a:r>
              <a:rPr lang="sv-SE" err="1"/>
              <a:t>also</a:t>
            </a:r>
            <a:r>
              <a:rPr lang="sv-SE"/>
              <a:t> </a:t>
            </a:r>
            <a:r>
              <a:rPr lang="sv-SE" err="1"/>
              <a:t>important</a:t>
            </a:r>
            <a:r>
              <a:rPr lang="sv-SE"/>
              <a:t> for </a:t>
            </a:r>
            <a:r>
              <a:rPr lang="sv-SE" err="1"/>
              <a:t>product</a:t>
            </a:r>
            <a:r>
              <a:rPr lang="sv-SE"/>
              <a:t> </a:t>
            </a:r>
            <a:r>
              <a:rPr lang="sv-SE" err="1"/>
              <a:t>development</a:t>
            </a:r>
            <a:r>
              <a:rPr lang="sv-SE"/>
              <a:t> as </a:t>
            </a:r>
            <a:r>
              <a:rPr lang="sv-SE" err="1"/>
              <a:t>isolated</a:t>
            </a:r>
            <a:r>
              <a:rPr lang="sv-SE"/>
              <a:t> </a:t>
            </a:r>
            <a:r>
              <a:rPr lang="sv-SE" err="1"/>
              <a:t>improvement</a:t>
            </a:r>
            <a:r>
              <a:rPr lang="sv-SE"/>
              <a:t> in part </a:t>
            </a:r>
            <a:r>
              <a:rPr lang="sv-SE" err="1"/>
              <a:t>of</a:t>
            </a:r>
            <a:r>
              <a:rPr lang="sv-SE"/>
              <a:t> the system </a:t>
            </a:r>
            <a:r>
              <a:rPr lang="sv-SE" err="1"/>
              <a:t>can</a:t>
            </a:r>
            <a:r>
              <a:rPr lang="sv-SE"/>
              <a:t> cause an </a:t>
            </a:r>
            <a:r>
              <a:rPr lang="sv-SE" err="1"/>
              <a:t>undesireable</a:t>
            </a:r>
            <a:r>
              <a:rPr lang="sv-SE"/>
              <a:t> </a:t>
            </a:r>
            <a:r>
              <a:rPr lang="sv-SE" err="1"/>
              <a:t>effect</a:t>
            </a:r>
            <a:r>
              <a:rPr lang="sv-SE"/>
              <a:t> in </a:t>
            </a:r>
            <a:r>
              <a:rPr lang="sv-SE" err="1"/>
              <a:t>another</a:t>
            </a:r>
            <a:r>
              <a:rPr lang="sv-SE"/>
              <a:t>. </a:t>
            </a:r>
          </a:p>
          <a:p>
            <a:endParaRPr lang="sv-SE"/>
          </a:p>
          <a:p>
            <a:r>
              <a:rPr lang="sv-SE"/>
              <a:t>LCA </a:t>
            </a:r>
            <a:r>
              <a:rPr lang="sv-SE" err="1"/>
              <a:t>provides</a:t>
            </a:r>
            <a:r>
              <a:rPr lang="sv-SE"/>
              <a:t> </a:t>
            </a:r>
            <a:r>
              <a:rPr lang="sv-SE" err="1"/>
              <a:t>useful</a:t>
            </a:r>
            <a:r>
              <a:rPr lang="sv-SE"/>
              <a:t> information </a:t>
            </a:r>
            <a:r>
              <a:rPr lang="sv-SE" err="1"/>
              <a:t>which</a:t>
            </a:r>
            <a:r>
              <a:rPr lang="sv-SE"/>
              <a:t> </a:t>
            </a:r>
            <a:r>
              <a:rPr lang="sv-SE" err="1"/>
              <a:t>can</a:t>
            </a:r>
            <a:r>
              <a:rPr lang="sv-SE"/>
              <a:t> be </a:t>
            </a:r>
            <a:r>
              <a:rPr lang="sv-SE" err="1"/>
              <a:t>used</a:t>
            </a:r>
            <a:r>
              <a:rPr lang="sv-SE"/>
              <a:t> to support in decision </a:t>
            </a:r>
            <a:r>
              <a:rPr lang="sv-SE" err="1"/>
              <a:t>making</a:t>
            </a:r>
            <a:r>
              <a:rPr lang="sv-SE"/>
              <a:t>. </a:t>
            </a:r>
          </a:p>
        </p:txBody>
      </p:sp>
    </p:spTree>
    <p:extLst>
      <p:ext uri="{BB962C8B-B14F-4D97-AF65-F5344CB8AC3E}">
        <p14:creationId xmlns:p14="http://schemas.microsoft.com/office/powerpoint/2010/main" val="2028313192"/>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a:t>Link to ”Life </a:t>
            </a:r>
            <a:r>
              <a:rPr lang="sv-SE" err="1"/>
              <a:t>cycel</a:t>
            </a:r>
            <a:r>
              <a:rPr lang="sv-SE"/>
              <a:t> </a:t>
            </a:r>
            <a:r>
              <a:rPr lang="sv-SE" err="1"/>
              <a:t>assessment</a:t>
            </a:r>
            <a:r>
              <a:rPr lang="sv-SE"/>
              <a:t>” </a:t>
            </a:r>
            <a:r>
              <a:rPr lang="sv-SE" err="1"/>
              <a:t>figure</a:t>
            </a:r>
            <a:r>
              <a:rPr lang="sv-SE"/>
              <a:t>: https://stich.culturalheritage.org/life-cycle-assessment-explained/</a:t>
            </a:r>
          </a:p>
          <a:p>
            <a:endParaRPr lang="sv-SE"/>
          </a:p>
          <a:p>
            <a:r>
              <a:rPr lang="sv-SE" err="1"/>
              <a:t>One</a:t>
            </a:r>
            <a:r>
              <a:rPr lang="sv-SE"/>
              <a:t> common </a:t>
            </a:r>
            <a:r>
              <a:rPr lang="sv-SE" err="1"/>
              <a:t>use</a:t>
            </a:r>
            <a:r>
              <a:rPr lang="sv-SE"/>
              <a:t> </a:t>
            </a:r>
            <a:r>
              <a:rPr lang="sv-SE" err="1"/>
              <a:t>of</a:t>
            </a:r>
            <a:r>
              <a:rPr lang="sv-SE"/>
              <a:t> LCA is to </a:t>
            </a:r>
            <a:r>
              <a:rPr lang="sv-SE" err="1"/>
              <a:t>compare</a:t>
            </a:r>
            <a:r>
              <a:rPr lang="sv-SE"/>
              <a:t> the </a:t>
            </a:r>
            <a:r>
              <a:rPr lang="sv-SE" err="1"/>
              <a:t>environmental</a:t>
            </a:r>
            <a:r>
              <a:rPr lang="sv-SE"/>
              <a:t> </a:t>
            </a:r>
            <a:r>
              <a:rPr lang="sv-SE" err="1"/>
              <a:t>impact</a:t>
            </a:r>
            <a:r>
              <a:rPr lang="sv-SE"/>
              <a:t> </a:t>
            </a:r>
            <a:r>
              <a:rPr lang="sv-SE" err="1"/>
              <a:t>of</a:t>
            </a:r>
            <a:r>
              <a:rPr lang="sv-SE"/>
              <a:t> different </a:t>
            </a:r>
            <a:r>
              <a:rPr lang="sv-SE" err="1"/>
              <a:t>products</a:t>
            </a:r>
            <a:r>
              <a:rPr lang="sv-SE"/>
              <a:t> or scenarios. </a:t>
            </a:r>
            <a:r>
              <a:rPr lang="sv-SE" err="1"/>
              <a:t>However</a:t>
            </a:r>
            <a:r>
              <a:rPr lang="sv-SE"/>
              <a:t>, for the </a:t>
            </a:r>
            <a:r>
              <a:rPr lang="sv-SE" err="1"/>
              <a:t>product</a:t>
            </a:r>
            <a:r>
              <a:rPr lang="sv-SE"/>
              <a:t> to be </a:t>
            </a:r>
            <a:r>
              <a:rPr lang="sv-SE" err="1"/>
              <a:t>comparable</a:t>
            </a:r>
            <a:r>
              <a:rPr lang="sv-SE"/>
              <a:t>, the LCA </a:t>
            </a:r>
            <a:r>
              <a:rPr lang="sv-SE" err="1"/>
              <a:t>needs</a:t>
            </a:r>
            <a:r>
              <a:rPr lang="sv-SE"/>
              <a:t> to be </a:t>
            </a:r>
            <a:r>
              <a:rPr lang="sv-SE" err="1"/>
              <a:t>done</a:t>
            </a:r>
            <a:r>
              <a:rPr lang="sv-SE"/>
              <a:t> </a:t>
            </a:r>
            <a:r>
              <a:rPr lang="sv-SE" err="1"/>
              <a:t>with</a:t>
            </a:r>
            <a:r>
              <a:rPr lang="sv-SE"/>
              <a:t> the same LCA </a:t>
            </a:r>
            <a:r>
              <a:rPr lang="sv-SE" err="1"/>
              <a:t>method</a:t>
            </a:r>
            <a:r>
              <a:rPr lang="sv-SE"/>
              <a:t> </a:t>
            </a:r>
            <a:r>
              <a:rPr lang="sv-SE" err="1"/>
              <a:t>e.g</a:t>
            </a:r>
            <a:r>
              <a:rPr lang="sv-SE"/>
              <a:t>. system </a:t>
            </a:r>
            <a:r>
              <a:rPr lang="sv-SE" err="1"/>
              <a:t>boundary</a:t>
            </a:r>
            <a:r>
              <a:rPr lang="sv-SE"/>
              <a:t>, </a:t>
            </a:r>
            <a:r>
              <a:rPr lang="sv-SE" err="1"/>
              <a:t>functional</a:t>
            </a:r>
            <a:r>
              <a:rPr lang="sv-SE"/>
              <a:t> </a:t>
            </a:r>
            <a:r>
              <a:rPr lang="sv-SE" err="1"/>
              <a:t>unit</a:t>
            </a:r>
            <a:r>
              <a:rPr lang="sv-SE"/>
              <a:t>, </a:t>
            </a:r>
            <a:r>
              <a:rPr lang="sv-SE" err="1"/>
              <a:t>allocation</a:t>
            </a:r>
            <a:r>
              <a:rPr lang="sv-SE"/>
              <a:t> </a:t>
            </a:r>
            <a:r>
              <a:rPr lang="sv-SE" err="1"/>
              <a:t>methods</a:t>
            </a:r>
            <a:r>
              <a:rPr lang="sv-SE"/>
              <a:t> etc. The </a:t>
            </a:r>
            <a:r>
              <a:rPr lang="sv-SE" err="1"/>
              <a:t>question</a:t>
            </a:r>
            <a:r>
              <a:rPr lang="sv-SE"/>
              <a:t> </a:t>
            </a:r>
            <a:r>
              <a:rPr lang="sv-SE" err="1"/>
              <a:t>whether</a:t>
            </a:r>
            <a:r>
              <a:rPr lang="sv-SE"/>
              <a:t> a </a:t>
            </a:r>
            <a:r>
              <a:rPr lang="sv-SE" err="1"/>
              <a:t>product</a:t>
            </a:r>
            <a:r>
              <a:rPr lang="sv-SE"/>
              <a:t> i </a:t>
            </a:r>
            <a:r>
              <a:rPr lang="sv-SE" err="1"/>
              <a:t>better</a:t>
            </a:r>
            <a:r>
              <a:rPr lang="sv-SE"/>
              <a:t> </a:t>
            </a:r>
            <a:r>
              <a:rPr lang="sv-SE" err="1"/>
              <a:t>than</a:t>
            </a:r>
            <a:r>
              <a:rPr lang="sv-SE"/>
              <a:t> </a:t>
            </a:r>
            <a:r>
              <a:rPr lang="sv-SE" err="1"/>
              <a:t>other</a:t>
            </a:r>
            <a:r>
              <a:rPr lang="sv-SE"/>
              <a:t> </a:t>
            </a:r>
            <a:r>
              <a:rPr lang="sv-SE" err="1"/>
              <a:t>also</a:t>
            </a:r>
            <a:r>
              <a:rPr lang="sv-SE"/>
              <a:t> </a:t>
            </a:r>
            <a:r>
              <a:rPr lang="sv-SE" err="1"/>
              <a:t>can</a:t>
            </a:r>
            <a:r>
              <a:rPr lang="sv-SE"/>
              <a:t> </a:t>
            </a:r>
            <a:r>
              <a:rPr lang="sv-SE" err="1"/>
              <a:t>depend</a:t>
            </a:r>
            <a:r>
              <a:rPr lang="sv-SE"/>
              <a:t> on </a:t>
            </a:r>
            <a:r>
              <a:rPr lang="sv-SE" err="1"/>
              <a:t>how</a:t>
            </a:r>
            <a:r>
              <a:rPr lang="sv-SE"/>
              <a:t> the LCA is </a:t>
            </a:r>
            <a:r>
              <a:rPr lang="sv-SE" err="1"/>
              <a:t>calculated</a:t>
            </a:r>
            <a:r>
              <a:rPr lang="sv-SE"/>
              <a:t> so </a:t>
            </a:r>
            <a:r>
              <a:rPr lang="sv-SE" err="1"/>
              <a:t>one</a:t>
            </a:r>
            <a:r>
              <a:rPr lang="sv-SE"/>
              <a:t> </a:t>
            </a:r>
            <a:r>
              <a:rPr lang="sv-SE" err="1"/>
              <a:t>need</a:t>
            </a:r>
            <a:r>
              <a:rPr lang="sv-SE"/>
              <a:t> to be </a:t>
            </a:r>
            <a:r>
              <a:rPr lang="sv-SE" err="1"/>
              <a:t>careful</a:t>
            </a:r>
            <a:r>
              <a:rPr lang="sv-SE"/>
              <a:t> and understand </a:t>
            </a:r>
            <a:r>
              <a:rPr lang="sv-SE" err="1"/>
              <a:t>how</a:t>
            </a:r>
            <a:r>
              <a:rPr lang="sv-SE"/>
              <a:t> the LCA </a:t>
            </a:r>
            <a:r>
              <a:rPr lang="sv-SE" err="1"/>
              <a:t>calculation</a:t>
            </a:r>
            <a:r>
              <a:rPr lang="sv-SE"/>
              <a:t> is </a:t>
            </a:r>
            <a:r>
              <a:rPr lang="sv-SE" err="1"/>
              <a:t>performed</a:t>
            </a:r>
            <a:r>
              <a:rPr lang="sv-SE"/>
              <a:t>. </a:t>
            </a:r>
          </a:p>
        </p:txBody>
      </p:sp>
      <p:sp>
        <p:nvSpPr>
          <p:cNvPr id="4" name="Slide Number Placeholder 3"/>
          <p:cNvSpPr>
            <a:spLocks noGrp="1"/>
          </p:cNvSpPr>
          <p:nvPr>
            <p:ph type="sldNum" sz="quarter" idx="10"/>
          </p:nvPr>
        </p:nvSpPr>
        <p:spPr/>
        <p:txBody>
          <a:bodyPr/>
          <a:lstStyle/>
          <a:p>
            <a:fld id="{0DF52EE8-9F85-4538-AB71-84F96E33F432}" type="slidenum">
              <a:rPr lang="sv-SE" smtClean="0"/>
              <a:t>124</a:t>
            </a:fld>
            <a:endParaRPr lang="sv-SE"/>
          </a:p>
        </p:txBody>
      </p:sp>
    </p:spTree>
    <p:extLst>
      <p:ext uri="{BB962C8B-B14F-4D97-AF65-F5344CB8AC3E}">
        <p14:creationId xmlns:p14="http://schemas.microsoft.com/office/powerpoint/2010/main" val="464488679"/>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a:t>14040:2006:  https://www.iso.org/standard/37456.html</a:t>
            </a:r>
          </a:p>
          <a:p>
            <a:r>
              <a:rPr lang="sv-SE" dirty="0"/>
              <a:t>ISO 14044:2006: https://www.iso.org/standard/38498.html</a:t>
            </a:r>
          </a:p>
          <a:p>
            <a:endParaRPr lang="sv-SE" dirty="0"/>
          </a:p>
          <a:p>
            <a:r>
              <a:rPr lang="sv-SE" dirty="0" err="1"/>
              <a:t>There</a:t>
            </a:r>
            <a:r>
              <a:rPr lang="sv-SE" dirty="0"/>
              <a:t> </a:t>
            </a:r>
            <a:r>
              <a:rPr lang="sv-SE" dirty="0" err="1"/>
              <a:t>are</a:t>
            </a:r>
            <a:r>
              <a:rPr lang="sv-SE" dirty="0"/>
              <a:t> </a:t>
            </a:r>
            <a:r>
              <a:rPr lang="sv-SE" dirty="0" err="1"/>
              <a:t>two</a:t>
            </a:r>
            <a:r>
              <a:rPr lang="sv-SE" dirty="0"/>
              <a:t> ISO standards </a:t>
            </a:r>
            <a:r>
              <a:rPr lang="sv-SE" dirty="0" err="1"/>
              <a:t>that</a:t>
            </a:r>
            <a:r>
              <a:rPr lang="sv-SE" dirty="0"/>
              <a:t> </a:t>
            </a:r>
            <a:r>
              <a:rPr lang="sv-SE" dirty="0" err="1"/>
              <a:t>are</a:t>
            </a:r>
            <a:r>
              <a:rPr lang="sv-SE" dirty="0"/>
              <a:t> relevant for LCA. </a:t>
            </a:r>
            <a:r>
              <a:rPr lang="sv-SE" dirty="0" err="1"/>
              <a:t>One</a:t>
            </a:r>
            <a:r>
              <a:rPr lang="sv-SE" dirty="0"/>
              <a:t> is ISO 14040 </a:t>
            </a:r>
            <a:r>
              <a:rPr lang="sv-SE" dirty="0" err="1"/>
              <a:t>which</a:t>
            </a:r>
            <a:r>
              <a:rPr lang="sv-SE" dirty="0"/>
              <a:t> </a:t>
            </a:r>
            <a:r>
              <a:rPr lang="sv-SE" dirty="0" err="1"/>
              <a:t>provides</a:t>
            </a:r>
            <a:r>
              <a:rPr lang="sv-SE" dirty="0"/>
              <a:t> a </a:t>
            </a:r>
            <a:r>
              <a:rPr lang="sv-SE" b="1" dirty="0"/>
              <a:t>general</a:t>
            </a:r>
            <a:r>
              <a:rPr lang="sv-SE" dirty="0"/>
              <a:t> </a:t>
            </a:r>
            <a:r>
              <a:rPr lang="sv-SE" dirty="0" err="1"/>
              <a:t>principle</a:t>
            </a:r>
            <a:r>
              <a:rPr lang="sv-SE" dirty="0"/>
              <a:t> and </a:t>
            </a:r>
            <a:r>
              <a:rPr lang="sv-SE" dirty="0" err="1"/>
              <a:t>framework</a:t>
            </a:r>
            <a:r>
              <a:rPr lang="sv-SE" dirty="0"/>
              <a:t> </a:t>
            </a:r>
            <a:r>
              <a:rPr lang="sv-SE" dirty="0" err="1"/>
              <a:t>of</a:t>
            </a:r>
            <a:r>
              <a:rPr lang="sv-SE" dirty="0"/>
              <a:t> LCA and the </a:t>
            </a:r>
            <a:r>
              <a:rPr lang="sv-SE" dirty="0" err="1"/>
              <a:t>other</a:t>
            </a:r>
            <a:r>
              <a:rPr lang="sv-SE" dirty="0"/>
              <a:t> is ISO 14044 </a:t>
            </a:r>
            <a:r>
              <a:rPr lang="sv-SE" dirty="0" err="1"/>
              <a:t>which</a:t>
            </a:r>
            <a:r>
              <a:rPr lang="sv-SE" dirty="0"/>
              <a:t> </a:t>
            </a:r>
            <a:r>
              <a:rPr lang="sv-SE" dirty="0" err="1"/>
              <a:t>provides</a:t>
            </a:r>
            <a:r>
              <a:rPr lang="sv-SE" dirty="0"/>
              <a:t> </a:t>
            </a:r>
            <a:r>
              <a:rPr lang="sv-SE" dirty="0" err="1"/>
              <a:t>more</a:t>
            </a:r>
            <a:r>
              <a:rPr lang="sv-SE" dirty="0"/>
              <a:t> </a:t>
            </a:r>
            <a:r>
              <a:rPr lang="sv-SE" dirty="0" err="1"/>
              <a:t>specific</a:t>
            </a:r>
            <a:r>
              <a:rPr lang="sv-SE" dirty="0"/>
              <a:t> </a:t>
            </a:r>
            <a:r>
              <a:rPr lang="sv-SE" dirty="0" err="1"/>
              <a:t>requirements</a:t>
            </a:r>
            <a:r>
              <a:rPr lang="sv-SE" dirty="0"/>
              <a:t> </a:t>
            </a:r>
            <a:r>
              <a:rPr lang="sv-SE" dirty="0" err="1"/>
              <a:t>when</a:t>
            </a:r>
            <a:r>
              <a:rPr lang="sv-SE" dirty="0"/>
              <a:t> </a:t>
            </a:r>
            <a:r>
              <a:rPr lang="sv-SE" dirty="0" err="1"/>
              <a:t>performing</a:t>
            </a:r>
            <a:r>
              <a:rPr lang="sv-SE" dirty="0"/>
              <a:t> LCA. </a:t>
            </a:r>
          </a:p>
          <a:p>
            <a:endParaRPr lang="sv-SE" dirty="0"/>
          </a:p>
          <a:p>
            <a:r>
              <a:rPr lang="sv-SE" dirty="0"/>
              <a:t>The </a:t>
            </a:r>
            <a:r>
              <a:rPr lang="sv-SE" dirty="0" err="1"/>
              <a:t>methods</a:t>
            </a:r>
            <a:r>
              <a:rPr lang="sv-SE" dirty="0"/>
              <a:t> </a:t>
            </a:r>
            <a:r>
              <a:rPr lang="sv-SE" dirty="0" err="1"/>
              <a:t>are</a:t>
            </a:r>
            <a:r>
              <a:rPr lang="sv-SE" dirty="0"/>
              <a:t> general </a:t>
            </a:r>
            <a:r>
              <a:rPr lang="sv-SE" dirty="0" err="1"/>
              <a:t>which</a:t>
            </a:r>
            <a:r>
              <a:rPr lang="sv-SE" dirty="0"/>
              <a:t> is </a:t>
            </a:r>
            <a:r>
              <a:rPr lang="sv-SE" dirty="0" err="1"/>
              <a:t>why</a:t>
            </a:r>
            <a:r>
              <a:rPr lang="sv-SE" dirty="0"/>
              <a:t> for a </a:t>
            </a:r>
            <a:r>
              <a:rPr lang="sv-SE" dirty="0" err="1"/>
              <a:t>specific</a:t>
            </a:r>
            <a:r>
              <a:rPr lang="sv-SE" dirty="0"/>
              <a:t> </a:t>
            </a:r>
            <a:r>
              <a:rPr lang="sv-SE" dirty="0" err="1"/>
              <a:t>product</a:t>
            </a:r>
            <a:r>
              <a:rPr lang="sv-SE" dirty="0"/>
              <a:t> </a:t>
            </a:r>
            <a:r>
              <a:rPr lang="sv-SE" dirty="0" err="1"/>
              <a:t>category</a:t>
            </a:r>
            <a:r>
              <a:rPr lang="sv-SE" dirty="0"/>
              <a:t> </a:t>
            </a:r>
            <a:r>
              <a:rPr lang="sv-SE" dirty="0" err="1"/>
              <a:t>there</a:t>
            </a:r>
            <a:r>
              <a:rPr lang="sv-SE" dirty="0"/>
              <a:t> </a:t>
            </a:r>
            <a:r>
              <a:rPr lang="sv-SE" dirty="0" err="1"/>
              <a:t>shall</a:t>
            </a:r>
            <a:r>
              <a:rPr lang="sv-SE" dirty="0"/>
              <a:t> be a </a:t>
            </a:r>
            <a:r>
              <a:rPr lang="sv-SE" dirty="0" err="1"/>
              <a:t>specific</a:t>
            </a:r>
            <a:r>
              <a:rPr lang="sv-SE" dirty="0"/>
              <a:t> LCA </a:t>
            </a:r>
            <a:r>
              <a:rPr lang="sv-SE" dirty="0" err="1"/>
              <a:t>rules</a:t>
            </a:r>
            <a:r>
              <a:rPr lang="sv-SE" dirty="0"/>
              <a:t> </a:t>
            </a:r>
            <a:r>
              <a:rPr lang="sv-SE" dirty="0" err="1"/>
              <a:t>that</a:t>
            </a:r>
            <a:r>
              <a:rPr lang="sv-SE" dirty="0"/>
              <a:t> </a:t>
            </a:r>
            <a:r>
              <a:rPr lang="sv-SE" dirty="0" err="1"/>
              <a:t>dictate</a:t>
            </a:r>
            <a:r>
              <a:rPr lang="sv-SE" dirty="0"/>
              <a:t> </a:t>
            </a:r>
            <a:r>
              <a:rPr lang="sv-SE" dirty="0" err="1"/>
              <a:t>how</a:t>
            </a:r>
            <a:r>
              <a:rPr lang="sv-SE" dirty="0"/>
              <a:t> LCA </a:t>
            </a:r>
            <a:r>
              <a:rPr lang="sv-SE" dirty="0" err="1"/>
              <a:t>shall</a:t>
            </a:r>
            <a:r>
              <a:rPr lang="sv-SE" dirty="0"/>
              <a:t> be </a:t>
            </a:r>
            <a:r>
              <a:rPr lang="sv-SE" dirty="0" err="1"/>
              <a:t>done</a:t>
            </a:r>
            <a:r>
              <a:rPr lang="sv-SE" dirty="0"/>
              <a:t>. </a:t>
            </a:r>
          </a:p>
        </p:txBody>
      </p:sp>
      <p:sp>
        <p:nvSpPr>
          <p:cNvPr id="4" name="Slide Number Placeholder 3"/>
          <p:cNvSpPr>
            <a:spLocks noGrp="1"/>
          </p:cNvSpPr>
          <p:nvPr>
            <p:ph type="sldNum" sz="quarter" idx="5"/>
          </p:nvPr>
        </p:nvSpPr>
        <p:spPr/>
        <p:txBody>
          <a:bodyPr/>
          <a:lstStyle/>
          <a:p>
            <a:fld id="{56F27705-2196-417A-A13D-48C8CEB92D2A}" type="slidenum">
              <a:rPr lang="sv-SE" smtClean="0"/>
              <a:t>125</a:t>
            </a:fld>
            <a:endParaRPr lang="sv-SE"/>
          </a:p>
        </p:txBody>
      </p:sp>
    </p:spTree>
    <p:extLst>
      <p:ext uri="{BB962C8B-B14F-4D97-AF65-F5344CB8AC3E}">
        <p14:creationId xmlns:p14="http://schemas.microsoft.com/office/powerpoint/2010/main" val="1466431598"/>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err="1"/>
              <a:t>This</a:t>
            </a:r>
            <a:r>
              <a:rPr lang="sv-SE" dirty="0"/>
              <a:t> is the general </a:t>
            </a:r>
            <a:r>
              <a:rPr lang="sv-SE" dirty="0" err="1"/>
              <a:t>framework</a:t>
            </a:r>
            <a:r>
              <a:rPr lang="sv-SE" dirty="0"/>
              <a:t> </a:t>
            </a:r>
            <a:r>
              <a:rPr lang="sv-SE" dirty="0" err="1"/>
              <a:t>of</a:t>
            </a:r>
            <a:r>
              <a:rPr lang="sv-SE" dirty="0"/>
              <a:t> LCA </a:t>
            </a:r>
          </a:p>
          <a:p>
            <a:endParaRPr lang="sv-SE" dirty="0"/>
          </a:p>
          <a:p>
            <a:r>
              <a:rPr lang="en-GB" dirty="0"/>
              <a:t>There are four steps.</a:t>
            </a:r>
          </a:p>
          <a:p>
            <a:endParaRPr lang="en-GB" dirty="0"/>
          </a:p>
          <a:p>
            <a:pPr marL="228600" indent="-228600">
              <a:buAutoNum type="arabicPeriod"/>
            </a:pPr>
            <a:r>
              <a:rPr lang="en-GB" dirty="0"/>
              <a:t>Goal and scope: in this step the goal and target audience are identified and all methodological choices for performing LCA are determined. </a:t>
            </a:r>
          </a:p>
          <a:p>
            <a:pPr marL="228600" indent="-228600">
              <a:buAutoNum type="arabicPeriod"/>
            </a:pPr>
            <a:r>
              <a:rPr lang="en-GB" dirty="0"/>
              <a:t>Inventory analysis: a flow chart according the system boundary is constructed where all environmental relevant flows are mapped and quantified. </a:t>
            </a:r>
          </a:p>
          <a:p>
            <a:pPr marL="228600" indent="-228600">
              <a:buAutoNum type="arabicPeriod"/>
            </a:pPr>
            <a:r>
              <a:rPr lang="en-GB" dirty="0"/>
              <a:t>Impact assessment : the quantified environmental flows are converted into environmental impact. In other words in means that the flows i.e. emissions that contribute to a certain environmental impact e.g. climate change or acidification are grouped together and they are converted into one common unit. An example for this can be CO2, CH4 and N2O which are greenhouse gases, theses emissions are converted into one common unit, which is CO2-equivalent. </a:t>
            </a:r>
          </a:p>
          <a:p>
            <a:pPr marL="228600" indent="-228600">
              <a:buAutoNum type="arabicPeriod"/>
            </a:pPr>
            <a:r>
              <a:rPr lang="en-GB" dirty="0"/>
              <a:t>Interpretation: the results are processed to make it more useful and comprehensible for the target audience. It can be done by e.g. present the result per life cycle stages, per material and energy used, per types of emissions or by changing format of the presentation etc.  By doing this, a conclusion is drawn and recommendations can be done. </a:t>
            </a:r>
          </a:p>
          <a:p>
            <a:pPr marL="228600" indent="-228600">
              <a:buAutoNum type="arabicPeriod"/>
            </a:pPr>
            <a:endParaRPr lang="en-GB" dirty="0"/>
          </a:p>
          <a:p>
            <a:pPr marL="0" indent="0">
              <a:buNone/>
            </a:pPr>
            <a:r>
              <a:rPr lang="en-GB" dirty="0"/>
              <a:t>As it can be seen in the from the framework diagram, the process of performing LCA is an iterative process, sometimes you need to go back and reformulate the goal and scope when obtained result is unexpected and not in line with the goal and scope. </a:t>
            </a:r>
          </a:p>
        </p:txBody>
      </p:sp>
      <p:sp>
        <p:nvSpPr>
          <p:cNvPr id="4" name="Slide Number Placeholder 3"/>
          <p:cNvSpPr>
            <a:spLocks noGrp="1"/>
          </p:cNvSpPr>
          <p:nvPr>
            <p:ph type="sldNum" sz="quarter" idx="5"/>
          </p:nvPr>
        </p:nvSpPr>
        <p:spPr/>
        <p:txBody>
          <a:bodyPr/>
          <a:lstStyle/>
          <a:p>
            <a:fld id="{F84DB91F-1AD8-437C-8866-3636784D0854}" type="slidenum">
              <a:rPr lang="en-GB" smtClean="0"/>
              <a:t>126</a:t>
            </a:fld>
            <a:endParaRPr lang="en-GB"/>
          </a:p>
        </p:txBody>
      </p:sp>
    </p:spTree>
    <p:extLst>
      <p:ext uri="{BB962C8B-B14F-4D97-AF65-F5344CB8AC3E}">
        <p14:creationId xmlns:p14="http://schemas.microsoft.com/office/powerpoint/2010/main" val="3799391518"/>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a:t>No </a:t>
            </a:r>
            <a:r>
              <a:rPr lang="sv-SE" err="1"/>
              <a:t>further</a:t>
            </a:r>
            <a:r>
              <a:rPr lang="sv-SE"/>
              <a:t> </a:t>
            </a:r>
            <a:r>
              <a:rPr lang="sv-SE" err="1"/>
              <a:t>comments</a:t>
            </a:r>
            <a:r>
              <a:rPr lang="sv-SE"/>
              <a:t>. </a:t>
            </a:r>
          </a:p>
        </p:txBody>
      </p:sp>
      <p:sp>
        <p:nvSpPr>
          <p:cNvPr id="4" name="Slide Number Placeholder 3"/>
          <p:cNvSpPr>
            <a:spLocks noGrp="1"/>
          </p:cNvSpPr>
          <p:nvPr>
            <p:ph type="sldNum" sz="quarter" idx="5"/>
          </p:nvPr>
        </p:nvSpPr>
        <p:spPr/>
        <p:txBody>
          <a:bodyPr/>
          <a:lstStyle/>
          <a:p>
            <a:fld id="{F84DB91F-1AD8-437C-8866-3636784D0854}" type="slidenum">
              <a:rPr lang="en-GB" smtClean="0"/>
              <a:t>127</a:t>
            </a:fld>
            <a:endParaRPr lang="en-GB"/>
          </a:p>
        </p:txBody>
      </p:sp>
    </p:spTree>
    <p:extLst>
      <p:ext uri="{BB962C8B-B14F-4D97-AF65-F5344CB8AC3E}">
        <p14:creationId xmlns:p14="http://schemas.microsoft.com/office/powerpoint/2010/main" val="1322476493"/>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a:t>No </a:t>
            </a:r>
            <a:r>
              <a:rPr lang="sv-SE" err="1"/>
              <a:t>further</a:t>
            </a:r>
            <a:r>
              <a:rPr lang="sv-SE"/>
              <a:t> </a:t>
            </a:r>
            <a:r>
              <a:rPr lang="sv-SE" err="1"/>
              <a:t>comments</a:t>
            </a:r>
            <a:endParaRPr lang="sv-SE"/>
          </a:p>
        </p:txBody>
      </p:sp>
      <p:sp>
        <p:nvSpPr>
          <p:cNvPr id="4" name="Slide Number Placeholder 3"/>
          <p:cNvSpPr>
            <a:spLocks noGrp="1"/>
          </p:cNvSpPr>
          <p:nvPr>
            <p:ph type="sldNum" sz="quarter" idx="5"/>
          </p:nvPr>
        </p:nvSpPr>
        <p:spPr/>
        <p:txBody>
          <a:bodyPr/>
          <a:lstStyle/>
          <a:p>
            <a:fld id="{F84DB91F-1AD8-437C-8866-3636784D0854}" type="slidenum">
              <a:rPr lang="en-GB" smtClean="0"/>
              <a:t>128</a:t>
            </a:fld>
            <a:endParaRPr lang="en-GB"/>
          </a:p>
        </p:txBody>
      </p:sp>
    </p:spTree>
    <p:extLst>
      <p:ext uri="{BB962C8B-B14F-4D97-AF65-F5344CB8AC3E}">
        <p14:creationId xmlns:p14="http://schemas.microsoft.com/office/powerpoint/2010/main" val="3220299946"/>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a:t>No </a:t>
            </a:r>
            <a:r>
              <a:rPr lang="sv-SE" err="1"/>
              <a:t>further</a:t>
            </a:r>
            <a:r>
              <a:rPr lang="sv-SE"/>
              <a:t> </a:t>
            </a:r>
            <a:r>
              <a:rPr lang="sv-SE" err="1"/>
              <a:t>comments</a:t>
            </a:r>
            <a:endParaRPr lang="sv-SE"/>
          </a:p>
          <a:p>
            <a:endParaRPr lang="sv-SE"/>
          </a:p>
        </p:txBody>
      </p:sp>
      <p:sp>
        <p:nvSpPr>
          <p:cNvPr id="4" name="Slide Number Placeholder 3"/>
          <p:cNvSpPr>
            <a:spLocks noGrp="1"/>
          </p:cNvSpPr>
          <p:nvPr>
            <p:ph type="sldNum" sz="quarter" idx="5"/>
          </p:nvPr>
        </p:nvSpPr>
        <p:spPr/>
        <p:txBody>
          <a:bodyPr/>
          <a:lstStyle/>
          <a:p>
            <a:fld id="{F84DB91F-1AD8-437C-8866-3636784D0854}" type="slidenum">
              <a:rPr lang="en-GB" smtClean="0"/>
              <a:t>129</a:t>
            </a:fld>
            <a:endParaRPr lang="en-GB"/>
          </a:p>
        </p:txBody>
      </p:sp>
    </p:spTree>
    <p:extLst>
      <p:ext uri="{BB962C8B-B14F-4D97-AF65-F5344CB8AC3E}">
        <p14:creationId xmlns:p14="http://schemas.microsoft.com/office/powerpoint/2010/main" val="380186416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b="0" i="0" u="none" strike="noStrike" baseline="0">
                <a:solidFill>
                  <a:srgbClr val="000000"/>
                </a:solidFill>
                <a:latin typeface="Arial" panose="020B0604020202020204" pitchFamily="34" charset="0"/>
              </a:rPr>
              <a:t>Company culture also plays an important role in exploring ways to be more sustainable. Note that the demonstration site partner </a:t>
            </a:r>
            <a:r>
              <a:rPr lang="en-US" sz="1800" b="0" i="0" u="none" strike="noStrike" baseline="0" err="1">
                <a:solidFill>
                  <a:srgbClr val="000000"/>
                </a:solidFill>
                <a:latin typeface="Arial" panose="020B0604020202020204" pitchFamily="34" charset="0"/>
              </a:rPr>
              <a:t>Fertiberia</a:t>
            </a:r>
            <a:r>
              <a:rPr lang="en-US" sz="1800" b="0" i="0" u="none" strike="noStrike" baseline="0">
                <a:solidFill>
                  <a:srgbClr val="000000"/>
                </a:solidFill>
                <a:latin typeface="Arial" panose="020B0604020202020204" pitchFamily="34" charset="0"/>
              </a:rPr>
              <a:t> participates in several “eco” projects, such as green hydrogen and green </a:t>
            </a:r>
            <a:r>
              <a:rPr lang="en-US" sz="1800" b="0" i="0" u="none" strike="noStrike" baseline="0" err="1">
                <a:solidFill>
                  <a:srgbClr val="000000"/>
                </a:solidFill>
                <a:latin typeface="Arial" panose="020B0604020202020204" pitchFamily="34" charset="0"/>
              </a:rPr>
              <a:t>fertiliser</a:t>
            </a:r>
            <a:r>
              <a:rPr lang="en-US" sz="1800" b="0" i="0" u="none" strike="noStrike" baseline="0">
                <a:solidFill>
                  <a:srgbClr val="000000"/>
                </a:solidFill>
                <a:latin typeface="Arial" panose="020B0604020202020204" pitchFamily="34" charset="0"/>
              </a:rPr>
              <a:t>. Some plants have been certified under ISO 50001 for an energy management system. </a:t>
            </a:r>
          </a:p>
          <a:p>
            <a:r>
              <a:rPr lang="en-US" sz="1800" b="0" i="0" u="none" strike="noStrike" baseline="0">
                <a:solidFill>
                  <a:srgbClr val="000000"/>
                </a:solidFill>
                <a:latin typeface="Arial" panose="020B0604020202020204" pitchFamily="34" charset="0"/>
              </a:rPr>
              <a:t>The company culture also includes concerns about public image, within their region and related to their position within the entire sector. </a:t>
            </a:r>
            <a:r>
              <a:rPr lang="en-US" sz="1800" b="0" i="0" u="none" strike="noStrike" baseline="0" err="1">
                <a:solidFill>
                  <a:srgbClr val="000000"/>
                </a:solidFill>
                <a:latin typeface="Arial" panose="020B0604020202020204" pitchFamily="34" charset="0"/>
              </a:rPr>
              <a:t>Fertiberia</a:t>
            </a:r>
            <a:r>
              <a:rPr lang="en-US" sz="1800" b="0" i="0" u="none" strike="noStrike" baseline="0">
                <a:solidFill>
                  <a:srgbClr val="000000"/>
                </a:solidFill>
                <a:latin typeface="Arial" panose="020B0604020202020204" pitchFamily="34" charset="0"/>
              </a:rPr>
              <a:t> raised the point that this also means listening to consumers and what they expect from companies in terms of their approach to sustainability in its broadest sense. </a:t>
            </a:r>
          </a:p>
          <a:p>
            <a:r>
              <a:rPr lang="en-US" sz="1800" b="0" i="0" u="none" strike="noStrike" baseline="0">
                <a:solidFill>
                  <a:srgbClr val="000000"/>
                </a:solidFill>
                <a:latin typeface="Arial" panose="020B0604020202020204" pitchFamily="34" charset="0"/>
              </a:rPr>
              <a:t>Looking at it slightly differently, companies also develop certain expectations on returns on investment and that, essentially, is part of a corporate culture. This will be explored more during the execution of this project. </a:t>
            </a:r>
          </a:p>
          <a:p>
            <a:r>
              <a:rPr lang="en-US" sz="1800" b="0" i="0" u="none" strike="noStrike" baseline="0">
                <a:solidFill>
                  <a:srgbClr val="000000"/>
                </a:solidFill>
                <a:latin typeface="Arial" panose="020B0604020202020204" pitchFamily="34" charset="0"/>
              </a:rPr>
              <a:t>The company culture can include aspects of in-house capacity, discussed below. </a:t>
            </a:r>
          </a:p>
          <a:p>
            <a:endParaRPr lang="en-US" sz="1800" b="0" i="0" u="none" strike="noStrike" kern="100" baseline="0">
              <a:solidFill>
                <a:srgbClr val="000000"/>
              </a:solidFill>
              <a:effectLst/>
              <a:latin typeface="Arial" panose="020B0604020202020204" pitchFamily="34" charset="0"/>
              <a:ea typeface="Noto Sans CJK SC"/>
              <a:cs typeface="Lohit Devanagari"/>
            </a:endParaRPr>
          </a:p>
          <a:p>
            <a:endParaRPr lang="sv-SE" sz="3600" kern="100">
              <a:solidFill>
                <a:srgbClr val="404040"/>
              </a:solidFill>
              <a:effectLst/>
              <a:latin typeface="+mj-lt"/>
              <a:ea typeface="Noto Sans CJK SC"/>
              <a:cs typeface="Lohit Devanaga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4DB91F-1AD8-437C-8866-3636784D085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33459621"/>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a:t>No </a:t>
            </a:r>
            <a:r>
              <a:rPr lang="sv-SE" err="1"/>
              <a:t>further</a:t>
            </a:r>
            <a:r>
              <a:rPr lang="sv-SE"/>
              <a:t> </a:t>
            </a:r>
            <a:r>
              <a:rPr lang="sv-SE" err="1"/>
              <a:t>comments</a:t>
            </a:r>
            <a:endParaRPr lang="sv-SE"/>
          </a:p>
        </p:txBody>
      </p:sp>
      <p:sp>
        <p:nvSpPr>
          <p:cNvPr id="4" name="Slide Number Placeholder 3"/>
          <p:cNvSpPr>
            <a:spLocks noGrp="1"/>
          </p:cNvSpPr>
          <p:nvPr>
            <p:ph type="sldNum" sz="quarter" idx="5"/>
          </p:nvPr>
        </p:nvSpPr>
        <p:spPr/>
        <p:txBody>
          <a:bodyPr/>
          <a:lstStyle/>
          <a:p>
            <a:fld id="{F84DB91F-1AD8-437C-8866-3636784D0854}" type="slidenum">
              <a:rPr lang="en-GB" smtClean="0"/>
              <a:t>130</a:t>
            </a:fld>
            <a:endParaRPr lang="en-GB"/>
          </a:p>
        </p:txBody>
      </p:sp>
    </p:spTree>
    <p:extLst>
      <p:ext uri="{BB962C8B-B14F-4D97-AF65-F5344CB8AC3E}">
        <p14:creationId xmlns:p14="http://schemas.microsoft.com/office/powerpoint/2010/main" val="3868800365"/>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err="1"/>
              <a:t>Unit</a:t>
            </a:r>
            <a:r>
              <a:rPr lang="sv-SE"/>
              <a:t> process </a:t>
            </a:r>
            <a:r>
              <a:rPr lang="sv-SE" err="1"/>
              <a:t>can</a:t>
            </a:r>
            <a:r>
              <a:rPr lang="sv-SE"/>
              <a:t> be a </a:t>
            </a:r>
            <a:r>
              <a:rPr lang="sv-SE" err="1"/>
              <a:t>processes</a:t>
            </a:r>
            <a:r>
              <a:rPr lang="sv-SE"/>
              <a:t> </a:t>
            </a:r>
            <a:r>
              <a:rPr lang="sv-SE" err="1"/>
              <a:t>needed</a:t>
            </a:r>
            <a:r>
              <a:rPr lang="sv-SE"/>
              <a:t> for the </a:t>
            </a:r>
            <a:r>
              <a:rPr lang="sv-SE" err="1"/>
              <a:t>production</a:t>
            </a:r>
            <a:r>
              <a:rPr lang="sv-SE"/>
              <a:t> </a:t>
            </a:r>
            <a:r>
              <a:rPr lang="sv-SE" err="1"/>
              <a:t>of</a:t>
            </a:r>
            <a:r>
              <a:rPr lang="sv-SE"/>
              <a:t> a </a:t>
            </a:r>
            <a:r>
              <a:rPr lang="sv-SE" err="1"/>
              <a:t>product</a:t>
            </a:r>
            <a:r>
              <a:rPr lang="sv-SE"/>
              <a:t>. </a:t>
            </a:r>
            <a:r>
              <a:rPr lang="sv-SE" err="1"/>
              <a:t>But</a:t>
            </a:r>
            <a:r>
              <a:rPr lang="sv-SE"/>
              <a:t> it </a:t>
            </a:r>
            <a:r>
              <a:rPr lang="sv-SE" err="1"/>
              <a:t>can</a:t>
            </a:r>
            <a:r>
              <a:rPr lang="sv-SE"/>
              <a:t> </a:t>
            </a:r>
            <a:r>
              <a:rPr lang="sv-SE" err="1"/>
              <a:t>also</a:t>
            </a:r>
            <a:r>
              <a:rPr lang="sv-SE"/>
              <a:t> be the process </a:t>
            </a:r>
            <a:r>
              <a:rPr lang="sv-SE" err="1"/>
              <a:t>that</a:t>
            </a:r>
            <a:r>
              <a:rPr lang="sv-SE"/>
              <a:t> </a:t>
            </a:r>
            <a:r>
              <a:rPr lang="sv-SE" err="1"/>
              <a:t>are</a:t>
            </a:r>
            <a:r>
              <a:rPr lang="sv-SE"/>
              <a:t> part </a:t>
            </a:r>
            <a:r>
              <a:rPr lang="sv-SE" err="1"/>
              <a:t>of</a:t>
            </a:r>
            <a:r>
              <a:rPr lang="sv-SE"/>
              <a:t> the </a:t>
            </a:r>
            <a:r>
              <a:rPr lang="sv-SE" err="1"/>
              <a:t>life</a:t>
            </a:r>
            <a:r>
              <a:rPr lang="sv-SE"/>
              <a:t> </a:t>
            </a:r>
            <a:r>
              <a:rPr lang="sv-SE" err="1"/>
              <a:t>cycle</a:t>
            </a:r>
            <a:r>
              <a:rPr lang="sv-SE"/>
              <a:t> for </a:t>
            </a:r>
            <a:r>
              <a:rPr lang="sv-SE" err="1"/>
              <a:t>exampel</a:t>
            </a:r>
            <a:endParaRPr lang="sv-SE"/>
          </a:p>
          <a:p>
            <a:endParaRPr lang="sv-SE"/>
          </a:p>
          <a:p>
            <a:pPr marL="171450" indent="-171450">
              <a:buFont typeface="Arial" panose="020B0604020202020204" pitchFamily="34" charset="0"/>
              <a:buChar char="•"/>
            </a:pPr>
            <a:r>
              <a:rPr lang="sv-SE" err="1"/>
              <a:t>Extraction</a:t>
            </a:r>
            <a:r>
              <a:rPr lang="sv-SE"/>
              <a:t> </a:t>
            </a:r>
            <a:r>
              <a:rPr lang="sv-SE" err="1"/>
              <a:t>of</a:t>
            </a:r>
            <a:r>
              <a:rPr lang="sv-SE"/>
              <a:t> </a:t>
            </a:r>
            <a:r>
              <a:rPr lang="sv-SE" err="1"/>
              <a:t>raw</a:t>
            </a:r>
            <a:r>
              <a:rPr lang="sv-SE"/>
              <a:t> materials</a:t>
            </a:r>
          </a:p>
          <a:p>
            <a:pPr marL="171450" indent="-171450">
              <a:buFont typeface="Arial" panose="020B0604020202020204" pitchFamily="34" charset="0"/>
              <a:buChar char="•"/>
            </a:pPr>
            <a:endParaRPr lang="sv-SE"/>
          </a:p>
          <a:p>
            <a:pPr marL="171450" indent="-171450">
              <a:buFont typeface="Arial" panose="020B0604020202020204" pitchFamily="34" charset="0"/>
              <a:buChar char="•"/>
            </a:pPr>
            <a:r>
              <a:rPr lang="sv-SE"/>
              <a:t>Transport </a:t>
            </a:r>
          </a:p>
          <a:p>
            <a:pPr marL="171450" indent="-171450">
              <a:buFont typeface="Arial" panose="020B0604020202020204" pitchFamily="34" charset="0"/>
              <a:buChar char="•"/>
            </a:pPr>
            <a:endParaRPr lang="sv-SE"/>
          </a:p>
          <a:p>
            <a:pPr marL="171450" indent="-171450">
              <a:buFont typeface="Arial" panose="020B0604020202020204" pitchFamily="34" charset="0"/>
              <a:buChar char="•"/>
            </a:pPr>
            <a:r>
              <a:rPr lang="sv-SE" err="1"/>
              <a:t>Use</a:t>
            </a:r>
            <a:r>
              <a:rPr lang="sv-SE"/>
              <a:t> </a:t>
            </a:r>
            <a:r>
              <a:rPr lang="sv-SE" err="1"/>
              <a:t>stage</a:t>
            </a:r>
            <a:r>
              <a:rPr lang="sv-SE"/>
              <a:t> </a:t>
            </a:r>
            <a:r>
              <a:rPr lang="sv-SE" err="1"/>
              <a:t>of</a:t>
            </a:r>
            <a:r>
              <a:rPr lang="sv-SE"/>
              <a:t> the </a:t>
            </a:r>
            <a:r>
              <a:rPr lang="sv-SE" err="1"/>
              <a:t>product</a:t>
            </a:r>
            <a:r>
              <a:rPr lang="sv-SE"/>
              <a:t> </a:t>
            </a:r>
          </a:p>
          <a:p>
            <a:pPr marL="171450" indent="-171450">
              <a:buFont typeface="Arial" panose="020B0604020202020204" pitchFamily="34" charset="0"/>
              <a:buChar char="•"/>
            </a:pPr>
            <a:endParaRPr lang="sv-SE"/>
          </a:p>
          <a:p>
            <a:pPr marL="171450" indent="-171450">
              <a:buFont typeface="Arial" panose="020B0604020202020204" pitchFamily="34" charset="0"/>
              <a:buChar char="•"/>
            </a:pPr>
            <a:r>
              <a:rPr lang="sv-SE"/>
              <a:t>Waste handling </a:t>
            </a:r>
            <a:r>
              <a:rPr lang="sv-SE" err="1"/>
              <a:t>of</a:t>
            </a:r>
            <a:r>
              <a:rPr lang="sv-SE"/>
              <a:t> the </a:t>
            </a:r>
            <a:r>
              <a:rPr lang="sv-SE" err="1"/>
              <a:t>product</a:t>
            </a:r>
            <a:r>
              <a:rPr lang="sv-SE"/>
              <a:t>/</a:t>
            </a:r>
            <a:r>
              <a:rPr lang="sv-SE" err="1"/>
              <a:t>packaging</a:t>
            </a:r>
            <a:r>
              <a:rPr lang="sv-SE"/>
              <a:t> </a:t>
            </a:r>
            <a:r>
              <a:rPr lang="sv-SE" err="1"/>
              <a:t>of</a:t>
            </a:r>
            <a:r>
              <a:rPr lang="sv-SE"/>
              <a:t> the </a:t>
            </a:r>
            <a:r>
              <a:rPr lang="sv-SE" err="1"/>
              <a:t>product</a:t>
            </a:r>
            <a:r>
              <a:rPr lang="sv-SE"/>
              <a:t> </a:t>
            </a:r>
          </a:p>
          <a:p>
            <a:pPr marL="171450" indent="-171450">
              <a:buFont typeface="Arial" panose="020B0604020202020204" pitchFamily="34" charset="0"/>
              <a:buChar char="•"/>
            </a:pPr>
            <a:endParaRPr lang="sv-SE"/>
          </a:p>
          <a:p>
            <a:pPr marL="171450" indent="-171450">
              <a:buFont typeface="Arial" panose="020B0604020202020204" pitchFamily="34" charset="0"/>
              <a:buChar char="•"/>
            </a:pPr>
            <a:r>
              <a:rPr lang="sv-SE"/>
              <a:t>Etc.</a:t>
            </a:r>
          </a:p>
          <a:p>
            <a:pPr marL="0" indent="0">
              <a:buFont typeface="Arial" panose="020B0604020202020204" pitchFamily="34" charset="0"/>
              <a:buNone/>
            </a:pPr>
            <a:endParaRPr lang="sv-SE"/>
          </a:p>
          <a:p>
            <a:pPr marL="0" indent="0">
              <a:buFont typeface="Arial" panose="020B0604020202020204" pitchFamily="34" charset="0"/>
              <a:buNone/>
            </a:pPr>
            <a:r>
              <a:rPr lang="sv-SE"/>
              <a:t>In </a:t>
            </a:r>
            <a:r>
              <a:rPr lang="sv-SE" err="1"/>
              <a:t>each</a:t>
            </a:r>
            <a:r>
              <a:rPr lang="sv-SE"/>
              <a:t> </a:t>
            </a:r>
            <a:r>
              <a:rPr lang="sv-SE" err="1"/>
              <a:t>of</a:t>
            </a:r>
            <a:r>
              <a:rPr lang="sv-SE"/>
              <a:t> </a:t>
            </a:r>
            <a:r>
              <a:rPr lang="sv-SE" err="1"/>
              <a:t>this</a:t>
            </a:r>
            <a:r>
              <a:rPr lang="sv-SE"/>
              <a:t> process, the </a:t>
            </a:r>
            <a:r>
              <a:rPr lang="sv-SE" b="1"/>
              <a:t>input </a:t>
            </a:r>
            <a:r>
              <a:rPr lang="sv-SE" b="1" err="1"/>
              <a:t>flows</a:t>
            </a:r>
            <a:r>
              <a:rPr lang="sv-SE" b="1"/>
              <a:t> </a:t>
            </a:r>
            <a:r>
              <a:rPr lang="sv-SE" err="1"/>
              <a:t>which</a:t>
            </a:r>
            <a:r>
              <a:rPr lang="sv-SE"/>
              <a:t> </a:t>
            </a:r>
            <a:r>
              <a:rPr lang="sv-SE" err="1"/>
              <a:t>comprise</a:t>
            </a:r>
            <a:r>
              <a:rPr lang="sv-SE"/>
              <a:t> </a:t>
            </a:r>
            <a:r>
              <a:rPr lang="sv-SE" err="1"/>
              <a:t>of</a:t>
            </a:r>
            <a:r>
              <a:rPr lang="sv-SE"/>
              <a:t> materials and </a:t>
            </a:r>
            <a:r>
              <a:rPr lang="sv-SE" err="1"/>
              <a:t>energy</a:t>
            </a:r>
            <a:r>
              <a:rPr lang="sv-SE"/>
              <a:t> and </a:t>
            </a:r>
            <a:r>
              <a:rPr lang="sv-SE" b="1"/>
              <a:t>output </a:t>
            </a:r>
            <a:r>
              <a:rPr lang="sv-SE" b="1" err="1"/>
              <a:t>flows</a:t>
            </a:r>
            <a:r>
              <a:rPr lang="sv-SE" b="1"/>
              <a:t> </a:t>
            </a:r>
            <a:r>
              <a:rPr lang="sv-SE" err="1"/>
              <a:t>comprising</a:t>
            </a:r>
            <a:r>
              <a:rPr lang="sv-SE"/>
              <a:t> the </a:t>
            </a:r>
            <a:r>
              <a:rPr lang="sv-SE" err="1"/>
              <a:t>product</a:t>
            </a:r>
            <a:r>
              <a:rPr lang="sv-SE"/>
              <a:t> </a:t>
            </a:r>
            <a:r>
              <a:rPr lang="sv-SE" err="1"/>
              <a:t>of</a:t>
            </a:r>
            <a:r>
              <a:rPr lang="sv-SE"/>
              <a:t> </a:t>
            </a:r>
            <a:r>
              <a:rPr lang="sv-SE" err="1"/>
              <a:t>interest</a:t>
            </a:r>
            <a:r>
              <a:rPr lang="sv-SE"/>
              <a:t>, co-</a:t>
            </a:r>
            <a:r>
              <a:rPr lang="sv-SE" err="1"/>
              <a:t>products</a:t>
            </a:r>
            <a:r>
              <a:rPr lang="sv-SE"/>
              <a:t>, </a:t>
            </a:r>
            <a:r>
              <a:rPr lang="sv-SE" err="1"/>
              <a:t>wastes</a:t>
            </a:r>
            <a:r>
              <a:rPr lang="sv-SE"/>
              <a:t> and emissions </a:t>
            </a:r>
            <a:r>
              <a:rPr lang="sv-SE" b="1" err="1"/>
              <a:t>are</a:t>
            </a:r>
            <a:r>
              <a:rPr lang="sv-SE" b="1"/>
              <a:t> </a:t>
            </a:r>
            <a:r>
              <a:rPr lang="sv-SE" b="1" err="1"/>
              <a:t>identified</a:t>
            </a:r>
            <a:r>
              <a:rPr lang="sv-SE" b="1"/>
              <a:t> and </a:t>
            </a:r>
            <a:r>
              <a:rPr lang="sv-SE" b="1" err="1"/>
              <a:t>quanitified</a:t>
            </a:r>
            <a:r>
              <a:rPr lang="sv-SE"/>
              <a:t>.  </a:t>
            </a:r>
          </a:p>
        </p:txBody>
      </p:sp>
      <p:sp>
        <p:nvSpPr>
          <p:cNvPr id="4" name="Slide Number Placeholder 3"/>
          <p:cNvSpPr>
            <a:spLocks noGrp="1"/>
          </p:cNvSpPr>
          <p:nvPr>
            <p:ph type="sldNum" sz="quarter" idx="5"/>
          </p:nvPr>
        </p:nvSpPr>
        <p:spPr/>
        <p:txBody>
          <a:bodyPr/>
          <a:lstStyle/>
          <a:p>
            <a:fld id="{F84DB91F-1AD8-437C-8866-3636784D0854}" type="slidenum">
              <a:rPr lang="en-GB" smtClean="0"/>
              <a:t>131</a:t>
            </a:fld>
            <a:endParaRPr lang="en-GB"/>
          </a:p>
        </p:txBody>
      </p:sp>
    </p:spTree>
    <p:extLst>
      <p:ext uri="{BB962C8B-B14F-4D97-AF65-F5344CB8AC3E}">
        <p14:creationId xmlns:p14="http://schemas.microsoft.com/office/powerpoint/2010/main" val="1428909280"/>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a:t>Step 2 </a:t>
            </a:r>
            <a:r>
              <a:rPr lang="sv-SE" err="1"/>
              <a:t>of</a:t>
            </a:r>
            <a:r>
              <a:rPr lang="sv-SE"/>
              <a:t> LCA </a:t>
            </a:r>
            <a:r>
              <a:rPr lang="sv-SE" err="1"/>
              <a:t>framework</a:t>
            </a:r>
            <a:r>
              <a:rPr lang="sv-SE"/>
              <a:t> is </a:t>
            </a:r>
            <a:r>
              <a:rPr lang="sv-SE" err="1"/>
              <a:t>life</a:t>
            </a:r>
            <a:r>
              <a:rPr lang="sv-SE"/>
              <a:t> </a:t>
            </a:r>
            <a:r>
              <a:rPr lang="sv-SE" err="1"/>
              <a:t>cycle</a:t>
            </a:r>
            <a:r>
              <a:rPr lang="sv-SE"/>
              <a:t> </a:t>
            </a:r>
            <a:r>
              <a:rPr lang="sv-SE" err="1"/>
              <a:t>inventory</a:t>
            </a:r>
            <a:r>
              <a:rPr lang="sv-SE"/>
              <a:t> </a:t>
            </a:r>
            <a:r>
              <a:rPr lang="sv-SE" err="1"/>
              <a:t>analysis</a:t>
            </a:r>
            <a:r>
              <a:rPr lang="sv-SE"/>
              <a:t>. In </a:t>
            </a:r>
            <a:r>
              <a:rPr lang="sv-SE" err="1"/>
              <a:t>this</a:t>
            </a:r>
            <a:r>
              <a:rPr lang="sv-SE"/>
              <a:t> step, the input </a:t>
            </a:r>
            <a:r>
              <a:rPr lang="sv-SE" err="1"/>
              <a:t>flows</a:t>
            </a:r>
            <a:r>
              <a:rPr lang="sv-SE"/>
              <a:t> and output </a:t>
            </a:r>
            <a:r>
              <a:rPr lang="sv-SE" err="1"/>
              <a:t>flows</a:t>
            </a:r>
            <a:r>
              <a:rPr lang="sv-SE"/>
              <a:t> </a:t>
            </a:r>
            <a:r>
              <a:rPr lang="sv-SE" err="1"/>
              <a:t>are</a:t>
            </a:r>
            <a:r>
              <a:rPr lang="sv-SE"/>
              <a:t> </a:t>
            </a:r>
            <a:r>
              <a:rPr lang="sv-SE" err="1"/>
              <a:t>identified</a:t>
            </a:r>
            <a:r>
              <a:rPr lang="sv-SE"/>
              <a:t> and </a:t>
            </a:r>
            <a:r>
              <a:rPr lang="sv-SE" err="1"/>
              <a:t>quantified</a:t>
            </a:r>
            <a:r>
              <a:rPr lang="sv-SE"/>
              <a:t> </a:t>
            </a:r>
            <a:r>
              <a:rPr lang="sv-SE" err="1"/>
              <a:t>according</a:t>
            </a:r>
            <a:r>
              <a:rPr lang="sv-SE"/>
              <a:t> to the </a:t>
            </a:r>
            <a:r>
              <a:rPr lang="sv-SE" err="1"/>
              <a:t>defined</a:t>
            </a:r>
            <a:r>
              <a:rPr lang="sv-SE"/>
              <a:t> system </a:t>
            </a:r>
            <a:r>
              <a:rPr lang="sv-SE" err="1"/>
              <a:t>boundary</a:t>
            </a:r>
            <a:r>
              <a:rPr lang="sv-SE"/>
              <a:t> and later </a:t>
            </a:r>
            <a:r>
              <a:rPr lang="sv-SE" err="1"/>
              <a:t>according</a:t>
            </a:r>
            <a:r>
              <a:rPr lang="sv-SE"/>
              <a:t> to the </a:t>
            </a:r>
            <a:r>
              <a:rPr lang="sv-SE" err="1"/>
              <a:t>defined</a:t>
            </a:r>
            <a:r>
              <a:rPr lang="sv-SE"/>
              <a:t> </a:t>
            </a:r>
            <a:r>
              <a:rPr lang="sv-SE" err="1"/>
              <a:t>functional</a:t>
            </a:r>
            <a:r>
              <a:rPr lang="sv-SE"/>
              <a:t> </a:t>
            </a:r>
            <a:r>
              <a:rPr lang="sv-SE" err="1"/>
              <a:t>unit</a:t>
            </a:r>
            <a:r>
              <a:rPr lang="sv-SE"/>
              <a:t>. </a:t>
            </a:r>
            <a:r>
              <a:rPr lang="sv-SE" err="1"/>
              <a:t>Normally</a:t>
            </a:r>
            <a:r>
              <a:rPr lang="sv-SE"/>
              <a:t> the </a:t>
            </a:r>
            <a:r>
              <a:rPr lang="sv-SE" err="1"/>
              <a:t>calculation</a:t>
            </a:r>
            <a:r>
              <a:rPr lang="sv-SE"/>
              <a:t> </a:t>
            </a:r>
            <a:r>
              <a:rPr lang="sv-SE" err="1"/>
              <a:t>of</a:t>
            </a:r>
            <a:r>
              <a:rPr lang="sv-SE"/>
              <a:t> the </a:t>
            </a:r>
            <a:r>
              <a:rPr lang="sv-SE" err="1"/>
              <a:t>quantified</a:t>
            </a:r>
            <a:r>
              <a:rPr lang="sv-SE"/>
              <a:t> </a:t>
            </a:r>
            <a:r>
              <a:rPr lang="sv-SE" err="1"/>
              <a:t>flows</a:t>
            </a:r>
            <a:r>
              <a:rPr lang="sv-SE"/>
              <a:t> in relation to the </a:t>
            </a:r>
            <a:r>
              <a:rPr lang="sv-SE" err="1"/>
              <a:t>functional</a:t>
            </a:r>
            <a:r>
              <a:rPr lang="sv-SE"/>
              <a:t> </a:t>
            </a:r>
            <a:r>
              <a:rPr lang="sv-SE" err="1"/>
              <a:t>unit</a:t>
            </a:r>
            <a:r>
              <a:rPr lang="sv-SE"/>
              <a:t> is not </a:t>
            </a:r>
            <a:r>
              <a:rPr lang="sv-SE" err="1"/>
              <a:t>necessary</a:t>
            </a:r>
            <a:r>
              <a:rPr lang="sv-SE"/>
              <a:t> </a:t>
            </a:r>
            <a:r>
              <a:rPr lang="sv-SE" err="1"/>
              <a:t>when</a:t>
            </a:r>
            <a:r>
              <a:rPr lang="sv-SE"/>
              <a:t> the LCA </a:t>
            </a:r>
            <a:r>
              <a:rPr lang="sv-SE" err="1"/>
              <a:t>modelling</a:t>
            </a:r>
            <a:r>
              <a:rPr lang="sv-SE"/>
              <a:t> is </a:t>
            </a:r>
            <a:r>
              <a:rPr lang="sv-SE" err="1"/>
              <a:t>done</a:t>
            </a:r>
            <a:r>
              <a:rPr lang="sv-SE"/>
              <a:t> in a software. </a:t>
            </a:r>
          </a:p>
          <a:p>
            <a:endParaRPr lang="sv-SE"/>
          </a:p>
          <a:p>
            <a:r>
              <a:rPr lang="sv-SE"/>
              <a:t>The </a:t>
            </a:r>
            <a:r>
              <a:rPr lang="sv-SE" err="1"/>
              <a:t>amount</a:t>
            </a:r>
            <a:r>
              <a:rPr lang="sv-SE"/>
              <a:t> </a:t>
            </a:r>
            <a:r>
              <a:rPr lang="sv-SE" err="1"/>
              <a:t>of</a:t>
            </a:r>
            <a:r>
              <a:rPr lang="sv-SE"/>
              <a:t> data </a:t>
            </a:r>
            <a:r>
              <a:rPr lang="sv-SE" err="1"/>
              <a:t>needed</a:t>
            </a:r>
            <a:r>
              <a:rPr lang="sv-SE"/>
              <a:t>  </a:t>
            </a:r>
            <a:r>
              <a:rPr lang="sv-SE" err="1"/>
              <a:t>can</a:t>
            </a:r>
            <a:r>
              <a:rPr lang="sv-SE"/>
              <a:t> </a:t>
            </a:r>
            <a:r>
              <a:rPr lang="sv-SE" err="1"/>
              <a:t>also</a:t>
            </a:r>
            <a:r>
              <a:rPr lang="sv-SE"/>
              <a:t> </a:t>
            </a:r>
            <a:r>
              <a:rPr lang="sv-SE" err="1"/>
              <a:t>depends</a:t>
            </a:r>
            <a:r>
              <a:rPr lang="sv-SE"/>
              <a:t> on </a:t>
            </a:r>
            <a:r>
              <a:rPr lang="sv-SE" err="1"/>
              <a:t>what</a:t>
            </a:r>
            <a:r>
              <a:rPr lang="sv-SE"/>
              <a:t> kind </a:t>
            </a:r>
            <a:r>
              <a:rPr lang="sv-SE" err="1"/>
              <a:t>of</a:t>
            </a:r>
            <a:r>
              <a:rPr lang="sv-SE"/>
              <a:t> LCA is </a:t>
            </a:r>
            <a:r>
              <a:rPr lang="sv-SE" err="1"/>
              <a:t>performed</a:t>
            </a:r>
            <a:r>
              <a:rPr lang="sv-SE"/>
              <a:t>.  For LCC, apart from the </a:t>
            </a:r>
            <a:r>
              <a:rPr lang="sv-SE" err="1"/>
              <a:t>the</a:t>
            </a:r>
            <a:r>
              <a:rPr lang="sv-SE"/>
              <a:t> </a:t>
            </a:r>
            <a:r>
              <a:rPr lang="sv-SE" err="1"/>
              <a:t>quantity</a:t>
            </a:r>
            <a:r>
              <a:rPr lang="sv-SE"/>
              <a:t> </a:t>
            </a:r>
            <a:r>
              <a:rPr lang="sv-SE" err="1"/>
              <a:t>of</a:t>
            </a:r>
            <a:r>
              <a:rPr lang="sv-SE"/>
              <a:t> the </a:t>
            </a:r>
            <a:r>
              <a:rPr lang="sv-SE" err="1"/>
              <a:t>flows</a:t>
            </a:r>
            <a:r>
              <a:rPr lang="sv-SE"/>
              <a:t>, the </a:t>
            </a:r>
            <a:r>
              <a:rPr lang="sv-SE" err="1"/>
              <a:t>cost</a:t>
            </a:r>
            <a:r>
              <a:rPr lang="sv-SE"/>
              <a:t> data is </a:t>
            </a:r>
            <a:r>
              <a:rPr lang="sv-SE" err="1"/>
              <a:t>also</a:t>
            </a:r>
            <a:r>
              <a:rPr lang="sv-SE"/>
              <a:t> </a:t>
            </a:r>
            <a:r>
              <a:rPr lang="sv-SE" err="1"/>
              <a:t>needed</a:t>
            </a:r>
            <a:r>
              <a:rPr lang="sv-SE"/>
              <a:t> </a:t>
            </a:r>
            <a:r>
              <a:rPr lang="sv-SE" err="1"/>
              <a:t>including</a:t>
            </a:r>
            <a:r>
              <a:rPr lang="sv-SE"/>
              <a:t> all the </a:t>
            </a:r>
            <a:r>
              <a:rPr lang="sv-SE" err="1"/>
              <a:t>fixed</a:t>
            </a:r>
            <a:r>
              <a:rPr lang="sv-SE"/>
              <a:t> and </a:t>
            </a:r>
            <a:r>
              <a:rPr lang="sv-SE" err="1"/>
              <a:t>variable</a:t>
            </a:r>
            <a:r>
              <a:rPr lang="sv-SE"/>
              <a:t> </a:t>
            </a:r>
            <a:r>
              <a:rPr lang="sv-SE" err="1"/>
              <a:t>costs</a:t>
            </a:r>
            <a:r>
              <a:rPr lang="sv-SE"/>
              <a:t>. For social-LCA, data </a:t>
            </a:r>
            <a:r>
              <a:rPr lang="sv-SE" err="1"/>
              <a:t>depends</a:t>
            </a:r>
            <a:r>
              <a:rPr lang="sv-SE"/>
              <a:t> om </a:t>
            </a:r>
            <a:r>
              <a:rPr lang="sv-SE" err="1"/>
              <a:t>which</a:t>
            </a:r>
            <a:r>
              <a:rPr lang="sv-SE"/>
              <a:t> approach is </a:t>
            </a:r>
            <a:r>
              <a:rPr lang="sv-SE" err="1"/>
              <a:t>used</a:t>
            </a:r>
            <a:r>
              <a:rPr lang="sv-SE"/>
              <a:t> </a:t>
            </a:r>
            <a:r>
              <a:rPr lang="sv-SE" err="1"/>
              <a:t>but</a:t>
            </a:r>
            <a:r>
              <a:rPr lang="sv-SE"/>
              <a:t> </a:t>
            </a:r>
            <a:r>
              <a:rPr lang="sv-SE" err="1"/>
              <a:t>normally</a:t>
            </a:r>
            <a:r>
              <a:rPr lang="sv-SE"/>
              <a:t> the </a:t>
            </a:r>
            <a:r>
              <a:rPr lang="sv-SE" err="1"/>
              <a:t>flows</a:t>
            </a:r>
            <a:r>
              <a:rPr lang="sv-SE"/>
              <a:t> </a:t>
            </a:r>
            <a:r>
              <a:rPr lang="sv-SE" err="1"/>
              <a:t>quantity</a:t>
            </a:r>
            <a:r>
              <a:rPr lang="sv-SE"/>
              <a:t> and </a:t>
            </a:r>
            <a:r>
              <a:rPr lang="sv-SE" err="1"/>
              <a:t>cost</a:t>
            </a:r>
            <a:r>
              <a:rPr lang="sv-SE"/>
              <a:t> </a:t>
            </a:r>
            <a:r>
              <a:rPr lang="sv-SE" err="1"/>
              <a:t>are</a:t>
            </a:r>
            <a:r>
              <a:rPr lang="sv-SE"/>
              <a:t> </a:t>
            </a:r>
            <a:r>
              <a:rPr lang="sv-SE" err="1"/>
              <a:t>combined</a:t>
            </a:r>
            <a:r>
              <a:rPr lang="sv-SE"/>
              <a:t> and </a:t>
            </a:r>
            <a:r>
              <a:rPr lang="sv-SE" err="1"/>
              <a:t>used</a:t>
            </a:r>
            <a:r>
              <a:rPr lang="sv-SE"/>
              <a:t> in the </a:t>
            </a:r>
            <a:r>
              <a:rPr lang="sv-SE" err="1"/>
              <a:t>assessment</a:t>
            </a:r>
            <a:r>
              <a:rPr lang="sv-SE"/>
              <a:t>. The country </a:t>
            </a:r>
            <a:r>
              <a:rPr lang="sv-SE" err="1"/>
              <a:t>of</a:t>
            </a:r>
            <a:r>
              <a:rPr lang="sv-SE"/>
              <a:t> </a:t>
            </a:r>
            <a:r>
              <a:rPr lang="sv-SE" err="1"/>
              <a:t>origins</a:t>
            </a:r>
            <a:r>
              <a:rPr lang="sv-SE"/>
              <a:t> och the input materials and </a:t>
            </a:r>
            <a:r>
              <a:rPr lang="sv-SE" err="1"/>
              <a:t>energy</a:t>
            </a:r>
            <a:r>
              <a:rPr lang="sv-SE"/>
              <a:t> </a:t>
            </a:r>
            <a:r>
              <a:rPr lang="sv-SE" err="1"/>
              <a:t>also</a:t>
            </a:r>
            <a:r>
              <a:rPr lang="sv-SE"/>
              <a:t> </a:t>
            </a:r>
            <a:r>
              <a:rPr lang="sv-SE" err="1"/>
              <a:t>need</a:t>
            </a:r>
            <a:r>
              <a:rPr lang="sv-SE"/>
              <a:t> to be </a:t>
            </a:r>
            <a:r>
              <a:rPr lang="sv-SE" err="1"/>
              <a:t>known</a:t>
            </a:r>
            <a:r>
              <a:rPr lang="sv-SE"/>
              <a:t>.  </a:t>
            </a:r>
          </a:p>
          <a:p>
            <a:endParaRPr lang="sv-SE"/>
          </a:p>
          <a:p>
            <a:r>
              <a:rPr lang="sv-SE" err="1"/>
              <a:t>See</a:t>
            </a:r>
            <a:r>
              <a:rPr lang="sv-SE"/>
              <a:t> </a:t>
            </a:r>
            <a:r>
              <a:rPr lang="sv-SE" err="1"/>
              <a:t>further</a:t>
            </a:r>
            <a:r>
              <a:rPr lang="sv-SE"/>
              <a:t> information in the </a:t>
            </a:r>
            <a:r>
              <a:rPr lang="sv-SE" err="1"/>
              <a:t>next</a:t>
            </a:r>
            <a:r>
              <a:rPr lang="sv-SE"/>
              <a:t> </a:t>
            </a:r>
            <a:r>
              <a:rPr lang="sv-SE" err="1"/>
              <a:t>slides</a:t>
            </a:r>
            <a:endParaRPr lang="sv-SE"/>
          </a:p>
          <a:p>
            <a:endParaRPr lang="sv-SE"/>
          </a:p>
        </p:txBody>
      </p:sp>
      <p:sp>
        <p:nvSpPr>
          <p:cNvPr id="4" name="Slide Number Placeholder 3"/>
          <p:cNvSpPr>
            <a:spLocks noGrp="1"/>
          </p:cNvSpPr>
          <p:nvPr>
            <p:ph type="sldNum" sz="quarter" idx="5"/>
          </p:nvPr>
        </p:nvSpPr>
        <p:spPr/>
        <p:txBody>
          <a:bodyPr/>
          <a:lstStyle/>
          <a:p>
            <a:fld id="{56F27705-2196-417A-A13D-48C8CEB92D2A}" type="slidenum">
              <a:rPr lang="sv-SE" smtClean="0"/>
              <a:t>132</a:t>
            </a:fld>
            <a:endParaRPr lang="sv-SE"/>
          </a:p>
        </p:txBody>
      </p:sp>
    </p:spTree>
    <p:extLst>
      <p:ext uri="{BB962C8B-B14F-4D97-AF65-F5344CB8AC3E}">
        <p14:creationId xmlns:p14="http://schemas.microsoft.com/office/powerpoint/2010/main" val="3258774503"/>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fld id="{F84DB91F-1AD8-437C-8866-3636784D0854}" type="slidenum">
              <a:rPr lang="en-GB" smtClean="0"/>
              <a:t>133</a:t>
            </a:fld>
            <a:endParaRPr lang="en-GB"/>
          </a:p>
        </p:txBody>
      </p:sp>
    </p:spTree>
    <p:extLst>
      <p:ext uri="{BB962C8B-B14F-4D97-AF65-F5344CB8AC3E}">
        <p14:creationId xmlns:p14="http://schemas.microsoft.com/office/powerpoint/2010/main" val="3076183852"/>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fld id="{F84DB91F-1AD8-437C-8866-3636784D0854}" type="slidenum">
              <a:rPr lang="en-GB" smtClean="0"/>
              <a:t>134</a:t>
            </a:fld>
            <a:endParaRPr lang="en-GB"/>
          </a:p>
        </p:txBody>
      </p:sp>
    </p:spTree>
    <p:extLst>
      <p:ext uri="{BB962C8B-B14F-4D97-AF65-F5344CB8AC3E}">
        <p14:creationId xmlns:p14="http://schemas.microsoft.com/office/powerpoint/2010/main" val="1132025387"/>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cs typeface="Arial" panose="020B0604020202020204" pitchFamily="34" charset="0"/>
              </a:rPr>
              <a:t>monitoring, visualization, DS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cs typeface="Arial" panose="020B0604020202020204" pitchFamily="34" charset="0"/>
              </a:rPr>
              <a:t>Focus: unit operation</a:t>
            </a:r>
          </a:p>
          <a:p>
            <a:endParaRPr lang="sv-SE"/>
          </a:p>
        </p:txBody>
      </p:sp>
      <p:sp>
        <p:nvSpPr>
          <p:cNvPr id="4" name="Slide Number Placeholder 3"/>
          <p:cNvSpPr>
            <a:spLocks noGrp="1"/>
          </p:cNvSpPr>
          <p:nvPr>
            <p:ph type="sldNum" sz="quarter" idx="5"/>
          </p:nvPr>
        </p:nvSpPr>
        <p:spPr/>
        <p:txBody>
          <a:bodyPr/>
          <a:lstStyle/>
          <a:p>
            <a:fld id="{F84DB91F-1AD8-437C-8866-3636784D0854}" type="slidenum">
              <a:rPr lang="en-GB" smtClean="0"/>
              <a:t>135</a:t>
            </a:fld>
            <a:endParaRPr lang="en-GB"/>
          </a:p>
        </p:txBody>
      </p:sp>
    </p:spTree>
    <p:extLst>
      <p:ext uri="{BB962C8B-B14F-4D97-AF65-F5344CB8AC3E}">
        <p14:creationId xmlns:p14="http://schemas.microsoft.com/office/powerpoint/2010/main" val="3373681440"/>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a:t>Step 3 </a:t>
            </a:r>
            <a:r>
              <a:rPr lang="sv-SE" dirty="0" err="1"/>
              <a:t>of</a:t>
            </a:r>
            <a:r>
              <a:rPr lang="sv-SE" dirty="0"/>
              <a:t> LCA is </a:t>
            </a:r>
            <a:r>
              <a:rPr lang="sv-SE" dirty="0" err="1"/>
              <a:t>life</a:t>
            </a:r>
            <a:r>
              <a:rPr lang="sv-SE" dirty="0"/>
              <a:t> </a:t>
            </a:r>
            <a:r>
              <a:rPr lang="sv-SE" dirty="0" err="1"/>
              <a:t>cycle</a:t>
            </a:r>
            <a:r>
              <a:rPr lang="sv-SE" dirty="0"/>
              <a:t> </a:t>
            </a:r>
            <a:r>
              <a:rPr lang="sv-SE" dirty="0" err="1"/>
              <a:t>impact</a:t>
            </a:r>
            <a:r>
              <a:rPr lang="sv-SE" dirty="0"/>
              <a:t> </a:t>
            </a:r>
            <a:r>
              <a:rPr lang="sv-SE" dirty="0" err="1"/>
              <a:t>assessment</a:t>
            </a:r>
            <a:r>
              <a:rPr lang="sv-SE" dirty="0"/>
              <a:t>. It </a:t>
            </a:r>
            <a:r>
              <a:rPr lang="sv-SE" dirty="0" err="1"/>
              <a:t>contains</a:t>
            </a:r>
            <a:r>
              <a:rPr lang="sv-SE" dirty="0"/>
              <a:t> </a:t>
            </a:r>
            <a:r>
              <a:rPr lang="sv-SE" dirty="0" err="1"/>
              <a:t>two</a:t>
            </a:r>
            <a:r>
              <a:rPr lang="sv-SE" dirty="0"/>
              <a:t> </a:t>
            </a:r>
            <a:r>
              <a:rPr lang="sv-SE" dirty="0" err="1"/>
              <a:t>mandatory</a:t>
            </a:r>
            <a:r>
              <a:rPr lang="sv-SE" dirty="0"/>
              <a:t> steps and </a:t>
            </a:r>
            <a:r>
              <a:rPr lang="sv-SE" dirty="0" err="1"/>
              <a:t>some</a:t>
            </a:r>
            <a:r>
              <a:rPr lang="sv-SE" dirty="0"/>
              <a:t> </a:t>
            </a:r>
            <a:r>
              <a:rPr lang="sv-SE" dirty="0" err="1"/>
              <a:t>optional</a:t>
            </a:r>
            <a:r>
              <a:rPr lang="sv-SE" dirty="0"/>
              <a:t> steps. The </a:t>
            </a:r>
            <a:r>
              <a:rPr lang="sv-SE" dirty="0" err="1"/>
              <a:t>two</a:t>
            </a:r>
            <a:r>
              <a:rPr lang="sv-SE" dirty="0"/>
              <a:t> </a:t>
            </a:r>
            <a:r>
              <a:rPr lang="sv-SE" dirty="0" err="1"/>
              <a:t>mandatory</a:t>
            </a:r>
            <a:r>
              <a:rPr lang="sv-SE" dirty="0"/>
              <a:t> steps </a:t>
            </a:r>
            <a:r>
              <a:rPr lang="sv-SE" dirty="0" err="1"/>
              <a:t>are</a:t>
            </a:r>
            <a:r>
              <a:rPr lang="sv-SE" dirty="0"/>
              <a:t> </a:t>
            </a:r>
            <a:r>
              <a:rPr lang="sv-SE" dirty="0" err="1"/>
              <a:t>classification</a:t>
            </a:r>
            <a:r>
              <a:rPr lang="sv-SE" dirty="0"/>
              <a:t> and </a:t>
            </a:r>
            <a:r>
              <a:rPr lang="sv-SE" dirty="0" err="1"/>
              <a:t>characterisation</a:t>
            </a:r>
            <a:r>
              <a:rPr lang="sv-SE" dirty="0"/>
              <a:t>. </a:t>
            </a:r>
          </a:p>
          <a:p>
            <a:endParaRPr lang="sv-SE" dirty="0"/>
          </a:p>
          <a:p>
            <a:pPr marL="514350" indent="-514350">
              <a:buAutoNum type="arabicPeriod"/>
            </a:pPr>
            <a:r>
              <a:rPr lang="sv-SE" sz="1200" b="1" dirty="0" err="1"/>
              <a:t>Classification</a:t>
            </a:r>
            <a:endParaRPr lang="sv-SE" sz="1200" b="1" dirty="0"/>
          </a:p>
          <a:p>
            <a:r>
              <a:rPr lang="en-US" sz="1200" dirty="0"/>
              <a:t>The data from the inventory analysis is assigned to different, selected, impact categories. An example of impact category is Climate Change which is indicated by Global Warming Potential (GWP). Emissions that contributes to GWP are for example CO</a:t>
            </a:r>
            <a:r>
              <a:rPr lang="en-US" sz="1200" baseline="-25000" dirty="0"/>
              <a:t>2</a:t>
            </a:r>
            <a:r>
              <a:rPr lang="en-US" sz="1200" dirty="0"/>
              <a:t>, CH</a:t>
            </a:r>
            <a:r>
              <a:rPr lang="en-US" sz="1200" baseline="-25000" dirty="0"/>
              <a:t>4</a:t>
            </a:r>
            <a:r>
              <a:rPr lang="en-US" sz="1200" dirty="0"/>
              <a:t> and N</a:t>
            </a:r>
            <a:r>
              <a:rPr lang="en-US" sz="1200" baseline="-25000" dirty="0"/>
              <a:t>2</a:t>
            </a:r>
            <a:r>
              <a:rPr lang="en-US" sz="1200" dirty="0"/>
              <a:t>O. </a:t>
            </a:r>
          </a:p>
          <a:p>
            <a:endParaRPr lang="sv-SE" sz="1200" dirty="0"/>
          </a:p>
          <a:p>
            <a:r>
              <a:rPr lang="sv-SE" sz="1200" b="1" dirty="0"/>
              <a:t>2. </a:t>
            </a:r>
            <a:r>
              <a:rPr lang="sv-SE" sz="1200" b="1" dirty="0" err="1"/>
              <a:t>Characterization</a:t>
            </a:r>
            <a:endParaRPr lang="sv-SE" sz="1200" b="1" dirty="0"/>
          </a:p>
          <a:p>
            <a:r>
              <a:rPr lang="en-US" sz="1200" dirty="0"/>
              <a:t>Characterization factors or equivalence are applied to relevant data in order to unify them into each selected impact category. For example, using the impact assessment method CML 2001 baseline, all emissions contributing to global warming are converted into CO</a:t>
            </a:r>
            <a:r>
              <a:rPr lang="en-US" sz="1200" baseline="-25000" dirty="0"/>
              <a:t>2</a:t>
            </a:r>
            <a:r>
              <a:rPr lang="en-US" sz="1200" dirty="0"/>
              <a:t>-equivalents (CO</a:t>
            </a:r>
            <a:r>
              <a:rPr lang="en-US" sz="1200" baseline="-25000" dirty="0"/>
              <a:t>2</a:t>
            </a:r>
            <a:r>
              <a:rPr lang="en-US" sz="1200" dirty="0"/>
              <a:t>eq.) and summed up:</a:t>
            </a:r>
          </a:p>
          <a:p>
            <a:pPr marL="457200" indent="-457200">
              <a:buFont typeface="Arial" panose="020B0604020202020204" pitchFamily="34" charset="0"/>
              <a:buChar char="•"/>
            </a:pPr>
            <a:r>
              <a:rPr lang="sv-SE" sz="1200" dirty="0"/>
              <a:t>1 kg CO</a:t>
            </a:r>
            <a:r>
              <a:rPr lang="sv-SE" sz="1200" baseline="-25000" dirty="0"/>
              <a:t>2</a:t>
            </a:r>
            <a:r>
              <a:rPr lang="sv-SE" sz="1200" dirty="0"/>
              <a:t> </a:t>
            </a:r>
            <a:r>
              <a:rPr lang="sv-SE" sz="1200" dirty="0" err="1"/>
              <a:t>equals</a:t>
            </a:r>
            <a:r>
              <a:rPr lang="sv-SE" sz="1200" dirty="0"/>
              <a:t> 1 kg </a:t>
            </a:r>
            <a:r>
              <a:rPr lang="en-US" sz="1200" dirty="0"/>
              <a:t>CO</a:t>
            </a:r>
            <a:r>
              <a:rPr lang="en-US" sz="1200" baseline="-25000" dirty="0"/>
              <a:t>2</a:t>
            </a:r>
            <a:r>
              <a:rPr lang="en-US" sz="1200" dirty="0"/>
              <a:t>eq. </a:t>
            </a:r>
          </a:p>
          <a:p>
            <a:pPr marL="457200" indent="-457200">
              <a:buFont typeface="Arial" panose="020B0604020202020204" pitchFamily="34" charset="0"/>
              <a:buChar char="•"/>
            </a:pPr>
            <a:r>
              <a:rPr lang="sv-SE" sz="1200" dirty="0"/>
              <a:t>1 kg CH</a:t>
            </a:r>
            <a:r>
              <a:rPr lang="sv-SE" sz="1200" baseline="-25000" dirty="0"/>
              <a:t>4</a:t>
            </a:r>
            <a:r>
              <a:rPr lang="sv-SE" sz="1200" dirty="0"/>
              <a:t> </a:t>
            </a:r>
            <a:r>
              <a:rPr lang="sv-SE" sz="1200" dirty="0" err="1"/>
              <a:t>equals</a:t>
            </a:r>
            <a:r>
              <a:rPr lang="sv-SE" sz="1200" dirty="0"/>
              <a:t> 28 kg </a:t>
            </a:r>
            <a:r>
              <a:rPr lang="en-US" sz="1200" dirty="0"/>
              <a:t>CO</a:t>
            </a:r>
            <a:r>
              <a:rPr lang="en-US" sz="1200" baseline="-25000" dirty="0"/>
              <a:t>2</a:t>
            </a:r>
            <a:r>
              <a:rPr lang="en-US" sz="1200" dirty="0"/>
              <a:t>eq.</a:t>
            </a:r>
          </a:p>
          <a:p>
            <a:pPr marL="457200" indent="-457200">
              <a:buFont typeface="Arial" panose="020B0604020202020204" pitchFamily="34" charset="0"/>
              <a:buChar char="•"/>
            </a:pPr>
            <a:r>
              <a:rPr lang="sv-SE" sz="1200" dirty="0"/>
              <a:t>1 kg N</a:t>
            </a:r>
            <a:r>
              <a:rPr lang="sv-SE" sz="1200" baseline="-25000" dirty="0"/>
              <a:t>2</a:t>
            </a:r>
            <a:r>
              <a:rPr lang="sv-SE" sz="1200" dirty="0"/>
              <a:t>O </a:t>
            </a:r>
            <a:r>
              <a:rPr lang="sv-SE" sz="1200" dirty="0" err="1"/>
              <a:t>equals</a:t>
            </a:r>
            <a:r>
              <a:rPr lang="sv-SE" sz="1200" dirty="0"/>
              <a:t> 265 kg CO</a:t>
            </a:r>
            <a:r>
              <a:rPr lang="sv-SE" sz="1200" baseline="-25000" dirty="0"/>
              <a:t>2</a:t>
            </a:r>
            <a:r>
              <a:rPr lang="sv-SE" sz="1200" dirty="0"/>
              <a:t> </a:t>
            </a:r>
            <a:r>
              <a:rPr lang="sv-SE" sz="1200" dirty="0" err="1"/>
              <a:t>eq</a:t>
            </a:r>
            <a:r>
              <a:rPr lang="sv-SE" sz="1200" dirty="0"/>
              <a:t>.</a:t>
            </a:r>
          </a:p>
          <a:p>
            <a:endParaRPr lang="sv-SE" sz="1200" dirty="0"/>
          </a:p>
          <a:p>
            <a:r>
              <a:rPr lang="sv-SE" sz="1200" b="1" dirty="0"/>
              <a:t>3. </a:t>
            </a:r>
            <a:r>
              <a:rPr lang="sv-SE" sz="1200" b="1" dirty="0" err="1"/>
              <a:t>Weighting</a:t>
            </a:r>
            <a:endParaRPr lang="sv-SE" sz="1200" b="1" dirty="0"/>
          </a:p>
          <a:p>
            <a:r>
              <a:rPr lang="sv-SE" sz="1200" dirty="0" err="1"/>
              <a:t>After</a:t>
            </a:r>
            <a:r>
              <a:rPr lang="sv-SE" sz="1200" dirty="0"/>
              <a:t> </a:t>
            </a:r>
            <a:r>
              <a:rPr lang="sv-SE" sz="1200" dirty="0" err="1"/>
              <a:t>calculating</a:t>
            </a:r>
            <a:r>
              <a:rPr lang="sv-SE" sz="1200" dirty="0"/>
              <a:t> </a:t>
            </a:r>
            <a:r>
              <a:rPr lang="sv-SE" sz="1200" dirty="0" err="1"/>
              <a:t>characterization</a:t>
            </a:r>
            <a:r>
              <a:rPr lang="sv-SE" sz="1200" dirty="0"/>
              <a:t> </a:t>
            </a:r>
            <a:r>
              <a:rPr lang="sv-SE" sz="1200" dirty="0" err="1"/>
              <a:t>results</a:t>
            </a:r>
            <a:r>
              <a:rPr lang="sv-SE" sz="1200" dirty="0"/>
              <a:t> for all </a:t>
            </a:r>
            <a:r>
              <a:rPr lang="sv-SE" sz="1200" dirty="0" err="1"/>
              <a:t>environmental</a:t>
            </a:r>
            <a:r>
              <a:rPr lang="sv-SE" sz="1200" dirty="0"/>
              <a:t> </a:t>
            </a:r>
            <a:r>
              <a:rPr lang="sv-SE" sz="1200" dirty="0" err="1"/>
              <a:t>impact</a:t>
            </a:r>
            <a:r>
              <a:rPr lang="sv-SE" sz="1200" dirty="0"/>
              <a:t> </a:t>
            </a:r>
            <a:r>
              <a:rPr lang="sv-SE" sz="1200" dirty="0" err="1"/>
              <a:t>indicators</a:t>
            </a:r>
            <a:r>
              <a:rPr lang="sv-SE" sz="1200" dirty="0"/>
              <a:t> (GWP, </a:t>
            </a:r>
            <a:r>
              <a:rPr lang="sv-SE" sz="1200" dirty="0" err="1"/>
              <a:t>Acidification</a:t>
            </a:r>
            <a:r>
              <a:rPr lang="sv-SE" sz="1200" dirty="0"/>
              <a:t> potential. </a:t>
            </a:r>
            <a:r>
              <a:rPr lang="sv-SE" sz="1200" dirty="0" err="1"/>
              <a:t>Eutrophication</a:t>
            </a:r>
            <a:r>
              <a:rPr lang="sv-SE" sz="1200" dirty="0"/>
              <a:t> potential etc.) </a:t>
            </a:r>
            <a:r>
              <a:rPr lang="sv-SE" sz="1200" dirty="0" err="1"/>
              <a:t>you</a:t>
            </a:r>
            <a:r>
              <a:rPr lang="sv-SE" sz="1200" dirty="0"/>
              <a:t> </a:t>
            </a:r>
            <a:r>
              <a:rPr lang="sv-SE" sz="1200" dirty="0" err="1"/>
              <a:t>can</a:t>
            </a:r>
            <a:r>
              <a:rPr lang="sv-SE" sz="1200" dirty="0"/>
              <a:t> </a:t>
            </a:r>
            <a:r>
              <a:rPr lang="sv-SE" sz="1200" dirty="0" err="1"/>
              <a:t>normalize</a:t>
            </a:r>
            <a:r>
              <a:rPr lang="sv-SE" sz="1200" dirty="0"/>
              <a:t> and </a:t>
            </a:r>
            <a:r>
              <a:rPr lang="sv-SE" sz="1200" dirty="0" err="1"/>
              <a:t>weight</a:t>
            </a:r>
            <a:r>
              <a:rPr lang="sv-SE" sz="1200" dirty="0"/>
              <a:t> </a:t>
            </a:r>
            <a:r>
              <a:rPr lang="sv-SE" sz="1200" dirty="0" err="1"/>
              <a:t>them</a:t>
            </a:r>
            <a:r>
              <a:rPr lang="sv-SE" sz="1200" dirty="0"/>
              <a:t> to </a:t>
            </a:r>
            <a:r>
              <a:rPr lang="sv-SE" sz="1200" dirty="0" err="1"/>
              <a:t>reach</a:t>
            </a:r>
            <a:r>
              <a:rPr lang="sv-SE" sz="1200" dirty="0"/>
              <a:t> a </a:t>
            </a:r>
            <a:r>
              <a:rPr lang="sv-SE" sz="1200" dirty="0" err="1"/>
              <a:t>single</a:t>
            </a:r>
            <a:r>
              <a:rPr lang="sv-SE" sz="1200" dirty="0"/>
              <a:t> score, </a:t>
            </a:r>
            <a:r>
              <a:rPr lang="sv-SE" sz="1200" dirty="0" err="1"/>
              <a:t>however</a:t>
            </a:r>
            <a:r>
              <a:rPr lang="sv-SE" sz="1200" dirty="0"/>
              <a:t>, </a:t>
            </a:r>
            <a:r>
              <a:rPr lang="sv-SE" sz="1200" dirty="0" err="1"/>
              <a:t>this</a:t>
            </a:r>
            <a:r>
              <a:rPr lang="sv-SE" sz="1200" dirty="0"/>
              <a:t> </a:t>
            </a:r>
            <a:r>
              <a:rPr lang="sv-SE" sz="1200" dirty="0" err="1"/>
              <a:t>stage</a:t>
            </a:r>
            <a:r>
              <a:rPr lang="sv-SE" sz="1200" dirty="0"/>
              <a:t> is not </a:t>
            </a:r>
            <a:r>
              <a:rPr lang="sv-SE" sz="1200" dirty="0" err="1"/>
              <a:t>mandatory</a:t>
            </a:r>
            <a:r>
              <a:rPr lang="sv-SE" sz="1200" dirty="0"/>
              <a:t>.</a:t>
            </a:r>
          </a:p>
          <a:p>
            <a:endParaRPr lang="sv-SE" dirty="0"/>
          </a:p>
        </p:txBody>
      </p:sp>
      <p:sp>
        <p:nvSpPr>
          <p:cNvPr id="4" name="Slide Number Placeholder 3"/>
          <p:cNvSpPr>
            <a:spLocks noGrp="1"/>
          </p:cNvSpPr>
          <p:nvPr>
            <p:ph type="sldNum" sz="quarter" idx="5"/>
          </p:nvPr>
        </p:nvSpPr>
        <p:spPr/>
        <p:txBody>
          <a:bodyPr/>
          <a:lstStyle/>
          <a:p>
            <a:fld id="{56F27705-2196-417A-A13D-48C8CEB92D2A}" type="slidenum">
              <a:rPr lang="sv-SE" smtClean="0"/>
              <a:t>136</a:t>
            </a:fld>
            <a:endParaRPr lang="sv-SE"/>
          </a:p>
        </p:txBody>
      </p:sp>
    </p:spTree>
    <p:extLst>
      <p:ext uri="{BB962C8B-B14F-4D97-AF65-F5344CB8AC3E}">
        <p14:creationId xmlns:p14="http://schemas.microsoft.com/office/powerpoint/2010/main" val="1893128182"/>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fld id="{56F27705-2196-417A-A13D-48C8CEB92D2A}" type="slidenum">
              <a:rPr lang="sv-SE" smtClean="0"/>
              <a:t>137</a:t>
            </a:fld>
            <a:endParaRPr lang="sv-SE"/>
          </a:p>
        </p:txBody>
      </p:sp>
    </p:spTree>
    <p:extLst>
      <p:ext uri="{BB962C8B-B14F-4D97-AF65-F5344CB8AC3E}">
        <p14:creationId xmlns:p14="http://schemas.microsoft.com/office/powerpoint/2010/main" val="3070799662"/>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a:t>No </a:t>
            </a:r>
            <a:r>
              <a:rPr lang="sv-SE" err="1"/>
              <a:t>further</a:t>
            </a:r>
            <a:r>
              <a:rPr lang="sv-SE"/>
              <a:t> </a:t>
            </a:r>
            <a:r>
              <a:rPr lang="sv-SE" err="1"/>
              <a:t>comments</a:t>
            </a:r>
            <a:endParaRPr lang="sv-SE"/>
          </a:p>
        </p:txBody>
      </p:sp>
      <p:sp>
        <p:nvSpPr>
          <p:cNvPr id="4" name="Slide Number Placeholder 3"/>
          <p:cNvSpPr>
            <a:spLocks noGrp="1"/>
          </p:cNvSpPr>
          <p:nvPr>
            <p:ph type="sldNum" sz="quarter" idx="5"/>
          </p:nvPr>
        </p:nvSpPr>
        <p:spPr/>
        <p:txBody>
          <a:bodyPr/>
          <a:lstStyle/>
          <a:p>
            <a:fld id="{56F27705-2196-417A-A13D-48C8CEB92D2A}" type="slidenum">
              <a:rPr lang="sv-SE" smtClean="0"/>
              <a:t>138</a:t>
            </a:fld>
            <a:endParaRPr lang="sv-SE"/>
          </a:p>
        </p:txBody>
      </p:sp>
    </p:spTree>
    <p:extLst>
      <p:ext uri="{BB962C8B-B14F-4D97-AF65-F5344CB8AC3E}">
        <p14:creationId xmlns:p14="http://schemas.microsoft.com/office/powerpoint/2010/main" val="3737025713"/>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err="1"/>
              <a:t>Both</a:t>
            </a:r>
            <a:r>
              <a:rPr lang="sv-SE"/>
              <a:t> </a:t>
            </a:r>
            <a:r>
              <a:rPr lang="sv-SE" err="1"/>
              <a:t>have</a:t>
            </a:r>
            <a:r>
              <a:rPr lang="sv-SE"/>
              <a:t> </a:t>
            </a:r>
            <a:r>
              <a:rPr lang="sv-SE" err="1"/>
              <a:t>some</a:t>
            </a:r>
            <a:r>
              <a:rPr lang="sv-SE"/>
              <a:t> </a:t>
            </a:r>
            <a:r>
              <a:rPr lang="sv-SE" err="1"/>
              <a:t>disadvantages</a:t>
            </a:r>
            <a:endParaRPr lang="sv-SE"/>
          </a:p>
          <a:p>
            <a:r>
              <a:rPr lang="sv-SE" err="1"/>
              <a:t>Electricity</a:t>
            </a:r>
            <a:r>
              <a:rPr lang="sv-SE"/>
              <a:t> is </a:t>
            </a:r>
            <a:r>
              <a:rPr lang="sv-SE" err="1"/>
              <a:t>consumed</a:t>
            </a:r>
            <a:r>
              <a:rPr lang="sv-SE"/>
              <a:t> </a:t>
            </a:r>
            <a:r>
              <a:rPr lang="sv-SE" err="1"/>
              <a:t>while</a:t>
            </a:r>
            <a:r>
              <a:rPr lang="sv-SE"/>
              <a:t> </a:t>
            </a:r>
            <a:r>
              <a:rPr lang="sv-SE" err="1"/>
              <a:t>washing</a:t>
            </a:r>
            <a:r>
              <a:rPr lang="sv-SE"/>
              <a:t> the </a:t>
            </a:r>
            <a:r>
              <a:rPr lang="sv-SE" err="1"/>
              <a:t>reusable</a:t>
            </a:r>
            <a:r>
              <a:rPr lang="sv-SE"/>
              <a:t> </a:t>
            </a:r>
            <a:r>
              <a:rPr lang="sv-SE" err="1"/>
              <a:t>diapers</a:t>
            </a:r>
            <a:r>
              <a:rPr lang="sv-SE"/>
              <a:t>, the total </a:t>
            </a:r>
            <a:r>
              <a:rPr lang="sv-SE" err="1"/>
              <a:t>impact</a:t>
            </a:r>
            <a:r>
              <a:rPr lang="sv-SE"/>
              <a:t> </a:t>
            </a:r>
            <a:r>
              <a:rPr lang="sv-SE" err="1"/>
              <a:t>during</a:t>
            </a:r>
            <a:r>
              <a:rPr lang="sv-SE"/>
              <a:t> the </a:t>
            </a:r>
            <a:r>
              <a:rPr lang="sv-SE" err="1"/>
              <a:t>life</a:t>
            </a:r>
            <a:r>
              <a:rPr lang="sv-SE"/>
              <a:t> </a:t>
            </a:r>
            <a:r>
              <a:rPr lang="sv-SE" err="1"/>
              <a:t>cycle</a:t>
            </a:r>
            <a:r>
              <a:rPr lang="sv-SE"/>
              <a:t> </a:t>
            </a:r>
            <a:r>
              <a:rPr lang="sv-SE" err="1"/>
              <a:t>of</a:t>
            </a:r>
            <a:r>
              <a:rPr lang="sv-SE"/>
              <a:t> the </a:t>
            </a:r>
            <a:r>
              <a:rPr lang="sv-SE" err="1"/>
              <a:t>reusable</a:t>
            </a:r>
            <a:r>
              <a:rPr lang="sv-SE"/>
              <a:t> </a:t>
            </a:r>
            <a:r>
              <a:rPr lang="sv-SE" err="1"/>
              <a:t>diaper</a:t>
            </a:r>
            <a:r>
              <a:rPr lang="sv-SE"/>
              <a:t> </a:t>
            </a:r>
            <a:r>
              <a:rPr lang="sv-SE" err="1"/>
              <a:t>will</a:t>
            </a:r>
            <a:r>
              <a:rPr lang="sv-SE"/>
              <a:t> be </a:t>
            </a:r>
            <a:r>
              <a:rPr lang="sv-SE" err="1"/>
              <a:t>high</a:t>
            </a:r>
            <a:r>
              <a:rPr lang="sv-SE"/>
              <a:t> </a:t>
            </a:r>
            <a:r>
              <a:rPr lang="sv-SE" err="1"/>
              <a:t>if</a:t>
            </a:r>
            <a:r>
              <a:rPr lang="sv-SE"/>
              <a:t> the </a:t>
            </a:r>
            <a:r>
              <a:rPr lang="sv-SE" err="1"/>
              <a:t>renewable</a:t>
            </a:r>
            <a:r>
              <a:rPr lang="sv-SE"/>
              <a:t> </a:t>
            </a:r>
            <a:r>
              <a:rPr lang="sv-SE" err="1"/>
              <a:t>energy</a:t>
            </a:r>
            <a:r>
              <a:rPr lang="sv-SE"/>
              <a:t> </a:t>
            </a:r>
            <a:r>
              <a:rPr lang="sv-SE" err="1"/>
              <a:t>share</a:t>
            </a:r>
            <a:r>
              <a:rPr lang="sv-SE"/>
              <a:t> in the </a:t>
            </a:r>
            <a:r>
              <a:rPr lang="sv-SE" err="1"/>
              <a:t>electricity</a:t>
            </a:r>
            <a:r>
              <a:rPr lang="sv-SE"/>
              <a:t> mix is </a:t>
            </a:r>
            <a:r>
              <a:rPr lang="sv-SE" err="1"/>
              <a:t>low</a:t>
            </a:r>
            <a:r>
              <a:rPr lang="sv-SE"/>
              <a:t>.</a:t>
            </a:r>
          </a:p>
          <a:p>
            <a:r>
              <a:rPr lang="sv-SE" err="1"/>
              <a:t>Single-use</a:t>
            </a:r>
            <a:r>
              <a:rPr lang="sv-SE"/>
              <a:t> </a:t>
            </a:r>
            <a:r>
              <a:rPr lang="sv-SE" err="1"/>
              <a:t>diapers</a:t>
            </a:r>
            <a:r>
              <a:rPr lang="sv-SE"/>
              <a:t> </a:t>
            </a:r>
            <a:r>
              <a:rPr lang="sv-SE" err="1"/>
              <a:t>contribute</a:t>
            </a:r>
            <a:r>
              <a:rPr lang="sv-SE"/>
              <a:t> to plastic pollution</a:t>
            </a:r>
          </a:p>
          <a:p>
            <a:endParaRPr lang="sv-SE" b="1"/>
          </a:p>
          <a:p>
            <a:r>
              <a:rPr lang="sv-SE" b="1" err="1"/>
              <a:t>Some</a:t>
            </a:r>
            <a:r>
              <a:rPr lang="sv-SE" b="1"/>
              <a:t> </a:t>
            </a:r>
            <a:r>
              <a:rPr lang="sv-SE" b="1" err="1"/>
              <a:t>preventive</a:t>
            </a:r>
            <a:r>
              <a:rPr lang="sv-SE" b="1"/>
              <a:t> </a:t>
            </a:r>
            <a:r>
              <a:rPr lang="sv-SE" b="1" err="1"/>
              <a:t>measures</a:t>
            </a:r>
            <a:r>
              <a:rPr lang="sv-SE" b="1"/>
              <a:t>:</a:t>
            </a:r>
          </a:p>
          <a:p>
            <a:r>
              <a:rPr lang="sv-SE" err="1"/>
              <a:t>Good</a:t>
            </a:r>
            <a:r>
              <a:rPr lang="sv-SE"/>
              <a:t> </a:t>
            </a:r>
            <a:r>
              <a:rPr lang="sv-SE" err="1"/>
              <a:t>waste</a:t>
            </a:r>
            <a:r>
              <a:rPr lang="sv-SE"/>
              <a:t> </a:t>
            </a:r>
            <a:r>
              <a:rPr lang="sv-SE" err="1"/>
              <a:t>collection</a:t>
            </a:r>
            <a:r>
              <a:rPr lang="sv-SE"/>
              <a:t> and </a:t>
            </a:r>
            <a:r>
              <a:rPr lang="sv-SE" err="1"/>
              <a:t>disposal</a:t>
            </a:r>
            <a:r>
              <a:rPr lang="sv-SE"/>
              <a:t> </a:t>
            </a:r>
            <a:r>
              <a:rPr lang="sv-SE" err="1"/>
              <a:t>practices</a:t>
            </a:r>
            <a:r>
              <a:rPr lang="sv-SE"/>
              <a:t> for </a:t>
            </a:r>
            <a:r>
              <a:rPr lang="sv-SE" err="1"/>
              <a:t>single</a:t>
            </a:r>
            <a:r>
              <a:rPr lang="sv-SE"/>
              <a:t> </a:t>
            </a:r>
            <a:r>
              <a:rPr lang="sv-SE" err="1"/>
              <a:t>use</a:t>
            </a:r>
            <a:r>
              <a:rPr lang="sv-SE"/>
              <a:t> </a:t>
            </a:r>
            <a:r>
              <a:rPr lang="sv-SE" err="1"/>
              <a:t>diapers</a:t>
            </a:r>
            <a:endParaRPr lang="sv-SE"/>
          </a:p>
          <a:p>
            <a:r>
              <a:rPr lang="sv-SE" err="1"/>
              <a:t>Good</a:t>
            </a:r>
            <a:r>
              <a:rPr lang="sv-SE"/>
              <a:t> </a:t>
            </a:r>
            <a:r>
              <a:rPr lang="sv-SE" err="1"/>
              <a:t>laundering</a:t>
            </a:r>
            <a:r>
              <a:rPr lang="sv-SE"/>
              <a:t> </a:t>
            </a:r>
            <a:r>
              <a:rPr lang="sv-SE" err="1"/>
              <a:t>practices</a:t>
            </a:r>
            <a:r>
              <a:rPr lang="sv-SE"/>
              <a:t> (</a:t>
            </a:r>
            <a:r>
              <a:rPr lang="sv-SE" err="1"/>
              <a:t>below</a:t>
            </a:r>
            <a:r>
              <a:rPr lang="sv-SE"/>
              <a:t> 60˚C, full </a:t>
            </a:r>
            <a:r>
              <a:rPr lang="sv-SE" err="1"/>
              <a:t>machine</a:t>
            </a:r>
            <a:r>
              <a:rPr lang="sv-SE"/>
              <a:t> etc.)</a:t>
            </a:r>
          </a:p>
          <a:p>
            <a:endParaRPr lang="sv-SE"/>
          </a:p>
          <a:p>
            <a:r>
              <a:rPr lang="sv-SE"/>
              <a:t>For </a:t>
            </a:r>
            <a:r>
              <a:rPr lang="sv-SE" err="1"/>
              <a:t>detailed</a:t>
            </a:r>
            <a:r>
              <a:rPr lang="sv-SE"/>
              <a:t> information: </a:t>
            </a:r>
            <a:r>
              <a:rPr lang="en-US"/>
              <a:t>Single-use nappies and  their alternatives-Recommendations from  Life Cycle Assessments, report by UNEP</a:t>
            </a:r>
            <a:endParaRPr lang="sv-SE"/>
          </a:p>
          <a:p>
            <a:endParaRPr lang="sv-SE"/>
          </a:p>
        </p:txBody>
      </p:sp>
      <p:sp>
        <p:nvSpPr>
          <p:cNvPr id="4" name="Slide Number Placeholder 3"/>
          <p:cNvSpPr>
            <a:spLocks noGrp="1"/>
          </p:cNvSpPr>
          <p:nvPr>
            <p:ph type="sldNum" sz="quarter" idx="5"/>
          </p:nvPr>
        </p:nvSpPr>
        <p:spPr/>
        <p:txBody>
          <a:bodyPr/>
          <a:lstStyle/>
          <a:p>
            <a:fld id="{F84DB91F-1AD8-437C-8866-3636784D0854}" type="slidenum">
              <a:rPr lang="en-GB" smtClean="0"/>
              <a:t>139</a:t>
            </a:fld>
            <a:endParaRPr lang="en-GB"/>
          </a:p>
        </p:txBody>
      </p:sp>
    </p:spTree>
    <p:extLst>
      <p:ext uri="{BB962C8B-B14F-4D97-AF65-F5344CB8AC3E}">
        <p14:creationId xmlns:p14="http://schemas.microsoft.com/office/powerpoint/2010/main" val="174069750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4DB91F-1AD8-437C-8866-3636784D085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7631759"/>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a:t>The </a:t>
            </a:r>
            <a:r>
              <a:rPr lang="sv-SE" err="1"/>
              <a:t>aim</a:t>
            </a:r>
            <a:r>
              <a:rPr lang="sv-SE"/>
              <a:t> </a:t>
            </a:r>
            <a:r>
              <a:rPr lang="sv-SE" err="1"/>
              <a:t>of</a:t>
            </a:r>
            <a:r>
              <a:rPr lang="sv-SE"/>
              <a:t> </a:t>
            </a:r>
            <a:r>
              <a:rPr lang="sv-SE" err="1"/>
              <a:t>this</a:t>
            </a:r>
            <a:r>
              <a:rPr lang="sv-SE"/>
              <a:t> </a:t>
            </a:r>
            <a:r>
              <a:rPr lang="sv-SE" err="1"/>
              <a:t>activity</a:t>
            </a:r>
            <a:r>
              <a:rPr lang="sv-SE"/>
              <a:t> is to </a:t>
            </a:r>
            <a:r>
              <a:rPr lang="sv-SE" err="1"/>
              <a:t>think</a:t>
            </a:r>
            <a:r>
              <a:rPr lang="sv-SE"/>
              <a:t> </a:t>
            </a:r>
            <a:r>
              <a:rPr lang="sv-SE" err="1"/>
              <a:t>about</a:t>
            </a:r>
            <a:r>
              <a:rPr lang="sv-SE"/>
              <a:t> </a:t>
            </a:r>
            <a:r>
              <a:rPr lang="sv-SE" err="1"/>
              <a:t>how</a:t>
            </a:r>
            <a:r>
              <a:rPr lang="sv-SE"/>
              <a:t> to </a:t>
            </a:r>
            <a:r>
              <a:rPr lang="sv-SE" err="1"/>
              <a:t>define</a:t>
            </a:r>
            <a:r>
              <a:rPr lang="sv-SE"/>
              <a:t> system </a:t>
            </a:r>
            <a:r>
              <a:rPr lang="sv-SE" err="1"/>
              <a:t>function</a:t>
            </a:r>
            <a:r>
              <a:rPr lang="sv-SE"/>
              <a:t> and </a:t>
            </a:r>
            <a:r>
              <a:rPr lang="sv-SE" err="1"/>
              <a:t>functional</a:t>
            </a:r>
            <a:r>
              <a:rPr lang="sv-SE"/>
              <a:t> </a:t>
            </a:r>
            <a:r>
              <a:rPr lang="sv-SE" err="1"/>
              <a:t>unit</a:t>
            </a:r>
            <a:r>
              <a:rPr lang="sv-SE"/>
              <a:t> </a:t>
            </a:r>
            <a:r>
              <a:rPr lang="sv-SE" err="1"/>
              <a:t>especially</a:t>
            </a:r>
            <a:r>
              <a:rPr lang="sv-SE"/>
              <a:t> </a:t>
            </a:r>
            <a:r>
              <a:rPr lang="sv-SE" err="1"/>
              <a:t>when</a:t>
            </a:r>
            <a:r>
              <a:rPr lang="sv-SE"/>
              <a:t> the system has </a:t>
            </a:r>
            <a:r>
              <a:rPr lang="sv-SE" err="1"/>
              <a:t>multiple</a:t>
            </a:r>
            <a:r>
              <a:rPr lang="sv-SE"/>
              <a:t> </a:t>
            </a:r>
            <a:r>
              <a:rPr lang="sv-SE" err="1"/>
              <a:t>functions</a:t>
            </a:r>
            <a:r>
              <a:rPr lang="sv-SE"/>
              <a:t> or the </a:t>
            </a:r>
            <a:r>
              <a:rPr lang="sv-SE" err="1"/>
              <a:t>function</a:t>
            </a:r>
            <a:r>
              <a:rPr lang="sv-SE"/>
              <a:t> is hard to </a:t>
            </a:r>
            <a:r>
              <a:rPr lang="sv-SE" err="1"/>
              <a:t>define</a:t>
            </a:r>
            <a:r>
              <a:rPr lang="sv-SE"/>
              <a:t> (the </a:t>
            </a:r>
            <a:r>
              <a:rPr lang="sv-SE" err="1"/>
              <a:t>beer</a:t>
            </a:r>
            <a:r>
              <a:rPr lang="sv-SE"/>
              <a:t> </a:t>
            </a:r>
            <a:r>
              <a:rPr lang="sv-SE" err="1"/>
              <a:t>example</a:t>
            </a:r>
            <a:r>
              <a:rPr lang="sv-SE"/>
              <a:t>).</a:t>
            </a:r>
          </a:p>
          <a:p>
            <a:endParaRPr lang="sv-SE"/>
          </a:p>
        </p:txBody>
      </p:sp>
      <p:sp>
        <p:nvSpPr>
          <p:cNvPr id="4" name="Slide Number Placeholder 3"/>
          <p:cNvSpPr>
            <a:spLocks noGrp="1"/>
          </p:cNvSpPr>
          <p:nvPr>
            <p:ph type="sldNum" sz="quarter" idx="5"/>
          </p:nvPr>
        </p:nvSpPr>
        <p:spPr/>
        <p:txBody>
          <a:bodyPr/>
          <a:lstStyle/>
          <a:p>
            <a:fld id="{F84DB91F-1AD8-437C-8866-3636784D0854}" type="slidenum">
              <a:rPr lang="en-GB" smtClean="0"/>
              <a:t>140</a:t>
            </a:fld>
            <a:endParaRPr lang="en-GB"/>
          </a:p>
        </p:txBody>
      </p:sp>
    </p:spTree>
    <p:extLst>
      <p:ext uri="{BB962C8B-B14F-4D97-AF65-F5344CB8AC3E}">
        <p14:creationId xmlns:p14="http://schemas.microsoft.com/office/powerpoint/2010/main" val="2008471879"/>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fld id="{F84DB91F-1AD8-437C-8866-3636784D0854}" type="slidenum">
              <a:rPr lang="en-GB" smtClean="0"/>
              <a:t>141</a:t>
            </a:fld>
            <a:endParaRPr lang="en-GB"/>
          </a:p>
        </p:txBody>
      </p:sp>
    </p:spTree>
    <p:extLst>
      <p:ext uri="{BB962C8B-B14F-4D97-AF65-F5344CB8AC3E}">
        <p14:creationId xmlns:p14="http://schemas.microsoft.com/office/powerpoint/2010/main" val="2457725108"/>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just" defTabSz="914400" rtl="0" eaLnBrk="1" fontAlgn="auto" latinLnBrk="0" hangingPunct="1">
              <a:lnSpc>
                <a:spcPct val="125000"/>
              </a:lnSpc>
              <a:spcBef>
                <a:spcPts val="0"/>
              </a:spcBef>
              <a:spcAft>
                <a:spcPts val="1200"/>
              </a:spcAft>
              <a:buClrTx/>
              <a:buSzTx/>
              <a:buFontTx/>
              <a:buNone/>
              <a:tabLst/>
              <a:defRPr/>
            </a:pPr>
            <a:r>
              <a:rPr lang="en-US"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The LCC for this project takes into consideration both fixed and operational costs of the product system. </a:t>
            </a:r>
            <a:r>
              <a:rPr lang="en-GB"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Table 1</a:t>
            </a:r>
            <a:r>
              <a:rPr lang="en-US"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outlines the cost items that are included and provides further details. For the fixed and operational cost calculations of the current installation, full-year data from 2019 is preferred, based on the operations of the studied product system. In the event that 2019 data is unavailable, the latest full year data should be used instead.</a:t>
            </a:r>
          </a:p>
          <a:p>
            <a:pPr algn="just">
              <a:lnSpc>
                <a:spcPct val="125000"/>
              </a:lnSpc>
              <a:spcAft>
                <a:spcPts val="1200"/>
              </a:spcAft>
            </a:pPr>
            <a:endParaRPr lang="en-US"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endParaRPr>
          </a:p>
          <a:p>
            <a:pPr algn="just">
              <a:lnSpc>
                <a:spcPct val="125000"/>
              </a:lnSpc>
              <a:spcAft>
                <a:spcPts val="1200"/>
              </a:spcAft>
            </a:pPr>
            <a:r>
              <a:rPr lang="en-US"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Fixed costs are expenses that remain constant regardless of whether the process is operational or not. These costs include investment costs, maintenance costs, staff costs, permit costs, contracted costs, and R&amp;D costs.</a:t>
            </a:r>
            <a:endParaRPr lang="sv-SE"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endParaRPr>
          </a:p>
          <a:p>
            <a:pPr algn="just">
              <a:lnSpc>
                <a:spcPct val="125000"/>
              </a:lnSpc>
              <a:spcAft>
                <a:spcPts val="1200"/>
              </a:spcAft>
            </a:pPr>
            <a:r>
              <a:rPr lang="en-US"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When calculating the investment cost for equipment, it is recommended to spread it over the equipment's lifespan, assuming linear depreciation. When the equipment's useful life ends, the cost of disassembling the equipment is considered zero in the assessment as used equipment generates no income.</a:t>
            </a:r>
            <a:endParaRPr lang="sv-SE"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endParaRPr>
          </a:p>
          <a:p>
            <a:pPr algn="just">
              <a:lnSpc>
                <a:spcPct val="125000"/>
              </a:lnSpc>
              <a:spcAft>
                <a:spcPts val="1200"/>
              </a:spcAft>
            </a:pPr>
            <a:endParaRPr lang="en-US"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endParaRPr>
          </a:p>
          <a:p>
            <a:pPr algn="just">
              <a:lnSpc>
                <a:spcPct val="125000"/>
              </a:lnSpc>
              <a:spcAft>
                <a:spcPts val="1200"/>
              </a:spcAft>
            </a:pPr>
            <a:r>
              <a:rPr lang="en-US"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The cost of interest is included in the financial evaluation for activities involving borrowed money, such as initial investments and periodic maintenance, and based on current country practices.</a:t>
            </a:r>
            <a:endParaRPr lang="sv-SE"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endParaRPr>
          </a:p>
          <a:p>
            <a:pPr algn="just">
              <a:lnSpc>
                <a:spcPct val="125000"/>
              </a:lnSpc>
              <a:spcAft>
                <a:spcPts val="1200"/>
              </a:spcAft>
            </a:pPr>
            <a:endParaRPr lang="en-US"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endParaRPr>
          </a:p>
          <a:p>
            <a:pPr algn="just">
              <a:lnSpc>
                <a:spcPct val="125000"/>
              </a:lnSpc>
              <a:spcAft>
                <a:spcPts val="1200"/>
              </a:spcAft>
            </a:pPr>
            <a:r>
              <a:rPr lang="en-US"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The maintenance cost should include both continuous and periodic maintenance, as well as investments. The project partners responsible for retrofitting the demo sites' core processes should specify the interval for periodic maintenance and investments. The cost of periodic investments is depreciated linearly and follows the time interval for the periodical investment needs.</a:t>
            </a:r>
            <a:endParaRPr lang="sv-SE"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endParaRPr>
          </a:p>
          <a:p>
            <a:pPr algn="just">
              <a:lnSpc>
                <a:spcPct val="125000"/>
              </a:lnSpc>
              <a:spcAft>
                <a:spcPts val="1200"/>
              </a:spcAft>
            </a:pPr>
            <a:endParaRPr lang="en-US"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endParaRPr>
          </a:p>
          <a:p>
            <a:pPr algn="just">
              <a:lnSpc>
                <a:spcPct val="125000"/>
              </a:lnSpc>
              <a:spcAft>
                <a:spcPts val="1200"/>
              </a:spcAft>
            </a:pPr>
            <a:r>
              <a:rPr lang="en-US"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The cost of staff should consider site and country-specific conditions and be based on the number of full-time equivalents (FTEs) required to operate the retrofitted core processes during the project.</a:t>
            </a:r>
            <a:endParaRPr lang="sv-SE"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endParaRPr>
          </a:p>
          <a:p>
            <a:pPr algn="just">
              <a:lnSpc>
                <a:spcPct val="125000"/>
              </a:lnSpc>
              <a:spcAft>
                <a:spcPts val="1200"/>
              </a:spcAft>
            </a:pPr>
            <a:endParaRPr lang="en-US"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endParaRPr>
          </a:p>
          <a:p>
            <a:pPr algn="just">
              <a:lnSpc>
                <a:spcPct val="125000"/>
              </a:lnSpc>
              <a:spcAft>
                <a:spcPts val="1200"/>
              </a:spcAft>
            </a:pPr>
            <a:r>
              <a:rPr lang="en-US"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The costs that vary based on the operation status of the equipment are known as variable costs. These costs decrease when the equipment is not operating or is operating at a reduced capacity. The expenses in this category include raw materials, energy and auxiliaries, waste management costs, and transportation costs.</a:t>
            </a:r>
            <a:endParaRPr lang="sv-SE"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endParaRPr>
          </a:p>
          <a:p>
            <a:pPr algn="just">
              <a:lnSpc>
                <a:spcPct val="125000"/>
              </a:lnSpc>
              <a:spcAft>
                <a:spcPts val="1200"/>
              </a:spcAft>
            </a:pPr>
            <a:endParaRPr lang="en-US"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endParaRPr>
          </a:p>
          <a:p>
            <a:pPr algn="just">
              <a:lnSpc>
                <a:spcPct val="125000"/>
              </a:lnSpc>
              <a:spcAft>
                <a:spcPts val="1200"/>
              </a:spcAft>
            </a:pPr>
            <a:r>
              <a:rPr lang="en-US"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While maintenance costs can be linked to the operation of the processes, it is recommended to categorize all maintenance costs under fixed costs for the sake of simplicity.</a:t>
            </a:r>
            <a:endParaRPr lang="sv-SE"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endParaRPr>
          </a:p>
          <a:p>
            <a:pPr algn="just">
              <a:lnSpc>
                <a:spcPct val="125000"/>
              </a:lnSpc>
              <a:spcAft>
                <a:spcPts val="1200"/>
              </a:spcAft>
            </a:pPr>
            <a:endParaRPr lang="en-US"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endParaRPr>
          </a:p>
          <a:p>
            <a:pPr algn="just">
              <a:lnSpc>
                <a:spcPct val="125000"/>
              </a:lnSpc>
              <a:spcAft>
                <a:spcPts val="1200"/>
              </a:spcAft>
            </a:pPr>
            <a:r>
              <a:rPr lang="en-US"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The assessment considers the potential revenue generated by recovered products, which mainly represents the market value of similar products in the market. The specific cost data utilized in the evaluation should mainly reflect prices in the local or regional market. In cases where this is not possible, market averages should be used instead. As the project aims to evaluate RETROFEED at an industrial scale (full-scale implementation), the cost assessment should consider the prices of large purchasing volumes by the industry. This will ensure that the evaluation, particularly the variable costs, is not overrated by utilizing the price of small volume purchases such as those required for operating pilot plants.</a:t>
            </a:r>
            <a:endParaRPr lang="sv-SE"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endParaRPr>
          </a:p>
          <a:p>
            <a:pPr algn="just">
              <a:lnSpc>
                <a:spcPct val="125000"/>
              </a:lnSpc>
              <a:spcAft>
                <a:spcPts val="1200"/>
              </a:spcAft>
            </a:pPr>
            <a:endParaRPr lang="en-US"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endParaRPr>
          </a:p>
          <a:p>
            <a:pPr algn="just">
              <a:lnSpc>
                <a:spcPct val="125000"/>
              </a:lnSpc>
              <a:spcAft>
                <a:spcPts val="1200"/>
              </a:spcAft>
            </a:pPr>
            <a:r>
              <a:rPr lang="en-US"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Furthermore, the LCC assessment considers external costs, which are also referred to as externalities and damage costs. These costs are not directly incurred by the organization but are instead incurred by society because of environmental damage and emissions. To evaluate external costs, it is recommended to use the Environmental Priority System (EPS) and to present the results along with fixed and variable costs. The impact is expressed in Environmental Load Units (ELUs) or Euros, which demonstrates the total external costs' magnitude relative to fixed and operational costs. The EPS version 2015dx should be used, which is available in software tools like </a:t>
            </a:r>
            <a:r>
              <a:rPr lang="en-US" sz="1800" dirty="0" err="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GaBi</a:t>
            </a:r>
            <a:r>
              <a:rPr lang="en-US"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a:t>
            </a:r>
            <a:endParaRPr lang="sv-SE"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endParaRPr>
          </a:p>
          <a:p>
            <a:endParaRPr lang="sv-SE" dirty="0"/>
          </a:p>
        </p:txBody>
      </p:sp>
      <p:sp>
        <p:nvSpPr>
          <p:cNvPr id="4" name="Platshållare för bildnummer 3"/>
          <p:cNvSpPr>
            <a:spLocks noGrp="1"/>
          </p:cNvSpPr>
          <p:nvPr>
            <p:ph type="sldNum" sz="quarter" idx="5"/>
          </p:nvPr>
        </p:nvSpPr>
        <p:spPr/>
        <p:txBody>
          <a:bodyPr/>
          <a:lstStyle/>
          <a:p>
            <a:fld id="{F84DB91F-1AD8-437C-8866-3636784D0854}" type="slidenum">
              <a:rPr lang="en-GB" smtClean="0"/>
              <a:t>142</a:t>
            </a:fld>
            <a:endParaRPr lang="en-GB"/>
          </a:p>
        </p:txBody>
      </p:sp>
    </p:spTree>
    <p:extLst>
      <p:ext uri="{BB962C8B-B14F-4D97-AF65-F5344CB8AC3E}">
        <p14:creationId xmlns:p14="http://schemas.microsoft.com/office/powerpoint/2010/main" val="1569065154"/>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F84DB91F-1AD8-437C-8866-3636784D0854}" type="slidenum">
              <a:rPr lang="en-GB" smtClean="0"/>
              <a:t>143</a:t>
            </a:fld>
            <a:endParaRPr lang="en-GB"/>
          </a:p>
        </p:txBody>
      </p:sp>
    </p:spTree>
    <p:extLst>
      <p:ext uri="{BB962C8B-B14F-4D97-AF65-F5344CB8AC3E}">
        <p14:creationId xmlns:p14="http://schemas.microsoft.com/office/powerpoint/2010/main" val="2469084177"/>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fld id="{F84DB91F-1AD8-437C-8866-3636784D0854}" type="slidenum">
              <a:rPr lang="en-GB" smtClean="0"/>
              <a:t>145</a:t>
            </a:fld>
            <a:endParaRPr lang="en-GB"/>
          </a:p>
        </p:txBody>
      </p:sp>
    </p:spTree>
    <p:extLst>
      <p:ext uri="{BB962C8B-B14F-4D97-AF65-F5344CB8AC3E}">
        <p14:creationId xmlns:p14="http://schemas.microsoft.com/office/powerpoint/2010/main" val="764355590"/>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a:t>No </a:t>
            </a:r>
            <a:r>
              <a:rPr lang="sv-SE" err="1"/>
              <a:t>further</a:t>
            </a:r>
            <a:r>
              <a:rPr lang="sv-SE"/>
              <a:t> </a:t>
            </a:r>
            <a:r>
              <a:rPr lang="sv-SE" err="1"/>
              <a:t>comments</a:t>
            </a:r>
            <a:endParaRPr lang="en-GB"/>
          </a:p>
        </p:txBody>
      </p:sp>
      <p:sp>
        <p:nvSpPr>
          <p:cNvPr id="4" name="Slide Number Placeholder 3"/>
          <p:cNvSpPr>
            <a:spLocks noGrp="1"/>
          </p:cNvSpPr>
          <p:nvPr>
            <p:ph type="sldNum" sz="quarter" idx="5"/>
          </p:nvPr>
        </p:nvSpPr>
        <p:spPr/>
        <p:txBody>
          <a:bodyPr/>
          <a:lstStyle/>
          <a:p>
            <a:fld id="{F84DB91F-1AD8-437C-8866-3636784D0854}" type="slidenum">
              <a:rPr lang="en-GB" smtClean="0"/>
              <a:t>146</a:t>
            </a:fld>
            <a:endParaRPr lang="en-GB"/>
          </a:p>
        </p:txBody>
      </p:sp>
    </p:spTree>
    <p:extLst>
      <p:ext uri="{BB962C8B-B14F-4D97-AF65-F5344CB8AC3E}">
        <p14:creationId xmlns:p14="http://schemas.microsoft.com/office/powerpoint/2010/main" val="2683920825"/>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F84DB91F-1AD8-437C-8866-3636784D0854}" type="slidenum">
              <a:rPr lang="en-GB" smtClean="0"/>
              <a:t>147</a:t>
            </a:fld>
            <a:endParaRPr lang="en-GB"/>
          </a:p>
        </p:txBody>
      </p:sp>
    </p:spTree>
    <p:extLst>
      <p:ext uri="{BB962C8B-B14F-4D97-AF65-F5344CB8AC3E}">
        <p14:creationId xmlns:p14="http://schemas.microsoft.com/office/powerpoint/2010/main" val="3750914087"/>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err="1"/>
              <a:t>There</a:t>
            </a:r>
            <a:r>
              <a:rPr lang="sv-SE"/>
              <a:t> is no </a:t>
            </a:r>
            <a:r>
              <a:rPr lang="sv-SE" err="1"/>
              <a:t>official</a:t>
            </a:r>
            <a:r>
              <a:rPr lang="sv-SE"/>
              <a:t> ISO-standard for S-LCA </a:t>
            </a:r>
            <a:r>
              <a:rPr lang="sv-SE" err="1"/>
              <a:t>yet</a:t>
            </a:r>
            <a:r>
              <a:rPr lang="sv-SE"/>
              <a:t> </a:t>
            </a:r>
            <a:r>
              <a:rPr lang="sv-SE" err="1"/>
              <a:t>but</a:t>
            </a:r>
            <a:r>
              <a:rPr lang="sv-SE"/>
              <a:t> the </a:t>
            </a:r>
            <a:r>
              <a:rPr lang="sv-SE" err="1"/>
              <a:t>work</a:t>
            </a:r>
            <a:r>
              <a:rPr lang="sv-SE"/>
              <a:t> is in progress. </a:t>
            </a:r>
          </a:p>
          <a:p>
            <a:endParaRPr lang="sv-SE"/>
          </a:p>
          <a:p>
            <a:pPr marL="0" marR="0" lvl="0" indent="0" algn="l" defTabSz="914400" rtl="0" eaLnBrk="1" fontAlgn="auto" latinLnBrk="0" hangingPunct="1">
              <a:lnSpc>
                <a:spcPct val="100000"/>
              </a:lnSpc>
              <a:spcBef>
                <a:spcPts val="0"/>
              </a:spcBef>
              <a:spcAft>
                <a:spcPts val="0"/>
              </a:spcAft>
              <a:buClrTx/>
              <a:buSzTx/>
              <a:buFontTx/>
              <a:buNone/>
              <a:tabLst/>
              <a:defRPr/>
            </a:pPr>
            <a:r>
              <a:rPr lang="sv-SE" sz="1200">
                <a:cs typeface="Arial"/>
              </a:rPr>
              <a:t>UN </a:t>
            </a:r>
            <a:r>
              <a:rPr lang="sv-SE" sz="1200" err="1">
                <a:cs typeface="Arial"/>
              </a:rPr>
              <a:t>Guidelines</a:t>
            </a:r>
            <a:r>
              <a:rPr lang="sv-SE" sz="1200">
                <a:cs typeface="Arial"/>
              </a:rPr>
              <a:t> for Social Life Cycle </a:t>
            </a:r>
            <a:r>
              <a:rPr lang="sv-SE" sz="1200" err="1">
                <a:cs typeface="Arial"/>
              </a:rPr>
              <a:t>Assessment</a:t>
            </a:r>
            <a:r>
              <a:rPr lang="sv-SE" sz="1200">
                <a:cs typeface="Arial"/>
              </a:rPr>
              <a:t>, 2020 is a </a:t>
            </a:r>
            <a:r>
              <a:rPr lang="sv-SE" err="1"/>
              <a:t>known</a:t>
            </a:r>
            <a:r>
              <a:rPr lang="sv-SE"/>
              <a:t> </a:t>
            </a:r>
            <a:r>
              <a:rPr lang="sv-SE" err="1"/>
              <a:t>guideline</a:t>
            </a:r>
            <a:r>
              <a:rPr lang="sv-SE"/>
              <a:t> </a:t>
            </a:r>
            <a:r>
              <a:rPr lang="sv-SE" err="1"/>
              <a:t>document</a:t>
            </a:r>
            <a:r>
              <a:rPr lang="sv-SE"/>
              <a:t> hat </a:t>
            </a:r>
            <a:r>
              <a:rPr lang="sv-SE" err="1"/>
              <a:t>describe</a:t>
            </a:r>
            <a:r>
              <a:rPr lang="sv-SE"/>
              <a:t> the </a:t>
            </a:r>
            <a:r>
              <a:rPr lang="sv-SE" err="1"/>
              <a:t>frameworks</a:t>
            </a:r>
            <a:r>
              <a:rPr lang="sv-SE"/>
              <a:t> </a:t>
            </a:r>
            <a:r>
              <a:rPr lang="sv-SE" err="1"/>
              <a:t>of</a:t>
            </a:r>
            <a:r>
              <a:rPr lang="sv-SE"/>
              <a:t> </a:t>
            </a:r>
            <a:r>
              <a:rPr lang="sv-SE" err="1"/>
              <a:t>assessing</a:t>
            </a:r>
            <a:r>
              <a:rPr lang="sv-SE"/>
              <a:t> social </a:t>
            </a:r>
            <a:r>
              <a:rPr lang="sv-SE" err="1"/>
              <a:t>impacts</a:t>
            </a:r>
            <a:r>
              <a:rPr lang="sv-SE"/>
              <a:t>. In 2021, </a:t>
            </a:r>
            <a:r>
              <a:rPr lang="sv-SE" err="1"/>
              <a:t>another</a:t>
            </a:r>
            <a:r>
              <a:rPr lang="sv-SE"/>
              <a:t> </a:t>
            </a:r>
            <a:r>
              <a:rPr lang="sv-SE" err="1"/>
              <a:t>document</a:t>
            </a:r>
            <a:r>
              <a:rPr lang="sv-SE"/>
              <a:t> is </a:t>
            </a:r>
            <a:r>
              <a:rPr lang="sv-SE" err="1"/>
              <a:t>published</a:t>
            </a:r>
            <a:r>
              <a:rPr lang="sv-SE"/>
              <a:t>, </a:t>
            </a:r>
            <a:r>
              <a:rPr lang="sv-SE" err="1"/>
              <a:t>which</a:t>
            </a:r>
            <a:r>
              <a:rPr lang="sv-SE"/>
              <a:t> is </a:t>
            </a:r>
            <a:r>
              <a:rPr lang="sv-SE" err="1"/>
              <a:t>called</a:t>
            </a:r>
            <a:r>
              <a:rPr lang="sv-SE"/>
              <a:t> </a:t>
            </a:r>
            <a:r>
              <a:rPr lang="sv-SE" sz="1200" err="1">
                <a:cs typeface="Arial"/>
              </a:rPr>
              <a:t>Methodological</a:t>
            </a:r>
            <a:r>
              <a:rPr lang="sv-SE" sz="1200">
                <a:cs typeface="Arial"/>
              </a:rPr>
              <a:t> </a:t>
            </a:r>
            <a:r>
              <a:rPr lang="sv-SE" sz="1200" err="1">
                <a:cs typeface="Arial"/>
              </a:rPr>
              <a:t>sheets</a:t>
            </a:r>
            <a:r>
              <a:rPr lang="sv-SE" sz="1200">
                <a:cs typeface="Arial"/>
              </a:rPr>
              <a:t> for </a:t>
            </a:r>
            <a:r>
              <a:rPr lang="sv-SE" sz="1200" err="1">
                <a:cs typeface="Arial"/>
              </a:rPr>
              <a:t>subcategories</a:t>
            </a:r>
            <a:r>
              <a:rPr lang="sv-SE" sz="1200">
                <a:cs typeface="Arial"/>
              </a:rPr>
              <a:t> in social </a:t>
            </a:r>
            <a:r>
              <a:rPr lang="sv-SE" sz="1200" err="1">
                <a:cs typeface="Arial"/>
              </a:rPr>
              <a:t>life</a:t>
            </a:r>
            <a:r>
              <a:rPr lang="sv-SE" sz="1200">
                <a:cs typeface="Arial"/>
              </a:rPr>
              <a:t> </a:t>
            </a:r>
            <a:r>
              <a:rPr lang="sv-SE" sz="1200" err="1">
                <a:cs typeface="Arial"/>
              </a:rPr>
              <a:t>cycle</a:t>
            </a:r>
            <a:r>
              <a:rPr lang="sv-SE" sz="1200">
                <a:cs typeface="Arial"/>
              </a:rPr>
              <a:t> </a:t>
            </a:r>
            <a:r>
              <a:rPr lang="sv-SE" sz="1200" err="1">
                <a:cs typeface="Arial"/>
              </a:rPr>
              <a:t>assessment</a:t>
            </a:r>
            <a:r>
              <a:rPr lang="sv-SE" sz="1200">
                <a:cs typeface="Arial"/>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a:cs typeface="Arial"/>
              </a:rPr>
              <a:t>S-LCA can be done using different approaches. In the </a:t>
            </a:r>
            <a:r>
              <a:rPr lang="en-GB" sz="1200" err="1">
                <a:cs typeface="Arial"/>
              </a:rPr>
              <a:t>Retrofeed</a:t>
            </a:r>
            <a:r>
              <a:rPr lang="en-GB" sz="1200">
                <a:cs typeface="Arial"/>
              </a:rPr>
              <a:t> project the approaches that were used are by using database and by doing an interviews at the specific demosites. </a:t>
            </a:r>
            <a:endParaRPr lang="sv-SE" sz="1200">
              <a:cs typeface="Arial"/>
            </a:endParaRPr>
          </a:p>
        </p:txBody>
      </p:sp>
      <p:sp>
        <p:nvSpPr>
          <p:cNvPr id="4" name="Slide Number Placeholder 3"/>
          <p:cNvSpPr>
            <a:spLocks noGrp="1"/>
          </p:cNvSpPr>
          <p:nvPr>
            <p:ph type="sldNum" sz="quarter" idx="5"/>
          </p:nvPr>
        </p:nvSpPr>
        <p:spPr/>
        <p:txBody>
          <a:bodyPr/>
          <a:lstStyle/>
          <a:p>
            <a:fld id="{F84DB91F-1AD8-437C-8866-3636784D0854}" type="slidenum">
              <a:rPr lang="en-GB" smtClean="0"/>
              <a:t>148</a:t>
            </a:fld>
            <a:endParaRPr lang="en-GB"/>
          </a:p>
        </p:txBody>
      </p:sp>
    </p:spTree>
    <p:extLst>
      <p:ext uri="{BB962C8B-B14F-4D97-AF65-F5344CB8AC3E}">
        <p14:creationId xmlns:p14="http://schemas.microsoft.com/office/powerpoint/2010/main" val="3525803620"/>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a:t>In S-LCA, the social </a:t>
            </a:r>
            <a:r>
              <a:rPr lang="sv-SE" err="1"/>
              <a:t>impacts</a:t>
            </a:r>
            <a:r>
              <a:rPr lang="sv-SE"/>
              <a:t> </a:t>
            </a:r>
            <a:r>
              <a:rPr lang="sv-SE" err="1"/>
              <a:t>are</a:t>
            </a:r>
            <a:r>
              <a:rPr lang="sv-SE"/>
              <a:t> </a:t>
            </a:r>
            <a:r>
              <a:rPr lang="sv-SE" err="1"/>
              <a:t>categorised</a:t>
            </a:r>
            <a:r>
              <a:rPr lang="sv-SE"/>
              <a:t> by </a:t>
            </a:r>
            <a:r>
              <a:rPr lang="sv-SE" err="1"/>
              <a:t>using</a:t>
            </a:r>
            <a:r>
              <a:rPr lang="sv-SE"/>
              <a:t> </a:t>
            </a:r>
            <a:r>
              <a:rPr lang="sv-SE" err="1"/>
              <a:t>stakeholders</a:t>
            </a:r>
            <a:r>
              <a:rPr lang="sv-SE"/>
              <a:t> and </a:t>
            </a:r>
            <a:r>
              <a:rPr lang="sv-SE" err="1"/>
              <a:t>impact</a:t>
            </a:r>
            <a:r>
              <a:rPr lang="sv-SE"/>
              <a:t> </a:t>
            </a:r>
            <a:r>
              <a:rPr lang="sv-SE" err="1"/>
              <a:t>sub-categories</a:t>
            </a:r>
            <a:r>
              <a:rPr lang="sv-SE"/>
              <a:t>. In general </a:t>
            </a:r>
            <a:r>
              <a:rPr lang="sv-SE" err="1"/>
              <a:t>there</a:t>
            </a:r>
            <a:r>
              <a:rPr lang="sv-SE"/>
              <a:t> </a:t>
            </a:r>
            <a:r>
              <a:rPr lang="sv-SE" err="1"/>
              <a:t>are</a:t>
            </a:r>
            <a:r>
              <a:rPr lang="sv-SE"/>
              <a:t> </a:t>
            </a:r>
            <a:r>
              <a:rPr lang="sv-SE" err="1"/>
              <a:t>six</a:t>
            </a:r>
            <a:r>
              <a:rPr lang="sv-SE"/>
              <a:t> </a:t>
            </a:r>
            <a:r>
              <a:rPr lang="sv-SE" err="1"/>
              <a:t>stakeholders</a:t>
            </a:r>
            <a:r>
              <a:rPr lang="sv-SE"/>
              <a:t> </a:t>
            </a:r>
            <a:r>
              <a:rPr lang="sv-SE" err="1"/>
              <a:t>whcih</a:t>
            </a:r>
            <a:r>
              <a:rPr lang="sv-SE"/>
              <a:t> </a:t>
            </a:r>
            <a:r>
              <a:rPr lang="sv-SE" err="1"/>
              <a:t>are</a:t>
            </a:r>
            <a:endParaRPr lang="en-GB"/>
          </a:p>
          <a:p>
            <a:pPr marL="228600" indent="-228600">
              <a:buAutoNum type="arabicPeriod"/>
            </a:pPr>
            <a:r>
              <a:rPr lang="en-GB"/>
              <a:t>Workers</a:t>
            </a:r>
          </a:p>
          <a:p>
            <a:pPr marL="228600" indent="-228600">
              <a:buAutoNum type="arabicPeriod"/>
            </a:pPr>
            <a:r>
              <a:rPr lang="en-GB"/>
              <a:t>Local community</a:t>
            </a:r>
          </a:p>
          <a:p>
            <a:pPr marL="228600" indent="-228600">
              <a:buAutoNum type="arabicPeriod"/>
            </a:pPr>
            <a:r>
              <a:rPr lang="en-GB"/>
              <a:t>Value chain actors (exclusive consumers)</a:t>
            </a:r>
          </a:p>
          <a:p>
            <a:pPr marL="228600" indent="-228600">
              <a:buAutoNum type="arabicPeriod"/>
            </a:pPr>
            <a:r>
              <a:rPr lang="en-GB"/>
              <a:t>Consumers</a:t>
            </a:r>
          </a:p>
          <a:p>
            <a:pPr marL="228600" indent="-228600">
              <a:buAutoNum type="arabicPeriod"/>
            </a:pPr>
            <a:r>
              <a:rPr lang="en-GB"/>
              <a:t>Society </a:t>
            </a:r>
          </a:p>
          <a:p>
            <a:pPr marL="228600" indent="-228600">
              <a:buAutoNum type="arabicPeriod"/>
            </a:pPr>
            <a:r>
              <a:rPr lang="en-GB"/>
              <a:t>Children </a:t>
            </a:r>
          </a:p>
          <a:p>
            <a:pPr marL="0" indent="0">
              <a:buNone/>
            </a:pPr>
            <a:endParaRPr lang="sv-SE"/>
          </a:p>
          <a:p>
            <a:pPr marL="0" indent="0">
              <a:buNone/>
            </a:pPr>
            <a:r>
              <a:rPr lang="sv-SE"/>
              <a:t>If </a:t>
            </a:r>
            <a:r>
              <a:rPr lang="sv-SE" err="1"/>
              <a:t>other</a:t>
            </a:r>
            <a:r>
              <a:rPr lang="sv-SE"/>
              <a:t> </a:t>
            </a:r>
            <a:r>
              <a:rPr lang="sv-SE" err="1"/>
              <a:t>stakeholders</a:t>
            </a:r>
            <a:r>
              <a:rPr lang="sv-SE"/>
              <a:t> </a:t>
            </a:r>
            <a:r>
              <a:rPr lang="sv-SE" err="1"/>
              <a:t>that</a:t>
            </a:r>
            <a:r>
              <a:rPr lang="sv-SE"/>
              <a:t> </a:t>
            </a:r>
            <a:r>
              <a:rPr lang="sv-SE" err="1"/>
              <a:t>are</a:t>
            </a:r>
            <a:r>
              <a:rPr lang="sv-SE"/>
              <a:t> relevant in the </a:t>
            </a:r>
            <a:r>
              <a:rPr lang="sv-SE" err="1"/>
              <a:t>life</a:t>
            </a:r>
            <a:r>
              <a:rPr lang="sv-SE"/>
              <a:t> </a:t>
            </a:r>
            <a:r>
              <a:rPr lang="sv-SE" err="1"/>
              <a:t>cycle,ddition</a:t>
            </a:r>
            <a:r>
              <a:rPr lang="sv-SE"/>
              <a:t> </a:t>
            </a:r>
            <a:r>
              <a:rPr lang="sv-SE" err="1"/>
              <a:t>stakeholder</a:t>
            </a:r>
            <a:r>
              <a:rPr lang="sv-SE"/>
              <a:t> </a:t>
            </a:r>
            <a:r>
              <a:rPr lang="sv-SE" err="1"/>
              <a:t>can</a:t>
            </a:r>
            <a:r>
              <a:rPr lang="sv-SE"/>
              <a:t> be </a:t>
            </a:r>
            <a:r>
              <a:rPr lang="sv-SE" err="1"/>
              <a:t>added</a:t>
            </a:r>
            <a:r>
              <a:rPr lang="sv-SE"/>
              <a:t> as </a:t>
            </a:r>
            <a:r>
              <a:rPr lang="sv-SE" err="1"/>
              <a:t>well</a:t>
            </a:r>
            <a:r>
              <a:rPr lang="sv-SE"/>
              <a:t>. </a:t>
            </a:r>
          </a:p>
          <a:p>
            <a:pPr marL="0" indent="0">
              <a:buNone/>
            </a:pPr>
            <a:endParaRPr lang="sv-SE"/>
          </a:p>
          <a:p>
            <a:pPr marL="0" indent="0">
              <a:buNone/>
            </a:pPr>
            <a:r>
              <a:rPr lang="sv-SE"/>
              <a:t>For </a:t>
            </a:r>
            <a:r>
              <a:rPr lang="sv-SE" err="1"/>
              <a:t>each</a:t>
            </a:r>
            <a:r>
              <a:rPr lang="sv-SE"/>
              <a:t> </a:t>
            </a:r>
            <a:r>
              <a:rPr lang="sv-SE" err="1"/>
              <a:t>stakeholder</a:t>
            </a:r>
            <a:r>
              <a:rPr lang="sv-SE"/>
              <a:t>, different relevant </a:t>
            </a:r>
            <a:r>
              <a:rPr lang="sv-SE" err="1"/>
              <a:t>impact</a:t>
            </a:r>
            <a:r>
              <a:rPr lang="sv-SE"/>
              <a:t> </a:t>
            </a:r>
            <a:r>
              <a:rPr lang="sv-SE" err="1"/>
              <a:t>subcategories</a:t>
            </a:r>
            <a:r>
              <a:rPr lang="sv-SE"/>
              <a:t> </a:t>
            </a:r>
            <a:r>
              <a:rPr lang="sv-SE" err="1"/>
              <a:t>are</a:t>
            </a:r>
            <a:r>
              <a:rPr lang="sv-SE"/>
              <a:t> </a:t>
            </a:r>
            <a:r>
              <a:rPr lang="sv-SE" err="1"/>
              <a:t>identified</a:t>
            </a:r>
            <a:r>
              <a:rPr lang="sv-SE"/>
              <a:t>. </a:t>
            </a:r>
            <a:r>
              <a:rPr lang="sv-SE" err="1"/>
              <a:t>See</a:t>
            </a:r>
            <a:r>
              <a:rPr lang="sv-SE"/>
              <a:t> </a:t>
            </a:r>
            <a:r>
              <a:rPr lang="sv-SE" err="1"/>
              <a:t>examples</a:t>
            </a:r>
            <a:r>
              <a:rPr lang="sv-SE"/>
              <a:t> in the </a:t>
            </a:r>
            <a:r>
              <a:rPr lang="sv-SE" err="1"/>
              <a:t>slides</a:t>
            </a:r>
            <a:r>
              <a:rPr lang="sv-SE"/>
              <a:t>. </a:t>
            </a:r>
          </a:p>
          <a:p>
            <a:pPr marL="0" indent="0">
              <a:buNone/>
            </a:pPr>
            <a:endParaRPr lang="sv-SE"/>
          </a:p>
          <a:p>
            <a:pPr marL="0" indent="0">
              <a:buNone/>
            </a:pPr>
            <a:r>
              <a:rPr lang="sv-SE" err="1"/>
              <a:t>When</a:t>
            </a:r>
            <a:r>
              <a:rPr lang="sv-SE"/>
              <a:t> </a:t>
            </a:r>
            <a:r>
              <a:rPr lang="sv-SE" err="1"/>
              <a:t>using</a:t>
            </a:r>
            <a:r>
              <a:rPr lang="sv-SE"/>
              <a:t> </a:t>
            </a:r>
            <a:r>
              <a:rPr lang="sv-SE" err="1"/>
              <a:t>database</a:t>
            </a:r>
            <a:r>
              <a:rPr lang="sv-SE"/>
              <a:t>, all </a:t>
            </a:r>
            <a:r>
              <a:rPr lang="sv-SE" err="1"/>
              <a:t>of</a:t>
            </a:r>
            <a:r>
              <a:rPr lang="sv-SE"/>
              <a:t> </a:t>
            </a:r>
            <a:r>
              <a:rPr lang="sv-SE" err="1"/>
              <a:t>these</a:t>
            </a:r>
            <a:r>
              <a:rPr lang="sv-SE"/>
              <a:t> </a:t>
            </a:r>
            <a:r>
              <a:rPr lang="sv-SE" err="1"/>
              <a:t>sub-categories</a:t>
            </a:r>
            <a:r>
              <a:rPr lang="sv-SE"/>
              <a:t> </a:t>
            </a:r>
            <a:r>
              <a:rPr lang="sv-SE" err="1"/>
              <a:t>may</a:t>
            </a:r>
            <a:r>
              <a:rPr lang="sv-SE"/>
              <a:t> not be </a:t>
            </a:r>
            <a:r>
              <a:rPr lang="sv-SE" err="1"/>
              <a:t>available</a:t>
            </a:r>
            <a:r>
              <a:rPr lang="sv-SE"/>
              <a:t>. </a:t>
            </a:r>
            <a:endParaRPr lang="en-GB"/>
          </a:p>
        </p:txBody>
      </p:sp>
      <p:sp>
        <p:nvSpPr>
          <p:cNvPr id="4" name="Slide Number Placeholder 3"/>
          <p:cNvSpPr>
            <a:spLocks noGrp="1"/>
          </p:cNvSpPr>
          <p:nvPr>
            <p:ph type="sldNum" sz="quarter" idx="5"/>
          </p:nvPr>
        </p:nvSpPr>
        <p:spPr/>
        <p:txBody>
          <a:bodyPr/>
          <a:lstStyle/>
          <a:p>
            <a:fld id="{F84DB91F-1AD8-437C-8866-3636784D0854}" type="slidenum">
              <a:rPr lang="en-GB" smtClean="0"/>
              <a:t>149</a:t>
            </a:fld>
            <a:endParaRPr lang="en-GB"/>
          </a:p>
        </p:txBody>
      </p:sp>
    </p:spTree>
    <p:extLst>
      <p:ext uri="{BB962C8B-B14F-4D97-AF65-F5344CB8AC3E}">
        <p14:creationId xmlns:p14="http://schemas.microsoft.com/office/powerpoint/2010/main" val="4028778718"/>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algn="l"/>
            <a:r>
              <a:rPr lang="en-GB" dirty="0"/>
              <a:t>Reference for pictures: </a:t>
            </a:r>
            <a:r>
              <a:rPr lang="en-US" sz="1800" b="0" i="0" u="none" strike="noStrike" baseline="0" dirty="0">
                <a:solidFill>
                  <a:srgbClr val="000000"/>
                </a:solidFill>
                <a:latin typeface="Roboto Lt"/>
              </a:rPr>
              <a:t>UNEP, 2020. Guidelines for Social </a:t>
            </a:r>
            <a:r>
              <a:rPr lang="en-US" sz="1800" b="0" i="0" u="none" strike="noStrike" baseline="0">
                <a:solidFill>
                  <a:srgbClr val="000000"/>
                </a:solidFill>
                <a:latin typeface="Roboto Lt"/>
              </a:rPr>
              <a:t>Life </a:t>
            </a:r>
            <a:r>
              <a:rPr lang="en-GB" sz="1800" b="0" i="0" u="none" strike="noStrike" baseline="0">
                <a:solidFill>
                  <a:srgbClr val="000000"/>
                </a:solidFill>
                <a:latin typeface="Roboto Lt"/>
              </a:rPr>
              <a:t>Cycle </a:t>
            </a:r>
            <a:r>
              <a:rPr lang="en-GB" sz="1800" b="0" i="0" u="none" strike="noStrike" baseline="0" dirty="0">
                <a:solidFill>
                  <a:srgbClr val="000000"/>
                </a:solidFill>
                <a:latin typeface="Roboto Lt"/>
              </a:rPr>
              <a:t>Assessment of Products and Organizations 2020. Benoît Norris, C., Traverso, M., Neugebauer, S., </a:t>
            </a:r>
            <a:r>
              <a:rPr lang="en-GB" sz="1800" b="0" i="0" u="none" strike="noStrike" baseline="0" dirty="0" err="1">
                <a:solidFill>
                  <a:srgbClr val="000000"/>
                </a:solidFill>
                <a:latin typeface="Roboto Lt"/>
              </a:rPr>
              <a:t>Ekener</a:t>
            </a:r>
            <a:r>
              <a:rPr lang="en-GB" sz="1800" b="0" i="0" u="none" strike="noStrike" baseline="0" dirty="0">
                <a:solidFill>
                  <a:srgbClr val="000000"/>
                </a:solidFill>
                <a:latin typeface="Roboto Lt"/>
              </a:rPr>
              <a:t>, E., </a:t>
            </a:r>
            <a:r>
              <a:rPr lang="en-GB" sz="1800" b="0" i="0" u="none" strike="noStrike" baseline="0" dirty="0" err="1">
                <a:solidFill>
                  <a:srgbClr val="000000"/>
                </a:solidFill>
                <a:latin typeface="Roboto Lt"/>
              </a:rPr>
              <a:t>Schaubroeck</a:t>
            </a:r>
            <a:r>
              <a:rPr lang="en-GB" sz="1800" b="0" i="0" u="none" strike="noStrike" baseline="0" dirty="0">
                <a:solidFill>
                  <a:srgbClr val="000000"/>
                </a:solidFill>
                <a:latin typeface="Roboto Lt"/>
              </a:rPr>
              <a:t>, T., Russo Garrido, S., Berger, M., Valdivia, S., Lehmann, A., </a:t>
            </a:r>
            <a:r>
              <a:rPr lang="en-GB" sz="1800" b="0" i="0" u="none" strike="noStrike" baseline="0" dirty="0" err="1">
                <a:solidFill>
                  <a:srgbClr val="000000"/>
                </a:solidFill>
                <a:latin typeface="Roboto Lt"/>
              </a:rPr>
              <a:t>Finkbeiner</a:t>
            </a:r>
            <a:r>
              <a:rPr lang="en-GB" sz="1800" b="0" i="0" u="none" strike="noStrike" baseline="0" dirty="0">
                <a:solidFill>
                  <a:srgbClr val="000000"/>
                </a:solidFill>
                <a:latin typeface="Roboto Lt"/>
              </a:rPr>
              <a:t>, M., </a:t>
            </a:r>
            <a:r>
              <a:rPr lang="en-GB" sz="1800" b="0" i="0" u="none" strike="noStrike" baseline="0" dirty="0" err="1">
                <a:solidFill>
                  <a:srgbClr val="000000"/>
                </a:solidFill>
                <a:latin typeface="Roboto Lt"/>
              </a:rPr>
              <a:t>Arcese</a:t>
            </a:r>
            <a:r>
              <a:rPr lang="en-GB" sz="1800" b="0" i="0" u="none" strike="noStrike" baseline="0" dirty="0">
                <a:solidFill>
                  <a:srgbClr val="000000"/>
                </a:solidFill>
                <a:latin typeface="Roboto Lt"/>
              </a:rPr>
              <a:t>, G. (eds.). United Nations Environment Programme (UNEP).</a:t>
            </a:r>
            <a:endParaRPr lang="en-GB" dirty="0"/>
          </a:p>
        </p:txBody>
      </p:sp>
      <p:sp>
        <p:nvSpPr>
          <p:cNvPr id="4" name="Platshållare för bildnummer 3"/>
          <p:cNvSpPr>
            <a:spLocks noGrp="1"/>
          </p:cNvSpPr>
          <p:nvPr>
            <p:ph type="sldNum" sz="quarter" idx="5"/>
          </p:nvPr>
        </p:nvSpPr>
        <p:spPr/>
        <p:txBody>
          <a:bodyPr/>
          <a:lstStyle/>
          <a:p>
            <a:fld id="{F84DB91F-1AD8-437C-8866-3636784D0854}" type="slidenum">
              <a:rPr lang="en-GB" smtClean="0"/>
              <a:t>151</a:t>
            </a:fld>
            <a:endParaRPr lang="en-GB"/>
          </a:p>
        </p:txBody>
      </p:sp>
    </p:spTree>
    <p:extLst>
      <p:ext uri="{BB962C8B-B14F-4D97-AF65-F5344CB8AC3E}">
        <p14:creationId xmlns:p14="http://schemas.microsoft.com/office/powerpoint/2010/main" val="328064804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4DB91F-1AD8-437C-8866-3636784D085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94728909"/>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a:t>@GEO: </a:t>
            </a:r>
            <a:r>
              <a:rPr lang="sv-SE" err="1"/>
              <a:t>please</a:t>
            </a:r>
            <a:r>
              <a:rPr lang="sv-SE"/>
              <a:t> </a:t>
            </a:r>
            <a:r>
              <a:rPr lang="sv-SE" err="1"/>
              <a:t>link</a:t>
            </a:r>
            <a:r>
              <a:rPr lang="sv-SE"/>
              <a:t> to </a:t>
            </a:r>
            <a:r>
              <a:rPr lang="sv-SE" err="1"/>
              <a:t>module</a:t>
            </a:r>
            <a:r>
              <a:rPr lang="sv-SE"/>
              <a:t> 1, </a:t>
            </a:r>
            <a:r>
              <a:rPr lang="sv-SE" err="1"/>
              <a:t>introduction</a:t>
            </a:r>
            <a:r>
              <a:rPr lang="sv-SE"/>
              <a:t> to FERTIBERIA</a:t>
            </a:r>
          </a:p>
        </p:txBody>
      </p:sp>
      <p:sp>
        <p:nvSpPr>
          <p:cNvPr id="4" name="Slide Number Placeholder 3"/>
          <p:cNvSpPr>
            <a:spLocks noGrp="1"/>
          </p:cNvSpPr>
          <p:nvPr>
            <p:ph type="sldNum" sz="quarter" idx="5"/>
          </p:nvPr>
        </p:nvSpPr>
        <p:spPr/>
        <p:txBody>
          <a:bodyPr/>
          <a:lstStyle/>
          <a:p>
            <a:fld id="{F84DB91F-1AD8-437C-8866-3636784D0854}" type="slidenum">
              <a:rPr lang="en-GB" smtClean="0"/>
              <a:t>154</a:t>
            </a:fld>
            <a:endParaRPr lang="en-GB"/>
          </a:p>
        </p:txBody>
      </p:sp>
    </p:spTree>
    <p:extLst>
      <p:ext uri="{BB962C8B-B14F-4D97-AF65-F5344CB8AC3E}">
        <p14:creationId xmlns:p14="http://schemas.microsoft.com/office/powerpoint/2010/main" val="4096689897"/>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cs typeface="Arial" panose="020B0604020202020204" pitchFamily="34" charset="0"/>
              </a:rPr>
              <a:t>FERTIBERIA’s retrofitting activities are focused on implementing and integrating a new reactor that is capable of meeting process specifications, reduce energy (steam) consumption, cut-down costs associated to feedstock purchasing and diversify raw materials intake. </a:t>
            </a:r>
          </a:p>
          <a:p>
            <a:endParaRPr lang="sv-SE" b="1" dirty="0"/>
          </a:p>
        </p:txBody>
      </p:sp>
      <p:sp>
        <p:nvSpPr>
          <p:cNvPr id="4" name="Slide Number Placeholder 3"/>
          <p:cNvSpPr>
            <a:spLocks noGrp="1"/>
          </p:cNvSpPr>
          <p:nvPr>
            <p:ph type="sldNum" sz="quarter" idx="5"/>
          </p:nvPr>
        </p:nvSpPr>
        <p:spPr/>
        <p:txBody>
          <a:bodyPr/>
          <a:lstStyle/>
          <a:p>
            <a:pPr>
              <a:defRPr/>
            </a:pPr>
            <a:fld id="{5177787B-4A66-0142-903F-970ED53E63D2}" type="slidenum">
              <a:rPr lang="sv-SE" smtClean="0"/>
              <a:pPr>
                <a:defRPr/>
              </a:pPr>
              <a:t>155</a:t>
            </a:fld>
            <a:endParaRPr lang="sv-SE"/>
          </a:p>
        </p:txBody>
      </p:sp>
    </p:spTree>
    <p:extLst>
      <p:ext uri="{BB962C8B-B14F-4D97-AF65-F5344CB8AC3E}">
        <p14:creationId xmlns:p14="http://schemas.microsoft.com/office/powerpoint/2010/main" val="1641770266"/>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cs typeface="Arial" panose="020B0604020202020204" pitchFamily="34" charset="0"/>
              </a:rPr>
              <a:t>The flowchart shows the system boundary. The production and transport of raw material and energy used for the production of </a:t>
            </a:r>
            <a:r>
              <a:rPr lang="en-US" sz="1200" dirty="0" err="1">
                <a:cs typeface="Arial" panose="020B0604020202020204" pitchFamily="34" charset="0"/>
              </a:rPr>
              <a:t>Fertiberia’s</a:t>
            </a:r>
            <a:r>
              <a:rPr lang="en-US" sz="1200" dirty="0">
                <a:cs typeface="Arial" panose="020B0604020202020204" pitchFamily="34" charset="0"/>
              </a:rPr>
              <a:t> fertilizer, as well as the production plant process steps are included in the study.</a:t>
            </a:r>
          </a:p>
          <a:p>
            <a:endParaRPr lang="sv-SE" dirty="0"/>
          </a:p>
        </p:txBody>
      </p:sp>
      <p:sp>
        <p:nvSpPr>
          <p:cNvPr id="4" name="Slide Number Placeholder 3"/>
          <p:cNvSpPr>
            <a:spLocks noGrp="1"/>
          </p:cNvSpPr>
          <p:nvPr>
            <p:ph type="sldNum" sz="quarter" idx="5"/>
          </p:nvPr>
        </p:nvSpPr>
        <p:spPr/>
        <p:txBody>
          <a:bodyPr/>
          <a:lstStyle/>
          <a:p>
            <a:fld id="{F84DB91F-1AD8-437C-8866-3636784D0854}" type="slidenum">
              <a:rPr lang="en-GB" smtClean="0"/>
              <a:t>156</a:t>
            </a:fld>
            <a:endParaRPr lang="en-GB"/>
          </a:p>
        </p:txBody>
      </p:sp>
    </p:spTree>
    <p:extLst>
      <p:ext uri="{BB962C8B-B14F-4D97-AF65-F5344CB8AC3E}">
        <p14:creationId xmlns:p14="http://schemas.microsoft.com/office/powerpoint/2010/main" val="2491558632"/>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b="1"/>
          </a:p>
        </p:txBody>
      </p:sp>
      <p:sp>
        <p:nvSpPr>
          <p:cNvPr id="4" name="Slide Number Placeholder 3"/>
          <p:cNvSpPr>
            <a:spLocks noGrp="1"/>
          </p:cNvSpPr>
          <p:nvPr>
            <p:ph type="sldNum" sz="quarter" idx="5"/>
          </p:nvPr>
        </p:nvSpPr>
        <p:spPr/>
        <p:txBody>
          <a:bodyPr/>
          <a:lstStyle/>
          <a:p>
            <a:pPr>
              <a:defRPr/>
            </a:pPr>
            <a:fld id="{5177787B-4A66-0142-903F-970ED53E63D2}" type="slidenum">
              <a:rPr lang="sv-SE" smtClean="0"/>
              <a:pPr>
                <a:defRPr/>
              </a:pPr>
              <a:t>157</a:t>
            </a:fld>
            <a:endParaRPr lang="sv-SE"/>
          </a:p>
        </p:txBody>
      </p:sp>
    </p:spTree>
    <p:extLst>
      <p:ext uri="{BB962C8B-B14F-4D97-AF65-F5344CB8AC3E}">
        <p14:creationId xmlns:p14="http://schemas.microsoft.com/office/powerpoint/2010/main" val="4274215464"/>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i="0" dirty="0"/>
              <a:t>The </a:t>
            </a:r>
            <a:r>
              <a:rPr lang="en-US" sz="1200" i="0" dirty="0" err="1"/>
              <a:t>GaBi</a:t>
            </a:r>
            <a:r>
              <a:rPr lang="en-US" sz="1200" i="0" dirty="0"/>
              <a:t> model, developed for </a:t>
            </a:r>
            <a:r>
              <a:rPr lang="en-US" sz="1200" i="0" dirty="0" err="1"/>
              <a:t>Fertiberia</a:t>
            </a:r>
            <a:r>
              <a:rPr lang="en-US" sz="1200" i="0" dirty="0"/>
              <a:t>, is presented next. This slide shows LCA model before the retrofit. </a:t>
            </a:r>
          </a:p>
          <a:p>
            <a:pPr marL="514350" indent="-514350">
              <a:buFont typeface="+mj-lt"/>
              <a:buAutoNum type="arabicPeriod"/>
            </a:pPr>
            <a:r>
              <a:rPr lang="sv-SE" sz="1200" dirty="0" err="1"/>
              <a:t>Each</a:t>
            </a:r>
            <a:r>
              <a:rPr lang="sv-SE" sz="1200" dirty="0"/>
              <a:t> step in the process is </a:t>
            </a:r>
            <a:r>
              <a:rPr lang="sv-SE" sz="1200" dirty="0" err="1"/>
              <a:t>modelled</a:t>
            </a:r>
            <a:r>
              <a:rPr lang="sv-SE" sz="1200" dirty="0"/>
              <a:t> as a block </a:t>
            </a:r>
            <a:r>
              <a:rPr lang="sv-SE" sz="1200" dirty="0" err="1"/>
              <a:t>called</a:t>
            </a:r>
            <a:r>
              <a:rPr lang="sv-SE" sz="1200" dirty="0"/>
              <a:t> a </a:t>
            </a:r>
            <a:r>
              <a:rPr lang="sv-SE" sz="1200" dirty="0" err="1"/>
              <a:t>unit</a:t>
            </a:r>
            <a:r>
              <a:rPr lang="sv-SE" sz="1200" dirty="0"/>
              <a:t> process. The </a:t>
            </a:r>
            <a:r>
              <a:rPr lang="sv-SE" sz="1200" dirty="0" err="1"/>
              <a:t>unit</a:t>
            </a:r>
            <a:r>
              <a:rPr lang="sv-SE" sz="1200" dirty="0"/>
              <a:t> </a:t>
            </a:r>
            <a:r>
              <a:rPr lang="sv-SE" sz="1200" dirty="0" err="1"/>
              <a:t>processes</a:t>
            </a:r>
            <a:r>
              <a:rPr lang="sv-SE" sz="1200" dirty="0"/>
              <a:t> </a:t>
            </a:r>
            <a:r>
              <a:rPr lang="sv-SE" sz="1200" dirty="0" err="1"/>
              <a:t>are</a:t>
            </a:r>
            <a:r>
              <a:rPr lang="sv-SE" sz="1200" dirty="0"/>
              <a:t> </a:t>
            </a:r>
            <a:r>
              <a:rPr lang="sv-SE" sz="1200" dirty="0" err="1"/>
              <a:t>connected</a:t>
            </a:r>
            <a:r>
              <a:rPr lang="sv-SE" sz="1200" dirty="0"/>
              <a:t> by </a:t>
            </a:r>
            <a:r>
              <a:rPr lang="sv-SE" sz="1200" dirty="0" err="1"/>
              <a:t>flows</a:t>
            </a:r>
            <a:r>
              <a:rPr lang="sv-SE" sz="1200" dirty="0"/>
              <a:t>. Material and </a:t>
            </a:r>
            <a:r>
              <a:rPr lang="sv-SE" sz="1200" dirty="0" err="1"/>
              <a:t>energy</a:t>
            </a:r>
            <a:r>
              <a:rPr lang="sv-SE" sz="1200" dirty="0"/>
              <a:t> </a:t>
            </a:r>
            <a:r>
              <a:rPr lang="sv-SE" sz="1200" dirty="0" err="1"/>
              <a:t>flows</a:t>
            </a:r>
            <a:r>
              <a:rPr lang="sv-SE" sz="1200" dirty="0"/>
              <a:t> </a:t>
            </a:r>
            <a:r>
              <a:rPr lang="sv-SE" sz="1200" dirty="0" err="1"/>
              <a:t>enter</a:t>
            </a:r>
            <a:r>
              <a:rPr lang="sv-SE" sz="1200" dirty="0"/>
              <a:t> the different </a:t>
            </a:r>
            <a:r>
              <a:rPr lang="sv-SE" sz="1200" dirty="0" err="1"/>
              <a:t>unit</a:t>
            </a:r>
            <a:r>
              <a:rPr lang="sv-SE" sz="1200" dirty="0"/>
              <a:t> </a:t>
            </a:r>
            <a:r>
              <a:rPr lang="sv-SE" sz="1200" dirty="0" err="1"/>
              <a:t>processes</a:t>
            </a:r>
            <a:r>
              <a:rPr lang="sv-SE" sz="1200" dirty="0"/>
              <a:t>.</a:t>
            </a:r>
          </a:p>
          <a:p>
            <a:pPr marL="514350" indent="-514350">
              <a:buFont typeface="+mj-lt"/>
              <a:buAutoNum type="arabicPeriod"/>
            </a:pPr>
            <a:r>
              <a:rPr lang="sv-SE" sz="1200" dirty="0" err="1"/>
              <a:t>Upstream</a:t>
            </a:r>
            <a:r>
              <a:rPr lang="sv-SE" sz="1200" dirty="0"/>
              <a:t> </a:t>
            </a:r>
            <a:r>
              <a:rPr lang="sv-SE" sz="1200" dirty="0" err="1"/>
              <a:t>processes</a:t>
            </a:r>
            <a:r>
              <a:rPr lang="sv-SE" sz="1200" dirty="0"/>
              <a:t>: </a:t>
            </a:r>
            <a:r>
              <a:rPr lang="sv-SE" sz="1200" dirty="0" err="1"/>
              <a:t>Production</a:t>
            </a:r>
            <a:r>
              <a:rPr lang="sv-SE" sz="1200" dirty="0"/>
              <a:t> </a:t>
            </a:r>
            <a:r>
              <a:rPr lang="sv-SE" sz="1200" dirty="0" err="1"/>
              <a:t>of</a:t>
            </a:r>
            <a:r>
              <a:rPr lang="sv-SE" sz="1200" dirty="0"/>
              <a:t> </a:t>
            </a:r>
            <a:r>
              <a:rPr lang="sv-SE" sz="1200" dirty="0" err="1"/>
              <a:t>raw</a:t>
            </a:r>
            <a:r>
              <a:rPr lang="sv-SE" sz="1200" dirty="0"/>
              <a:t> material (</a:t>
            </a:r>
            <a:r>
              <a:rPr lang="sv-SE" sz="1200" dirty="0" err="1"/>
              <a:t>ammonia</a:t>
            </a:r>
            <a:r>
              <a:rPr lang="sv-SE" sz="1200" dirty="0"/>
              <a:t>, urea, </a:t>
            </a:r>
            <a:r>
              <a:rPr lang="sv-SE" sz="1200" dirty="0" err="1"/>
              <a:t>potassium</a:t>
            </a:r>
            <a:r>
              <a:rPr lang="sv-SE" sz="1200" dirty="0"/>
              <a:t> </a:t>
            </a:r>
            <a:r>
              <a:rPr lang="sv-SE" sz="1200" dirty="0" err="1"/>
              <a:t>cloride</a:t>
            </a:r>
            <a:r>
              <a:rPr lang="sv-SE" sz="1200" dirty="0"/>
              <a:t> </a:t>
            </a:r>
            <a:r>
              <a:rPr lang="sv-SE" sz="1200" dirty="0" err="1"/>
              <a:t>etc</a:t>
            </a:r>
            <a:r>
              <a:rPr lang="sv-SE" sz="1200" dirty="0"/>
              <a:t>…).</a:t>
            </a:r>
          </a:p>
          <a:p>
            <a:pPr marL="514350" indent="-514350">
              <a:buFont typeface="+mj-lt"/>
              <a:buAutoNum type="arabicPeriod"/>
            </a:pPr>
            <a:r>
              <a:rPr lang="sv-SE" sz="1200" dirty="0" err="1"/>
              <a:t>Upstream</a:t>
            </a:r>
            <a:r>
              <a:rPr lang="sv-SE" sz="1200" dirty="0"/>
              <a:t> process: </a:t>
            </a:r>
            <a:r>
              <a:rPr lang="sv-SE" sz="1200" dirty="0" err="1"/>
              <a:t>Transportation</a:t>
            </a:r>
            <a:r>
              <a:rPr lang="sv-SE" sz="1200" dirty="0"/>
              <a:t> </a:t>
            </a:r>
            <a:r>
              <a:rPr lang="sv-SE" sz="1200" dirty="0" err="1"/>
              <a:t>of</a:t>
            </a:r>
            <a:r>
              <a:rPr lang="sv-SE" sz="1200" dirty="0"/>
              <a:t> </a:t>
            </a:r>
            <a:r>
              <a:rPr lang="sv-SE" sz="1200" dirty="0" err="1"/>
              <a:t>raw</a:t>
            </a:r>
            <a:r>
              <a:rPr lang="sv-SE" sz="1200" dirty="0"/>
              <a:t> material to plant.</a:t>
            </a:r>
          </a:p>
          <a:p>
            <a:pPr marL="514350" indent="-514350">
              <a:buFont typeface="+mj-lt"/>
              <a:buAutoNum type="arabicPeriod"/>
            </a:pPr>
            <a:r>
              <a:rPr lang="sv-SE" sz="1200" dirty="0" err="1"/>
              <a:t>Upstream</a:t>
            </a:r>
            <a:r>
              <a:rPr lang="sv-SE" sz="1200" dirty="0"/>
              <a:t> </a:t>
            </a:r>
            <a:r>
              <a:rPr lang="sv-SE" sz="1200" dirty="0" err="1"/>
              <a:t>processes</a:t>
            </a:r>
            <a:r>
              <a:rPr lang="sv-SE" sz="1200" dirty="0"/>
              <a:t>: </a:t>
            </a:r>
            <a:r>
              <a:rPr lang="sv-SE" sz="1200" dirty="0" err="1"/>
              <a:t>Production</a:t>
            </a:r>
            <a:r>
              <a:rPr lang="sv-SE" sz="1200" dirty="0"/>
              <a:t> </a:t>
            </a:r>
            <a:r>
              <a:rPr lang="sv-SE" sz="1200" dirty="0" err="1"/>
              <a:t>of</a:t>
            </a:r>
            <a:r>
              <a:rPr lang="sv-SE" sz="1200" dirty="0"/>
              <a:t> </a:t>
            </a:r>
            <a:r>
              <a:rPr lang="sv-SE" sz="1200" dirty="0" err="1"/>
              <a:t>utilities</a:t>
            </a:r>
            <a:r>
              <a:rPr lang="sv-SE" sz="1200" dirty="0"/>
              <a:t> </a:t>
            </a:r>
            <a:r>
              <a:rPr lang="sv-SE" sz="1200" dirty="0" err="1"/>
              <a:t>used</a:t>
            </a:r>
            <a:r>
              <a:rPr lang="sv-SE" sz="1200" dirty="0"/>
              <a:t> in the plant (</a:t>
            </a:r>
            <a:r>
              <a:rPr lang="sv-SE" sz="1200" dirty="0" err="1"/>
              <a:t>natural</a:t>
            </a:r>
            <a:r>
              <a:rPr lang="sv-SE" sz="1200" dirty="0"/>
              <a:t> gas, </a:t>
            </a:r>
            <a:r>
              <a:rPr lang="sv-SE" sz="1200" dirty="0" err="1"/>
              <a:t>compressed</a:t>
            </a:r>
            <a:r>
              <a:rPr lang="sv-SE" sz="1200" dirty="0"/>
              <a:t> air, etc.).</a:t>
            </a:r>
          </a:p>
          <a:p>
            <a:pPr marL="514350" indent="-514350">
              <a:buFont typeface="+mj-lt"/>
              <a:buAutoNum type="arabicPeriod"/>
            </a:pPr>
            <a:r>
              <a:rPr lang="sv-SE" sz="1200" dirty="0" err="1"/>
              <a:t>Upstream</a:t>
            </a:r>
            <a:r>
              <a:rPr lang="sv-SE" sz="1200" dirty="0"/>
              <a:t> </a:t>
            </a:r>
            <a:r>
              <a:rPr lang="sv-SE" sz="1200" dirty="0" err="1"/>
              <a:t>processes</a:t>
            </a:r>
            <a:r>
              <a:rPr lang="sv-SE" sz="1200" dirty="0"/>
              <a:t>: Generation </a:t>
            </a:r>
            <a:r>
              <a:rPr lang="sv-SE" sz="1200" dirty="0" err="1"/>
              <a:t>of</a:t>
            </a:r>
            <a:r>
              <a:rPr lang="sv-SE" sz="1200" dirty="0"/>
              <a:t> </a:t>
            </a:r>
            <a:r>
              <a:rPr lang="sv-SE" sz="1200" dirty="0" err="1"/>
              <a:t>electricity</a:t>
            </a:r>
            <a:r>
              <a:rPr lang="sv-SE" sz="1200" dirty="0"/>
              <a:t>. (The </a:t>
            </a:r>
            <a:r>
              <a:rPr lang="sv-SE" sz="1200" dirty="0" err="1"/>
              <a:t>electricity</a:t>
            </a:r>
            <a:r>
              <a:rPr lang="sv-SE" sz="1200" dirty="0"/>
              <a:t> mix </a:t>
            </a:r>
            <a:r>
              <a:rPr lang="sv-SE" sz="1200" dirty="0" err="1"/>
              <a:t>depends</a:t>
            </a:r>
            <a:r>
              <a:rPr lang="sv-SE" sz="1200" dirty="0"/>
              <a:t> on the </a:t>
            </a:r>
            <a:r>
              <a:rPr lang="sv-SE" sz="1200" dirty="0" err="1"/>
              <a:t>geographical</a:t>
            </a:r>
            <a:r>
              <a:rPr lang="sv-SE" sz="1200" dirty="0"/>
              <a:t> </a:t>
            </a:r>
            <a:r>
              <a:rPr lang="sv-SE" sz="1200" dirty="0" err="1"/>
              <a:t>scope</a:t>
            </a:r>
            <a:r>
              <a:rPr lang="sv-SE" sz="1200" dirty="0"/>
              <a:t> </a:t>
            </a:r>
            <a:r>
              <a:rPr lang="sv-SE" sz="1200" dirty="0" err="1"/>
              <a:t>of</a:t>
            </a:r>
            <a:r>
              <a:rPr lang="sv-SE" sz="1200" dirty="0"/>
              <a:t> the </a:t>
            </a:r>
            <a:r>
              <a:rPr lang="sv-SE" sz="1200" dirty="0" err="1"/>
              <a:t>studied</a:t>
            </a:r>
            <a:r>
              <a:rPr lang="sv-SE" sz="1200" dirty="0"/>
              <a:t> </a:t>
            </a:r>
            <a:r>
              <a:rPr lang="sv-SE" sz="1200" dirty="0" err="1"/>
              <a:t>product</a:t>
            </a:r>
            <a:r>
              <a:rPr lang="sv-SE" sz="1200" dirty="0"/>
              <a:t>).</a:t>
            </a:r>
          </a:p>
          <a:p>
            <a:endParaRPr lang="sv-SE" b="1" dirty="0"/>
          </a:p>
        </p:txBody>
      </p:sp>
      <p:sp>
        <p:nvSpPr>
          <p:cNvPr id="4" name="Slide Number Placeholder 3"/>
          <p:cNvSpPr>
            <a:spLocks noGrp="1"/>
          </p:cNvSpPr>
          <p:nvPr>
            <p:ph type="sldNum" sz="quarter" idx="5"/>
          </p:nvPr>
        </p:nvSpPr>
        <p:spPr/>
        <p:txBody>
          <a:bodyPr/>
          <a:lstStyle/>
          <a:p>
            <a:pPr>
              <a:defRPr/>
            </a:pPr>
            <a:fld id="{5177787B-4A66-0142-903F-970ED53E63D2}" type="slidenum">
              <a:rPr lang="sv-SE" smtClean="0"/>
              <a:pPr>
                <a:defRPr/>
              </a:pPr>
              <a:t>158</a:t>
            </a:fld>
            <a:endParaRPr lang="sv-SE"/>
          </a:p>
        </p:txBody>
      </p:sp>
    </p:spTree>
    <p:extLst>
      <p:ext uri="{BB962C8B-B14F-4D97-AF65-F5344CB8AC3E}">
        <p14:creationId xmlns:p14="http://schemas.microsoft.com/office/powerpoint/2010/main" val="1075305130"/>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numbers are covering the red boxes in </a:t>
            </a:r>
            <a:r>
              <a:rPr lang="en-US"/>
              <a:t>the figure</a:t>
            </a:r>
            <a:endParaRPr lang="en-US" dirty="0"/>
          </a:p>
          <a:p>
            <a:r>
              <a:rPr lang="en-US" dirty="0"/>
              <a:t>1. Replacement of part of the phosphoric acid (H3PO4) with concentrated sulfuric acid (H2SO4) for the reaction with NH3. </a:t>
            </a:r>
          </a:p>
          <a:p>
            <a:pPr marL="628650" lvl="1" indent="-171450">
              <a:buFont typeface="Arial" panose="020B0604020202020204" pitchFamily="34" charset="0"/>
              <a:buChar char="•"/>
            </a:pPr>
            <a:r>
              <a:rPr lang="en-US" dirty="0"/>
              <a:t>The H2SO4 is sourced from residues of nearby copper production facility.</a:t>
            </a:r>
          </a:p>
          <a:p>
            <a:pPr marL="628650" lvl="1" indent="-171450">
              <a:buFont typeface="Arial" panose="020B0604020202020204" pitchFamily="34" charset="0"/>
              <a:buChar char="•"/>
            </a:pPr>
            <a:r>
              <a:rPr lang="en-US" dirty="0"/>
              <a:t>Part of the P is sourced from waste streams from nearby industries and combined with P obtained from the plant’s wastewater treatment unit. This reduces the demand of H3PO4 further.</a:t>
            </a:r>
          </a:p>
          <a:p>
            <a:endParaRPr lang="en-US" dirty="0"/>
          </a:p>
          <a:p>
            <a:r>
              <a:rPr lang="en-US" dirty="0"/>
              <a:t>2. Replacement of reactor for a new one. The new tubular reactor is placed inside the granulator. This makes it possible to recover the heat from the reactions occurring in the tubular reactor by providing the waste heat to the granulator. The increased energy recovery results in that no additional heat is required in the granulator (i.e. no natural gas to the boiler is needed to heat the granulator).</a:t>
            </a:r>
          </a:p>
          <a:p>
            <a:endParaRPr lang="en-US" dirty="0"/>
          </a:p>
          <a:p>
            <a:r>
              <a:rPr lang="en-US" dirty="0"/>
              <a:t>3. Ammonium sulphate could be synthesized in-situ by the new reaction in the tubular reactor.</a:t>
            </a:r>
          </a:p>
          <a:p>
            <a:endParaRPr lang="sv-SE" b="1" dirty="0"/>
          </a:p>
        </p:txBody>
      </p:sp>
      <p:sp>
        <p:nvSpPr>
          <p:cNvPr id="4" name="Slide Number Placeholder 3"/>
          <p:cNvSpPr>
            <a:spLocks noGrp="1"/>
          </p:cNvSpPr>
          <p:nvPr>
            <p:ph type="sldNum" sz="quarter" idx="5"/>
          </p:nvPr>
        </p:nvSpPr>
        <p:spPr/>
        <p:txBody>
          <a:bodyPr/>
          <a:lstStyle/>
          <a:p>
            <a:pPr>
              <a:defRPr/>
            </a:pPr>
            <a:fld id="{5177787B-4A66-0142-903F-970ED53E63D2}" type="slidenum">
              <a:rPr lang="sv-SE" smtClean="0"/>
              <a:pPr>
                <a:defRPr/>
              </a:pPr>
              <a:t>159</a:t>
            </a:fld>
            <a:endParaRPr lang="sv-SE"/>
          </a:p>
        </p:txBody>
      </p:sp>
    </p:spTree>
    <p:extLst>
      <p:ext uri="{BB962C8B-B14F-4D97-AF65-F5344CB8AC3E}">
        <p14:creationId xmlns:p14="http://schemas.microsoft.com/office/powerpoint/2010/main" val="2821440636"/>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b="1"/>
          </a:p>
        </p:txBody>
      </p:sp>
      <p:sp>
        <p:nvSpPr>
          <p:cNvPr id="4" name="Slide Number Placeholder 3"/>
          <p:cNvSpPr>
            <a:spLocks noGrp="1"/>
          </p:cNvSpPr>
          <p:nvPr>
            <p:ph type="sldNum" sz="quarter" idx="5"/>
          </p:nvPr>
        </p:nvSpPr>
        <p:spPr/>
        <p:txBody>
          <a:bodyPr/>
          <a:lstStyle/>
          <a:p>
            <a:pPr>
              <a:defRPr/>
            </a:pPr>
            <a:fld id="{5177787B-4A66-0142-903F-970ED53E63D2}" type="slidenum">
              <a:rPr lang="sv-SE" smtClean="0"/>
              <a:pPr>
                <a:defRPr/>
              </a:pPr>
              <a:t>160</a:t>
            </a:fld>
            <a:endParaRPr lang="sv-SE"/>
          </a:p>
        </p:txBody>
      </p:sp>
    </p:spTree>
    <p:extLst>
      <p:ext uri="{BB962C8B-B14F-4D97-AF65-F5344CB8AC3E}">
        <p14:creationId xmlns:p14="http://schemas.microsoft.com/office/powerpoint/2010/main" val="3506644241"/>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cs typeface="Arial" panose="020B0604020202020204" pitchFamily="34" charset="0"/>
              </a:rPr>
              <a:t>The results, and the interpretation of the results from the comparative LCA performed on the </a:t>
            </a:r>
            <a:r>
              <a:rPr lang="en-US" sz="1200" dirty="0" err="1">
                <a:cs typeface="Arial" panose="020B0604020202020204" pitchFamily="34" charset="0"/>
              </a:rPr>
              <a:t>Fertiberia</a:t>
            </a:r>
            <a:r>
              <a:rPr lang="en-US" sz="1200" dirty="0">
                <a:cs typeface="Arial" panose="020B0604020202020204" pitchFamily="34" charset="0"/>
              </a:rPr>
              <a:t> plant will be further presented in chapter 6.</a:t>
            </a:r>
          </a:p>
          <a:p>
            <a:endParaRPr lang="sv-SE" b="1" dirty="0"/>
          </a:p>
        </p:txBody>
      </p:sp>
      <p:sp>
        <p:nvSpPr>
          <p:cNvPr id="4" name="Slide Number Placeholder 3"/>
          <p:cNvSpPr>
            <a:spLocks noGrp="1"/>
          </p:cNvSpPr>
          <p:nvPr>
            <p:ph type="sldNum" sz="quarter" idx="5"/>
          </p:nvPr>
        </p:nvSpPr>
        <p:spPr/>
        <p:txBody>
          <a:bodyPr/>
          <a:lstStyle/>
          <a:p>
            <a:pPr>
              <a:defRPr/>
            </a:pPr>
            <a:fld id="{5177787B-4A66-0142-903F-970ED53E63D2}" type="slidenum">
              <a:rPr lang="sv-SE" smtClean="0"/>
              <a:pPr>
                <a:defRPr/>
              </a:pPr>
              <a:t>161</a:t>
            </a:fld>
            <a:endParaRPr lang="sv-SE"/>
          </a:p>
        </p:txBody>
      </p:sp>
    </p:spTree>
    <p:extLst>
      <p:ext uri="{BB962C8B-B14F-4D97-AF65-F5344CB8AC3E}">
        <p14:creationId xmlns:p14="http://schemas.microsoft.com/office/powerpoint/2010/main" val="682913541"/>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sz="1200" err="1"/>
              <a:t>Both</a:t>
            </a:r>
            <a:r>
              <a:rPr lang="sv-SE" sz="1200"/>
              <a:t> </a:t>
            </a:r>
            <a:r>
              <a:rPr lang="sv-SE" sz="1200" err="1"/>
              <a:t>have</a:t>
            </a:r>
            <a:r>
              <a:rPr lang="sv-SE" sz="1200"/>
              <a:t> </a:t>
            </a:r>
            <a:r>
              <a:rPr lang="sv-SE" sz="1200" err="1"/>
              <a:t>some</a:t>
            </a:r>
            <a:r>
              <a:rPr lang="sv-SE" sz="1200"/>
              <a:t> </a:t>
            </a:r>
            <a:r>
              <a:rPr lang="sv-SE" sz="1200" err="1"/>
              <a:t>disadvantages</a:t>
            </a:r>
            <a:endParaRPr lang="sv-SE" sz="1200"/>
          </a:p>
          <a:p>
            <a:endParaRPr lang="sv-SE" sz="1200" b="1"/>
          </a:p>
          <a:p>
            <a:r>
              <a:rPr lang="sv-SE" sz="1200" b="1" err="1"/>
              <a:t>Reusable</a:t>
            </a:r>
            <a:r>
              <a:rPr lang="sv-SE" sz="1200" b="1"/>
              <a:t> </a:t>
            </a:r>
            <a:r>
              <a:rPr lang="sv-SE" sz="1200" b="1" err="1"/>
              <a:t>diapers</a:t>
            </a:r>
            <a:endParaRPr lang="sv-SE" sz="1200" b="1"/>
          </a:p>
          <a:p>
            <a:r>
              <a:rPr lang="sv-SE" sz="1200" err="1"/>
              <a:t>Electricity</a:t>
            </a:r>
            <a:r>
              <a:rPr lang="sv-SE" sz="1200"/>
              <a:t> is </a:t>
            </a:r>
            <a:r>
              <a:rPr lang="sv-SE" sz="1200" err="1"/>
              <a:t>consumed</a:t>
            </a:r>
            <a:r>
              <a:rPr lang="sv-SE" sz="1200"/>
              <a:t> </a:t>
            </a:r>
            <a:r>
              <a:rPr lang="sv-SE" sz="1200" err="1"/>
              <a:t>while</a:t>
            </a:r>
            <a:r>
              <a:rPr lang="sv-SE" sz="1200"/>
              <a:t> </a:t>
            </a:r>
            <a:r>
              <a:rPr lang="sv-SE" sz="1200" err="1"/>
              <a:t>washing</a:t>
            </a:r>
            <a:r>
              <a:rPr lang="sv-SE" sz="1200"/>
              <a:t> the </a:t>
            </a:r>
            <a:r>
              <a:rPr lang="sv-SE" sz="1200" err="1"/>
              <a:t>reusable</a:t>
            </a:r>
            <a:r>
              <a:rPr lang="sv-SE" sz="1200"/>
              <a:t> </a:t>
            </a:r>
            <a:r>
              <a:rPr lang="sv-SE" sz="1200" err="1"/>
              <a:t>diapers</a:t>
            </a:r>
            <a:r>
              <a:rPr lang="sv-SE" sz="1200"/>
              <a:t>, the total </a:t>
            </a:r>
            <a:r>
              <a:rPr lang="sv-SE" sz="1200" err="1"/>
              <a:t>impact</a:t>
            </a:r>
            <a:r>
              <a:rPr lang="sv-SE" sz="1200"/>
              <a:t> </a:t>
            </a:r>
            <a:r>
              <a:rPr lang="sv-SE" sz="1200" err="1"/>
              <a:t>during</a:t>
            </a:r>
            <a:r>
              <a:rPr lang="sv-SE" sz="1200"/>
              <a:t> the </a:t>
            </a:r>
            <a:r>
              <a:rPr lang="sv-SE" sz="1200" err="1"/>
              <a:t>life</a:t>
            </a:r>
            <a:r>
              <a:rPr lang="sv-SE" sz="1200"/>
              <a:t> </a:t>
            </a:r>
            <a:r>
              <a:rPr lang="sv-SE" sz="1200" err="1"/>
              <a:t>cycle</a:t>
            </a:r>
            <a:r>
              <a:rPr lang="sv-SE" sz="1200"/>
              <a:t> </a:t>
            </a:r>
            <a:r>
              <a:rPr lang="sv-SE" sz="1200" err="1"/>
              <a:t>of</a:t>
            </a:r>
            <a:r>
              <a:rPr lang="sv-SE" sz="1200"/>
              <a:t> the </a:t>
            </a:r>
            <a:r>
              <a:rPr lang="sv-SE" sz="1200" err="1"/>
              <a:t>reusable</a:t>
            </a:r>
            <a:r>
              <a:rPr lang="sv-SE" sz="1200"/>
              <a:t> </a:t>
            </a:r>
            <a:r>
              <a:rPr lang="sv-SE" sz="1200" err="1"/>
              <a:t>diaper</a:t>
            </a:r>
            <a:r>
              <a:rPr lang="sv-SE" sz="1200"/>
              <a:t> </a:t>
            </a:r>
            <a:r>
              <a:rPr lang="sv-SE" sz="1200" err="1"/>
              <a:t>will</a:t>
            </a:r>
            <a:r>
              <a:rPr lang="sv-SE" sz="1200"/>
              <a:t> be </a:t>
            </a:r>
            <a:r>
              <a:rPr lang="sv-SE" sz="1200" err="1"/>
              <a:t>high</a:t>
            </a:r>
            <a:r>
              <a:rPr lang="sv-SE" sz="1200"/>
              <a:t> </a:t>
            </a:r>
            <a:r>
              <a:rPr lang="sv-SE" sz="1200" err="1"/>
              <a:t>if</a:t>
            </a:r>
            <a:r>
              <a:rPr lang="sv-SE" sz="1200"/>
              <a:t> the </a:t>
            </a:r>
            <a:r>
              <a:rPr lang="sv-SE" sz="1200" err="1"/>
              <a:t>renewable</a:t>
            </a:r>
            <a:r>
              <a:rPr lang="sv-SE" sz="1200"/>
              <a:t> </a:t>
            </a:r>
            <a:r>
              <a:rPr lang="sv-SE" sz="1200" err="1"/>
              <a:t>energy</a:t>
            </a:r>
            <a:r>
              <a:rPr lang="sv-SE" sz="1200"/>
              <a:t> </a:t>
            </a:r>
            <a:r>
              <a:rPr lang="sv-SE" sz="1200" err="1"/>
              <a:t>share</a:t>
            </a:r>
            <a:r>
              <a:rPr lang="sv-SE" sz="1200"/>
              <a:t> in the </a:t>
            </a:r>
            <a:r>
              <a:rPr lang="sv-SE" sz="1200" err="1"/>
              <a:t>electricity</a:t>
            </a:r>
            <a:r>
              <a:rPr lang="sv-SE" sz="1200"/>
              <a:t> mix is </a:t>
            </a:r>
            <a:r>
              <a:rPr lang="sv-SE" sz="1200" err="1"/>
              <a:t>low</a:t>
            </a:r>
            <a:r>
              <a:rPr lang="sv-SE" sz="1200"/>
              <a:t>.</a:t>
            </a:r>
          </a:p>
          <a:p>
            <a:r>
              <a:rPr lang="sv-SE" sz="1200" u="sng" err="1"/>
              <a:t>Preventive</a:t>
            </a:r>
            <a:r>
              <a:rPr lang="sv-SE" sz="1200" u="sng"/>
              <a:t> </a:t>
            </a:r>
            <a:r>
              <a:rPr lang="sv-SE" sz="1200" u="sng" err="1"/>
              <a:t>measure</a:t>
            </a:r>
            <a:r>
              <a:rPr lang="sv-SE" sz="1200"/>
              <a:t>: </a:t>
            </a:r>
            <a:r>
              <a:rPr lang="sv-SE" sz="1200" err="1"/>
              <a:t>Good</a:t>
            </a:r>
            <a:r>
              <a:rPr lang="sv-SE" sz="1200"/>
              <a:t> </a:t>
            </a:r>
            <a:r>
              <a:rPr lang="sv-SE" sz="1200" err="1"/>
              <a:t>laundering</a:t>
            </a:r>
            <a:r>
              <a:rPr lang="sv-SE" sz="1200"/>
              <a:t> </a:t>
            </a:r>
            <a:r>
              <a:rPr lang="sv-SE" sz="1200" err="1"/>
              <a:t>practices</a:t>
            </a:r>
            <a:r>
              <a:rPr lang="sv-SE" sz="1200"/>
              <a:t> (</a:t>
            </a:r>
            <a:r>
              <a:rPr lang="sv-SE" sz="1200" err="1"/>
              <a:t>below</a:t>
            </a:r>
            <a:r>
              <a:rPr lang="sv-SE" sz="1200"/>
              <a:t> 60</a:t>
            </a:r>
            <a:r>
              <a:rPr lang="sv-SE" sz="1200">
                <a:latin typeface="Arial" panose="020B0604020202020204" pitchFamily="34" charset="0"/>
                <a:cs typeface="Arial" panose="020B0604020202020204" pitchFamily="34" charset="0"/>
              </a:rPr>
              <a:t>°</a:t>
            </a:r>
            <a:r>
              <a:rPr lang="sv-SE" sz="1200"/>
              <a:t>C, full </a:t>
            </a:r>
            <a:r>
              <a:rPr lang="sv-SE" sz="1200" err="1"/>
              <a:t>machine</a:t>
            </a:r>
            <a:r>
              <a:rPr lang="sv-SE" sz="1200"/>
              <a:t> etc.</a:t>
            </a:r>
          </a:p>
          <a:p>
            <a:endParaRPr lang="sv-SE" sz="1200"/>
          </a:p>
          <a:p>
            <a:r>
              <a:rPr lang="sv-SE" sz="1200" b="1" err="1"/>
              <a:t>Single-use</a:t>
            </a:r>
            <a:r>
              <a:rPr lang="sv-SE" sz="1200" b="1"/>
              <a:t> </a:t>
            </a:r>
            <a:r>
              <a:rPr lang="sv-SE" sz="1200" b="1" err="1"/>
              <a:t>diapers</a:t>
            </a:r>
            <a:endParaRPr lang="sv-SE" sz="1200" b="1"/>
          </a:p>
          <a:p>
            <a:r>
              <a:rPr lang="sv-SE" sz="1200" err="1"/>
              <a:t>Single-use</a:t>
            </a:r>
            <a:r>
              <a:rPr lang="sv-SE" sz="1200"/>
              <a:t> </a:t>
            </a:r>
            <a:r>
              <a:rPr lang="sv-SE" sz="1200" err="1"/>
              <a:t>diapers</a:t>
            </a:r>
            <a:r>
              <a:rPr lang="sv-SE" sz="1200"/>
              <a:t> </a:t>
            </a:r>
            <a:r>
              <a:rPr lang="sv-SE" sz="1200" err="1"/>
              <a:t>contribute</a:t>
            </a:r>
            <a:r>
              <a:rPr lang="sv-SE" sz="1200"/>
              <a:t> to plastic pollution.</a:t>
            </a:r>
          </a:p>
          <a:p>
            <a:r>
              <a:rPr lang="sv-SE" sz="1200" u="sng" err="1"/>
              <a:t>Preventive</a:t>
            </a:r>
            <a:r>
              <a:rPr lang="sv-SE" sz="1200" u="sng"/>
              <a:t> </a:t>
            </a:r>
            <a:r>
              <a:rPr lang="sv-SE" sz="1200" u="sng" err="1"/>
              <a:t>measure</a:t>
            </a:r>
            <a:r>
              <a:rPr lang="sv-SE" sz="1200"/>
              <a:t>: </a:t>
            </a:r>
            <a:r>
              <a:rPr lang="sv-SE" sz="1200" err="1"/>
              <a:t>Good</a:t>
            </a:r>
            <a:r>
              <a:rPr lang="sv-SE" sz="1200"/>
              <a:t> </a:t>
            </a:r>
            <a:r>
              <a:rPr lang="sv-SE" sz="1200" err="1"/>
              <a:t>waste</a:t>
            </a:r>
            <a:r>
              <a:rPr lang="sv-SE" sz="1200"/>
              <a:t> </a:t>
            </a:r>
            <a:r>
              <a:rPr lang="sv-SE" sz="1200" err="1"/>
              <a:t>collection</a:t>
            </a:r>
            <a:r>
              <a:rPr lang="sv-SE" sz="1200"/>
              <a:t> and </a:t>
            </a:r>
            <a:r>
              <a:rPr lang="sv-SE" sz="1200" err="1"/>
              <a:t>disposal</a:t>
            </a:r>
            <a:r>
              <a:rPr lang="sv-SE" sz="1200"/>
              <a:t> </a:t>
            </a:r>
            <a:r>
              <a:rPr lang="sv-SE" sz="1200" err="1"/>
              <a:t>practices</a:t>
            </a:r>
            <a:r>
              <a:rPr lang="sv-SE" sz="1200"/>
              <a:t> for </a:t>
            </a:r>
            <a:r>
              <a:rPr lang="sv-SE" sz="1200" err="1"/>
              <a:t>single-use</a:t>
            </a:r>
            <a:r>
              <a:rPr lang="sv-SE" sz="1200"/>
              <a:t> </a:t>
            </a:r>
            <a:r>
              <a:rPr lang="sv-SE" sz="1200" err="1"/>
              <a:t>diapers</a:t>
            </a:r>
            <a:r>
              <a:rPr lang="sv-SE" sz="1200"/>
              <a:t>.</a:t>
            </a:r>
          </a:p>
          <a:p>
            <a:endParaRPr lang="sv-SE" sz="1200"/>
          </a:p>
          <a:p>
            <a:r>
              <a:rPr lang="sv-SE" sz="1200"/>
              <a:t>For </a:t>
            </a:r>
            <a:r>
              <a:rPr lang="sv-SE" sz="1200" err="1"/>
              <a:t>detailed</a:t>
            </a:r>
            <a:r>
              <a:rPr lang="sv-SE" sz="1200"/>
              <a:t> information: </a:t>
            </a:r>
            <a:r>
              <a:rPr lang="en-US" sz="1200">
                <a:hlinkClick r:id="rId3"/>
              </a:rPr>
              <a:t>Single-use nappies and  their alternatives-Recommendations from  Life Cycle Assessments, report by UNEP</a:t>
            </a:r>
            <a:endParaRPr lang="sv-SE" sz="1200"/>
          </a:p>
          <a:p>
            <a:endParaRPr lang="sv-SE"/>
          </a:p>
        </p:txBody>
      </p:sp>
      <p:sp>
        <p:nvSpPr>
          <p:cNvPr id="4" name="Slide Number Placeholder 3"/>
          <p:cNvSpPr>
            <a:spLocks noGrp="1"/>
          </p:cNvSpPr>
          <p:nvPr>
            <p:ph type="sldNum" sz="quarter" idx="5"/>
          </p:nvPr>
        </p:nvSpPr>
        <p:spPr/>
        <p:txBody>
          <a:bodyPr/>
          <a:lstStyle/>
          <a:p>
            <a:fld id="{F84DB91F-1AD8-437C-8866-3636784D0854}" type="slidenum">
              <a:rPr lang="en-GB" smtClean="0"/>
              <a:t>162</a:t>
            </a:fld>
            <a:endParaRPr lang="en-GB"/>
          </a:p>
        </p:txBody>
      </p:sp>
    </p:spTree>
    <p:extLst>
      <p:ext uri="{BB962C8B-B14F-4D97-AF65-F5344CB8AC3E}">
        <p14:creationId xmlns:p14="http://schemas.microsoft.com/office/powerpoint/2010/main" val="3397116971"/>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200"/>
              <a:t>The </a:t>
            </a:r>
            <a:r>
              <a:rPr lang="en-GB" sz="1200"/>
              <a:t>function of a wind turbine is to generate electricity and the functional unit generally used is 1 kWh electricity</a:t>
            </a:r>
            <a:r>
              <a:rPr lang="sv-SE" sz="1200"/>
              <a:t>.</a:t>
            </a:r>
          </a:p>
          <a:p>
            <a:endParaRPr lang="sv-SE"/>
          </a:p>
        </p:txBody>
      </p:sp>
      <p:sp>
        <p:nvSpPr>
          <p:cNvPr id="4" name="Slide Number Placeholder 3"/>
          <p:cNvSpPr>
            <a:spLocks noGrp="1"/>
          </p:cNvSpPr>
          <p:nvPr>
            <p:ph type="sldNum" sz="quarter" idx="5"/>
          </p:nvPr>
        </p:nvSpPr>
        <p:spPr/>
        <p:txBody>
          <a:bodyPr/>
          <a:lstStyle/>
          <a:p>
            <a:fld id="{F84DB91F-1AD8-437C-8866-3636784D0854}" type="slidenum">
              <a:rPr lang="en-GB" smtClean="0"/>
              <a:t>163</a:t>
            </a:fld>
            <a:endParaRPr lang="en-GB"/>
          </a:p>
        </p:txBody>
      </p:sp>
    </p:spTree>
    <p:extLst>
      <p:ext uri="{BB962C8B-B14F-4D97-AF65-F5344CB8AC3E}">
        <p14:creationId xmlns:p14="http://schemas.microsoft.com/office/powerpoint/2010/main" val="130721922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a:t>https://www.un.org/sustainabledevelopment/news/communications-material/</a:t>
            </a:r>
          </a:p>
          <a:p>
            <a:endParaRPr lang="sv-S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4DB91F-1AD8-437C-8866-3636784D085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97716850"/>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F84DB91F-1AD8-437C-8866-3636784D0854}" type="slidenum">
              <a:rPr lang="en-GB" smtClean="0"/>
              <a:t>166</a:t>
            </a:fld>
            <a:endParaRPr lang="en-GB"/>
          </a:p>
        </p:txBody>
      </p:sp>
    </p:spTree>
    <p:extLst>
      <p:ext uri="{BB962C8B-B14F-4D97-AF65-F5344CB8AC3E}">
        <p14:creationId xmlns:p14="http://schemas.microsoft.com/office/powerpoint/2010/main" val="988535226"/>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4DB91F-1AD8-437C-8866-3636784D085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96651810"/>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err="1"/>
              <a:t>There</a:t>
            </a:r>
            <a:r>
              <a:rPr lang="sv-SE" dirty="0"/>
              <a:t> </a:t>
            </a:r>
            <a:r>
              <a:rPr lang="sv-SE" dirty="0" err="1"/>
              <a:t>are</a:t>
            </a:r>
            <a:r>
              <a:rPr lang="sv-SE" dirty="0"/>
              <a:t> </a:t>
            </a:r>
            <a:r>
              <a:rPr lang="sv-SE" dirty="0" err="1"/>
              <a:t>six</a:t>
            </a:r>
            <a:r>
              <a:rPr lang="sv-SE" dirty="0"/>
              <a:t> demo-sites in the </a:t>
            </a:r>
            <a:r>
              <a:rPr lang="sv-SE" dirty="0" err="1"/>
              <a:t>Retrofeed</a:t>
            </a:r>
            <a:r>
              <a:rPr lang="sv-SE" dirty="0"/>
              <a:t> </a:t>
            </a:r>
            <a:r>
              <a:rPr lang="sv-SE" dirty="0" err="1"/>
              <a:t>project</a:t>
            </a:r>
            <a:r>
              <a:rPr lang="sv-SE" dirty="0"/>
              <a:t>, </a:t>
            </a:r>
            <a:r>
              <a:rPr lang="sv-SE" dirty="0" err="1"/>
              <a:t>within</a:t>
            </a:r>
            <a:r>
              <a:rPr lang="sv-SE" dirty="0"/>
              <a:t> the cement, </a:t>
            </a:r>
            <a:r>
              <a:rPr lang="sv-SE" dirty="0" err="1"/>
              <a:t>ceramic</a:t>
            </a:r>
            <a:r>
              <a:rPr lang="sv-SE" dirty="0"/>
              <a:t>, </a:t>
            </a:r>
            <a:r>
              <a:rPr lang="sv-SE" dirty="0" err="1"/>
              <a:t>steel</a:t>
            </a:r>
            <a:r>
              <a:rPr lang="sv-SE" dirty="0"/>
              <a:t>, </a:t>
            </a:r>
            <a:r>
              <a:rPr lang="sv-SE" dirty="0" err="1"/>
              <a:t>agrochemical</a:t>
            </a:r>
            <a:r>
              <a:rPr lang="sv-SE" dirty="0"/>
              <a:t> and </a:t>
            </a:r>
            <a:r>
              <a:rPr lang="sv-SE" dirty="0" err="1"/>
              <a:t>aluminum</a:t>
            </a:r>
            <a:r>
              <a:rPr lang="sv-SE" dirty="0"/>
              <a:t> </a:t>
            </a:r>
            <a:r>
              <a:rPr lang="sv-SE" dirty="0" err="1"/>
              <a:t>sector</a:t>
            </a:r>
            <a:r>
              <a:rPr lang="sv-SE" dirty="0"/>
              <a:t>. </a:t>
            </a:r>
          </a:p>
          <a:p>
            <a:r>
              <a:rPr lang="sv-SE" dirty="0" err="1"/>
              <a:t>Two</a:t>
            </a:r>
            <a:r>
              <a:rPr lang="sv-SE" dirty="0"/>
              <a:t> demo-sites </a:t>
            </a:r>
            <a:r>
              <a:rPr lang="sv-SE" dirty="0" err="1"/>
              <a:t>within</a:t>
            </a:r>
            <a:r>
              <a:rPr lang="sv-SE" dirty="0"/>
              <a:t> </a:t>
            </a:r>
            <a:r>
              <a:rPr lang="sv-SE" dirty="0" err="1"/>
              <a:t>steel</a:t>
            </a:r>
            <a:r>
              <a:rPr lang="sv-SE" dirty="0"/>
              <a:t> </a:t>
            </a:r>
            <a:r>
              <a:rPr lang="sv-SE" dirty="0" err="1"/>
              <a:t>sector</a:t>
            </a:r>
            <a:r>
              <a:rPr lang="sv-SE" dirty="0"/>
              <a:t>. </a:t>
            </a:r>
            <a:r>
              <a:rPr lang="sv-SE" dirty="0" err="1"/>
              <a:t>This</a:t>
            </a:r>
            <a:r>
              <a:rPr lang="sv-SE" dirty="0"/>
              <a:t> </a:t>
            </a:r>
            <a:r>
              <a:rPr lang="sv-SE" dirty="0" err="1"/>
              <a:t>slide</a:t>
            </a:r>
            <a:r>
              <a:rPr lang="sv-SE" dirty="0"/>
              <a:t> </a:t>
            </a:r>
            <a:r>
              <a:rPr lang="sv-SE" dirty="0" err="1"/>
              <a:t>will</a:t>
            </a:r>
            <a:r>
              <a:rPr lang="sv-SE" dirty="0"/>
              <a:t> </a:t>
            </a:r>
            <a:r>
              <a:rPr lang="sv-SE" dirty="0" err="1"/>
              <a:t>give</a:t>
            </a:r>
            <a:r>
              <a:rPr lang="sv-SE" dirty="0"/>
              <a:t> </a:t>
            </a:r>
            <a:r>
              <a:rPr lang="sv-SE" dirty="0" err="1"/>
              <a:t>you</a:t>
            </a:r>
            <a:r>
              <a:rPr lang="sv-SE" dirty="0"/>
              <a:t> an </a:t>
            </a:r>
            <a:r>
              <a:rPr lang="sv-SE" dirty="0" err="1"/>
              <a:t>overview</a:t>
            </a:r>
            <a:r>
              <a:rPr lang="sv-SE" dirty="0"/>
              <a:t> </a:t>
            </a:r>
            <a:r>
              <a:rPr lang="sv-SE" dirty="0" err="1"/>
              <a:t>where</a:t>
            </a:r>
            <a:r>
              <a:rPr lang="sv-SE" dirty="0"/>
              <a:t> the demo-sites </a:t>
            </a:r>
            <a:r>
              <a:rPr lang="sv-SE" dirty="0" err="1"/>
              <a:t>are</a:t>
            </a:r>
            <a:r>
              <a:rPr lang="sv-SE" dirty="0"/>
              <a:t> </a:t>
            </a:r>
            <a:r>
              <a:rPr lang="sv-SE" dirty="0" err="1"/>
              <a:t>located</a:t>
            </a:r>
            <a:r>
              <a:rPr lang="sv-SE" dirty="0"/>
              <a:t>. </a:t>
            </a:r>
          </a:p>
          <a:p>
            <a:endParaRPr lang="sv-SE" dirty="0"/>
          </a:p>
          <a:p>
            <a:r>
              <a:rPr lang="sv-SE" b="1" dirty="0"/>
              <a:t>NOTE: </a:t>
            </a:r>
          </a:p>
          <a:p>
            <a:r>
              <a:rPr lang="sv-SE" b="1" dirty="0"/>
              <a:t>The </a:t>
            </a:r>
            <a:r>
              <a:rPr lang="sv-SE" b="1" dirty="0" err="1"/>
              <a:t>following</a:t>
            </a:r>
            <a:r>
              <a:rPr lang="sv-SE" b="1" dirty="0"/>
              <a:t> </a:t>
            </a:r>
            <a:r>
              <a:rPr lang="sv-SE" b="1" dirty="0" err="1"/>
              <a:t>slides</a:t>
            </a:r>
            <a:r>
              <a:rPr lang="sv-SE" b="1" dirty="0"/>
              <a:t> gives </a:t>
            </a:r>
            <a:r>
              <a:rPr lang="sv-SE" b="1" dirty="0" err="1"/>
              <a:t>you</a:t>
            </a:r>
            <a:r>
              <a:rPr lang="sv-SE" b="1" dirty="0"/>
              <a:t> a presentation for </a:t>
            </a:r>
            <a:r>
              <a:rPr lang="sv-SE" b="1" dirty="0" err="1"/>
              <a:t>each</a:t>
            </a:r>
            <a:r>
              <a:rPr lang="sv-SE" b="1" dirty="0"/>
              <a:t> demo-site. </a:t>
            </a:r>
            <a:r>
              <a:rPr lang="sv-SE" b="1" dirty="0" err="1"/>
              <a:t>You</a:t>
            </a:r>
            <a:r>
              <a:rPr lang="sv-SE" b="1" dirty="0"/>
              <a:t> </a:t>
            </a:r>
            <a:r>
              <a:rPr lang="sv-SE" b="1" dirty="0" err="1"/>
              <a:t>can</a:t>
            </a:r>
            <a:r>
              <a:rPr lang="sv-SE" b="1" dirty="0"/>
              <a:t> </a:t>
            </a:r>
            <a:r>
              <a:rPr lang="sv-SE" b="1" dirty="0" err="1"/>
              <a:t>include</a:t>
            </a:r>
            <a:r>
              <a:rPr lang="sv-SE" b="1" dirty="0"/>
              <a:t> the demo-sites </a:t>
            </a:r>
            <a:r>
              <a:rPr lang="sv-SE" b="1" dirty="0" err="1"/>
              <a:t>you</a:t>
            </a:r>
            <a:r>
              <a:rPr lang="sv-SE" b="1" dirty="0"/>
              <a:t> </a:t>
            </a:r>
            <a:r>
              <a:rPr lang="sv-SE" b="1" dirty="0" err="1"/>
              <a:t>want</a:t>
            </a:r>
            <a:r>
              <a:rPr lang="sv-SE" b="1" dirty="0"/>
              <a:t> to present in the </a:t>
            </a:r>
            <a:r>
              <a:rPr lang="sv-SE" b="1" dirty="0" err="1"/>
              <a:t>lectures</a:t>
            </a:r>
            <a:r>
              <a:rPr lang="sv-SE" b="1" dirty="0"/>
              <a:t>.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4DB91F-1AD8-437C-8866-3636784D085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02416034"/>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
              <a:t>ASAS, </a:t>
            </a:r>
            <a:r>
              <a:rPr lang="es-ES" err="1"/>
              <a:t>which</a:t>
            </a:r>
            <a:r>
              <a:rPr lang="es-ES"/>
              <a:t> </a:t>
            </a:r>
            <a:r>
              <a:rPr lang="es-ES" err="1"/>
              <a:t>is</a:t>
            </a:r>
            <a:r>
              <a:rPr lang="es-ES"/>
              <a:t> </a:t>
            </a:r>
            <a:r>
              <a:rPr lang="es-ES" err="1"/>
              <a:t>one</a:t>
            </a:r>
            <a:r>
              <a:rPr lang="es-ES"/>
              <a:t> </a:t>
            </a:r>
            <a:r>
              <a:rPr lang="es-ES" err="1"/>
              <a:t>of</a:t>
            </a:r>
            <a:r>
              <a:rPr lang="es-ES"/>
              <a:t> </a:t>
            </a:r>
            <a:r>
              <a:rPr lang="es-ES" err="1"/>
              <a:t>the</a:t>
            </a:r>
            <a:r>
              <a:rPr lang="es-ES"/>
              <a:t> leader </a:t>
            </a:r>
            <a:r>
              <a:rPr lang="es-ES" err="1"/>
              <a:t>aluminum</a:t>
            </a:r>
            <a:r>
              <a:rPr lang="es-ES"/>
              <a:t> </a:t>
            </a:r>
            <a:r>
              <a:rPr lang="es-ES" err="1"/>
              <a:t>manufacters</a:t>
            </a:r>
            <a:r>
              <a:rPr lang="es-ES"/>
              <a:t> in </a:t>
            </a:r>
            <a:r>
              <a:rPr lang="es-ES" err="1"/>
              <a:t>Europe</a:t>
            </a:r>
            <a:r>
              <a:rPr lang="es-ES"/>
              <a:t>, </a:t>
            </a:r>
            <a:r>
              <a:rPr lang="es-ES" err="1"/>
              <a:t>persues</a:t>
            </a:r>
            <a:r>
              <a:rPr lang="es-ES"/>
              <a:t> </a:t>
            </a:r>
            <a:r>
              <a:rPr lang="es-ES" err="1"/>
              <a:t>to</a:t>
            </a:r>
            <a:r>
              <a:rPr lang="es-ES"/>
              <a:t> </a:t>
            </a:r>
            <a:r>
              <a:rPr lang="es-ES" err="1"/>
              <a:t>increase</a:t>
            </a:r>
            <a:r>
              <a:rPr lang="es-ES"/>
              <a:t> </a:t>
            </a:r>
            <a:r>
              <a:rPr lang="es-ES" err="1"/>
              <a:t>the</a:t>
            </a:r>
            <a:r>
              <a:rPr lang="es-ES"/>
              <a:t> </a:t>
            </a:r>
            <a:r>
              <a:rPr lang="es-ES" err="1"/>
              <a:t>amount</a:t>
            </a:r>
            <a:r>
              <a:rPr lang="es-ES"/>
              <a:t> </a:t>
            </a:r>
            <a:r>
              <a:rPr lang="es-ES" err="1"/>
              <a:t>of</a:t>
            </a:r>
            <a:r>
              <a:rPr lang="es-ES"/>
              <a:t> </a:t>
            </a:r>
            <a:r>
              <a:rPr lang="es-ES" err="1"/>
              <a:t>scrap</a:t>
            </a:r>
            <a:r>
              <a:rPr lang="es-ES"/>
              <a:t> in </a:t>
            </a:r>
            <a:r>
              <a:rPr lang="es-ES" err="1"/>
              <a:t>the</a:t>
            </a:r>
            <a:r>
              <a:rPr lang="es-ES"/>
              <a:t> </a:t>
            </a:r>
            <a:r>
              <a:rPr lang="es-ES" err="1"/>
              <a:t>melting</a:t>
            </a:r>
            <a:r>
              <a:rPr lang="es-ES"/>
              <a:t> </a:t>
            </a:r>
            <a:r>
              <a:rPr lang="es-ES" err="1"/>
              <a:t>process</a:t>
            </a:r>
            <a:r>
              <a:rPr lang="es-ES"/>
              <a:t> </a:t>
            </a:r>
            <a:r>
              <a:rPr lang="es-ES" err="1"/>
              <a:t>maintaining</a:t>
            </a:r>
            <a:r>
              <a:rPr lang="es-ES"/>
              <a:t> </a:t>
            </a:r>
            <a:r>
              <a:rPr lang="es-ES" err="1"/>
              <a:t>product</a:t>
            </a:r>
            <a:r>
              <a:rPr lang="es-ES"/>
              <a:t> </a:t>
            </a:r>
            <a:r>
              <a:rPr lang="es-ES" err="1"/>
              <a:t>standards</a:t>
            </a:r>
            <a:r>
              <a:rPr lang="es-ES"/>
              <a:t>. In </a:t>
            </a:r>
            <a:r>
              <a:rPr lang="es-ES" err="1"/>
              <a:t>this</a:t>
            </a:r>
            <a:r>
              <a:rPr lang="es-ES"/>
              <a:t> </a:t>
            </a:r>
            <a:r>
              <a:rPr lang="es-ES" err="1"/>
              <a:t>manner</a:t>
            </a:r>
            <a:r>
              <a:rPr lang="es-ES"/>
              <a:t>, a </a:t>
            </a:r>
            <a:r>
              <a:rPr lang="es-ES" err="1"/>
              <a:t>redcution</a:t>
            </a:r>
            <a:r>
              <a:rPr lang="es-ES"/>
              <a:t> </a:t>
            </a:r>
            <a:r>
              <a:rPr lang="es-ES" err="1"/>
              <a:t>of</a:t>
            </a:r>
            <a:r>
              <a:rPr lang="es-ES"/>
              <a:t> </a:t>
            </a:r>
            <a:r>
              <a:rPr lang="es-ES" err="1"/>
              <a:t>the</a:t>
            </a:r>
            <a:r>
              <a:rPr lang="es-ES"/>
              <a:t> </a:t>
            </a:r>
            <a:r>
              <a:rPr lang="es-ES" err="1"/>
              <a:t>primary</a:t>
            </a:r>
            <a:r>
              <a:rPr lang="es-ES"/>
              <a:t> </a:t>
            </a:r>
            <a:r>
              <a:rPr lang="es-ES" err="1"/>
              <a:t>aluminum</a:t>
            </a:r>
            <a:r>
              <a:rPr lang="es-ES"/>
              <a:t> </a:t>
            </a:r>
            <a:r>
              <a:rPr lang="es-ES" err="1"/>
              <a:t>billet</a:t>
            </a:r>
            <a:r>
              <a:rPr lang="es-ES"/>
              <a:t> use can be </a:t>
            </a:r>
            <a:r>
              <a:rPr lang="es-ES" err="1"/>
              <a:t>reduced</a:t>
            </a:r>
            <a:r>
              <a:rPr lang="es-ES"/>
              <a:t>. </a:t>
            </a:r>
            <a:r>
              <a:rPr lang="es-ES" err="1"/>
              <a:t>For</a:t>
            </a:r>
            <a:r>
              <a:rPr lang="es-ES"/>
              <a:t> </a:t>
            </a:r>
            <a:r>
              <a:rPr lang="es-ES" err="1"/>
              <a:t>this</a:t>
            </a:r>
            <a:r>
              <a:rPr lang="es-ES"/>
              <a:t> </a:t>
            </a:r>
            <a:r>
              <a:rPr lang="es-ES" err="1"/>
              <a:t>regard</a:t>
            </a:r>
            <a:r>
              <a:rPr lang="es-ES"/>
              <a:t>, a O2 </a:t>
            </a:r>
            <a:r>
              <a:rPr lang="es-ES" err="1"/>
              <a:t>injection</a:t>
            </a:r>
            <a:r>
              <a:rPr lang="es-ES"/>
              <a:t> </a:t>
            </a:r>
            <a:r>
              <a:rPr lang="es-ES" err="1"/>
              <a:t>system</a:t>
            </a:r>
            <a:r>
              <a:rPr lang="es-ES"/>
              <a:t> and head </a:t>
            </a:r>
            <a:r>
              <a:rPr lang="es-ES" err="1"/>
              <a:t>burner</a:t>
            </a:r>
            <a:r>
              <a:rPr lang="es-ES"/>
              <a:t> Will be </a:t>
            </a:r>
            <a:r>
              <a:rPr lang="es-ES" err="1"/>
              <a:t>desing</a:t>
            </a:r>
            <a:r>
              <a:rPr lang="es-ES"/>
              <a:t> and </a:t>
            </a:r>
            <a:r>
              <a:rPr lang="es-ES" err="1"/>
              <a:t>installed</a:t>
            </a:r>
            <a:r>
              <a:rPr lang="es-ES"/>
              <a:t> </a:t>
            </a:r>
            <a:r>
              <a:rPr lang="es-ES" err="1"/>
              <a:t>to</a:t>
            </a:r>
            <a:r>
              <a:rPr lang="es-ES"/>
              <a:t> </a:t>
            </a:r>
            <a:r>
              <a:rPr lang="es-ES" err="1"/>
              <a:t>improve</a:t>
            </a:r>
            <a:r>
              <a:rPr lang="es-ES"/>
              <a:t> </a:t>
            </a:r>
            <a:r>
              <a:rPr lang="es-ES" err="1"/>
              <a:t>the</a:t>
            </a:r>
            <a:r>
              <a:rPr lang="es-ES"/>
              <a:t> combustión performance </a:t>
            </a:r>
            <a:r>
              <a:rPr lang="es-ES" err="1"/>
              <a:t>inside</a:t>
            </a:r>
            <a:r>
              <a:rPr lang="es-ES"/>
              <a:t> </a:t>
            </a:r>
            <a:r>
              <a:rPr lang="es-ES" err="1"/>
              <a:t>the</a:t>
            </a:r>
            <a:r>
              <a:rPr lang="es-ES"/>
              <a:t> </a:t>
            </a:r>
            <a:r>
              <a:rPr lang="es-ES" err="1"/>
              <a:t>furnace</a:t>
            </a:r>
            <a:r>
              <a:rPr lang="es-ES"/>
              <a:t>.. In </a:t>
            </a:r>
            <a:r>
              <a:rPr lang="es-ES" err="1"/>
              <a:t>adittion</a:t>
            </a:r>
            <a:r>
              <a:rPr lang="es-ES"/>
              <a:t>, a </a:t>
            </a:r>
            <a:r>
              <a:rPr lang="es-ES" err="1"/>
              <a:t>delacquiring</a:t>
            </a:r>
            <a:r>
              <a:rPr lang="es-ES"/>
              <a:t> </a:t>
            </a:r>
            <a:r>
              <a:rPr lang="es-ES" err="1"/>
              <a:t>system</a:t>
            </a:r>
            <a:r>
              <a:rPr lang="es-ES"/>
              <a:t> Will be </a:t>
            </a:r>
            <a:r>
              <a:rPr lang="es-ES" err="1"/>
              <a:t>installed</a:t>
            </a:r>
            <a:r>
              <a:rPr lang="es-ES"/>
              <a:t> </a:t>
            </a:r>
            <a:r>
              <a:rPr lang="es-ES" err="1"/>
              <a:t>to</a:t>
            </a:r>
            <a:r>
              <a:rPr lang="es-ES"/>
              <a:t> </a:t>
            </a:r>
            <a:r>
              <a:rPr lang="es-ES" err="1"/>
              <a:t>remove</a:t>
            </a:r>
            <a:r>
              <a:rPr lang="es-ES"/>
              <a:t> </a:t>
            </a:r>
            <a:r>
              <a:rPr lang="es-ES" err="1"/>
              <a:t>the</a:t>
            </a:r>
            <a:r>
              <a:rPr lang="es-ES"/>
              <a:t> </a:t>
            </a:r>
            <a:r>
              <a:rPr lang="es-ES" err="1"/>
              <a:t>coated</a:t>
            </a:r>
            <a:r>
              <a:rPr lang="es-ES"/>
              <a:t> </a:t>
            </a:r>
            <a:r>
              <a:rPr lang="es-ES" err="1"/>
              <a:t>layers</a:t>
            </a:r>
            <a:r>
              <a:rPr lang="es-ES"/>
              <a:t> as Paint, </a:t>
            </a:r>
            <a:r>
              <a:rPr lang="es-ES" err="1"/>
              <a:t>oil</a:t>
            </a:r>
            <a:r>
              <a:rPr lang="es-ES"/>
              <a:t> and so </a:t>
            </a:r>
            <a:r>
              <a:rPr lang="es-ES" err="1"/>
              <a:t>on</a:t>
            </a:r>
            <a:r>
              <a:rPr lang="es-ES"/>
              <a:t> </a:t>
            </a:r>
            <a:r>
              <a:rPr lang="es-ES" err="1"/>
              <a:t>to</a:t>
            </a:r>
            <a:r>
              <a:rPr lang="es-ES"/>
              <a:t> </a:t>
            </a:r>
            <a:r>
              <a:rPr lang="es-ES" err="1"/>
              <a:t>allow</a:t>
            </a:r>
            <a:r>
              <a:rPr lang="es-ES"/>
              <a:t> </a:t>
            </a:r>
            <a:r>
              <a:rPr lang="es-ES" err="1"/>
              <a:t>to</a:t>
            </a:r>
            <a:r>
              <a:rPr lang="es-ES"/>
              <a:t> </a:t>
            </a:r>
            <a:r>
              <a:rPr lang="es-ES" err="1"/>
              <a:t>increase</a:t>
            </a:r>
            <a:r>
              <a:rPr lang="es-ES"/>
              <a:t> </a:t>
            </a:r>
            <a:r>
              <a:rPr lang="es-ES" err="1"/>
              <a:t>the</a:t>
            </a:r>
            <a:r>
              <a:rPr lang="es-ES"/>
              <a:t> share </a:t>
            </a:r>
            <a:r>
              <a:rPr lang="es-ES" err="1"/>
              <a:t>of</a:t>
            </a:r>
            <a:r>
              <a:rPr lang="es-ES"/>
              <a:t> </a:t>
            </a:r>
            <a:r>
              <a:rPr lang="es-ES" err="1"/>
              <a:t>low</a:t>
            </a:r>
            <a:r>
              <a:rPr lang="es-ES"/>
              <a:t> </a:t>
            </a:r>
            <a:r>
              <a:rPr lang="es-ES" err="1"/>
              <a:t>quality</a:t>
            </a:r>
            <a:r>
              <a:rPr lang="es-ES"/>
              <a:t> </a:t>
            </a:r>
            <a:r>
              <a:rPr lang="es-ES" err="1"/>
              <a:t>scrap</a:t>
            </a:r>
            <a:r>
              <a:rPr lang="es-ES"/>
              <a:t> in </a:t>
            </a:r>
            <a:r>
              <a:rPr lang="es-ES" err="1"/>
              <a:t>the</a:t>
            </a:r>
            <a:r>
              <a:rPr lang="es-ES"/>
              <a:t> </a:t>
            </a:r>
            <a:r>
              <a:rPr lang="es-ES" err="1"/>
              <a:t>feeding</a:t>
            </a:r>
            <a:r>
              <a:rPr lang="es-ES"/>
              <a:t> line. O2 and TOC </a:t>
            </a:r>
            <a:r>
              <a:rPr lang="es-ES" err="1"/>
              <a:t>analyzers</a:t>
            </a:r>
            <a:r>
              <a:rPr lang="es-ES"/>
              <a:t> Will be </a:t>
            </a:r>
            <a:r>
              <a:rPr lang="es-ES" err="1"/>
              <a:t>installed</a:t>
            </a:r>
            <a:r>
              <a:rPr lang="es-ES"/>
              <a:t> </a:t>
            </a:r>
            <a:r>
              <a:rPr lang="es-ES" err="1"/>
              <a:t>also</a:t>
            </a:r>
            <a:r>
              <a:rPr lang="es-ES"/>
              <a:t> </a:t>
            </a:r>
            <a:r>
              <a:rPr lang="es-ES" err="1"/>
              <a:t>to</a:t>
            </a:r>
            <a:r>
              <a:rPr lang="es-ES"/>
              <a:t> </a:t>
            </a:r>
            <a:r>
              <a:rPr lang="es-ES" err="1"/>
              <a:t>support</a:t>
            </a:r>
            <a:r>
              <a:rPr lang="es-ES"/>
              <a:t> in </a:t>
            </a:r>
            <a:r>
              <a:rPr lang="es-ES" err="1"/>
              <a:t>the</a:t>
            </a:r>
            <a:r>
              <a:rPr lang="es-ES"/>
              <a:t> </a:t>
            </a:r>
            <a:r>
              <a:rPr lang="es-ES" err="1"/>
              <a:t>process</a:t>
            </a:r>
            <a:r>
              <a:rPr lang="es-ES"/>
              <a:t> </a:t>
            </a:r>
            <a:r>
              <a:rPr lang="es-ES" err="1"/>
              <a:t>management</a:t>
            </a:r>
            <a:r>
              <a:rPr lang="es-ES"/>
              <a:t> and </a:t>
            </a:r>
            <a:r>
              <a:rPr lang="es-ES" err="1"/>
              <a:t>to</a:t>
            </a:r>
            <a:r>
              <a:rPr lang="es-ES"/>
              <a:t> </a:t>
            </a:r>
            <a:r>
              <a:rPr lang="es-ES" err="1"/>
              <a:t>ensure</a:t>
            </a:r>
            <a:r>
              <a:rPr lang="es-ES"/>
              <a:t> </a:t>
            </a:r>
            <a:r>
              <a:rPr lang="es-ES" err="1"/>
              <a:t>the</a:t>
            </a:r>
            <a:r>
              <a:rPr lang="es-ES"/>
              <a:t> </a:t>
            </a:r>
            <a:r>
              <a:rPr lang="es-ES" err="1"/>
              <a:t>adequate</a:t>
            </a:r>
            <a:r>
              <a:rPr lang="es-ES"/>
              <a:t> </a:t>
            </a:r>
            <a:r>
              <a:rPr lang="es-ES" err="1"/>
              <a:t>emission</a:t>
            </a:r>
            <a:r>
              <a:rPr lang="es-ES"/>
              <a:t> </a:t>
            </a:r>
            <a:r>
              <a:rPr lang="es-ES" err="1"/>
              <a:t>level</a:t>
            </a:r>
            <a:r>
              <a:rPr lang="es-ES"/>
              <a:t> </a:t>
            </a:r>
            <a:r>
              <a:rPr lang="es-ES" err="1"/>
              <a:t>which</a:t>
            </a:r>
            <a:r>
              <a:rPr lang="es-ES"/>
              <a:t> lead </a:t>
            </a:r>
            <a:r>
              <a:rPr lang="es-ES" err="1"/>
              <a:t>to</a:t>
            </a:r>
            <a:r>
              <a:rPr lang="es-ES"/>
              <a:t> </a:t>
            </a:r>
            <a:r>
              <a:rPr lang="es-ES" err="1"/>
              <a:t>an</a:t>
            </a:r>
            <a:r>
              <a:rPr lang="es-ES"/>
              <a:t> </a:t>
            </a:r>
            <a:r>
              <a:rPr lang="es-ES" err="1"/>
              <a:t>improved</a:t>
            </a:r>
            <a:r>
              <a:rPr lang="es-ES"/>
              <a:t> M&amp;C </a:t>
            </a:r>
            <a:r>
              <a:rPr lang="es-ES" err="1"/>
              <a:t>system</a:t>
            </a:r>
            <a:r>
              <a:rPr lang="es-ES"/>
              <a:t>. </a:t>
            </a:r>
            <a:r>
              <a:rPr lang="es-ES" err="1"/>
              <a:t>The</a:t>
            </a:r>
            <a:r>
              <a:rPr lang="es-ES"/>
              <a:t> </a:t>
            </a:r>
            <a:r>
              <a:rPr lang="es-ES" err="1"/>
              <a:t>expected</a:t>
            </a:r>
            <a:r>
              <a:rPr lang="es-ES"/>
              <a:t> </a:t>
            </a:r>
            <a:r>
              <a:rPr lang="es-ES" err="1"/>
              <a:t>goals</a:t>
            </a:r>
            <a:r>
              <a:rPr lang="es-ES"/>
              <a:t> are </a:t>
            </a:r>
            <a:r>
              <a:rPr lang="es-ES" err="1"/>
              <a:t>related</a:t>
            </a:r>
            <a:r>
              <a:rPr lang="es-ES"/>
              <a:t> </a:t>
            </a:r>
            <a:r>
              <a:rPr lang="es-ES" err="1"/>
              <a:t>with</a:t>
            </a:r>
            <a:r>
              <a:rPr lang="es-ES"/>
              <a:t> </a:t>
            </a:r>
            <a:r>
              <a:rPr lang="es-ES" err="1"/>
              <a:t>the</a:t>
            </a:r>
            <a:r>
              <a:rPr lang="es-ES"/>
              <a:t> </a:t>
            </a:r>
            <a:r>
              <a:rPr lang="es-ES" err="1"/>
              <a:t>increment</a:t>
            </a:r>
            <a:r>
              <a:rPr lang="es-ES"/>
              <a:t> </a:t>
            </a:r>
            <a:r>
              <a:rPr lang="es-ES" err="1"/>
              <a:t>of</a:t>
            </a:r>
            <a:r>
              <a:rPr lang="es-ES"/>
              <a:t> </a:t>
            </a:r>
            <a:r>
              <a:rPr lang="es-ES" err="1"/>
              <a:t>the</a:t>
            </a:r>
            <a:r>
              <a:rPr lang="es-ES"/>
              <a:t> share </a:t>
            </a:r>
            <a:r>
              <a:rPr lang="es-ES" err="1"/>
              <a:t>of</a:t>
            </a:r>
            <a:r>
              <a:rPr lang="es-ES"/>
              <a:t> </a:t>
            </a:r>
            <a:r>
              <a:rPr lang="es-ES" err="1"/>
              <a:t>the</a:t>
            </a:r>
            <a:r>
              <a:rPr lang="es-ES"/>
              <a:t> </a:t>
            </a:r>
            <a:r>
              <a:rPr lang="es-ES" err="1"/>
              <a:t>scrap</a:t>
            </a:r>
            <a:r>
              <a:rPr lang="es-ES"/>
              <a:t> up 50% </a:t>
            </a:r>
            <a:r>
              <a:rPr lang="es-ES" err="1"/>
              <a:t>which</a:t>
            </a:r>
            <a:r>
              <a:rPr lang="es-ES"/>
              <a:t> Will reduce </a:t>
            </a:r>
            <a:r>
              <a:rPr lang="es-ES" err="1"/>
              <a:t>the</a:t>
            </a:r>
            <a:r>
              <a:rPr lang="es-ES"/>
              <a:t> </a:t>
            </a:r>
            <a:r>
              <a:rPr lang="es-ES" err="1"/>
              <a:t>energy</a:t>
            </a:r>
            <a:r>
              <a:rPr lang="es-ES"/>
              <a:t> </a:t>
            </a:r>
            <a:r>
              <a:rPr lang="es-ES" err="1"/>
              <a:t>consuptiom</a:t>
            </a:r>
            <a:r>
              <a:rPr lang="es-ES"/>
              <a:t> in 15 times. </a:t>
            </a:r>
            <a:r>
              <a:rPr lang="es-ES" err="1"/>
              <a:t>Besides</a:t>
            </a:r>
            <a:r>
              <a:rPr lang="es-ES"/>
              <a:t>, </a:t>
            </a:r>
            <a:r>
              <a:rPr lang="es-ES" err="1"/>
              <a:t>these</a:t>
            </a:r>
            <a:r>
              <a:rPr lang="es-ES"/>
              <a:t> </a:t>
            </a:r>
            <a:r>
              <a:rPr lang="es-ES" err="1"/>
              <a:t>actions</a:t>
            </a:r>
            <a:r>
              <a:rPr lang="es-ES"/>
              <a:t> Will </a:t>
            </a:r>
            <a:r>
              <a:rPr lang="es-ES" err="1"/>
              <a:t>generate</a:t>
            </a:r>
            <a:r>
              <a:rPr lang="es-ES"/>
              <a:t> a more </a:t>
            </a:r>
            <a:r>
              <a:rPr lang="es-ES" err="1"/>
              <a:t>efficient</a:t>
            </a:r>
            <a:r>
              <a:rPr lang="es-ES"/>
              <a:t> combustión and so, a </a:t>
            </a:r>
            <a:r>
              <a:rPr lang="es-ES" err="1"/>
              <a:t>reduction</a:t>
            </a:r>
            <a:r>
              <a:rPr lang="es-ES"/>
              <a:t> </a:t>
            </a:r>
            <a:r>
              <a:rPr lang="es-ES" err="1"/>
              <a:t>of</a:t>
            </a:r>
            <a:r>
              <a:rPr lang="es-ES"/>
              <a:t> </a:t>
            </a:r>
            <a:r>
              <a:rPr lang="es-ES" err="1"/>
              <a:t>the</a:t>
            </a:r>
            <a:r>
              <a:rPr lang="es-ES"/>
              <a:t> GHG </a:t>
            </a:r>
            <a:r>
              <a:rPr lang="es-ES" err="1"/>
              <a:t>emissions</a:t>
            </a:r>
            <a:r>
              <a:rPr lang="es-ES"/>
              <a:t>.</a:t>
            </a:r>
          </a:p>
          <a:p>
            <a:endParaRPr lang="es-ES"/>
          </a:p>
        </p:txBody>
      </p:sp>
      <p:sp>
        <p:nvSpPr>
          <p:cNvPr id="4" name="Marcador de número de diapositiva 3"/>
          <p:cNvSpPr>
            <a:spLocks noGrp="1"/>
          </p:cNvSpPr>
          <p:nvPr>
            <p:ph type="sldNum" sz="quarter" idx="5"/>
          </p:nvPr>
        </p:nvSpPr>
        <p:spPr/>
        <p:txBody>
          <a:bodyPr/>
          <a:lstStyle/>
          <a:p>
            <a:fld id="{F84DB91F-1AD8-437C-8866-3636784D0854}" type="slidenum">
              <a:rPr lang="en-GB" smtClean="0"/>
              <a:t>170</a:t>
            </a:fld>
            <a:endParaRPr lang="en-GB"/>
          </a:p>
        </p:txBody>
      </p:sp>
    </p:spTree>
    <p:extLst>
      <p:ext uri="{BB962C8B-B14F-4D97-AF65-F5344CB8AC3E}">
        <p14:creationId xmlns:p14="http://schemas.microsoft.com/office/powerpoint/2010/main" val="1284526801"/>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dirty="0" err="1">
                <a:ln>
                  <a:noFill/>
                </a:ln>
                <a:solidFill>
                  <a:srgbClr val="2F2F2F"/>
                </a:solidFill>
                <a:effectLst/>
                <a:uLnTx/>
                <a:uFillTx/>
                <a:latin typeface="Arial"/>
                <a:ea typeface="+mn-ea"/>
                <a:cs typeface="+mn-cs"/>
              </a:rPr>
              <a:t>The</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expected</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goals</a:t>
            </a:r>
            <a:r>
              <a:rPr kumimoji="0" lang="es-ES" sz="1200" b="0" i="0" u="none" strike="noStrike" kern="1200" cap="none" spc="0" normalizeH="0" baseline="0" noProof="0" dirty="0">
                <a:ln>
                  <a:noFill/>
                </a:ln>
                <a:solidFill>
                  <a:srgbClr val="2F2F2F"/>
                </a:solidFill>
                <a:effectLst/>
                <a:uLnTx/>
                <a:uFillTx/>
                <a:latin typeface="Arial"/>
                <a:ea typeface="+mn-ea"/>
                <a:cs typeface="+mn-cs"/>
              </a:rPr>
              <a:t> are </a:t>
            </a:r>
            <a:r>
              <a:rPr kumimoji="0" lang="es-ES" sz="1200" b="0" i="0" u="none" strike="noStrike" kern="1200" cap="none" spc="0" normalizeH="0" baseline="0" noProof="0" dirty="0" err="1">
                <a:ln>
                  <a:noFill/>
                </a:ln>
                <a:solidFill>
                  <a:srgbClr val="2F2F2F"/>
                </a:solidFill>
                <a:effectLst/>
                <a:uLnTx/>
                <a:uFillTx/>
                <a:latin typeface="Arial"/>
                <a:ea typeface="+mn-ea"/>
                <a:cs typeface="+mn-cs"/>
              </a:rPr>
              <a:t>related</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with</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the</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increment</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of</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the</a:t>
            </a:r>
            <a:r>
              <a:rPr kumimoji="0" lang="es-ES" sz="1200" b="0" i="0" u="none" strike="noStrike" kern="1200" cap="none" spc="0" normalizeH="0" baseline="0" noProof="0" dirty="0">
                <a:ln>
                  <a:noFill/>
                </a:ln>
                <a:solidFill>
                  <a:srgbClr val="2F2F2F"/>
                </a:solidFill>
                <a:effectLst/>
                <a:uLnTx/>
                <a:uFillTx/>
                <a:latin typeface="Arial"/>
                <a:ea typeface="+mn-ea"/>
                <a:cs typeface="+mn-cs"/>
              </a:rPr>
              <a:t> share </a:t>
            </a:r>
            <a:r>
              <a:rPr kumimoji="0" lang="es-ES" sz="1200" b="0" i="0" u="none" strike="noStrike" kern="1200" cap="none" spc="0" normalizeH="0" baseline="0" noProof="0" dirty="0" err="1">
                <a:ln>
                  <a:noFill/>
                </a:ln>
                <a:solidFill>
                  <a:srgbClr val="2F2F2F"/>
                </a:solidFill>
                <a:effectLst/>
                <a:uLnTx/>
                <a:uFillTx/>
                <a:latin typeface="Arial"/>
                <a:ea typeface="+mn-ea"/>
                <a:cs typeface="+mn-cs"/>
              </a:rPr>
              <a:t>of</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the</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scrap</a:t>
            </a:r>
            <a:r>
              <a:rPr kumimoji="0" lang="es-ES" sz="1200" b="0" i="0" u="none" strike="noStrike" kern="1200" cap="none" spc="0" normalizeH="0" baseline="0" noProof="0" dirty="0">
                <a:ln>
                  <a:noFill/>
                </a:ln>
                <a:solidFill>
                  <a:srgbClr val="2F2F2F"/>
                </a:solidFill>
                <a:effectLst/>
                <a:uLnTx/>
                <a:uFillTx/>
                <a:latin typeface="Arial"/>
                <a:ea typeface="+mn-ea"/>
                <a:cs typeface="+mn-cs"/>
              </a:rPr>
              <a:t> up 50% </a:t>
            </a:r>
            <a:r>
              <a:rPr kumimoji="0" lang="es-ES" sz="1200" b="0" i="0" u="none" strike="noStrike" kern="1200" cap="none" spc="0" normalizeH="0" baseline="0" noProof="0" dirty="0" err="1">
                <a:ln>
                  <a:noFill/>
                </a:ln>
                <a:solidFill>
                  <a:srgbClr val="2F2F2F"/>
                </a:solidFill>
                <a:effectLst/>
                <a:uLnTx/>
                <a:uFillTx/>
                <a:latin typeface="Arial"/>
                <a:ea typeface="+mn-ea"/>
                <a:cs typeface="+mn-cs"/>
              </a:rPr>
              <a:t>which</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will</a:t>
            </a:r>
            <a:r>
              <a:rPr kumimoji="0" lang="es-ES" sz="1200" b="0" i="0" u="none" strike="noStrike" kern="1200" cap="none" spc="0" normalizeH="0" baseline="0" noProof="0" dirty="0">
                <a:ln>
                  <a:noFill/>
                </a:ln>
                <a:solidFill>
                  <a:srgbClr val="2F2F2F"/>
                </a:solidFill>
                <a:effectLst/>
                <a:uLnTx/>
                <a:uFillTx/>
                <a:latin typeface="Arial"/>
                <a:ea typeface="+mn-ea"/>
                <a:cs typeface="+mn-cs"/>
              </a:rPr>
              <a:t> reduce </a:t>
            </a:r>
            <a:r>
              <a:rPr kumimoji="0" lang="es-ES" sz="1200" b="0" i="0" u="none" strike="noStrike" kern="1200" cap="none" spc="0" normalizeH="0" baseline="0" noProof="0" dirty="0" err="1">
                <a:ln>
                  <a:noFill/>
                </a:ln>
                <a:solidFill>
                  <a:srgbClr val="2F2F2F"/>
                </a:solidFill>
                <a:effectLst/>
                <a:uLnTx/>
                <a:uFillTx/>
                <a:latin typeface="Arial"/>
                <a:ea typeface="+mn-ea"/>
                <a:cs typeface="+mn-cs"/>
              </a:rPr>
              <a:t>the</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energy</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consuptiom</a:t>
            </a:r>
            <a:r>
              <a:rPr kumimoji="0" lang="es-ES" sz="1200" b="0" i="0" u="none" strike="noStrike" kern="1200" cap="none" spc="0" normalizeH="0" baseline="0" noProof="0" dirty="0">
                <a:ln>
                  <a:noFill/>
                </a:ln>
                <a:solidFill>
                  <a:srgbClr val="2F2F2F"/>
                </a:solidFill>
                <a:effectLst/>
                <a:uLnTx/>
                <a:uFillTx/>
                <a:latin typeface="Arial"/>
                <a:ea typeface="+mn-ea"/>
                <a:cs typeface="+mn-cs"/>
              </a:rPr>
              <a:t> in 15 time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200" b="0" i="0" u="none" strike="noStrike" kern="1200" cap="none" spc="0" normalizeH="0" baseline="0" noProof="0" dirty="0">
              <a:ln>
                <a:noFill/>
              </a:ln>
              <a:solidFill>
                <a:srgbClr val="2F2F2F"/>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1" u="none" strike="noStrike" kern="100" cap="none" spc="0" normalizeH="0" baseline="0" noProof="0" dirty="0" err="1">
                <a:ln>
                  <a:noFill/>
                </a:ln>
                <a:solidFill>
                  <a:srgbClr val="404040"/>
                </a:solidFill>
                <a:effectLst/>
                <a:uLnTx/>
                <a:uFillTx/>
                <a:latin typeface="Liberation Serif"/>
                <a:ea typeface="Noto Sans CJK SC"/>
                <a:cs typeface="Lohit Devanagari"/>
              </a:rPr>
              <a:t>Delacquering</a:t>
            </a:r>
            <a:r>
              <a:rPr kumimoji="0" lang="en-GB" sz="1200" b="0" i="1" u="none" strike="noStrike" kern="100" cap="none" spc="0" normalizeH="0" baseline="0" noProof="0" dirty="0">
                <a:ln>
                  <a:noFill/>
                </a:ln>
                <a:solidFill>
                  <a:srgbClr val="404040"/>
                </a:solidFill>
                <a:effectLst/>
                <a:uLnTx/>
                <a:uFillTx/>
                <a:latin typeface="Liberation Serif"/>
                <a:ea typeface="Noto Sans CJK SC"/>
                <a:cs typeface="Lohit Devanagari"/>
              </a:rPr>
              <a:t> Process: a) Material filling is performed, b) Material is conveyed through a conveyor, c) Material is transferred to the drum furnace, d) Lacquer removal process is completed inside the drum furnace with the specified parameters, e) The system has comprehensive automation, f) Waste materials (dust, etc.) are separated, g) Material exit occurred, h) </a:t>
            </a:r>
            <a:r>
              <a:rPr kumimoji="0" lang="en-GB" sz="1200" b="0" i="1" u="none" strike="noStrike" kern="100" cap="none" spc="0" normalizeH="0" baseline="0" noProof="0" dirty="0" err="1">
                <a:ln>
                  <a:noFill/>
                </a:ln>
                <a:solidFill>
                  <a:srgbClr val="404040"/>
                </a:solidFill>
                <a:effectLst/>
                <a:uLnTx/>
                <a:uFillTx/>
                <a:latin typeface="Liberation Serif"/>
                <a:ea typeface="Noto Sans CJK SC"/>
                <a:cs typeface="Lohit Devanagari"/>
              </a:rPr>
              <a:t>Delacquered</a:t>
            </a:r>
            <a:r>
              <a:rPr kumimoji="0" lang="en-GB" sz="1200" b="0" i="1" u="none" strike="noStrike" kern="100" cap="none" spc="0" normalizeH="0" baseline="0" noProof="0" dirty="0">
                <a:ln>
                  <a:noFill/>
                </a:ln>
                <a:solidFill>
                  <a:srgbClr val="404040"/>
                </a:solidFill>
                <a:effectLst/>
                <a:uLnTx/>
                <a:uFillTx/>
                <a:latin typeface="Liberation Serif"/>
                <a:ea typeface="Noto Sans CJK SC"/>
                <a:cs typeface="Lohit Devanagari"/>
              </a:rPr>
              <a:t> material is obtained</a:t>
            </a:r>
            <a:endParaRPr lang="sv-S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4DB91F-1AD8-437C-8866-3636784D085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65189445"/>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dirty="0">
                <a:ln>
                  <a:noFill/>
                </a:ln>
                <a:solidFill>
                  <a:srgbClr val="2F2F2F"/>
                </a:solidFill>
                <a:effectLst/>
                <a:uLnTx/>
                <a:uFillTx/>
                <a:latin typeface="Arial"/>
                <a:ea typeface="+mn-ea"/>
                <a:cs typeface="+mn-cs"/>
              </a:rPr>
              <a:t>ASAS, </a:t>
            </a:r>
            <a:r>
              <a:rPr kumimoji="0" lang="en-GB" sz="1200" b="0" i="0" u="none" strike="noStrike" kern="1200" cap="none" spc="0" normalizeH="0" baseline="0" noProof="0" dirty="0">
                <a:ln>
                  <a:noFill/>
                </a:ln>
                <a:solidFill>
                  <a:srgbClr val="2F2F2F"/>
                </a:solidFill>
                <a:effectLst/>
                <a:uLnTx/>
                <a:uFillTx/>
                <a:latin typeface="Arial"/>
                <a:ea typeface="+mn-ea"/>
                <a:cs typeface="+mn-cs"/>
              </a:rPr>
              <a:t>which</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is</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one</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of</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the</a:t>
            </a:r>
            <a:r>
              <a:rPr kumimoji="0" lang="es-ES" sz="1200" b="0" i="0" u="none" strike="noStrike" kern="1200" cap="none" spc="0" normalizeH="0" baseline="0" noProof="0" dirty="0">
                <a:ln>
                  <a:noFill/>
                </a:ln>
                <a:solidFill>
                  <a:srgbClr val="2F2F2F"/>
                </a:solidFill>
                <a:effectLst/>
                <a:uLnTx/>
                <a:uFillTx/>
                <a:latin typeface="Arial"/>
                <a:ea typeface="+mn-ea"/>
                <a:cs typeface="+mn-cs"/>
              </a:rPr>
              <a:t> leader </a:t>
            </a:r>
            <a:r>
              <a:rPr kumimoji="0" lang="es-ES" sz="1200" b="0" i="0" u="none" strike="noStrike" kern="1200" cap="none" spc="0" normalizeH="0" baseline="0" noProof="0" dirty="0" err="1">
                <a:ln>
                  <a:noFill/>
                </a:ln>
                <a:solidFill>
                  <a:srgbClr val="2F2F2F"/>
                </a:solidFill>
                <a:effectLst/>
                <a:uLnTx/>
                <a:uFillTx/>
                <a:latin typeface="Arial"/>
                <a:ea typeface="+mn-ea"/>
                <a:cs typeface="+mn-cs"/>
              </a:rPr>
              <a:t>aluminum</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manufacters</a:t>
            </a:r>
            <a:r>
              <a:rPr kumimoji="0" lang="es-ES" sz="1200" b="0" i="0" u="none" strike="noStrike" kern="1200" cap="none" spc="0" normalizeH="0" baseline="0" noProof="0" dirty="0">
                <a:ln>
                  <a:noFill/>
                </a:ln>
                <a:solidFill>
                  <a:srgbClr val="2F2F2F"/>
                </a:solidFill>
                <a:effectLst/>
                <a:uLnTx/>
                <a:uFillTx/>
                <a:latin typeface="Arial"/>
                <a:ea typeface="+mn-ea"/>
                <a:cs typeface="+mn-cs"/>
              </a:rPr>
              <a:t> in </a:t>
            </a:r>
            <a:r>
              <a:rPr kumimoji="0" lang="es-ES" sz="1200" b="0" i="0" u="none" strike="noStrike" kern="1200" cap="none" spc="0" normalizeH="0" baseline="0" noProof="0" dirty="0" err="1">
                <a:ln>
                  <a:noFill/>
                </a:ln>
                <a:solidFill>
                  <a:srgbClr val="2F2F2F"/>
                </a:solidFill>
                <a:effectLst/>
                <a:uLnTx/>
                <a:uFillTx/>
                <a:latin typeface="Arial"/>
                <a:ea typeface="+mn-ea"/>
                <a:cs typeface="+mn-cs"/>
              </a:rPr>
              <a:t>Europe</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persues</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to</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increase</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the</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amount</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of</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scrap</a:t>
            </a:r>
            <a:r>
              <a:rPr kumimoji="0" lang="es-ES" sz="1200" b="0" i="0" u="none" strike="noStrike" kern="1200" cap="none" spc="0" normalizeH="0" baseline="0" noProof="0" dirty="0">
                <a:ln>
                  <a:noFill/>
                </a:ln>
                <a:solidFill>
                  <a:srgbClr val="2F2F2F"/>
                </a:solidFill>
                <a:effectLst/>
                <a:uLnTx/>
                <a:uFillTx/>
                <a:latin typeface="Arial"/>
                <a:ea typeface="+mn-ea"/>
                <a:cs typeface="+mn-cs"/>
              </a:rPr>
              <a:t> in </a:t>
            </a:r>
            <a:r>
              <a:rPr kumimoji="0" lang="es-ES" sz="1200" b="0" i="0" u="none" strike="noStrike" kern="1200" cap="none" spc="0" normalizeH="0" baseline="0" noProof="0" dirty="0" err="1">
                <a:ln>
                  <a:noFill/>
                </a:ln>
                <a:solidFill>
                  <a:srgbClr val="2F2F2F"/>
                </a:solidFill>
                <a:effectLst/>
                <a:uLnTx/>
                <a:uFillTx/>
                <a:latin typeface="Arial"/>
                <a:ea typeface="+mn-ea"/>
                <a:cs typeface="+mn-cs"/>
              </a:rPr>
              <a:t>the</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melting</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process</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maintaining</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product</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standards</a:t>
            </a:r>
            <a:r>
              <a:rPr kumimoji="0" lang="es-ES" sz="1200" b="0" i="0" u="none" strike="noStrike" kern="1200" cap="none" spc="0" normalizeH="0" baseline="0" noProof="0" dirty="0">
                <a:ln>
                  <a:noFill/>
                </a:ln>
                <a:solidFill>
                  <a:srgbClr val="2F2F2F"/>
                </a:solidFill>
                <a:effectLst/>
                <a:uLnTx/>
                <a:uFillTx/>
                <a:latin typeface="Arial"/>
                <a:ea typeface="+mn-ea"/>
                <a:cs typeface="+mn-cs"/>
              </a:rPr>
              <a:t>. In </a:t>
            </a:r>
            <a:r>
              <a:rPr kumimoji="0" lang="es-ES" sz="1200" b="0" i="0" u="none" strike="noStrike" kern="1200" cap="none" spc="0" normalizeH="0" baseline="0" noProof="0" dirty="0" err="1">
                <a:ln>
                  <a:noFill/>
                </a:ln>
                <a:solidFill>
                  <a:srgbClr val="2F2F2F"/>
                </a:solidFill>
                <a:effectLst/>
                <a:uLnTx/>
                <a:uFillTx/>
                <a:latin typeface="Arial"/>
                <a:ea typeface="+mn-ea"/>
                <a:cs typeface="+mn-cs"/>
              </a:rPr>
              <a:t>this</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manner</a:t>
            </a:r>
            <a:r>
              <a:rPr kumimoji="0" lang="es-ES" sz="1200" b="0" i="0" u="none" strike="noStrike" kern="1200" cap="none" spc="0" normalizeH="0" baseline="0" noProof="0" dirty="0">
                <a:ln>
                  <a:noFill/>
                </a:ln>
                <a:solidFill>
                  <a:srgbClr val="2F2F2F"/>
                </a:solidFill>
                <a:effectLst/>
                <a:uLnTx/>
                <a:uFillTx/>
                <a:latin typeface="Arial"/>
                <a:ea typeface="+mn-ea"/>
                <a:cs typeface="+mn-cs"/>
              </a:rPr>
              <a:t>, a </a:t>
            </a:r>
            <a:r>
              <a:rPr kumimoji="0" lang="es-ES" sz="1200" b="0" i="0" u="none" strike="noStrike" kern="1200" cap="none" spc="0" normalizeH="0" baseline="0" noProof="0" dirty="0" err="1">
                <a:ln>
                  <a:noFill/>
                </a:ln>
                <a:solidFill>
                  <a:srgbClr val="2F2F2F"/>
                </a:solidFill>
                <a:effectLst/>
                <a:uLnTx/>
                <a:uFillTx/>
                <a:latin typeface="Arial"/>
                <a:ea typeface="+mn-ea"/>
                <a:cs typeface="+mn-cs"/>
              </a:rPr>
              <a:t>reduction</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of</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the</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primary</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aluminum</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billet</a:t>
            </a:r>
            <a:r>
              <a:rPr kumimoji="0" lang="es-ES" sz="1200" b="0" i="0" u="none" strike="noStrike" kern="1200" cap="none" spc="0" normalizeH="0" baseline="0" noProof="0" dirty="0">
                <a:ln>
                  <a:noFill/>
                </a:ln>
                <a:solidFill>
                  <a:srgbClr val="2F2F2F"/>
                </a:solidFill>
                <a:effectLst/>
                <a:uLnTx/>
                <a:uFillTx/>
                <a:latin typeface="Arial"/>
                <a:ea typeface="+mn-ea"/>
                <a:cs typeface="+mn-cs"/>
              </a:rPr>
              <a:t> use can be </a:t>
            </a:r>
            <a:r>
              <a:rPr kumimoji="0" lang="es-ES" sz="1200" b="0" i="0" u="none" strike="noStrike" kern="1200" cap="none" spc="0" normalizeH="0" baseline="0" noProof="0" dirty="0" err="1">
                <a:ln>
                  <a:noFill/>
                </a:ln>
                <a:solidFill>
                  <a:srgbClr val="2F2F2F"/>
                </a:solidFill>
                <a:effectLst/>
                <a:uLnTx/>
                <a:uFillTx/>
                <a:latin typeface="Arial"/>
                <a:ea typeface="+mn-ea"/>
                <a:cs typeface="+mn-cs"/>
              </a:rPr>
              <a:t>reduced</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For</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this</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regard</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an</a:t>
            </a:r>
            <a:r>
              <a:rPr kumimoji="0" lang="es-ES" sz="1200" b="0" i="0" u="none" strike="noStrike" kern="1200" cap="none" spc="0" normalizeH="0" baseline="0" noProof="0" dirty="0">
                <a:ln>
                  <a:noFill/>
                </a:ln>
                <a:solidFill>
                  <a:srgbClr val="2F2F2F"/>
                </a:solidFill>
                <a:effectLst/>
                <a:uLnTx/>
                <a:uFillTx/>
                <a:latin typeface="Arial"/>
                <a:ea typeface="+mn-ea"/>
                <a:cs typeface="+mn-cs"/>
              </a:rPr>
              <a:t> O2 </a:t>
            </a:r>
            <a:r>
              <a:rPr kumimoji="0" lang="es-ES" sz="1200" b="0" i="0" u="none" strike="noStrike" kern="1200" cap="none" spc="0" normalizeH="0" baseline="0" noProof="0" dirty="0" err="1">
                <a:ln>
                  <a:noFill/>
                </a:ln>
                <a:solidFill>
                  <a:srgbClr val="2F2F2F"/>
                </a:solidFill>
                <a:effectLst/>
                <a:uLnTx/>
                <a:uFillTx/>
                <a:latin typeface="Arial"/>
                <a:ea typeface="+mn-ea"/>
                <a:cs typeface="+mn-cs"/>
              </a:rPr>
              <a:t>injection</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system</a:t>
            </a:r>
            <a:r>
              <a:rPr kumimoji="0" lang="es-ES" sz="1200" b="0" i="0" u="none" strike="noStrike" kern="1200" cap="none" spc="0" normalizeH="0" baseline="0" noProof="0" dirty="0">
                <a:ln>
                  <a:noFill/>
                </a:ln>
                <a:solidFill>
                  <a:srgbClr val="2F2F2F"/>
                </a:solidFill>
                <a:effectLst/>
                <a:uLnTx/>
                <a:uFillTx/>
                <a:latin typeface="Arial"/>
                <a:ea typeface="+mn-ea"/>
                <a:cs typeface="+mn-cs"/>
              </a:rPr>
              <a:t> and head </a:t>
            </a:r>
            <a:r>
              <a:rPr kumimoji="0" lang="es-ES" sz="1200" b="0" i="0" u="none" strike="noStrike" kern="1200" cap="none" spc="0" normalizeH="0" baseline="0" noProof="0" dirty="0" err="1">
                <a:ln>
                  <a:noFill/>
                </a:ln>
                <a:solidFill>
                  <a:srgbClr val="2F2F2F"/>
                </a:solidFill>
                <a:effectLst/>
                <a:uLnTx/>
                <a:uFillTx/>
                <a:latin typeface="Arial"/>
                <a:ea typeface="+mn-ea"/>
                <a:cs typeface="+mn-cs"/>
              </a:rPr>
              <a:t>burner</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will</a:t>
            </a:r>
            <a:r>
              <a:rPr kumimoji="0" lang="es-ES" sz="1200" b="0" i="0" u="none" strike="noStrike" kern="1200" cap="none" spc="0" normalizeH="0" baseline="0" noProof="0" dirty="0">
                <a:ln>
                  <a:noFill/>
                </a:ln>
                <a:solidFill>
                  <a:srgbClr val="2F2F2F"/>
                </a:solidFill>
                <a:effectLst/>
                <a:uLnTx/>
                <a:uFillTx/>
                <a:latin typeface="Arial"/>
                <a:ea typeface="+mn-ea"/>
                <a:cs typeface="+mn-cs"/>
              </a:rPr>
              <a:t> be </a:t>
            </a:r>
            <a:r>
              <a:rPr kumimoji="0" lang="es-ES" sz="1200" b="0" i="0" u="none" strike="noStrike" kern="1200" cap="none" spc="0" normalizeH="0" baseline="0" noProof="0" dirty="0" err="1">
                <a:ln>
                  <a:noFill/>
                </a:ln>
                <a:solidFill>
                  <a:srgbClr val="2F2F2F"/>
                </a:solidFill>
                <a:effectLst/>
                <a:uLnTx/>
                <a:uFillTx/>
                <a:latin typeface="Arial"/>
                <a:ea typeface="+mn-ea"/>
                <a:cs typeface="+mn-cs"/>
              </a:rPr>
              <a:t>designed</a:t>
            </a:r>
            <a:r>
              <a:rPr kumimoji="0" lang="es-ES" sz="1200" b="0" i="0" u="none" strike="noStrike" kern="1200" cap="none" spc="0" normalizeH="0" baseline="0" noProof="0" dirty="0">
                <a:ln>
                  <a:noFill/>
                </a:ln>
                <a:solidFill>
                  <a:srgbClr val="2F2F2F"/>
                </a:solidFill>
                <a:effectLst/>
                <a:uLnTx/>
                <a:uFillTx/>
                <a:latin typeface="Arial"/>
                <a:ea typeface="+mn-ea"/>
                <a:cs typeface="+mn-cs"/>
              </a:rPr>
              <a:t> and </a:t>
            </a:r>
            <a:r>
              <a:rPr kumimoji="0" lang="es-ES" sz="1200" b="0" i="0" u="none" strike="noStrike" kern="1200" cap="none" spc="0" normalizeH="0" baseline="0" noProof="0" dirty="0" err="1">
                <a:ln>
                  <a:noFill/>
                </a:ln>
                <a:solidFill>
                  <a:srgbClr val="2F2F2F"/>
                </a:solidFill>
                <a:effectLst/>
                <a:uLnTx/>
                <a:uFillTx/>
                <a:latin typeface="Arial"/>
                <a:ea typeface="+mn-ea"/>
                <a:cs typeface="+mn-cs"/>
              </a:rPr>
              <a:t>installed</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to</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improve</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the</a:t>
            </a:r>
            <a:r>
              <a:rPr kumimoji="0" lang="es-ES" sz="1200" b="0" i="0" u="none" strike="noStrike" kern="1200" cap="none" spc="0" normalizeH="0" baseline="0" noProof="0" dirty="0">
                <a:ln>
                  <a:noFill/>
                </a:ln>
                <a:solidFill>
                  <a:srgbClr val="2F2F2F"/>
                </a:solidFill>
                <a:effectLst/>
                <a:uLnTx/>
                <a:uFillTx/>
                <a:latin typeface="Arial"/>
                <a:ea typeface="+mn-ea"/>
                <a:cs typeface="+mn-cs"/>
              </a:rPr>
              <a:t> combustión performance </a:t>
            </a:r>
            <a:r>
              <a:rPr kumimoji="0" lang="es-ES" sz="1200" b="0" i="0" u="none" strike="noStrike" kern="1200" cap="none" spc="0" normalizeH="0" baseline="0" noProof="0" dirty="0" err="1">
                <a:ln>
                  <a:noFill/>
                </a:ln>
                <a:solidFill>
                  <a:srgbClr val="2F2F2F"/>
                </a:solidFill>
                <a:effectLst/>
                <a:uLnTx/>
                <a:uFillTx/>
                <a:latin typeface="Arial"/>
                <a:ea typeface="+mn-ea"/>
                <a:cs typeface="+mn-cs"/>
              </a:rPr>
              <a:t>inside</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the</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furnace</a:t>
            </a:r>
            <a:r>
              <a:rPr kumimoji="0" lang="es-ES" sz="1200" b="0" i="0" u="none" strike="noStrike" kern="1200" cap="none" spc="0" normalizeH="0" baseline="0" noProof="0" dirty="0">
                <a:ln>
                  <a:noFill/>
                </a:ln>
                <a:solidFill>
                  <a:srgbClr val="2F2F2F"/>
                </a:solidFill>
                <a:effectLst/>
                <a:uLnTx/>
                <a:uFillTx/>
                <a:latin typeface="Arial"/>
                <a:ea typeface="+mn-ea"/>
                <a:cs typeface="+mn-cs"/>
              </a:rPr>
              <a:t>. In </a:t>
            </a:r>
            <a:r>
              <a:rPr kumimoji="0" lang="es-ES" sz="1200" b="0" i="0" u="none" strike="noStrike" kern="1200" cap="none" spc="0" normalizeH="0" baseline="0" noProof="0" dirty="0" err="1">
                <a:ln>
                  <a:noFill/>
                </a:ln>
                <a:solidFill>
                  <a:srgbClr val="2F2F2F"/>
                </a:solidFill>
                <a:effectLst/>
                <a:uLnTx/>
                <a:uFillTx/>
                <a:latin typeface="Arial"/>
                <a:ea typeface="+mn-ea"/>
                <a:cs typeface="+mn-cs"/>
              </a:rPr>
              <a:t>addition</a:t>
            </a:r>
            <a:r>
              <a:rPr kumimoji="0" lang="es-ES" sz="1200" b="0" i="0" u="none" strike="noStrike" kern="1200" cap="none" spc="0" normalizeH="0" baseline="0" noProof="0" dirty="0">
                <a:ln>
                  <a:noFill/>
                </a:ln>
                <a:solidFill>
                  <a:srgbClr val="2F2F2F"/>
                </a:solidFill>
                <a:effectLst/>
                <a:uLnTx/>
                <a:uFillTx/>
                <a:latin typeface="Arial"/>
                <a:ea typeface="+mn-ea"/>
                <a:cs typeface="+mn-cs"/>
              </a:rPr>
              <a:t>, a </a:t>
            </a:r>
            <a:r>
              <a:rPr kumimoji="0" lang="es-ES" sz="1200" b="0" i="0" u="none" strike="noStrike" kern="1200" cap="none" spc="0" normalizeH="0" baseline="0" noProof="0" dirty="0" err="1">
                <a:ln>
                  <a:noFill/>
                </a:ln>
                <a:solidFill>
                  <a:srgbClr val="2F2F2F"/>
                </a:solidFill>
                <a:effectLst/>
                <a:uLnTx/>
                <a:uFillTx/>
                <a:latin typeface="Arial"/>
                <a:ea typeface="+mn-ea"/>
                <a:cs typeface="+mn-cs"/>
              </a:rPr>
              <a:t>delacquiring</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system</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will</a:t>
            </a:r>
            <a:r>
              <a:rPr kumimoji="0" lang="es-ES" sz="1200" b="0" i="0" u="none" strike="noStrike" kern="1200" cap="none" spc="0" normalizeH="0" baseline="0" noProof="0" dirty="0">
                <a:ln>
                  <a:noFill/>
                </a:ln>
                <a:solidFill>
                  <a:srgbClr val="2F2F2F"/>
                </a:solidFill>
                <a:effectLst/>
                <a:uLnTx/>
                <a:uFillTx/>
                <a:latin typeface="Arial"/>
                <a:ea typeface="+mn-ea"/>
                <a:cs typeface="+mn-cs"/>
              </a:rPr>
              <a:t> be </a:t>
            </a:r>
            <a:r>
              <a:rPr kumimoji="0" lang="es-ES" sz="1200" b="0" i="0" u="none" strike="noStrike" kern="1200" cap="none" spc="0" normalizeH="0" baseline="0" noProof="0" dirty="0" err="1">
                <a:ln>
                  <a:noFill/>
                </a:ln>
                <a:solidFill>
                  <a:srgbClr val="2F2F2F"/>
                </a:solidFill>
                <a:effectLst/>
                <a:uLnTx/>
                <a:uFillTx/>
                <a:latin typeface="Arial"/>
                <a:ea typeface="+mn-ea"/>
                <a:cs typeface="+mn-cs"/>
              </a:rPr>
              <a:t>installed</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to</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remove</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the</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coated</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layers</a:t>
            </a:r>
            <a:r>
              <a:rPr kumimoji="0" lang="es-ES" sz="1200" b="0" i="0" u="none" strike="noStrike" kern="1200" cap="none" spc="0" normalizeH="0" baseline="0" noProof="0" dirty="0">
                <a:ln>
                  <a:noFill/>
                </a:ln>
                <a:solidFill>
                  <a:srgbClr val="2F2F2F"/>
                </a:solidFill>
                <a:effectLst/>
                <a:uLnTx/>
                <a:uFillTx/>
                <a:latin typeface="Arial"/>
                <a:ea typeface="+mn-ea"/>
                <a:cs typeface="+mn-cs"/>
              </a:rPr>
              <a:t> as </a:t>
            </a:r>
            <a:r>
              <a:rPr kumimoji="0" lang="es-ES" sz="1200" b="0" i="0" u="none" strike="noStrike" kern="1200" cap="none" spc="0" normalizeH="0" baseline="0" noProof="0" dirty="0" err="1">
                <a:ln>
                  <a:noFill/>
                </a:ln>
                <a:solidFill>
                  <a:srgbClr val="2F2F2F"/>
                </a:solidFill>
                <a:effectLst/>
                <a:uLnTx/>
                <a:uFillTx/>
                <a:latin typeface="Arial"/>
                <a:ea typeface="+mn-ea"/>
                <a:cs typeface="+mn-cs"/>
              </a:rPr>
              <a:t>paint</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oil</a:t>
            </a:r>
            <a:r>
              <a:rPr kumimoji="0" lang="es-ES" sz="1200" b="0" i="0" u="none" strike="noStrike" kern="1200" cap="none" spc="0" normalizeH="0" baseline="0" noProof="0" dirty="0">
                <a:ln>
                  <a:noFill/>
                </a:ln>
                <a:solidFill>
                  <a:srgbClr val="2F2F2F"/>
                </a:solidFill>
                <a:effectLst/>
                <a:uLnTx/>
                <a:uFillTx/>
                <a:latin typeface="Arial"/>
                <a:ea typeface="+mn-ea"/>
                <a:cs typeface="+mn-cs"/>
              </a:rPr>
              <a:t> and so </a:t>
            </a:r>
            <a:r>
              <a:rPr kumimoji="0" lang="es-ES" sz="1200" b="0" i="0" u="none" strike="noStrike" kern="1200" cap="none" spc="0" normalizeH="0" baseline="0" noProof="0" dirty="0" err="1">
                <a:ln>
                  <a:noFill/>
                </a:ln>
                <a:solidFill>
                  <a:srgbClr val="2F2F2F"/>
                </a:solidFill>
                <a:effectLst/>
                <a:uLnTx/>
                <a:uFillTx/>
                <a:latin typeface="Arial"/>
                <a:ea typeface="+mn-ea"/>
                <a:cs typeface="+mn-cs"/>
              </a:rPr>
              <a:t>on</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to</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allow</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to</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increase</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the</a:t>
            </a:r>
            <a:r>
              <a:rPr kumimoji="0" lang="es-ES" sz="1200" b="0" i="0" u="none" strike="noStrike" kern="1200" cap="none" spc="0" normalizeH="0" baseline="0" noProof="0" dirty="0">
                <a:ln>
                  <a:noFill/>
                </a:ln>
                <a:solidFill>
                  <a:srgbClr val="2F2F2F"/>
                </a:solidFill>
                <a:effectLst/>
                <a:uLnTx/>
                <a:uFillTx/>
                <a:latin typeface="Arial"/>
                <a:ea typeface="+mn-ea"/>
                <a:cs typeface="+mn-cs"/>
              </a:rPr>
              <a:t> share </a:t>
            </a:r>
            <a:r>
              <a:rPr kumimoji="0" lang="es-ES" sz="1200" b="0" i="0" u="none" strike="noStrike" kern="1200" cap="none" spc="0" normalizeH="0" baseline="0" noProof="0" dirty="0" err="1">
                <a:ln>
                  <a:noFill/>
                </a:ln>
                <a:solidFill>
                  <a:srgbClr val="2F2F2F"/>
                </a:solidFill>
                <a:effectLst/>
                <a:uLnTx/>
                <a:uFillTx/>
                <a:latin typeface="Arial"/>
                <a:ea typeface="+mn-ea"/>
                <a:cs typeface="+mn-cs"/>
              </a:rPr>
              <a:t>of</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low</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quality</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scrap</a:t>
            </a:r>
            <a:r>
              <a:rPr kumimoji="0" lang="es-ES" sz="1200" b="0" i="0" u="none" strike="noStrike" kern="1200" cap="none" spc="0" normalizeH="0" baseline="0" noProof="0" dirty="0">
                <a:ln>
                  <a:noFill/>
                </a:ln>
                <a:solidFill>
                  <a:srgbClr val="2F2F2F"/>
                </a:solidFill>
                <a:effectLst/>
                <a:uLnTx/>
                <a:uFillTx/>
                <a:latin typeface="Arial"/>
                <a:ea typeface="+mn-ea"/>
                <a:cs typeface="+mn-cs"/>
              </a:rPr>
              <a:t> in </a:t>
            </a:r>
            <a:r>
              <a:rPr kumimoji="0" lang="es-ES" sz="1200" b="0" i="0" u="none" strike="noStrike" kern="1200" cap="none" spc="0" normalizeH="0" baseline="0" noProof="0" dirty="0" err="1">
                <a:ln>
                  <a:noFill/>
                </a:ln>
                <a:solidFill>
                  <a:srgbClr val="2F2F2F"/>
                </a:solidFill>
                <a:effectLst/>
                <a:uLnTx/>
                <a:uFillTx/>
                <a:latin typeface="Arial"/>
                <a:ea typeface="+mn-ea"/>
                <a:cs typeface="+mn-cs"/>
              </a:rPr>
              <a:t>the</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feeding</a:t>
            </a:r>
            <a:r>
              <a:rPr kumimoji="0" lang="es-ES" sz="1200" b="0" i="0" u="none" strike="noStrike" kern="1200" cap="none" spc="0" normalizeH="0" baseline="0" noProof="0" dirty="0">
                <a:ln>
                  <a:noFill/>
                </a:ln>
                <a:solidFill>
                  <a:srgbClr val="2F2F2F"/>
                </a:solidFill>
                <a:effectLst/>
                <a:uLnTx/>
                <a:uFillTx/>
                <a:latin typeface="Arial"/>
                <a:ea typeface="+mn-ea"/>
                <a:cs typeface="+mn-cs"/>
              </a:rPr>
              <a:t> line. O2 and TOC </a:t>
            </a:r>
            <a:r>
              <a:rPr kumimoji="0" lang="es-ES" sz="1200" b="0" i="0" u="none" strike="noStrike" kern="1200" cap="none" spc="0" normalizeH="0" baseline="0" noProof="0" dirty="0" err="1">
                <a:ln>
                  <a:noFill/>
                </a:ln>
                <a:solidFill>
                  <a:srgbClr val="2F2F2F"/>
                </a:solidFill>
                <a:effectLst/>
                <a:uLnTx/>
                <a:uFillTx/>
                <a:latin typeface="Arial"/>
                <a:ea typeface="+mn-ea"/>
                <a:cs typeface="+mn-cs"/>
              </a:rPr>
              <a:t>analyzers</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will</a:t>
            </a:r>
            <a:r>
              <a:rPr kumimoji="0" lang="es-ES" sz="1200" b="0" i="0" u="none" strike="noStrike" kern="1200" cap="none" spc="0" normalizeH="0" baseline="0" noProof="0" dirty="0">
                <a:ln>
                  <a:noFill/>
                </a:ln>
                <a:solidFill>
                  <a:srgbClr val="2F2F2F"/>
                </a:solidFill>
                <a:effectLst/>
                <a:uLnTx/>
                <a:uFillTx/>
                <a:latin typeface="Arial"/>
                <a:ea typeface="+mn-ea"/>
                <a:cs typeface="+mn-cs"/>
              </a:rPr>
              <a:t> be </a:t>
            </a:r>
            <a:r>
              <a:rPr kumimoji="0" lang="es-ES" sz="1200" b="0" i="0" u="none" strike="noStrike" kern="1200" cap="none" spc="0" normalizeH="0" baseline="0" noProof="0" dirty="0" err="1">
                <a:ln>
                  <a:noFill/>
                </a:ln>
                <a:solidFill>
                  <a:srgbClr val="2F2F2F"/>
                </a:solidFill>
                <a:effectLst/>
                <a:uLnTx/>
                <a:uFillTx/>
                <a:latin typeface="Arial"/>
                <a:ea typeface="+mn-ea"/>
                <a:cs typeface="+mn-cs"/>
              </a:rPr>
              <a:t>installed</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also</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to</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support</a:t>
            </a:r>
            <a:r>
              <a:rPr kumimoji="0" lang="es-ES" sz="1200" b="0" i="0" u="none" strike="noStrike" kern="1200" cap="none" spc="0" normalizeH="0" baseline="0" noProof="0" dirty="0">
                <a:ln>
                  <a:noFill/>
                </a:ln>
                <a:solidFill>
                  <a:srgbClr val="2F2F2F"/>
                </a:solidFill>
                <a:effectLst/>
                <a:uLnTx/>
                <a:uFillTx/>
                <a:latin typeface="Arial"/>
                <a:ea typeface="+mn-ea"/>
                <a:cs typeface="+mn-cs"/>
              </a:rPr>
              <a:t> in </a:t>
            </a:r>
            <a:r>
              <a:rPr kumimoji="0" lang="es-ES" sz="1200" b="0" i="0" u="none" strike="noStrike" kern="1200" cap="none" spc="0" normalizeH="0" baseline="0" noProof="0" dirty="0" err="1">
                <a:ln>
                  <a:noFill/>
                </a:ln>
                <a:solidFill>
                  <a:srgbClr val="2F2F2F"/>
                </a:solidFill>
                <a:effectLst/>
                <a:uLnTx/>
                <a:uFillTx/>
                <a:latin typeface="Arial"/>
                <a:ea typeface="+mn-ea"/>
                <a:cs typeface="+mn-cs"/>
              </a:rPr>
              <a:t>the</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process</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management</a:t>
            </a:r>
            <a:r>
              <a:rPr kumimoji="0" lang="es-ES" sz="1200" b="0" i="0" u="none" strike="noStrike" kern="1200" cap="none" spc="0" normalizeH="0" baseline="0" noProof="0" dirty="0">
                <a:ln>
                  <a:noFill/>
                </a:ln>
                <a:solidFill>
                  <a:srgbClr val="2F2F2F"/>
                </a:solidFill>
                <a:effectLst/>
                <a:uLnTx/>
                <a:uFillTx/>
                <a:latin typeface="Arial"/>
                <a:ea typeface="+mn-ea"/>
                <a:cs typeface="+mn-cs"/>
              </a:rPr>
              <a:t> and </a:t>
            </a:r>
            <a:r>
              <a:rPr kumimoji="0" lang="es-ES" sz="1200" b="0" i="0" u="none" strike="noStrike" kern="1200" cap="none" spc="0" normalizeH="0" baseline="0" noProof="0" dirty="0" err="1">
                <a:ln>
                  <a:noFill/>
                </a:ln>
                <a:solidFill>
                  <a:srgbClr val="2F2F2F"/>
                </a:solidFill>
                <a:effectLst/>
                <a:uLnTx/>
                <a:uFillTx/>
                <a:latin typeface="Arial"/>
                <a:ea typeface="+mn-ea"/>
                <a:cs typeface="+mn-cs"/>
              </a:rPr>
              <a:t>to</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ensure</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the</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adequate</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emission</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level</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which</a:t>
            </a:r>
            <a:r>
              <a:rPr kumimoji="0" lang="es-ES" sz="1200" b="0" i="0" u="none" strike="noStrike" kern="1200" cap="none" spc="0" normalizeH="0" baseline="0" noProof="0" dirty="0">
                <a:ln>
                  <a:noFill/>
                </a:ln>
                <a:solidFill>
                  <a:srgbClr val="2F2F2F"/>
                </a:solidFill>
                <a:effectLst/>
                <a:uLnTx/>
                <a:uFillTx/>
                <a:latin typeface="Arial"/>
                <a:ea typeface="+mn-ea"/>
                <a:cs typeface="+mn-cs"/>
              </a:rPr>
              <a:t> lead </a:t>
            </a:r>
            <a:r>
              <a:rPr kumimoji="0" lang="es-ES" sz="1200" b="0" i="0" u="none" strike="noStrike" kern="1200" cap="none" spc="0" normalizeH="0" baseline="0" noProof="0" dirty="0" err="1">
                <a:ln>
                  <a:noFill/>
                </a:ln>
                <a:solidFill>
                  <a:srgbClr val="2F2F2F"/>
                </a:solidFill>
                <a:effectLst/>
                <a:uLnTx/>
                <a:uFillTx/>
                <a:latin typeface="Arial"/>
                <a:ea typeface="+mn-ea"/>
                <a:cs typeface="+mn-cs"/>
              </a:rPr>
              <a:t>to</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an</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improved</a:t>
            </a:r>
            <a:r>
              <a:rPr kumimoji="0" lang="es-ES" sz="1200" b="0" i="0" u="none" strike="noStrike" kern="1200" cap="none" spc="0" normalizeH="0" baseline="0" noProof="0" dirty="0">
                <a:ln>
                  <a:noFill/>
                </a:ln>
                <a:solidFill>
                  <a:srgbClr val="2F2F2F"/>
                </a:solidFill>
                <a:effectLst/>
                <a:uLnTx/>
                <a:uFillTx/>
                <a:latin typeface="Arial"/>
                <a:ea typeface="+mn-ea"/>
                <a:cs typeface="+mn-cs"/>
              </a:rPr>
              <a:t> M&amp;C </a:t>
            </a:r>
            <a:r>
              <a:rPr kumimoji="0" lang="es-ES" sz="1200" b="0" i="0" u="none" strike="noStrike" kern="1200" cap="none" spc="0" normalizeH="0" baseline="0" noProof="0" dirty="0" err="1">
                <a:ln>
                  <a:noFill/>
                </a:ln>
                <a:solidFill>
                  <a:srgbClr val="2F2F2F"/>
                </a:solidFill>
                <a:effectLst/>
                <a:uLnTx/>
                <a:uFillTx/>
                <a:latin typeface="Arial"/>
                <a:ea typeface="+mn-ea"/>
                <a:cs typeface="+mn-cs"/>
              </a:rPr>
              <a:t>system</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endParaRPr lang="sv-S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4DB91F-1AD8-437C-8866-3636784D085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40092877"/>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dirty="0" err="1">
                <a:ln>
                  <a:noFill/>
                </a:ln>
                <a:solidFill>
                  <a:srgbClr val="2F2F2F"/>
                </a:solidFill>
                <a:effectLst/>
                <a:uLnTx/>
                <a:uFillTx/>
                <a:latin typeface="Arial"/>
                <a:ea typeface="+mn-ea"/>
                <a:cs typeface="+mn-cs"/>
              </a:rPr>
              <a:t>Besides</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these</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actions</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will</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generate</a:t>
            </a:r>
            <a:r>
              <a:rPr kumimoji="0" lang="es-ES" sz="1200" b="0" i="0" u="none" strike="noStrike" kern="1200" cap="none" spc="0" normalizeH="0" baseline="0" noProof="0" dirty="0">
                <a:ln>
                  <a:noFill/>
                </a:ln>
                <a:solidFill>
                  <a:srgbClr val="2F2F2F"/>
                </a:solidFill>
                <a:effectLst/>
                <a:uLnTx/>
                <a:uFillTx/>
                <a:latin typeface="Arial"/>
                <a:ea typeface="+mn-ea"/>
                <a:cs typeface="+mn-cs"/>
              </a:rPr>
              <a:t> a more </a:t>
            </a:r>
            <a:r>
              <a:rPr kumimoji="0" lang="es-ES" sz="1200" b="0" i="0" u="none" strike="noStrike" kern="1200" cap="none" spc="0" normalizeH="0" baseline="0" noProof="0" dirty="0" err="1">
                <a:ln>
                  <a:noFill/>
                </a:ln>
                <a:solidFill>
                  <a:srgbClr val="2F2F2F"/>
                </a:solidFill>
                <a:effectLst/>
                <a:uLnTx/>
                <a:uFillTx/>
                <a:latin typeface="Arial"/>
                <a:ea typeface="+mn-ea"/>
                <a:cs typeface="+mn-cs"/>
              </a:rPr>
              <a:t>efficient</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combustion</a:t>
            </a:r>
            <a:r>
              <a:rPr kumimoji="0" lang="es-ES" sz="1200" b="0" i="0" u="none" strike="noStrike" kern="1200" cap="none" spc="0" normalizeH="0" baseline="0" noProof="0" dirty="0">
                <a:ln>
                  <a:noFill/>
                </a:ln>
                <a:solidFill>
                  <a:srgbClr val="2F2F2F"/>
                </a:solidFill>
                <a:effectLst/>
                <a:uLnTx/>
                <a:uFillTx/>
                <a:latin typeface="Arial"/>
                <a:ea typeface="+mn-ea"/>
                <a:cs typeface="+mn-cs"/>
              </a:rPr>
              <a:t> and so, a </a:t>
            </a:r>
            <a:r>
              <a:rPr kumimoji="0" lang="es-ES" sz="1200" b="0" i="0" u="none" strike="noStrike" kern="1200" cap="none" spc="0" normalizeH="0" baseline="0" noProof="0" dirty="0" err="1">
                <a:ln>
                  <a:noFill/>
                </a:ln>
                <a:solidFill>
                  <a:srgbClr val="2F2F2F"/>
                </a:solidFill>
                <a:effectLst/>
                <a:uLnTx/>
                <a:uFillTx/>
                <a:latin typeface="Arial"/>
                <a:ea typeface="+mn-ea"/>
                <a:cs typeface="+mn-cs"/>
              </a:rPr>
              <a:t>reduction</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of</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the</a:t>
            </a:r>
            <a:r>
              <a:rPr kumimoji="0" lang="es-ES" sz="1200" b="0" i="0" u="none" strike="noStrike" kern="1200" cap="none" spc="0" normalizeH="0" baseline="0" noProof="0" dirty="0">
                <a:ln>
                  <a:noFill/>
                </a:ln>
                <a:solidFill>
                  <a:srgbClr val="2F2F2F"/>
                </a:solidFill>
                <a:effectLst/>
                <a:uLnTx/>
                <a:uFillTx/>
                <a:latin typeface="Arial"/>
                <a:ea typeface="+mn-ea"/>
                <a:cs typeface="+mn-cs"/>
              </a:rPr>
              <a:t> GHG </a:t>
            </a:r>
            <a:r>
              <a:rPr kumimoji="0" lang="es-ES" sz="1200" b="0" i="0" u="none" strike="noStrike" kern="1200" cap="none" spc="0" normalizeH="0" baseline="0" noProof="0" dirty="0" err="1">
                <a:ln>
                  <a:noFill/>
                </a:ln>
                <a:solidFill>
                  <a:srgbClr val="2F2F2F"/>
                </a:solidFill>
                <a:effectLst/>
                <a:uLnTx/>
                <a:uFillTx/>
                <a:latin typeface="Arial"/>
                <a:ea typeface="+mn-ea"/>
                <a:cs typeface="+mn-cs"/>
              </a:rPr>
              <a:t>emissions</a:t>
            </a:r>
            <a:r>
              <a:rPr kumimoji="0" lang="es-ES" sz="1200" b="0" i="0" u="none" strike="noStrike" kern="1200" cap="none" spc="0" normalizeH="0" baseline="0" noProof="0" dirty="0">
                <a:ln>
                  <a:noFill/>
                </a:ln>
                <a:solidFill>
                  <a:srgbClr val="2F2F2F"/>
                </a:solidFill>
                <a:effectLst/>
                <a:uLnTx/>
                <a:uFillTx/>
                <a:latin typeface="Arial"/>
                <a:ea typeface="+mn-ea"/>
                <a:cs typeface="+mn-cs"/>
              </a:rPr>
              <a:t>.</a:t>
            </a:r>
          </a:p>
          <a:p>
            <a:endParaRPr lang="sv-S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4DB91F-1AD8-437C-8866-3636784D085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30513088"/>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sng"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Preliminary results for ASA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F2F2F"/>
                </a:solidFill>
                <a:effectLst/>
                <a:uLnTx/>
                <a:uFillTx/>
                <a:latin typeface="Arial"/>
                <a:ea typeface="+mn-ea"/>
                <a:cs typeface="+mn-cs"/>
              </a:rPr>
              <a:t>Scrap usage (resource efficiency)</a:t>
            </a:r>
          </a:p>
          <a:p>
            <a:r>
              <a:rPr lang="en-US" sz="1800" b="0" i="0" u="none" strike="noStrike" baseline="0" dirty="0">
                <a:solidFill>
                  <a:srgbClr val="000000"/>
                </a:solidFill>
                <a:latin typeface="Arial" panose="020B0604020202020204" pitchFamily="34" charset="0"/>
              </a:rPr>
              <a:t>An impressive milestone has been reached in the utilization of alternative raw materials, with a notable improvement in the use of coated scrap until 27%. Besides, total percentage of the scrap materials used was aimed to reach 48.6% in the Grant Agreement, but thanks to all the implementations, this aim was surpassed, obtaining a 57%. These results are very interesting taking into account that before the </a:t>
            </a:r>
            <a:r>
              <a:rPr lang="en-US" sz="1800" b="0" i="0" u="none" strike="noStrike" baseline="0" dirty="0" err="1">
                <a:solidFill>
                  <a:srgbClr val="000000"/>
                </a:solidFill>
                <a:latin typeface="Arial" panose="020B0604020202020204" pitchFamily="34" charset="0"/>
              </a:rPr>
              <a:t>delacquering</a:t>
            </a:r>
            <a:r>
              <a:rPr lang="en-US" sz="1800" b="0" i="0" u="none" strike="noStrike" baseline="0" dirty="0">
                <a:solidFill>
                  <a:srgbClr val="000000"/>
                </a:solidFill>
                <a:latin typeface="Arial" panose="020B0604020202020204" pitchFamily="34" charset="0"/>
              </a:rPr>
              <a:t> drum furnace solution, lacquer/coated scraps could not be used for the casting process. The reason is that the use of scrap forms high rates of impurities, resulting in a low casting quality and high flue gas emissions. Also, after melting operations the output products have been </a:t>
            </a:r>
            <a:r>
              <a:rPr lang="en-US" sz="1800" b="0" i="0" u="none" strike="noStrike" baseline="0" dirty="0" err="1">
                <a:solidFill>
                  <a:srgbClr val="000000"/>
                </a:solidFill>
                <a:latin typeface="Arial" panose="020B0604020202020204" pitchFamily="34" charset="0"/>
              </a:rPr>
              <a:t>analysed</a:t>
            </a:r>
            <a:r>
              <a:rPr lang="en-US" sz="1800" b="0" i="0" u="none" strike="noStrike" baseline="0" dirty="0">
                <a:solidFill>
                  <a:srgbClr val="000000"/>
                </a:solidFill>
                <a:latin typeface="Arial" panose="020B0604020202020204" pitchFamily="34" charset="0"/>
              </a:rPr>
              <a:t>. As a result, both retrofitted and before retrofitting trials showed similar dross formation, cast metal and process loss amounts. </a:t>
            </a:r>
          </a:p>
          <a:p>
            <a:endParaRPr lang="en-US" sz="1800" b="0" i="0" u="none" strike="noStrike" baseline="0" dirty="0">
              <a:solidFill>
                <a:srgbClr val="000000"/>
              </a:solidFill>
              <a:latin typeface="Arial" panose="020B0604020202020204" pitchFamily="34" charset="0"/>
            </a:endParaRPr>
          </a:p>
          <a:p>
            <a:r>
              <a:rPr lang="en-US" sz="1800" b="1" i="0" u="none" strike="noStrike" baseline="0" dirty="0">
                <a:solidFill>
                  <a:srgbClr val="000000"/>
                </a:solidFill>
                <a:latin typeface="Arial" panose="020B0604020202020204" pitchFamily="34" charset="0"/>
              </a:rPr>
              <a:t>Reduction in energy consumption</a:t>
            </a:r>
          </a:p>
          <a:p>
            <a:r>
              <a:rPr lang="en-US" sz="1800" b="0" i="0" u="none" strike="noStrike" baseline="0" dirty="0">
                <a:solidFill>
                  <a:srgbClr val="000000"/>
                </a:solidFill>
                <a:latin typeface="Arial" panose="020B0604020202020204" pitchFamily="34" charset="0"/>
              </a:rPr>
              <a:t>Main energy resource of the melting furnace is natural gas and electricity has been used only to first ignite burners and operate digital sensors. In any case, the outcomes of the implemented development have revealed an expected outcome, as no significant electricity savings have been observed. As a result, monthly energy consumption of the before and after retrofitting solution on the furnace caused 18.55% energy efficiency gain. </a:t>
            </a:r>
          </a:p>
          <a:p>
            <a:endParaRPr lang="en-US" sz="1800" b="0" i="0" u="none" strike="noStrike" baseline="0" dirty="0">
              <a:solidFill>
                <a:srgbClr val="000000"/>
              </a:solidFill>
              <a:latin typeface="Arial" panose="020B0604020202020204" pitchFamily="34" charset="0"/>
            </a:endParaRPr>
          </a:p>
          <a:p>
            <a:r>
              <a:rPr lang="en-US" sz="1800" b="1" i="0" u="none" strike="noStrike" baseline="0" dirty="0">
                <a:solidFill>
                  <a:srgbClr val="000000"/>
                </a:solidFill>
                <a:latin typeface="Arial" panose="020B0604020202020204" pitchFamily="34" charset="0"/>
              </a:rPr>
              <a:t>Reduction in GHG emissions</a:t>
            </a:r>
            <a:endParaRPr lang="en-US" sz="1800" b="0" i="0" u="none" strike="noStrike" baseline="0" dirty="0">
              <a:solidFill>
                <a:srgbClr val="000000"/>
              </a:solidFill>
              <a:latin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u="none" strike="noStrike" baseline="0" dirty="0">
                <a:solidFill>
                  <a:srgbClr val="000000"/>
                </a:solidFill>
                <a:latin typeface="Arial" panose="020B0604020202020204" pitchFamily="34" charset="0"/>
              </a:rPr>
              <a:t>GHG emissions analysis have been carried out with respect to TS ISO 7935 flue gas standard. As a result, emission values differ with respect to charge type. Before retrofitting and after retrofitting values for melting furnace have been measured. For the </a:t>
            </a:r>
            <a:r>
              <a:rPr lang="en-US" sz="1800" b="0" i="0" u="none" strike="noStrike" baseline="0" dirty="0" err="1">
                <a:solidFill>
                  <a:srgbClr val="000000"/>
                </a:solidFill>
                <a:latin typeface="Arial" panose="020B0604020202020204" pitchFamily="34" charset="0"/>
              </a:rPr>
              <a:t>delacquering</a:t>
            </a:r>
            <a:r>
              <a:rPr lang="en-US" sz="1800" b="0" i="0" u="none" strike="noStrike" baseline="0" dirty="0">
                <a:solidFill>
                  <a:srgbClr val="000000"/>
                </a:solidFill>
                <a:latin typeface="Arial" panose="020B0604020202020204" pitchFamily="34" charset="0"/>
              </a:rPr>
              <a:t> systems there is not any before value before </a:t>
            </a:r>
            <a:r>
              <a:rPr lang="en-US" sz="1800" b="0" i="0" u="none" strike="noStrike" baseline="0" dirty="0" err="1">
                <a:solidFill>
                  <a:srgbClr val="000000"/>
                </a:solidFill>
                <a:latin typeface="Arial" panose="020B0604020202020204" pitchFamily="34" charset="0"/>
              </a:rPr>
              <a:t>delacquering</a:t>
            </a:r>
            <a:r>
              <a:rPr lang="en-US" sz="1800" b="0" i="0" u="none" strike="noStrike" baseline="0" dirty="0">
                <a:solidFill>
                  <a:srgbClr val="000000"/>
                </a:solidFill>
                <a:latin typeface="Arial" panose="020B0604020202020204" pitchFamily="34" charset="0"/>
              </a:rPr>
              <a:t> system has been established within RETROFEED project. In any case, the results are in line with Regulation on Control of industrial Air pollution which is published by Ministry of Environment and Forestry of Turkey, according to environmental regulations. Regarding melting furnace trials, a reduction of the emissions of the parameters has been observed to be 75 % reduction. But for complete retrofit, 19 % reductio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b="0" i="0" u="none" strike="noStrike" baseline="0" dirty="0">
              <a:solidFill>
                <a:srgbClr val="000000"/>
              </a:solidFill>
              <a:latin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i="0" u="none" strike="noStrike" baseline="0" dirty="0">
                <a:solidFill>
                  <a:srgbClr val="000000"/>
                </a:solidFill>
                <a:latin typeface="Arial" panose="020B0604020202020204" pitchFamily="34" charset="0"/>
              </a:rPr>
              <a:t>Reduction in </a:t>
            </a:r>
            <a:r>
              <a:rPr lang="en-US" sz="1800" b="1" i="0" u="none" strike="noStrike" baseline="0" dirty="0" err="1">
                <a:solidFill>
                  <a:srgbClr val="000000"/>
                </a:solidFill>
                <a:latin typeface="Arial" panose="020B0604020202020204" pitchFamily="34" charset="0"/>
              </a:rPr>
              <a:t>fossile</a:t>
            </a:r>
            <a:r>
              <a:rPr lang="en-US" sz="1800" b="1" i="0" u="none" strike="noStrike" baseline="0" dirty="0">
                <a:solidFill>
                  <a:srgbClr val="000000"/>
                </a:solidFill>
                <a:latin typeface="Arial" panose="020B0604020202020204" pitchFamily="34" charset="0"/>
              </a:rPr>
              <a:t> resource/ fuel consumption – Natural ga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u="none" strike="noStrike" baseline="0" dirty="0">
                <a:solidFill>
                  <a:srgbClr val="000000"/>
                </a:solidFill>
                <a:latin typeface="Arial" panose="020B0604020202020204" pitchFamily="34" charset="0"/>
              </a:rPr>
              <a:t>The implementation of a new generation burner has yielded significant results in terms of natural gas savings. Through this upgrade, a remarkable reduction of 19% in natural gas consumption has been achieved for the melting </a:t>
            </a:r>
            <a:r>
              <a:rPr lang="en-US" sz="1800" b="0" i="0" u="none" strike="noStrike" baseline="0" dirty="0" err="1">
                <a:solidFill>
                  <a:srgbClr val="000000"/>
                </a:solidFill>
                <a:latin typeface="Arial" panose="020B0604020202020204" pitchFamily="34" charset="0"/>
              </a:rPr>
              <a:t>furnonace</a:t>
            </a:r>
            <a:r>
              <a:rPr lang="en-US" sz="1800" b="0" i="0" u="none" strike="noStrike" baseline="0" dirty="0">
                <a:solidFill>
                  <a:srgbClr val="000000"/>
                </a:solidFill>
                <a:latin typeface="Arial" panose="020B0604020202020204" pitchFamily="34" charset="0"/>
              </a:rPr>
              <a:t> process. This outcome highlights the positive impact of the burner change on energy efficiency with respect to natural gas consumption which is the main energy resource of energy for melting system used at ASAS. The utilization of the new generation burner has proven to be a successful strategy in optimizing energy usage, allowing for the same level of performance while significantly reducing natural gas consumptio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b="1" i="0" u="none" strike="noStrike" baseline="0" dirty="0">
              <a:solidFill>
                <a:srgbClr val="000000"/>
              </a:solidFill>
              <a:latin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b="0" i="0" u="none" strike="noStrike" baseline="0" dirty="0">
              <a:solidFill>
                <a:srgbClr val="000000"/>
              </a:solidFill>
              <a:latin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All of the output materials have been investigated and they have showed properties admissible for proceeding with upcoming processing. </a:t>
            </a:r>
            <a:endParaRPr lang="sv-SE" sz="1800" dirty="0"/>
          </a:p>
          <a:p>
            <a:endParaRPr lang="en-US" sz="1800" b="1" i="0" u="none" strike="noStrike" baseline="0" dirty="0">
              <a:solidFill>
                <a:srgbClr val="000000"/>
              </a:solidFill>
              <a:latin typeface="Arial" panose="020B0604020202020204" pitchFamily="34" charset="0"/>
            </a:endParaRPr>
          </a:p>
          <a:p>
            <a:endParaRPr lang="en-US" sz="1800" b="1" i="0" u="none" strike="noStrike" baseline="0" dirty="0">
              <a:solidFill>
                <a:srgbClr val="000000"/>
              </a:solidFill>
              <a:latin typeface="Arial" panose="020B0604020202020204" pitchFamily="34" charset="0"/>
            </a:endParaRPr>
          </a:p>
          <a:p>
            <a:endParaRPr lang="en-US" sz="1800" b="0" i="0" u="none" strike="noStrike" baseline="0" dirty="0">
              <a:solidFill>
                <a:srgbClr val="000000"/>
              </a:solidFill>
              <a:latin typeface="Arial" panose="020B0604020202020204" pitchFamily="34" charset="0"/>
            </a:endParaRPr>
          </a:p>
          <a:p>
            <a:endParaRPr lang="sv-S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4DB91F-1AD8-437C-8866-3636784D085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61219425"/>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kumimoji="0" lang="es-ES" sz="1200" b="0" i="0" u="none" strike="noStrike" kern="1200" cap="none" spc="0" normalizeH="0" baseline="0" noProof="0" dirty="0" err="1">
                <a:ln>
                  <a:noFill/>
                </a:ln>
                <a:solidFill>
                  <a:srgbClr val="2F2F2F"/>
                </a:solidFill>
                <a:effectLst/>
                <a:uLnTx/>
                <a:uFillTx/>
                <a:latin typeface="Arial"/>
                <a:ea typeface="+mn-ea"/>
                <a:cs typeface="+mn-cs"/>
              </a:rPr>
              <a:t>Secil</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is</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one</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of</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the</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Portugal’s</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cement</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producer</a:t>
            </a:r>
            <a:r>
              <a:rPr kumimoji="0" lang="es-ES" sz="1200" b="0" i="0" u="none" strike="noStrike" kern="1200" cap="none" spc="0" normalizeH="0" baseline="0" noProof="0" dirty="0">
                <a:ln>
                  <a:noFill/>
                </a:ln>
                <a:solidFill>
                  <a:srgbClr val="2F2F2F"/>
                </a:solidFill>
                <a:effectLst/>
                <a:uLnTx/>
                <a:uFillTx/>
                <a:latin typeface="Arial"/>
                <a:ea typeface="+mn-ea"/>
                <a:cs typeface="+mn-cs"/>
              </a:rPr>
              <a:t> leader. In </a:t>
            </a:r>
            <a:r>
              <a:rPr kumimoji="0" lang="es-ES" sz="1200" b="0" i="0" u="none" strike="noStrike" kern="1200" cap="none" spc="0" normalizeH="0" baseline="0" noProof="0" dirty="0" err="1">
                <a:ln>
                  <a:noFill/>
                </a:ln>
                <a:solidFill>
                  <a:srgbClr val="2F2F2F"/>
                </a:solidFill>
                <a:effectLst/>
                <a:uLnTx/>
                <a:uFillTx/>
                <a:latin typeface="Arial"/>
                <a:ea typeface="+mn-ea"/>
                <a:cs typeface="+mn-cs"/>
              </a:rPr>
              <a:t>this</a:t>
            </a:r>
            <a:r>
              <a:rPr kumimoji="0" lang="es-ES" sz="1200" b="0" i="0" u="none" strike="noStrike" kern="1200" cap="none" spc="0" normalizeH="0" baseline="0" noProof="0" dirty="0">
                <a:ln>
                  <a:noFill/>
                </a:ln>
                <a:solidFill>
                  <a:srgbClr val="2F2F2F"/>
                </a:solidFill>
                <a:effectLst/>
                <a:uLnTx/>
                <a:uFillTx/>
                <a:latin typeface="Arial"/>
                <a:ea typeface="+mn-ea"/>
                <a:cs typeface="+mn-cs"/>
              </a:rPr>
              <a:t> case, </a:t>
            </a:r>
            <a:r>
              <a:rPr kumimoji="0" lang="es-ES" sz="1200" b="0" i="0" u="none" strike="noStrike" kern="1200" cap="none" spc="0" normalizeH="0" baseline="0" noProof="0" dirty="0" err="1">
                <a:ln>
                  <a:noFill/>
                </a:ln>
                <a:solidFill>
                  <a:srgbClr val="2F2F2F"/>
                </a:solidFill>
                <a:effectLst/>
                <a:uLnTx/>
                <a:uFillTx/>
                <a:latin typeface="Arial"/>
                <a:ea typeface="+mn-ea"/>
                <a:cs typeface="+mn-cs"/>
              </a:rPr>
              <a:t>retrofitting</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actions</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will</a:t>
            </a:r>
            <a:r>
              <a:rPr kumimoji="0" lang="es-ES" sz="1200" b="0" i="0" u="none" strike="noStrike" kern="1200" cap="none" spc="0" normalizeH="0" baseline="0" noProof="0" dirty="0">
                <a:ln>
                  <a:noFill/>
                </a:ln>
                <a:solidFill>
                  <a:srgbClr val="2F2F2F"/>
                </a:solidFill>
                <a:effectLst/>
                <a:uLnTx/>
                <a:uFillTx/>
                <a:latin typeface="Arial"/>
                <a:ea typeface="+mn-ea"/>
                <a:cs typeface="+mn-cs"/>
              </a:rPr>
              <a:t> be </a:t>
            </a:r>
            <a:r>
              <a:rPr kumimoji="0" lang="es-ES" sz="1200" b="0" i="0" u="none" strike="noStrike" kern="1200" cap="none" spc="0" normalizeH="0" baseline="0" noProof="0" dirty="0" err="1">
                <a:ln>
                  <a:noFill/>
                </a:ln>
                <a:solidFill>
                  <a:srgbClr val="2F2F2F"/>
                </a:solidFill>
                <a:effectLst/>
                <a:uLnTx/>
                <a:uFillTx/>
                <a:latin typeface="Arial"/>
                <a:ea typeface="+mn-ea"/>
                <a:cs typeface="+mn-cs"/>
              </a:rPr>
              <a:t>centered</a:t>
            </a:r>
            <a:r>
              <a:rPr kumimoji="0" lang="es-ES" sz="1200" b="0" i="0" u="none" strike="noStrike" kern="1200" cap="none" spc="0" normalizeH="0" baseline="0" noProof="0" dirty="0">
                <a:ln>
                  <a:noFill/>
                </a:ln>
                <a:solidFill>
                  <a:srgbClr val="2F2F2F"/>
                </a:solidFill>
                <a:effectLst/>
                <a:uLnTx/>
                <a:uFillTx/>
                <a:latin typeface="Arial"/>
                <a:ea typeface="+mn-ea"/>
                <a:cs typeface="+mn-cs"/>
              </a:rPr>
              <a:t> in </a:t>
            </a:r>
            <a:r>
              <a:rPr kumimoji="0" lang="es-ES" sz="1200" b="0" i="0" u="none" strike="noStrike" kern="1200" cap="none" spc="0" normalizeH="0" baseline="0" noProof="0" dirty="0" err="1">
                <a:ln>
                  <a:noFill/>
                </a:ln>
                <a:solidFill>
                  <a:srgbClr val="2F2F2F"/>
                </a:solidFill>
                <a:effectLst/>
                <a:uLnTx/>
                <a:uFillTx/>
                <a:latin typeface="Arial"/>
                <a:ea typeface="+mn-ea"/>
                <a:cs typeface="+mn-cs"/>
              </a:rPr>
              <a:t>the</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core</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equipment</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the</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rotatory</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kiln</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p>
          <a:p>
            <a:r>
              <a:rPr kumimoji="0" lang="es-ES" sz="1200" b="1" i="0" u="none" strike="noStrike" kern="1200" cap="none" spc="0" normalizeH="0" baseline="0" noProof="0" dirty="0" err="1">
                <a:ln>
                  <a:noFill/>
                </a:ln>
                <a:solidFill>
                  <a:srgbClr val="2F2F2F"/>
                </a:solidFill>
                <a:effectLst/>
                <a:uLnTx/>
                <a:uFillTx/>
                <a:latin typeface="Arial"/>
                <a:ea typeface="+mn-ea"/>
                <a:cs typeface="+mn-cs"/>
              </a:rPr>
              <a:t>Unfortunately</a:t>
            </a:r>
            <a:r>
              <a:rPr kumimoji="0" lang="es-ES" sz="1200" b="1" i="0" u="none" strike="noStrike" kern="1200" cap="none" spc="0" normalizeH="0" baseline="0" noProof="0" dirty="0">
                <a:ln>
                  <a:noFill/>
                </a:ln>
                <a:solidFill>
                  <a:srgbClr val="2F2F2F"/>
                </a:solidFill>
                <a:effectLst/>
                <a:uLnTx/>
                <a:uFillTx/>
                <a:latin typeface="Arial"/>
                <a:ea typeface="+mn-ea"/>
                <a:cs typeface="+mn-cs"/>
              </a:rPr>
              <a:t> , </a:t>
            </a:r>
            <a:r>
              <a:rPr kumimoji="0" lang="es-ES" sz="1200" b="1" i="0" u="none" strike="noStrike" kern="1200" cap="none" spc="0" normalizeH="0" baseline="0" noProof="0" dirty="0" err="1">
                <a:ln>
                  <a:noFill/>
                </a:ln>
                <a:solidFill>
                  <a:srgbClr val="2F2F2F"/>
                </a:solidFill>
                <a:effectLst/>
                <a:uLnTx/>
                <a:uFillTx/>
                <a:latin typeface="Arial"/>
                <a:ea typeface="+mn-ea"/>
                <a:cs typeface="+mn-cs"/>
              </a:rPr>
              <a:t>Secil</a:t>
            </a:r>
            <a:r>
              <a:rPr kumimoji="0" lang="es-ES" sz="1200" b="1" i="0" u="none" strike="noStrike" kern="1200" cap="none" spc="0" normalizeH="0" baseline="0" noProof="0" dirty="0">
                <a:ln>
                  <a:noFill/>
                </a:ln>
                <a:solidFill>
                  <a:srgbClr val="2F2F2F"/>
                </a:solidFill>
                <a:effectLst/>
                <a:uLnTx/>
                <a:uFillTx/>
                <a:latin typeface="Arial"/>
                <a:ea typeface="+mn-ea"/>
                <a:cs typeface="+mn-cs"/>
              </a:rPr>
              <a:t> </a:t>
            </a:r>
            <a:r>
              <a:rPr kumimoji="0" lang="es-ES" sz="1200" b="1" i="0" u="none" strike="noStrike" kern="1200" cap="none" spc="0" normalizeH="0" baseline="0" noProof="0" dirty="0" err="1">
                <a:ln>
                  <a:noFill/>
                </a:ln>
                <a:solidFill>
                  <a:srgbClr val="2F2F2F"/>
                </a:solidFill>
                <a:effectLst/>
                <a:uLnTx/>
                <a:uFillTx/>
                <a:latin typeface="Arial"/>
                <a:ea typeface="+mn-ea"/>
                <a:cs typeface="+mn-cs"/>
              </a:rPr>
              <a:t>could</a:t>
            </a:r>
            <a:r>
              <a:rPr kumimoji="0" lang="es-ES" sz="1200" b="1" i="0" u="none" strike="noStrike" kern="1200" cap="none" spc="0" normalizeH="0" baseline="0" noProof="0" dirty="0">
                <a:ln>
                  <a:noFill/>
                </a:ln>
                <a:solidFill>
                  <a:srgbClr val="2F2F2F"/>
                </a:solidFill>
                <a:effectLst/>
                <a:uLnTx/>
                <a:uFillTx/>
                <a:latin typeface="Arial"/>
                <a:ea typeface="+mn-ea"/>
                <a:cs typeface="+mn-cs"/>
              </a:rPr>
              <a:t> </a:t>
            </a:r>
            <a:r>
              <a:rPr kumimoji="0" lang="es-ES" sz="1200" b="1" i="0" u="none" strike="noStrike" kern="1200" cap="none" spc="0" normalizeH="0" baseline="0" noProof="0" dirty="0" err="1">
                <a:ln>
                  <a:noFill/>
                </a:ln>
                <a:solidFill>
                  <a:srgbClr val="2F2F2F"/>
                </a:solidFill>
                <a:effectLst/>
                <a:uLnTx/>
                <a:uFillTx/>
                <a:latin typeface="Arial"/>
                <a:ea typeface="+mn-ea"/>
                <a:cs typeface="+mn-cs"/>
              </a:rPr>
              <a:t>not</a:t>
            </a:r>
            <a:r>
              <a:rPr kumimoji="0" lang="es-ES" sz="1200" b="1" i="0" u="none" strike="noStrike" kern="1200" cap="none" spc="0" normalizeH="0" baseline="0" noProof="0" dirty="0">
                <a:ln>
                  <a:noFill/>
                </a:ln>
                <a:solidFill>
                  <a:srgbClr val="2F2F2F"/>
                </a:solidFill>
                <a:effectLst/>
                <a:uLnTx/>
                <a:uFillTx/>
                <a:latin typeface="Arial"/>
                <a:ea typeface="+mn-ea"/>
                <a:cs typeface="+mn-cs"/>
              </a:rPr>
              <a:t> </a:t>
            </a:r>
            <a:r>
              <a:rPr kumimoji="0" lang="es-ES" sz="1200" b="1" i="0" u="none" strike="noStrike" kern="1200" cap="none" spc="0" normalizeH="0" baseline="0" noProof="0" dirty="0" err="1">
                <a:ln>
                  <a:noFill/>
                </a:ln>
                <a:solidFill>
                  <a:srgbClr val="2F2F2F"/>
                </a:solidFill>
                <a:effectLst/>
                <a:uLnTx/>
                <a:uFillTx/>
                <a:latin typeface="Arial"/>
                <a:ea typeface="+mn-ea"/>
                <a:cs typeface="+mn-cs"/>
              </a:rPr>
              <a:t>finish</a:t>
            </a:r>
            <a:r>
              <a:rPr kumimoji="0" lang="es-ES" sz="1200" b="1" i="0" u="none" strike="noStrike" kern="1200" cap="none" spc="0" normalizeH="0" baseline="0" noProof="0" dirty="0">
                <a:ln>
                  <a:noFill/>
                </a:ln>
                <a:solidFill>
                  <a:srgbClr val="2F2F2F"/>
                </a:solidFill>
                <a:effectLst/>
                <a:uLnTx/>
                <a:uFillTx/>
                <a:latin typeface="Arial"/>
                <a:ea typeface="+mn-ea"/>
                <a:cs typeface="+mn-cs"/>
              </a:rPr>
              <a:t> </a:t>
            </a:r>
            <a:r>
              <a:rPr kumimoji="0" lang="es-ES" sz="1200" b="1" i="0" u="none" strike="noStrike" kern="1200" cap="none" spc="0" normalizeH="0" baseline="0" noProof="0" dirty="0" err="1">
                <a:ln>
                  <a:noFill/>
                </a:ln>
                <a:solidFill>
                  <a:srgbClr val="2F2F2F"/>
                </a:solidFill>
                <a:effectLst/>
                <a:uLnTx/>
                <a:uFillTx/>
                <a:latin typeface="Arial"/>
                <a:ea typeface="+mn-ea"/>
                <a:cs typeface="+mn-cs"/>
              </a:rPr>
              <a:t>there</a:t>
            </a:r>
            <a:r>
              <a:rPr kumimoji="0" lang="es-ES" sz="1200" b="1" i="0" u="none" strike="noStrike" kern="1200" cap="none" spc="0" normalizeH="0" baseline="0" noProof="0" dirty="0">
                <a:ln>
                  <a:noFill/>
                </a:ln>
                <a:solidFill>
                  <a:srgbClr val="2F2F2F"/>
                </a:solidFill>
                <a:effectLst/>
                <a:uLnTx/>
                <a:uFillTx/>
                <a:latin typeface="Arial"/>
                <a:ea typeface="+mn-ea"/>
                <a:cs typeface="+mn-cs"/>
              </a:rPr>
              <a:t> </a:t>
            </a:r>
            <a:r>
              <a:rPr kumimoji="0" lang="es-ES" sz="1200" b="1" i="0" u="none" strike="noStrike" kern="1200" cap="none" spc="0" normalizeH="0" baseline="0" noProof="0" dirty="0" err="1">
                <a:ln>
                  <a:noFill/>
                </a:ln>
                <a:solidFill>
                  <a:srgbClr val="2F2F2F"/>
                </a:solidFill>
                <a:effectLst/>
                <a:uLnTx/>
                <a:uFillTx/>
                <a:latin typeface="Arial"/>
                <a:ea typeface="+mn-ea"/>
                <a:cs typeface="+mn-cs"/>
              </a:rPr>
              <a:t>implementation</a:t>
            </a:r>
            <a:r>
              <a:rPr kumimoji="0" lang="es-ES" sz="1200" b="1" i="0" u="none" strike="noStrike" kern="1200" cap="none" spc="0" normalizeH="0" baseline="0" noProof="0" dirty="0">
                <a:ln>
                  <a:noFill/>
                </a:ln>
                <a:solidFill>
                  <a:srgbClr val="2F2F2F"/>
                </a:solidFill>
                <a:effectLst/>
                <a:uLnTx/>
                <a:uFillTx/>
                <a:latin typeface="Arial"/>
                <a:ea typeface="+mn-ea"/>
                <a:cs typeface="+mn-cs"/>
              </a:rPr>
              <a:t> </a:t>
            </a:r>
            <a:r>
              <a:rPr kumimoji="0" lang="es-ES" sz="1200" b="1" i="0" u="none" strike="noStrike" kern="1200" cap="none" spc="0" normalizeH="0" baseline="0" noProof="0" dirty="0" err="1">
                <a:ln>
                  <a:noFill/>
                </a:ln>
                <a:solidFill>
                  <a:srgbClr val="2F2F2F"/>
                </a:solidFill>
                <a:effectLst/>
                <a:uLnTx/>
                <a:uFillTx/>
                <a:latin typeface="Arial"/>
                <a:ea typeface="+mn-ea"/>
                <a:cs typeface="+mn-cs"/>
              </a:rPr>
              <a:t>on</a:t>
            </a:r>
            <a:r>
              <a:rPr kumimoji="0" lang="es-ES" sz="1200" b="1" i="0" u="none" strike="noStrike" kern="1200" cap="none" spc="0" normalizeH="0" baseline="0" noProof="0" dirty="0">
                <a:ln>
                  <a:noFill/>
                </a:ln>
                <a:solidFill>
                  <a:srgbClr val="2F2F2F"/>
                </a:solidFill>
                <a:effectLst/>
                <a:uLnTx/>
                <a:uFillTx/>
                <a:latin typeface="Arial"/>
                <a:ea typeface="+mn-ea"/>
                <a:cs typeface="+mn-cs"/>
              </a:rPr>
              <a:t> time </a:t>
            </a:r>
            <a:r>
              <a:rPr kumimoji="0" lang="es-ES" sz="1200" b="0" i="0" u="none" strike="noStrike" kern="1200" cap="none" spc="0" normalizeH="0" baseline="0" noProof="0" dirty="0">
                <a:ln>
                  <a:noFill/>
                </a:ln>
                <a:solidFill>
                  <a:srgbClr val="2F2F2F"/>
                </a:solidFill>
                <a:effectLst/>
                <a:uLnTx/>
                <a:uFillTx/>
                <a:latin typeface="Arial"/>
                <a:ea typeface="+mn-ea"/>
                <a:cs typeface="+mn-cs"/>
              </a:rPr>
              <a:t>and </a:t>
            </a:r>
            <a:r>
              <a:rPr kumimoji="0" lang="es-ES" sz="1200" b="0" i="0" u="none" strike="noStrike" kern="1200" cap="none" spc="0" normalizeH="0" baseline="0" noProof="0" dirty="0" err="1">
                <a:ln>
                  <a:noFill/>
                </a:ln>
                <a:solidFill>
                  <a:srgbClr val="2F2F2F"/>
                </a:solidFill>
                <a:effectLst/>
                <a:uLnTx/>
                <a:uFillTx/>
                <a:latin typeface="Arial"/>
                <a:ea typeface="+mn-ea"/>
                <a:cs typeface="+mn-cs"/>
              </a:rPr>
              <a:t>the</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results</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were</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therefore</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not</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available</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when</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the</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student</a:t>
            </a:r>
            <a:r>
              <a:rPr kumimoji="0" lang="es-ES" sz="1200" b="0" i="0" u="none" strike="noStrike" kern="1200" cap="none" spc="0" normalizeH="0" baseline="0" noProof="0" dirty="0">
                <a:ln>
                  <a:noFill/>
                </a:ln>
                <a:solidFill>
                  <a:srgbClr val="2F2F2F"/>
                </a:solidFill>
                <a:effectLst/>
                <a:uLnTx/>
                <a:uFillTx/>
                <a:latin typeface="Arial"/>
                <a:ea typeface="+mn-ea"/>
                <a:cs typeface="+mn-cs"/>
              </a:rPr>
              <a:t> material </a:t>
            </a:r>
            <a:r>
              <a:rPr kumimoji="0" lang="es-ES" sz="1200" b="0" i="0" u="none" strike="noStrike" kern="1200" cap="none" spc="0" normalizeH="0" baseline="0" noProof="0" dirty="0" err="1">
                <a:ln>
                  <a:noFill/>
                </a:ln>
                <a:solidFill>
                  <a:srgbClr val="2F2F2F"/>
                </a:solidFill>
                <a:effectLst/>
                <a:uLnTx/>
                <a:uFillTx/>
                <a:latin typeface="Arial"/>
                <a:ea typeface="+mn-ea"/>
                <a:cs typeface="+mn-cs"/>
              </a:rPr>
              <a:t>was</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developed</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For</a:t>
            </a:r>
            <a:r>
              <a:rPr kumimoji="0" lang="es-ES" sz="1200" b="0" i="0" u="none" strike="noStrike" kern="1200" cap="none" spc="0" normalizeH="0" baseline="0" noProof="0" dirty="0">
                <a:ln>
                  <a:noFill/>
                </a:ln>
                <a:solidFill>
                  <a:srgbClr val="2F2F2F"/>
                </a:solidFill>
                <a:effectLst/>
                <a:uLnTx/>
                <a:uFillTx/>
                <a:latin typeface="Arial"/>
                <a:ea typeface="+mn-ea"/>
                <a:cs typeface="+mn-cs"/>
              </a:rPr>
              <a:t> more </a:t>
            </a:r>
            <a:r>
              <a:rPr kumimoji="0" lang="es-ES" sz="1200" b="0" i="0" u="none" strike="noStrike" kern="1200" cap="none" spc="0" normalizeH="0" baseline="0" noProof="0" dirty="0" err="1">
                <a:ln>
                  <a:noFill/>
                </a:ln>
                <a:solidFill>
                  <a:srgbClr val="2F2F2F"/>
                </a:solidFill>
                <a:effectLst/>
                <a:uLnTx/>
                <a:uFillTx/>
                <a:latin typeface="Arial"/>
                <a:ea typeface="+mn-ea"/>
                <a:cs typeface="+mn-cs"/>
              </a:rPr>
              <a:t>information</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please</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visit</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the</a:t>
            </a:r>
            <a:r>
              <a:rPr kumimoji="0" lang="es-ES" sz="1200" b="0" i="0" u="none" strike="noStrike" kern="1200" cap="none" spc="0" normalizeH="0" baseline="0" noProof="0" dirty="0">
                <a:ln>
                  <a:noFill/>
                </a:ln>
                <a:solidFill>
                  <a:srgbClr val="2F2F2F"/>
                </a:solidFill>
                <a:effectLst/>
                <a:uLnTx/>
                <a:uFillTx/>
                <a:latin typeface="Arial"/>
                <a:ea typeface="+mn-ea"/>
                <a:cs typeface="+mn-cs"/>
              </a:rPr>
              <a:t> Projec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website</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to</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check</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the</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deliverables</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endParaRPr lang="en-GB" dirty="0"/>
          </a:p>
        </p:txBody>
      </p:sp>
      <p:sp>
        <p:nvSpPr>
          <p:cNvPr id="4" name="Marcador de número de diapositiva 3"/>
          <p:cNvSpPr>
            <a:spLocks noGrp="1"/>
          </p:cNvSpPr>
          <p:nvPr>
            <p:ph type="sldNum" sz="quarter" idx="5"/>
          </p:nvPr>
        </p:nvSpPr>
        <p:spPr/>
        <p:txBody>
          <a:bodyPr/>
          <a:lstStyle/>
          <a:p>
            <a:fld id="{F84DB91F-1AD8-437C-8866-3636784D0854}" type="slidenum">
              <a:rPr lang="en-GB" smtClean="0"/>
              <a:t>176</a:t>
            </a:fld>
            <a:endParaRPr lang="en-GB"/>
          </a:p>
        </p:txBody>
      </p:sp>
    </p:spTree>
    <p:extLst>
      <p:ext uri="{BB962C8B-B14F-4D97-AF65-F5344CB8AC3E}">
        <p14:creationId xmlns:p14="http://schemas.microsoft.com/office/powerpoint/2010/main" val="1933950956"/>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90000"/>
              </a:lnSpc>
              <a:spcBef>
                <a:spcPts val="1000"/>
              </a:spcBef>
              <a:spcAft>
                <a:spcPts val="1200"/>
              </a:spcAft>
              <a:buClrTx/>
              <a:buSzTx/>
              <a:buFontTx/>
              <a:buNone/>
              <a:tabLst/>
              <a:defRPr/>
            </a:pPr>
            <a:r>
              <a:rPr kumimoji="0" lang="es-ES" sz="1200" b="0" i="0" u="none" strike="noStrike" kern="1200" cap="none" spc="0" normalizeH="0" baseline="0" noProof="0" dirty="0">
                <a:ln>
                  <a:noFill/>
                </a:ln>
                <a:solidFill>
                  <a:srgbClr val="2F2F2F"/>
                </a:solidFill>
                <a:effectLst/>
                <a:uLnTx/>
                <a:uFillTx/>
                <a:latin typeface="Arial"/>
                <a:ea typeface="+mn-ea"/>
                <a:cs typeface="+mn-cs"/>
              </a:rPr>
              <a:t>A full-</a:t>
            </a:r>
            <a:r>
              <a:rPr kumimoji="0" lang="es-ES" sz="1200" b="0" i="0" u="none" strike="noStrike" kern="1200" cap="none" spc="0" normalizeH="0" baseline="0" noProof="0" dirty="0" err="1">
                <a:ln>
                  <a:noFill/>
                </a:ln>
                <a:solidFill>
                  <a:srgbClr val="2F2F2F"/>
                </a:solidFill>
                <a:effectLst/>
                <a:uLnTx/>
                <a:uFillTx/>
                <a:latin typeface="Arial"/>
                <a:ea typeface="+mn-ea"/>
                <a:cs typeface="+mn-cs"/>
              </a:rPr>
              <a:t>scale</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multifuel</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burner</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will</a:t>
            </a:r>
            <a:r>
              <a:rPr kumimoji="0" lang="es-ES" sz="1200" b="0" i="0" u="none" strike="noStrike" kern="1200" cap="none" spc="0" normalizeH="0" baseline="0" noProof="0" dirty="0">
                <a:ln>
                  <a:noFill/>
                </a:ln>
                <a:solidFill>
                  <a:srgbClr val="2F2F2F"/>
                </a:solidFill>
                <a:effectLst/>
                <a:uLnTx/>
                <a:uFillTx/>
                <a:latin typeface="Arial"/>
                <a:ea typeface="+mn-ea"/>
                <a:cs typeface="+mn-cs"/>
              </a:rPr>
              <a:t> be </a:t>
            </a:r>
            <a:r>
              <a:rPr kumimoji="0" lang="es-ES" sz="1200" b="0" i="0" u="none" strike="noStrike" kern="1200" cap="none" spc="0" normalizeH="0" baseline="0" noProof="0" dirty="0" err="1">
                <a:ln>
                  <a:noFill/>
                </a:ln>
                <a:solidFill>
                  <a:srgbClr val="2F2F2F"/>
                </a:solidFill>
                <a:effectLst/>
                <a:uLnTx/>
                <a:uFillTx/>
                <a:latin typeface="Arial"/>
                <a:ea typeface="+mn-ea"/>
                <a:cs typeface="+mn-cs"/>
              </a:rPr>
              <a:t>designed</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to</a:t>
            </a:r>
            <a:r>
              <a:rPr kumimoji="0" lang="es-ES" sz="1200" b="0" i="0" u="none" strike="noStrike" kern="1200" cap="none" spc="0" normalizeH="0" baseline="0" noProof="0" dirty="0">
                <a:ln>
                  <a:noFill/>
                </a:ln>
                <a:solidFill>
                  <a:srgbClr val="2F2F2F"/>
                </a:solidFill>
                <a:effectLst/>
                <a:uLnTx/>
                <a:uFillTx/>
                <a:latin typeface="Arial"/>
                <a:ea typeface="+mn-ea"/>
                <a:cs typeface="+mn-cs"/>
              </a:rPr>
              <a:t> be </a:t>
            </a:r>
            <a:r>
              <a:rPr kumimoji="0" lang="es-ES" sz="1200" b="0" i="0" u="none" strike="noStrike" kern="1200" cap="none" spc="0" normalizeH="0" baseline="0" noProof="0" dirty="0" err="1">
                <a:ln>
                  <a:noFill/>
                </a:ln>
                <a:solidFill>
                  <a:srgbClr val="2F2F2F"/>
                </a:solidFill>
                <a:effectLst/>
                <a:uLnTx/>
                <a:uFillTx/>
                <a:latin typeface="Arial"/>
                <a:ea typeface="+mn-ea"/>
                <a:cs typeface="+mn-cs"/>
              </a:rPr>
              <a:t>used</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with</a:t>
            </a:r>
            <a:r>
              <a:rPr kumimoji="0" lang="es-ES" sz="1200" b="0" i="0" u="none" strike="noStrike" kern="1200" cap="none" spc="0" normalizeH="0" baseline="0" noProof="0" dirty="0">
                <a:ln>
                  <a:noFill/>
                </a:ln>
                <a:solidFill>
                  <a:srgbClr val="2F2F2F"/>
                </a:solidFill>
                <a:effectLst/>
                <a:uLnTx/>
                <a:uFillTx/>
                <a:latin typeface="Arial"/>
                <a:ea typeface="+mn-ea"/>
                <a:cs typeface="+mn-cs"/>
              </a:rPr>
              <a:t> alternative </a:t>
            </a:r>
            <a:r>
              <a:rPr kumimoji="0" lang="es-ES" sz="1200" b="0" i="0" u="none" strike="noStrike" kern="1200" cap="none" spc="0" normalizeH="0" baseline="0" noProof="0" dirty="0" err="1">
                <a:ln>
                  <a:noFill/>
                </a:ln>
                <a:solidFill>
                  <a:srgbClr val="2F2F2F"/>
                </a:solidFill>
                <a:effectLst/>
                <a:uLnTx/>
                <a:uFillTx/>
                <a:latin typeface="Arial"/>
                <a:ea typeface="+mn-ea"/>
                <a:cs typeface="+mn-cs"/>
              </a:rPr>
              <a:t>fuels</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p>
          <a:p>
            <a:pPr marL="0" marR="0" lvl="0" indent="0" algn="just" defTabSz="914400" rtl="0" eaLnBrk="1" fontAlgn="auto" latinLnBrk="0" hangingPunct="1">
              <a:lnSpc>
                <a:spcPct val="90000"/>
              </a:lnSpc>
              <a:spcBef>
                <a:spcPts val="1000"/>
              </a:spcBef>
              <a:spcAft>
                <a:spcPts val="1200"/>
              </a:spcAft>
              <a:buClrTx/>
              <a:buSzTx/>
              <a:buFontTx/>
              <a:buNone/>
              <a:tabLst/>
              <a:defRPr/>
            </a:pPr>
            <a:r>
              <a:rPr kumimoji="0" lang="en-US" sz="1200" b="0" i="0" u="none" strike="noStrike" kern="1200" cap="none" spc="0" normalizeH="0" baseline="0" noProof="0" dirty="0">
                <a:ln>
                  <a:noFill/>
                </a:ln>
                <a:solidFill>
                  <a:srgbClr val="2F2F2F"/>
                </a:solidFill>
                <a:effectLst/>
                <a:uLnTx/>
                <a:uFillTx/>
                <a:latin typeface="Montserrat" panose="00000500000000000000" pitchFamily="2" charset="0"/>
                <a:ea typeface="+mn-ea"/>
                <a:cs typeface="+mn-cs"/>
              </a:rPr>
              <a:t>Based on CFD models and trials on a prototype burner, </a:t>
            </a:r>
            <a:r>
              <a:rPr kumimoji="0" lang="en-US" sz="1200" b="0" i="0" u="none" strike="noStrike" kern="1200" cap="none" spc="0" normalizeH="0" baseline="0" noProof="0" dirty="0" err="1">
                <a:ln>
                  <a:noFill/>
                </a:ln>
                <a:solidFill>
                  <a:srgbClr val="2F2F2F"/>
                </a:solidFill>
                <a:effectLst/>
                <a:uLnTx/>
                <a:uFillTx/>
                <a:latin typeface="Montserrat" panose="00000500000000000000" pitchFamily="2" charset="0"/>
                <a:ea typeface="+mn-ea"/>
                <a:cs typeface="+mn-cs"/>
              </a:rPr>
              <a:t>Secil</a:t>
            </a:r>
            <a:r>
              <a:rPr kumimoji="0" lang="en-US" sz="1200" b="0" i="0" u="none" strike="noStrike" kern="1200" cap="none" spc="0" normalizeH="0" baseline="0" noProof="0" dirty="0">
                <a:ln>
                  <a:noFill/>
                </a:ln>
                <a:solidFill>
                  <a:srgbClr val="2F2F2F"/>
                </a:solidFill>
                <a:effectLst/>
                <a:uLnTx/>
                <a:uFillTx/>
                <a:latin typeface="Montserrat" panose="00000500000000000000" pitchFamily="2" charset="0"/>
                <a:ea typeface="+mn-ea"/>
                <a:cs typeface="+mn-cs"/>
              </a:rPr>
              <a:t> defined the </a:t>
            </a:r>
            <a:r>
              <a:rPr kumimoji="0" lang="en-US" sz="1200" b="1" i="0" u="none" strike="noStrike" kern="1200" cap="none" spc="0" normalizeH="0" baseline="0" noProof="0" dirty="0">
                <a:ln>
                  <a:noFill/>
                </a:ln>
                <a:solidFill>
                  <a:srgbClr val="2F2F2F"/>
                </a:solidFill>
                <a:effectLst/>
                <a:uLnTx/>
                <a:uFillTx/>
                <a:latin typeface="Montserrat" panose="00000500000000000000" pitchFamily="2" charset="0"/>
                <a:ea typeface="+mn-ea"/>
                <a:cs typeface="+mn-cs"/>
              </a:rPr>
              <a:t>new design of the main burner</a:t>
            </a:r>
            <a:r>
              <a:rPr kumimoji="0" lang="en-US" sz="1200" b="0" i="0" u="none" strike="noStrike" kern="1200" cap="none" spc="0" normalizeH="0" baseline="0" noProof="0" dirty="0">
                <a:ln>
                  <a:noFill/>
                </a:ln>
                <a:solidFill>
                  <a:srgbClr val="2F2F2F"/>
                </a:solidFill>
                <a:effectLst/>
                <a:uLnTx/>
                <a:uFillTx/>
                <a:latin typeface="Montserrat" panose="00000500000000000000" pitchFamily="2" charset="0"/>
                <a:ea typeface="+mn-ea"/>
                <a:cs typeface="+mn-cs"/>
              </a:rPr>
              <a:t>.</a:t>
            </a:r>
          </a:p>
          <a:p>
            <a:pPr marL="428625" marR="0" lvl="0" indent="-428625" algn="just" defTabSz="914400" rtl="0" eaLnBrk="1" fontAlgn="auto" latinLnBrk="0" hangingPunct="1">
              <a:lnSpc>
                <a:spcPct val="90000"/>
              </a:lnSpc>
              <a:spcBef>
                <a:spcPts val="100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F2F2F"/>
                </a:solidFill>
                <a:effectLst/>
                <a:uLnTx/>
                <a:uFillTx/>
                <a:latin typeface="Montserrat" panose="00000500000000000000" pitchFamily="2" charset="0"/>
                <a:ea typeface="+mn-ea"/>
                <a:cs typeface="+mn-cs"/>
              </a:rPr>
              <a:t>Figure a). Use </a:t>
            </a:r>
            <a:r>
              <a:rPr kumimoji="0" lang="en-GB" sz="1200" b="0" i="0" u="none" strike="noStrike" kern="1200" cap="none" spc="0" normalizeH="0" baseline="0" noProof="0" dirty="0">
                <a:ln>
                  <a:noFill/>
                </a:ln>
                <a:solidFill>
                  <a:srgbClr val="2F2F2F"/>
                </a:solidFill>
                <a:effectLst/>
                <a:uLnTx/>
                <a:uFillTx/>
                <a:latin typeface="Montserrat" panose="00000500000000000000" pitchFamily="2" charset="0"/>
                <a:ea typeface="+mn-ea"/>
                <a:cs typeface="+mn-cs"/>
              </a:rPr>
              <a:t>two different RDF streams </a:t>
            </a:r>
            <a:r>
              <a:rPr kumimoji="0" lang="en-US" sz="1200" b="0" i="0" u="none" strike="noStrike" kern="1200" cap="none" spc="0" normalizeH="0" baseline="0" noProof="0" dirty="0">
                <a:ln>
                  <a:noFill/>
                </a:ln>
                <a:solidFill>
                  <a:srgbClr val="2F2F2F"/>
                </a:solidFill>
                <a:effectLst/>
                <a:uLnTx/>
                <a:uFillTx/>
                <a:latin typeface="Montserrat" panose="00000500000000000000" pitchFamily="2" charset="0"/>
                <a:ea typeface="+mn-ea"/>
                <a:cs typeface="+mn-cs"/>
              </a:rPr>
              <a:t>in the main burner</a:t>
            </a:r>
          </a:p>
          <a:p>
            <a:pPr marL="428625" marR="0" lvl="0" indent="-428625" algn="just" defTabSz="914400" rtl="0" eaLnBrk="1" fontAlgn="auto" latinLnBrk="0" hangingPunct="1">
              <a:lnSpc>
                <a:spcPct val="90000"/>
              </a:lnSpc>
              <a:spcBef>
                <a:spcPts val="100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F2F2F"/>
                </a:solidFill>
                <a:effectLst/>
                <a:uLnTx/>
                <a:uFillTx/>
                <a:latin typeface="Montserrat" panose="00000500000000000000" pitchFamily="2" charset="0"/>
                <a:ea typeface="+mn-ea"/>
                <a:cs typeface="+mn-cs"/>
              </a:rPr>
              <a:t>Figure b): Use a high calorific fuel to increase RDF rate.</a:t>
            </a:r>
          </a:p>
          <a:p>
            <a:endParaRPr lang="sv-S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4DB91F-1AD8-437C-8866-3636784D085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8172501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err="1"/>
              <a:t>Indicators</a:t>
            </a:r>
            <a:r>
              <a:rPr lang="sv-SE"/>
              <a:t>: https://sdg-tracker.org/infrastructure-industrialization</a:t>
            </a:r>
          </a:p>
          <a:p>
            <a:endParaRPr lang="sv-S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4DB91F-1AD8-437C-8866-3636784D085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82270607"/>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0" i="0" u="none" strike="noStrike" kern="1200" cap="none" spc="0" normalizeH="0" baseline="0" noProof="0" dirty="0">
                <a:ln>
                  <a:noFill/>
                </a:ln>
                <a:solidFill>
                  <a:srgbClr val="2F2F2F"/>
                </a:solidFill>
                <a:effectLst/>
                <a:uLnTx/>
                <a:uFillTx/>
                <a:latin typeface="Arial"/>
                <a:ea typeface="+mn-ea"/>
                <a:cs typeface="+mn-cs"/>
              </a:rPr>
              <a:t>New innovative </a:t>
            </a:r>
            <a:r>
              <a:rPr kumimoji="0" lang="es-ES" sz="1200" b="0" i="0" u="none" strike="noStrike" kern="1200" cap="none" spc="0" normalizeH="0" baseline="0" noProof="0" dirty="0" err="1">
                <a:ln>
                  <a:noFill/>
                </a:ln>
                <a:solidFill>
                  <a:srgbClr val="2F2F2F"/>
                </a:solidFill>
                <a:effectLst/>
                <a:uLnTx/>
                <a:uFillTx/>
                <a:latin typeface="Arial"/>
                <a:ea typeface="+mn-ea"/>
                <a:cs typeface="+mn-cs"/>
              </a:rPr>
              <a:t>sensors</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will</a:t>
            </a:r>
            <a:r>
              <a:rPr kumimoji="0" lang="es-ES" sz="1200" b="0" i="0" u="none" strike="noStrike" kern="1200" cap="none" spc="0" normalizeH="0" baseline="0" noProof="0" dirty="0">
                <a:ln>
                  <a:noFill/>
                </a:ln>
                <a:solidFill>
                  <a:srgbClr val="2F2F2F"/>
                </a:solidFill>
                <a:effectLst/>
                <a:uLnTx/>
                <a:uFillTx/>
                <a:latin typeface="Arial"/>
                <a:ea typeface="+mn-ea"/>
                <a:cs typeface="+mn-cs"/>
              </a:rPr>
              <a:t> be </a:t>
            </a:r>
            <a:r>
              <a:rPr kumimoji="0" lang="es-ES" sz="1200" b="0" i="0" u="none" strike="noStrike" kern="1200" cap="none" spc="0" normalizeH="0" baseline="0" noProof="0" dirty="0" err="1">
                <a:ln>
                  <a:noFill/>
                </a:ln>
                <a:solidFill>
                  <a:srgbClr val="2F2F2F"/>
                </a:solidFill>
                <a:effectLst/>
                <a:uLnTx/>
                <a:uFillTx/>
                <a:latin typeface="Arial"/>
                <a:ea typeface="+mn-ea"/>
                <a:cs typeface="+mn-cs"/>
              </a:rPr>
              <a:t>developed</a:t>
            </a:r>
            <a:r>
              <a:rPr kumimoji="0" lang="es-ES" sz="1200" b="0" i="0" u="none" strike="noStrike" kern="1200" cap="none" spc="0" normalizeH="0" baseline="0" noProof="0" dirty="0">
                <a:ln>
                  <a:noFill/>
                </a:ln>
                <a:solidFill>
                  <a:srgbClr val="2F2F2F"/>
                </a:solidFill>
                <a:effectLst/>
                <a:uLnTx/>
                <a:uFillTx/>
                <a:latin typeface="Arial"/>
                <a:ea typeface="+mn-ea"/>
                <a:cs typeface="+mn-cs"/>
              </a:rPr>
              <a:t> and </a:t>
            </a:r>
            <a:r>
              <a:rPr kumimoji="0" lang="es-ES" sz="1200" b="0" i="0" u="none" strike="noStrike" kern="1200" cap="none" spc="0" normalizeH="0" baseline="0" noProof="0" dirty="0" err="1">
                <a:ln>
                  <a:noFill/>
                </a:ln>
                <a:solidFill>
                  <a:srgbClr val="2F2F2F"/>
                </a:solidFill>
                <a:effectLst/>
                <a:uLnTx/>
                <a:uFillTx/>
                <a:latin typeface="Arial"/>
                <a:ea typeface="+mn-ea"/>
                <a:cs typeface="+mn-cs"/>
              </a:rPr>
              <a:t>installed</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to</a:t>
            </a:r>
            <a:r>
              <a:rPr kumimoji="0" lang="es-ES" sz="1200" b="0" i="0" u="none" strike="noStrike" kern="1200" cap="none" spc="0" normalizeH="0" baseline="0" noProof="0" dirty="0">
                <a:ln>
                  <a:noFill/>
                </a:ln>
                <a:solidFill>
                  <a:srgbClr val="2F2F2F"/>
                </a:solidFill>
                <a:effectLst/>
                <a:uLnTx/>
                <a:uFillTx/>
                <a:latin typeface="Arial"/>
                <a:ea typeface="+mn-ea"/>
                <a:cs typeface="+mn-cs"/>
              </a:rPr>
              <a:t> monitor </a:t>
            </a:r>
            <a:r>
              <a:rPr kumimoji="0" lang="es-ES" sz="1200" b="0" i="0" u="none" strike="noStrike" kern="1200" cap="none" spc="0" normalizeH="0" baseline="0" noProof="0" dirty="0" err="1">
                <a:ln>
                  <a:noFill/>
                </a:ln>
                <a:solidFill>
                  <a:srgbClr val="2F2F2F"/>
                </a:solidFill>
                <a:effectLst/>
                <a:uLnTx/>
                <a:uFillTx/>
                <a:latin typeface="Arial"/>
                <a:ea typeface="+mn-ea"/>
                <a:cs typeface="+mn-cs"/>
              </a:rPr>
              <a:t>the</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combustion</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process</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based</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on</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flame</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images</a:t>
            </a:r>
            <a:r>
              <a:rPr kumimoji="0" lang="es-ES" sz="1200" b="0" i="0" u="none" strike="noStrike" kern="1200" cap="none" spc="0" normalizeH="0" baseline="0" noProof="0" dirty="0">
                <a:ln>
                  <a:noFill/>
                </a:ln>
                <a:solidFill>
                  <a:srgbClr val="2F2F2F"/>
                </a:solidFill>
                <a:effectLst/>
                <a:uLnTx/>
                <a:uFillTx/>
                <a:latin typeface="Arial"/>
                <a:ea typeface="+mn-ea"/>
                <a:cs typeface="+mn-cs"/>
              </a:rPr>
              <a:t> and </a:t>
            </a:r>
            <a:r>
              <a:rPr kumimoji="0" lang="es-ES" sz="1200" b="0" i="0" u="none" strike="noStrike" kern="1200" cap="none" spc="0" normalizeH="0" baseline="0" noProof="0" dirty="0" err="1">
                <a:ln>
                  <a:noFill/>
                </a:ln>
                <a:solidFill>
                  <a:srgbClr val="2F2F2F"/>
                </a:solidFill>
                <a:effectLst/>
                <a:uLnTx/>
                <a:uFillTx/>
                <a:latin typeface="Arial"/>
                <a:ea typeface="+mn-ea"/>
                <a:cs typeface="+mn-cs"/>
              </a:rPr>
              <a:t>characteristics</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of</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the</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clinker</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composition</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by</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means</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optical</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techniques</a:t>
            </a:r>
            <a:r>
              <a:rPr kumimoji="0" lang="es-ES" sz="1200" b="0" i="0" u="none" strike="noStrike" kern="1200" cap="none" spc="0" normalizeH="0" baseline="0" noProof="0" dirty="0">
                <a:ln>
                  <a:noFill/>
                </a:ln>
                <a:solidFill>
                  <a:srgbClr val="2F2F2F"/>
                </a:solidFill>
                <a:effectLst/>
                <a:uLnTx/>
                <a:uFillTx/>
                <a:latin typeface="Arial"/>
                <a:ea typeface="+mn-ea"/>
                <a:cs typeface="+mn-cs"/>
              </a:rPr>
              <a:t>. In </a:t>
            </a:r>
            <a:r>
              <a:rPr kumimoji="0" lang="es-ES" sz="1200" b="0" i="0" u="none" strike="noStrike" kern="1200" cap="none" spc="0" normalizeH="0" baseline="0" noProof="0" dirty="0" err="1">
                <a:ln>
                  <a:noFill/>
                </a:ln>
                <a:solidFill>
                  <a:srgbClr val="2F2F2F"/>
                </a:solidFill>
                <a:effectLst/>
                <a:uLnTx/>
                <a:uFillTx/>
                <a:latin typeface="Arial"/>
                <a:ea typeface="+mn-ea"/>
                <a:cs typeface="+mn-cs"/>
              </a:rPr>
              <a:t>addition</a:t>
            </a:r>
            <a:r>
              <a:rPr kumimoji="0" lang="es-ES" sz="1200" b="0" i="0" u="none" strike="noStrike" kern="1200" cap="none" spc="0" normalizeH="0" baseline="0" noProof="0" dirty="0">
                <a:ln>
                  <a:noFill/>
                </a:ln>
                <a:solidFill>
                  <a:srgbClr val="2F2F2F"/>
                </a:solidFill>
                <a:effectLst/>
                <a:uLnTx/>
                <a:uFillTx/>
                <a:latin typeface="Arial"/>
                <a:ea typeface="+mn-ea"/>
                <a:cs typeface="+mn-cs"/>
              </a:rPr>
              <a:t>, alternative fuel </a:t>
            </a:r>
            <a:r>
              <a:rPr kumimoji="0" lang="es-ES" sz="1200" b="0" i="0" u="none" strike="noStrike" kern="1200" cap="none" spc="0" normalizeH="0" baseline="0" noProof="0" dirty="0" err="1">
                <a:ln>
                  <a:noFill/>
                </a:ln>
                <a:solidFill>
                  <a:srgbClr val="2F2F2F"/>
                </a:solidFill>
                <a:effectLst/>
                <a:uLnTx/>
                <a:uFillTx/>
                <a:latin typeface="Arial"/>
                <a:ea typeface="+mn-ea"/>
                <a:cs typeface="+mn-cs"/>
              </a:rPr>
              <a:t>will</a:t>
            </a:r>
            <a:r>
              <a:rPr kumimoji="0" lang="es-ES" sz="1200" b="0" i="0" u="none" strike="noStrike" kern="1200" cap="none" spc="0" normalizeH="0" baseline="0" noProof="0" dirty="0">
                <a:ln>
                  <a:noFill/>
                </a:ln>
                <a:solidFill>
                  <a:srgbClr val="2F2F2F"/>
                </a:solidFill>
                <a:effectLst/>
                <a:uLnTx/>
                <a:uFillTx/>
                <a:latin typeface="Arial"/>
                <a:ea typeface="+mn-ea"/>
                <a:cs typeface="+mn-cs"/>
              </a:rPr>
              <a:t> be </a:t>
            </a:r>
            <a:r>
              <a:rPr kumimoji="0" lang="es-ES" sz="1200" b="0" i="0" u="none" strike="noStrike" kern="1200" cap="none" spc="0" normalizeH="0" baseline="0" noProof="0" dirty="0" err="1">
                <a:ln>
                  <a:noFill/>
                </a:ln>
                <a:solidFill>
                  <a:srgbClr val="2F2F2F"/>
                </a:solidFill>
                <a:effectLst/>
                <a:uLnTx/>
                <a:uFillTx/>
                <a:latin typeface="Arial"/>
                <a:ea typeface="+mn-ea"/>
                <a:cs typeface="+mn-cs"/>
              </a:rPr>
              <a:t>also</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characterize</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to</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support</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the</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kiln</a:t>
            </a:r>
            <a:r>
              <a:rPr kumimoji="0" lang="es-ES" sz="1200" b="0" i="0" u="none" strike="noStrike" kern="1200" cap="none" spc="0" normalizeH="0" baseline="0" noProof="0" dirty="0">
                <a:ln>
                  <a:noFill/>
                </a:ln>
                <a:solidFill>
                  <a:srgbClr val="2F2F2F"/>
                </a:solidFill>
                <a:effectLst/>
                <a:uLnTx/>
                <a:uFillTx/>
                <a:latin typeface="Arial"/>
                <a:ea typeface="+mn-ea"/>
                <a:cs typeface="+mn-cs"/>
              </a:rPr>
              <a:t> performance. </a:t>
            </a:r>
            <a:endParaRPr lang="sv-S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4DB91F-1AD8-437C-8866-3636784D085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17781677"/>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4DB91F-1AD8-437C-8866-3636784D085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7540639"/>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4DB91F-1AD8-437C-8866-3636784D085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30254188"/>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4DB91F-1AD8-437C-8866-3636784D085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12220006"/>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4DB91F-1AD8-437C-8866-3636784D085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26652613"/>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4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srgbClr val="2F2F2F"/>
                </a:solidFill>
                <a:effectLst/>
                <a:uLnTx/>
                <a:uFillTx/>
                <a:latin typeface="Arial"/>
                <a:ea typeface="+mn-ea"/>
                <a:cs typeface="+mn-cs"/>
              </a:rPr>
              <a:t>Fertiberia</a:t>
            </a:r>
            <a:r>
              <a:rPr kumimoji="0" lang="en-US" sz="1200" b="0" i="0" u="none" strike="noStrike" kern="1200" cap="none" spc="0" normalizeH="0" baseline="0" noProof="0" dirty="0">
                <a:ln>
                  <a:noFill/>
                </a:ln>
                <a:solidFill>
                  <a:srgbClr val="2F2F2F"/>
                </a:solidFill>
                <a:effectLst/>
                <a:uLnTx/>
                <a:uFillTx/>
                <a:latin typeface="Arial"/>
                <a:ea typeface="+mn-ea"/>
                <a:cs typeface="+mn-cs"/>
              </a:rPr>
              <a:t>, is a Spanish fertilizer producer and one of the leading international providers of fertilizers and related industrial products. In this case, the retrofitting activities are centered in the phosphorous reactor. The idea is to replace the imported phosphorous designing a new reactor with sulfuric acid to  be able to incorporate P2O5 from bio sources. This modification will lead to a substitution of at least 10% of the currently used of phosphorous sources and most of the ammonium sulfate, integrating raw material from waste and reducing cost. New sensors to monitor and control the new system will improve the M&amp;C system.</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4DB91F-1AD8-437C-8866-3636784D085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75331788"/>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F2F2F"/>
                </a:solidFill>
                <a:effectLst/>
                <a:uLnTx/>
                <a:uFillTx/>
                <a:latin typeface="Arial"/>
                <a:ea typeface="+mn-ea"/>
                <a:cs typeface="+mn-cs"/>
              </a:rPr>
              <a:t>A pilot plant was set up to make tests that were needed for the design of the real reactor. </a:t>
            </a:r>
            <a:r>
              <a:rPr kumimoji="0" lang="es-ES" sz="1200" b="0" i="0" u="none" strike="noStrike" kern="1200" cap="none" spc="0" normalizeH="0" baseline="0" noProof="0" dirty="0" err="1">
                <a:ln>
                  <a:noFill/>
                </a:ln>
                <a:solidFill>
                  <a:srgbClr val="2F2F2F"/>
                </a:solidFill>
                <a:effectLst/>
                <a:uLnTx/>
                <a:uFillTx/>
                <a:latin typeface="Arial"/>
                <a:ea typeface="+mn-ea"/>
                <a:cs typeface="+mn-cs"/>
              </a:rPr>
              <a:t>The</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pilot</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plant</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suffered</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initially</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from</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corrosion</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problem</a:t>
            </a:r>
            <a:r>
              <a:rPr kumimoji="0" lang="es-ES" sz="1200" b="0" i="0" u="none" strike="noStrike" kern="1200" cap="none" spc="0" normalizeH="0" baseline="0" noProof="0" dirty="0">
                <a:ln>
                  <a:noFill/>
                </a:ln>
                <a:solidFill>
                  <a:srgbClr val="2F2F2F"/>
                </a:solidFill>
                <a:effectLst/>
                <a:uLnTx/>
                <a:uFillTx/>
                <a:latin typeface="Arial"/>
                <a:ea typeface="+mn-ea"/>
                <a:cs typeface="+mn-cs"/>
              </a:rPr>
              <a:t> and </a:t>
            </a:r>
            <a:r>
              <a:rPr kumimoji="0" lang="es-ES" sz="1200" b="0" i="0" u="none" strike="noStrike" kern="1200" cap="none" spc="0" normalizeH="0" baseline="0" noProof="0" dirty="0" err="1">
                <a:ln>
                  <a:noFill/>
                </a:ln>
                <a:solidFill>
                  <a:srgbClr val="2F2F2F"/>
                </a:solidFill>
                <a:effectLst/>
                <a:uLnTx/>
                <a:uFillTx/>
                <a:latin typeface="Arial"/>
                <a:ea typeface="+mn-ea"/>
                <a:cs typeface="+mn-cs"/>
              </a:rPr>
              <a:t>other</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issues</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related</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to</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valves</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instrumentation</a:t>
            </a:r>
            <a:r>
              <a:rPr kumimoji="0" lang="es-ES" sz="1200" b="0" i="0" u="none" strike="noStrike" kern="1200" cap="none" spc="0" normalizeH="0" baseline="0" noProof="0" dirty="0">
                <a:ln>
                  <a:noFill/>
                </a:ln>
                <a:solidFill>
                  <a:srgbClr val="2F2F2F"/>
                </a:solidFill>
                <a:effectLst/>
                <a:uLnTx/>
                <a:uFillTx/>
                <a:latin typeface="Arial"/>
                <a:ea typeface="+mn-ea"/>
                <a:cs typeface="+mn-cs"/>
              </a:rPr>
              <a:t> and </a:t>
            </a:r>
            <a:r>
              <a:rPr kumimoji="0" lang="es-ES" sz="1200" b="0" i="0" u="none" strike="noStrike" kern="1200" cap="none" spc="0" normalizeH="0" baseline="0" noProof="0" dirty="0" err="1">
                <a:ln>
                  <a:noFill/>
                </a:ln>
                <a:solidFill>
                  <a:srgbClr val="2F2F2F"/>
                </a:solidFill>
                <a:effectLst/>
                <a:uLnTx/>
                <a:uFillTx/>
                <a:latin typeface="Arial"/>
                <a:ea typeface="+mn-ea"/>
                <a:cs typeface="+mn-cs"/>
              </a:rPr>
              <a:t>pumps</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These</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problems</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were</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later</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on</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solved</a:t>
            </a:r>
            <a:r>
              <a:rPr kumimoji="0" lang="es-ES" sz="1200" b="0" i="0" u="none" strike="noStrike" kern="1200" cap="none" spc="0" normalizeH="0" baseline="0" noProof="0" dirty="0">
                <a:ln>
                  <a:noFill/>
                </a:ln>
                <a:solidFill>
                  <a:srgbClr val="2F2F2F"/>
                </a:solidFill>
                <a:effectLst/>
                <a:uLnTx/>
                <a:uFillTx/>
                <a:latin typeface="Arial"/>
                <a:ea typeface="+mn-ea"/>
                <a:cs typeface="+mn-cs"/>
              </a:rPr>
              <a:t> and </a:t>
            </a:r>
            <a:r>
              <a:rPr kumimoji="0" lang="es-ES" sz="1200" b="0" i="0" u="none" strike="noStrike" kern="1200" cap="none" spc="0" normalizeH="0" baseline="0" noProof="0" dirty="0" err="1">
                <a:ln>
                  <a:noFill/>
                </a:ln>
                <a:solidFill>
                  <a:srgbClr val="2F2F2F"/>
                </a:solidFill>
                <a:effectLst/>
                <a:uLnTx/>
                <a:uFillTx/>
                <a:latin typeface="Arial"/>
                <a:ea typeface="+mn-ea"/>
                <a:cs typeface="+mn-cs"/>
              </a:rPr>
              <a:t>the</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pilot</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plant</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could</a:t>
            </a:r>
            <a:r>
              <a:rPr kumimoji="0" lang="es-ES" sz="1200" b="0" i="0" u="none" strike="noStrike" kern="1200" cap="none" spc="0" normalizeH="0" baseline="0" noProof="0" dirty="0">
                <a:ln>
                  <a:noFill/>
                </a:ln>
                <a:solidFill>
                  <a:srgbClr val="2F2F2F"/>
                </a:solidFill>
                <a:effectLst/>
                <a:uLnTx/>
                <a:uFillTx/>
                <a:latin typeface="Arial"/>
                <a:ea typeface="+mn-ea"/>
                <a:cs typeface="+mn-cs"/>
              </a:rPr>
              <a:t> be run and </a:t>
            </a:r>
            <a:r>
              <a:rPr kumimoji="0" lang="es-ES" sz="1200" b="0" i="0" u="none" strike="noStrike" kern="1200" cap="none" spc="0" normalizeH="0" baseline="0" noProof="0" dirty="0" err="1">
                <a:ln>
                  <a:noFill/>
                </a:ln>
                <a:solidFill>
                  <a:srgbClr val="2F2F2F"/>
                </a:solidFill>
                <a:effectLst/>
                <a:uLnTx/>
                <a:uFillTx/>
                <a:latin typeface="Arial"/>
                <a:ea typeface="+mn-ea"/>
                <a:cs typeface="+mn-cs"/>
              </a:rPr>
              <a:t>get</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results</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valid</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for</a:t>
            </a:r>
            <a:r>
              <a:rPr kumimoji="0" lang="es-ES" sz="1200" b="0" i="0" u="none" strike="noStrike" kern="1200" cap="none" spc="0" normalizeH="0" baseline="0" noProof="0" dirty="0">
                <a:ln>
                  <a:noFill/>
                </a:ln>
                <a:solidFill>
                  <a:srgbClr val="2F2F2F"/>
                </a:solidFill>
                <a:effectLst/>
                <a:uLnTx/>
                <a:uFillTx/>
                <a:latin typeface="Arial"/>
                <a:ea typeface="+mn-ea"/>
                <a:cs typeface="+mn-cs"/>
              </a:rPr>
              <a:t> </a:t>
            </a:r>
            <a:r>
              <a:rPr kumimoji="0" lang="es-ES" sz="1200" b="0" i="0" u="none" strike="noStrike" kern="1200" cap="none" spc="0" normalizeH="0" baseline="0" noProof="0" dirty="0" err="1">
                <a:ln>
                  <a:noFill/>
                </a:ln>
                <a:solidFill>
                  <a:srgbClr val="2F2F2F"/>
                </a:solidFill>
                <a:effectLst/>
                <a:uLnTx/>
                <a:uFillTx/>
                <a:latin typeface="Arial"/>
                <a:ea typeface="+mn-ea"/>
                <a:cs typeface="+mn-cs"/>
              </a:rPr>
              <a:t>the</a:t>
            </a:r>
            <a:r>
              <a:rPr kumimoji="0" lang="es-ES" sz="1200" b="0" i="0" u="none" strike="noStrike" kern="1200" cap="none" spc="0" normalizeH="0" baseline="0" noProof="0" dirty="0">
                <a:ln>
                  <a:noFill/>
                </a:ln>
                <a:solidFill>
                  <a:srgbClr val="2F2F2F"/>
                </a:solidFill>
                <a:effectLst/>
                <a:uLnTx/>
                <a:uFillTx/>
                <a:latin typeface="Arial"/>
                <a:ea typeface="+mn-ea"/>
                <a:cs typeface="+mn-cs"/>
              </a:rPr>
              <a:t> real </a:t>
            </a:r>
            <a:r>
              <a:rPr kumimoji="0" lang="es-ES" sz="1200" b="0" i="0" u="none" strike="noStrike" kern="1200" cap="none" spc="0" normalizeH="0" baseline="0" noProof="0" dirty="0" err="1">
                <a:ln>
                  <a:noFill/>
                </a:ln>
                <a:solidFill>
                  <a:srgbClr val="2F2F2F"/>
                </a:solidFill>
                <a:effectLst/>
                <a:uLnTx/>
                <a:uFillTx/>
                <a:latin typeface="Arial"/>
                <a:ea typeface="+mn-ea"/>
                <a:cs typeface="+mn-cs"/>
              </a:rPr>
              <a:t>demonstation</a:t>
            </a:r>
            <a:r>
              <a:rPr kumimoji="0" lang="es-ES" sz="1200" b="0" i="0" u="none" strike="noStrike" kern="1200" cap="none" spc="0" normalizeH="0" baseline="0" noProof="0" dirty="0">
                <a:ln>
                  <a:noFill/>
                </a:ln>
                <a:solidFill>
                  <a:srgbClr val="2F2F2F"/>
                </a:solidFill>
                <a:effectLst/>
                <a:uLnTx/>
                <a:uFillTx/>
                <a:latin typeface="Arial"/>
                <a:ea typeface="+mn-ea"/>
                <a:cs typeface="+mn-cs"/>
              </a:rPr>
              <a:t> reacto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F2F2F"/>
                </a:solidFill>
                <a:effectLst/>
                <a:uLnTx/>
                <a:uFillTx/>
                <a:latin typeface="Arial"/>
                <a:ea typeface="+mn-ea"/>
                <a:cs typeface="+mn-cs"/>
              </a:rPr>
              <a:t>The pilot plant, showed that the design is very good for the new process, and it runs very well according to expectations. So, it complies with the goals of:</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2F2F2F"/>
              </a:solidFill>
              <a:effectLst/>
              <a:uLnTx/>
              <a:uFillTx/>
              <a:latin typeface="Arial"/>
              <a:ea typeface="+mn-ea"/>
              <a:cs typeface="+mn-cs"/>
            </a:endParaRPr>
          </a:p>
          <a:p>
            <a:pPr marL="342900" marR="0" lvl="0" indent="-342900" algn="l" defTabSz="914400" rtl="0" eaLnBrk="1" fontAlgn="auto" latinLnBrk="0" hangingPunct="1">
              <a:lnSpc>
                <a:spcPct val="100000"/>
              </a:lnSpc>
              <a:spcBef>
                <a:spcPts val="0"/>
              </a:spcBef>
              <a:spcAft>
                <a:spcPts val="0"/>
              </a:spcAft>
              <a:buClr>
                <a:srgbClr val="99CC99"/>
              </a:buClr>
              <a:buSzTx/>
              <a:buFont typeface="Wingdings" panose="05000000000000000000" pitchFamily="2" charset="2"/>
              <a:buChar char="ü"/>
              <a:tabLst/>
              <a:defRPr/>
            </a:pPr>
            <a:r>
              <a:rPr kumimoji="0" lang="en-US" sz="1200" b="0" i="0" u="none" strike="noStrike" kern="1200" cap="none" spc="0" normalizeH="0" baseline="0" noProof="0" dirty="0">
                <a:ln>
                  <a:noFill/>
                </a:ln>
                <a:solidFill>
                  <a:srgbClr val="2F2F2F"/>
                </a:solidFill>
                <a:effectLst/>
                <a:uLnTx/>
                <a:uFillTx/>
                <a:latin typeface="Arial"/>
                <a:ea typeface="+mn-ea"/>
                <a:cs typeface="+mn-cs"/>
              </a:rPr>
              <a:t>energy saving (5 GWh/year of reduced energy consumption ~ 22 %)</a:t>
            </a:r>
          </a:p>
          <a:p>
            <a:pPr marL="729912" lvl="1" indent="-272712" defTabSz="1243767">
              <a:buFont typeface="Arial" panose="020B0604020202020204" pitchFamily="34" charset="0"/>
              <a:buChar char="•"/>
              <a:defRPr/>
            </a:pPr>
            <a:r>
              <a:rPr lang="en-US" altLang="fr-FR" sz="1908" dirty="0">
                <a:solidFill>
                  <a:srgbClr val="F79646">
                    <a:lumMod val="75000"/>
                  </a:srgbClr>
                </a:solidFill>
                <a:latin typeface="Calibri"/>
                <a:sym typeface="+mn-ea"/>
              </a:rPr>
              <a:t>After pilot plant results:</a:t>
            </a:r>
          </a:p>
          <a:p>
            <a:pPr marL="1187112" lvl="2" indent="-272712" defTabSz="1243767">
              <a:buFont typeface="Arial" panose="020B0604020202020204" pitchFamily="34" charset="0"/>
              <a:buChar char="•"/>
              <a:defRPr/>
            </a:pPr>
            <a:r>
              <a:rPr lang="en-US" altLang="fr-FR" sz="1908" dirty="0">
                <a:solidFill>
                  <a:srgbClr val="F79646">
                    <a:lumMod val="75000"/>
                  </a:srgbClr>
                </a:solidFill>
                <a:latin typeface="Calibri"/>
                <a:sym typeface="+mn-ea"/>
              </a:rPr>
              <a:t>Expected value for steam reduction: </a:t>
            </a:r>
            <a:r>
              <a:rPr lang="en-US" altLang="fr-FR" sz="1908" b="1" dirty="0">
                <a:solidFill>
                  <a:srgbClr val="F79646">
                    <a:lumMod val="75000"/>
                  </a:srgbClr>
                </a:solidFill>
                <a:latin typeface="Calibri"/>
                <a:sym typeface="+mn-ea"/>
              </a:rPr>
              <a:t>0.5 t/h</a:t>
            </a:r>
          </a:p>
          <a:p>
            <a:pPr marL="1187112" lvl="2" indent="-272712" defTabSz="1243767">
              <a:buFont typeface="Arial" panose="020B0604020202020204" pitchFamily="34" charset="0"/>
              <a:buChar char="•"/>
              <a:defRPr/>
            </a:pPr>
            <a:r>
              <a:rPr lang="en-US" altLang="fr-FR" sz="1908" dirty="0">
                <a:solidFill>
                  <a:srgbClr val="F79646">
                    <a:lumMod val="75000"/>
                  </a:srgbClr>
                </a:solidFill>
                <a:latin typeface="Calibri"/>
                <a:sym typeface="+mn-ea"/>
              </a:rPr>
              <a:t>Expected value of Natural Gas reduction due to higher temperature and concentration in slurry: </a:t>
            </a:r>
            <a:r>
              <a:rPr lang="en-US" altLang="fr-FR" sz="1908" b="1" dirty="0">
                <a:solidFill>
                  <a:srgbClr val="F79646">
                    <a:lumMod val="75000"/>
                  </a:srgbClr>
                </a:solidFill>
                <a:latin typeface="Calibri"/>
                <a:sym typeface="+mn-ea"/>
              </a:rPr>
              <a:t>&gt;40% (dryer + boiler)</a:t>
            </a:r>
          </a:p>
          <a:p>
            <a:pPr marL="1187112" lvl="2" indent="-272712" defTabSz="1243767">
              <a:buFont typeface="Arial" panose="020B0604020202020204" pitchFamily="34" charset="0"/>
              <a:buChar char="•"/>
              <a:defRPr/>
            </a:pPr>
            <a:r>
              <a:rPr lang="en-US" altLang="fr-FR" sz="1908" dirty="0">
                <a:solidFill>
                  <a:srgbClr val="F79646">
                    <a:lumMod val="75000"/>
                  </a:srgbClr>
                </a:solidFill>
                <a:latin typeface="Calibri"/>
                <a:sym typeface="+mn-ea"/>
              </a:rPr>
              <a:t>Expected value for electricity reduction: </a:t>
            </a:r>
            <a:r>
              <a:rPr lang="en-US" altLang="fr-FR" sz="1908" b="1" dirty="0">
                <a:solidFill>
                  <a:srgbClr val="F79646">
                    <a:lumMod val="75000"/>
                  </a:srgbClr>
                </a:solidFill>
                <a:latin typeface="Calibri"/>
                <a:sym typeface="+mn-ea"/>
              </a:rPr>
              <a:t>10% (mainly funs control)</a:t>
            </a:r>
            <a:endParaRPr kumimoji="0" lang="en-US" sz="1200" b="0" i="0" u="none" strike="noStrike" kern="1200" cap="none" spc="0" normalizeH="0" baseline="0" noProof="0" dirty="0">
              <a:ln>
                <a:noFill/>
              </a:ln>
              <a:solidFill>
                <a:srgbClr val="2F2F2F"/>
              </a:solidFill>
              <a:effectLst/>
              <a:uLnTx/>
              <a:uFillTx/>
              <a:latin typeface="Arial"/>
              <a:ea typeface="+mn-ea"/>
              <a:cs typeface="+mn-cs"/>
            </a:endParaRPr>
          </a:p>
          <a:p>
            <a:pPr marL="342900" marR="0" lvl="0" indent="-342900" algn="l" defTabSz="914400" rtl="0" eaLnBrk="1" fontAlgn="auto" latinLnBrk="0" hangingPunct="1">
              <a:lnSpc>
                <a:spcPct val="100000"/>
              </a:lnSpc>
              <a:spcBef>
                <a:spcPts val="0"/>
              </a:spcBef>
              <a:spcAft>
                <a:spcPts val="0"/>
              </a:spcAft>
              <a:buClr>
                <a:srgbClr val="99CC99"/>
              </a:buClr>
              <a:buSzTx/>
              <a:buFont typeface="Wingdings" panose="05000000000000000000" pitchFamily="2" charset="2"/>
              <a:buChar char="ü"/>
              <a:tabLst/>
              <a:defRPr/>
            </a:pPr>
            <a:r>
              <a:rPr kumimoji="0" lang="en-US" sz="1200" b="0" i="0" u="none" strike="noStrike" kern="1200" cap="none" spc="0" normalizeH="0" baseline="0" noProof="0" dirty="0">
                <a:ln>
                  <a:noFill/>
                </a:ln>
                <a:solidFill>
                  <a:srgbClr val="2F2F2F"/>
                </a:solidFill>
                <a:effectLst/>
                <a:uLnTx/>
                <a:uFillTx/>
                <a:latin typeface="Arial"/>
                <a:ea typeface="+mn-ea"/>
                <a:cs typeface="+mn-cs"/>
              </a:rPr>
              <a:t>Water balance </a:t>
            </a:r>
          </a:p>
          <a:p>
            <a:pPr marL="800100" marR="0" lvl="1" indent="-342900" algn="l" defTabSz="914400" rtl="0" eaLnBrk="1" fontAlgn="auto" latinLnBrk="0" hangingPunct="1">
              <a:lnSpc>
                <a:spcPct val="100000"/>
              </a:lnSpc>
              <a:spcBef>
                <a:spcPts val="0"/>
              </a:spcBef>
              <a:spcAft>
                <a:spcPts val="0"/>
              </a:spcAft>
              <a:buClr>
                <a:srgbClr val="99CC99"/>
              </a:buClr>
              <a:buSzTx/>
              <a:buFont typeface="Wingdings" panose="05000000000000000000" pitchFamily="2" charset="2"/>
              <a:buChar char="ü"/>
              <a:tabLst/>
              <a:defRPr/>
            </a:pPr>
            <a:r>
              <a:rPr lang="en-US" altLang="fr-FR" sz="1200" dirty="0">
                <a:solidFill>
                  <a:srgbClr val="F79646">
                    <a:lumMod val="75000"/>
                  </a:srgbClr>
                </a:solidFill>
                <a:latin typeface="Calibri"/>
                <a:sym typeface="+mn-ea"/>
              </a:rPr>
              <a:t>In the pilot plant,  the need of water to control the reaction has been demonstrated </a:t>
            </a:r>
            <a:r>
              <a:rPr lang="en-US" altLang="fr-FR" sz="1200" dirty="0">
                <a:solidFill>
                  <a:srgbClr val="F79646">
                    <a:lumMod val="75000"/>
                  </a:srgbClr>
                </a:solidFill>
                <a:latin typeface="Calibri"/>
                <a:sym typeface="Wingdings" panose="05000000000000000000" pitchFamily="2" charset="2"/>
              </a:rPr>
              <a:t> </a:t>
            </a:r>
            <a:r>
              <a:rPr lang="en-US" altLang="fr-FR" sz="1200" b="1" dirty="0">
                <a:solidFill>
                  <a:srgbClr val="F79646">
                    <a:lumMod val="75000"/>
                  </a:srgbClr>
                </a:solidFill>
                <a:latin typeface="Calibri"/>
                <a:sym typeface="+mn-ea"/>
              </a:rPr>
              <a:t>Water Balance is guaranteed</a:t>
            </a:r>
            <a:endParaRPr kumimoji="0" lang="en-US" sz="1200" b="0" i="0" u="none" strike="noStrike" kern="1200" cap="none" spc="0" normalizeH="0" baseline="0" noProof="0" dirty="0">
              <a:ln>
                <a:noFill/>
              </a:ln>
              <a:solidFill>
                <a:srgbClr val="2F2F2F"/>
              </a:solidFill>
              <a:effectLst/>
              <a:uLnTx/>
              <a:uFillTx/>
              <a:latin typeface="Arial"/>
              <a:ea typeface="+mn-ea"/>
              <a:cs typeface="+mn-cs"/>
            </a:endParaRPr>
          </a:p>
          <a:p>
            <a:pPr marL="342900" marR="0" lvl="0" indent="-342900" algn="l" defTabSz="914400" rtl="0" eaLnBrk="1" fontAlgn="auto" latinLnBrk="0" hangingPunct="1">
              <a:lnSpc>
                <a:spcPct val="100000"/>
              </a:lnSpc>
              <a:spcBef>
                <a:spcPts val="0"/>
              </a:spcBef>
              <a:spcAft>
                <a:spcPts val="0"/>
              </a:spcAft>
              <a:buClr>
                <a:srgbClr val="99CC99"/>
              </a:buClr>
              <a:buSzTx/>
              <a:buFont typeface="Wingdings" panose="05000000000000000000" pitchFamily="2" charset="2"/>
              <a:buChar char="ü"/>
              <a:tabLst/>
              <a:defRPr/>
            </a:pPr>
            <a:r>
              <a:rPr kumimoji="0" lang="en-US" sz="1200" b="0" i="0" u="none" strike="noStrike" kern="1200" cap="none" spc="0" normalizeH="0" baseline="0" noProof="0" dirty="0">
                <a:ln>
                  <a:noFill/>
                </a:ln>
                <a:solidFill>
                  <a:srgbClr val="2F2F2F"/>
                </a:solidFill>
                <a:effectLst/>
                <a:uLnTx/>
                <a:uFillTx/>
                <a:latin typeface="Arial"/>
                <a:ea typeface="+mn-ea"/>
                <a:cs typeface="+mn-cs"/>
              </a:rPr>
              <a:t>by-products use</a:t>
            </a:r>
          </a:p>
          <a:p>
            <a:pPr marL="800100" marR="0" lvl="1" indent="-342900" algn="l" defTabSz="914400" rtl="0" eaLnBrk="1" fontAlgn="auto" latinLnBrk="0" hangingPunct="1">
              <a:lnSpc>
                <a:spcPct val="100000"/>
              </a:lnSpc>
              <a:spcBef>
                <a:spcPts val="0"/>
              </a:spcBef>
              <a:spcAft>
                <a:spcPts val="0"/>
              </a:spcAft>
              <a:buClr>
                <a:srgbClr val="99CC99"/>
              </a:buClr>
              <a:buSzTx/>
              <a:buFont typeface="Wingdings" panose="05000000000000000000" pitchFamily="2" charset="2"/>
              <a:buChar char="ü"/>
              <a:tabLst/>
              <a:defRPr/>
            </a:pPr>
            <a:r>
              <a:rPr lang="en-US" altLang="fr-FR" sz="1200" dirty="0">
                <a:solidFill>
                  <a:prstClr val="black"/>
                </a:solidFill>
                <a:latin typeface="Calibri"/>
                <a:sym typeface="+mn-ea"/>
              </a:rPr>
              <a:t>Sulfuric acid and ammonia to replace Ammonia sulfate.</a:t>
            </a:r>
            <a:r>
              <a:rPr lang="en-US" altLang="fr-FR" sz="1200" dirty="0">
                <a:solidFill>
                  <a:srgbClr val="F79646">
                    <a:lumMod val="75000"/>
                  </a:srgbClr>
                </a:solidFill>
                <a:latin typeface="+mn-lt"/>
                <a:sym typeface="+mn-ea"/>
              </a:rPr>
              <a:t> --&gt; Successfully demonstrated in pilot plant </a:t>
            </a:r>
            <a:endParaRPr kumimoji="0" lang="en-US" sz="1200" b="0" i="0" u="none" strike="noStrike" kern="1200" cap="none" spc="0" normalizeH="0" baseline="0" noProof="0" dirty="0">
              <a:ln>
                <a:noFill/>
              </a:ln>
              <a:solidFill>
                <a:srgbClr val="2F2F2F"/>
              </a:solidFill>
              <a:effectLst/>
              <a:uLnTx/>
              <a:uFillTx/>
              <a:latin typeface="Arial"/>
              <a:ea typeface="+mn-ea"/>
              <a:cs typeface="+mn-cs"/>
            </a:endParaRPr>
          </a:p>
          <a:p>
            <a:pPr marL="342900" marR="0" lvl="0" indent="-342900" algn="l" defTabSz="914400" rtl="0" eaLnBrk="1" fontAlgn="auto" latinLnBrk="0" hangingPunct="1">
              <a:lnSpc>
                <a:spcPct val="100000"/>
              </a:lnSpc>
              <a:spcBef>
                <a:spcPts val="0"/>
              </a:spcBef>
              <a:spcAft>
                <a:spcPts val="0"/>
              </a:spcAft>
              <a:buClr>
                <a:srgbClr val="99CC99"/>
              </a:buClr>
              <a:buSzTx/>
              <a:buFont typeface="Wingdings" panose="05000000000000000000" pitchFamily="2" charset="2"/>
              <a:buChar char="ü"/>
              <a:tabLst/>
              <a:defRPr/>
            </a:pPr>
            <a:r>
              <a:rPr kumimoji="0" lang="en-US" sz="1200" b="0" i="0" u="none" strike="noStrike" kern="1200" cap="none" spc="0" normalizeH="0" baseline="0" noProof="0" dirty="0">
                <a:ln>
                  <a:noFill/>
                </a:ln>
                <a:solidFill>
                  <a:srgbClr val="2F2F2F"/>
                </a:solidFill>
                <a:effectLst/>
                <a:uLnTx/>
                <a:uFillTx/>
                <a:latin typeface="Arial"/>
                <a:ea typeface="+mn-ea"/>
                <a:cs typeface="+mn-cs"/>
              </a:rPr>
              <a:t>new sources of P2O5 in circular economy use (2,952 ton/year lower P2O5 consumption ~ 18 %)</a:t>
            </a:r>
          </a:p>
          <a:p>
            <a:pPr marL="800100" marR="0" lvl="1" indent="-342900" algn="l" defTabSz="914400" rtl="0" eaLnBrk="1" fontAlgn="auto" latinLnBrk="0" hangingPunct="1">
              <a:lnSpc>
                <a:spcPct val="100000"/>
              </a:lnSpc>
              <a:spcBef>
                <a:spcPts val="0"/>
              </a:spcBef>
              <a:spcAft>
                <a:spcPts val="0"/>
              </a:spcAft>
              <a:buClr>
                <a:srgbClr val="99CC99"/>
              </a:buClr>
              <a:buSzTx/>
              <a:buFont typeface="Wingdings" panose="05000000000000000000" pitchFamily="2" charset="2"/>
              <a:buChar char="ü"/>
              <a:tabLst/>
              <a:defRPr/>
            </a:pPr>
            <a:r>
              <a:rPr lang="en-US" altLang="fr-FR" sz="1200" dirty="0">
                <a:solidFill>
                  <a:prstClr val="black"/>
                </a:solidFill>
                <a:latin typeface="Calibri"/>
                <a:sym typeface="+mn-ea"/>
              </a:rPr>
              <a:t>Diversify raw materials intake (ashes vs phosphoric acid) </a:t>
            </a:r>
            <a:r>
              <a:rPr lang="en-US" altLang="fr-FR" sz="1200" dirty="0">
                <a:solidFill>
                  <a:prstClr val="black"/>
                </a:solidFill>
                <a:latin typeface="Calibri"/>
                <a:sym typeface="Wingdings" panose="05000000000000000000" pitchFamily="2" charset="2"/>
              </a:rPr>
              <a:t></a:t>
            </a:r>
            <a:r>
              <a:rPr kumimoji="0" lang="en-US" altLang="fr-FR" sz="1200" b="0" i="0" u="none" strike="noStrike" kern="1200" cap="none" spc="0" normalizeH="0" baseline="0" noProof="0" dirty="0">
                <a:ln>
                  <a:noFill/>
                </a:ln>
                <a:solidFill>
                  <a:srgbClr val="2F2F2F"/>
                </a:solidFill>
                <a:effectLst/>
                <a:uLnTx/>
                <a:uFillTx/>
                <a:latin typeface="Arial"/>
                <a:ea typeface="+mn-ea"/>
                <a:cs typeface="+mn-cs"/>
                <a:sym typeface="Wingdings" panose="05000000000000000000" pitchFamily="2" charset="2"/>
              </a:rPr>
              <a:t> </a:t>
            </a:r>
            <a:r>
              <a:rPr lang="en-US" altLang="fr-FR" sz="1200" dirty="0">
                <a:solidFill>
                  <a:srgbClr val="F79646">
                    <a:lumMod val="75000"/>
                  </a:srgbClr>
                </a:solidFill>
                <a:latin typeface="Calibri"/>
                <a:sym typeface="+mn-ea"/>
              </a:rPr>
              <a:t>Acidic slurry at high concentration resulted from pilot test will allow </a:t>
            </a:r>
            <a:r>
              <a:rPr lang="en-US" altLang="fr-FR" sz="1200" b="1" dirty="0">
                <a:solidFill>
                  <a:srgbClr val="F79646">
                    <a:lumMod val="75000"/>
                  </a:srgbClr>
                </a:solidFill>
                <a:latin typeface="Calibri"/>
                <a:sym typeface="+mn-ea"/>
              </a:rPr>
              <a:t>other P</a:t>
            </a:r>
            <a:r>
              <a:rPr lang="en-US" altLang="fr-FR" sz="1200" b="1" baseline="-25000" dirty="0">
                <a:solidFill>
                  <a:srgbClr val="F79646">
                    <a:lumMod val="75000"/>
                  </a:srgbClr>
                </a:solidFill>
                <a:latin typeface="Calibri"/>
                <a:sym typeface="+mn-ea"/>
              </a:rPr>
              <a:t>2</a:t>
            </a:r>
            <a:r>
              <a:rPr lang="en-US" altLang="fr-FR" sz="1200" b="1" dirty="0">
                <a:solidFill>
                  <a:srgbClr val="F79646">
                    <a:lumMod val="75000"/>
                  </a:srgbClr>
                </a:solidFill>
                <a:latin typeface="Calibri"/>
                <a:sym typeface="+mn-ea"/>
              </a:rPr>
              <a:t>O</a:t>
            </a:r>
            <a:r>
              <a:rPr lang="en-US" altLang="fr-FR" sz="1200" b="1" baseline="-25000" dirty="0">
                <a:solidFill>
                  <a:srgbClr val="F79646">
                    <a:lumMod val="75000"/>
                  </a:srgbClr>
                </a:solidFill>
                <a:latin typeface="Calibri"/>
                <a:sym typeface="+mn-ea"/>
              </a:rPr>
              <a:t>5</a:t>
            </a:r>
            <a:r>
              <a:rPr lang="en-US" altLang="fr-FR" sz="1200" b="1" dirty="0">
                <a:solidFill>
                  <a:srgbClr val="F79646">
                    <a:lumMod val="75000"/>
                  </a:srgbClr>
                </a:solidFill>
                <a:latin typeface="Calibri"/>
                <a:sym typeface="+mn-ea"/>
              </a:rPr>
              <a:t> sources from Circular Economy (ashes, struvite…)</a:t>
            </a:r>
          </a:p>
          <a:p>
            <a:pPr marL="800100" marR="0" lvl="1" indent="-342900" algn="l" defTabSz="914400" rtl="0" eaLnBrk="1" fontAlgn="auto" latinLnBrk="0" hangingPunct="1">
              <a:lnSpc>
                <a:spcPct val="100000"/>
              </a:lnSpc>
              <a:spcBef>
                <a:spcPts val="0"/>
              </a:spcBef>
              <a:spcAft>
                <a:spcPts val="0"/>
              </a:spcAft>
              <a:buClr>
                <a:srgbClr val="99CC99"/>
              </a:buClr>
              <a:buSzTx/>
              <a:buFont typeface="Wingdings" panose="05000000000000000000" pitchFamily="2" charset="2"/>
              <a:buChar char="ü"/>
              <a:tabLst/>
              <a:defRPr/>
            </a:pPr>
            <a:endParaRPr kumimoji="0" lang="en-US" sz="1200" b="0" i="0" u="none" strike="noStrike" kern="1200" cap="none" spc="0" normalizeH="0" baseline="0" noProof="0" dirty="0">
              <a:ln>
                <a:noFill/>
              </a:ln>
              <a:solidFill>
                <a:srgbClr val="2F2F2F"/>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
                <a:srgbClr val="99CC99"/>
              </a:buClr>
              <a:buSzTx/>
              <a:buFontTx/>
              <a:buNone/>
              <a:tabLst/>
              <a:defRPr/>
            </a:pPr>
            <a:endParaRPr kumimoji="0" lang="en-US" sz="1200" b="0" i="0" u="none" strike="noStrike" kern="1200" cap="none" spc="0" normalizeH="0" baseline="0" noProof="0" dirty="0">
              <a:ln>
                <a:noFill/>
              </a:ln>
              <a:solidFill>
                <a:srgbClr val="2F2F2F"/>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F2F2F"/>
                </a:solidFill>
                <a:effectLst/>
                <a:uLnTx/>
                <a:uFillTx/>
                <a:latin typeface="Arial"/>
                <a:ea typeface="+mn-ea"/>
                <a:cs typeface="+mn-cs"/>
              </a:rPr>
              <a:t> without jeopardizing the real plant and current productio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2F2F2F"/>
              </a:solidFill>
              <a:effectLst/>
              <a:uLnTx/>
              <a:uFillTx/>
              <a:latin typeface="Arial"/>
              <a:ea typeface="+mn-ea"/>
              <a:cs typeface="+mn-cs"/>
            </a:endParaRPr>
          </a:p>
          <a:p>
            <a:endParaRPr lang="sv-S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4DB91F-1AD8-437C-8866-3636784D085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7429810"/>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2F2F2F"/>
                </a:solidFill>
                <a:effectLst/>
                <a:uLnTx/>
                <a:uFillTx/>
                <a:latin typeface="Arial"/>
                <a:ea typeface="+mn-ea"/>
                <a:cs typeface="+mn-cs"/>
              </a:rPr>
              <a:t>In the steel sector, two end users are involved: FENO and SILCOTUB. In both cases the activities will be </a:t>
            </a:r>
            <a:r>
              <a:rPr kumimoji="0" lang="en-GB" sz="1800" b="0" i="0" u="none" strike="noStrike" kern="1200" cap="none" spc="0" normalizeH="0" baseline="0" noProof="0" dirty="0" err="1">
                <a:ln>
                  <a:noFill/>
                </a:ln>
                <a:solidFill>
                  <a:srgbClr val="2F2F2F"/>
                </a:solidFill>
                <a:effectLst/>
                <a:uLnTx/>
                <a:uFillTx/>
                <a:latin typeface="Arial"/>
                <a:ea typeface="+mn-ea"/>
                <a:cs typeface="+mn-cs"/>
              </a:rPr>
              <a:t>centered</a:t>
            </a:r>
            <a:r>
              <a:rPr kumimoji="0" lang="en-GB" sz="1800" b="0" i="0" u="none" strike="noStrike" kern="1200" cap="none" spc="0" normalizeH="0" baseline="0" noProof="0" dirty="0">
                <a:ln>
                  <a:noFill/>
                </a:ln>
                <a:solidFill>
                  <a:srgbClr val="2F2F2F"/>
                </a:solidFill>
                <a:effectLst/>
                <a:uLnTx/>
                <a:uFillTx/>
                <a:latin typeface="Arial"/>
                <a:ea typeface="+mn-ea"/>
                <a:cs typeface="+mn-cs"/>
              </a:rPr>
              <a:t> in the Electrical Arc furnace where circular economy concepts will be applied. In the case of FENO, biochar and plastic grains will substitute the use of fossil fuel for combustion. At the same time, anthracite will be replaced by biochar as Carbon source, so that the injection system and burner are required to be modified. This will lead to a reduction of GHG are expected and as mentioned previously the implementation of circular economy concepts will support the reduction of feedstock. </a:t>
            </a:r>
          </a:p>
        </p:txBody>
      </p:sp>
      <p:sp>
        <p:nvSpPr>
          <p:cNvPr id="4" name="Marcador de número de diapositiva 3"/>
          <p:cNvSpPr>
            <a:spLocks noGrp="1"/>
          </p:cNvSpPr>
          <p:nvPr>
            <p:ph type="sldNum" sz="quarter" idx="5"/>
          </p:nvPr>
        </p:nvSpPr>
        <p:spPr/>
        <p:txBody>
          <a:bodyPr/>
          <a:lstStyle/>
          <a:p>
            <a:fld id="{F84DB91F-1AD8-437C-8866-3636784D0854}" type="slidenum">
              <a:rPr lang="en-GB" smtClean="0"/>
              <a:t>188</a:t>
            </a:fld>
            <a:endParaRPr lang="en-GB"/>
          </a:p>
        </p:txBody>
      </p:sp>
    </p:spTree>
    <p:extLst>
      <p:ext uri="{BB962C8B-B14F-4D97-AF65-F5344CB8AC3E}">
        <p14:creationId xmlns:p14="http://schemas.microsoft.com/office/powerpoint/2010/main" val="4208673335"/>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1" indent="0" algn="l" defTabSz="914400" rtl="0" eaLnBrk="1" fontAlgn="auto" latinLnBrk="0" hangingPunct="1">
              <a:lnSpc>
                <a:spcPct val="150000"/>
              </a:lnSpc>
              <a:spcBef>
                <a:spcPct val="20000"/>
              </a:spcBef>
              <a:spcAft>
                <a:spcPts val="0"/>
              </a:spcAft>
              <a:buClrTx/>
              <a:buSzTx/>
              <a:buFontTx/>
              <a:buNone/>
              <a:tabLst/>
              <a:defRPr/>
            </a:pPr>
            <a:r>
              <a:rPr kumimoji="0" lang="it-IT" altLang="it-IT" sz="1200" b="1" i="0" u="none" strike="noStrike" kern="1200" cap="none" spc="0" normalizeH="0" baseline="0" noProof="0" dirty="0">
                <a:ln>
                  <a:noFill/>
                </a:ln>
                <a:solidFill>
                  <a:srgbClr val="00358E"/>
                </a:solidFill>
                <a:effectLst/>
                <a:uLnTx/>
                <a:uFillTx/>
                <a:latin typeface="Arial"/>
                <a:ea typeface="+mn-ea"/>
                <a:cs typeface="Calibri" panose="020F0502020204030204"/>
              </a:rPr>
              <a:t>S</a:t>
            </a:r>
            <a:r>
              <a:rPr kumimoji="0" lang="it-IT" altLang="it-IT" sz="1200" b="0" i="0" u="none" strike="noStrike" kern="1200" cap="none" spc="0" normalizeH="0" baseline="0" noProof="0" dirty="0">
                <a:ln>
                  <a:noFill/>
                </a:ln>
                <a:solidFill>
                  <a:srgbClr val="00358E"/>
                </a:solidFill>
                <a:effectLst/>
                <a:uLnTx/>
                <a:uFillTx/>
                <a:latin typeface="Arial"/>
                <a:ea typeface="+mn-ea"/>
                <a:cs typeface="Calibri" panose="020F0502020204030204"/>
              </a:rPr>
              <a:t>ubstitution of fossil sources in electric arc furnace (EAF) as slag foaming agent and chemical energy sources</a:t>
            </a:r>
            <a:r>
              <a:rPr kumimoji="0" lang="it-IT" altLang="it-IT" sz="1200" b="0" i="0" u="none" strike="noStrike" kern="1200" cap="none" spc="0" normalizeH="0" baseline="0" noProof="0" dirty="0">
                <a:ln>
                  <a:noFill/>
                </a:ln>
                <a:solidFill>
                  <a:srgbClr val="00358E"/>
                </a:solidFill>
                <a:effectLst/>
                <a:uLnTx/>
                <a:uFillTx/>
                <a:latin typeface="Univers"/>
                <a:ea typeface="+mn-ea"/>
                <a:cs typeface="Calibri" panose="020F0502020204030204"/>
              </a:rPr>
              <a:t>.</a:t>
            </a:r>
          </a:p>
          <a:p>
            <a:pPr marL="0" marR="0" lvl="1" indent="0" algn="l" defTabSz="914400" rtl="0" eaLnBrk="1" fontAlgn="auto" latinLnBrk="0" hangingPunct="1">
              <a:lnSpc>
                <a:spcPct val="150000"/>
              </a:lnSpc>
              <a:spcBef>
                <a:spcPct val="20000"/>
              </a:spcBef>
              <a:spcAft>
                <a:spcPts val="0"/>
              </a:spcAft>
              <a:buClrTx/>
              <a:buSzTx/>
              <a:buFontTx/>
              <a:buNone/>
              <a:tabLst/>
              <a:defRPr/>
            </a:pPr>
            <a:endParaRPr kumimoji="0" lang="it-IT" altLang="it-IT" sz="1200" b="0" i="0" u="none" strike="noStrike" kern="1200" cap="none" spc="0" normalizeH="0" baseline="0" noProof="0" dirty="0">
              <a:ln>
                <a:noFill/>
              </a:ln>
              <a:solidFill>
                <a:srgbClr val="00358E"/>
              </a:solidFill>
              <a:effectLst/>
              <a:uLnTx/>
              <a:uFillTx/>
              <a:latin typeface="Univers"/>
              <a:ea typeface="+mn-ea"/>
              <a:cs typeface="Calibri" panose="020F0502020204030204"/>
            </a:endParaRPr>
          </a:p>
          <a:p>
            <a:pPr marL="0" marR="0" lvl="1" indent="0" algn="l" defTabSz="914400" rtl="0" eaLnBrk="1" fontAlgn="auto" latinLnBrk="0" hangingPunct="1">
              <a:lnSpc>
                <a:spcPct val="150000"/>
              </a:lnSpc>
              <a:spcBef>
                <a:spcPct val="20000"/>
              </a:spcBef>
              <a:spcAft>
                <a:spcPts val="0"/>
              </a:spcAft>
              <a:buClrTx/>
              <a:buSzTx/>
              <a:buFontTx/>
              <a:buNone/>
              <a:tabLst/>
              <a:defRPr/>
            </a:pPr>
            <a:r>
              <a:rPr lang="sv-SE" sz="1200" dirty="0">
                <a:latin typeface="Univers"/>
                <a:cs typeface="Calibri" panose="020F0502020204030204"/>
              </a:rPr>
              <a:t>Slag sent to RINA-CSM for </a:t>
            </a:r>
            <a:r>
              <a:rPr lang="sv-SE" sz="1200" dirty="0" err="1">
                <a:latin typeface="Univers"/>
                <a:cs typeface="Calibri" panose="020F0502020204030204"/>
              </a:rPr>
              <a:t>thermal</a:t>
            </a:r>
            <a:r>
              <a:rPr lang="sv-SE" sz="1200" dirty="0">
                <a:latin typeface="Univers"/>
                <a:cs typeface="Calibri" panose="020F0502020204030204"/>
              </a:rPr>
              <a:t> </a:t>
            </a:r>
            <a:r>
              <a:rPr lang="sv-SE" sz="1200" dirty="0" err="1">
                <a:latin typeface="Univers"/>
                <a:cs typeface="Calibri" panose="020F0502020204030204"/>
              </a:rPr>
              <a:t>buffer</a:t>
            </a:r>
            <a:r>
              <a:rPr lang="sv-SE" sz="1200" dirty="0">
                <a:latin typeface="Univers"/>
                <a:cs typeface="Calibri" panose="020F0502020204030204"/>
              </a:rPr>
              <a:t> tests</a:t>
            </a:r>
          </a:p>
          <a:p>
            <a:pPr marL="0" marR="0" lvl="1" indent="0" algn="l" defTabSz="914400" rtl="0" eaLnBrk="1" fontAlgn="auto" latinLnBrk="0" hangingPunct="1">
              <a:lnSpc>
                <a:spcPct val="150000"/>
              </a:lnSpc>
              <a:spcBef>
                <a:spcPct val="20000"/>
              </a:spcBef>
              <a:spcAft>
                <a:spcPts val="0"/>
              </a:spcAft>
              <a:buClrTx/>
              <a:buSzTx/>
              <a:buFontTx/>
              <a:buNone/>
              <a:tabLst/>
              <a:defRPr/>
            </a:pPr>
            <a:endParaRPr kumimoji="0" lang="it-IT" altLang="it-IT" sz="1200" b="0" i="0" u="none" strike="noStrike" kern="1200" cap="none" spc="0" normalizeH="0" baseline="0" noProof="0" dirty="0">
              <a:ln>
                <a:noFill/>
              </a:ln>
              <a:solidFill>
                <a:srgbClr val="00358E"/>
              </a:solidFill>
              <a:effectLst/>
              <a:uLnTx/>
              <a:uFillTx/>
              <a:latin typeface="Univers"/>
              <a:ea typeface="+mn-ea"/>
              <a:cs typeface="Calibri" panose="020F0502020204030204"/>
            </a:endParaRPr>
          </a:p>
          <a:p>
            <a:endParaRPr lang="en-GB" dirty="0"/>
          </a:p>
        </p:txBody>
      </p:sp>
      <p:sp>
        <p:nvSpPr>
          <p:cNvPr id="4" name="Marcador de número de diapositiva 3"/>
          <p:cNvSpPr>
            <a:spLocks noGrp="1"/>
          </p:cNvSpPr>
          <p:nvPr>
            <p:ph type="sldNum" sz="quarter" idx="5"/>
          </p:nvPr>
        </p:nvSpPr>
        <p:spPr/>
        <p:txBody>
          <a:bodyPr/>
          <a:lstStyle/>
          <a:p>
            <a:fld id="{F84DB91F-1AD8-437C-8866-3636784D0854}" type="slidenum">
              <a:rPr lang="en-GB" smtClean="0"/>
              <a:t>189</a:t>
            </a:fld>
            <a:endParaRPr lang="en-GB"/>
          </a:p>
        </p:txBody>
      </p:sp>
    </p:spTree>
    <p:extLst>
      <p:ext uri="{BB962C8B-B14F-4D97-AF65-F5344CB8AC3E}">
        <p14:creationId xmlns:p14="http://schemas.microsoft.com/office/powerpoint/2010/main" val="3853485350"/>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dirty="0" err="1">
                <a:ln>
                  <a:noFill/>
                </a:ln>
                <a:solidFill>
                  <a:srgbClr val="2F2F2F"/>
                </a:solidFill>
                <a:effectLst/>
                <a:uLnTx/>
                <a:uFillTx/>
                <a:latin typeface="Univers"/>
                <a:ea typeface="+mn-ea"/>
                <a:cs typeface="Calibri" panose="020F0502020204030204"/>
              </a:rPr>
              <a:t>Trials</a:t>
            </a:r>
            <a:r>
              <a:rPr kumimoji="0" lang="sv-SE" sz="1200" b="0" i="0" u="none" strike="noStrike" kern="1200" cap="none" spc="0" normalizeH="0" baseline="0" noProof="0" dirty="0">
                <a:ln>
                  <a:noFill/>
                </a:ln>
                <a:solidFill>
                  <a:srgbClr val="2F2F2F"/>
                </a:solidFill>
                <a:effectLst/>
                <a:uLnTx/>
                <a:uFillTx/>
                <a:latin typeface="Univers"/>
                <a:ea typeface="+mn-ea"/>
                <a:cs typeface="Calibri" panose="020F0502020204030204"/>
              </a:rPr>
              <a:t> </a:t>
            </a:r>
            <a:r>
              <a:rPr kumimoji="0" lang="sv-SE" sz="1200" b="0" i="0" u="none" strike="noStrike" kern="1200" cap="none" spc="0" normalizeH="0" baseline="0" noProof="0" dirty="0" err="1">
                <a:ln>
                  <a:noFill/>
                </a:ln>
                <a:solidFill>
                  <a:srgbClr val="2F2F2F"/>
                </a:solidFill>
                <a:effectLst/>
                <a:uLnTx/>
                <a:uFillTx/>
                <a:latin typeface="Univers"/>
                <a:ea typeface="+mn-ea"/>
                <a:cs typeface="Calibri" panose="020F0502020204030204"/>
              </a:rPr>
              <a:t>with</a:t>
            </a:r>
            <a:r>
              <a:rPr kumimoji="0" lang="sv-SE" sz="1200" b="0" i="0" u="none" strike="noStrike" kern="1200" cap="none" spc="0" normalizeH="0" baseline="0" noProof="0" dirty="0">
                <a:ln>
                  <a:noFill/>
                </a:ln>
                <a:solidFill>
                  <a:srgbClr val="2F2F2F"/>
                </a:solidFill>
                <a:effectLst/>
                <a:uLnTx/>
                <a:uFillTx/>
                <a:latin typeface="Univers"/>
                <a:ea typeface="+mn-ea"/>
                <a:cs typeface="Calibri" panose="020F0502020204030204"/>
              </a:rPr>
              <a:t> different material </a:t>
            </a:r>
            <a:r>
              <a:rPr kumimoji="0" lang="sv-SE" sz="1200" b="0" i="0" u="none" strike="noStrike" kern="1200" cap="none" spc="0" normalizeH="0" baseline="0" noProof="0" dirty="0" err="1">
                <a:ln>
                  <a:noFill/>
                </a:ln>
                <a:solidFill>
                  <a:srgbClr val="2F2F2F"/>
                </a:solidFill>
                <a:effectLst/>
                <a:uLnTx/>
                <a:uFillTx/>
                <a:latin typeface="Univers"/>
                <a:ea typeface="+mn-ea"/>
                <a:cs typeface="Calibri" panose="020F0502020204030204"/>
              </a:rPr>
              <a:t>used</a:t>
            </a:r>
            <a:r>
              <a:rPr kumimoji="0" lang="sv-SE" sz="1200" b="0" i="0" u="none" strike="noStrike" kern="1200" cap="none" spc="0" normalizeH="0" baseline="0" noProof="0" dirty="0">
                <a:ln>
                  <a:noFill/>
                </a:ln>
                <a:solidFill>
                  <a:srgbClr val="2F2F2F"/>
                </a:solidFill>
                <a:effectLst/>
                <a:uLnTx/>
                <a:uFillTx/>
                <a:latin typeface="Univers"/>
                <a:ea typeface="+mn-ea"/>
                <a:cs typeface="Calibri" panose="020F0502020204030204"/>
              </a:rPr>
              <a:t> as </a:t>
            </a:r>
            <a:r>
              <a:rPr kumimoji="0" lang="sv-SE" sz="1200" b="0" i="0" u="none" strike="noStrike" kern="1200" cap="none" spc="0" normalizeH="0" baseline="0" noProof="0" dirty="0" err="1">
                <a:ln>
                  <a:noFill/>
                </a:ln>
                <a:solidFill>
                  <a:srgbClr val="2F2F2F"/>
                </a:solidFill>
                <a:effectLst/>
                <a:uLnTx/>
                <a:uFillTx/>
                <a:latin typeface="Univers"/>
                <a:ea typeface="+mn-ea"/>
                <a:cs typeface="Calibri" panose="020F0502020204030204"/>
              </a:rPr>
              <a:t>foaming</a:t>
            </a:r>
            <a:r>
              <a:rPr kumimoji="0" lang="sv-SE" sz="1200" b="0" i="0" u="none" strike="noStrike" kern="1200" cap="none" spc="0" normalizeH="0" baseline="0" noProof="0" dirty="0">
                <a:ln>
                  <a:noFill/>
                </a:ln>
                <a:solidFill>
                  <a:srgbClr val="2F2F2F"/>
                </a:solidFill>
                <a:effectLst/>
                <a:uLnTx/>
                <a:uFillTx/>
                <a:latin typeface="Univers"/>
                <a:ea typeface="+mn-ea"/>
                <a:cs typeface="Calibri" panose="020F0502020204030204"/>
              </a:rPr>
              <a:t> agent and </a:t>
            </a:r>
            <a:r>
              <a:rPr kumimoji="0" lang="sv-SE" sz="1200" b="0" i="0" u="none" strike="noStrike" kern="1200" cap="none" spc="0" normalizeH="0" baseline="0" noProof="0" dirty="0" err="1">
                <a:ln>
                  <a:noFill/>
                </a:ln>
                <a:solidFill>
                  <a:srgbClr val="2F2F2F"/>
                </a:solidFill>
                <a:effectLst/>
                <a:uLnTx/>
                <a:uFillTx/>
                <a:latin typeface="Univers"/>
                <a:ea typeface="+mn-ea"/>
                <a:cs typeface="Calibri" panose="020F0502020204030204"/>
              </a:rPr>
              <a:t>natural</a:t>
            </a:r>
            <a:r>
              <a:rPr kumimoji="0" lang="sv-SE" sz="1200" b="0" i="0" u="none" strike="noStrike" kern="1200" cap="none" spc="0" normalizeH="0" baseline="0" noProof="0" dirty="0">
                <a:ln>
                  <a:noFill/>
                </a:ln>
                <a:solidFill>
                  <a:srgbClr val="2F2F2F"/>
                </a:solidFill>
                <a:effectLst/>
                <a:uLnTx/>
                <a:uFillTx/>
                <a:latin typeface="Univers"/>
                <a:ea typeface="+mn-ea"/>
                <a:cs typeface="Calibri" panose="020F0502020204030204"/>
              </a:rPr>
              <a:t> gas </a:t>
            </a:r>
            <a:r>
              <a:rPr kumimoji="0" lang="sv-SE" sz="1200" b="0" i="0" u="none" strike="noStrike" kern="1200" cap="none" spc="0" normalizeH="0" baseline="0" noProof="0" dirty="0" err="1">
                <a:ln>
                  <a:noFill/>
                </a:ln>
                <a:solidFill>
                  <a:srgbClr val="2F2F2F"/>
                </a:solidFill>
                <a:effectLst/>
                <a:uLnTx/>
                <a:uFillTx/>
                <a:latin typeface="Univers"/>
                <a:ea typeface="+mn-ea"/>
                <a:cs typeface="Calibri" panose="020F0502020204030204"/>
              </a:rPr>
              <a:t>replacement</a:t>
            </a:r>
            <a:r>
              <a:rPr kumimoji="0" lang="sv-SE" sz="1200" b="0" i="0" u="none" strike="noStrike" kern="1200" cap="none" spc="0" normalizeH="0" baseline="0" noProof="0" dirty="0">
                <a:ln>
                  <a:noFill/>
                </a:ln>
                <a:solidFill>
                  <a:srgbClr val="2F2F2F"/>
                </a:solidFill>
                <a:effectLst/>
                <a:uLnTx/>
                <a:uFillTx/>
                <a:latin typeface="Univers"/>
                <a:ea typeface="+mn-ea"/>
                <a:cs typeface="Calibri" panose="020F0502020204030204"/>
              </a:rPr>
              <a:t> as </a:t>
            </a:r>
            <a:r>
              <a:rPr kumimoji="0" lang="sv-SE" sz="1200" b="0" i="0" u="none" strike="noStrike" kern="1200" cap="none" spc="0" normalizeH="0" baseline="0" noProof="0" dirty="0" err="1">
                <a:ln>
                  <a:noFill/>
                </a:ln>
                <a:solidFill>
                  <a:srgbClr val="2F2F2F"/>
                </a:solidFill>
                <a:effectLst/>
                <a:uLnTx/>
                <a:uFillTx/>
                <a:latin typeface="Univers"/>
                <a:ea typeface="+mn-ea"/>
                <a:cs typeface="Calibri" panose="020F0502020204030204"/>
              </a:rPr>
              <a:t>burner</a:t>
            </a:r>
            <a:r>
              <a:rPr kumimoji="0" lang="sv-SE" sz="1200" b="0" i="0" u="none" strike="noStrike" kern="1200" cap="none" spc="0" normalizeH="0" baseline="0" noProof="0" dirty="0">
                <a:ln>
                  <a:noFill/>
                </a:ln>
                <a:solidFill>
                  <a:srgbClr val="2F2F2F"/>
                </a:solidFill>
                <a:effectLst/>
                <a:uLnTx/>
                <a:uFillTx/>
                <a:latin typeface="Univers"/>
                <a:ea typeface="+mn-ea"/>
                <a:cs typeface="Calibri" panose="020F0502020204030204"/>
              </a:rPr>
              <a:t>. </a:t>
            </a:r>
            <a:r>
              <a:rPr kumimoji="0" lang="en-US" sz="1200" b="0" i="0" u="none" strike="noStrike" kern="1200" cap="none" spc="0" normalizeH="0" baseline="0" noProof="0" dirty="0">
                <a:ln>
                  <a:noFill/>
                </a:ln>
                <a:solidFill>
                  <a:srgbClr val="2F2F2F"/>
                </a:solidFill>
                <a:effectLst/>
                <a:uLnTx/>
                <a:uFillTx/>
                <a:latin typeface="Univers"/>
                <a:ea typeface="+mn-ea"/>
                <a:cs typeface="Calibri" panose="020F0502020204030204"/>
              </a:rPr>
              <a:t>Several products has been tested in FENO plant such as:</a:t>
            </a:r>
          </a:p>
          <a:p>
            <a:pPr marL="0" algn="l" rtl="0" eaLnBrk="1" fontAlgn="base" latinLnBrk="0" hangingPunct="1">
              <a:spcBef>
                <a:spcPts val="0"/>
              </a:spcBef>
              <a:spcAft>
                <a:spcPts val="0"/>
              </a:spcAft>
            </a:pPr>
            <a:r>
              <a:rPr lang="it-IT" sz="1800" b="0" i="0" u="none" strike="noStrike" kern="1200" dirty="0">
                <a:solidFill>
                  <a:srgbClr val="2F2F2F"/>
                </a:solidFill>
                <a:effectLst/>
                <a:latin typeface="Univers" panose="020B0503020202020204" pitchFamily="34" charset="0"/>
              </a:rPr>
              <a:t>Polymers​</a:t>
            </a:r>
            <a:endParaRPr lang="sv-SE" sz="1800" b="0" i="0" u="none" strike="noStrike" dirty="0">
              <a:effectLst/>
              <a:latin typeface="Arial" panose="020B0604020202020204" pitchFamily="34" charset="0"/>
            </a:endParaRPr>
          </a:p>
          <a:p>
            <a:pPr marL="0" algn="l" rtl="0" eaLnBrk="1" fontAlgn="base" latinLnBrk="0" hangingPunct="1">
              <a:spcBef>
                <a:spcPts val="0"/>
              </a:spcBef>
              <a:spcAft>
                <a:spcPts val="0"/>
              </a:spcAft>
            </a:pPr>
            <a:r>
              <a:rPr lang="it-IT" sz="1800" b="0" i="0" u="none" strike="noStrike" kern="1200" dirty="0">
                <a:solidFill>
                  <a:srgbClr val="2F2F2F"/>
                </a:solidFill>
                <a:effectLst/>
                <a:latin typeface="Univers" panose="020B0503020202020204" pitchFamily="34" charset="0"/>
              </a:rPr>
              <a:t>Tire grain​</a:t>
            </a:r>
            <a:endParaRPr lang="sv-SE" sz="1800" b="0" i="0" u="none" strike="noStrike" dirty="0">
              <a:effectLst/>
              <a:latin typeface="Arial" panose="020B0604020202020204" pitchFamily="34" charset="0"/>
            </a:endParaRPr>
          </a:p>
          <a:p>
            <a:pPr marL="0" algn="l" rtl="0" eaLnBrk="1" fontAlgn="base" latinLnBrk="0" hangingPunct="1">
              <a:spcBef>
                <a:spcPts val="0"/>
              </a:spcBef>
              <a:spcAft>
                <a:spcPts val="0"/>
              </a:spcAft>
            </a:pPr>
            <a:r>
              <a:rPr lang="it-IT" sz="1800" b="0" i="0" u="none" strike="noStrike" kern="1200" dirty="0">
                <a:solidFill>
                  <a:srgbClr val="2F2F2F"/>
                </a:solidFill>
                <a:effectLst/>
                <a:latin typeface="Univers" panose="020B0503020202020204" pitchFamily="34" charset="0"/>
              </a:rPr>
              <a:t>Blended polymers​</a:t>
            </a:r>
            <a:endParaRPr lang="sv-SE" sz="1800" b="0" i="0" u="none" strike="noStrike" dirty="0">
              <a:effectLst/>
              <a:latin typeface="Arial" panose="020B0604020202020204" pitchFamily="34" charset="0"/>
            </a:endParaRPr>
          </a:p>
          <a:p>
            <a:pPr marL="0" algn="l" rtl="0" eaLnBrk="1" fontAlgn="base" latinLnBrk="0" hangingPunct="1">
              <a:spcBef>
                <a:spcPts val="0"/>
              </a:spcBef>
              <a:spcAft>
                <a:spcPts val="0"/>
              </a:spcAft>
            </a:pPr>
            <a:r>
              <a:rPr lang="it-IT" sz="1800" b="0" i="0" u="none" strike="noStrike" kern="1200" dirty="0">
                <a:solidFill>
                  <a:srgbClr val="2F2F2F"/>
                </a:solidFill>
                <a:effectLst/>
                <a:latin typeface="Univers" panose="020B0503020202020204" pitchFamily="34" charset="0"/>
              </a:rPr>
              <a:t>Biochar​</a:t>
            </a:r>
            <a:endParaRPr lang="sv-SE" sz="1800" b="0" i="0" u="none" strike="noStrike" dirty="0">
              <a:effectLst/>
              <a:latin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2F2F2F"/>
              </a:solidFill>
              <a:effectLst/>
              <a:uLnTx/>
              <a:uFillTx/>
              <a:latin typeface="Univers"/>
              <a:ea typeface="+mn-ea"/>
              <a:cs typeface="Calibri" panose="020F0502020204030204"/>
            </a:endParaRPr>
          </a:p>
          <a:p>
            <a:endParaRPr lang="en-GB" dirty="0"/>
          </a:p>
        </p:txBody>
      </p:sp>
      <p:sp>
        <p:nvSpPr>
          <p:cNvPr id="4" name="Marcador de número de diapositiva 3"/>
          <p:cNvSpPr>
            <a:spLocks noGrp="1"/>
          </p:cNvSpPr>
          <p:nvPr>
            <p:ph type="sldNum" sz="quarter" idx="5"/>
          </p:nvPr>
        </p:nvSpPr>
        <p:spPr/>
        <p:txBody>
          <a:bodyPr/>
          <a:lstStyle/>
          <a:p>
            <a:fld id="{F84DB91F-1AD8-437C-8866-3636784D0854}" type="slidenum">
              <a:rPr lang="en-GB" smtClean="0"/>
              <a:t>190</a:t>
            </a:fld>
            <a:endParaRPr lang="en-GB"/>
          </a:p>
        </p:txBody>
      </p:sp>
    </p:spTree>
    <p:extLst>
      <p:ext uri="{BB962C8B-B14F-4D97-AF65-F5344CB8AC3E}">
        <p14:creationId xmlns:p14="http://schemas.microsoft.com/office/powerpoint/2010/main" val="381130152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a:t>https://www.un.org/sustainabledevelopment/sustainable-consumption-production/</a:t>
            </a:r>
          </a:p>
          <a:p>
            <a:r>
              <a:rPr lang="sv-SE" err="1"/>
              <a:t>Indicators</a:t>
            </a:r>
            <a:r>
              <a:rPr lang="sv-SE"/>
              <a:t>: https://sdg-tracker.org/sustainable-consumption-production</a:t>
            </a:r>
          </a:p>
          <a:p>
            <a:endParaRPr lang="sv-S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4DB91F-1AD8-437C-8866-3636784D085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9477073"/>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2F2F2F"/>
                </a:solidFill>
                <a:effectLst/>
                <a:uLnTx/>
                <a:uFillTx/>
                <a:latin typeface="Univers"/>
                <a:ea typeface="+mn-ea"/>
                <a:cs typeface="Calibri" panose="020F0502020204030204"/>
              </a:rPr>
              <a:t>Data analysis for TG use:</a:t>
            </a:r>
          </a:p>
          <a:p>
            <a:pPr marL="742950" marR="0" lvl="1" indent="-285750" algn="l" defTabSz="914400" rtl="0" eaLnBrk="1" fontAlgn="auto" latinLnBrk="0" hangingPunct="1">
              <a:lnSpc>
                <a:spcPct val="150000"/>
              </a:lnSpc>
              <a:spcBef>
                <a:spcPts val="0"/>
              </a:spcBef>
              <a:spcAft>
                <a:spcPts val="0"/>
              </a:spcAft>
              <a:buClrTx/>
              <a:buSzTx/>
              <a:buFont typeface="Courier New" panose="02070309020205020404" pitchFamily="49" charset="0"/>
              <a:buChar char="o"/>
              <a:tabLst/>
              <a:defRPr/>
            </a:pPr>
            <a:r>
              <a:rPr kumimoji="0" lang="en-US" sz="2000" b="0" i="0" u="none" strike="noStrike" kern="1200" cap="none" spc="0" normalizeH="0" baseline="0" noProof="0" dirty="0">
                <a:ln>
                  <a:noFill/>
                </a:ln>
                <a:solidFill>
                  <a:srgbClr val="2F2F2F"/>
                </a:solidFill>
                <a:effectLst/>
                <a:uLnTx/>
                <a:uFillTx/>
                <a:latin typeface="Univers"/>
                <a:ea typeface="+mn-ea"/>
                <a:cs typeface="Calibri" panose="020F0502020204030204"/>
              </a:rPr>
              <a:t>Large trials with TG injection in 2022 and 2023</a:t>
            </a:r>
          </a:p>
          <a:p>
            <a:pPr marL="742950" marR="0" lvl="1" indent="-285750" algn="l" defTabSz="914400" rtl="0" eaLnBrk="1" fontAlgn="auto" latinLnBrk="0" hangingPunct="1">
              <a:lnSpc>
                <a:spcPct val="150000"/>
              </a:lnSpc>
              <a:spcBef>
                <a:spcPts val="0"/>
              </a:spcBef>
              <a:spcAft>
                <a:spcPts val="0"/>
              </a:spcAft>
              <a:buClrTx/>
              <a:buSzTx/>
              <a:buFont typeface="Courier New" panose="02070309020205020404" pitchFamily="49" charset="0"/>
              <a:buChar char="o"/>
              <a:tabLst/>
              <a:defRPr/>
            </a:pPr>
            <a:r>
              <a:rPr kumimoji="0" lang="en-US" sz="2000" b="0" i="0" u="none" strike="noStrike" kern="1200" cap="none" spc="0" normalizeH="0" baseline="0" noProof="0" dirty="0">
                <a:ln>
                  <a:noFill/>
                </a:ln>
                <a:solidFill>
                  <a:srgbClr val="2F2F2F"/>
                </a:solidFill>
                <a:effectLst/>
                <a:uLnTx/>
                <a:uFillTx/>
                <a:latin typeface="Univers"/>
                <a:ea typeface="+mn-ea"/>
                <a:cs typeface="Calibri" panose="020F0502020204030204"/>
              </a:rPr>
              <a:t>Heats with TG injection and no TG injection</a:t>
            </a:r>
          </a:p>
          <a:p>
            <a:pPr marL="742950" marR="0" lvl="1" indent="-285750" algn="l" defTabSz="914400" rtl="0" eaLnBrk="1" fontAlgn="auto" latinLnBrk="0" hangingPunct="1">
              <a:lnSpc>
                <a:spcPct val="150000"/>
              </a:lnSpc>
              <a:spcBef>
                <a:spcPts val="0"/>
              </a:spcBef>
              <a:spcAft>
                <a:spcPts val="0"/>
              </a:spcAft>
              <a:buClrTx/>
              <a:buSzTx/>
              <a:buFont typeface="Courier New" panose="02070309020205020404" pitchFamily="49" charset="0"/>
              <a:buChar char="o"/>
              <a:tabLst/>
              <a:defRPr/>
            </a:pPr>
            <a:endParaRPr kumimoji="0" lang="en-US" sz="2000" b="0" i="0" u="none" strike="noStrike" kern="1200" cap="none" spc="0" normalizeH="0" baseline="0" noProof="0" dirty="0">
              <a:ln>
                <a:noFill/>
              </a:ln>
              <a:solidFill>
                <a:srgbClr val="2F2F2F"/>
              </a:solidFill>
              <a:effectLst/>
              <a:uLnTx/>
              <a:uFillTx/>
              <a:latin typeface="Univers"/>
              <a:ea typeface="+mn-ea"/>
              <a:cs typeface="Calibri" panose="020F0502020204030204"/>
            </a:endParaRPr>
          </a:p>
          <a:p>
            <a:pPr marL="742950" marR="0" lvl="1" indent="-285750" algn="l" defTabSz="914400" rtl="0" eaLnBrk="1" fontAlgn="auto" latinLnBrk="0" hangingPunct="1">
              <a:lnSpc>
                <a:spcPct val="150000"/>
              </a:lnSpc>
              <a:spcBef>
                <a:spcPts val="0"/>
              </a:spcBef>
              <a:spcAft>
                <a:spcPts val="0"/>
              </a:spcAft>
              <a:buClrTx/>
              <a:buSzTx/>
              <a:buFont typeface="Courier New" panose="02070309020205020404" pitchFamily="49" charset="0"/>
              <a:buChar char="o"/>
              <a:tabLst/>
              <a:defRPr/>
            </a:pPr>
            <a:endParaRPr kumimoji="0" lang="en-US" sz="2000" b="0" i="0" u="none" strike="noStrike" kern="1200" cap="none" spc="0" normalizeH="0" baseline="0" noProof="0" dirty="0">
              <a:ln>
                <a:noFill/>
              </a:ln>
              <a:solidFill>
                <a:srgbClr val="2F2F2F"/>
              </a:solidFill>
              <a:effectLst/>
              <a:uLnTx/>
              <a:uFillTx/>
              <a:latin typeface="Univers"/>
              <a:ea typeface="+mn-ea"/>
              <a:cs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srgbClr val="2F2F2F"/>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dirty="0" err="1">
                <a:ln>
                  <a:noFill/>
                </a:ln>
                <a:solidFill>
                  <a:srgbClr val="2F2F2F"/>
                </a:solidFill>
                <a:effectLst/>
                <a:uLnTx/>
                <a:uFillTx/>
                <a:latin typeface="Arial"/>
                <a:ea typeface="+mn-ea"/>
                <a:cs typeface="+mn-cs"/>
              </a:rPr>
              <a:t>More</a:t>
            </a:r>
            <a:r>
              <a:rPr kumimoji="0" lang="sv-SE" sz="1200" b="0" i="0" u="none" strike="noStrike" kern="1200" cap="none" spc="0" normalizeH="0" baseline="0" noProof="0" dirty="0">
                <a:ln>
                  <a:noFill/>
                </a:ln>
                <a:solidFill>
                  <a:srgbClr val="2F2F2F"/>
                </a:solidFill>
                <a:effectLst/>
                <a:uLnTx/>
                <a:uFillTx/>
                <a:latin typeface="Arial"/>
                <a:ea typeface="+mn-ea"/>
                <a:cs typeface="+mn-cs"/>
              </a:rPr>
              <a:t> information </a:t>
            </a:r>
            <a:r>
              <a:rPr kumimoji="0" lang="sv-SE" sz="1200" b="0" i="0" u="none" strike="noStrike" kern="1200" cap="none" spc="0" normalizeH="0" baseline="0" noProof="0" dirty="0" err="1">
                <a:ln>
                  <a:noFill/>
                </a:ln>
                <a:solidFill>
                  <a:srgbClr val="2F2F2F"/>
                </a:solidFill>
                <a:effectLst/>
                <a:uLnTx/>
                <a:uFillTx/>
                <a:latin typeface="Arial"/>
                <a:ea typeface="+mn-ea"/>
                <a:cs typeface="+mn-cs"/>
              </a:rPr>
              <a:t>see</a:t>
            </a:r>
            <a:r>
              <a:rPr kumimoji="0" lang="sv-SE" sz="1200" b="0" i="0" u="none" strike="noStrike" kern="1200" cap="none" spc="0" normalizeH="0" baseline="0" noProof="0" dirty="0">
                <a:ln>
                  <a:noFill/>
                </a:ln>
                <a:solidFill>
                  <a:srgbClr val="2F2F2F"/>
                </a:solidFill>
                <a:effectLst/>
                <a:uLnTx/>
                <a:uFillTx/>
                <a:latin typeface="Arial"/>
                <a:ea typeface="+mn-ea"/>
                <a:cs typeface="+mn-cs"/>
              </a:rPr>
              <a:t> the workshop for researchers </a:t>
            </a:r>
            <a:r>
              <a:rPr kumimoji="0" lang="sv-SE" sz="1200" b="0" i="0" u="none" strike="noStrike" kern="1200" cap="none" spc="0" normalizeH="0" baseline="0" noProof="0" dirty="0" err="1">
                <a:ln>
                  <a:noFill/>
                </a:ln>
                <a:solidFill>
                  <a:srgbClr val="2F2F2F"/>
                </a:solidFill>
                <a:effectLst/>
                <a:uLnTx/>
                <a:uFillTx/>
                <a:latin typeface="Arial"/>
                <a:ea typeface="+mn-ea"/>
                <a:cs typeface="+mn-cs"/>
              </a:rPr>
              <a:t>available</a:t>
            </a:r>
            <a:r>
              <a:rPr kumimoji="0" lang="sv-SE" sz="1200" b="0" i="0" u="none" strike="noStrike" kern="1200" cap="none" spc="0" normalizeH="0" baseline="0" noProof="0" dirty="0">
                <a:ln>
                  <a:noFill/>
                </a:ln>
                <a:solidFill>
                  <a:srgbClr val="2F2F2F"/>
                </a:solidFill>
                <a:effectLst/>
                <a:uLnTx/>
                <a:uFillTx/>
                <a:latin typeface="Arial"/>
                <a:ea typeface="+mn-ea"/>
                <a:cs typeface="+mn-cs"/>
              </a:rPr>
              <a:t> at the </a:t>
            </a:r>
            <a:r>
              <a:rPr kumimoji="0" lang="sv-SE" sz="1200" b="0" i="0" u="none" strike="noStrike" kern="1200" cap="none" spc="0" normalizeH="0" baseline="0" noProof="0" dirty="0" err="1">
                <a:ln>
                  <a:noFill/>
                </a:ln>
                <a:solidFill>
                  <a:srgbClr val="2F2F2F"/>
                </a:solidFill>
                <a:effectLst/>
                <a:uLnTx/>
                <a:uFillTx/>
                <a:latin typeface="Arial"/>
                <a:ea typeface="+mn-ea"/>
                <a:cs typeface="+mn-cs"/>
              </a:rPr>
              <a:t>project</a:t>
            </a:r>
            <a:r>
              <a:rPr kumimoji="0" lang="sv-SE" sz="1200" b="0" i="0" u="none" strike="noStrike" kern="1200" cap="none" spc="0" normalizeH="0" baseline="0" noProof="0" dirty="0">
                <a:ln>
                  <a:noFill/>
                </a:ln>
                <a:solidFill>
                  <a:srgbClr val="2F2F2F"/>
                </a:solidFill>
                <a:effectLst/>
                <a:uLnTx/>
                <a:uFillTx/>
                <a:latin typeface="Arial"/>
                <a:ea typeface="+mn-ea"/>
                <a:cs typeface="+mn-cs"/>
              </a:rPr>
              <a:t> </a:t>
            </a:r>
            <a:r>
              <a:rPr kumimoji="0" lang="sv-SE" sz="1200" b="0" i="0" u="none" strike="noStrike" kern="1200" cap="none" spc="0" normalizeH="0" baseline="0" noProof="0" dirty="0" err="1">
                <a:ln>
                  <a:noFill/>
                </a:ln>
                <a:solidFill>
                  <a:srgbClr val="2F2F2F"/>
                </a:solidFill>
                <a:effectLst/>
                <a:uLnTx/>
                <a:uFillTx/>
                <a:latin typeface="Arial"/>
                <a:ea typeface="+mn-ea"/>
                <a:cs typeface="+mn-cs"/>
              </a:rPr>
              <a:t>website</a:t>
            </a:r>
            <a:r>
              <a:rPr kumimoji="0" lang="sv-SE" sz="1200" b="0" i="0" u="none" strike="noStrike" kern="1200" cap="none" spc="0" normalizeH="0" baseline="0" noProof="0" dirty="0">
                <a:ln>
                  <a:noFill/>
                </a:ln>
                <a:solidFill>
                  <a:srgbClr val="2F2F2F"/>
                </a:solidFill>
                <a:effectLst/>
                <a:uLnTx/>
                <a:uFillTx/>
                <a:latin typeface="Arial"/>
                <a:ea typeface="+mn-ea"/>
                <a:cs typeface="+mn-cs"/>
              </a:rPr>
              <a:t>, </a:t>
            </a:r>
            <a:r>
              <a:rPr kumimoji="0" lang="sv-SE" sz="1200" b="0" i="0" u="none" strike="noStrike" kern="1200" cap="none" spc="0" normalizeH="0" baseline="0" noProof="0" dirty="0" err="1">
                <a:ln>
                  <a:noFill/>
                </a:ln>
                <a:solidFill>
                  <a:srgbClr val="2F2F2F"/>
                </a:solidFill>
                <a:effectLst/>
                <a:uLnTx/>
                <a:uFillTx/>
                <a:latin typeface="Arial"/>
                <a:ea typeface="+mn-ea"/>
                <a:cs typeface="+mn-cs"/>
              </a:rPr>
              <a:t>click</a:t>
            </a:r>
            <a:r>
              <a:rPr kumimoji="0" lang="sv-SE" sz="1200" b="0" i="0" u="none" strike="noStrike" kern="1200" cap="none" spc="0" normalizeH="0" baseline="0" noProof="0" dirty="0">
                <a:ln>
                  <a:noFill/>
                </a:ln>
                <a:solidFill>
                  <a:srgbClr val="2F2F2F"/>
                </a:solidFill>
                <a:effectLst/>
                <a:uLnTx/>
                <a:uFillTx/>
                <a:latin typeface="Arial"/>
                <a:ea typeface="+mn-ea"/>
                <a:cs typeface="+mn-cs"/>
              </a:rPr>
              <a:t> </a:t>
            </a:r>
            <a:r>
              <a:rPr kumimoji="0" lang="sv-SE" sz="1200" b="0" i="0" u="none" strike="noStrike" kern="1200" cap="none" spc="0" normalizeH="0" baseline="0" noProof="0" dirty="0" err="1">
                <a:ln>
                  <a:noFill/>
                </a:ln>
                <a:solidFill>
                  <a:srgbClr val="2F2F2F"/>
                </a:solidFill>
                <a:effectLst/>
                <a:uLnTx/>
                <a:uFillTx/>
                <a:latin typeface="Arial"/>
                <a:ea typeface="+mn-ea"/>
                <a:cs typeface="+mn-cs"/>
              </a:rPr>
              <a:t>here</a:t>
            </a:r>
            <a:r>
              <a:rPr kumimoji="0" lang="sv-SE" sz="1200" b="0" i="0" u="none" strike="noStrike" kern="1200" cap="none" spc="0" normalizeH="0" baseline="0" noProof="0" dirty="0">
                <a:ln>
                  <a:noFill/>
                </a:ln>
                <a:solidFill>
                  <a:srgbClr val="2F2F2F"/>
                </a:solidFill>
                <a:effectLst/>
                <a:uLnTx/>
                <a:uFillTx/>
                <a:latin typeface="Arial"/>
                <a:ea typeface="+mn-ea"/>
                <a:cs typeface="+mn-cs"/>
              </a:rPr>
              <a:t>. </a:t>
            </a:r>
          </a:p>
          <a:p>
            <a:endParaRPr lang="en-GB" dirty="0"/>
          </a:p>
        </p:txBody>
      </p:sp>
      <p:sp>
        <p:nvSpPr>
          <p:cNvPr id="4" name="Marcador de número de diapositiva 3"/>
          <p:cNvSpPr>
            <a:spLocks noGrp="1"/>
          </p:cNvSpPr>
          <p:nvPr>
            <p:ph type="sldNum" sz="quarter" idx="5"/>
          </p:nvPr>
        </p:nvSpPr>
        <p:spPr/>
        <p:txBody>
          <a:bodyPr/>
          <a:lstStyle/>
          <a:p>
            <a:fld id="{F84DB91F-1AD8-437C-8866-3636784D0854}" type="slidenum">
              <a:rPr lang="en-GB" smtClean="0"/>
              <a:t>191</a:t>
            </a:fld>
            <a:endParaRPr lang="en-GB"/>
          </a:p>
        </p:txBody>
      </p:sp>
    </p:spTree>
    <p:extLst>
      <p:ext uri="{BB962C8B-B14F-4D97-AF65-F5344CB8AC3E}">
        <p14:creationId xmlns:p14="http://schemas.microsoft.com/office/powerpoint/2010/main" val="232851611"/>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dirty="0" err="1">
                <a:ln>
                  <a:noFill/>
                </a:ln>
                <a:solidFill>
                  <a:srgbClr val="2F2F2F"/>
                </a:solidFill>
                <a:effectLst/>
                <a:uLnTx/>
                <a:uFillTx/>
                <a:latin typeface="Arial"/>
                <a:ea typeface="+mn-ea"/>
                <a:cs typeface="+mn-cs"/>
              </a:rPr>
              <a:t>More</a:t>
            </a:r>
            <a:r>
              <a:rPr kumimoji="0" lang="sv-SE" sz="1200" b="0" i="0" u="none" strike="noStrike" kern="1200" cap="none" spc="0" normalizeH="0" baseline="0" noProof="0" dirty="0">
                <a:ln>
                  <a:noFill/>
                </a:ln>
                <a:solidFill>
                  <a:srgbClr val="2F2F2F"/>
                </a:solidFill>
                <a:effectLst/>
                <a:uLnTx/>
                <a:uFillTx/>
                <a:latin typeface="Arial"/>
                <a:ea typeface="+mn-ea"/>
                <a:cs typeface="+mn-cs"/>
              </a:rPr>
              <a:t> information </a:t>
            </a:r>
            <a:r>
              <a:rPr kumimoji="0" lang="sv-SE" sz="1200" b="0" i="0" u="none" strike="noStrike" kern="1200" cap="none" spc="0" normalizeH="0" baseline="0" noProof="0" dirty="0" err="1">
                <a:ln>
                  <a:noFill/>
                </a:ln>
                <a:solidFill>
                  <a:srgbClr val="2F2F2F"/>
                </a:solidFill>
                <a:effectLst/>
                <a:uLnTx/>
                <a:uFillTx/>
                <a:latin typeface="Arial"/>
                <a:ea typeface="+mn-ea"/>
                <a:cs typeface="+mn-cs"/>
              </a:rPr>
              <a:t>see</a:t>
            </a:r>
            <a:r>
              <a:rPr kumimoji="0" lang="sv-SE" sz="1200" b="0" i="0" u="none" strike="noStrike" kern="1200" cap="none" spc="0" normalizeH="0" baseline="0" noProof="0" dirty="0">
                <a:ln>
                  <a:noFill/>
                </a:ln>
                <a:solidFill>
                  <a:srgbClr val="2F2F2F"/>
                </a:solidFill>
                <a:effectLst/>
                <a:uLnTx/>
                <a:uFillTx/>
                <a:latin typeface="Arial"/>
                <a:ea typeface="+mn-ea"/>
                <a:cs typeface="+mn-cs"/>
              </a:rPr>
              <a:t> the workshop for researchers </a:t>
            </a:r>
            <a:r>
              <a:rPr kumimoji="0" lang="sv-SE" sz="1200" b="0" i="0" u="none" strike="noStrike" kern="1200" cap="none" spc="0" normalizeH="0" baseline="0" noProof="0" dirty="0" err="1">
                <a:ln>
                  <a:noFill/>
                </a:ln>
                <a:solidFill>
                  <a:srgbClr val="2F2F2F"/>
                </a:solidFill>
                <a:effectLst/>
                <a:uLnTx/>
                <a:uFillTx/>
                <a:latin typeface="Arial"/>
                <a:ea typeface="+mn-ea"/>
                <a:cs typeface="+mn-cs"/>
              </a:rPr>
              <a:t>available</a:t>
            </a:r>
            <a:r>
              <a:rPr kumimoji="0" lang="sv-SE" sz="1200" b="0" i="0" u="none" strike="noStrike" kern="1200" cap="none" spc="0" normalizeH="0" baseline="0" noProof="0" dirty="0">
                <a:ln>
                  <a:noFill/>
                </a:ln>
                <a:solidFill>
                  <a:srgbClr val="2F2F2F"/>
                </a:solidFill>
                <a:effectLst/>
                <a:uLnTx/>
                <a:uFillTx/>
                <a:latin typeface="Arial"/>
                <a:ea typeface="+mn-ea"/>
                <a:cs typeface="+mn-cs"/>
              </a:rPr>
              <a:t> at the </a:t>
            </a:r>
            <a:r>
              <a:rPr kumimoji="0" lang="sv-SE" sz="1200" b="0" i="0" u="none" strike="noStrike" kern="1200" cap="none" spc="0" normalizeH="0" baseline="0" noProof="0" dirty="0" err="1">
                <a:ln>
                  <a:noFill/>
                </a:ln>
                <a:solidFill>
                  <a:srgbClr val="2F2F2F"/>
                </a:solidFill>
                <a:effectLst/>
                <a:uLnTx/>
                <a:uFillTx/>
                <a:latin typeface="Arial"/>
                <a:ea typeface="+mn-ea"/>
                <a:cs typeface="+mn-cs"/>
              </a:rPr>
              <a:t>project</a:t>
            </a:r>
            <a:r>
              <a:rPr kumimoji="0" lang="sv-SE" sz="1200" b="0" i="0" u="none" strike="noStrike" kern="1200" cap="none" spc="0" normalizeH="0" baseline="0" noProof="0" dirty="0">
                <a:ln>
                  <a:noFill/>
                </a:ln>
                <a:solidFill>
                  <a:srgbClr val="2F2F2F"/>
                </a:solidFill>
                <a:effectLst/>
                <a:uLnTx/>
                <a:uFillTx/>
                <a:latin typeface="Arial"/>
                <a:ea typeface="+mn-ea"/>
                <a:cs typeface="+mn-cs"/>
              </a:rPr>
              <a:t> </a:t>
            </a:r>
            <a:r>
              <a:rPr kumimoji="0" lang="sv-SE" sz="1200" b="0" i="0" u="none" strike="noStrike" kern="1200" cap="none" spc="0" normalizeH="0" baseline="0" noProof="0" dirty="0" err="1">
                <a:ln>
                  <a:noFill/>
                </a:ln>
                <a:solidFill>
                  <a:srgbClr val="2F2F2F"/>
                </a:solidFill>
                <a:effectLst/>
                <a:uLnTx/>
                <a:uFillTx/>
                <a:latin typeface="Arial"/>
                <a:ea typeface="+mn-ea"/>
                <a:cs typeface="+mn-cs"/>
              </a:rPr>
              <a:t>website</a:t>
            </a:r>
            <a:r>
              <a:rPr kumimoji="0" lang="sv-SE" sz="1200" b="0" i="0" u="none" strike="noStrike" kern="1200" cap="none" spc="0" normalizeH="0" baseline="0" noProof="0" dirty="0">
                <a:ln>
                  <a:noFill/>
                </a:ln>
                <a:solidFill>
                  <a:srgbClr val="2F2F2F"/>
                </a:solidFill>
                <a:effectLst/>
                <a:uLnTx/>
                <a:uFillTx/>
                <a:latin typeface="Arial"/>
                <a:ea typeface="+mn-ea"/>
                <a:cs typeface="+mn-cs"/>
              </a:rPr>
              <a:t>, </a:t>
            </a:r>
            <a:r>
              <a:rPr kumimoji="0" lang="sv-SE" sz="1200" b="0" i="0" u="none" strike="noStrike" kern="1200" cap="none" spc="0" normalizeH="0" baseline="0" noProof="0" dirty="0" err="1">
                <a:ln>
                  <a:noFill/>
                </a:ln>
                <a:solidFill>
                  <a:srgbClr val="2F2F2F"/>
                </a:solidFill>
                <a:effectLst/>
                <a:uLnTx/>
                <a:uFillTx/>
                <a:latin typeface="Arial"/>
                <a:ea typeface="+mn-ea"/>
                <a:cs typeface="+mn-cs"/>
              </a:rPr>
              <a:t>click</a:t>
            </a:r>
            <a:r>
              <a:rPr kumimoji="0" lang="sv-SE" sz="1200" b="0" i="0" u="none" strike="noStrike" kern="1200" cap="none" spc="0" normalizeH="0" baseline="0" noProof="0" dirty="0">
                <a:ln>
                  <a:noFill/>
                </a:ln>
                <a:solidFill>
                  <a:srgbClr val="2F2F2F"/>
                </a:solidFill>
                <a:effectLst/>
                <a:uLnTx/>
                <a:uFillTx/>
                <a:latin typeface="Arial"/>
                <a:ea typeface="+mn-ea"/>
                <a:cs typeface="+mn-cs"/>
              </a:rPr>
              <a:t> </a:t>
            </a:r>
            <a:r>
              <a:rPr kumimoji="0" lang="sv-SE" sz="1200" b="0" i="0" u="none" strike="noStrike" kern="1200" cap="none" spc="0" normalizeH="0" baseline="0" noProof="0" dirty="0" err="1">
                <a:ln>
                  <a:noFill/>
                </a:ln>
                <a:solidFill>
                  <a:srgbClr val="2F2F2F"/>
                </a:solidFill>
                <a:effectLst/>
                <a:uLnTx/>
                <a:uFillTx/>
                <a:latin typeface="Arial"/>
                <a:ea typeface="+mn-ea"/>
                <a:cs typeface="+mn-cs"/>
              </a:rPr>
              <a:t>here</a:t>
            </a:r>
            <a:r>
              <a:rPr kumimoji="0" lang="sv-SE" sz="1200" b="0" i="0" u="none" strike="noStrike" kern="1200" cap="none" spc="0" normalizeH="0" baseline="0" noProof="0" dirty="0">
                <a:ln>
                  <a:noFill/>
                </a:ln>
                <a:solidFill>
                  <a:srgbClr val="2F2F2F"/>
                </a:solidFill>
                <a:effectLst/>
                <a:uLnTx/>
                <a:uFillTx/>
                <a:latin typeface="Arial"/>
                <a:ea typeface="+mn-ea"/>
                <a:cs typeface="+mn-cs"/>
              </a:rPr>
              <a:t>. </a:t>
            </a:r>
          </a:p>
          <a:p>
            <a:endParaRPr lang="en-GB" dirty="0"/>
          </a:p>
        </p:txBody>
      </p:sp>
      <p:sp>
        <p:nvSpPr>
          <p:cNvPr id="4" name="Marcador de número de diapositiva 3"/>
          <p:cNvSpPr>
            <a:spLocks noGrp="1"/>
          </p:cNvSpPr>
          <p:nvPr>
            <p:ph type="sldNum" sz="quarter" idx="5"/>
          </p:nvPr>
        </p:nvSpPr>
        <p:spPr/>
        <p:txBody>
          <a:bodyPr/>
          <a:lstStyle/>
          <a:p>
            <a:fld id="{F84DB91F-1AD8-437C-8866-3636784D0854}" type="slidenum">
              <a:rPr lang="en-GB" smtClean="0"/>
              <a:t>192</a:t>
            </a:fld>
            <a:endParaRPr lang="en-GB"/>
          </a:p>
        </p:txBody>
      </p:sp>
    </p:spTree>
    <p:extLst>
      <p:ext uri="{BB962C8B-B14F-4D97-AF65-F5344CB8AC3E}">
        <p14:creationId xmlns:p14="http://schemas.microsoft.com/office/powerpoint/2010/main" val="1698313486"/>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00358E"/>
                </a:solidFill>
                <a:latin typeface="Univers"/>
                <a:cs typeface="Calibri" panose="020F0502020204030204"/>
              </a:rPr>
              <a:t>Trials with biochar and Tire Grai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it-IT" sz="1200" dirty="0">
                <a:solidFill>
                  <a:srgbClr val="00358E"/>
                </a:solidFill>
                <a:latin typeface="Univers"/>
                <a:cs typeface="Calibri" panose="020F0502020204030204"/>
              </a:rPr>
              <a:t>Data are compared with only anthracite injection</a:t>
            </a:r>
            <a:endParaRPr lang="it-IT" altLang="it-IT" sz="2400" dirty="0">
              <a:solidFill>
                <a:srgbClr val="00358E"/>
              </a:solidFill>
              <a:latin typeface="Univers"/>
              <a:cs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rgbClr val="00358E"/>
              </a:solidFill>
              <a:latin typeface="Univers"/>
              <a:cs typeface="Calibri" panose="020F0502020204030204"/>
            </a:endParaRPr>
          </a:p>
          <a:p>
            <a:endParaRPr lang="en-GB" dirty="0"/>
          </a:p>
        </p:txBody>
      </p:sp>
      <p:sp>
        <p:nvSpPr>
          <p:cNvPr id="4" name="Marcador de número de diapositiva 3"/>
          <p:cNvSpPr>
            <a:spLocks noGrp="1"/>
          </p:cNvSpPr>
          <p:nvPr>
            <p:ph type="sldNum" sz="quarter" idx="5"/>
          </p:nvPr>
        </p:nvSpPr>
        <p:spPr/>
        <p:txBody>
          <a:bodyPr/>
          <a:lstStyle/>
          <a:p>
            <a:fld id="{F84DB91F-1AD8-437C-8866-3636784D0854}" type="slidenum">
              <a:rPr lang="en-GB" smtClean="0"/>
              <a:t>193</a:t>
            </a:fld>
            <a:endParaRPr lang="en-GB"/>
          </a:p>
        </p:txBody>
      </p:sp>
    </p:spTree>
    <p:extLst>
      <p:ext uri="{BB962C8B-B14F-4D97-AF65-F5344CB8AC3E}">
        <p14:creationId xmlns:p14="http://schemas.microsoft.com/office/powerpoint/2010/main" val="2808504656"/>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F2F2F"/>
                </a:solidFill>
                <a:effectLst/>
                <a:uLnTx/>
                <a:uFillTx/>
                <a:latin typeface="Arial"/>
                <a:ea typeface="+mn-ea"/>
                <a:cs typeface="+mn-cs"/>
              </a:rPr>
              <a:t>In the steel sector, two end users are involved: SILCOTUB and FENO. In both cases the activities will be centered in the Electrical Arc furnace where circular economy concepts will be applied. In the case of </a:t>
            </a:r>
            <a:r>
              <a:rPr kumimoji="0" lang="en-US" sz="1800" b="0" i="0" u="none" strike="noStrike" kern="1200" cap="none" spc="0" normalizeH="0" baseline="0" noProof="0" dirty="0" err="1">
                <a:ln>
                  <a:noFill/>
                </a:ln>
                <a:solidFill>
                  <a:srgbClr val="2F2F2F"/>
                </a:solidFill>
                <a:effectLst/>
                <a:uLnTx/>
                <a:uFillTx/>
                <a:latin typeface="Arial"/>
                <a:ea typeface="+mn-ea"/>
                <a:cs typeface="+mn-cs"/>
              </a:rPr>
              <a:t>Silcotub</a:t>
            </a:r>
            <a:r>
              <a:rPr kumimoji="0" lang="en-US" sz="1800" b="0" i="0" u="none" strike="noStrike" kern="1200" cap="none" spc="0" normalizeH="0" baseline="0" noProof="0" dirty="0">
                <a:ln>
                  <a:noFill/>
                </a:ln>
                <a:solidFill>
                  <a:srgbClr val="2F2F2F"/>
                </a:solidFill>
                <a:effectLst/>
                <a:uLnTx/>
                <a:uFillTx/>
                <a:latin typeface="Arial"/>
                <a:ea typeface="+mn-ea"/>
                <a:cs typeface="+mn-cs"/>
              </a:rPr>
              <a:t>, rubber and plastic injection will be used as energy provider in the melting process. In addition, SILCOTUB will intend to replace raw materials incorporating sludges and dust in the furnace. In both cases a reduction of GHG are expected and as I mentioned previously the implementation of circular economy concepts will support the reduction of feedstock. ​</a:t>
            </a:r>
            <a:endParaRPr kumimoji="0" lang="sv-SE" sz="1800" b="0" i="0" u="none" strike="noStrike" kern="1200" cap="none" spc="0" normalizeH="0" baseline="0" noProof="0" dirty="0">
              <a:ln>
                <a:noFill/>
              </a:ln>
              <a:solidFill>
                <a:srgbClr val="2F2F2F"/>
              </a:solidFill>
              <a:effectLst/>
              <a:uLnTx/>
              <a:uFillTx/>
              <a:latin typeface="Arial"/>
              <a:ea typeface="+mn-ea"/>
              <a:cs typeface="+mn-cs"/>
            </a:endParaRPr>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4DB91F-1AD8-437C-8866-3636784D085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7126427"/>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R="0" lvl="0" algn="just">
              <a:spcBef>
                <a:spcPts val="0"/>
              </a:spcBef>
              <a:spcAft>
                <a:spcPts val="1800"/>
              </a:spcAft>
            </a:pPr>
            <a:r>
              <a:rPr lang="en-US" sz="1200" dirty="0">
                <a:solidFill>
                  <a:srgbClr val="000000"/>
                </a:solidFill>
                <a:effectLst/>
                <a:latin typeface="+mj-lt"/>
                <a:ea typeface="Times New Roman" panose="02020603050405020304" pitchFamily="18" charset="0"/>
              </a:rPr>
              <a:t>The injector was installed and ENVIRONMENTAL test part showed very positive.</a:t>
            </a:r>
            <a:endParaRPr lang="en-US" sz="1200" dirty="0">
              <a:latin typeface="+mj-lt"/>
              <a:ea typeface="Times New Roman" panose="02020603050405020304" pitchFamily="18" charset="0"/>
            </a:endParaRPr>
          </a:p>
          <a:p>
            <a:pPr marR="0" lvl="0" algn="just">
              <a:spcBef>
                <a:spcPts val="0"/>
              </a:spcBef>
              <a:spcAft>
                <a:spcPts val="1800"/>
              </a:spcAft>
            </a:pPr>
            <a:r>
              <a:rPr lang="en-US" sz="1200" dirty="0">
                <a:solidFill>
                  <a:srgbClr val="000000"/>
                </a:solidFill>
                <a:effectLst/>
                <a:latin typeface="+mj-lt"/>
                <a:ea typeface="Times New Roman" panose="02020603050405020304" pitchFamily="18" charset="0"/>
              </a:rPr>
              <a:t>More than that, we managed to find a local company which develops plastic grains from PET’s recycling, which is a great opportunity for our project, and we are thinking about the possibility to shred the plastic bought from them and rubber material in our plant, which may provide further benefits and advantages in terms of logistics, availability and quality.</a:t>
            </a:r>
          </a:p>
          <a:p>
            <a:pPr marR="0" lvl="0" algn="just">
              <a:spcBef>
                <a:spcPts val="0"/>
              </a:spcBef>
              <a:spcAft>
                <a:spcPts val="1800"/>
              </a:spcAft>
            </a:pPr>
            <a:r>
              <a:rPr lang="en-US" sz="1200" dirty="0">
                <a:solidFill>
                  <a:srgbClr val="000000"/>
                </a:solidFill>
                <a:latin typeface="+mj-lt"/>
                <a:ea typeface="Times New Roman" panose="02020603050405020304" pitchFamily="18" charset="0"/>
              </a:rPr>
              <a:t>Next we will go into Industrial testing and full validation of the long term benefits.</a:t>
            </a:r>
          </a:p>
          <a:p>
            <a:pPr marR="0" lvl="0" algn="just">
              <a:spcBef>
                <a:spcPts val="0"/>
              </a:spcBef>
              <a:spcAft>
                <a:spcPts val="1800"/>
              </a:spcAft>
            </a:pPr>
            <a:r>
              <a:rPr lang="en-US" sz="1200" dirty="0">
                <a:solidFill>
                  <a:srgbClr val="000000"/>
                </a:solidFill>
                <a:latin typeface="+mj-lt"/>
                <a:ea typeface="Times New Roman" panose="02020603050405020304" pitchFamily="18" charset="0"/>
              </a:rPr>
              <a:t>Integrate the methodology in our operations world wide.</a:t>
            </a:r>
            <a:endParaRPr lang="en-US" sz="1200" dirty="0">
              <a:solidFill>
                <a:srgbClr val="000000"/>
              </a:solidFill>
              <a:effectLst/>
              <a:latin typeface="+mj-lt"/>
              <a:ea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2F2F2F"/>
              </a:solidFill>
              <a:effectLst/>
              <a:uLnTx/>
              <a:uFillTx/>
              <a:latin typeface="Univers"/>
              <a:ea typeface="+mn-ea"/>
              <a:cs typeface="Calibri" panose="020F0502020204030204"/>
            </a:endParaRPr>
          </a:p>
          <a:p>
            <a:endParaRPr lang="en-GB" dirty="0"/>
          </a:p>
        </p:txBody>
      </p:sp>
      <p:sp>
        <p:nvSpPr>
          <p:cNvPr id="4" name="Marcador de número de diapositiva 3"/>
          <p:cNvSpPr>
            <a:spLocks noGrp="1"/>
          </p:cNvSpPr>
          <p:nvPr>
            <p:ph type="sldNum" sz="quarter" idx="5"/>
          </p:nvPr>
        </p:nvSpPr>
        <p:spPr/>
        <p:txBody>
          <a:bodyPr/>
          <a:lstStyle/>
          <a:p>
            <a:fld id="{F84DB91F-1AD8-437C-8866-3636784D0854}" type="slidenum">
              <a:rPr lang="en-GB" smtClean="0"/>
              <a:t>196</a:t>
            </a:fld>
            <a:endParaRPr lang="en-GB"/>
          </a:p>
        </p:txBody>
      </p:sp>
    </p:spTree>
    <p:extLst>
      <p:ext uri="{BB962C8B-B14F-4D97-AF65-F5344CB8AC3E}">
        <p14:creationId xmlns:p14="http://schemas.microsoft.com/office/powerpoint/2010/main" val="432336701"/>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2F2F2F"/>
              </a:solidFill>
              <a:effectLst/>
              <a:uLnTx/>
              <a:uFillTx/>
              <a:latin typeface="Univers"/>
              <a:ea typeface="+mn-ea"/>
              <a:cs typeface="Calibri" panose="020F0502020204030204"/>
            </a:endParaRPr>
          </a:p>
          <a:p>
            <a:endParaRPr lang="en-GB" dirty="0"/>
          </a:p>
        </p:txBody>
      </p:sp>
      <p:sp>
        <p:nvSpPr>
          <p:cNvPr id="4" name="Marcador de número de diapositiva 3"/>
          <p:cNvSpPr>
            <a:spLocks noGrp="1"/>
          </p:cNvSpPr>
          <p:nvPr>
            <p:ph type="sldNum" sz="quarter" idx="5"/>
          </p:nvPr>
        </p:nvSpPr>
        <p:spPr/>
        <p:txBody>
          <a:bodyPr/>
          <a:lstStyle/>
          <a:p>
            <a:fld id="{F84DB91F-1AD8-437C-8866-3636784D0854}" type="slidenum">
              <a:rPr lang="en-GB" smtClean="0"/>
              <a:t>197</a:t>
            </a:fld>
            <a:endParaRPr lang="en-GB"/>
          </a:p>
        </p:txBody>
      </p:sp>
    </p:spTree>
    <p:extLst>
      <p:ext uri="{BB962C8B-B14F-4D97-AF65-F5344CB8AC3E}">
        <p14:creationId xmlns:p14="http://schemas.microsoft.com/office/powerpoint/2010/main" val="3389415183"/>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algn="just">
              <a:lnSpc>
                <a:spcPct val="125000"/>
              </a:lnSpc>
              <a:spcBef>
                <a:spcPts val="0"/>
              </a:spcBef>
              <a:spcAft>
                <a:spcPts val="1200"/>
              </a:spcAft>
            </a:pPr>
            <a:r>
              <a:rPr lang="en-US" sz="1200" dirty="0">
                <a:solidFill>
                  <a:srgbClr val="000000"/>
                </a:solidFill>
                <a:effectLst/>
                <a:latin typeface="+mj-lt"/>
                <a:ea typeface="Times New Roman" panose="02020603050405020304" pitchFamily="18" charset="0"/>
                <a:cs typeface="Times New Roman" panose="02020603050405020304" pitchFamily="18" charset="0"/>
              </a:rPr>
              <a:t>The specific benefits of using alternative materials, in SILCOTUB are:</a:t>
            </a:r>
          </a:p>
          <a:p>
            <a:pPr marL="0" marR="0" algn="just">
              <a:lnSpc>
                <a:spcPct val="125000"/>
              </a:lnSpc>
              <a:spcBef>
                <a:spcPts val="0"/>
              </a:spcBef>
              <a:spcAft>
                <a:spcPts val="1200"/>
              </a:spcAft>
            </a:pPr>
            <a:r>
              <a:rPr lang="en-GB" sz="1200" dirty="0">
                <a:solidFill>
                  <a:srgbClr val="000000"/>
                </a:solidFill>
                <a:effectLst/>
                <a:latin typeface="+mj-lt"/>
                <a:ea typeface="Times New Roman" panose="02020603050405020304" pitchFamily="18" charset="0"/>
                <a:cs typeface="Arial" panose="020B0604020202020204" pitchFamily="34" charset="0"/>
              </a:rPr>
              <a:t>One benefit is referring to an important environmental aspect, namely ‘circular economy’. </a:t>
            </a:r>
            <a:r>
              <a:rPr lang="en-GB" sz="1200" dirty="0">
                <a:solidFill>
                  <a:srgbClr val="000000"/>
                </a:solidFill>
                <a:effectLst/>
                <a:latin typeface="+mj-lt"/>
                <a:ea typeface="Times New Roman" panose="02020603050405020304" pitchFamily="18" charset="0"/>
                <a:cs typeface="Times New Roman" panose="02020603050405020304" pitchFamily="18" charset="0"/>
              </a:rPr>
              <a:t> </a:t>
            </a:r>
            <a:endParaRPr lang="en-US" sz="1200" dirty="0">
              <a:solidFill>
                <a:srgbClr val="000000"/>
              </a:solidFill>
              <a:effectLst/>
              <a:latin typeface="+mj-lt"/>
              <a:ea typeface="Times New Roman" panose="02020603050405020304" pitchFamily="18" charset="0"/>
              <a:cs typeface="Times New Roman" panose="02020603050405020304" pitchFamily="18" charset="0"/>
            </a:endParaRPr>
          </a:p>
          <a:p>
            <a:pPr marR="0" lvl="0" algn="just">
              <a:lnSpc>
                <a:spcPct val="125000"/>
              </a:lnSpc>
              <a:spcBef>
                <a:spcPts val="0"/>
              </a:spcBef>
              <a:spcAft>
                <a:spcPts val="1200"/>
              </a:spcAft>
            </a:pPr>
            <a:r>
              <a:rPr lang="en-US" sz="1200" dirty="0">
                <a:solidFill>
                  <a:srgbClr val="000000"/>
                </a:solidFill>
                <a:effectLst/>
                <a:latin typeface="+mj-lt"/>
                <a:ea typeface="Times New Roman" panose="02020603050405020304" pitchFamily="18" charset="0"/>
                <a:cs typeface="Times New Roman" panose="02020603050405020304" pitchFamily="18" charset="0"/>
              </a:rPr>
              <a:t>In case of plastic and rubber, there is a financial benefit considering that raw materials are far more expensive than this alternative solutions. </a:t>
            </a:r>
          </a:p>
          <a:p>
            <a:pPr marR="0" lvl="0" algn="just">
              <a:lnSpc>
                <a:spcPct val="125000"/>
              </a:lnSpc>
              <a:spcBef>
                <a:spcPts val="0"/>
              </a:spcBef>
              <a:spcAft>
                <a:spcPts val="1200"/>
              </a:spcAft>
            </a:pPr>
            <a:r>
              <a:rPr lang="en-US" sz="1200" dirty="0">
                <a:solidFill>
                  <a:srgbClr val="000000"/>
                </a:solidFill>
                <a:effectLst/>
                <a:latin typeface="+mj-lt"/>
                <a:ea typeface="Times New Roman" panose="02020603050405020304" pitchFamily="18" charset="0"/>
                <a:cs typeface="Times New Roman" panose="02020603050405020304" pitchFamily="18" charset="0"/>
              </a:rPr>
              <a:t>Another benefit refers to a reduction of anthracite consumption, in a mass ratio of 1:1 with plastic or rubber grains. The CO2 impact in this change may be a reduction of </a:t>
            </a:r>
            <a:r>
              <a:rPr lang="en-US" sz="1200" dirty="0">
                <a:solidFill>
                  <a:srgbClr val="FF0000"/>
                </a:solidFill>
                <a:effectLst/>
                <a:latin typeface="+mj-lt"/>
                <a:ea typeface="Times New Roman" panose="02020603050405020304" pitchFamily="18" charset="0"/>
                <a:cs typeface="Times New Roman" panose="02020603050405020304" pitchFamily="18" charset="0"/>
              </a:rPr>
              <a:t>15%. This is based on the EU-ETS calculation we use in Romania. And here we saw also other differences on how the EU legislation was transposed in each country. In Romania we do not see the flexibility of considering in the CO2 calculation the biogenic component of a material, this compared to Italy. </a:t>
            </a:r>
          </a:p>
          <a:p>
            <a:pPr marR="0" fontAlgn="base">
              <a:spcAft>
                <a:spcPts val="1800"/>
              </a:spcAft>
            </a:pPr>
            <a:r>
              <a:rPr lang="en-US" sz="1200" dirty="0">
                <a:latin typeface="+mj-lt"/>
              </a:rPr>
              <a:t>The utilization of steel industry residues and of residues from other sectors will allow saving natural resources as lime, coal and iron.</a:t>
            </a:r>
          </a:p>
          <a:p>
            <a:pPr marR="0" fontAlgn="base">
              <a:spcAft>
                <a:spcPts val="1800"/>
              </a:spcAft>
            </a:pPr>
            <a:r>
              <a:rPr lang="en-US" sz="1200" dirty="0">
                <a:latin typeface="+mj-lt"/>
              </a:rPr>
              <a:t>To allow efficient loading of valuable residues in the EAF, a dedicated injection system was designed and will be installed to test the use of these materials into the steelmaking proces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2F2F2F"/>
              </a:solidFill>
              <a:effectLst/>
              <a:uLnTx/>
              <a:uFillTx/>
              <a:latin typeface="Univers"/>
              <a:ea typeface="+mn-ea"/>
              <a:cs typeface="Calibri" panose="020F0502020204030204"/>
            </a:endParaRPr>
          </a:p>
          <a:p>
            <a:endParaRPr lang="en-GB" dirty="0"/>
          </a:p>
        </p:txBody>
      </p:sp>
      <p:sp>
        <p:nvSpPr>
          <p:cNvPr id="4" name="Marcador de número de diapositiva 3"/>
          <p:cNvSpPr>
            <a:spLocks noGrp="1"/>
          </p:cNvSpPr>
          <p:nvPr>
            <p:ph type="sldNum" sz="quarter" idx="5"/>
          </p:nvPr>
        </p:nvSpPr>
        <p:spPr/>
        <p:txBody>
          <a:bodyPr/>
          <a:lstStyle/>
          <a:p>
            <a:fld id="{F84DB91F-1AD8-437C-8866-3636784D0854}" type="slidenum">
              <a:rPr lang="en-GB" smtClean="0"/>
              <a:t>198</a:t>
            </a:fld>
            <a:endParaRPr lang="en-GB"/>
          </a:p>
        </p:txBody>
      </p:sp>
    </p:spTree>
    <p:extLst>
      <p:ext uri="{BB962C8B-B14F-4D97-AF65-F5344CB8AC3E}">
        <p14:creationId xmlns:p14="http://schemas.microsoft.com/office/powerpoint/2010/main" val="4246046913"/>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4DB91F-1AD8-437C-8866-3636784D085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73556416"/>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400" b="1" i="0" u="none" strike="noStrike" kern="1200" cap="none" spc="0" normalizeH="0" baseline="0" noProof="0" dirty="0">
                <a:ln>
                  <a:noFill/>
                </a:ln>
                <a:solidFill>
                  <a:srgbClr val="2F2F2F"/>
                </a:solidFill>
                <a:effectLst/>
                <a:uLnTx/>
                <a:uFillTx/>
                <a:latin typeface="Arial"/>
                <a:ea typeface="+mn-ea"/>
                <a:cs typeface="+mn-cs"/>
              </a:rPr>
              <a:t>Goal and scope definition</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2F2F2F"/>
                </a:solidFill>
                <a:effectLst/>
                <a:uLnTx/>
                <a:uFillTx/>
                <a:latin typeface="Arial"/>
                <a:ea typeface="+mn-ea"/>
                <a:cs typeface="+mn-cs"/>
              </a:rPr>
              <a:t>Define the product system and the purpose of the study. </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2F2F2F"/>
              </a:solidFill>
              <a:effectLst/>
              <a:uLnTx/>
              <a:uFillTx/>
              <a:latin typeface="Arial"/>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GB" sz="1400" b="1" i="0" u="none" strike="noStrike" kern="1200" cap="none" spc="0" normalizeH="0" baseline="0" noProof="0" dirty="0">
                <a:ln>
                  <a:noFill/>
                </a:ln>
                <a:solidFill>
                  <a:srgbClr val="2F2F2F"/>
                </a:solidFill>
                <a:effectLst/>
                <a:uLnTx/>
                <a:uFillTx/>
                <a:latin typeface="Arial"/>
                <a:ea typeface="+mn-ea"/>
                <a:cs typeface="+mn-cs"/>
              </a:rPr>
              <a:t>Inventory analysis</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2F2F2F"/>
                </a:solidFill>
                <a:effectLst/>
                <a:uLnTx/>
                <a:uFillTx/>
                <a:latin typeface="Arial"/>
                <a:ea typeface="+mn-ea"/>
                <a:cs typeface="+mn-cs"/>
              </a:rPr>
              <a:t>Calculate the amount of resource use and emission of the system in relation to the functional unit. </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400" b="0" i="0" u="none" strike="noStrike" kern="1200" cap="none" spc="0" normalizeH="0" baseline="0" noProof="0" dirty="0">
              <a:ln>
                <a:noFill/>
              </a:ln>
              <a:solidFill>
                <a:srgbClr val="2F2F2F"/>
              </a:solidFill>
              <a:effectLst/>
              <a:uLnTx/>
              <a:uFillTx/>
              <a:latin typeface="Arial"/>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GB" sz="1400" b="1" i="0" u="none" strike="noStrike" kern="1200" cap="none" spc="0" normalizeH="0" baseline="0" noProof="0" dirty="0">
                <a:ln>
                  <a:noFill/>
                </a:ln>
                <a:solidFill>
                  <a:srgbClr val="2F2F2F"/>
                </a:solidFill>
                <a:effectLst/>
                <a:uLnTx/>
                <a:uFillTx/>
                <a:latin typeface="Arial"/>
                <a:ea typeface="+mn-ea"/>
                <a:cs typeface="+mn-cs"/>
              </a:rPr>
              <a:t>Impact assessment </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2F2F2F"/>
                </a:solidFill>
                <a:effectLst/>
                <a:uLnTx/>
                <a:uFillTx/>
                <a:latin typeface="Arial"/>
                <a:ea typeface="+mn-ea"/>
                <a:cs typeface="+mn-cs"/>
              </a:rPr>
              <a:t>Convert the result from the inventory step into environmental impact of the product throughout its life cycle. </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400" b="0" i="0" u="none" strike="noStrike" kern="1200" cap="none" spc="0" normalizeH="0" baseline="0" noProof="0" dirty="0">
              <a:ln>
                <a:noFill/>
              </a:ln>
              <a:solidFill>
                <a:srgbClr val="2F2F2F"/>
              </a:solidFill>
              <a:effectLst/>
              <a:uLnTx/>
              <a:uFillTx/>
              <a:latin typeface="Arial"/>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GB" sz="1400" b="1" i="0" u="none" strike="noStrike" kern="1200" cap="none" spc="0" normalizeH="0" baseline="0" noProof="0" dirty="0">
                <a:ln>
                  <a:noFill/>
                </a:ln>
                <a:solidFill>
                  <a:srgbClr val="2F2F2F"/>
                </a:solidFill>
                <a:effectLst/>
                <a:uLnTx/>
                <a:uFillTx/>
                <a:latin typeface="Arial"/>
                <a:ea typeface="+mn-ea"/>
                <a:cs typeface="+mn-cs"/>
              </a:rPr>
              <a:t>Interpretation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2F2F2F"/>
                </a:solidFill>
                <a:effectLst/>
                <a:uLnTx/>
                <a:uFillTx/>
                <a:latin typeface="Arial"/>
                <a:ea typeface="+mn-ea"/>
                <a:cs typeface="+mn-cs"/>
              </a:rPr>
              <a:t>Assessing results in order to reach conclusions and recommendations.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2F2F2F"/>
                </a:solidFill>
                <a:effectLst/>
                <a:uLnTx/>
                <a:uFillTx/>
                <a:latin typeface="Arial"/>
                <a:ea typeface="+mn-ea"/>
                <a:cs typeface="+mn-cs"/>
              </a:rPr>
              <a:t>Interpretation is an iterative process, so it is possible to reformulate the goal and scope in case unexpected result is encountered.</a:t>
            </a:r>
            <a:endParaRPr kumimoji="0" lang="sv-SE" sz="1400" b="0" i="0" u="none" strike="noStrike" kern="1200" cap="none" spc="0" normalizeH="0" baseline="0" noProof="0" dirty="0">
              <a:ln>
                <a:noFill/>
              </a:ln>
              <a:solidFill>
                <a:srgbClr val="2F2F2F"/>
              </a:solidFill>
              <a:effectLst/>
              <a:uLnTx/>
              <a:uFillTx/>
              <a:latin typeface="Arial"/>
              <a:ea typeface="+mn-ea"/>
              <a:cs typeface="+mn-cs"/>
            </a:endParaRPr>
          </a:p>
          <a:p>
            <a:endParaRPr lang="sv-SE" dirty="0"/>
          </a:p>
        </p:txBody>
      </p:sp>
      <p:sp>
        <p:nvSpPr>
          <p:cNvPr id="4" name="Slide Number Placeholder 3"/>
          <p:cNvSpPr>
            <a:spLocks noGrp="1"/>
          </p:cNvSpPr>
          <p:nvPr>
            <p:ph type="sldNum" sz="quarter" idx="5"/>
          </p:nvPr>
        </p:nvSpPr>
        <p:spPr/>
        <p:txBody>
          <a:bodyPr/>
          <a:lstStyle/>
          <a:p>
            <a:fld id="{F84DB91F-1AD8-437C-8866-3636784D0854}" type="slidenum">
              <a:rPr lang="en-GB" smtClean="0"/>
              <a:t>202</a:t>
            </a:fld>
            <a:endParaRPr lang="en-GB"/>
          </a:p>
        </p:txBody>
      </p:sp>
    </p:spTree>
    <p:extLst>
      <p:ext uri="{BB962C8B-B14F-4D97-AF65-F5344CB8AC3E}">
        <p14:creationId xmlns:p14="http://schemas.microsoft.com/office/powerpoint/2010/main" val="3173081576"/>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err="1"/>
              <a:t>recap</a:t>
            </a:r>
            <a:endParaRPr lang="sv-SE" dirty="0"/>
          </a:p>
        </p:txBody>
      </p:sp>
      <p:sp>
        <p:nvSpPr>
          <p:cNvPr id="4" name="Slide Number Placeholder 3"/>
          <p:cNvSpPr>
            <a:spLocks noGrp="1"/>
          </p:cNvSpPr>
          <p:nvPr>
            <p:ph type="sldNum" sz="quarter" idx="5"/>
          </p:nvPr>
        </p:nvSpPr>
        <p:spPr/>
        <p:txBody>
          <a:bodyPr/>
          <a:lstStyle/>
          <a:p>
            <a:fld id="{56F27705-2196-417A-A13D-48C8CEB92D2A}" type="slidenum">
              <a:rPr lang="sv-SE" smtClean="0"/>
              <a:t>203</a:t>
            </a:fld>
            <a:endParaRPr lang="sv-SE"/>
          </a:p>
        </p:txBody>
      </p:sp>
    </p:spTree>
    <p:extLst>
      <p:ext uri="{BB962C8B-B14F-4D97-AF65-F5344CB8AC3E}">
        <p14:creationId xmlns:p14="http://schemas.microsoft.com/office/powerpoint/2010/main" val="307079966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4DB91F-1AD8-437C-8866-3636784D085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4136857"/>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1600" b="1"/>
              <a:t>In-line reactor </a:t>
            </a:r>
            <a:br>
              <a:rPr lang="en-US" sz="1200"/>
            </a:br>
            <a:r>
              <a:rPr lang="en-US" sz="1200"/>
              <a:t>This novel reactor allows more </a:t>
            </a:r>
            <a:r>
              <a:rPr lang="en-GB" sz="1200"/>
              <a:t>exothermic reaction of sulfuric acid and ammonia to take place which will lead to less steam consumption and greater flexibility in sources of raw materials. </a:t>
            </a:r>
          </a:p>
          <a:p>
            <a:endParaRPr lang="sv-SE" b="1"/>
          </a:p>
        </p:txBody>
      </p:sp>
      <p:sp>
        <p:nvSpPr>
          <p:cNvPr id="4" name="Slide Number Placeholder 3"/>
          <p:cNvSpPr>
            <a:spLocks noGrp="1"/>
          </p:cNvSpPr>
          <p:nvPr>
            <p:ph type="sldNum" sz="quarter" idx="5"/>
          </p:nvPr>
        </p:nvSpPr>
        <p:spPr/>
        <p:txBody>
          <a:bodyPr/>
          <a:lstStyle/>
          <a:p>
            <a:pPr>
              <a:defRPr/>
            </a:pPr>
            <a:fld id="{5177787B-4A66-0142-903F-970ED53E63D2}" type="slidenum">
              <a:rPr lang="sv-SE" smtClean="0"/>
              <a:pPr>
                <a:defRPr/>
              </a:pPr>
              <a:t>204</a:t>
            </a:fld>
            <a:endParaRPr lang="sv-SE"/>
          </a:p>
        </p:txBody>
      </p:sp>
    </p:spTree>
    <p:extLst>
      <p:ext uri="{BB962C8B-B14F-4D97-AF65-F5344CB8AC3E}">
        <p14:creationId xmlns:p14="http://schemas.microsoft.com/office/powerpoint/2010/main" val="682913541"/>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sz="1200"/>
              <a:t>The following section will focus on the evaluation of the climate change category. </a:t>
            </a:r>
          </a:p>
          <a:p>
            <a:r>
              <a:rPr lang="en-AU" sz="1200"/>
              <a:t>However, it is important to understand that there are several different impact categories and that not all changes can be expressed with only one impact category.</a:t>
            </a:r>
          </a:p>
          <a:p>
            <a:endParaRPr lang="en-AU" sz="1200" b="1"/>
          </a:p>
          <a:p>
            <a:r>
              <a:rPr lang="en-AU" sz="1200" b="1"/>
              <a:t>Use of non-renewable primary energ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i="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Total use of non-renewable primary energy sources</a:t>
            </a:r>
            <a:r>
              <a:rPr lang="en-US"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or PENRT, is an indicator that sums up two sub-indicators, namely </a:t>
            </a:r>
            <a:r>
              <a:rPr lang="en-US" sz="1800" i="1">
                <a:solidFill>
                  <a:srgbClr val="404040"/>
                </a:solidFill>
                <a:effectLst/>
                <a:latin typeface="Liberation Serif"/>
                <a:ea typeface="Noto Sans CJK SC"/>
                <a:cs typeface="Lohit Devanagari"/>
              </a:rPr>
              <a:t>Use of non-renewable primary energy</a:t>
            </a:r>
            <a:r>
              <a:rPr lang="en-US" sz="1800" i="1">
                <a:solidFill>
                  <a:srgbClr val="000000"/>
                </a:solidFill>
                <a:effectLst/>
                <a:latin typeface="Arial" panose="020B0604020202020204" pitchFamily="34" charset="0"/>
                <a:ea typeface="Noto Sans CJK SC"/>
                <a:cs typeface="Times New Roman" panose="02020603050405020304" pitchFamily="18" charset="0"/>
              </a:rPr>
              <a:t> </a:t>
            </a:r>
            <a:r>
              <a:rPr lang="en-US" sz="1800">
                <a:solidFill>
                  <a:srgbClr val="000000"/>
                </a:solidFill>
                <a:effectLst/>
                <a:latin typeface="Arial" panose="020B0604020202020204" pitchFamily="34" charset="0"/>
                <a:ea typeface="Noto Sans CJK SC"/>
                <a:cs typeface="Times New Roman" panose="02020603050405020304" pitchFamily="18" charset="0"/>
              </a:rPr>
              <a:t>(PENRE) </a:t>
            </a:r>
            <a:r>
              <a:rPr lang="en-US"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and </a:t>
            </a:r>
            <a:r>
              <a:rPr lang="en-US" sz="1800" i="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Use of non-renewable primary energy as raw materials </a:t>
            </a:r>
            <a:r>
              <a:rPr lang="en-US"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PENRM). Given that primary energy sources in this case were used as energy carries, PENRM is equal to zero, which in turn means that PENRT is identical to PENR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800"/>
              <a:t>PENRT = PENRE + PENRM</a:t>
            </a:r>
            <a:endParaRPr lang="en-US"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This is why the increase in the two categories are the same.</a:t>
            </a:r>
          </a:p>
        </p:txBody>
      </p:sp>
      <p:sp>
        <p:nvSpPr>
          <p:cNvPr id="4" name="Slide Number Placeholder 3"/>
          <p:cNvSpPr>
            <a:spLocks noGrp="1"/>
          </p:cNvSpPr>
          <p:nvPr>
            <p:ph type="sldNum" sz="quarter" idx="5"/>
          </p:nvPr>
        </p:nvSpPr>
        <p:spPr/>
        <p:txBody>
          <a:bodyPr/>
          <a:lstStyle/>
          <a:p>
            <a:fld id="{F84DB91F-1AD8-437C-8866-3636784D0854}" type="slidenum">
              <a:rPr lang="en-GB" smtClean="0"/>
              <a:t>205</a:t>
            </a:fld>
            <a:endParaRPr lang="en-GB"/>
          </a:p>
        </p:txBody>
      </p:sp>
    </p:spTree>
    <p:extLst>
      <p:ext uri="{BB962C8B-B14F-4D97-AF65-F5344CB8AC3E}">
        <p14:creationId xmlns:p14="http://schemas.microsoft.com/office/powerpoint/2010/main" val="2419448386"/>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GB" sz="1200" b="1"/>
              <a:t>Note: </a:t>
            </a:r>
            <a:r>
              <a:rPr lang="en-GB" sz="1200" b="0"/>
              <a:t>The line in the legend shows the division between the big and small pie-chart</a:t>
            </a:r>
          </a:p>
          <a:p>
            <a:pPr marL="0" indent="0">
              <a:buNone/>
            </a:pPr>
            <a:endParaRPr lang="en-GB" sz="1200" b="1"/>
          </a:p>
          <a:p>
            <a:pPr marL="0" indent="0">
              <a:buNone/>
            </a:pPr>
            <a:r>
              <a:rPr lang="en-GB" sz="1200" b="1"/>
              <a:t>Natural gas</a:t>
            </a:r>
          </a:p>
          <a:p>
            <a:pPr marL="0" indent="0">
              <a:buNone/>
            </a:pPr>
            <a:r>
              <a:rPr lang="en-US" sz="1200"/>
              <a:t>The natural gas, which was one of the targets of the retrofit actions, was reduced from 1.18% to 0.64% of the total impact.</a:t>
            </a:r>
          </a:p>
          <a:p>
            <a:pPr marL="0" indent="0">
              <a:buNone/>
            </a:pPr>
            <a:endParaRPr lang="en-US" sz="1200"/>
          </a:p>
          <a:p>
            <a:pPr marL="0" indent="0">
              <a:buNone/>
            </a:pPr>
            <a:r>
              <a:rPr lang="en-US" sz="1200" b="1"/>
              <a:t>Raw materials</a:t>
            </a:r>
          </a:p>
          <a:p>
            <a:pPr marL="0" indent="0">
              <a:buNone/>
            </a:pPr>
            <a:r>
              <a:rPr lang="en-US" sz="1200"/>
              <a:t>Raw materials and auxiliary materials are the major contributors to the GWP (88.83% before and 92.35% after).</a:t>
            </a:r>
            <a:endParaRPr lang="en-GB" sz="1200"/>
          </a:p>
          <a:p>
            <a:pPr marL="0" indent="0">
              <a:buNone/>
            </a:pPr>
            <a:endParaRPr lang="en-GB" sz="1200"/>
          </a:p>
          <a:p>
            <a:pPr marL="0" indent="0">
              <a:buNone/>
            </a:pPr>
            <a:endParaRPr lang="en-GB" sz="1200"/>
          </a:p>
          <a:p>
            <a:pPr marL="0" indent="0">
              <a:buNone/>
            </a:pPr>
            <a:r>
              <a:rPr lang="en-GB" sz="1200" b="1"/>
              <a:t>Ammonia and ammonium </a:t>
            </a:r>
            <a:r>
              <a:rPr lang="en-GB" sz="1200" b="1" err="1"/>
              <a:t>sulfate</a:t>
            </a:r>
            <a:r>
              <a:rPr lang="en-GB" sz="1200" b="1"/>
              <a:t> </a:t>
            </a:r>
          </a:p>
          <a:p>
            <a:pPr marL="171450" indent="-171450">
              <a:buFont typeface="Arial" panose="020B0604020202020204" pitchFamily="34" charset="0"/>
              <a:buChar char="•"/>
            </a:pPr>
            <a:r>
              <a:rPr lang="en-US" sz="1200"/>
              <a:t>Ammonia and ammonium sulphate are the largest contributors to the GWP in the raw materials and auxiliary materials category.</a:t>
            </a:r>
          </a:p>
          <a:p>
            <a:pPr marL="171450" indent="-171450">
              <a:buFont typeface="Arial" panose="020B0604020202020204" pitchFamily="34" charset="0"/>
              <a:buChar char="•"/>
            </a:pPr>
            <a:r>
              <a:rPr lang="sv-SE" sz="1200" err="1"/>
              <a:t>Sulphur</a:t>
            </a:r>
            <a:r>
              <a:rPr lang="sv-SE" sz="1200"/>
              <a:t> </a:t>
            </a:r>
            <a:r>
              <a:rPr lang="sv-SE" sz="1200" err="1"/>
              <a:t>compounds</a:t>
            </a:r>
            <a:r>
              <a:rPr lang="sv-SE" sz="1200"/>
              <a:t>, </a:t>
            </a:r>
            <a:r>
              <a:rPr lang="sv-SE" sz="1200" err="1"/>
              <a:t>such</a:t>
            </a:r>
            <a:r>
              <a:rPr lang="sv-SE" sz="1200"/>
              <a:t> as ammonium </a:t>
            </a:r>
            <a:r>
              <a:rPr lang="sv-SE" sz="1200" err="1"/>
              <a:t>sulphate</a:t>
            </a:r>
            <a:r>
              <a:rPr lang="sv-SE" sz="1200"/>
              <a:t>, </a:t>
            </a:r>
            <a:r>
              <a:rPr lang="sv-SE" sz="1200" err="1"/>
              <a:t>are</a:t>
            </a:r>
            <a:r>
              <a:rPr lang="sv-SE" sz="1200"/>
              <a:t> </a:t>
            </a:r>
            <a:r>
              <a:rPr lang="sv-SE" sz="1200" err="1"/>
              <a:t>purchased</a:t>
            </a:r>
            <a:r>
              <a:rPr lang="sv-SE" sz="1200"/>
              <a:t> from a </a:t>
            </a:r>
            <a:r>
              <a:rPr lang="sv-SE" sz="1200" err="1"/>
              <a:t>third</a:t>
            </a:r>
            <a:r>
              <a:rPr lang="sv-SE" sz="1200"/>
              <a:t> party, </a:t>
            </a:r>
            <a:r>
              <a:rPr lang="sv-SE" sz="1200" err="1"/>
              <a:t>although</a:t>
            </a:r>
            <a:r>
              <a:rPr lang="sv-SE" sz="1200"/>
              <a:t> </a:t>
            </a:r>
            <a:r>
              <a:rPr lang="sv-SE" sz="1200" err="1"/>
              <a:t>they</a:t>
            </a:r>
            <a:r>
              <a:rPr lang="sv-SE" sz="1200"/>
              <a:t> </a:t>
            </a:r>
            <a:r>
              <a:rPr lang="sv-SE" sz="1200" err="1"/>
              <a:t>could</a:t>
            </a:r>
            <a:r>
              <a:rPr lang="sv-SE" sz="1200"/>
              <a:t> </a:t>
            </a:r>
            <a:r>
              <a:rPr lang="sv-SE" sz="1200" err="1"/>
              <a:t>potentially</a:t>
            </a:r>
            <a:r>
              <a:rPr lang="sv-SE" sz="1200"/>
              <a:t> be </a:t>
            </a:r>
            <a:r>
              <a:rPr lang="sv-SE" sz="1200" err="1"/>
              <a:t>produced</a:t>
            </a:r>
            <a:r>
              <a:rPr lang="sv-SE" sz="1200"/>
              <a:t> on-site </a:t>
            </a:r>
            <a:r>
              <a:rPr lang="sv-SE" sz="1200" err="1"/>
              <a:t>if</a:t>
            </a:r>
            <a:r>
              <a:rPr lang="sv-SE" sz="1200"/>
              <a:t> </a:t>
            </a:r>
            <a:r>
              <a:rPr lang="sv-SE" sz="1200" err="1"/>
              <a:t>adequate</a:t>
            </a:r>
            <a:r>
              <a:rPr lang="sv-SE" sz="1200"/>
              <a:t> </a:t>
            </a:r>
            <a:r>
              <a:rPr lang="sv-SE" sz="1200" err="1"/>
              <a:t>raw</a:t>
            </a:r>
            <a:r>
              <a:rPr lang="sv-SE" sz="1200"/>
              <a:t> materials </a:t>
            </a:r>
            <a:r>
              <a:rPr lang="sv-SE" sz="1200" err="1"/>
              <a:t>are</a:t>
            </a:r>
            <a:r>
              <a:rPr lang="sv-SE" sz="1200"/>
              <a:t> </a:t>
            </a:r>
            <a:r>
              <a:rPr lang="sv-SE" sz="1200" err="1"/>
              <a:t>available</a:t>
            </a:r>
            <a:r>
              <a:rPr lang="sv-SE" sz="1200"/>
              <a:t>.</a:t>
            </a:r>
          </a:p>
          <a:p>
            <a:pPr marL="171450" indent="-171450">
              <a:buFont typeface="Arial" panose="020B0604020202020204" pitchFamily="34" charset="0"/>
              <a:buChar char="•"/>
            </a:pPr>
            <a:r>
              <a:rPr lang="en-US" sz="1200"/>
              <a:t>The purchased ammonium sulfate is a by-product from caprolactam production. The caprolactam production requires ammonia as an input, which is provided by </a:t>
            </a:r>
            <a:r>
              <a:rPr lang="en-US" sz="1200" err="1"/>
              <a:t>Fertiberia</a:t>
            </a:r>
            <a:r>
              <a:rPr lang="en-US" sz="1200"/>
              <a:t>.</a:t>
            </a:r>
          </a:p>
          <a:p>
            <a:pPr marL="171450" indent="-171450">
              <a:buFont typeface="Arial" panose="020B0604020202020204" pitchFamily="34" charset="0"/>
              <a:buChar char="•"/>
            </a:pPr>
            <a:r>
              <a:rPr lang="sv-SE" sz="1200" err="1"/>
              <a:t>Instead</a:t>
            </a:r>
            <a:r>
              <a:rPr lang="sv-SE" sz="1200"/>
              <a:t>, </a:t>
            </a:r>
            <a:r>
              <a:rPr lang="sv-SE" sz="1200" err="1"/>
              <a:t>Fertiberia</a:t>
            </a:r>
            <a:r>
              <a:rPr lang="sv-SE" sz="1200"/>
              <a:t> </a:t>
            </a:r>
            <a:r>
              <a:rPr lang="sv-SE" sz="1200" err="1"/>
              <a:t>could</a:t>
            </a:r>
            <a:r>
              <a:rPr lang="sv-SE" sz="1200"/>
              <a:t> </a:t>
            </a:r>
            <a:r>
              <a:rPr lang="sv-SE" sz="1200" err="1"/>
              <a:t>use</a:t>
            </a:r>
            <a:r>
              <a:rPr lang="sv-SE" sz="1200"/>
              <a:t> </a:t>
            </a:r>
            <a:r>
              <a:rPr lang="sv-SE" sz="1200" err="1"/>
              <a:t>that</a:t>
            </a:r>
            <a:r>
              <a:rPr lang="sv-SE" sz="1200"/>
              <a:t> </a:t>
            </a:r>
            <a:r>
              <a:rPr lang="sv-SE" sz="1200" err="1"/>
              <a:t>ammonia</a:t>
            </a:r>
            <a:r>
              <a:rPr lang="sv-SE" sz="1200"/>
              <a:t> to </a:t>
            </a:r>
            <a:r>
              <a:rPr lang="sv-SE" sz="1200" err="1"/>
              <a:t>synthesize</a:t>
            </a:r>
            <a:r>
              <a:rPr lang="sv-SE" sz="1200"/>
              <a:t> ammonium </a:t>
            </a:r>
            <a:r>
              <a:rPr lang="sv-SE" sz="1200" err="1"/>
              <a:t>sulphate</a:t>
            </a:r>
            <a:r>
              <a:rPr lang="sv-SE" sz="1200"/>
              <a:t> in-situ by </a:t>
            </a:r>
            <a:r>
              <a:rPr lang="sv-SE" sz="1200" err="1"/>
              <a:t>reacting</a:t>
            </a:r>
            <a:r>
              <a:rPr lang="sv-SE" sz="1200"/>
              <a:t> it </a:t>
            </a:r>
            <a:r>
              <a:rPr lang="sv-SE" sz="1200" err="1"/>
              <a:t>with</a:t>
            </a:r>
            <a:r>
              <a:rPr lang="sv-SE" sz="1200"/>
              <a:t> H</a:t>
            </a:r>
            <a:r>
              <a:rPr lang="sv-SE" sz="1200" baseline="-25000"/>
              <a:t>2</a:t>
            </a:r>
            <a:r>
              <a:rPr lang="sv-SE" sz="1200"/>
              <a:t>SO</a:t>
            </a:r>
            <a:r>
              <a:rPr lang="sv-SE" sz="1200" baseline="-25000"/>
              <a:t>4</a:t>
            </a:r>
            <a:r>
              <a:rPr lang="sv-SE" sz="1200"/>
              <a:t> from a </a:t>
            </a:r>
            <a:r>
              <a:rPr lang="sv-SE" sz="1200" err="1"/>
              <a:t>nearby</a:t>
            </a:r>
            <a:r>
              <a:rPr lang="sv-SE" sz="1200"/>
              <a:t> Cu-</a:t>
            </a:r>
            <a:r>
              <a:rPr lang="sv-SE" sz="1200" err="1"/>
              <a:t>production</a:t>
            </a:r>
            <a:r>
              <a:rPr lang="sv-SE" sz="1200"/>
              <a:t> </a:t>
            </a:r>
          </a:p>
          <a:p>
            <a:pPr marL="171450" indent="-171450">
              <a:buFont typeface="Arial" panose="020B0604020202020204" pitchFamily="34" charset="0"/>
              <a:buChar char="•"/>
            </a:pPr>
            <a:r>
              <a:rPr lang="sv-SE" sz="1200" err="1"/>
              <a:t>After</a:t>
            </a:r>
            <a:r>
              <a:rPr lang="sv-SE" sz="1200"/>
              <a:t> the </a:t>
            </a:r>
            <a:r>
              <a:rPr lang="sv-SE" sz="1200" err="1"/>
              <a:t>retrofit</a:t>
            </a:r>
            <a:r>
              <a:rPr lang="sv-SE" sz="1200"/>
              <a:t> </a:t>
            </a:r>
            <a:r>
              <a:rPr lang="sv-SE" sz="1200" err="1"/>
              <a:t>activities</a:t>
            </a:r>
            <a:r>
              <a:rPr lang="sv-SE" sz="1200"/>
              <a:t> the ammonium </a:t>
            </a:r>
            <a:r>
              <a:rPr lang="sv-SE" sz="1200" err="1"/>
              <a:t>sulfate</a:t>
            </a:r>
            <a:r>
              <a:rPr lang="sv-SE" sz="1200"/>
              <a:t> is </a:t>
            </a:r>
            <a:r>
              <a:rPr lang="sv-SE" sz="1200" err="1"/>
              <a:t>removed</a:t>
            </a:r>
            <a:r>
              <a:rPr lang="sv-SE" sz="1200"/>
              <a:t> and </a:t>
            </a:r>
            <a:r>
              <a:rPr lang="sv-SE" sz="1200" err="1"/>
              <a:t>ammonia</a:t>
            </a:r>
            <a:r>
              <a:rPr lang="sv-SE" sz="1200"/>
              <a:t> is the major </a:t>
            </a:r>
            <a:r>
              <a:rPr lang="sv-SE" sz="1200" err="1"/>
              <a:t>impact</a:t>
            </a:r>
            <a:r>
              <a:rPr lang="sv-SE" sz="1200"/>
              <a:t> </a:t>
            </a:r>
            <a:r>
              <a:rPr lang="sv-SE" sz="1200" err="1"/>
              <a:t>of</a:t>
            </a:r>
            <a:r>
              <a:rPr lang="sv-SE" sz="1200"/>
              <a:t> the </a:t>
            </a:r>
            <a:r>
              <a:rPr lang="sv-SE" sz="1200" err="1"/>
              <a:t>raw</a:t>
            </a:r>
            <a:r>
              <a:rPr lang="sv-SE" sz="1200"/>
              <a:t> materials (65% </a:t>
            </a:r>
            <a:r>
              <a:rPr lang="sv-SE" sz="1200" err="1"/>
              <a:t>of</a:t>
            </a:r>
            <a:r>
              <a:rPr lang="sv-SE" sz="1200"/>
              <a:t> total </a:t>
            </a:r>
            <a:r>
              <a:rPr lang="sv-SE" sz="1200" err="1"/>
              <a:t>impact</a:t>
            </a:r>
            <a:r>
              <a:rPr lang="sv-SE" sz="1200"/>
              <a:t>) and the </a:t>
            </a:r>
            <a:r>
              <a:rPr lang="sv-SE" sz="1200" err="1"/>
              <a:t>sulfuric</a:t>
            </a:r>
            <a:r>
              <a:rPr lang="sv-SE" sz="1200"/>
              <a:t> </a:t>
            </a:r>
            <a:r>
              <a:rPr lang="sv-SE" sz="1200" err="1"/>
              <a:t>acid</a:t>
            </a:r>
            <a:r>
              <a:rPr lang="sv-SE" sz="1200"/>
              <a:t> </a:t>
            </a:r>
            <a:r>
              <a:rPr lang="sv-SE" sz="1200" err="1"/>
              <a:t>impact</a:t>
            </a:r>
            <a:r>
              <a:rPr lang="sv-SE" sz="1200"/>
              <a:t> </a:t>
            </a:r>
            <a:r>
              <a:rPr lang="sv-SE" sz="1200" err="1"/>
              <a:t>increased</a:t>
            </a:r>
            <a:r>
              <a:rPr lang="sv-SE" sz="1200"/>
              <a:t> from 2% to 11% </a:t>
            </a:r>
            <a:r>
              <a:rPr lang="sv-SE" sz="1200" err="1"/>
              <a:t>of</a:t>
            </a:r>
            <a:r>
              <a:rPr lang="sv-SE" sz="1200"/>
              <a:t> the total </a:t>
            </a:r>
            <a:r>
              <a:rPr lang="sv-SE" sz="1200" err="1"/>
              <a:t>impact</a:t>
            </a:r>
            <a:r>
              <a:rPr lang="sv-SE" sz="1200"/>
              <a:t>.</a:t>
            </a:r>
          </a:p>
          <a:p>
            <a:pPr marL="171450" indent="-171450">
              <a:buFont typeface="Arial" panose="020B0604020202020204" pitchFamily="34" charset="0"/>
              <a:buChar char="•"/>
            </a:pPr>
            <a:endParaRPr lang="sv-SE" sz="1200"/>
          </a:p>
          <a:p>
            <a:r>
              <a:rPr lang="sv-SE" sz="1200" b="1" err="1"/>
              <a:t>Phosphorous</a:t>
            </a:r>
            <a:r>
              <a:rPr lang="sv-SE" sz="1200" b="1"/>
              <a:t> </a:t>
            </a:r>
            <a:r>
              <a:rPr lang="sv-SE" sz="1200" b="1" err="1"/>
              <a:t>compounds</a:t>
            </a:r>
            <a:endParaRPr lang="sv-SE" sz="1200" b="1"/>
          </a:p>
          <a:p>
            <a:pPr marL="171450" indent="-171450">
              <a:buFont typeface="Arial" panose="020B0604020202020204" pitchFamily="34" charset="0"/>
              <a:buChar char="•"/>
            </a:pPr>
            <a:r>
              <a:rPr lang="sv-SE" sz="1200" err="1"/>
              <a:t>Phosphorous</a:t>
            </a:r>
            <a:r>
              <a:rPr lang="sv-SE" sz="1200"/>
              <a:t> </a:t>
            </a:r>
            <a:r>
              <a:rPr lang="sv-SE" sz="1200" err="1"/>
              <a:t>compounds</a:t>
            </a:r>
            <a:r>
              <a:rPr lang="sv-SE" sz="1200"/>
              <a:t> </a:t>
            </a:r>
            <a:r>
              <a:rPr lang="sv-SE" sz="1200" err="1"/>
              <a:t>are</a:t>
            </a:r>
            <a:r>
              <a:rPr lang="sv-SE" sz="1200"/>
              <a:t> a major </a:t>
            </a:r>
            <a:r>
              <a:rPr lang="sv-SE" sz="1200" err="1"/>
              <a:t>concern</a:t>
            </a:r>
            <a:r>
              <a:rPr lang="sv-SE" sz="1200"/>
              <a:t> </a:t>
            </a:r>
            <a:r>
              <a:rPr lang="sv-SE" sz="1200" err="1"/>
              <a:t>since</a:t>
            </a:r>
            <a:r>
              <a:rPr lang="sv-SE" sz="1200"/>
              <a:t> </a:t>
            </a:r>
            <a:r>
              <a:rPr lang="sv-SE" sz="1200" err="1"/>
              <a:t>they</a:t>
            </a:r>
            <a:r>
              <a:rPr lang="sv-SE" sz="1200"/>
              <a:t> </a:t>
            </a:r>
            <a:r>
              <a:rPr lang="sv-SE" sz="1200" err="1"/>
              <a:t>are</a:t>
            </a:r>
            <a:r>
              <a:rPr lang="sv-SE" sz="1200"/>
              <a:t> </a:t>
            </a:r>
            <a:r>
              <a:rPr lang="sv-SE" sz="1200" err="1"/>
              <a:t>widely</a:t>
            </a:r>
            <a:r>
              <a:rPr lang="sv-SE" sz="1200"/>
              <a:t> </a:t>
            </a:r>
            <a:r>
              <a:rPr lang="sv-SE" sz="1200" err="1"/>
              <a:t>used</a:t>
            </a:r>
            <a:r>
              <a:rPr lang="sv-SE" sz="1200"/>
              <a:t> </a:t>
            </a:r>
            <a:r>
              <a:rPr lang="sv-SE" sz="1200" err="1"/>
              <a:t>across</a:t>
            </a:r>
            <a:r>
              <a:rPr lang="sv-SE" sz="1200"/>
              <a:t> all NPK </a:t>
            </a:r>
            <a:r>
              <a:rPr lang="sv-SE" sz="1200" err="1"/>
              <a:t>fertilizer</a:t>
            </a:r>
            <a:r>
              <a:rPr lang="sv-SE" sz="1200"/>
              <a:t> </a:t>
            </a:r>
            <a:r>
              <a:rPr lang="sv-SE" sz="1200" err="1"/>
              <a:t>formulations</a:t>
            </a:r>
            <a:r>
              <a:rPr lang="sv-SE" sz="1200"/>
              <a:t>. </a:t>
            </a:r>
            <a:r>
              <a:rPr lang="sv-SE" sz="1200" err="1"/>
              <a:t>These</a:t>
            </a:r>
            <a:r>
              <a:rPr lang="sv-SE" sz="1200"/>
              <a:t> </a:t>
            </a:r>
            <a:r>
              <a:rPr lang="sv-SE" sz="1200" err="1"/>
              <a:t>are</a:t>
            </a:r>
            <a:r>
              <a:rPr lang="sv-SE" sz="1200"/>
              <a:t> </a:t>
            </a:r>
            <a:r>
              <a:rPr lang="sv-SE" sz="1200" err="1"/>
              <a:t>obtained</a:t>
            </a:r>
            <a:r>
              <a:rPr lang="sv-SE" sz="1200"/>
              <a:t> from a </a:t>
            </a:r>
            <a:r>
              <a:rPr lang="sv-SE" sz="1200" err="1"/>
              <a:t>Moroccan</a:t>
            </a:r>
            <a:r>
              <a:rPr lang="sv-SE" sz="1200"/>
              <a:t> </a:t>
            </a:r>
            <a:r>
              <a:rPr lang="sv-SE" sz="1200" err="1"/>
              <a:t>supplier</a:t>
            </a:r>
            <a:r>
              <a:rPr lang="sv-SE" sz="1200"/>
              <a:t> </a:t>
            </a:r>
            <a:r>
              <a:rPr lang="sv-SE" sz="1200" err="1"/>
              <a:t>whose</a:t>
            </a:r>
            <a:r>
              <a:rPr lang="sv-SE" sz="1200"/>
              <a:t> </a:t>
            </a:r>
            <a:r>
              <a:rPr lang="sv-SE" sz="1200" err="1"/>
              <a:t>manufacturing</a:t>
            </a:r>
            <a:r>
              <a:rPr lang="sv-SE" sz="1200"/>
              <a:t> </a:t>
            </a:r>
            <a:r>
              <a:rPr lang="sv-SE" sz="1200" err="1"/>
              <a:t>practices</a:t>
            </a:r>
            <a:r>
              <a:rPr lang="sv-SE" sz="1200"/>
              <a:t> </a:t>
            </a:r>
            <a:r>
              <a:rPr lang="sv-SE" sz="1200" err="1"/>
              <a:t>are</a:t>
            </a:r>
            <a:r>
              <a:rPr lang="sv-SE" sz="1200"/>
              <a:t> </a:t>
            </a:r>
            <a:r>
              <a:rPr lang="sv-SE" sz="1200" err="1"/>
              <a:t>based</a:t>
            </a:r>
            <a:r>
              <a:rPr lang="sv-SE" sz="1200"/>
              <a:t> on </a:t>
            </a:r>
            <a:r>
              <a:rPr lang="sv-SE" sz="1200" err="1"/>
              <a:t>extraction</a:t>
            </a:r>
            <a:r>
              <a:rPr lang="sv-SE" sz="1200"/>
              <a:t> </a:t>
            </a:r>
            <a:r>
              <a:rPr lang="sv-SE" sz="1200" err="1"/>
              <a:t>of</a:t>
            </a:r>
            <a:r>
              <a:rPr lang="sv-SE" sz="1200"/>
              <a:t> P</a:t>
            </a:r>
            <a:r>
              <a:rPr lang="sv-SE" sz="1200" baseline="-25000"/>
              <a:t>2</a:t>
            </a:r>
            <a:r>
              <a:rPr lang="sv-SE" sz="1200"/>
              <a:t>O</a:t>
            </a:r>
            <a:r>
              <a:rPr lang="sv-SE" sz="1200" baseline="-25000"/>
              <a:t>5</a:t>
            </a:r>
            <a:r>
              <a:rPr lang="sv-SE" sz="1200"/>
              <a:t> from </a:t>
            </a:r>
            <a:r>
              <a:rPr lang="sv-SE" sz="1200" err="1"/>
              <a:t>phosphoric</a:t>
            </a:r>
            <a:r>
              <a:rPr lang="sv-SE" sz="1200"/>
              <a:t> rock, </a:t>
            </a:r>
            <a:r>
              <a:rPr lang="sv-SE" sz="1200" err="1"/>
              <a:t>known</a:t>
            </a:r>
            <a:r>
              <a:rPr lang="sv-SE" sz="1200"/>
              <a:t> to be a </a:t>
            </a:r>
            <a:r>
              <a:rPr lang="sv-SE" sz="1200" err="1"/>
              <a:t>highly</a:t>
            </a:r>
            <a:r>
              <a:rPr lang="sv-SE" sz="1200"/>
              <a:t> </a:t>
            </a:r>
            <a:r>
              <a:rPr lang="sv-SE" sz="1200" err="1"/>
              <a:t>polluting</a:t>
            </a:r>
            <a:r>
              <a:rPr lang="sv-SE" sz="1200"/>
              <a:t> process.</a:t>
            </a:r>
          </a:p>
          <a:p>
            <a:pPr marL="171450" indent="-171450">
              <a:buFont typeface="Arial" panose="020B0604020202020204" pitchFamily="34" charset="0"/>
              <a:buChar char="•"/>
            </a:pPr>
            <a:r>
              <a:rPr lang="sv-SE" sz="1200"/>
              <a:t>The </a:t>
            </a:r>
            <a:r>
              <a:rPr lang="sv-SE" sz="1200" err="1"/>
              <a:t>current</a:t>
            </a:r>
            <a:r>
              <a:rPr lang="sv-SE" sz="1200"/>
              <a:t> focus is </a:t>
            </a:r>
            <a:r>
              <a:rPr lang="sv-SE" sz="1200" err="1"/>
              <a:t>placed</a:t>
            </a:r>
            <a:r>
              <a:rPr lang="sv-SE" sz="1200"/>
              <a:t> on </a:t>
            </a:r>
            <a:r>
              <a:rPr lang="sv-SE" sz="1200" err="1"/>
              <a:t>industrial</a:t>
            </a:r>
            <a:r>
              <a:rPr lang="sv-SE" sz="1200"/>
              <a:t> </a:t>
            </a:r>
            <a:r>
              <a:rPr lang="sv-SE" sz="1200" err="1"/>
              <a:t>symbiosis</a:t>
            </a:r>
            <a:r>
              <a:rPr lang="sv-SE" sz="1200"/>
              <a:t> </a:t>
            </a:r>
            <a:r>
              <a:rPr lang="sv-SE" sz="1200" err="1"/>
              <a:t>opportunities</a:t>
            </a:r>
            <a:r>
              <a:rPr lang="sv-SE" sz="1200"/>
              <a:t> </a:t>
            </a:r>
            <a:r>
              <a:rPr lang="sv-SE" sz="1200" err="1"/>
              <a:t>such</a:t>
            </a:r>
            <a:r>
              <a:rPr lang="sv-SE" sz="1200"/>
              <a:t> as </a:t>
            </a:r>
            <a:r>
              <a:rPr lang="sv-SE" sz="1200" err="1"/>
              <a:t>utilizing</a:t>
            </a:r>
            <a:r>
              <a:rPr lang="sv-SE" sz="1200"/>
              <a:t> </a:t>
            </a:r>
            <a:r>
              <a:rPr lang="sv-SE" sz="1200" err="1"/>
              <a:t>ashes</a:t>
            </a:r>
            <a:r>
              <a:rPr lang="sv-SE" sz="1200"/>
              <a:t> </a:t>
            </a:r>
            <a:r>
              <a:rPr lang="sv-SE" sz="1200" err="1"/>
              <a:t>resulting</a:t>
            </a:r>
            <a:r>
              <a:rPr lang="sv-SE" sz="1200"/>
              <a:t> from incineration </a:t>
            </a:r>
            <a:r>
              <a:rPr lang="sv-SE" sz="1200" err="1"/>
              <a:t>of</a:t>
            </a:r>
            <a:r>
              <a:rPr lang="sv-SE" sz="1200"/>
              <a:t> </a:t>
            </a:r>
            <a:r>
              <a:rPr lang="sv-SE" sz="1200" err="1"/>
              <a:t>food</a:t>
            </a:r>
            <a:r>
              <a:rPr lang="sv-SE" sz="1200"/>
              <a:t> </a:t>
            </a:r>
            <a:r>
              <a:rPr lang="sv-SE" sz="1200" err="1"/>
              <a:t>production</a:t>
            </a:r>
            <a:r>
              <a:rPr lang="sv-SE" sz="1200"/>
              <a:t> </a:t>
            </a:r>
            <a:r>
              <a:rPr lang="sv-SE" sz="1200" err="1"/>
              <a:t>waste</a:t>
            </a:r>
            <a:r>
              <a:rPr lang="sv-SE" sz="1200"/>
              <a:t> from </a:t>
            </a:r>
            <a:r>
              <a:rPr lang="sv-SE" sz="1200" err="1"/>
              <a:t>nearby</a:t>
            </a:r>
            <a:r>
              <a:rPr lang="sv-SE" sz="1200"/>
              <a:t> </a:t>
            </a:r>
            <a:r>
              <a:rPr lang="sv-SE" sz="1200" err="1"/>
              <a:t>producers</a:t>
            </a:r>
            <a:r>
              <a:rPr lang="sv-SE" sz="1200"/>
              <a:t> as a P source, and </a:t>
            </a:r>
            <a:r>
              <a:rPr lang="sv-SE" sz="1200" err="1"/>
              <a:t>combining</a:t>
            </a:r>
            <a:r>
              <a:rPr lang="sv-SE" sz="1200"/>
              <a:t> </a:t>
            </a:r>
            <a:r>
              <a:rPr lang="sv-SE" sz="1200" err="1"/>
              <a:t>products</a:t>
            </a:r>
            <a:r>
              <a:rPr lang="sv-SE" sz="1200"/>
              <a:t> </a:t>
            </a:r>
            <a:r>
              <a:rPr lang="sv-SE" sz="1200" err="1"/>
              <a:t>obtained</a:t>
            </a:r>
            <a:r>
              <a:rPr lang="sv-SE" sz="1200"/>
              <a:t> from the </a:t>
            </a:r>
            <a:r>
              <a:rPr lang="sv-SE" sz="1200" err="1"/>
              <a:t>plant’s</a:t>
            </a:r>
            <a:r>
              <a:rPr lang="sv-SE" sz="1200"/>
              <a:t> </a:t>
            </a:r>
            <a:r>
              <a:rPr lang="sv-SE" sz="1200" err="1"/>
              <a:t>wastewater</a:t>
            </a:r>
            <a:r>
              <a:rPr lang="sv-SE" sz="1200"/>
              <a:t> </a:t>
            </a:r>
            <a:r>
              <a:rPr lang="sv-SE" sz="1200" err="1"/>
              <a:t>treatment</a:t>
            </a:r>
            <a:r>
              <a:rPr lang="sv-SE" sz="1200"/>
              <a:t> (WWT) </a:t>
            </a:r>
            <a:r>
              <a:rPr lang="sv-SE" sz="1200" err="1"/>
              <a:t>unit</a:t>
            </a:r>
            <a:r>
              <a:rPr lang="sv-SE" sz="1200"/>
              <a:t> </a:t>
            </a:r>
            <a:r>
              <a:rPr lang="sv-SE" sz="1200" err="1"/>
              <a:t>with</a:t>
            </a:r>
            <a:r>
              <a:rPr lang="sv-SE" sz="1200"/>
              <a:t> </a:t>
            </a:r>
            <a:r>
              <a:rPr lang="sv-SE" sz="1200" err="1"/>
              <a:t>other</a:t>
            </a:r>
            <a:r>
              <a:rPr lang="sv-SE" sz="1200"/>
              <a:t> </a:t>
            </a:r>
            <a:r>
              <a:rPr lang="sv-SE" sz="1200" err="1"/>
              <a:t>waste</a:t>
            </a:r>
            <a:r>
              <a:rPr lang="sv-SE" sz="1200"/>
              <a:t> </a:t>
            </a:r>
            <a:r>
              <a:rPr lang="sv-SE" sz="1200" err="1"/>
              <a:t>products</a:t>
            </a:r>
            <a:r>
              <a:rPr lang="sv-SE" sz="1200"/>
              <a:t> from </a:t>
            </a:r>
            <a:r>
              <a:rPr lang="sv-SE" sz="1200" err="1"/>
              <a:t>neighbouring</a:t>
            </a:r>
            <a:r>
              <a:rPr lang="sv-SE" sz="1200"/>
              <a:t> </a:t>
            </a:r>
            <a:r>
              <a:rPr lang="sv-SE" sz="1200" err="1"/>
              <a:t>industries</a:t>
            </a:r>
            <a:r>
              <a:rPr lang="sv-SE" sz="1200"/>
              <a:t>. “</a:t>
            </a:r>
            <a:r>
              <a:rPr lang="sv-SE" sz="1200" err="1"/>
              <a:t>Carbolita</a:t>
            </a:r>
            <a:r>
              <a:rPr lang="sv-SE" sz="1200"/>
              <a:t>”, a </a:t>
            </a:r>
            <a:r>
              <a:rPr lang="sv-SE" sz="1200" err="1"/>
              <a:t>proprietary</a:t>
            </a:r>
            <a:r>
              <a:rPr lang="sv-SE" sz="1200"/>
              <a:t> P source, </a:t>
            </a:r>
            <a:r>
              <a:rPr lang="sv-SE" sz="1200" err="1"/>
              <a:t>could</a:t>
            </a:r>
            <a:r>
              <a:rPr lang="sv-SE" sz="1200"/>
              <a:t> </a:t>
            </a:r>
            <a:r>
              <a:rPr lang="sv-SE" sz="1200" err="1"/>
              <a:t>result</a:t>
            </a:r>
            <a:r>
              <a:rPr lang="sv-SE" sz="1200"/>
              <a:t> from the </a:t>
            </a:r>
            <a:r>
              <a:rPr lang="sv-SE" sz="1200" err="1"/>
              <a:t>latter</a:t>
            </a:r>
            <a:r>
              <a:rPr lang="sv-SE" sz="1200"/>
              <a:t>, </a:t>
            </a:r>
            <a:r>
              <a:rPr lang="sv-SE" sz="1200" err="1"/>
              <a:t>combining</a:t>
            </a:r>
            <a:r>
              <a:rPr lang="sv-SE" sz="1200"/>
              <a:t> WWT </a:t>
            </a:r>
            <a:r>
              <a:rPr lang="sv-SE" sz="1200" err="1"/>
              <a:t>residues</a:t>
            </a:r>
            <a:r>
              <a:rPr lang="sv-SE" sz="1200"/>
              <a:t> </a:t>
            </a:r>
            <a:r>
              <a:rPr lang="sv-SE" sz="1200" err="1"/>
              <a:t>with</a:t>
            </a:r>
            <a:r>
              <a:rPr lang="sv-SE" sz="1200"/>
              <a:t> </a:t>
            </a:r>
            <a:r>
              <a:rPr lang="sv-SE" sz="1200" err="1"/>
              <a:t>ferrous</a:t>
            </a:r>
            <a:r>
              <a:rPr lang="sv-SE" sz="1200"/>
              <a:t> </a:t>
            </a:r>
            <a:r>
              <a:rPr lang="sv-SE" sz="1200" err="1"/>
              <a:t>sulphate</a:t>
            </a:r>
            <a:r>
              <a:rPr lang="sv-SE" sz="1200"/>
              <a:t> by-</a:t>
            </a:r>
            <a:r>
              <a:rPr lang="sv-SE" sz="1200" err="1"/>
              <a:t>product</a:t>
            </a:r>
            <a:r>
              <a:rPr lang="sv-SE" sz="1200"/>
              <a:t> from </a:t>
            </a:r>
            <a:r>
              <a:rPr lang="sv-SE" sz="1200" err="1"/>
              <a:t>titanium</a:t>
            </a:r>
            <a:r>
              <a:rPr lang="sv-SE" sz="1200"/>
              <a:t> </a:t>
            </a:r>
            <a:r>
              <a:rPr lang="sv-SE" sz="1200" err="1"/>
              <a:t>oxide</a:t>
            </a:r>
            <a:r>
              <a:rPr lang="sv-SE" sz="1200"/>
              <a:t> </a:t>
            </a:r>
            <a:r>
              <a:rPr lang="sv-SE" sz="1200" err="1"/>
              <a:t>production</a:t>
            </a:r>
            <a:r>
              <a:rPr lang="sv-SE" sz="1200"/>
              <a:t> </a:t>
            </a:r>
          </a:p>
        </p:txBody>
      </p:sp>
      <p:sp>
        <p:nvSpPr>
          <p:cNvPr id="4" name="Slide Number Placeholder 3"/>
          <p:cNvSpPr>
            <a:spLocks noGrp="1"/>
          </p:cNvSpPr>
          <p:nvPr>
            <p:ph type="sldNum" sz="quarter" idx="5"/>
          </p:nvPr>
        </p:nvSpPr>
        <p:spPr/>
        <p:txBody>
          <a:bodyPr/>
          <a:lstStyle/>
          <a:p>
            <a:fld id="{F84DB91F-1AD8-437C-8866-3636784D0854}" type="slidenum">
              <a:rPr lang="en-GB" smtClean="0"/>
              <a:t>206</a:t>
            </a:fld>
            <a:endParaRPr lang="en-GB"/>
          </a:p>
        </p:txBody>
      </p:sp>
    </p:spTree>
    <p:extLst>
      <p:ext uri="{BB962C8B-B14F-4D97-AF65-F5344CB8AC3E}">
        <p14:creationId xmlns:p14="http://schemas.microsoft.com/office/powerpoint/2010/main" val="3326963620"/>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GB" sz="1200" b="1"/>
              <a:t>Replacement of ammonium </a:t>
            </a:r>
            <a:r>
              <a:rPr lang="en-GB" sz="1200" b="1" err="1"/>
              <a:t>sulfate</a:t>
            </a:r>
            <a:endParaRPr lang="sv-SE" sz="1200"/>
          </a:p>
          <a:p>
            <a:pPr marL="171450" indent="-171450">
              <a:buFont typeface="Arial" panose="020B0604020202020204" pitchFamily="34" charset="0"/>
              <a:buChar char="•"/>
            </a:pPr>
            <a:r>
              <a:rPr lang="sv-SE" sz="1200"/>
              <a:t>Ammonium </a:t>
            </a:r>
            <a:r>
              <a:rPr lang="sv-SE" sz="1200" err="1"/>
              <a:t>sulphate</a:t>
            </a:r>
            <a:r>
              <a:rPr lang="sv-SE" sz="1200"/>
              <a:t> </a:t>
            </a:r>
            <a:r>
              <a:rPr lang="sv-SE" sz="1200" err="1"/>
              <a:t>was</a:t>
            </a:r>
            <a:r>
              <a:rPr lang="sv-SE" sz="1200"/>
              <a:t> </a:t>
            </a:r>
            <a:r>
              <a:rPr lang="sv-SE" sz="1200" err="1"/>
              <a:t>replaced</a:t>
            </a:r>
            <a:r>
              <a:rPr lang="sv-SE" sz="1200"/>
              <a:t> by </a:t>
            </a:r>
            <a:r>
              <a:rPr lang="sv-SE" sz="1200" err="1"/>
              <a:t>sulfuric</a:t>
            </a:r>
            <a:r>
              <a:rPr lang="sv-SE" sz="1200"/>
              <a:t> </a:t>
            </a:r>
            <a:r>
              <a:rPr lang="sv-SE" sz="1200" err="1"/>
              <a:t>acid</a:t>
            </a:r>
            <a:r>
              <a:rPr lang="sv-SE" sz="1200"/>
              <a:t> and </a:t>
            </a:r>
            <a:r>
              <a:rPr lang="sv-SE" sz="1200" err="1"/>
              <a:t>ammonia</a:t>
            </a:r>
            <a:r>
              <a:rPr lang="sv-SE" sz="1200"/>
              <a:t> to </a:t>
            </a:r>
            <a:r>
              <a:rPr lang="sv-SE" sz="1200" err="1"/>
              <a:t>produce</a:t>
            </a:r>
            <a:r>
              <a:rPr lang="sv-SE" sz="1200"/>
              <a:t> ammonium </a:t>
            </a:r>
            <a:r>
              <a:rPr lang="sv-SE" sz="1200" err="1"/>
              <a:t>sulphate</a:t>
            </a:r>
            <a:r>
              <a:rPr lang="sv-SE" sz="1200"/>
              <a:t> in-situ. </a:t>
            </a:r>
          </a:p>
          <a:p>
            <a:pPr marL="171450" indent="-171450">
              <a:buFont typeface="Arial" panose="020B0604020202020204" pitchFamily="34" charset="0"/>
              <a:buChar char="•"/>
            </a:pPr>
            <a:r>
              <a:rPr lang="sv-SE" sz="1200"/>
              <a:t>The </a:t>
            </a:r>
            <a:r>
              <a:rPr lang="sv-SE" sz="1200" err="1"/>
              <a:t>impact</a:t>
            </a:r>
            <a:r>
              <a:rPr lang="sv-SE" sz="1200"/>
              <a:t> </a:t>
            </a:r>
            <a:r>
              <a:rPr lang="sv-SE" sz="1200" err="1"/>
              <a:t>of</a:t>
            </a:r>
            <a:r>
              <a:rPr lang="sv-SE" sz="1200"/>
              <a:t> </a:t>
            </a:r>
            <a:r>
              <a:rPr lang="sv-SE" sz="1200" err="1"/>
              <a:t>ammonia</a:t>
            </a:r>
            <a:r>
              <a:rPr lang="sv-SE" sz="1200"/>
              <a:t> </a:t>
            </a:r>
            <a:r>
              <a:rPr lang="sv-SE" sz="1200" err="1"/>
              <a:t>increased</a:t>
            </a:r>
            <a:r>
              <a:rPr lang="sv-SE" sz="1200"/>
              <a:t> by 128%, </a:t>
            </a:r>
            <a:r>
              <a:rPr lang="sv-SE" sz="1200" err="1"/>
              <a:t>taking</a:t>
            </a:r>
            <a:r>
              <a:rPr lang="sv-SE" sz="1200"/>
              <a:t> it from 30% to 65% </a:t>
            </a:r>
            <a:r>
              <a:rPr lang="sv-SE" sz="1200" err="1"/>
              <a:t>of</a:t>
            </a:r>
            <a:r>
              <a:rPr lang="sv-SE" sz="1200"/>
              <a:t> the total GWP.</a:t>
            </a:r>
          </a:p>
          <a:p>
            <a:pPr marL="171450" indent="-171450">
              <a:buFont typeface="Arial" panose="020B0604020202020204" pitchFamily="34" charset="0"/>
              <a:buChar char="•"/>
            </a:pPr>
            <a:r>
              <a:rPr lang="sv-SE" sz="1200"/>
              <a:t>The </a:t>
            </a:r>
            <a:r>
              <a:rPr lang="sv-SE" sz="1200" err="1"/>
              <a:t>retrofit</a:t>
            </a:r>
            <a:r>
              <a:rPr lang="sv-SE" sz="1200"/>
              <a:t> action </a:t>
            </a:r>
            <a:r>
              <a:rPr lang="sv-SE" sz="1200" err="1"/>
              <a:t>resulted</a:t>
            </a:r>
            <a:r>
              <a:rPr lang="sv-SE" sz="1200"/>
              <a:t> in a </a:t>
            </a:r>
            <a:r>
              <a:rPr lang="sv-SE" sz="1200" err="1"/>
              <a:t>large</a:t>
            </a:r>
            <a:r>
              <a:rPr lang="sv-SE" sz="1200"/>
              <a:t> </a:t>
            </a:r>
            <a:r>
              <a:rPr lang="sv-SE" sz="1200" err="1"/>
              <a:t>percental</a:t>
            </a:r>
            <a:r>
              <a:rPr lang="sv-SE" sz="1200"/>
              <a:t> </a:t>
            </a:r>
            <a:r>
              <a:rPr lang="sv-SE" sz="1200" err="1"/>
              <a:t>increase</a:t>
            </a:r>
            <a:r>
              <a:rPr lang="sv-SE" sz="1200"/>
              <a:t> </a:t>
            </a:r>
            <a:r>
              <a:rPr lang="sv-SE" sz="1200" err="1"/>
              <a:t>of</a:t>
            </a:r>
            <a:r>
              <a:rPr lang="sv-SE" sz="1200"/>
              <a:t> </a:t>
            </a:r>
            <a:r>
              <a:rPr lang="sv-SE" sz="1200" err="1"/>
              <a:t>sulphuric</a:t>
            </a:r>
            <a:r>
              <a:rPr lang="sv-SE" sz="1200"/>
              <a:t> </a:t>
            </a:r>
            <a:r>
              <a:rPr lang="sv-SE" sz="1200" err="1"/>
              <a:t>acid</a:t>
            </a:r>
            <a:r>
              <a:rPr lang="sv-SE" sz="1200"/>
              <a:t>, </a:t>
            </a:r>
            <a:r>
              <a:rPr lang="sv-SE" sz="1200" err="1"/>
              <a:t>taking</a:t>
            </a:r>
            <a:r>
              <a:rPr lang="sv-SE" sz="1200"/>
              <a:t> it from 1% </a:t>
            </a:r>
            <a:r>
              <a:rPr lang="sv-SE" sz="1200" err="1"/>
              <a:t>of</a:t>
            </a:r>
            <a:r>
              <a:rPr lang="sv-SE" sz="1200"/>
              <a:t> GWP to 11%</a:t>
            </a:r>
          </a:p>
          <a:p>
            <a:pPr marL="0" indent="0">
              <a:buNone/>
            </a:pPr>
            <a:endParaRPr lang="en-GB" sz="1200"/>
          </a:p>
          <a:p>
            <a:pPr marL="0" indent="0">
              <a:buNone/>
            </a:pPr>
            <a:r>
              <a:rPr lang="en-GB" sz="1200" b="1"/>
              <a:t>Replacement of phosphoric </a:t>
            </a:r>
            <a:r>
              <a:rPr lang="en-GB" sz="1200" b="1" err="1"/>
              <a:t>aicd</a:t>
            </a:r>
            <a:endParaRPr lang="en-GB" sz="1200" b="1"/>
          </a:p>
          <a:p>
            <a:pPr marL="171450" indent="-171450">
              <a:buFont typeface="Arial" panose="020B0604020202020204" pitchFamily="34" charset="0"/>
              <a:buChar char="•"/>
            </a:pPr>
            <a:r>
              <a:rPr lang="sv-SE" sz="1200"/>
              <a:t>A </a:t>
            </a:r>
            <a:r>
              <a:rPr lang="sv-SE" sz="1200" err="1"/>
              <a:t>reduction</a:t>
            </a:r>
            <a:r>
              <a:rPr lang="sv-SE" sz="1200"/>
              <a:t> </a:t>
            </a:r>
            <a:r>
              <a:rPr lang="sv-SE" sz="1200" err="1"/>
              <a:t>of</a:t>
            </a:r>
            <a:r>
              <a:rPr lang="sv-SE" sz="1200"/>
              <a:t> </a:t>
            </a:r>
            <a:r>
              <a:rPr lang="sv-SE" sz="1200" err="1"/>
              <a:t>climate</a:t>
            </a:r>
            <a:r>
              <a:rPr lang="sv-SE" sz="1200"/>
              <a:t> </a:t>
            </a:r>
            <a:r>
              <a:rPr lang="sv-SE" sz="1200" err="1"/>
              <a:t>change</a:t>
            </a:r>
            <a:r>
              <a:rPr lang="sv-SE" sz="1200"/>
              <a:t> </a:t>
            </a:r>
            <a:r>
              <a:rPr lang="sv-SE" sz="1200" err="1"/>
              <a:t>impact</a:t>
            </a:r>
            <a:r>
              <a:rPr lang="sv-SE" sz="1200"/>
              <a:t> from </a:t>
            </a:r>
            <a:r>
              <a:rPr lang="sv-SE" sz="1200" err="1"/>
              <a:t>phosphoric</a:t>
            </a:r>
            <a:r>
              <a:rPr lang="sv-SE" sz="1200"/>
              <a:t> </a:t>
            </a:r>
            <a:r>
              <a:rPr lang="sv-SE" sz="1200" err="1"/>
              <a:t>acid</a:t>
            </a:r>
            <a:r>
              <a:rPr lang="sv-SE" sz="1200"/>
              <a:t> </a:t>
            </a:r>
            <a:r>
              <a:rPr lang="sv-SE" sz="1200" err="1"/>
              <a:t>with</a:t>
            </a:r>
            <a:r>
              <a:rPr lang="sv-SE" sz="1200"/>
              <a:t> 10%</a:t>
            </a:r>
          </a:p>
          <a:p>
            <a:pPr marL="171450" indent="-171450">
              <a:buFont typeface="Arial" panose="020B0604020202020204" pitchFamily="34" charset="0"/>
              <a:buChar char="•"/>
            </a:pPr>
            <a:r>
              <a:rPr lang="sv-SE" sz="1200"/>
              <a:t>The </a:t>
            </a:r>
            <a:r>
              <a:rPr lang="sv-SE" sz="1200" err="1"/>
              <a:t>reduction</a:t>
            </a:r>
            <a:r>
              <a:rPr lang="sv-SE" sz="1200"/>
              <a:t> </a:t>
            </a:r>
            <a:r>
              <a:rPr lang="sv-SE" sz="1200" err="1"/>
              <a:t>was</a:t>
            </a:r>
            <a:r>
              <a:rPr lang="sv-SE" sz="1200"/>
              <a:t> </a:t>
            </a:r>
            <a:r>
              <a:rPr lang="sv-SE" sz="1200" err="1"/>
              <a:t>done</a:t>
            </a:r>
            <a:r>
              <a:rPr lang="sv-SE" sz="1200"/>
              <a:t> by </a:t>
            </a:r>
            <a:r>
              <a:rPr lang="sv-SE" sz="1200" err="1"/>
              <a:t>utilizing</a:t>
            </a:r>
            <a:r>
              <a:rPr lang="sv-SE" sz="1200"/>
              <a:t> </a:t>
            </a:r>
            <a:r>
              <a:rPr lang="sv-SE" sz="1200" err="1"/>
              <a:t>ashes</a:t>
            </a:r>
            <a:r>
              <a:rPr lang="sv-SE" sz="1200"/>
              <a:t> </a:t>
            </a:r>
            <a:r>
              <a:rPr lang="sv-SE" sz="1200" err="1"/>
              <a:t>resulting</a:t>
            </a:r>
            <a:r>
              <a:rPr lang="sv-SE" sz="1200"/>
              <a:t> from incineration </a:t>
            </a:r>
            <a:r>
              <a:rPr lang="sv-SE" sz="1200" err="1"/>
              <a:t>of</a:t>
            </a:r>
            <a:r>
              <a:rPr lang="sv-SE" sz="1200"/>
              <a:t> </a:t>
            </a:r>
            <a:r>
              <a:rPr lang="sv-SE" sz="1200" err="1"/>
              <a:t>food</a:t>
            </a:r>
            <a:r>
              <a:rPr lang="sv-SE" sz="1200"/>
              <a:t> </a:t>
            </a:r>
            <a:r>
              <a:rPr lang="sv-SE" sz="1200" err="1"/>
              <a:t>production</a:t>
            </a:r>
            <a:r>
              <a:rPr lang="sv-SE" sz="1200"/>
              <a:t> </a:t>
            </a:r>
            <a:r>
              <a:rPr lang="sv-SE" sz="1200" err="1"/>
              <a:t>waste</a:t>
            </a:r>
            <a:r>
              <a:rPr lang="sv-SE" sz="1200"/>
              <a:t> from </a:t>
            </a:r>
            <a:r>
              <a:rPr lang="sv-SE" sz="1200" err="1"/>
              <a:t>nearby</a:t>
            </a:r>
            <a:r>
              <a:rPr lang="sv-SE" sz="1200"/>
              <a:t> </a:t>
            </a:r>
            <a:r>
              <a:rPr lang="sv-SE" sz="1200" err="1"/>
              <a:t>producers</a:t>
            </a:r>
            <a:r>
              <a:rPr lang="sv-SE" sz="1200"/>
              <a:t> as a P source, and </a:t>
            </a:r>
            <a:r>
              <a:rPr lang="sv-SE" sz="1200" err="1"/>
              <a:t>combining</a:t>
            </a:r>
            <a:r>
              <a:rPr lang="sv-SE" sz="1200"/>
              <a:t> </a:t>
            </a:r>
            <a:r>
              <a:rPr lang="sv-SE" sz="1200" err="1"/>
              <a:t>products</a:t>
            </a:r>
            <a:r>
              <a:rPr lang="sv-SE" sz="1200"/>
              <a:t> </a:t>
            </a:r>
            <a:r>
              <a:rPr lang="sv-SE" sz="1200" err="1"/>
              <a:t>obtained</a:t>
            </a:r>
            <a:r>
              <a:rPr lang="sv-SE" sz="1200"/>
              <a:t> from the </a:t>
            </a:r>
            <a:r>
              <a:rPr lang="sv-SE" sz="1200" err="1"/>
              <a:t>plant’s</a:t>
            </a:r>
            <a:r>
              <a:rPr lang="sv-SE" sz="1200"/>
              <a:t> </a:t>
            </a:r>
            <a:r>
              <a:rPr lang="sv-SE" sz="1200" err="1"/>
              <a:t>wastewater</a:t>
            </a:r>
            <a:r>
              <a:rPr lang="sv-SE" sz="1200"/>
              <a:t> </a:t>
            </a:r>
            <a:r>
              <a:rPr lang="sv-SE" sz="1200" err="1"/>
              <a:t>treatment</a:t>
            </a:r>
            <a:r>
              <a:rPr lang="sv-SE" sz="1200"/>
              <a:t> (WWT) </a:t>
            </a:r>
            <a:r>
              <a:rPr lang="sv-SE" sz="1200" err="1"/>
              <a:t>unit</a:t>
            </a:r>
            <a:r>
              <a:rPr lang="sv-SE" sz="1200"/>
              <a:t> </a:t>
            </a:r>
            <a:r>
              <a:rPr lang="sv-SE" sz="1200" err="1"/>
              <a:t>with</a:t>
            </a:r>
            <a:r>
              <a:rPr lang="sv-SE" sz="1200"/>
              <a:t> </a:t>
            </a:r>
            <a:r>
              <a:rPr lang="sv-SE" sz="1200" err="1"/>
              <a:t>other</a:t>
            </a:r>
            <a:r>
              <a:rPr lang="sv-SE" sz="1200"/>
              <a:t> </a:t>
            </a:r>
            <a:r>
              <a:rPr lang="sv-SE" sz="1200" err="1"/>
              <a:t>waste</a:t>
            </a:r>
            <a:r>
              <a:rPr lang="sv-SE" sz="1200"/>
              <a:t> </a:t>
            </a:r>
            <a:r>
              <a:rPr lang="sv-SE" sz="1200" err="1"/>
              <a:t>products</a:t>
            </a:r>
            <a:r>
              <a:rPr lang="sv-SE" sz="1200"/>
              <a:t> from </a:t>
            </a:r>
            <a:r>
              <a:rPr lang="sv-SE" sz="1200" err="1"/>
              <a:t>neighbouring</a:t>
            </a:r>
            <a:r>
              <a:rPr lang="sv-SE" sz="1200"/>
              <a:t> </a:t>
            </a:r>
            <a:r>
              <a:rPr lang="sv-SE" sz="1200" err="1"/>
              <a:t>industries</a:t>
            </a:r>
            <a:r>
              <a:rPr lang="sv-SE" sz="1200"/>
              <a:t>. “</a:t>
            </a:r>
            <a:r>
              <a:rPr lang="sv-SE" sz="1200" err="1"/>
              <a:t>Carbolita</a:t>
            </a:r>
            <a:r>
              <a:rPr lang="sv-SE" sz="1200"/>
              <a:t>”, a </a:t>
            </a:r>
            <a:r>
              <a:rPr lang="sv-SE" sz="1200" err="1"/>
              <a:t>proprietary</a:t>
            </a:r>
            <a:r>
              <a:rPr lang="sv-SE" sz="1200"/>
              <a:t> P source, </a:t>
            </a:r>
            <a:r>
              <a:rPr lang="sv-SE" sz="1200" err="1"/>
              <a:t>could</a:t>
            </a:r>
            <a:r>
              <a:rPr lang="sv-SE" sz="1200"/>
              <a:t> </a:t>
            </a:r>
            <a:r>
              <a:rPr lang="sv-SE" sz="1200" err="1"/>
              <a:t>result</a:t>
            </a:r>
            <a:r>
              <a:rPr lang="sv-SE" sz="1200"/>
              <a:t> from the </a:t>
            </a:r>
            <a:r>
              <a:rPr lang="sv-SE" sz="1200" err="1"/>
              <a:t>latter</a:t>
            </a:r>
            <a:r>
              <a:rPr lang="sv-SE" sz="1200"/>
              <a:t>, </a:t>
            </a:r>
            <a:r>
              <a:rPr lang="sv-SE" sz="1200" err="1"/>
              <a:t>combining</a:t>
            </a:r>
            <a:r>
              <a:rPr lang="sv-SE" sz="1200"/>
              <a:t> WWT </a:t>
            </a:r>
            <a:r>
              <a:rPr lang="sv-SE" sz="1200" err="1"/>
              <a:t>residues</a:t>
            </a:r>
            <a:r>
              <a:rPr lang="sv-SE" sz="1200"/>
              <a:t> </a:t>
            </a:r>
            <a:r>
              <a:rPr lang="sv-SE" sz="1200" err="1"/>
              <a:t>with</a:t>
            </a:r>
            <a:r>
              <a:rPr lang="sv-SE" sz="1200"/>
              <a:t> </a:t>
            </a:r>
            <a:r>
              <a:rPr lang="sv-SE" sz="1200" err="1"/>
              <a:t>ferrous</a:t>
            </a:r>
            <a:r>
              <a:rPr lang="sv-SE" sz="1200"/>
              <a:t> </a:t>
            </a:r>
            <a:r>
              <a:rPr lang="sv-SE" sz="1200" err="1"/>
              <a:t>sulphate</a:t>
            </a:r>
            <a:r>
              <a:rPr lang="sv-SE" sz="1200"/>
              <a:t> by-</a:t>
            </a:r>
            <a:r>
              <a:rPr lang="sv-SE" sz="1200" err="1"/>
              <a:t>product</a:t>
            </a:r>
            <a:r>
              <a:rPr lang="sv-SE" sz="1200"/>
              <a:t> from </a:t>
            </a:r>
            <a:r>
              <a:rPr lang="sv-SE" sz="1200" err="1"/>
              <a:t>titanium</a:t>
            </a:r>
            <a:r>
              <a:rPr lang="sv-SE" sz="1200"/>
              <a:t> </a:t>
            </a:r>
            <a:r>
              <a:rPr lang="sv-SE" sz="1200" err="1"/>
              <a:t>oxide</a:t>
            </a:r>
            <a:r>
              <a:rPr lang="sv-SE" sz="1200"/>
              <a:t> </a:t>
            </a:r>
            <a:r>
              <a:rPr lang="sv-SE" sz="1200" err="1"/>
              <a:t>production</a:t>
            </a:r>
            <a:endParaRPr lang="sv-SE" sz="1200"/>
          </a:p>
          <a:p>
            <a:endParaRPr lang="sv-SE"/>
          </a:p>
        </p:txBody>
      </p:sp>
      <p:sp>
        <p:nvSpPr>
          <p:cNvPr id="4" name="Slide Number Placeholder 3"/>
          <p:cNvSpPr>
            <a:spLocks noGrp="1"/>
          </p:cNvSpPr>
          <p:nvPr>
            <p:ph type="sldNum" sz="quarter" idx="5"/>
          </p:nvPr>
        </p:nvSpPr>
        <p:spPr/>
        <p:txBody>
          <a:bodyPr/>
          <a:lstStyle/>
          <a:p>
            <a:fld id="{F84DB91F-1AD8-437C-8866-3636784D0854}" type="slidenum">
              <a:rPr lang="en-GB" smtClean="0"/>
              <a:t>207</a:t>
            </a:fld>
            <a:endParaRPr lang="en-GB"/>
          </a:p>
        </p:txBody>
      </p:sp>
    </p:spTree>
    <p:extLst>
      <p:ext uri="{BB962C8B-B14F-4D97-AF65-F5344CB8AC3E}">
        <p14:creationId xmlns:p14="http://schemas.microsoft.com/office/powerpoint/2010/main" val="400015557"/>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fld id="{F84DB91F-1AD8-437C-8866-3636784D0854}" type="slidenum">
              <a:rPr lang="en-GB" smtClean="0"/>
              <a:t>208</a:t>
            </a:fld>
            <a:endParaRPr lang="en-GB"/>
          </a:p>
        </p:txBody>
      </p:sp>
    </p:spTree>
    <p:extLst>
      <p:ext uri="{BB962C8B-B14F-4D97-AF65-F5344CB8AC3E}">
        <p14:creationId xmlns:p14="http://schemas.microsoft.com/office/powerpoint/2010/main" val="979311991"/>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GB" sz="1200" b="1"/>
              <a:t>Energy:</a:t>
            </a:r>
            <a:r>
              <a:rPr lang="en-GB" sz="1200"/>
              <a:t> </a:t>
            </a:r>
            <a:r>
              <a:rPr lang="sv-SE" sz="1200"/>
              <a:t>A total </a:t>
            </a:r>
            <a:r>
              <a:rPr lang="sv-SE" sz="1200" err="1"/>
              <a:t>decrease</a:t>
            </a:r>
            <a:r>
              <a:rPr lang="sv-SE" sz="1200"/>
              <a:t> </a:t>
            </a:r>
            <a:r>
              <a:rPr lang="sv-SE" sz="1200" err="1"/>
              <a:t>of</a:t>
            </a:r>
            <a:r>
              <a:rPr lang="sv-SE" sz="1200"/>
              <a:t> </a:t>
            </a:r>
            <a:r>
              <a:rPr lang="sv-SE" sz="1200" err="1"/>
              <a:t>impact</a:t>
            </a:r>
            <a:r>
              <a:rPr lang="sv-SE" sz="1200"/>
              <a:t> from </a:t>
            </a:r>
            <a:r>
              <a:rPr lang="sv-SE" sz="1200" err="1"/>
              <a:t>energy</a:t>
            </a:r>
            <a:r>
              <a:rPr lang="sv-SE" sz="1200"/>
              <a:t> </a:t>
            </a:r>
            <a:r>
              <a:rPr lang="sv-SE" sz="1200" err="1"/>
              <a:t>usage</a:t>
            </a:r>
            <a:r>
              <a:rPr lang="sv-SE" sz="1200"/>
              <a:t> </a:t>
            </a:r>
            <a:r>
              <a:rPr lang="sv-SE" sz="1200" err="1"/>
              <a:t>with</a:t>
            </a:r>
            <a:r>
              <a:rPr lang="sv-SE" sz="1200"/>
              <a:t> 18% - </a:t>
            </a:r>
            <a:r>
              <a:rPr lang="" altLang="fr-FR" sz="1200">
                <a:sym typeface="+mn-ea"/>
              </a:rPr>
              <a:t>Reduce energy consumption (steam from natural gas) – This is mainly due to that the reactions are more yields more energy than the old ones.</a:t>
            </a:r>
          </a:p>
          <a:p>
            <a:pPr marL="0" indent="0">
              <a:buNone/>
            </a:pPr>
            <a:endParaRPr lang="en-GB" sz="1200"/>
          </a:p>
          <a:p>
            <a:pPr marL="0" indent="0">
              <a:buNone/>
            </a:pPr>
            <a:r>
              <a:rPr lang="en-GB" sz="1200" b="1"/>
              <a:t>Raw materials: </a:t>
            </a:r>
            <a:r>
              <a:rPr lang="" altLang="fr-FR" sz="1200">
                <a:sym typeface="+mn-ea"/>
              </a:rPr>
              <a:t>An increased impact due to raw materials and auxiliary materials, this is mainly due to the increased impact of sulfuric acid.</a:t>
            </a:r>
          </a:p>
          <a:p>
            <a:pPr marL="0" indent="0">
              <a:buNone/>
            </a:pPr>
            <a:endParaRPr lang="en-GB" sz="1200" b="1"/>
          </a:p>
          <a:p>
            <a:pPr marL="0" marR="0" lvl="0" indent="0" fontAlgn="auto">
              <a:lnSpc>
                <a:spcPct val="100000"/>
              </a:lnSpc>
              <a:spcAft>
                <a:spcPts val="0"/>
              </a:spcAft>
              <a:buClrTx/>
              <a:buSzTx/>
              <a:buNone/>
              <a:tabLst/>
              <a:defRPr/>
            </a:pPr>
            <a:r>
              <a:rPr lang="en-GB" sz="1200" b="1"/>
              <a:t>Transport: </a:t>
            </a:r>
            <a:r>
              <a:rPr lang="" altLang="fr-FR" sz="1200">
                <a:sym typeface="+mn-ea"/>
              </a:rPr>
              <a:t>Reduced impact from transport due to usage of H</a:t>
            </a:r>
            <a:r>
              <a:rPr lang="" altLang="fr-FR" sz="1200" baseline="-25000">
                <a:sym typeface="+mn-ea"/>
              </a:rPr>
              <a:t>2</a:t>
            </a:r>
            <a:r>
              <a:rPr lang="" altLang="fr-FR" sz="1200">
                <a:sym typeface="+mn-ea"/>
              </a:rPr>
              <a:t>SO</a:t>
            </a:r>
            <a:r>
              <a:rPr lang="" altLang="fr-FR" sz="1200" baseline="-25000">
                <a:sym typeface="+mn-ea"/>
              </a:rPr>
              <a:t>4</a:t>
            </a:r>
            <a:r>
              <a:rPr lang="" altLang="fr-FR" sz="1200">
                <a:sym typeface="+mn-ea"/>
              </a:rPr>
              <a:t> from nearby Cu-production (-13%)</a:t>
            </a:r>
          </a:p>
          <a:p>
            <a:pPr marL="0" indent="0">
              <a:buNone/>
            </a:pPr>
            <a:endParaRPr lang="en-GB" sz="1200" b="1"/>
          </a:p>
          <a:p>
            <a:pPr marL="0" indent="0">
              <a:buNone/>
            </a:pPr>
            <a:r>
              <a:rPr lang="en-GB" sz="1200" b="1"/>
              <a:t>Site emissions: </a:t>
            </a:r>
            <a:r>
              <a:rPr lang="" altLang="fr-FR" sz="1200">
                <a:sym typeface="+mn-ea"/>
              </a:rPr>
              <a:t>Reduced emissions during the production of fertilizer (because a reduction in NG demand) (-43%)</a:t>
            </a:r>
          </a:p>
          <a:p>
            <a:pPr marL="0" indent="0">
              <a:buNone/>
            </a:pPr>
            <a:endParaRPr lang="" altLang="fr-FR" sz="1200">
              <a:sym typeface="+mn-ea"/>
            </a:endParaRPr>
          </a:p>
          <a:p>
            <a:pPr marL="0" indent="0">
              <a:buNone/>
            </a:pPr>
            <a:r>
              <a:rPr lang="en-GB" sz="1200" b="1"/>
              <a:t>Total: </a:t>
            </a:r>
            <a:r>
              <a:rPr lang="en-US" sz="1200"/>
              <a:t>Increased total impact (+4%), mainly due to the need of sulfuric acid as a raw material when producing ammonium sulfate in-situ from ammonia and sulfuric acid. +4%</a:t>
            </a:r>
            <a:endParaRPr lang="" altLang="fr-FR" sz="1200">
              <a:sym typeface="+mn-ea"/>
            </a:endParaRPr>
          </a:p>
          <a:p>
            <a:pPr marL="342900" indent="-342900">
              <a:lnSpc>
                <a:spcPct val="150000"/>
              </a:lnSpc>
              <a:buClr>
                <a:schemeClr val="accent1"/>
              </a:buClr>
              <a:buFont typeface="Arial" panose="020B0604020202020204" pitchFamily="34" charset="0"/>
              <a:buChar char="•"/>
              <a:defRPr/>
            </a:pPr>
            <a:endParaRPr lang="en-US" sz="1200"/>
          </a:p>
        </p:txBody>
      </p:sp>
      <p:sp>
        <p:nvSpPr>
          <p:cNvPr id="4" name="Slide Number Placeholder 3"/>
          <p:cNvSpPr>
            <a:spLocks noGrp="1"/>
          </p:cNvSpPr>
          <p:nvPr>
            <p:ph type="sldNum" sz="quarter" idx="5"/>
          </p:nvPr>
        </p:nvSpPr>
        <p:spPr/>
        <p:txBody>
          <a:bodyPr/>
          <a:lstStyle/>
          <a:p>
            <a:fld id="{F84DB91F-1AD8-437C-8866-3636784D0854}" type="slidenum">
              <a:rPr lang="en-GB" smtClean="0"/>
              <a:t>209</a:t>
            </a:fld>
            <a:endParaRPr lang="en-GB"/>
          </a:p>
        </p:txBody>
      </p:sp>
    </p:spTree>
    <p:extLst>
      <p:ext uri="{BB962C8B-B14F-4D97-AF65-F5344CB8AC3E}">
        <p14:creationId xmlns:p14="http://schemas.microsoft.com/office/powerpoint/2010/main" val="1198464513"/>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defRPr/>
            </a:pPr>
            <a:r>
              <a:rPr kumimoji="0" lang="sv-SE" altLang="fr-FR" sz="18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sym typeface="+mn-ea"/>
              </a:rPr>
              <a:t>The LCA-</a:t>
            </a:r>
            <a:r>
              <a:rPr kumimoji="0" lang="sv-SE" altLang="fr-FR" sz="1800" b="1" i="0" u="none" strike="noStrike" kern="1200" cap="none" spc="0" normalizeH="0" baseline="0" noProof="0" dirty="0" err="1">
                <a:ln>
                  <a:noFill/>
                </a:ln>
                <a:effectLst/>
                <a:uLnTx/>
                <a:uFillTx/>
                <a:latin typeface="Arial" panose="020B0604020202020204" pitchFamily="34" charset="0"/>
                <a:ea typeface="+mn-ea"/>
                <a:cs typeface="Arial" panose="020B0604020202020204" pitchFamily="34" charset="0"/>
                <a:sym typeface="+mn-ea"/>
              </a:rPr>
              <a:t>results</a:t>
            </a:r>
            <a:r>
              <a:rPr kumimoji="0" lang="sv-SE" altLang="fr-FR" sz="18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sym typeface="+mn-ea"/>
              </a:rPr>
              <a:t> </a:t>
            </a:r>
            <a:r>
              <a:rPr kumimoji="0" lang="sv-SE" altLang="fr-FR" sz="1800" b="1" i="0" u="none" strike="noStrike" kern="1200" cap="none" spc="0" normalizeH="0" baseline="0" noProof="0" dirty="0" err="1">
                <a:ln>
                  <a:noFill/>
                </a:ln>
                <a:effectLst/>
                <a:uLnTx/>
                <a:uFillTx/>
                <a:latin typeface="Arial" panose="020B0604020202020204" pitchFamily="34" charset="0"/>
                <a:ea typeface="+mn-ea"/>
                <a:cs typeface="Arial" panose="020B0604020202020204" pitchFamily="34" charset="0"/>
                <a:sym typeface="+mn-ea"/>
              </a:rPr>
              <a:t>dependence</a:t>
            </a:r>
            <a:r>
              <a:rPr kumimoji="0" lang="sv-SE" altLang="fr-FR" sz="18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sym typeface="+mn-ea"/>
              </a:rPr>
              <a:t> on system </a:t>
            </a:r>
            <a:r>
              <a:rPr kumimoji="0" lang="sv-SE" altLang="fr-FR" sz="1800" b="1" i="0" u="none" strike="noStrike" kern="1200" cap="none" spc="0" normalizeH="0" baseline="0" noProof="0" dirty="0" err="1">
                <a:ln>
                  <a:noFill/>
                </a:ln>
                <a:effectLst/>
                <a:uLnTx/>
                <a:uFillTx/>
                <a:latin typeface="Arial" panose="020B0604020202020204" pitchFamily="34" charset="0"/>
                <a:ea typeface="+mn-ea"/>
                <a:cs typeface="Arial" panose="020B0604020202020204" pitchFamily="34" charset="0"/>
                <a:sym typeface="+mn-ea"/>
              </a:rPr>
              <a:t>boundaries</a:t>
            </a:r>
            <a:endParaRPr lang="en-US" altLang="fr-FR" sz="1800" b="1" dirty="0">
              <a:latin typeface="Arial"/>
              <a:cs typeface="Arial" panose="020B0604020202020204" pitchFamily="34" charset="0"/>
              <a:sym typeface="+mn-ea"/>
            </a:endParaRPr>
          </a:p>
          <a:p>
            <a:pPr algn="l"/>
            <a:r>
              <a:rPr lang="en-US" sz="1800" kern="0" dirty="0">
                <a:solidFill>
                  <a:srgbClr val="000000"/>
                </a:solidFill>
                <a:effectLst/>
                <a:latin typeface="Calibri" panose="020F0502020204030204" pitchFamily="34" charset="0"/>
                <a:ea typeface="Calibri" panose="020F0502020204030204" pitchFamily="34" charset="0"/>
                <a:cs typeface="Lohit Devanagari"/>
              </a:rPr>
              <a:t>The system boundaries for LCA and LCC are set around </a:t>
            </a:r>
            <a:r>
              <a:rPr lang="en-US" sz="1800" kern="0" dirty="0" err="1">
                <a:solidFill>
                  <a:srgbClr val="000000"/>
                </a:solidFill>
                <a:effectLst/>
                <a:latin typeface="Calibri" panose="020F0502020204030204" pitchFamily="34" charset="0"/>
                <a:ea typeface="Calibri" panose="020F0502020204030204" pitchFamily="34" charset="0"/>
                <a:cs typeface="Lohit Devanagari"/>
              </a:rPr>
              <a:t>Fertiberia’s</a:t>
            </a:r>
            <a:r>
              <a:rPr lang="en-US" sz="1800" kern="0" dirty="0">
                <a:solidFill>
                  <a:srgbClr val="000000"/>
                </a:solidFill>
                <a:effectLst/>
                <a:latin typeface="Calibri" panose="020F0502020204030204" pitchFamily="34" charset="0"/>
                <a:ea typeface="Calibri" panose="020F0502020204030204" pitchFamily="34" charset="0"/>
                <a:cs typeface="Lohit Devanagari"/>
              </a:rPr>
              <a:t> Huelva Plant. The utilities and input of raw material, as well as output of product and emissions are included within the system boundary. Furthermore, the production and transportation of the raw materials and utilities to the site are included within the system boundaries. </a:t>
            </a:r>
            <a:endParaRPr lang="sv-SE" sz="1800" kern="100" dirty="0">
              <a:solidFill>
                <a:srgbClr val="404040"/>
              </a:solidFill>
              <a:effectLst/>
              <a:latin typeface="Liberation Serif"/>
              <a:ea typeface="Noto Sans CJK SC"/>
              <a:cs typeface="Lohit Devanagari"/>
            </a:endParaRPr>
          </a:p>
          <a:p>
            <a:pPr algn="l"/>
            <a:r>
              <a:rPr lang="en-US" sz="1800" kern="0" dirty="0">
                <a:solidFill>
                  <a:srgbClr val="000000"/>
                </a:solidFill>
                <a:effectLst/>
                <a:latin typeface="Calibri" panose="020F0502020204030204" pitchFamily="34" charset="0"/>
                <a:ea typeface="Calibri" panose="020F0502020204030204" pitchFamily="34" charset="0"/>
                <a:cs typeface="Lohit Devanagari"/>
              </a:rPr>
              <a:t> </a:t>
            </a:r>
            <a:endParaRPr lang="sv-SE" sz="1800" kern="100" dirty="0">
              <a:solidFill>
                <a:srgbClr val="404040"/>
              </a:solidFill>
              <a:effectLst/>
              <a:latin typeface="Liberation Serif"/>
              <a:ea typeface="Noto Sans CJK SC"/>
              <a:cs typeface="Lohit Devanagari"/>
            </a:endParaRPr>
          </a:p>
          <a:p>
            <a:pPr algn="l"/>
            <a:r>
              <a:rPr lang="en-US" sz="1800" kern="0" dirty="0">
                <a:solidFill>
                  <a:srgbClr val="000000"/>
                </a:solidFill>
                <a:effectLst/>
                <a:latin typeface="Calibri" panose="020F0502020204030204" pitchFamily="34" charset="0"/>
                <a:ea typeface="Calibri" panose="020F0502020204030204" pitchFamily="34" charset="0"/>
                <a:cs typeface="Lohit Devanagari"/>
              </a:rPr>
              <a:t>The retrofit actions taken by </a:t>
            </a:r>
            <a:r>
              <a:rPr lang="en-US" sz="1800" kern="0" dirty="0" err="1">
                <a:solidFill>
                  <a:srgbClr val="000000"/>
                </a:solidFill>
                <a:effectLst/>
                <a:latin typeface="Calibri" panose="020F0502020204030204" pitchFamily="34" charset="0"/>
                <a:ea typeface="Calibri" panose="020F0502020204030204" pitchFamily="34" charset="0"/>
                <a:cs typeface="Lohit Devanagari"/>
              </a:rPr>
              <a:t>Fertiberia</a:t>
            </a:r>
            <a:r>
              <a:rPr lang="en-US" sz="1800" kern="0" dirty="0">
                <a:solidFill>
                  <a:srgbClr val="000000"/>
                </a:solidFill>
                <a:effectLst/>
                <a:latin typeface="Calibri" panose="020F0502020204030204" pitchFamily="34" charset="0"/>
                <a:ea typeface="Calibri" panose="020F0502020204030204" pitchFamily="34" charset="0"/>
                <a:cs typeface="Lohit Devanagari"/>
              </a:rPr>
              <a:t> include changing the input of ammonium sulfate, purchased from a third party to the production of ammonium sulfate on-site from sulfuric acid and ammonia. The ammonium sulfate purchased from a third party is the byproduct of caprolactam production for which </a:t>
            </a:r>
            <a:r>
              <a:rPr lang="en-US" sz="1800" kern="0" dirty="0" err="1">
                <a:solidFill>
                  <a:srgbClr val="000000"/>
                </a:solidFill>
                <a:effectLst/>
                <a:latin typeface="Calibri" panose="020F0502020204030204" pitchFamily="34" charset="0"/>
                <a:ea typeface="Calibri" panose="020F0502020204030204" pitchFamily="34" charset="0"/>
                <a:cs typeface="Lohit Devanagari"/>
              </a:rPr>
              <a:t>Fertiberia</a:t>
            </a:r>
            <a:r>
              <a:rPr lang="en-US" sz="1800" kern="0" dirty="0">
                <a:solidFill>
                  <a:srgbClr val="000000"/>
                </a:solidFill>
                <a:effectLst/>
                <a:latin typeface="Calibri" panose="020F0502020204030204" pitchFamily="34" charset="0"/>
                <a:ea typeface="Calibri" panose="020F0502020204030204" pitchFamily="34" charset="0"/>
                <a:cs typeface="Lohit Devanagari"/>
              </a:rPr>
              <a:t> provides the ammonia. As a result of the retrofit action, </a:t>
            </a:r>
            <a:r>
              <a:rPr lang="en-US" sz="1800" kern="0" dirty="0" err="1">
                <a:solidFill>
                  <a:srgbClr val="000000"/>
                </a:solidFill>
                <a:effectLst/>
                <a:latin typeface="Calibri" panose="020F0502020204030204" pitchFamily="34" charset="0"/>
                <a:ea typeface="Calibri" panose="020F0502020204030204" pitchFamily="34" charset="0"/>
                <a:cs typeface="Lohit Devanagari"/>
              </a:rPr>
              <a:t>Fertiberia</a:t>
            </a:r>
            <a:r>
              <a:rPr lang="en-US" sz="1800" kern="0" dirty="0">
                <a:solidFill>
                  <a:srgbClr val="000000"/>
                </a:solidFill>
                <a:effectLst/>
                <a:latin typeface="Calibri" panose="020F0502020204030204" pitchFamily="34" charset="0"/>
                <a:ea typeface="Calibri" panose="020F0502020204030204" pitchFamily="34" charset="0"/>
                <a:cs typeface="Lohit Devanagari"/>
              </a:rPr>
              <a:t> will use the ammonia on-site for production of ammonium sulfate, instead of selling it as a raw material for caprolactam production and using the ammonium sulfate byproduct. </a:t>
            </a:r>
            <a:endParaRPr lang="sv-SE" sz="1800" kern="100" dirty="0">
              <a:solidFill>
                <a:srgbClr val="404040"/>
              </a:solidFill>
              <a:effectLst/>
              <a:latin typeface="Liberation Serif"/>
              <a:ea typeface="Noto Sans CJK SC"/>
              <a:cs typeface="Lohit Devanagari"/>
            </a:endParaRPr>
          </a:p>
          <a:p>
            <a:pPr algn="l"/>
            <a:r>
              <a:rPr lang="en-US" sz="1800" kern="0" dirty="0">
                <a:solidFill>
                  <a:srgbClr val="000000"/>
                </a:solidFill>
                <a:effectLst/>
                <a:latin typeface="Calibri" panose="020F0502020204030204" pitchFamily="34" charset="0"/>
                <a:ea typeface="Calibri" panose="020F0502020204030204" pitchFamily="34" charset="0"/>
                <a:cs typeface="Lohit Devanagari"/>
              </a:rPr>
              <a:t> </a:t>
            </a:r>
            <a:endParaRPr lang="en-US" sz="1800" kern="0" dirty="0">
              <a:solidFill>
                <a:srgbClr val="000000"/>
              </a:solidFill>
              <a:latin typeface="Calibri" panose="020F0502020204030204" pitchFamily="34" charset="0"/>
              <a:ea typeface="Noto Sans CJK SC"/>
              <a:cs typeface="Lohit Devanagari"/>
            </a:endParaRPr>
          </a:p>
          <a:p>
            <a:pPr algn="l"/>
            <a:r>
              <a:rPr lang="en-US" sz="1800" kern="0" dirty="0">
                <a:solidFill>
                  <a:srgbClr val="000000"/>
                </a:solidFill>
                <a:effectLst/>
                <a:latin typeface="Calibri" panose="020F0502020204030204" pitchFamily="34" charset="0"/>
                <a:ea typeface="Calibri" panose="020F0502020204030204" pitchFamily="34" charset="0"/>
                <a:cs typeface="Lohit Devanagari"/>
              </a:rPr>
              <a:t>If the impact from ammonium sulfate would have been calculated on the assumption that it is a byproduct from caprolactam production, there would have been a underestimation of the impact.</a:t>
            </a:r>
          </a:p>
          <a:p>
            <a:pPr algn="l"/>
            <a:endParaRPr lang="en-US" sz="1800" kern="0" dirty="0">
              <a:solidFill>
                <a:srgbClr val="000000"/>
              </a:solidFill>
              <a:effectLst/>
              <a:latin typeface="Calibri" panose="020F0502020204030204" pitchFamily="34" charset="0"/>
              <a:ea typeface="Calibri" panose="020F0502020204030204" pitchFamily="34" charset="0"/>
              <a:cs typeface="Lohit Devanagari"/>
            </a:endParaRPr>
          </a:p>
          <a:p>
            <a:pPr algn="l"/>
            <a:r>
              <a:rPr lang="en-US" sz="1800" kern="0" dirty="0">
                <a:solidFill>
                  <a:srgbClr val="000000"/>
                </a:solidFill>
                <a:effectLst/>
                <a:latin typeface="Calibri" panose="020F0502020204030204" pitchFamily="34" charset="0"/>
                <a:ea typeface="Calibri" panose="020F0502020204030204" pitchFamily="34" charset="0"/>
                <a:cs typeface="Lohit Devanagari"/>
              </a:rPr>
              <a:t>Since </a:t>
            </a:r>
            <a:r>
              <a:rPr lang="en-US" sz="1800" kern="0" dirty="0" err="1">
                <a:solidFill>
                  <a:srgbClr val="000000"/>
                </a:solidFill>
                <a:effectLst/>
                <a:latin typeface="Calibri" panose="020F0502020204030204" pitchFamily="34" charset="0"/>
                <a:ea typeface="Calibri" panose="020F0502020204030204" pitchFamily="34" charset="0"/>
                <a:cs typeface="Lohit Devanagari"/>
              </a:rPr>
              <a:t>Fertiberia</a:t>
            </a:r>
            <a:r>
              <a:rPr lang="en-US" sz="1800" kern="0" dirty="0">
                <a:solidFill>
                  <a:srgbClr val="000000"/>
                </a:solidFill>
                <a:effectLst/>
                <a:latin typeface="Calibri" panose="020F0502020204030204" pitchFamily="34" charset="0"/>
                <a:ea typeface="Calibri" panose="020F0502020204030204" pitchFamily="34" charset="0"/>
                <a:cs typeface="Lohit Devanagari"/>
              </a:rPr>
              <a:t> are the providers of the ammonia for the caprolactam production, but the caprolactam production is not included in the system boundary, the impact of the ammonia would not be included in the result. However, when </a:t>
            </a:r>
            <a:r>
              <a:rPr lang="en-US" sz="1800" kern="0" dirty="0" err="1">
                <a:solidFill>
                  <a:srgbClr val="000000"/>
                </a:solidFill>
                <a:effectLst/>
                <a:latin typeface="Calibri" panose="020F0502020204030204" pitchFamily="34" charset="0"/>
                <a:ea typeface="Calibri" panose="020F0502020204030204" pitchFamily="34" charset="0"/>
                <a:cs typeface="Lohit Devanagari"/>
              </a:rPr>
              <a:t>Fertiberia</a:t>
            </a:r>
            <a:r>
              <a:rPr lang="en-US" sz="1800" kern="0" dirty="0">
                <a:solidFill>
                  <a:srgbClr val="000000"/>
                </a:solidFill>
                <a:effectLst/>
                <a:latin typeface="Calibri" panose="020F0502020204030204" pitchFamily="34" charset="0"/>
                <a:ea typeface="Calibri" panose="020F0502020204030204" pitchFamily="34" charset="0"/>
                <a:cs typeface="Lohit Devanagari"/>
              </a:rPr>
              <a:t> did their retrofit actions they started to use the ammonia within their own plant instead. In this case, the ammonia production is included in the results. This would result in a larger impact after the retrofit actions due to Ammonia, even though there was no change in ammonia production.</a:t>
            </a:r>
          </a:p>
          <a:p>
            <a:pPr algn="l"/>
            <a:endParaRPr lang="en-US" sz="1800" kern="0" dirty="0">
              <a:solidFill>
                <a:srgbClr val="000000"/>
              </a:solidFill>
              <a:effectLst/>
              <a:latin typeface="Calibri" panose="020F0502020204030204" pitchFamily="34" charset="0"/>
              <a:ea typeface="Calibri" panose="020F0502020204030204" pitchFamily="34" charset="0"/>
              <a:cs typeface="Lohit Devanagari"/>
            </a:endParaRPr>
          </a:p>
          <a:p>
            <a:pPr algn="l"/>
            <a:r>
              <a:rPr lang="en-US" sz="1800" kern="0" dirty="0">
                <a:solidFill>
                  <a:srgbClr val="000000"/>
                </a:solidFill>
                <a:effectLst/>
                <a:latin typeface="Calibri" panose="020F0502020204030204" pitchFamily="34" charset="0"/>
                <a:ea typeface="Calibri" panose="020F0502020204030204" pitchFamily="34" charset="0"/>
                <a:cs typeface="Lohit Devanagari"/>
              </a:rPr>
              <a:t> </a:t>
            </a:r>
          </a:p>
          <a:p>
            <a:pPr algn="l"/>
            <a:r>
              <a:rPr lang="en-US" sz="1800" kern="0" dirty="0">
                <a:solidFill>
                  <a:srgbClr val="000000"/>
                </a:solidFill>
                <a:effectLst/>
                <a:latin typeface="Calibri" panose="020F0502020204030204" pitchFamily="34" charset="0"/>
                <a:ea typeface="Calibri" panose="020F0502020204030204" pitchFamily="34" charset="0"/>
                <a:cs typeface="Lohit Devanagari"/>
              </a:rPr>
              <a:t>This is a problem related to allocation of impact and system boundaries. To try to avoid this problem, the burden associated with ammonium sulfate were calculated from the impact of producing ammonium sulfate from ammonia and sulfuric acid, instead of allocating some of the burden from the caprolactam production to ammonium sulfate.  In this way, the impact of ammonia is included in the BAU-case and the retrofitted case.</a:t>
            </a:r>
          </a:p>
          <a:p>
            <a:pPr algn="l"/>
            <a:endParaRPr lang="sv-SE" sz="1800" kern="100" dirty="0">
              <a:solidFill>
                <a:srgbClr val="404040"/>
              </a:solidFill>
              <a:effectLst/>
              <a:latin typeface="Liberation Serif"/>
              <a:ea typeface="Noto Sans CJK SC"/>
              <a:cs typeface="Lohit Devanagari"/>
            </a:endParaRPr>
          </a:p>
        </p:txBody>
      </p:sp>
      <p:sp>
        <p:nvSpPr>
          <p:cNvPr id="4" name="Slide Number Placeholder 3"/>
          <p:cNvSpPr>
            <a:spLocks noGrp="1"/>
          </p:cNvSpPr>
          <p:nvPr>
            <p:ph type="sldNum" sz="quarter" idx="5"/>
          </p:nvPr>
        </p:nvSpPr>
        <p:spPr/>
        <p:txBody>
          <a:bodyPr/>
          <a:lstStyle/>
          <a:p>
            <a:fld id="{F84DB91F-1AD8-437C-8866-3636784D0854}" type="slidenum">
              <a:rPr lang="en-GB" smtClean="0"/>
              <a:t>210</a:t>
            </a:fld>
            <a:endParaRPr lang="en-GB"/>
          </a:p>
        </p:txBody>
      </p:sp>
    </p:spTree>
    <p:extLst>
      <p:ext uri="{BB962C8B-B14F-4D97-AF65-F5344CB8AC3E}">
        <p14:creationId xmlns:p14="http://schemas.microsoft.com/office/powerpoint/2010/main" val="3109112522"/>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defRPr/>
            </a:pPr>
            <a:r>
              <a:rPr kumimoji="0" lang="sv-SE" altLang="fr-FR" sz="18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sym typeface="+mn-ea"/>
              </a:rPr>
              <a:t>The LCA-</a:t>
            </a:r>
            <a:r>
              <a:rPr kumimoji="0" lang="sv-SE" altLang="fr-FR" sz="1800" b="1" i="0" u="none" strike="noStrike" kern="1200" cap="none" spc="0" normalizeH="0" baseline="0" noProof="0" dirty="0" err="1">
                <a:ln>
                  <a:noFill/>
                </a:ln>
                <a:effectLst/>
                <a:uLnTx/>
                <a:uFillTx/>
                <a:latin typeface="Arial" panose="020B0604020202020204" pitchFamily="34" charset="0"/>
                <a:ea typeface="+mn-ea"/>
                <a:cs typeface="Arial" panose="020B0604020202020204" pitchFamily="34" charset="0"/>
                <a:sym typeface="+mn-ea"/>
              </a:rPr>
              <a:t>results</a:t>
            </a:r>
            <a:r>
              <a:rPr kumimoji="0" lang="sv-SE" altLang="fr-FR" sz="18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sym typeface="+mn-ea"/>
              </a:rPr>
              <a:t> </a:t>
            </a:r>
            <a:r>
              <a:rPr kumimoji="0" lang="sv-SE" altLang="fr-FR" sz="1800" b="1" i="0" u="none" strike="noStrike" kern="1200" cap="none" spc="0" normalizeH="0" baseline="0" noProof="0" dirty="0" err="1">
                <a:ln>
                  <a:noFill/>
                </a:ln>
                <a:effectLst/>
                <a:uLnTx/>
                <a:uFillTx/>
                <a:latin typeface="Arial" panose="020B0604020202020204" pitchFamily="34" charset="0"/>
                <a:ea typeface="+mn-ea"/>
                <a:cs typeface="Arial" panose="020B0604020202020204" pitchFamily="34" charset="0"/>
                <a:sym typeface="+mn-ea"/>
              </a:rPr>
              <a:t>dependence</a:t>
            </a:r>
            <a:r>
              <a:rPr kumimoji="0" lang="sv-SE" altLang="fr-FR" sz="18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sym typeface="+mn-ea"/>
              </a:rPr>
              <a:t> on system </a:t>
            </a:r>
            <a:r>
              <a:rPr kumimoji="0" lang="sv-SE" altLang="fr-FR" sz="1800" b="1" i="0" u="none" strike="noStrike" kern="1200" cap="none" spc="0" normalizeH="0" baseline="0" noProof="0" dirty="0" err="1">
                <a:ln>
                  <a:noFill/>
                </a:ln>
                <a:effectLst/>
                <a:uLnTx/>
                <a:uFillTx/>
                <a:latin typeface="Arial" panose="020B0604020202020204" pitchFamily="34" charset="0"/>
                <a:ea typeface="+mn-ea"/>
                <a:cs typeface="Arial" panose="020B0604020202020204" pitchFamily="34" charset="0"/>
                <a:sym typeface="+mn-ea"/>
              </a:rPr>
              <a:t>boundaries</a:t>
            </a:r>
            <a:endParaRPr lang="en-US" altLang="fr-FR" sz="1800" b="1" dirty="0">
              <a:latin typeface="Arial"/>
              <a:cs typeface="Arial" panose="020B0604020202020204" pitchFamily="34" charset="0"/>
              <a:sym typeface="+mn-ea"/>
            </a:endParaRPr>
          </a:p>
          <a:p>
            <a:pPr algn="l"/>
            <a:r>
              <a:rPr lang="en-US" sz="1800" kern="0" dirty="0">
                <a:solidFill>
                  <a:srgbClr val="000000"/>
                </a:solidFill>
                <a:effectLst/>
                <a:latin typeface="Calibri" panose="020F0502020204030204" pitchFamily="34" charset="0"/>
                <a:ea typeface="Calibri" panose="020F0502020204030204" pitchFamily="34" charset="0"/>
                <a:cs typeface="Lohit Devanagari"/>
              </a:rPr>
              <a:t>The burden associated with ammonium sulfate were calculated from the impact of producing ammonium sulfate from ammonia and sulfuric acid (red square), instead of allocating some of the burden from the caprolactam production to ammonium sulfate.  In this way, the impact of ammonia is included in the BAU-case and the retrofitted case.</a:t>
            </a:r>
          </a:p>
          <a:p>
            <a:pPr algn="l"/>
            <a:endParaRPr lang="sv-SE" sz="1800" kern="100" dirty="0">
              <a:solidFill>
                <a:srgbClr val="404040"/>
              </a:solidFill>
              <a:effectLst/>
              <a:latin typeface="Liberation Serif"/>
              <a:ea typeface="Noto Sans CJK SC"/>
              <a:cs typeface="Lohit Devanagari"/>
            </a:endParaRPr>
          </a:p>
        </p:txBody>
      </p:sp>
      <p:sp>
        <p:nvSpPr>
          <p:cNvPr id="4" name="Slide Number Placeholder 3"/>
          <p:cNvSpPr>
            <a:spLocks noGrp="1"/>
          </p:cNvSpPr>
          <p:nvPr>
            <p:ph type="sldNum" sz="quarter" idx="5"/>
          </p:nvPr>
        </p:nvSpPr>
        <p:spPr/>
        <p:txBody>
          <a:bodyPr/>
          <a:lstStyle/>
          <a:p>
            <a:fld id="{F84DB91F-1AD8-437C-8866-3636784D0854}" type="slidenum">
              <a:rPr lang="en-GB" smtClean="0"/>
              <a:t>211</a:t>
            </a:fld>
            <a:endParaRPr lang="en-GB"/>
          </a:p>
        </p:txBody>
      </p:sp>
    </p:spTree>
    <p:extLst>
      <p:ext uri="{BB962C8B-B14F-4D97-AF65-F5344CB8AC3E}">
        <p14:creationId xmlns:p14="http://schemas.microsoft.com/office/powerpoint/2010/main" val="2667006679"/>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err="1"/>
              <a:t>Two</a:t>
            </a:r>
            <a:r>
              <a:rPr lang="sv-SE"/>
              <a:t> </a:t>
            </a:r>
            <a:r>
              <a:rPr lang="sv-SE" err="1"/>
              <a:t>of</a:t>
            </a:r>
            <a:r>
              <a:rPr lang="sv-SE"/>
              <a:t> the </a:t>
            </a:r>
            <a:r>
              <a:rPr lang="sv-SE" err="1"/>
              <a:t>impact</a:t>
            </a:r>
            <a:r>
              <a:rPr lang="sv-SE"/>
              <a:t> </a:t>
            </a:r>
            <a:r>
              <a:rPr lang="sv-SE" err="1"/>
              <a:t>categories</a:t>
            </a:r>
            <a:r>
              <a:rPr lang="sv-SE"/>
              <a:t> (</a:t>
            </a:r>
            <a:r>
              <a:rPr lang="en-US" sz="1200" i="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Total use of non-renewable primary energy sources (PENRT)</a:t>
            </a:r>
            <a:r>
              <a:rPr lang="en-US" sz="12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and </a:t>
            </a:r>
            <a:r>
              <a:rPr lang="en-US" sz="1200" i="1">
                <a:solidFill>
                  <a:srgbClr val="404040"/>
                </a:solidFill>
                <a:effectLst/>
                <a:latin typeface="Liberation Serif"/>
                <a:ea typeface="Noto Sans CJK SC"/>
                <a:cs typeface="Lohit Devanagari"/>
              </a:rPr>
              <a:t>Use of non-renewable primary energy</a:t>
            </a:r>
            <a:r>
              <a:rPr lang="en-US" sz="1200" i="1">
                <a:solidFill>
                  <a:srgbClr val="000000"/>
                </a:solidFill>
                <a:effectLst/>
                <a:latin typeface="Arial" panose="020B0604020202020204" pitchFamily="34" charset="0"/>
                <a:ea typeface="Noto Sans CJK SC"/>
                <a:cs typeface="Times New Roman" panose="02020603050405020304" pitchFamily="18" charset="0"/>
              </a:rPr>
              <a:t> </a:t>
            </a:r>
            <a:r>
              <a:rPr lang="en-US" sz="1200">
                <a:solidFill>
                  <a:srgbClr val="000000"/>
                </a:solidFill>
                <a:effectLst/>
                <a:latin typeface="Arial" panose="020B0604020202020204" pitchFamily="34" charset="0"/>
                <a:ea typeface="Noto Sans CJK SC"/>
                <a:cs typeface="Times New Roman" panose="02020603050405020304" pitchFamily="18" charset="0"/>
              </a:rPr>
              <a:t>(PENRE)</a:t>
            </a:r>
            <a:r>
              <a:rPr lang="sv-SE"/>
              <a:t>) </a:t>
            </a:r>
            <a:r>
              <a:rPr lang="sv-SE" err="1"/>
              <a:t>showed</a:t>
            </a:r>
            <a:r>
              <a:rPr lang="sv-SE"/>
              <a:t> the same </a:t>
            </a:r>
            <a:r>
              <a:rPr lang="sv-SE" err="1"/>
              <a:t>impact</a:t>
            </a:r>
            <a:r>
              <a:rPr lang="sv-SE"/>
              <a:t>, </a:t>
            </a:r>
            <a:r>
              <a:rPr lang="sv-SE" err="1"/>
              <a:t>meaning</a:t>
            </a:r>
            <a:r>
              <a:rPr lang="sv-SE"/>
              <a:t> </a:t>
            </a:r>
            <a:r>
              <a:rPr lang="sv-SE" err="1"/>
              <a:t>that</a:t>
            </a:r>
            <a:r>
              <a:rPr lang="sv-SE"/>
              <a:t> 5/7 </a:t>
            </a:r>
            <a:r>
              <a:rPr lang="sv-SE" err="1"/>
              <a:t>impact</a:t>
            </a:r>
            <a:r>
              <a:rPr lang="sv-SE"/>
              <a:t> </a:t>
            </a:r>
            <a:r>
              <a:rPr lang="sv-SE" err="1"/>
              <a:t>categories</a:t>
            </a:r>
            <a:r>
              <a:rPr lang="sv-SE"/>
              <a:t> </a:t>
            </a:r>
            <a:r>
              <a:rPr lang="sv-SE" err="1"/>
              <a:t>saw</a:t>
            </a:r>
            <a:r>
              <a:rPr lang="sv-SE"/>
              <a:t> a </a:t>
            </a:r>
            <a:r>
              <a:rPr lang="sv-SE" err="1"/>
              <a:t>reduction</a:t>
            </a:r>
            <a:r>
              <a:rPr lang="sv-SE"/>
              <a:t>.</a:t>
            </a:r>
          </a:p>
        </p:txBody>
      </p:sp>
      <p:sp>
        <p:nvSpPr>
          <p:cNvPr id="4" name="Slide Number Placeholder 3"/>
          <p:cNvSpPr>
            <a:spLocks noGrp="1"/>
          </p:cNvSpPr>
          <p:nvPr>
            <p:ph type="sldNum" sz="quarter" idx="5"/>
          </p:nvPr>
        </p:nvSpPr>
        <p:spPr/>
        <p:txBody>
          <a:bodyPr/>
          <a:lstStyle/>
          <a:p>
            <a:fld id="{F84DB91F-1AD8-437C-8866-3636784D0854}" type="slidenum">
              <a:rPr lang="en-GB" smtClean="0"/>
              <a:t>212</a:t>
            </a:fld>
            <a:endParaRPr lang="en-GB"/>
          </a:p>
        </p:txBody>
      </p:sp>
    </p:spTree>
    <p:extLst>
      <p:ext uri="{BB962C8B-B14F-4D97-AF65-F5344CB8AC3E}">
        <p14:creationId xmlns:p14="http://schemas.microsoft.com/office/powerpoint/2010/main" val="2647412271"/>
      </p:ext>
    </p:extLst>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GB" sz="2400" b="1" dirty="0"/>
              <a:t>Total cost</a:t>
            </a:r>
          </a:p>
          <a:p>
            <a:pPr marL="342900" indent="-342900">
              <a:buClr>
                <a:schemeClr val="accent1"/>
              </a:buClr>
              <a:buFont typeface="Arial" panose="020B0604020202020204" pitchFamily="34" charset="0"/>
              <a:buChar char="•"/>
              <a:defRPr/>
            </a:pPr>
            <a:r>
              <a:rPr lang="en-US" sz="2400" dirty="0"/>
              <a:t>Before retrofit, externalities are the main contributor, followed by raw materials and auxiliary materials.</a:t>
            </a:r>
          </a:p>
          <a:p>
            <a:pPr marL="342900" indent="-342900">
              <a:buClr>
                <a:schemeClr val="accent1"/>
              </a:buClr>
              <a:buFont typeface="Arial" panose="020B0604020202020204" pitchFamily="34" charset="0"/>
              <a:buChar char="•"/>
              <a:defRPr/>
            </a:pPr>
            <a:r>
              <a:rPr lang="en-US" sz="2400" dirty="0"/>
              <a:t>After the retrofit actions, the externalities contribution is reduced and the major contributor to the overall cost are the raw materials and auxiliary materials.</a:t>
            </a:r>
          </a:p>
          <a:p>
            <a:pPr marL="342900" indent="-342900">
              <a:buClr>
                <a:schemeClr val="accent1"/>
              </a:buClr>
              <a:buFont typeface="Arial" panose="020B0604020202020204" pitchFamily="34" charset="0"/>
              <a:buChar char="•"/>
              <a:defRPr/>
            </a:pPr>
            <a:r>
              <a:rPr lang="en-US" sz="2400" dirty="0"/>
              <a:t>Externalities are c</a:t>
            </a:r>
            <a:r>
              <a:rPr lang="sv-SE" sz="2400" dirty="0"/>
              <a:t>osts </a:t>
            </a:r>
            <a:r>
              <a:rPr lang="sv-SE" sz="2400" dirty="0" err="1"/>
              <a:t>linked</a:t>
            </a:r>
            <a:r>
              <a:rPr lang="sv-SE" sz="2400" dirty="0"/>
              <a:t> to the </a:t>
            </a:r>
            <a:r>
              <a:rPr lang="sv-SE" sz="2400" dirty="0" err="1"/>
              <a:t>product</a:t>
            </a:r>
            <a:r>
              <a:rPr lang="sv-SE" sz="2400" dirty="0"/>
              <a:t>, service or </a:t>
            </a:r>
            <a:r>
              <a:rPr lang="sv-SE" sz="2400" dirty="0" err="1"/>
              <a:t>works</a:t>
            </a:r>
            <a:r>
              <a:rPr lang="sv-SE" sz="2400" dirty="0"/>
              <a:t> </a:t>
            </a:r>
            <a:r>
              <a:rPr lang="sv-SE" sz="2400" dirty="0" err="1"/>
              <a:t>during</a:t>
            </a:r>
            <a:r>
              <a:rPr lang="sv-SE" sz="2400" dirty="0"/>
              <a:t> </a:t>
            </a:r>
            <a:r>
              <a:rPr lang="sv-SE" sz="2400" dirty="0" err="1"/>
              <a:t>its</a:t>
            </a:r>
            <a:r>
              <a:rPr lang="sv-SE" sz="2400" dirty="0"/>
              <a:t> </a:t>
            </a:r>
            <a:r>
              <a:rPr lang="sv-SE" sz="2400" dirty="0" err="1"/>
              <a:t>life</a:t>
            </a:r>
            <a:r>
              <a:rPr lang="sv-SE" sz="2400" dirty="0"/>
              <a:t> </a:t>
            </a:r>
            <a:r>
              <a:rPr lang="sv-SE" sz="2400" dirty="0" err="1"/>
              <a:t>cycle</a:t>
            </a:r>
            <a:r>
              <a:rPr lang="sv-SE" sz="2400" dirty="0"/>
              <a:t>, </a:t>
            </a:r>
            <a:r>
              <a:rPr lang="sv-SE" sz="2400" dirty="0" err="1"/>
              <a:t>provided</a:t>
            </a:r>
            <a:r>
              <a:rPr lang="sv-SE" sz="2400" dirty="0"/>
              <a:t> </a:t>
            </a:r>
            <a:r>
              <a:rPr lang="sv-SE" sz="2400" dirty="0" err="1"/>
              <a:t>their</a:t>
            </a:r>
            <a:r>
              <a:rPr lang="sv-SE" sz="2400" dirty="0"/>
              <a:t> </a:t>
            </a:r>
            <a:r>
              <a:rPr lang="sv-SE" sz="2400" dirty="0" err="1"/>
              <a:t>monetary</a:t>
            </a:r>
            <a:r>
              <a:rPr lang="sv-SE" sz="2400" dirty="0"/>
              <a:t> </a:t>
            </a:r>
            <a:r>
              <a:rPr lang="sv-SE" sz="2400" dirty="0" err="1"/>
              <a:t>value</a:t>
            </a:r>
            <a:r>
              <a:rPr lang="sv-SE" sz="2400" dirty="0"/>
              <a:t> </a:t>
            </a:r>
            <a:r>
              <a:rPr lang="sv-SE" sz="2400" dirty="0" err="1"/>
              <a:t>can</a:t>
            </a:r>
            <a:r>
              <a:rPr lang="sv-SE" sz="2400" dirty="0"/>
              <a:t> be </a:t>
            </a:r>
            <a:r>
              <a:rPr lang="sv-SE" sz="2400" dirty="0" err="1"/>
              <a:t>determined</a:t>
            </a:r>
            <a:r>
              <a:rPr lang="sv-SE" sz="2400" dirty="0"/>
              <a:t> and </a:t>
            </a:r>
            <a:r>
              <a:rPr lang="sv-SE" sz="2400" dirty="0" err="1"/>
              <a:t>verified</a:t>
            </a:r>
            <a:r>
              <a:rPr lang="sv-SE" sz="2400" dirty="0"/>
              <a:t>; </a:t>
            </a:r>
            <a:r>
              <a:rPr lang="sv-SE" sz="2400" dirty="0" err="1"/>
              <a:t>such</a:t>
            </a:r>
            <a:r>
              <a:rPr lang="sv-SE" sz="2400" dirty="0"/>
              <a:t> </a:t>
            </a:r>
            <a:r>
              <a:rPr lang="sv-SE" sz="2400" dirty="0" err="1"/>
              <a:t>costs</a:t>
            </a:r>
            <a:r>
              <a:rPr lang="sv-SE" sz="2400" dirty="0"/>
              <a:t> </a:t>
            </a:r>
            <a:r>
              <a:rPr lang="sv-SE" sz="2400" dirty="0" err="1"/>
              <a:t>may</a:t>
            </a:r>
            <a:r>
              <a:rPr lang="sv-SE" sz="2400" dirty="0"/>
              <a:t> </a:t>
            </a:r>
            <a:r>
              <a:rPr lang="sv-SE" sz="2400" dirty="0" err="1"/>
              <a:t>include</a:t>
            </a:r>
            <a:r>
              <a:rPr lang="sv-SE" sz="2400" dirty="0"/>
              <a:t> the </a:t>
            </a:r>
            <a:r>
              <a:rPr lang="sv-SE" sz="2400" dirty="0" err="1"/>
              <a:t>cost</a:t>
            </a:r>
            <a:r>
              <a:rPr lang="sv-SE" sz="2400" dirty="0"/>
              <a:t> </a:t>
            </a:r>
            <a:r>
              <a:rPr lang="sv-SE" sz="2400" dirty="0" err="1"/>
              <a:t>of</a:t>
            </a:r>
            <a:r>
              <a:rPr lang="sv-SE" sz="2400" dirty="0"/>
              <a:t> emissions </a:t>
            </a:r>
            <a:r>
              <a:rPr lang="sv-SE" sz="2400" dirty="0" err="1"/>
              <a:t>of</a:t>
            </a:r>
            <a:r>
              <a:rPr lang="sv-SE" sz="2400" dirty="0"/>
              <a:t> greenhouse </a:t>
            </a:r>
            <a:r>
              <a:rPr lang="sv-SE" sz="2400" dirty="0" err="1"/>
              <a:t>gases</a:t>
            </a:r>
            <a:r>
              <a:rPr lang="sv-SE" sz="2400" dirty="0"/>
              <a:t> and </a:t>
            </a:r>
            <a:r>
              <a:rPr lang="sv-SE" sz="2400" dirty="0" err="1"/>
              <a:t>of</a:t>
            </a:r>
            <a:r>
              <a:rPr lang="sv-SE" sz="2400" dirty="0"/>
              <a:t> </a:t>
            </a:r>
            <a:r>
              <a:rPr lang="sv-SE" sz="2400" dirty="0" err="1"/>
              <a:t>other</a:t>
            </a:r>
            <a:r>
              <a:rPr lang="sv-SE" sz="2400" dirty="0"/>
              <a:t> </a:t>
            </a:r>
            <a:r>
              <a:rPr lang="sv-SE" sz="2400" dirty="0" err="1"/>
              <a:t>pollutant</a:t>
            </a:r>
            <a:r>
              <a:rPr lang="sv-SE" sz="2400" dirty="0"/>
              <a:t> emissions and </a:t>
            </a:r>
            <a:r>
              <a:rPr lang="sv-SE" sz="2400" dirty="0" err="1"/>
              <a:t>other</a:t>
            </a:r>
            <a:r>
              <a:rPr lang="sv-SE" sz="2400" dirty="0"/>
              <a:t> </a:t>
            </a:r>
            <a:r>
              <a:rPr lang="sv-SE" sz="2400" dirty="0" err="1"/>
              <a:t>climate</a:t>
            </a:r>
            <a:r>
              <a:rPr lang="sv-SE" sz="2400" dirty="0"/>
              <a:t> </a:t>
            </a:r>
            <a:r>
              <a:rPr lang="sv-SE" sz="2400" dirty="0" err="1"/>
              <a:t>change</a:t>
            </a:r>
            <a:r>
              <a:rPr lang="sv-SE" sz="2400" dirty="0"/>
              <a:t> </a:t>
            </a:r>
            <a:r>
              <a:rPr lang="sv-SE" sz="2400" dirty="0" err="1"/>
              <a:t>mitigation</a:t>
            </a:r>
            <a:r>
              <a:rPr lang="sv-SE" sz="2400" dirty="0"/>
              <a:t> </a:t>
            </a:r>
            <a:r>
              <a:rPr lang="sv-SE" sz="2400" dirty="0" err="1"/>
              <a:t>costs</a:t>
            </a:r>
            <a:r>
              <a:rPr lang="sv-SE" sz="2400" dirty="0"/>
              <a:t>.</a:t>
            </a:r>
          </a:p>
          <a:p>
            <a:pPr marL="342900" indent="-342900">
              <a:buClr>
                <a:schemeClr val="accent1"/>
              </a:buClr>
              <a:buFont typeface="Arial" panose="020B0604020202020204" pitchFamily="34" charset="0"/>
              <a:buChar char="•"/>
              <a:defRPr/>
            </a:pPr>
            <a:r>
              <a:rPr lang="sv-SE" sz="2400" b="1" dirty="0"/>
              <a:t>Repetition</a:t>
            </a:r>
            <a:r>
              <a:rPr lang="sv-SE" sz="2400" dirty="0"/>
              <a:t>: </a:t>
            </a:r>
            <a:r>
              <a:rPr lang="en-US" sz="2400" dirty="0">
                <a:cs typeface="Arial" panose="020B0604020202020204" pitchFamily="34" charset="0"/>
              </a:rPr>
              <a:t>Externalities are indirect costs or benefits to an uninvolved third party (example: Air pollution from motor vehicles).</a:t>
            </a:r>
            <a:endParaRPr lang="en-US" sz="2400" dirty="0"/>
          </a:p>
          <a:p>
            <a:pPr marL="0" lvl="1" indent="0">
              <a:buClr>
                <a:schemeClr val="accent1"/>
              </a:buClr>
              <a:buNone/>
              <a:defRPr/>
            </a:pPr>
            <a:endParaRPr lang="en-US" sz="2400" dirty="0"/>
          </a:p>
          <a:p>
            <a:pPr marL="0" lvl="1" indent="0">
              <a:buClr>
                <a:schemeClr val="accent1"/>
              </a:buClr>
              <a:buNone/>
              <a:defRPr/>
            </a:pPr>
            <a:r>
              <a:rPr lang="en-US" sz="2400" b="1" dirty="0"/>
              <a:t>Raw materials and auxiliary materials</a:t>
            </a:r>
          </a:p>
          <a:p>
            <a:pPr marL="342900" lvl="1" indent="-342900">
              <a:buClr>
                <a:schemeClr val="accent1"/>
              </a:buClr>
              <a:buFont typeface="Arial" panose="020B0604020202020204" pitchFamily="34" charset="0"/>
              <a:buChar char="•"/>
              <a:defRPr/>
            </a:pPr>
            <a:r>
              <a:rPr lang="en-US" sz="2400" dirty="0"/>
              <a:t>Phosphoric acid is the largest contributor of the raw materials, followed by potassium chloride and </a:t>
            </a:r>
            <a:r>
              <a:rPr lang="en-US" sz="2400" dirty="0" err="1"/>
              <a:t>ammoniuim</a:t>
            </a:r>
            <a:r>
              <a:rPr lang="en-US" sz="2400" dirty="0"/>
              <a:t> sulphate.</a:t>
            </a:r>
          </a:p>
          <a:p>
            <a:pPr marL="342900" lvl="1" indent="-342900">
              <a:buClr>
                <a:schemeClr val="accent1"/>
              </a:buClr>
              <a:buFont typeface="Arial" panose="020B0604020202020204" pitchFamily="34" charset="0"/>
              <a:buChar char="•"/>
              <a:defRPr/>
            </a:pPr>
            <a:r>
              <a:rPr lang="en-US" sz="2400" dirty="0"/>
              <a:t>10% of the phosphor (P) of the phosphoric acid was replaced with phosphor from other P-sources such as waste streams from other industries.</a:t>
            </a:r>
          </a:p>
          <a:p>
            <a:pPr marL="342900" lvl="1" indent="-342900">
              <a:buClr>
                <a:schemeClr val="accent1"/>
              </a:buClr>
              <a:buFont typeface="Arial" panose="020B0604020202020204" pitchFamily="34" charset="0"/>
              <a:buChar char="•"/>
              <a:defRPr/>
            </a:pPr>
            <a:r>
              <a:rPr lang="en-US" sz="2400" dirty="0"/>
              <a:t>Ammonium sulphate was replaced by ammonia and sulfuric acid.</a:t>
            </a:r>
          </a:p>
          <a:p>
            <a:endParaRPr lang="sv-SE" dirty="0"/>
          </a:p>
        </p:txBody>
      </p:sp>
      <p:sp>
        <p:nvSpPr>
          <p:cNvPr id="4" name="Slide Number Placeholder 3"/>
          <p:cNvSpPr>
            <a:spLocks noGrp="1"/>
          </p:cNvSpPr>
          <p:nvPr>
            <p:ph type="sldNum" sz="quarter" idx="5"/>
          </p:nvPr>
        </p:nvSpPr>
        <p:spPr/>
        <p:txBody>
          <a:bodyPr/>
          <a:lstStyle/>
          <a:p>
            <a:fld id="{F84DB91F-1AD8-437C-8866-3636784D0854}" type="slidenum">
              <a:rPr lang="en-GB" smtClean="0"/>
              <a:t>213</a:t>
            </a:fld>
            <a:endParaRPr lang="en-GB"/>
          </a:p>
        </p:txBody>
      </p:sp>
    </p:spTree>
    <p:extLst>
      <p:ext uri="{BB962C8B-B14F-4D97-AF65-F5344CB8AC3E}">
        <p14:creationId xmlns:p14="http://schemas.microsoft.com/office/powerpoint/2010/main" val="22891367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4DB91F-1AD8-437C-8866-3636784D085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03893242"/>
      </p:ext>
    </p:extLst>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sv-SE" sz="1200" b="1" err="1"/>
              <a:t>Ammomium</a:t>
            </a:r>
            <a:r>
              <a:rPr lang="sv-SE" sz="1200" b="1"/>
              <a:t> </a:t>
            </a:r>
            <a:r>
              <a:rPr lang="sv-SE" sz="1200" b="1" err="1"/>
              <a:t>sulfate</a:t>
            </a:r>
            <a:r>
              <a:rPr lang="sv-SE" sz="1200" b="1"/>
              <a:t>, </a:t>
            </a:r>
            <a:r>
              <a:rPr lang="sv-SE" sz="1200" b="1" err="1"/>
              <a:t>ammonia</a:t>
            </a:r>
            <a:r>
              <a:rPr lang="sv-SE" sz="1200" b="1"/>
              <a:t> and </a:t>
            </a:r>
            <a:r>
              <a:rPr lang="sv-SE" sz="1200" b="1" err="1"/>
              <a:t>sulfuric</a:t>
            </a:r>
            <a:r>
              <a:rPr lang="sv-SE" sz="1200" b="1"/>
              <a:t> </a:t>
            </a:r>
            <a:r>
              <a:rPr lang="sv-SE" sz="1200" b="1" err="1"/>
              <a:t>acid</a:t>
            </a:r>
            <a:endParaRPr lang="sv-SE" sz="1200"/>
          </a:p>
          <a:p>
            <a:pPr marL="171450" indent="-171450">
              <a:buFont typeface="Arial" panose="020B0604020202020204" pitchFamily="34" charset="0"/>
              <a:buChar char="•"/>
            </a:pPr>
            <a:r>
              <a:rPr lang="sv-SE" sz="1200"/>
              <a:t>A </a:t>
            </a:r>
            <a:r>
              <a:rPr lang="sv-SE" sz="1200" err="1"/>
              <a:t>large</a:t>
            </a:r>
            <a:r>
              <a:rPr lang="sv-SE" sz="1200"/>
              <a:t> </a:t>
            </a:r>
            <a:r>
              <a:rPr lang="sv-SE" sz="1200" err="1"/>
              <a:t>percental</a:t>
            </a:r>
            <a:r>
              <a:rPr lang="sv-SE" sz="1200"/>
              <a:t> </a:t>
            </a:r>
            <a:r>
              <a:rPr lang="sv-SE" sz="1200" err="1"/>
              <a:t>increase</a:t>
            </a:r>
            <a:r>
              <a:rPr lang="sv-SE" sz="1200"/>
              <a:t> </a:t>
            </a:r>
            <a:r>
              <a:rPr lang="sv-SE" sz="1200" err="1"/>
              <a:t>of</a:t>
            </a:r>
            <a:r>
              <a:rPr lang="sv-SE" sz="1200"/>
              <a:t> </a:t>
            </a:r>
            <a:r>
              <a:rPr lang="sv-SE" sz="1200" err="1"/>
              <a:t>sulphuric</a:t>
            </a:r>
            <a:r>
              <a:rPr lang="sv-SE" sz="1200"/>
              <a:t> </a:t>
            </a:r>
            <a:r>
              <a:rPr lang="sv-SE" sz="1200" err="1"/>
              <a:t>acid</a:t>
            </a:r>
            <a:r>
              <a:rPr lang="sv-SE" sz="1200"/>
              <a:t>, </a:t>
            </a:r>
            <a:r>
              <a:rPr lang="sv-SE" sz="1200" err="1"/>
              <a:t>taking</a:t>
            </a:r>
            <a:r>
              <a:rPr lang="sv-SE" sz="1200"/>
              <a:t> it from 0.07% </a:t>
            </a:r>
            <a:r>
              <a:rPr lang="sv-SE" sz="1200" err="1"/>
              <a:t>of</a:t>
            </a:r>
            <a:r>
              <a:rPr lang="sv-SE" sz="1200"/>
              <a:t> total </a:t>
            </a:r>
            <a:r>
              <a:rPr lang="sv-SE" sz="1200" err="1"/>
              <a:t>cost</a:t>
            </a:r>
            <a:r>
              <a:rPr lang="sv-SE" sz="1200"/>
              <a:t> to 3.74%</a:t>
            </a:r>
          </a:p>
          <a:p>
            <a:pPr marL="171450" indent="-171450">
              <a:buFont typeface="Arial" panose="020B0604020202020204" pitchFamily="34" charset="0"/>
              <a:buChar char="•"/>
            </a:pPr>
            <a:r>
              <a:rPr lang="sv-SE" sz="1200" err="1"/>
              <a:t>Removal</a:t>
            </a:r>
            <a:r>
              <a:rPr lang="sv-SE" sz="1200"/>
              <a:t> </a:t>
            </a:r>
            <a:r>
              <a:rPr lang="sv-SE" sz="1200" err="1"/>
              <a:t>of</a:t>
            </a:r>
            <a:r>
              <a:rPr lang="sv-SE" sz="1200"/>
              <a:t> ammonium </a:t>
            </a:r>
            <a:r>
              <a:rPr lang="sv-SE" sz="1200" err="1"/>
              <a:t>sulphate</a:t>
            </a:r>
            <a:endParaRPr lang="sv-SE" sz="1200"/>
          </a:p>
          <a:p>
            <a:pPr marL="171450" indent="-171450">
              <a:buFont typeface="Arial" panose="020B0604020202020204" pitchFamily="34" charset="0"/>
              <a:buChar char="•"/>
            </a:pPr>
            <a:r>
              <a:rPr lang="sv-SE" sz="1200"/>
              <a:t>An </a:t>
            </a:r>
            <a:r>
              <a:rPr lang="sv-SE" sz="1200" err="1"/>
              <a:t>increase</a:t>
            </a:r>
            <a:r>
              <a:rPr lang="sv-SE" sz="1200"/>
              <a:t> </a:t>
            </a:r>
            <a:r>
              <a:rPr lang="sv-SE" sz="1200" err="1"/>
              <a:t>with</a:t>
            </a:r>
            <a:r>
              <a:rPr lang="sv-SE" sz="1200"/>
              <a:t> 127% </a:t>
            </a:r>
            <a:r>
              <a:rPr lang="sv-SE" sz="1200" err="1"/>
              <a:t>of</a:t>
            </a:r>
            <a:r>
              <a:rPr lang="sv-SE" sz="1200"/>
              <a:t> the </a:t>
            </a:r>
            <a:r>
              <a:rPr lang="sv-SE" sz="1200" err="1"/>
              <a:t>ammonia</a:t>
            </a:r>
            <a:r>
              <a:rPr lang="sv-SE" sz="1200"/>
              <a:t>, </a:t>
            </a:r>
            <a:r>
              <a:rPr lang="sv-SE" sz="1200" err="1"/>
              <a:t>taking</a:t>
            </a:r>
            <a:r>
              <a:rPr lang="sv-SE" sz="1200"/>
              <a:t> it from 0.93% to 9% </a:t>
            </a:r>
            <a:r>
              <a:rPr lang="sv-SE" sz="1200" err="1"/>
              <a:t>of</a:t>
            </a:r>
            <a:r>
              <a:rPr lang="sv-SE" sz="1200"/>
              <a:t> the total </a:t>
            </a:r>
            <a:r>
              <a:rPr lang="sv-SE" sz="1200" err="1"/>
              <a:t>cost</a:t>
            </a:r>
            <a:endParaRPr lang="sv-SE" sz="1200"/>
          </a:p>
          <a:p>
            <a:pPr marL="0" indent="0">
              <a:buNone/>
            </a:pPr>
            <a:endParaRPr lang="en-GB" sz="1200"/>
          </a:p>
          <a:p>
            <a:pPr marL="0" indent="0">
              <a:buNone/>
            </a:pPr>
            <a:r>
              <a:rPr lang="en-GB" sz="1200" b="1"/>
              <a:t>Phosphoric acid</a:t>
            </a:r>
          </a:p>
          <a:p>
            <a:pPr marL="171450" indent="-171450">
              <a:buFont typeface="Arial" panose="020B0604020202020204" pitchFamily="34" charset="0"/>
              <a:buChar char="•"/>
            </a:pPr>
            <a:r>
              <a:rPr lang="sv-SE" sz="1200"/>
              <a:t>A </a:t>
            </a:r>
            <a:r>
              <a:rPr lang="sv-SE" sz="1200" err="1"/>
              <a:t>reduction</a:t>
            </a:r>
            <a:r>
              <a:rPr lang="sv-SE" sz="1200"/>
              <a:t> </a:t>
            </a:r>
            <a:r>
              <a:rPr lang="sv-SE" sz="1200" err="1"/>
              <a:t>of</a:t>
            </a:r>
            <a:r>
              <a:rPr lang="sv-SE" sz="1200"/>
              <a:t> </a:t>
            </a:r>
            <a:r>
              <a:rPr lang="sv-SE" sz="1200" err="1"/>
              <a:t>phosphoric</a:t>
            </a:r>
            <a:r>
              <a:rPr lang="sv-SE" sz="1200"/>
              <a:t> </a:t>
            </a:r>
            <a:r>
              <a:rPr lang="sv-SE" sz="1200" err="1"/>
              <a:t>acid</a:t>
            </a:r>
            <a:r>
              <a:rPr lang="sv-SE" sz="1200"/>
              <a:t> </a:t>
            </a:r>
            <a:r>
              <a:rPr lang="sv-SE" sz="1200" err="1"/>
              <a:t>with</a:t>
            </a:r>
            <a:r>
              <a:rPr lang="sv-SE" sz="1200"/>
              <a:t> 10%, </a:t>
            </a:r>
            <a:r>
              <a:rPr lang="sv-SE" sz="1200" err="1"/>
              <a:t>taking</a:t>
            </a:r>
            <a:r>
              <a:rPr lang="sv-SE" sz="1200"/>
              <a:t> it from 6% to 25% </a:t>
            </a:r>
            <a:r>
              <a:rPr lang="sv-SE" sz="1200" err="1"/>
              <a:t>of</a:t>
            </a:r>
            <a:r>
              <a:rPr lang="sv-SE" sz="1200"/>
              <a:t> the total </a:t>
            </a:r>
            <a:r>
              <a:rPr lang="sv-SE" sz="1200" err="1"/>
              <a:t>cost</a:t>
            </a:r>
            <a:endParaRPr lang="sv-SE" sz="1200"/>
          </a:p>
          <a:p>
            <a:pPr marL="171450" indent="-171450">
              <a:buFont typeface="Arial" panose="020B0604020202020204" pitchFamily="34" charset="0"/>
              <a:buChar char="•"/>
            </a:pPr>
            <a:r>
              <a:rPr lang="sv-SE" sz="1200"/>
              <a:t>Addition </a:t>
            </a:r>
            <a:r>
              <a:rPr lang="sv-SE" sz="1200" err="1"/>
              <a:t>of</a:t>
            </a:r>
            <a:r>
              <a:rPr lang="sv-SE" sz="1200"/>
              <a:t> </a:t>
            </a:r>
            <a:r>
              <a:rPr lang="sv-SE" sz="1200" err="1"/>
              <a:t>carbolita</a:t>
            </a:r>
            <a:r>
              <a:rPr lang="sv-SE" sz="1200"/>
              <a:t> from </a:t>
            </a:r>
            <a:r>
              <a:rPr lang="sv-SE" sz="1200" err="1"/>
              <a:t>waste</a:t>
            </a:r>
            <a:r>
              <a:rPr lang="sv-SE" sz="1200"/>
              <a:t> </a:t>
            </a:r>
            <a:r>
              <a:rPr lang="sv-SE" sz="1200" err="1"/>
              <a:t>water</a:t>
            </a:r>
            <a:r>
              <a:rPr lang="sv-SE" sz="1200"/>
              <a:t> </a:t>
            </a:r>
            <a:r>
              <a:rPr lang="sv-SE" sz="1200" err="1"/>
              <a:t>treatment</a:t>
            </a:r>
            <a:r>
              <a:rPr lang="sv-SE" sz="1200"/>
              <a:t> </a:t>
            </a:r>
            <a:r>
              <a:rPr lang="sv-SE" sz="1200" err="1"/>
              <a:t>residue</a:t>
            </a:r>
            <a:r>
              <a:rPr lang="sv-SE" sz="1200"/>
              <a:t>, </a:t>
            </a:r>
            <a:r>
              <a:rPr lang="sv-SE" sz="1200" err="1"/>
              <a:t>making</a:t>
            </a:r>
            <a:r>
              <a:rPr lang="sv-SE" sz="1200"/>
              <a:t> it 0.52% </a:t>
            </a:r>
            <a:r>
              <a:rPr lang="sv-SE" sz="1200" err="1"/>
              <a:t>of</a:t>
            </a:r>
            <a:r>
              <a:rPr lang="sv-SE" sz="1200"/>
              <a:t> the total </a:t>
            </a:r>
            <a:r>
              <a:rPr lang="sv-SE" sz="1200" err="1"/>
              <a:t>cost</a:t>
            </a:r>
            <a:r>
              <a:rPr lang="sv-SE" sz="1200"/>
              <a:t>.</a:t>
            </a:r>
          </a:p>
          <a:p>
            <a:endParaRPr lang="sv-SE"/>
          </a:p>
        </p:txBody>
      </p:sp>
      <p:sp>
        <p:nvSpPr>
          <p:cNvPr id="4" name="Slide Number Placeholder 3"/>
          <p:cNvSpPr>
            <a:spLocks noGrp="1"/>
          </p:cNvSpPr>
          <p:nvPr>
            <p:ph type="sldNum" sz="quarter" idx="5"/>
          </p:nvPr>
        </p:nvSpPr>
        <p:spPr/>
        <p:txBody>
          <a:bodyPr/>
          <a:lstStyle/>
          <a:p>
            <a:fld id="{F84DB91F-1AD8-437C-8866-3636784D0854}" type="slidenum">
              <a:rPr lang="en-GB" smtClean="0"/>
              <a:t>214</a:t>
            </a:fld>
            <a:endParaRPr lang="en-GB"/>
          </a:p>
        </p:txBody>
      </p:sp>
    </p:spTree>
    <p:extLst>
      <p:ext uri="{BB962C8B-B14F-4D97-AF65-F5344CB8AC3E}">
        <p14:creationId xmlns:p14="http://schemas.microsoft.com/office/powerpoint/2010/main" val="3578022373"/>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fld id="{F84DB91F-1AD8-437C-8866-3636784D0854}" type="slidenum">
              <a:rPr lang="en-GB" smtClean="0"/>
              <a:t>215</a:t>
            </a:fld>
            <a:endParaRPr lang="en-GB"/>
          </a:p>
        </p:txBody>
      </p:sp>
    </p:spTree>
    <p:extLst>
      <p:ext uri="{BB962C8B-B14F-4D97-AF65-F5344CB8AC3E}">
        <p14:creationId xmlns:p14="http://schemas.microsoft.com/office/powerpoint/2010/main" val="3284088379"/>
      </p:ext>
    </p:extLst>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b="1" err="1"/>
              <a:t>Left</a:t>
            </a:r>
            <a:r>
              <a:rPr lang="sv-SE" b="1"/>
              <a:t> </a:t>
            </a:r>
            <a:r>
              <a:rPr lang="sv-SE" b="1" err="1"/>
              <a:t>graph</a:t>
            </a:r>
            <a:endParaRPr lang="sv-SE" b="1"/>
          </a:p>
          <a:p>
            <a:r>
              <a:rPr lang="sv-SE"/>
              <a:t>The </a:t>
            </a:r>
            <a:r>
              <a:rPr lang="sv-SE" err="1"/>
              <a:t>graph</a:t>
            </a:r>
            <a:r>
              <a:rPr lang="sv-SE"/>
              <a:t> shows the </a:t>
            </a:r>
            <a:r>
              <a:rPr lang="sv-SE" err="1"/>
              <a:t>contribution</a:t>
            </a:r>
            <a:r>
              <a:rPr lang="sv-SE"/>
              <a:t> </a:t>
            </a:r>
            <a:r>
              <a:rPr lang="sv-SE" err="1"/>
              <a:t>of</a:t>
            </a:r>
            <a:r>
              <a:rPr lang="sv-SE"/>
              <a:t> </a:t>
            </a:r>
            <a:r>
              <a:rPr lang="sv-SE" err="1"/>
              <a:t>each</a:t>
            </a:r>
            <a:r>
              <a:rPr lang="sv-SE"/>
              <a:t> </a:t>
            </a:r>
            <a:r>
              <a:rPr lang="sv-SE" err="1"/>
              <a:t>activity</a:t>
            </a:r>
            <a:r>
              <a:rPr lang="sv-SE"/>
              <a:t> to the </a:t>
            </a:r>
            <a:r>
              <a:rPr lang="sv-SE" err="1"/>
              <a:t>external</a:t>
            </a:r>
            <a:r>
              <a:rPr lang="sv-SE"/>
              <a:t> </a:t>
            </a:r>
            <a:r>
              <a:rPr lang="sv-SE" err="1"/>
              <a:t>costs</a:t>
            </a:r>
            <a:r>
              <a:rPr lang="sv-SE"/>
              <a:t> </a:t>
            </a:r>
            <a:r>
              <a:rPr lang="sv-SE" err="1"/>
              <a:t>before</a:t>
            </a:r>
            <a:r>
              <a:rPr lang="sv-SE"/>
              <a:t> and </a:t>
            </a:r>
            <a:r>
              <a:rPr lang="sv-SE" err="1"/>
              <a:t>after</a:t>
            </a:r>
            <a:r>
              <a:rPr lang="sv-SE"/>
              <a:t> the </a:t>
            </a:r>
            <a:r>
              <a:rPr lang="sv-SE" err="1"/>
              <a:t>retrofit</a:t>
            </a:r>
            <a:r>
              <a:rPr lang="sv-SE"/>
              <a:t> action.</a:t>
            </a:r>
          </a:p>
          <a:p>
            <a:r>
              <a:rPr lang="sv-SE"/>
              <a:t>From the </a:t>
            </a:r>
            <a:r>
              <a:rPr lang="sv-SE" err="1"/>
              <a:t>graph</a:t>
            </a:r>
            <a:r>
              <a:rPr lang="sv-SE"/>
              <a:t> </a:t>
            </a:r>
            <a:r>
              <a:rPr lang="sv-SE" err="1"/>
              <a:t>we</a:t>
            </a:r>
            <a:r>
              <a:rPr lang="sv-SE"/>
              <a:t> </a:t>
            </a:r>
            <a:r>
              <a:rPr lang="sv-SE" err="1"/>
              <a:t>can</a:t>
            </a:r>
            <a:r>
              <a:rPr lang="sv-SE"/>
              <a:t> </a:t>
            </a:r>
            <a:r>
              <a:rPr lang="sv-SE" err="1"/>
              <a:t>see</a:t>
            </a:r>
            <a:r>
              <a:rPr lang="sv-SE"/>
              <a:t> </a:t>
            </a:r>
            <a:r>
              <a:rPr lang="sv-SE" err="1"/>
              <a:t>that</a:t>
            </a:r>
            <a:r>
              <a:rPr lang="sv-SE"/>
              <a:t> ammonium </a:t>
            </a:r>
            <a:r>
              <a:rPr lang="sv-SE" err="1"/>
              <a:t>sulfate</a:t>
            </a:r>
            <a:r>
              <a:rPr lang="sv-SE"/>
              <a:t> is the </a:t>
            </a:r>
            <a:r>
              <a:rPr lang="sv-SE" err="1"/>
              <a:t>main</a:t>
            </a:r>
            <a:r>
              <a:rPr lang="sv-SE"/>
              <a:t> </a:t>
            </a:r>
            <a:r>
              <a:rPr lang="sv-SE" err="1"/>
              <a:t>contributor</a:t>
            </a:r>
            <a:r>
              <a:rPr lang="sv-SE"/>
              <a:t> to the </a:t>
            </a:r>
            <a:r>
              <a:rPr lang="sv-SE" err="1"/>
              <a:t>externalities</a:t>
            </a:r>
            <a:r>
              <a:rPr lang="sv-SE"/>
              <a:t> </a:t>
            </a:r>
            <a:r>
              <a:rPr lang="sv-SE" err="1"/>
              <a:t>before</a:t>
            </a:r>
            <a:r>
              <a:rPr lang="sv-SE"/>
              <a:t> the </a:t>
            </a:r>
            <a:r>
              <a:rPr lang="sv-SE" err="1"/>
              <a:t>retrofit</a:t>
            </a:r>
            <a:r>
              <a:rPr lang="sv-SE"/>
              <a:t> action.</a:t>
            </a:r>
          </a:p>
          <a:p>
            <a:r>
              <a:rPr lang="sv-SE"/>
              <a:t>The </a:t>
            </a:r>
            <a:r>
              <a:rPr lang="sv-SE" err="1"/>
              <a:t>reduction</a:t>
            </a:r>
            <a:r>
              <a:rPr lang="sv-SE"/>
              <a:t> </a:t>
            </a:r>
            <a:r>
              <a:rPr lang="sv-SE" err="1"/>
              <a:t>of</a:t>
            </a:r>
            <a:r>
              <a:rPr lang="sv-SE"/>
              <a:t> ammonium </a:t>
            </a:r>
            <a:r>
              <a:rPr lang="sv-SE" err="1"/>
              <a:t>sulfate</a:t>
            </a:r>
            <a:r>
              <a:rPr lang="sv-SE"/>
              <a:t> is the </a:t>
            </a:r>
            <a:r>
              <a:rPr lang="sv-SE" err="1"/>
              <a:t>main</a:t>
            </a:r>
            <a:r>
              <a:rPr lang="sv-SE"/>
              <a:t> cause to the </a:t>
            </a:r>
            <a:r>
              <a:rPr lang="sv-SE" err="1"/>
              <a:t>reduced</a:t>
            </a:r>
            <a:r>
              <a:rPr lang="sv-SE"/>
              <a:t> </a:t>
            </a:r>
            <a:r>
              <a:rPr lang="sv-SE" err="1"/>
              <a:t>impact</a:t>
            </a:r>
            <a:r>
              <a:rPr lang="sv-SE"/>
              <a:t> </a:t>
            </a:r>
            <a:r>
              <a:rPr lang="sv-SE" err="1"/>
              <a:t>of</a:t>
            </a:r>
            <a:r>
              <a:rPr lang="sv-SE"/>
              <a:t> </a:t>
            </a:r>
            <a:r>
              <a:rPr lang="sv-SE" err="1"/>
              <a:t>externalities</a:t>
            </a:r>
            <a:r>
              <a:rPr lang="sv-SE"/>
              <a:t>.</a:t>
            </a:r>
          </a:p>
          <a:p>
            <a:endParaRPr lang="sv-SE"/>
          </a:p>
          <a:p>
            <a:r>
              <a:rPr lang="sv-SE" b="1"/>
              <a:t>Right </a:t>
            </a:r>
            <a:r>
              <a:rPr lang="sv-SE" b="1" err="1"/>
              <a:t>graph</a:t>
            </a:r>
            <a:endParaRPr lang="sv-SE" b="1"/>
          </a:p>
          <a:p>
            <a:r>
              <a:rPr lang="sv-SE"/>
              <a:t>The </a:t>
            </a:r>
            <a:r>
              <a:rPr lang="sv-SE" err="1"/>
              <a:t>graph</a:t>
            </a:r>
            <a:r>
              <a:rPr lang="sv-SE"/>
              <a:t> shows the </a:t>
            </a:r>
            <a:r>
              <a:rPr lang="sv-SE" err="1"/>
              <a:t>contribution</a:t>
            </a:r>
            <a:r>
              <a:rPr lang="sv-SE"/>
              <a:t> </a:t>
            </a:r>
            <a:r>
              <a:rPr lang="sv-SE" err="1"/>
              <a:t>of</a:t>
            </a:r>
            <a:r>
              <a:rPr lang="sv-SE"/>
              <a:t> different </a:t>
            </a:r>
            <a:r>
              <a:rPr lang="sv-SE" err="1"/>
              <a:t>categories</a:t>
            </a:r>
            <a:r>
              <a:rPr lang="sv-SE"/>
              <a:t> to the </a:t>
            </a:r>
            <a:r>
              <a:rPr lang="sv-SE" err="1"/>
              <a:t>external</a:t>
            </a:r>
            <a:r>
              <a:rPr lang="sv-SE"/>
              <a:t> </a:t>
            </a:r>
            <a:r>
              <a:rPr lang="sv-SE" err="1"/>
              <a:t>cost</a:t>
            </a:r>
            <a:r>
              <a:rPr lang="sv-SE"/>
              <a:t>.</a:t>
            </a:r>
          </a:p>
          <a:p>
            <a:r>
              <a:rPr lang="sv-SE" err="1"/>
              <a:t>We</a:t>
            </a:r>
            <a:r>
              <a:rPr lang="sv-SE"/>
              <a:t> </a:t>
            </a:r>
            <a:r>
              <a:rPr lang="sv-SE" err="1"/>
              <a:t>can</a:t>
            </a:r>
            <a:r>
              <a:rPr lang="sv-SE"/>
              <a:t> </a:t>
            </a:r>
            <a:r>
              <a:rPr lang="sv-SE" err="1"/>
              <a:t>see</a:t>
            </a:r>
            <a:r>
              <a:rPr lang="sv-SE"/>
              <a:t> </a:t>
            </a:r>
            <a:r>
              <a:rPr lang="sv-SE" err="1"/>
              <a:t>that</a:t>
            </a:r>
            <a:r>
              <a:rPr lang="sv-SE"/>
              <a:t> the major </a:t>
            </a:r>
            <a:r>
              <a:rPr lang="sv-SE" err="1"/>
              <a:t>contributor</a:t>
            </a:r>
            <a:r>
              <a:rPr lang="sv-SE"/>
              <a:t> </a:t>
            </a:r>
            <a:r>
              <a:rPr lang="sv-SE" err="1"/>
              <a:t>before</a:t>
            </a:r>
            <a:r>
              <a:rPr lang="sv-SE"/>
              <a:t> the </a:t>
            </a:r>
            <a:r>
              <a:rPr lang="sv-SE" err="1"/>
              <a:t>retrofit</a:t>
            </a:r>
            <a:r>
              <a:rPr lang="sv-SE"/>
              <a:t> action is the </a:t>
            </a:r>
            <a:r>
              <a:rPr lang="sv-SE" err="1"/>
              <a:t>resources</a:t>
            </a:r>
            <a:r>
              <a:rPr lang="sv-SE"/>
              <a:t>.</a:t>
            </a:r>
          </a:p>
          <a:p>
            <a:r>
              <a:rPr lang="sv-SE" err="1"/>
              <a:t>After</a:t>
            </a:r>
            <a:r>
              <a:rPr lang="sv-SE"/>
              <a:t> the </a:t>
            </a:r>
            <a:r>
              <a:rPr lang="sv-SE" err="1"/>
              <a:t>retrofit</a:t>
            </a:r>
            <a:r>
              <a:rPr lang="sv-SE"/>
              <a:t> </a:t>
            </a:r>
            <a:r>
              <a:rPr lang="sv-SE" err="1"/>
              <a:t>activities</a:t>
            </a:r>
            <a:r>
              <a:rPr lang="sv-SE"/>
              <a:t>, the </a:t>
            </a:r>
            <a:r>
              <a:rPr lang="sv-SE" err="1"/>
              <a:t>resources</a:t>
            </a:r>
            <a:r>
              <a:rPr lang="sv-SE"/>
              <a:t> and emissions to air </a:t>
            </a:r>
            <a:r>
              <a:rPr lang="sv-SE" err="1"/>
              <a:t>share</a:t>
            </a:r>
            <a:r>
              <a:rPr lang="sv-SE"/>
              <a:t> an </a:t>
            </a:r>
            <a:r>
              <a:rPr lang="sv-SE" err="1"/>
              <a:t>equal</a:t>
            </a:r>
            <a:r>
              <a:rPr lang="sv-SE"/>
              <a:t> </a:t>
            </a:r>
            <a:r>
              <a:rPr lang="sv-SE" err="1"/>
              <a:t>contribution</a:t>
            </a:r>
            <a:r>
              <a:rPr lang="sv-SE"/>
              <a:t> to the </a:t>
            </a:r>
            <a:r>
              <a:rPr lang="sv-SE" err="1"/>
              <a:t>impact</a:t>
            </a:r>
            <a:r>
              <a:rPr lang="sv-SE"/>
              <a:t>.</a:t>
            </a:r>
          </a:p>
          <a:p>
            <a:endParaRPr lang="sv-SE"/>
          </a:p>
          <a:p>
            <a:r>
              <a:rPr lang="sv-SE" b="1" err="1"/>
              <a:t>Conclusion</a:t>
            </a:r>
            <a:endParaRPr lang="sv-SE" b="1"/>
          </a:p>
          <a:p>
            <a:r>
              <a:rPr lang="sv-SE"/>
              <a:t>The </a:t>
            </a:r>
            <a:r>
              <a:rPr lang="sv-SE" err="1"/>
              <a:t>result</a:t>
            </a:r>
            <a:r>
              <a:rPr lang="sv-SE"/>
              <a:t> suggests </a:t>
            </a:r>
            <a:r>
              <a:rPr lang="sv-SE" err="1"/>
              <a:t>that</a:t>
            </a:r>
            <a:r>
              <a:rPr lang="sv-SE"/>
              <a:t> the </a:t>
            </a:r>
            <a:r>
              <a:rPr lang="sv-SE" err="1"/>
              <a:t>resource</a:t>
            </a:r>
            <a:r>
              <a:rPr lang="sv-SE"/>
              <a:t> </a:t>
            </a:r>
            <a:r>
              <a:rPr lang="sv-SE" err="1"/>
              <a:t>usage</a:t>
            </a:r>
            <a:r>
              <a:rPr lang="sv-SE"/>
              <a:t> </a:t>
            </a:r>
            <a:r>
              <a:rPr lang="sv-SE" err="1"/>
              <a:t>connected</a:t>
            </a:r>
            <a:r>
              <a:rPr lang="sv-SE"/>
              <a:t> to </a:t>
            </a:r>
            <a:r>
              <a:rPr lang="sv-SE" err="1"/>
              <a:t>ammonia</a:t>
            </a:r>
            <a:r>
              <a:rPr lang="sv-SE"/>
              <a:t> </a:t>
            </a:r>
            <a:r>
              <a:rPr lang="sv-SE" err="1"/>
              <a:t>production</a:t>
            </a:r>
            <a:r>
              <a:rPr lang="sv-SE"/>
              <a:t> is the </a:t>
            </a:r>
            <a:r>
              <a:rPr lang="sv-SE" err="1"/>
              <a:t>main</a:t>
            </a:r>
            <a:r>
              <a:rPr lang="sv-SE"/>
              <a:t> </a:t>
            </a:r>
            <a:r>
              <a:rPr lang="sv-SE" err="1"/>
              <a:t>contributor</a:t>
            </a:r>
            <a:r>
              <a:rPr lang="sv-SE"/>
              <a:t> to the </a:t>
            </a:r>
            <a:r>
              <a:rPr lang="sv-SE" err="1"/>
              <a:t>external</a:t>
            </a:r>
            <a:r>
              <a:rPr lang="sv-SE"/>
              <a:t> </a:t>
            </a:r>
            <a:r>
              <a:rPr lang="sv-SE" err="1"/>
              <a:t>costs</a:t>
            </a:r>
            <a:r>
              <a:rPr lang="sv-SE"/>
              <a:t> </a:t>
            </a:r>
          </a:p>
          <a:p>
            <a:r>
              <a:rPr lang="sv-SE"/>
              <a:t>and the </a:t>
            </a:r>
            <a:r>
              <a:rPr lang="sv-SE" err="1"/>
              <a:t>removal</a:t>
            </a:r>
            <a:r>
              <a:rPr lang="sv-SE"/>
              <a:t> </a:t>
            </a:r>
            <a:r>
              <a:rPr lang="sv-SE" err="1"/>
              <a:t>of</a:t>
            </a:r>
            <a:r>
              <a:rPr lang="sv-SE"/>
              <a:t> ammonium </a:t>
            </a:r>
            <a:r>
              <a:rPr lang="sv-SE" err="1"/>
              <a:t>sulfate</a:t>
            </a:r>
            <a:r>
              <a:rPr lang="sv-SE"/>
              <a:t> is </a:t>
            </a:r>
            <a:r>
              <a:rPr lang="sv-SE" err="1"/>
              <a:t>what</a:t>
            </a:r>
            <a:r>
              <a:rPr lang="sv-SE"/>
              <a:t> </a:t>
            </a:r>
            <a:r>
              <a:rPr lang="sv-SE" err="1"/>
              <a:t>causes</a:t>
            </a:r>
            <a:r>
              <a:rPr lang="sv-SE"/>
              <a:t> the </a:t>
            </a:r>
            <a:r>
              <a:rPr lang="sv-SE" err="1"/>
              <a:t>reduction</a:t>
            </a:r>
            <a:r>
              <a:rPr lang="sv-SE"/>
              <a:t> in </a:t>
            </a:r>
            <a:r>
              <a:rPr lang="sv-SE" err="1"/>
              <a:t>external</a:t>
            </a:r>
            <a:r>
              <a:rPr lang="sv-SE"/>
              <a:t> </a:t>
            </a:r>
            <a:r>
              <a:rPr lang="sv-SE" err="1"/>
              <a:t>cost</a:t>
            </a:r>
            <a:r>
              <a:rPr lang="sv-SE"/>
              <a:t>.</a:t>
            </a:r>
          </a:p>
        </p:txBody>
      </p:sp>
      <p:sp>
        <p:nvSpPr>
          <p:cNvPr id="4" name="Slide Number Placeholder 3"/>
          <p:cNvSpPr>
            <a:spLocks noGrp="1"/>
          </p:cNvSpPr>
          <p:nvPr>
            <p:ph type="sldNum" sz="quarter" idx="5"/>
          </p:nvPr>
        </p:nvSpPr>
        <p:spPr/>
        <p:txBody>
          <a:bodyPr/>
          <a:lstStyle/>
          <a:p>
            <a:fld id="{F84DB91F-1AD8-437C-8866-3636784D0854}" type="slidenum">
              <a:rPr lang="en-GB" smtClean="0"/>
              <a:t>216</a:t>
            </a:fld>
            <a:endParaRPr lang="en-GB"/>
          </a:p>
        </p:txBody>
      </p:sp>
    </p:spTree>
    <p:extLst>
      <p:ext uri="{BB962C8B-B14F-4D97-AF65-F5344CB8AC3E}">
        <p14:creationId xmlns:p14="http://schemas.microsoft.com/office/powerpoint/2010/main" val="34539824"/>
      </p:ext>
    </p:extLst>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None/>
              <a:tabLst/>
              <a:defRPr/>
            </a:pPr>
            <a:r>
              <a:rPr lang="en-GB" sz="1200" b="1"/>
              <a:t>Energy:</a:t>
            </a:r>
            <a:r>
              <a:rPr lang="en-GB" sz="1200"/>
              <a:t> </a:t>
            </a:r>
            <a:r>
              <a:rPr lang="sv-SE" sz="1200"/>
              <a:t>A total </a:t>
            </a:r>
            <a:r>
              <a:rPr lang="sv-SE" sz="1200" err="1"/>
              <a:t>decrease</a:t>
            </a:r>
            <a:r>
              <a:rPr lang="sv-SE" sz="1200"/>
              <a:t> </a:t>
            </a:r>
            <a:r>
              <a:rPr lang="sv-SE" sz="1200" err="1"/>
              <a:t>of</a:t>
            </a:r>
            <a:r>
              <a:rPr lang="sv-SE" sz="1200"/>
              <a:t> </a:t>
            </a:r>
            <a:r>
              <a:rPr lang="sv-SE" sz="1200" err="1"/>
              <a:t>cost</a:t>
            </a:r>
            <a:r>
              <a:rPr lang="sv-SE" sz="1200"/>
              <a:t> from </a:t>
            </a:r>
            <a:r>
              <a:rPr lang="sv-SE" sz="1200" err="1"/>
              <a:t>energy</a:t>
            </a:r>
            <a:r>
              <a:rPr lang="sv-SE" sz="1200"/>
              <a:t> </a:t>
            </a:r>
            <a:r>
              <a:rPr lang="sv-SE" sz="1200" err="1"/>
              <a:t>usage</a:t>
            </a:r>
            <a:r>
              <a:rPr lang="sv-SE" sz="1200"/>
              <a:t> </a:t>
            </a:r>
            <a:r>
              <a:rPr lang="sv-SE" sz="1200" err="1"/>
              <a:t>with</a:t>
            </a:r>
            <a:r>
              <a:rPr lang="sv-SE" sz="1200"/>
              <a:t> 25% - </a:t>
            </a:r>
            <a:r>
              <a:rPr lang="" sz="1200">
                <a:sym typeface="+mn-ea"/>
              </a:rPr>
              <a:t>r</a:t>
            </a:r>
            <a:r>
              <a:rPr lang="" altLang="fr-FR" sz="1200">
                <a:sym typeface="+mn-ea"/>
              </a:rPr>
              <a:t>educe energy consumption (steam from natural gas) – This is mainly due to that the reactions are more yields more energy than the old ones.</a:t>
            </a:r>
          </a:p>
          <a:p>
            <a:pPr marL="0" indent="0">
              <a:buNone/>
            </a:pPr>
            <a:endParaRPr lang="en-GB" sz="1200"/>
          </a:p>
          <a:p>
            <a:pPr marL="0" marR="0" lvl="0" indent="0" algn="l" defTabSz="914400" rtl="0" eaLnBrk="1" fontAlgn="auto" latinLnBrk="0" hangingPunct="1">
              <a:lnSpc>
                <a:spcPct val="100000"/>
              </a:lnSpc>
              <a:spcBef>
                <a:spcPts val="0"/>
              </a:spcBef>
              <a:spcAft>
                <a:spcPts val="0"/>
              </a:spcAft>
              <a:buClrTx/>
              <a:buSzTx/>
              <a:buNone/>
              <a:tabLst/>
              <a:defRPr/>
            </a:pPr>
            <a:r>
              <a:rPr lang="en-GB" sz="1200" b="1"/>
              <a:t>Raw materials: </a:t>
            </a:r>
            <a:r>
              <a:rPr lang="" altLang="fr-FR" sz="1200">
                <a:sym typeface="+mn-ea"/>
              </a:rPr>
              <a:t>A decreased impact due to raw materials and auxiliary materials, this is mainly due to the replacement of phosphoric acid with phosphor from industrial waste streams</a:t>
            </a:r>
          </a:p>
          <a:p>
            <a:pPr marL="0" indent="0">
              <a:buNone/>
            </a:pPr>
            <a:endParaRPr lang="en-GB" sz="1200" b="1"/>
          </a:p>
          <a:p>
            <a:pPr marL="0" marR="0" lvl="0" indent="0" algn="l" defTabSz="914400" rtl="0" eaLnBrk="1" fontAlgn="auto" latinLnBrk="0" hangingPunct="1">
              <a:lnSpc>
                <a:spcPct val="100000"/>
              </a:lnSpc>
              <a:spcBef>
                <a:spcPts val="0"/>
              </a:spcBef>
              <a:spcAft>
                <a:spcPts val="0"/>
              </a:spcAft>
              <a:buClrTx/>
              <a:buSzTx/>
              <a:buNone/>
              <a:tabLst/>
              <a:defRPr/>
            </a:pPr>
            <a:r>
              <a:rPr lang="en-GB" sz="1200" b="1"/>
              <a:t>Externalities </a:t>
            </a:r>
            <a:r>
              <a:rPr lang="en-US" sz="1200"/>
              <a:t>Decreased cost due to externalities. (-89%)</a:t>
            </a:r>
          </a:p>
          <a:p>
            <a:pPr marL="0" indent="0">
              <a:buNone/>
            </a:pPr>
            <a:endParaRPr lang="en-GB" sz="1200" b="1"/>
          </a:p>
          <a:p>
            <a:pPr marL="0" marR="0" lvl="0" indent="0" algn="l" defTabSz="914400" rtl="0" eaLnBrk="1" fontAlgn="auto" latinLnBrk="0" hangingPunct="1">
              <a:lnSpc>
                <a:spcPct val="100000"/>
              </a:lnSpc>
              <a:spcBef>
                <a:spcPts val="0"/>
              </a:spcBef>
              <a:spcAft>
                <a:spcPts val="0"/>
              </a:spcAft>
              <a:buClrTx/>
              <a:buSzTx/>
              <a:buNone/>
              <a:tabLst/>
              <a:defRPr/>
            </a:pPr>
            <a:r>
              <a:rPr lang="en-GB" sz="1200" b="1"/>
              <a:t>Internal cost: </a:t>
            </a:r>
            <a:r>
              <a:rPr lang="en-US" sz="1200"/>
              <a:t>Decreased total internal cost (-5%), mainly due to decreased natural gas consumption and replacement of phosphoric acid with phosphor from industrial waste streams.</a:t>
            </a:r>
          </a:p>
          <a:p>
            <a:pPr marL="0" indent="0">
              <a:buNone/>
            </a:pPr>
            <a:endParaRPr lang="" altLang="fr-FR" sz="1200">
              <a:sym typeface="+mn-ea"/>
            </a:endParaRPr>
          </a:p>
          <a:p>
            <a:pPr marL="0" indent="0">
              <a:buNone/>
            </a:pPr>
            <a:r>
              <a:rPr lang="en-GB" sz="1200" b="1"/>
              <a:t>Total cost: </a:t>
            </a:r>
            <a:r>
              <a:rPr lang="en-US" sz="1200"/>
              <a:t>Increased total cost (-77%). The decrease in total cost is due to the reduced externalities.</a:t>
            </a:r>
            <a:endParaRPr lang="sv-SE" sz="800"/>
          </a:p>
          <a:p>
            <a:endParaRPr lang="sv-SE"/>
          </a:p>
        </p:txBody>
      </p:sp>
      <p:sp>
        <p:nvSpPr>
          <p:cNvPr id="4" name="Slide Number Placeholder 3"/>
          <p:cNvSpPr>
            <a:spLocks noGrp="1"/>
          </p:cNvSpPr>
          <p:nvPr>
            <p:ph type="sldNum" sz="quarter" idx="5"/>
          </p:nvPr>
        </p:nvSpPr>
        <p:spPr/>
        <p:txBody>
          <a:bodyPr/>
          <a:lstStyle/>
          <a:p>
            <a:fld id="{F84DB91F-1AD8-437C-8866-3636784D0854}" type="slidenum">
              <a:rPr lang="en-GB" smtClean="0"/>
              <a:t>217</a:t>
            </a:fld>
            <a:endParaRPr lang="en-GB"/>
          </a:p>
        </p:txBody>
      </p:sp>
    </p:spTree>
    <p:extLst>
      <p:ext uri="{BB962C8B-B14F-4D97-AF65-F5344CB8AC3E}">
        <p14:creationId xmlns:p14="http://schemas.microsoft.com/office/powerpoint/2010/main" val="978774161"/>
      </p:ext>
    </p:extLst>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fld id="{F84DB91F-1AD8-437C-8866-3636784D0854}" type="slidenum">
              <a:rPr lang="en-GB" smtClean="0"/>
              <a:t>218</a:t>
            </a:fld>
            <a:endParaRPr lang="en-GB"/>
          </a:p>
        </p:txBody>
      </p:sp>
    </p:spTree>
    <p:extLst>
      <p:ext uri="{BB962C8B-B14F-4D97-AF65-F5344CB8AC3E}">
        <p14:creationId xmlns:p14="http://schemas.microsoft.com/office/powerpoint/2010/main" val="542349993"/>
      </p:ext>
    </p:extLst>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b="1"/>
          </a:p>
        </p:txBody>
      </p:sp>
      <p:sp>
        <p:nvSpPr>
          <p:cNvPr id="4" name="Slide Number Placeholder 3"/>
          <p:cNvSpPr>
            <a:spLocks noGrp="1"/>
          </p:cNvSpPr>
          <p:nvPr>
            <p:ph type="sldNum" sz="quarter" idx="5"/>
          </p:nvPr>
        </p:nvSpPr>
        <p:spPr/>
        <p:txBody>
          <a:bodyPr/>
          <a:lstStyle/>
          <a:p>
            <a:pPr>
              <a:defRPr/>
            </a:pPr>
            <a:fld id="{5177787B-4A66-0142-903F-970ED53E63D2}" type="slidenum">
              <a:rPr lang="sv-SE" smtClean="0"/>
              <a:pPr>
                <a:defRPr/>
              </a:pPr>
              <a:t>219</a:t>
            </a:fld>
            <a:endParaRPr lang="sv-SE"/>
          </a:p>
        </p:txBody>
      </p:sp>
    </p:spTree>
    <p:extLst>
      <p:ext uri="{BB962C8B-B14F-4D97-AF65-F5344CB8AC3E}">
        <p14:creationId xmlns:p14="http://schemas.microsoft.com/office/powerpoint/2010/main" val="2538779541"/>
      </p:ext>
    </p:extLst>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b="1"/>
          </a:p>
        </p:txBody>
      </p:sp>
      <p:sp>
        <p:nvSpPr>
          <p:cNvPr id="4" name="Slide Number Placeholder 3"/>
          <p:cNvSpPr>
            <a:spLocks noGrp="1"/>
          </p:cNvSpPr>
          <p:nvPr>
            <p:ph type="sldNum" sz="quarter" idx="5"/>
          </p:nvPr>
        </p:nvSpPr>
        <p:spPr/>
        <p:txBody>
          <a:bodyPr/>
          <a:lstStyle/>
          <a:p>
            <a:pPr>
              <a:defRPr/>
            </a:pPr>
            <a:fld id="{5177787B-4A66-0142-903F-970ED53E63D2}" type="slidenum">
              <a:rPr lang="sv-SE" smtClean="0"/>
              <a:pPr>
                <a:defRPr/>
              </a:pPr>
              <a:t>220</a:t>
            </a:fld>
            <a:endParaRPr lang="sv-SE"/>
          </a:p>
        </p:txBody>
      </p:sp>
    </p:spTree>
    <p:extLst>
      <p:ext uri="{BB962C8B-B14F-4D97-AF65-F5344CB8AC3E}">
        <p14:creationId xmlns:p14="http://schemas.microsoft.com/office/powerpoint/2010/main" val="3766656188"/>
      </p:ext>
    </p:extLst>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4DB91F-1AD8-437C-8866-3636784D085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24733491"/>
      </p:ext>
    </p:extLst>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4DB91F-1AD8-437C-8866-3636784D085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70913821"/>
      </p:ext>
    </p:extLst>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b="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77787B-4A66-0142-903F-970ED53E63D2}"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3</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980900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fld id="{F84DB91F-1AD8-437C-8866-3636784D0854}" type="slidenum">
              <a:rPr lang="en-GB" smtClean="0"/>
              <a:t>2</a:t>
            </a:fld>
            <a:endParaRPr lang="en-GB"/>
          </a:p>
        </p:txBody>
      </p:sp>
    </p:spTree>
    <p:extLst>
      <p:ext uri="{BB962C8B-B14F-4D97-AF65-F5344CB8AC3E}">
        <p14:creationId xmlns:p14="http://schemas.microsoft.com/office/powerpoint/2010/main" val="25254271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err="1"/>
              <a:t>Now</a:t>
            </a:r>
            <a:r>
              <a:rPr lang="sv-SE"/>
              <a:t> </a:t>
            </a:r>
            <a:r>
              <a:rPr lang="sv-SE" err="1"/>
              <a:t>let’s</a:t>
            </a:r>
            <a:r>
              <a:rPr lang="sv-SE"/>
              <a:t> </a:t>
            </a:r>
            <a:r>
              <a:rPr lang="sv-SE" err="1"/>
              <a:t>learn</a:t>
            </a:r>
            <a:r>
              <a:rPr lang="sv-SE"/>
              <a:t> </a:t>
            </a:r>
            <a:r>
              <a:rPr lang="sv-SE" err="1"/>
              <a:t>more</a:t>
            </a:r>
            <a:r>
              <a:rPr lang="sv-SE"/>
              <a:t> </a:t>
            </a:r>
            <a:r>
              <a:rPr lang="sv-SE" err="1"/>
              <a:t>about</a:t>
            </a:r>
            <a:r>
              <a:rPr lang="sv-SE"/>
              <a:t> the EU </a:t>
            </a:r>
            <a:r>
              <a:rPr lang="sv-SE" err="1"/>
              <a:t>project</a:t>
            </a:r>
            <a:r>
              <a:rPr lang="sv-SE"/>
              <a:t> RETROFEED and </a:t>
            </a:r>
            <a:r>
              <a:rPr lang="sv-SE" err="1"/>
              <a:t>each</a:t>
            </a:r>
            <a:r>
              <a:rPr lang="sv-SE"/>
              <a:t> </a:t>
            </a:r>
            <a:r>
              <a:rPr lang="sv-SE" err="1"/>
              <a:t>of</a:t>
            </a:r>
            <a:r>
              <a:rPr lang="sv-SE"/>
              <a:t> the 6 demo-sites from the </a:t>
            </a:r>
            <a:r>
              <a:rPr lang="sv-SE" err="1"/>
              <a:t>project</a:t>
            </a:r>
            <a:r>
              <a:rPr lang="sv-SE"/>
              <a:t>.</a:t>
            </a:r>
          </a:p>
          <a:p>
            <a:endParaRPr lang="sv-SE"/>
          </a:p>
        </p:txBody>
      </p:sp>
      <p:sp>
        <p:nvSpPr>
          <p:cNvPr id="4" name="Platshållare för bildnummer 3"/>
          <p:cNvSpPr>
            <a:spLocks noGrp="1"/>
          </p:cNvSpPr>
          <p:nvPr>
            <p:ph type="sldNum" sz="quarter" idx="5"/>
          </p:nvPr>
        </p:nvSpPr>
        <p:spPr/>
        <p:txBody>
          <a:bodyPr/>
          <a:lstStyle/>
          <a:p>
            <a:fld id="{F84DB91F-1AD8-437C-8866-3636784D0854}" type="slidenum">
              <a:rPr lang="en-GB" smtClean="0"/>
              <a:t>21</a:t>
            </a:fld>
            <a:endParaRPr lang="en-GB"/>
          </a:p>
        </p:txBody>
      </p:sp>
    </p:spTree>
    <p:extLst>
      <p:ext uri="{BB962C8B-B14F-4D97-AF65-F5344CB8AC3E}">
        <p14:creationId xmlns:p14="http://schemas.microsoft.com/office/powerpoint/2010/main" val="96510078"/>
      </p:ext>
    </p:extLst>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1243767">
              <a:lnSpc>
                <a:spcPct val="250000"/>
              </a:lnSpc>
              <a:defRPr/>
            </a:pPr>
            <a:r>
              <a:rPr lang="en-US" altLang="fr-FR" sz="1908" b="1" dirty="0">
                <a:solidFill>
                  <a:srgbClr val="CC0033"/>
                </a:solidFill>
                <a:highlight>
                  <a:srgbClr val="FFFF00"/>
                </a:highlight>
                <a:latin typeface="Arial" panose="020B0604020202020204" pitchFamily="34" charset="0"/>
                <a:cs typeface="Arial" panose="020B0604020202020204" pitchFamily="34" charset="0"/>
                <a:sym typeface="+mn-ea"/>
              </a:rPr>
              <a:t>Main challenges</a:t>
            </a:r>
          </a:p>
          <a:p>
            <a:pPr marL="272712" indent="-272712" defTabSz="1243767">
              <a:buFont typeface="Arial" panose="020B0604020202020204" pitchFamily="34" charset="0"/>
              <a:buChar char="•"/>
              <a:defRPr/>
            </a:pPr>
            <a:r>
              <a:rPr lang="en-US" altLang="fr-FR" sz="1908" dirty="0">
                <a:solidFill>
                  <a:prstClr val="black"/>
                </a:solidFill>
                <a:highlight>
                  <a:srgbClr val="FFFF00"/>
                </a:highlight>
                <a:latin typeface="Calibri"/>
                <a:sym typeface="+mn-ea"/>
              </a:rPr>
              <a:t>Reactor design.			</a:t>
            </a:r>
            <a:r>
              <a:rPr lang="en-US" altLang="fr-FR" sz="1908" b="1" dirty="0">
                <a:solidFill>
                  <a:srgbClr val="F79646">
                    <a:lumMod val="75000"/>
                  </a:srgbClr>
                </a:solidFill>
                <a:highlight>
                  <a:srgbClr val="FFFF00"/>
                </a:highlight>
                <a:latin typeface="Calibri"/>
                <a:sym typeface="+mn-ea"/>
              </a:rPr>
              <a:t>Material replacement </a:t>
            </a:r>
            <a:r>
              <a:rPr lang="en-US" altLang="fr-FR" sz="1908" dirty="0">
                <a:solidFill>
                  <a:srgbClr val="F79646">
                    <a:lumMod val="75000"/>
                  </a:srgbClr>
                </a:solidFill>
                <a:highlight>
                  <a:srgbClr val="FFFF00"/>
                </a:highlight>
                <a:latin typeface="Calibri"/>
                <a:sym typeface="+mn-ea"/>
              </a:rPr>
              <a:t>after pilot corrosion results.</a:t>
            </a:r>
          </a:p>
          <a:p>
            <a:pPr marL="1243767" lvl="2" defTabSz="1243767">
              <a:defRPr/>
            </a:pPr>
            <a:r>
              <a:rPr lang="en-US" altLang="fr-FR" sz="1908" dirty="0">
                <a:solidFill>
                  <a:prstClr val="black"/>
                </a:solidFill>
                <a:highlight>
                  <a:srgbClr val="FFFF00"/>
                </a:highlight>
                <a:latin typeface="Calibri"/>
                <a:sym typeface="+mn-ea"/>
              </a:rPr>
              <a:t>			</a:t>
            </a:r>
          </a:p>
          <a:p>
            <a:pPr marL="1243767" lvl="2" defTabSz="1243767">
              <a:defRPr/>
            </a:pPr>
            <a:r>
              <a:rPr lang="en-US" altLang="fr-FR" sz="1908" dirty="0">
                <a:solidFill>
                  <a:prstClr val="black"/>
                </a:solidFill>
                <a:highlight>
                  <a:srgbClr val="FFFF00"/>
                </a:highlight>
                <a:latin typeface="Calibri"/>
                <a:sym typeface="+mn-ea"/>
              </a:rPr>
              <a:t>Substitution of energy yielding reactions	</a:t>
            </a:r>
            <a:r>
              <a:rPr lang="en-US" altLang="fr-FR" sz="1908" dirty="0">
                <a:solidFill>
                  <a:srgbClr val="F79646">
                    <a:lumMod val="75000"/>
                  </a:srgbClr>
                </a:solidFill>
                <a:highlight>
                  <a:srgbClr val="FFFF00"/>
                </a:highlight>
                <a:latin typeface="Calibri"/>
                <a:sym typeface="+mn-ea"/>
              </a:rPr>
              <a:t>Energy balance, temperatures and concentrations </a:t>
            </a:r>
            <a:r>
              <a:rPr lang="en-US" altLang="fr-FR" sz="1908" b="1" dirty="0">
                <a:solidFill>
                  <a:srgbClr val="F79646">
                    <a:lumMod val="75000"/>
                  </a:srgbClr>
                </a:solidFill>
                <a:highlight>
                  <a:srgbClr val="FFFF00"/>
                </a:highlight>
                <a:latin typeface="Calibri"/>
                <a:sym typeface="+mn-ea"/>
              </a:rPr>
              <a:t>confirmed calculations</a:t>
            </a:r>
            <a:r>
              <a:rPr lang="en-US" altLang="fr-FR" sz="1908" dirty="0">
                <a:solidFill>
                  <a:srgbClr val="F79646">
                    <a:lumMod val="75000"/>
                  </a:srgbClr>
                </a:solidFill>
                <a:highlight>
                  <a:srgbClr val="FFFF00"/>
                </a:highlight>
                <a:latin typeface="Calibri"/>
                <a:sym typeface="+mn-ea"/>
              </a:rPr>
              <a:t>.</a:t>
            </a:r>
            <a:endParaRPr lang="en-US" altLang="fr-FR" sz="1908" dirty="0">
              <a:solidFill>
                <a:prstClr val="black"/>
              </a:solidFill>
              <a:highlight>
                <a:srgbClr val="FFFF00"/>
              </a:highlight>
              <a:latin typeface="Calibri"/>
              <a:sym typeface="+mn-ea"/>
            </a:endParaRPr>
          </a:p>
          <a:p>
            <a:pPr marL="272712" indent="-272712" defTabSz="1243767">
              <a:buFont typeface="Arial" panose="020B0604020202020204" pitchFamily="34" charset="0"/>
              <a:buChar char="•"/>
              <a:defRPr/>
            </a:pPr>
            <a:r>
              <a:rPr lang="en-US" sz="1908" dirty="0">
                <a:solidFill>
                  <a:prstClr val="black"/>
                </a:solidFill>
                <a:highlight>
                  <a:srgbClr val="FFFF00"/>
                </a:highlight>
                <a:latin typeface="Calibri"/>
              </a:rPr>
              <a:t>Emissions level to be kept or reduced.	</a:t>
            </a:r>
          </a:p>
          <a:p>
            <a:pPr indent="5000979" defTabSz="1243767">
              <a:defRPr/>
            </a:pPr>
            <a:r>
              <a:rPr lang="en-US" sz="1908" b="1" dirty="0">
                <a:solidFill>
                  <a:srgbClr val="F79646">
                    <a:lumMod val="75000"/>
                  </a:srgbClr>
                </a:solidFill>
                <a:highlight>
                  <a:srgbClr val="FFFF00"/>
                </a:highlight>
                <a:latin typeface="Calibri"/>
              </a:rPr>
              <a:t>N</a:t>
            </a:r>
            <a:r>
              <a:rPr lang="en-US" sz="1908" dirty="0">
                <a:solidFill>
                  <a:srgbClr val="F79646">
                    <a:lumMod val="75000"/>
                  </a:srgbClr>
                </a:solidFill>
                <a:highlight>
                  <a:srgbClr val="FFFF00"/>
                </a:highlight>
                <a:latin typeface="Calibri"/>
              </a:rPr>
              <a:t> and </a:t>
            </a:r>
            <a:r>
              <a:rPr lang="en-US" sz="1908" dirty="0">
                <a:solidFill>
                  <a:srgbClr val="F79646">
                    <a:lumMod val="75000"/>
                  </a:srgbClr>
                </a:solidFill>
                <a:effectLst>
                  <a:outerShdw blurRad="38100" dist="38100" dir="2700000" algn="tl">
                    <a:srgbClr val="000000">
                      <a:alpha val="43137"/>
                    </a:srgbClr>
                  </a:outerShdw>
                </a:effectLst>
                <a:highlight>
                  <a:srgbClr val="FFFF00"/>
                </a:highlight>
                <a:latin typeface="Calibri"/>
              </a:rPr>
              <a:t>S</a:t>
            </a:r>
            <a:r>
              <a:rPr lang="en-US" sz="1908" dirty="0">
                <a:solidFill>
                  <a:srgbClr val="F79646">
                    <a:lumMod val="75000"/>
                  </a:srgbClr>
                </a:solidFill>
                <a:highlight>
                  <a:srgbClr val="FFFF00"/>
                </a:highlight>
                <a:latin typeface="Calibri"/>
              </a:rPr>
              <a:t> emissions were </a:t>
            </a:r>
            <a:r>
              <a:rPr lang="en-US" sz="1908" b="1" dirty="0">
                <a:solidFill>
                  <a:srgbClr val="F79646">
                    <a:lumMod val="75000"/>
                  </a:srgbClr>
                </a:solidFill>
                <a:highlight>
                  <a:srgbClr val="FFFF00"/>
                </a:highlight>
                <a:latin typeface="Calibri"/>
              </a:rPr>
              <a:t>not detected</a:t>
            </a:r>
            <a:r>
              <a:rPr lang="en-US" altLang="fr-FR" sz="1908" dirty="0">
                <a:solidFill>
                  <a:prstClr val="black"/>
                </a:solidFill>
                <a:highlight>
                  <a:srgbClr val="FFFF00"/>
                </a:highlight>
                <a:latin typeface="Calibri"/>
                <a:sym typeface="+mn-ea"/>
              </a:rPr>
              <a:t>. </a:t>
            </a:r>
          </a:p>
          <a:p>
            <a:pPr indent="5000979" defTabSz="1243767">
              <a:defRPr/>
            </a:pPr>
            <a:r>
              <a:rPr lang="en-US" altLang="fr-FR" sz="1908" b="1" dirty="0">
                <a:solidFill>
                  <a:srgbClr val="F79646">
                    <a:lumMod val="75000"/>
                  </a:srgbClr>
                </a:solidFill>
                <a:highlight>
                  <a:srgbClr val="FFFF00"/>
                </a:highlight>
                <a:latin typeface="Calibri"/>
                <a:sym typeface="+mn-ea"/>
              </a:rPr>
              <a:t>F </a:t>
            </a:r>
            <a:r>
              <a:rPr lang="en-US" altLang="fr-FR" sz="1908" dirty="0">
                <a:solidFill>
                  <a:srgbClr val="F79646">
                    <a:lumMod val="75000"/>
                  </a:srgbClr>
                </a:solidFill>
                <a:highlight>
                  <a:srgbClr val="FFFF00"/>
                </a:highlight>
                <a:latin typeface="Calibri"/>
                <a:sym typeface="+mn-ea"/>
              </a:rPr>
              <a:t>emissions will be reduced as phosphoric acid consumption will be lower.</a:t>
            </a:r>
            <a:endParaRPr lang="en-US" altLang="fr-FR" sz="1908" b="1" dirty="0">
              <a:solidFill>
                <a:srgbClr val="F79646">
                  <a:lumMod val="75000"/>
                </a:srgbClr>
              </a:solidFill>
              <a:highlight>
                <a:srgbClr val="FFFF00"/>
              </a:highlight>
              <a:latin typeface="Calibri"/>
              <a:sym typeface="+mn-ea"/>
            </a:endParaRPr>
          </a:p>
          <a:p>
            <a:endParaRPr lang="sv-SE" b="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77787B-4A66-0142-903F-970ED53E63D2}"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4</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0173324"/>
      </p:ext>
    </p:extLst>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gn="just" defTabSz="914400" rtl="0" eaLnBrk="1" fontAlgn="auto" latinLnBrk="0" hangingPunct="1">
              <a:lnSpc>
                <a:spcPct val="125000"/>
              </a:lnSpc>
              <a:spcBef>
                <a:spcPts val="600"/>
              </a:spcBef>
              <a:spcAft>
                <a:spcPts val="1200"/>
              </a:spcAft>
              <a:buClrTx/>
              <a:buSzTx/>
              <a:buFont typeface="Symbol" panose="05050102010706020507" pitchFamily="18" charset="2"/>
              <a:buChar char=""/>
              <a:tabLst/>
              <a:defRPr/>
            </a:pPr>
            <a:r>
              <a:rPr kumimoji="0" lang="en-GB" sz="1200" b="0" i="0" u="none" strike="noStrike" kern="1200" cap="none" spc="0" normalizeH="0" baseline="0" noProof="0" dirty="0">
                <a:ln>
                  <a:noFill/>
                </a:ln>
                <a:solidFill>
                  <a:srgbClr val="404040"/>
                </a:solidFill>
                <a:effectLst/>
                <a:uLnTx/>
                <a:uFillTx/>
                <a:latin typeface="Arial" panose="020B0604020202020204" pitchFamily="34" charset="0"/>
                <a:ea typeface="Calibri" panose="020F0502020204030204" pitchFamily="34" charset="0"/>
                <a:cs typeface="Lohit Devanagari"/>
              </a:rPr>
              <a:t>achieving a balance between the energy supplied by the burning of plastics and rubber</a:t>
            </a:r>
            <a:r>
              <a:rPr kumimoji="0" lang="en-GB" sz="1200" b="1" i="0" u="none" strike="noStrike" kern="1200" cap="none" spc="0" normalizeH="0" baseline="0" noProof="0" dirty="0">
                <a:ln>
                  <a:noFill/>
                </a:ln>
                <a:solidFill>
                  <a:srgbClr val="404040"/>
                </a:solidFill>
                <a:effectLst/>
                <a:uLnTx/>
                <a:uFillTx/>
                <a:latin typeface="Arial" panose="020B0604020202020204" pitchFamily="34" charset="0"/>
                <a:ea typeface="Calibri" panose="020F0502020204030204" pitchFamily="34" charset="0"/>
                <a:cs typeface="Lohit Devanagari"/>
              </a:rPr>
              <a:t>, thus reducing fossil fuels consumption, and the energy consumed by the sludges and dust to recover valuable metals;</a:t>
            </a:r>
            <a:endParaRPr kumimoji="0" lang="sv-SE" sz="1200" b="1" i="0" u="none" strike="noStrike" kern="1200" cap="none" spc="0" normalizeH="0" baseline="0" noProof="0" dirty="0">
              <a:ln>
                <a:noFill/>
              </a:ln>
              <a:solidFill>
                <a:srgbClr val="404040"/>
              </a:solidFill>
              <a:effectLst/>
              <a:uLnTx/>
              <a:uFillTx/>
              <a:latin typeface="Trebuchet MS" panose="020B0603020202020204" pitchFamily="34" charset="0"/>
              <a:ea typeface="Calibri" panose="020F0502020204030204" pitchFamily="34" charset="0"/>
              <a:cs typeface="Lohit Devanagari"/>
            </a:endParaRPr>
          </a:p>
          <a:p>
            <a:pPr marL="342900" marR="0" lvl="0" indent="-342900" algn="just" defTabSz="914400" rtl="0" eaLnBrk="1" fontAlgn="auto" latinLnBrk="0" hangingPunct="1">
              <a:lnSpc>
                <a:spcPct val="125000"/>
              </a:lnSpc>
              <a:spcBef>
                <a:spcPts val="0"/>
              </a:spcBef>
              <a:spcAft>
                <a:spcPts val="1200"/>
              </a:spcAft>
              <a:buClrTx/>
              <a:buSzTx/>
              <a:buFont typeface="Symbol" panose="05050102010706020507" pitchFamily="18" charset="2"/>
              <a:buChar char=""/>
              <a:tabLst/>
              <a:defRPr/>
            </a:pPr>
            <a:r>
              <a:rPr kumimoji="0" lang="en-GB" sz="1200" b="0" i="0" u="none" strike="noStrike" kern="1200" cap="none" spc="0" normalizeH="0" baseline="0" noProof="0" dirty="0">
                <a:ln>
                  <a:noFill/>
                </a:ln>
                <a:solidFill>
                  <a:srgbClr val="404040"/>
                </a:solidFill>
                <a:effectLst/>
                <a:uLnTx/>
                <a:uFillTx/>
                <a:latin typeface="Arial" panose="020B0604020202020204" pitchFamily="34" charset="0"/>
                <a:ea typeface="Calibri" panose="020F0502020204030204" pitchFamily="34" charset="0"/>
                <a:cs typeface="Lohit Devanagari"/>
              </a:rPr>
              <a:t>designing an injector versatile enough to blow material with different granulometry, fine powders, sludges and grains;</a:t>
            </a:r>
            <a:endParaRPr kumimoji="0" lang="sv-SE" sz="1200" b="0" i="0" u="none" strike="noStrike" kern="1200" cap="none" spc="0" normalizeH="0" baseline="0" noProof="0" dirty="0">
              <a:ln>
                <a:noFill/>
              </a:ln>
              <a:solidFill>
                <a:srgbClr val="404040"/>
              </a:solidFill>
              <a:effectLst/>
              <a:uLnTx/>
              <a:uFillTx/>
              <a:latin typeface="Trebuchet MS" panose="020B0603020202020204" pitchFamily="34" charset="0"/>
              <a:ea typeface="Calibri" panose="020F0502020204030204" pitchFamily="34" charset="0"/>
              <a:cs typeface="Lohit Devanagari"/>
            </a:endParaRPr>
          </a:p>
          <a:p>
            <a:pPr marL="342900" marR="0" lvl="0" indent="-342900" algn="just" defTabSz="914400" rtl="0" eaLnBrk="1" fontAlgn="auto" latinLnBrk="0" hangingPunct="1">
              <a:lnSpc>
                <a:spcPct val="125000"/>
              </a:lnSpc>
              <a:spcBef>
                <a:spcPts val="0"/>
              </a:spcBef>
              <a:spcAft>
                <a:spcPts val="1200"/>
              </a:spcAft>
              <a:buClrTx/>
              <a:buSzTx/>
              <a:buFont typeface="Symbol" panose="05050102010706020507" pitchFamily="18" charset="2"/>
              <a:buChar char=""/>
              <a:tabLst/>
              <a:defRPr/>
            </a:pPr>
            <a:r>
              <a:rPr kumimoji="0" lang="en-GB" sz="1200" b="0" i="0" u="none" strike="noStrike" kern="1200" cap="none" spc="0" normalizeH="0" baseline="0" noProof="0" dirty="0">
                <a:ln>
                  <a:noFill/>
                </a:ln>
                <a:solidFill>
                  <a:srgbClr val="404040"/>
                </a:solidFill>
                <a:effectLst/>
                <a:uLnTx/>
                <a:uFillTx/>
                <a:latin typeface="Arial" panose="020B0604020202020204" pitchFamily="34" charset="0"/>
                <a:ea typeface="Calibri" panose="020F0502020204030204" pitchFamily="34" charset="0"/>
                <a:cs typeface="Lohit Devanagari"/>
              </a:rPr>
              <a:t>establishing the optimal injection spot to the electric arc furnace (EAF</a:t>
            </a:r>
            <a:r>
              <a:rPr kumimoji="0" lang="en-GB" sz="1200" b="1" i="0" u="none" strike="noStrike" kern="1200" cap="none" spc="0" normalizeH="0" baseline="0" noProof="0" dirty="0">
                <a:ln>
                  <a:noFill/>
                </a:ln>
                <a:solidFill>
                  <a:srgbClr val="404040"/>
                </a:solidFill>
                <a:effectLst/>
                <a:uLnTx/>
                <a:uFillTx/>
                <a:latin typeface="Arial" panose="020B0604020202020204" pitchFamily="34" charset="0"/>
                <a:ea typeface="Calibri" panose="020F0502020204030204" pitchFamily="34" charset="0"/>
                <a:cs typeface="Lohit Devanagari"/>
              </a:rPr>
              <a:t>). The most promising option is to blow the materials at the steel/slag interface where mass transfer rates are the highest, thus ensuring most of the valuable compounds reach the steel bulk, lowering the chances of entrainment in the slag. Supersonic jets are typically used for this purpose, although different alternatives are currently under consideration</a:t>
            </a:r>
            <a:r>
              <a:rPr kumimoji="0" lang="en-GB" sz="1200" b="0" i="0" u="none" strike="noStrike" kern="1200" cap="none" spc="0" normalizeH="0" baseline="0" noProof="0" dirty="0">
                <a:ln>
                  <a:noFill/>
                </a:ln>
                <a:solidFill>
                  <a:srgbClr val="404040"/>
                </a:solidFill>
                <a:effectLst/>
                <a:uLnTx/>
                <a:uFillTx/>
                <a:latin typeface="Arial" panose="020B0604020202020204" pitchFamily="34" charset="0"/>
                <a:ea typeface="Calibri" panose="020F0502020204030204" pitchFamily="34" charset="0"/>
                <a:cs typeface="Lohit Devanagari"/>
              </a:rPr>
              <a:t>;</a:t>
            </a:r>
            <a:endParaRPr kumimoji="0" lang="sv-SE" sz="1200" b="0" i="0" u="none" strike="noStrike" kern="1200" cap="none" spc="0" normalizeH="0" baseline="0" noProof="0" dirty="0">
              <a:ln>
                <a:noFill/>
              </a:ln>
              <a:solidFill>
                <a:srgbClr val="404040"/>
              </a:solidFill>
              <a:effectLst/>
              <a:uLnTx/>
              <a:uFillTx/>
              <a:latin typeface="Trebuchet MS" panose="020B0603020202020204" pitchFamily="34" charset="0"/>
              <a:ea typeface="Calibri" panose="020F0502020204030204" pitchFamily="34" charset="0"/>
              <a:cs typeface="Lohit Devanagari"/>
            </a:endParaRPr>
          </a:p>
          <a:p>
            <a:pPr marL="342900" marR="0" lvl="0" indent="-342900" algn="just" defTabSz="914400" rtl="0" eaLnBrk="1" fontAlgn="auto" latinLnBrk="0" hangingPunct="1">
              <a:lnSpc>
                <a:spcPct val="125000"/>
              </a:lnSpc>
              <a:spcBef>
                <a:spcPts val="0"/>
              </a:spcBef>
              <a:spcAft>
                <a:spcPts val="1200"/>
              </a:spcAft>
              <a:buClrTx/>
              <a:buSzTx/>
              <a:buFont typeface="Symbol" panose="05050102010706020507" pitchFamily="18" charset="2"/>
              <a:buChar char=""/>
              <a:tabLst/>
              <a:defRPr/>
            </a:pPr>
            <a:r>
              <a:rPr kumimoji="0" lang="en-GB" sz="1200" b="0" i="0" u="none" strike="noStrike" kern="1200" cap="none" spc="0" normalizeH="0" baseline="0" noProof="0" dirty="0">
                <a:ln>
                  <a:noFill/>
                </a:ln>
                <a:solidFill>
                  <a:srgbClr val="404040"/>
                </a:solidFill>
                <a:effectLst/>
                <a:uLnTx/>
                <a:uFillTx/>
                <a:latin typeface="Arial" panose="020B0604020202020204" pitchFamily="34" charset="0"/>
                <a:ea typeface="Calibri" panose="020F0502020204030204" pitchFamily="34" charset="0"/>
                <a:cs typeface="Lohit Devanagari"/>
              </a:rPr>
              <a:t>leaving quality of the final product unaffected by the substitution of traditional sources. </a:t>
            </a:r>
            <a:r>
              <a:rPr kumimoji="0" lang="en-GB" sz="1200" b="1" i="0" u="none" strike="noStrike" kern="1200" cap="none" spc="0" normalizeH="0" baseline="0" noProof="0" dirty="0">
                <a:ln>
                  <a:noFill/>
                </a:ln>
                <a:solidFill>
                  <a:srgbClr val="404040"/>
                </a:solidFill>
                <a:effectLst/>
                <a:uLnTx/>
                <a:uFillTx/>
                <a:latin typeface="Arial" panose="020B0604020202020204" pitchFamily="34" charset="0"/>
                <a:ea typeface="Calibri" panose="020F0502020204030204" pitchFamily="34" charset="0"/>
                <a:cs typeface="Lohit Devanagari"/>
              </a:rPr>
              <a:t>The blowing of rubber can introduce undesired </a:t>
            </a:r>
            <a:r>
              <a:rPr kumimoji="0" lang="en-GB" sz="1200" b="1" i="0" u="none" strike="noStrike" kern="1200" cap="none" spc="0" normalizeH="0" baseline="0" noProof="0" dirty="0" err="1">
                <a:ln>
                  <a:noFill/>
                </a:ln>
                <a:solidFill>
                  <a:srgbClr val="404040"/>
                </a:solidFill>
                <a:effectLst/>
                <a:uLnTx/>
                <a:uFillTx/>
                <a:latin typeface="Arial" panose="020B0604020202020204" pitchFamily="34" charset="0"/>
                <a:ea typeface="Calibri" panose="020F0502020204030204" pitchFamily="34" charset="0"/>
                <a:cs typeface="Lohit Devanagari"/>
              </a:rPr>
              <a:t>sulfur</a:t>
            </a:r>
            <a:r>
              <a:rPr kumimoji="0" lang="en-GB" sz="1200" b="1" i="0" u="none" strike="noStrike" kern="1200" cap="none" spc="0" normalizeH="0" baseline="0" noProof="0" dirty="0">
                <a:ln>
                  <a:noFill/>
                </a:ln>
                <a:solidFill>
                  <a:srgbClr val="404040"/>
                </a:solidFill>
                <a:effectLst/>
                <a:uLnTx/>
                <a:uFillTx/>
                <a:latin typeface="Arial" panose="020B0604020202020204" pitchFamily="34" charset="0"/>
                <a:ea typeface="Calibri" panose="020F0502020204030204" pitchFamily="34" charset="0"/>
                <a:cs typeface="Lohit Devanagari"/>
              </a:rPr>
              <a:t>, for instance. The acceptable ranges of the characteristics of the materials to blow will be defined during the experimentation. </a:t>
            </a:r>
            <a:endParaRPr kumimoji="0" lang="sv-SE" sz="1200" b="1" i="0" u="none" strike="noStrike" kern="1200" cap="none" spc="0" normalizeH="0" baseline="0" noProof="0" dirty="0">
              <a:ln>
                <a:noFill/>
              </a:ln>
              <a:solidFill>
                <a:srgbClr val="404040"/>
              </a:solidFill>
              <a:effectLst/>
              <a:uLnTx/>
              <a:uFillTx/>
              <a:latin typeface="Trebuchet MS" panose="020B0603020202020204" pitchFamily="34" charset="0"/>
              <a:ea typeface="Calibri" panose="020F0502020204030204" pitchFamily="34" charset="0"/>
              <a:cs typeface="Lohit Devanagari"/>
            </a:endParaRPr>
          </a:p>
          <a:p>
            <a:endParaRPr lang="sv-SE" b="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77787B-4A66-0142-903F-970ED53E63D2}"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5</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52259343"/>
      </p:ext>
    </p:extLst>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b="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77787B-4A66-0142-903F-970ED53E63D2}"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6</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87673279"/>
      </p:ext>
    </p:extLst>
  </p:cSld>
  <p:clrMapOvr>
    <a:masterClrMapping/>
  </p:clrMapOvr>
</p:notes>
</file>

<file path=ppt/notesSlides/notesSlide2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b="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77787B-4A66-0142-903F-970ED53E63D2}"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7</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51655827"/>
      </p:ext>
    </p:extLst>
  </p:cSld>
  <p:clrMapOvr>
    <a:masterClrMapping/>
  </p:clrMapOvr>
</p:notes>
</file>

<file path=ppt/notesSlides/notesSlide2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4DB91F-1AD8-437C-8866-3636784D085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95464622"/>
      </p:ext>
    </p:extLst>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4DB91F-1AD8-437C-8866-3636784D085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89385216"/>
      </p:ext>
    </p:extLst>
  </p:cSld>
  <p:clrMapOvr>
    <a:masterClrMapping/>
  </p:clrMapOvr>
</p:notes>
</file>

<file path=ppt/notesSlides/notesSlide2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gn="l" defTabSz="914400" rtl="0" eaLnBrk="1" fontAlgn="auto" latinLnBrk="0" hangingPunct="1">
              <a:lnSpc>
                <a:spcPct val="105000"/>
              </a:lnSpc>
              <a:spcBef>
                <a:spcPts val="0"/>
              </a:spcBef>
              <a:spcAft>
                <a:spcPts val="0"/>
              </a:spcAft>
              <a:buClrTx/>
              <a:buSzTx/>
              <a:buFont typeface="Symbol" panose="05050102010706020507" pitchFamily="18" charset="2"/>
              <a:buChar char=""/>
              <a:tabLst/>
              <a:defRPr/>
            </a:pPr>
            <a:r>
              <a:rPr kumimoji="0" lang="en-GB" sz="1200" b="0" i="0" u="none" strike="noStrike" kern="1200" cap="none" spc="0" normalizeH="0" baseline="0" noProof="0" dirty="0">
                <a:ln>
                  <a:noFill/>
                </a:ln>
                <a:solidFill>
                  <a:srgbClr val="2F2F2F"/>
                </a:solidFill>
                <a:effectLst/>
                <a:uLnTx/>
                <a:uFillTx/>
                <a:latin typeface="Arial"/>
                <a:ea typeface="Times New Roman" panose="02020603050405020304" pitchFamily="18" charset="0"/>
                <a:cs typeface="+mn-cs"/>
              </a:rPr>
              <a:t>Accurate capture of mixing of reactants in T-shaped inlets in the gas reactor. To overcome this, a set of simulations covering the operating range with a complex and precise turbulent model (Large Eddy Simulation – LES) was used.</a:t>
            </a:r>
          </a:p>
          <a:p>
            <a:pPr marL="342900" marR="0" lvl="0" indent="-342900" algn="l" defTabSz="914400" rtl="0" eaLnBrk="1" fontAlgn="auto" latinLnBrk="0" hangingPunct="1">
              <a:lnSpc>
                <a:spcPct val="105000"/>
              </a:lnSpc>
              <a:spcBef>
                <a:spcPts val="0"/>
              </a:spcBef>
              <a:spcAft>
                <a:spcPts val="0"/>
              </a:spcAft>
              <a:buClrTx/>
              <a:buSzTx/>
              <a:buFont typeface="Symbol" panose="05050102010706020507" pitchFamily="18" charset="2"/>
              <a:buChar char=""/>
              <a:tabLst/>
              <a:defRPr/>
            </a:pPr>
            <a:endParaRPr kumimoji="0" lang="sv-SE" sz="1200" b="0" i="0" u="none" strike="noStrike" kern="1200" cap="none" spc="0" normalizeH="0" baseline="0" noProof="0" dirty="0">
              <a:ln>
                <a:noFill/>
              </a:ln>
              <a:solidFill>
                <a:srgbClr val="2F2F2F"/>
              </a:solidFill>
              <a:effectLst/>
              <a:uLnTx/>
              <a:uFillTx/>
              <a:latin typeface="Arial"/>
              <a:ea typeface="Calibri" panose="020F0502020204030204" pitchFamily="34" charset="0"/>
              <a:cs typeface="+mn-cs"/>
            </a:endParaRPr>
          </a:p>
          <a:p>
            <a:pPr marL="342900" marR="0" lvl="0" indent="-342900" algn="l" defTabSz="914400" rtl="0" eaLnBrk="1" fontAlgn="auto" latinLnBrk="0" hangingPunct="1">
              <a:lnSpc>
                <a:spcPct val="105000"/>
              </a:lnSpc>
              <a:spcBef>
                <a:spcPts val="0"/>
              </a:spcBef>
              <a:spcAft>
                <a:spcPts val="0"/>
              </a:spcAft>
              <a:buClrTx/>
              <a:buSzTx/>
              <a:buFont typeface="Symbol" panose="05050102010706020507" pitchFamily="18" charset="2"/>
              <a:buChar char=""/>
              <a:tabLst/>
              <a:defRPr/>
            </a:pPr>
            <a:r>
              <a:rPr kumimoji="0" lang="en-GB" sz="1200" b="0" i="0" u="none" strike="noStrike" kern="1200" cap="none" spc="0" normalizeH="0" baseline="0" noProof="0" dirty="0">
                <a:ln>
                  <a:noFill/>
                </a:ln>
                <a:solidFill>
                  <a:srgbClr val="2F2F2F"/>
                </a:solidFill>
                <a:effectLst/>
                <a:uLnTx/>
                <a:uFillTx/>
                <a:latin typeface="Arial"/>
                <a:ea typeface="Times New Roman" panose="02020603050405020304" pitchFamily="18" charset="0"/>
                <a:cs typeface="+mn-cs"/>
              </a:rPr>
              <a:t>Reducing computational cost by using less complex turbulent models. To beat this challenge, different RANS (Reynolds-Averaged Navier Stokes) turbulent models were compared with the LES results, and the closest solution was chosen.</a:t>
            </a:r>
          </a:p>
          <a:p>
            <a:pPr marL="0" marR="0" lvl="0" indent="0" algn="l" defTabSz="914400" rtl="0" eaLnBrk="1" fontAlgn="auto" latinLnBrk="0" hangingPunct="1">
              <a:lnSpc>
                <a:spcPct val="105000"/>
              </a:lnSpc>
              <a:spcBef>
                <a:spcPts val="0"/>
              </a:spcBef>
              <a:spcAft>
                <a:spcPts val="0"/>
              </a:spcAft>
              <a:buClrTx/>
              <a:buSzTx/>
              <a:buFontTx/>
              <a:buNone/>
              <a:tabLst/>
              <a:defRPr/>
            </a:pPr>
            <a:endParaRPr kumimoji="0" lang="sv-SE" sz="1200" b="0" i="0" u="none" strike="noStrike" kern="1200" cap="none" spc="0" normalizeH="0" baseline="0" noProof="0" dirty="0">
              <a:ln>
                <a:noFill/>
              </a:ln>
              <a:solidFill>
                <a:srgbClr val="2F2F2F"/>
              </a:solidFill>
              <a:effectLst/>
              <a:uLnTx/>
              <a:uFillTx/>
              <a:latin typeface="Arial"/>
              <a:ea typeface="Calibri" panose="020F0502020204030204" pitchFamily="34" charset="0"/>
              <a:cs typeface="+mn-cs"/>
            </a:endParaRPr>
          </a:p>
          <a:p>
            <a:pPr marL="342900" marR="0" lvl="0" indent="-342900" algn="l" defTabSz="914400" rtl="0" eaLnBrk="1" fontAlgn="auto" latinLnBrk="0" hangingPunct="1">
              <a:lnSpc>
                <a:spcPct val="105000"/>
              </a:lnSpc>
              <a:spcBef>
                <a:spcPts val="0"/>
              </a:spcBef>
              <a:spcAft>
                <a:spcPts val="0"/>
              </a:spcAft>
              <a:buClrTx/>
              <a:buSzTx/>
              <a:buFont typeface="Symbol" panose="05050102010706020507" pitchFamily="18" charset="2"/>
              <a:buChar char=""/>
              <a:tabLst/>
              <a:defRPr/>
            </a:pPr>
            <a:r>
              <a:rPr kumimoji="0" lang="en-GB" sz="1200" b="0" i="0" u="none" strike="noStrike" kern="1200" cap="none" spc="0" normalizeH="0" baseline="0" noProof="0" dirty="0">
                <a:ln>
                  <a:noFill/>
                </a:ln>
                <a:solidFill>
                  <a:srgbClr val="2F2F2F"/>
                </a:solidFill>
                <a:effectLst/>
                <a:uLnTx/>
                <a:uFillTx/>
                <a:latin typeface="Arial"/>
                <a:ea typeface="Times New Roman" panose="02020603050405020304" pitchFamily="18" charset="0"/>
                <a:cs typeface="+mn-cs"/>
              </a:rPr>
              <a:t>The challenge was to account for the competing kinetic rate between the three reactants in the CFD simulation. To solve this, a User Defined Function (UDF) was created and introduced into the CFD software.</a:t>
            </a:r>
            <a:endParaRPr kumimoji="0" lang="sv-SE" sz="1200" b="0" i="0" u="none" strike="noStrike" kern="1200" cap="none" spc="0" normalizeH="0" baseline="0" noProof="0" dirty="0">
              <a:ln>
                <a:noFill/>
              </a:ln>
              <a:solidFill>
                <a:srgbClr val="2F2F2F"/>
              </a:solidFill>
              <a:effectLst/>
              <a:uLnTx/>
              <a:uFillTx/>
              <a:latin typeface="Arial"/>
              <a:ea typeface="Calibri" panose="020F0502020204030204" pitchFamily="34" charset="0"/>
              <a:cs typeface="+mn-cs"/>
            </a:endParaRPr>
          </a:p>
          <a:p>
            <a:endParaRPr lang="sv-SE" b="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77787B-4A66-0142-903F-970ED53E63D2}"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0</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27842010"/>
      </p:ext>
    </p:extLst>
  </p:cSld>
  <p:clrMapOvr>
    <a:masterClrMapping/>
  </p:clrMapOvr>
</p:notes>
</file>

<file path=ppt/notesSlides/notesSlide2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400" b="0" i="0" u="none" strike="noStrike" kern="1200" cap="none" spc="0" normalizeH="0" baseline="0" noProof="0" dirty="0">
                <a:ln>
                  <a:noFill/>
                </a:ln>
                <a:solidFill>
                  <a:srgbClr val="2F2F2F"/>
                </a:solidFill>
                <a:effectLst/>
                <a:uLnTx/>
                <a:uFillTx/>
                <a:latin typeface="Calibri" panose="020F0502020204030204" pitchFamily="34" charset="0"/>
                <a:ea typeface="Times New Roman" panose="02020603050405020304" pitchFamily="18" charset="0"/>
                <a:cs typeface="+mn-cs"/>
              </a:rPr>
              <a:t>Characterise the RDF properties: </a:t>
            </a:r>
            <a:endParaRPr kumimoji="0" lang="sv-SE" sz="2400" b="0" i="0" u="none" strike="noStrike" kern="1200" cap="none" spc="0" normalizeH="0" baseline="0" noProof="0" dirty="0">
              <a:ln>
                <a:noFill/>
              </a:ln>
              <a:solidFill>
                <a:srgbClr val="2F2F2F"/>
              </a:solidFill>
              <a:effectLst/>
              <a:uLnTx/>
              <a:uFillTx/>
              <a:latin typeface="Calibri" panose="020F0502020204030204" pitchFamily="34" charset="0"/>
              <a:ea typeface="Calibri" panose="020F0502020204030204" pitchFamily="34" charset="0"/>
              <a:cs typeface="+mn-cs"/>
            </a:endParaRPr>
          </a:p>
          <a:p>
            <a:pPr marL="1257300" marR="0" lvl="2"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400" b="0" i="0" u="none" strike="noStrike" kern="1200" cap="none" spc="0" normalizeH="0" baseline="0" noProof="0" dirty="0">
                <a:ln>
                  <a:noFill/>
                </a:ln>
                <a:solidFill>
                  <a:srgbClr val="2F2F2F"/>
                </a:solidFill>
                <a:effectLst/>
                <a:uLnTx/>
                <a:uFillTx/>
                <a:latin typeface="Calibri" panose="020F0502020204030204" pitchFamily="34" charset="0"/>
                <a:ea typeface="Times New Roman" panose="02020603050405020304" pitchFamily="18" charset="0"/>
                <a:cs typeface="+mn-cs"/>
              </a:rPr>
              <a:t>Chemical and combustion properties: performed a statistical analysis of all the supplies during 2020 and 2021 and sorted them by moisture content (most relevant value). Three statistically representative mixtures were used (1</a:t>
            </a:r>
            <a:r>
              <a:rPr kumimoji="0" lang="en-GB" sz="2400" b="0" i="0" u="none" strike="noStrike" kern="1200" cap="none" spc="0" normalizeH="0" baseline="30000" noProof="0" dirty="0">
                <a:ln>
                  <a:noFill/>
                </a:ln>
                <a:solidFill>
                  <a:srgbClr val="2F2F2F"/>
                </a:solidFill>
                <a:effectLst/>
                <a:uLnTx/>
                <a:uFillTx/>
                <a:latin typeface="Calibri" panose="020F0502020204030204" pitchFamily="34" charset="0"/>
                <a:ea typeface="Times New Roman" panose="02020603050405020304" pitchFamily="18" charset="0"/>
                <a:cs typeface="+mn-cs"/>
              </a:rPr>
              <a:t>st</a:t>
            </a:r>
            <a:r>
              <a:rPr kumimoji="0" lang="en-GB" sz="2400" b="0" i="0" u="none" strike="noStrike" kern="1200" cap="none" spc="0" normalizeH="0" baseline="0" noProof="0" dirty="0">
                <a:ln>
                  <a:noFill/>
                </a:ln>
                <a:solidFill>
                  <a:srgbClr val="2F2F2F"/>
                </a:solidFill>
                <a:effectLst/>
                <a:uLnTx/>
                <a:uFillTx/>
                <a:latin typeface="Calibri" panose="020F0502020204030204" pitchFamily="34" charset="0"/>
                <a:ea typeface="Times New Roman" panose="02020603050405020304" pitchFamily="18" charset="0"/>
                <a:cs typeface="+mn-cs"/>
              </a:rPr>
              <a:t> quartile, median and 3</a:t>
            </a:r>
            <a:r>
              <a:rPr kumimoji="0" lang="en-GB" sz="2400" b="0" i="0" u="none" strike="noStrike" kern="1200" cap="none" spc="0" normalizeH="0" baseline="30000" noProof="0" dirty="0">
                <a:ln>
                  <a:noFill/>
                </a:ln>
                <a:solidFill>
                  <a:srgbClr val="2F2F2F"/>
                </a:solidFill>
                <a:effectLst/>
                <a:uLnTx/>
                <a:uFillTx/>
                <a:latin typeface="Calibri" panose="020F0502020204030204" pitchFamily="34" charset="0"/>
                <a:ea typeface="Times New Roman" panose="02020603050405020304" pitchFamily="18" charset="0"/>
                <a:cs typeface="+mn-cs"/>
              </a:rPr>
              <a:t>rd</a:t>
            </a:r>
            <a:r>
              <a:rPr kumimoji="0" lang="en-GB" sz="2400" b="0" i="0" u="none" strike="noStrike" kern="1200" cap="none" spc="0" normalizeH="0" baseline="0" noProof="0" dirty="0">
                <a:ln>
                  <a:noFill/>
                </a:ln>
                <a:solidFill>
                  <a:srgbClr val="2F2F2F"/>
                </a:solidFill>
                <a:effectLst/>
                <a:uLnTx/>
                <a:uFillTx/>
                <a:latin typeface="Calibri" panose="020F0502020204030204" pitchFamily="34" charset="0"/>
                <a:ea typeface="Times New Roman" panose="02020603050405020304" pitchFamily="18" charset="0"/>
                <a:cs typeface="+mn-cs"/>
              </a:rPr>
              <a:t> quartile samples).</a:t>
            </a:r>
            <a:endParaRPr kumimoji="0" lang="sv-SE" sz="2400" b="0" i="0" u="none" strike="noStrike" kern="1200" cap="none" spc="0" normalizeH="0" baseline="0" noProof="0" dirty="0">
              <a:ln>
                <a:noFill/>
              </a:ln>
              <a:solidFill>
                <a:srgbClr val="2F2F2F"/>
              </a:solidFill>
              <a:effectLst/>
              <a:uLnTx/>
              <a:uFillTx/>
              <a:latin typeface="Calibri" panose="020F0502020204030204" pitchFamily="34" charset="0"/>
              <a:ea typeface="Calibri" panose="020F0502020204030204" pitchFamily="34" charset="0"/>
              <a:cs typeface="+mn-cs"/>
            </a:endParaRPr>
          </a:p>
          <a:p>
            <a:pPr marL="1257300" marR="0" lvl="2"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400" b="0" i="0" u="none" strike="noStrike" kern="1200" cap="none" spc="0" normalizeH="0" baseline="0" noProof="0" dirty="0">
                <a:ln>
                  <a:noFill/>
                </a:ln>
                <a:solidFill>
                  <a:srgbClr val="2F2F2F"/>
                </a:solidFill>
                <a:effectLst/>
                <a:uLnTx/>
                <a:uFillTx/>
                <a:latin typeface="Calibri" panose="020F0502020204030204" pitchFamily="34" charset="0"/>
                <a:ea typeface="Times New Roman" panose="02020603050405020304" pitchFamily="18" charset="0"/>
                <a:cs typeface="+mn-cs"/>
              </a:rPr>
              <a:t>Shape, size and combustible species: performed in-house granulometry analysis for different samples of RDF sent by </a:t>
            </a:r>
            <a:r>
              <a:rPr kumimoji="0" lang="en-GB" sz="2400" b="0" i="0" u="none" strike="noStrike" kern="1200" cap="none" spc="0" normalizeH="0" baseline="0" noProof="0" dirty="0" err="1">
                <a:ln>
                  <a:noFill/>
                </a:ln>
                <a:solidFill>
                  <a:srgbClr val="2F2F2F"/>
                </a:solidFill>
                <a:effectLst/>
                <a:uLnTx/>
                <a:uFillTx/>
                <a:latin typeface="Calibri" panose="020F0502020204030204" pitchFamily="34" charset="0"/>
                <a:ea typeface="Times New Roman" panose="02020603050405020304" pitchFamily="18" charset="0"/>
                <a:cs typeface="+mn-cs"/>
              </a:rPr>
              <a:t>Secil</a:t>
            </a:r>
            <a:r>
              <a:rPr kumimoji="0" lang="en-GB" sz="2400" b="0" i="0" u="none" strike="noStrike" kern="1200" cap="none" spc="0" normalizeH="0" baseline="0" noProof="0" dirty="0">
                <a:ln>
                  <a:noFill/>
                </a:ln>
                <a:solidFill>
                  <a:srgbClr val="2F2F2F"/>
                </a:solidFill>
                <a:effectLst/>
                <a:uLnTx/>
                <a:uFillTx/>
                <a:latin typeface="Calibri" panose="020F0502020204030204" pitchFamily="34" charset="0"/>
                <a:ea typeface="Times New Roman" panose="02020603050405020304" pitchFamily="18" charset="0"/>
                <a:cs typeface="+mn-cs"/>
              </a:rPr>
              <a:t>. We then matched them with literature studies, and stablished a quantity of each component in a final RDF mixture.</a:t>
            </a:r>
          </a:p>
          <a:p>
            <a:pPr marL="914400" marR="0" lvl="2" indent="0" algn="l" defTabSz="914400" rtl="0" eaLnBrk="1" fontAlgn="auto" latinLnBrk="0" hangingPunct="1">
              <a:lnSpc>
                <a:spcPct val="100000"/>
              </a:lnSpc>
              <a:spcBef>
                <a:spcPts val="0"/>
              </a:spcBef>
              <a:spcAft>
                <a:spcPts val="0"/>
              </a:spcAft>
              <a:buClrTx/>
              <a:buSzTx/>
              <a:buFontTx/>
              <a:buNone/>
              <a:tabLst/>
              <a:defRPr/>
            </a:pPr>
            <a:endParaRPr kumimoji="0" lang="sv-SE" sz="2400" b="0" i="0" u="none" strike="noStrike" kern="1200" cap="none" spc="0" normalizeH="0" baseline="0" noProof="0" dirty="0">
              <a:ln>
                <a:noFill/>
              </a:ln>
              <a:solidFill>
                <a:srgbClr val="2F2F2F"/>
              </a:solidFill>
              <a:effectLst/>
              <a:uLnTx/>
              <a:uFillTx/>
              <a:latin typeface="Calibri" panose="020F0502020204030204" pitchFamily="34" charset="0"/>
              <a:ea typeface="Calibri" panose="020F0502020204030204" pitchFamily="34" charset="0"/>
              <a:cs typeface="+mn-cs"/>
            </a:endParaRP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400" b="0" i="0" u="none" strike="noStrike" kern="1200" cap="none" spc="0" normalizeH="0" baseline="0" noProof="0" dirty="0">
                <a:ln>
                  <a:noFill/>
                </a:ln>
                <a:solidFill>
                  <a:srgbClr val="2F2F2F"/>
                </a:solidFill>
                <a:effectLst/>
                <a:uLnTx/>
                <a:uFillTx/>
                <a:latin typeface="Calibri" panose="020F0502020204030204" pitchFamily="34" charset="0"/>
                <a:ea typeface="Times New Roman" panose="02020603050405020304" pitchFamily="18" charset="0"/>
                <a:cs typeface="+mn-cs"/>
              </a:rPr>
              <a:t>Modelling of cyclones tower: not enough information for modelling in a discretized way, so no possible to compute conversion of raw material into clinker material within the tower. For overcoming this, we performed a historical analysis of conversion of components depending on the final Calcium Carbonate (CaCO3) content measured at the entrance of the kiln. With the analysis, a linear trend approximation was found for correlating each other chemical component.</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sv-SE" sz="2400" b="0" i="0" u="none" strike="noStrike" kern="1200" cap="none" spc="0" normalizeH="0" baseline="0" noProof="0" dirty="0">
              <a:ln>
                <a:noFill/>
              </a:ln>
              <a:solidFill>
                <a:srgbClr val="2F2F2F"/>
              </a:solidFill>
              <a:effectLst/>
              <a:uLnTx/>
              <a:uFillTx/>
              <a:latin typeface="Calibri" panose="020F0502020204030204" pitchFamily="34" charset="0"/>
              <a:ea typeface="Calibri" panose="020F0502020204030204" pitchFamily="34" charset="0"/>
              <a:cs typeface="+mn-cs"/>
            </a:endParaRP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400" b="0" i="0" u="none" strike="noStrike" kern="1200" cap="none" spc="0" normalizeH="0" baseline="0" noProof="0" dirty="0">
                <a:ln>
                  <a:noFill/>
                </a:ln>
                <a:solidFill>
                  <a:srgbClr val="2F2F2F"/>
                </a:solidFill>
                <a:effectLst/>
                <a:uLnTx/>
                <a:uFillTx/>
                <a:latin typeface="Calibri" panose="020F0502020204030204" pitchFamily="34" charset="0"/>
                <a:ea typeface="Times New Roman" panose="02020603050405020304" pitchFamily="18" charset="0"/>
                <a:cs typeface="+mn-cs"/>
              </a:rPr>
              <a:t>Secondary air mass flow: since this is an input to the model, it had to be added to the optimization algorithms to find this flow for each validation point together with the empirical tuneable parameters.</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sv-SE" sz="2400" b="0" i="0" u="none" strike="noStrike" kern="1200" cap="none" spc="0" normalizeH="0" baseline="0" noProof="0" dirty="0">
              <a:ln>
                <a:noFill/>
              </a:ln>
              <a:solidFill>
                <a:srgbClr val="2F2F2F"/>
              </a:solidFill>
              <a:effectLst/>
              <a:uLnTx/>
              <a:uFillTx/>
              <a:latin typeface="Calibri" panose="020F0502020204030204" pitchFamily="34" charset="0"/>
              <a:ea typeface="Calibri" panose="020F0502020204030204" pitchFamily="34" charset="0"/>
              <a:cs typeface="+mn-cs"/>
            </a:endParaRP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400" b="0" i="0" u="none" strike="noStrike" kern="1200" cap="none" spc="0" normalizeH="0" baseline="0" noProof="0" dirty="0">
                <a:ln>
                  <a:noFill/>
                </a:ln>
                <a:solidFill>
                  <a:srgbClr val="2F2F2F"/>
                </a:solidFill>
                <a:effectLst/>
                <a:uLnTx/>
                <a:uFillTx/>
                <a:latin typeface="Calibri" panose="020F0502020204030204" pitchFamily="34" charset="0"/>
                <a:ea typeface="Times New Roman" panose="02020603050405020304" pitchFamily="18" charset="0"/>
                <a:cs typeface="+mn-cs"/>
              </a:rPr>
              <a:t>Large set of empirical parameters to be tuned. To overcome this challenge, a metaheuristic algorithm was developed to find out the best combination of all the parameters for fitting to the validation points measured by </a:t>
            </a:r>
            <a:r>
              <a:rPr kumimoji="0" lang="en-GB" sz="2400" b="0" i="0" u="none" strike="noStrike" kern="1200" cap="none" spc="0" normalizeH="0" baseline="0" noProof="0" dirty="0" err="1">
                <a:ln>
                  <a:noFill/>
                </a:ln>
                <a:solidFill>
                  <a:srgbClr val="2F2F2F"/>
                </a:solidFill>
                <a:effectLst/>
                <a:uLnTx/>
                <a:uFillTx/>
                <a:latin typeface="Calibri" panose="020F0502020204030204" pitchFamily="34" charset="0"/>
                <a:ea typeface="Times New Roman" panose="02020603050405020304" pitchFamily="18" charset="0"/>
                <a:cs typeface="+mn-cs"/>
              </a:rPr>
              <a:t>Secil</a:t>
            </a:r>
            <a:r>
              <a:rPr kumimoji="0" lang="en-GB" sz="2400" b="0" i="0" u="none" strike="noStrike" kern="1200" cap="none" spc="0" normalizeH="0" baseline="0" noProof="0" dirty="0">
                <a:ln>
                  <a:noFill/>
                </a:ln>
                <a:solidFill>
                  <a:srgbClr val="2F2F2F"/>
                </a:solidFill>
                <a:effectLst/>
                <a:uLnTx/>
                <a:uFillTx/>
                <a:latin typeface="Calibri" panose="020F0502020204030204" pitchFamily="34" charset="0"/>
                <a:ea typeface="Times New Roman" panose="02020603050405020304" pitchFamily="18" charset="0"/>
                <a:cs typeface="+mn-cs"/>
              </a:rPr>
              <a:t>.</a:t>
            </a:r>
            <a:endParaRPr kumimoji="0" lang="sv-SE" sz="2400" b="0" i="0" u="none" strike="noStrike" kern="1200" cap="none" spc="0" normalizeH="0" baseline="0" noProof="0" dirty="0">
              <a:ln>
                <a:noFill/>
              </a:ln>
              <a:solidFill>
                <a:srgbClr val="2F2F2F"/>
              </a:solidFill>
              <a:effectLst/>
              <a:uLnTx/>
              <a:uFillTx/>
              <a:latin typeface="Calibri" panose="020F0502020204030204" pitchFamily="34" charset="0"/>
              <a:ea typeface="Calibri" panose="020F0502020204030204" pitchFamily="34" charset="0"/>
              <a:cs typeface="+mn-cs"/>
            </a:endParaRPr>
          </a:p>
          <a:p>
            <a:endParaRPr lang="sv-SE" b="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77787B-4A66-0142-903F-970ED53E63D2}"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1</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5269598"/>
      </p:ext>
    </p:extLst>
  </p:cSld>
  <p:clrMapOvr>
    <a:masterClrMapping/>
  </p:clrMapOvr>
</p:notes>
</file>

<file path=ppt/notesSlides/notesSlide2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b="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77787B-4A66-0142-903F-970ED53E63D2}"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2</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48461124"/>
      </p:ext>
    </p:extLst>
  </p:cSld>
  <p:clrMapOvr>
    <a:masterClrMapping/>
  </p:clrMapOvr>
</p:notes>
</file>

<file path=ppt/notesSlides/notesSlide2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b="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77787B-4A66-0142-903F-970ED53E63D2}"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3</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252547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b="1" i="0" u="none" strike="noStrike" kern="1200" cap="none" spc="0" normalizeH="0" baseline="0" noProof="0">
                <a:ln>
                  <a:noFill/>
                </a:ln>
                <a:solidFill>
                  <a:srgbClr val="2F2F2F"/>
                </a:solidFill>
                <a:effectLst/>
                <a:uLnTx/>
                <a:uFillTx/>
                <a:latin typeface="Arial"/>
                <a:ea typeface="+mn-ea"/>
                <a:cs typeface="+mn-cs"/>
              </a:rPr>
              <a:t>In </a:t>
            </a:r>
            <a:r>
              <a:rPr kumimoji="0" lang="sv-SE" b="1" i="0" u="none" strike="noStrike" kern="1200" cap="none" spc="0" normalizeH="0" baseline="0" noProof="0" err="1">
                <a:ln>
                  <a:noFill/>
                </a:ln>
                <a:solidFill>
                  <a:srgbClr val="2F2F2F"/>
                </a:solidFill>
                <a:effectLst/>
                <a:uLnTx/>
                <a:uFillTx/>
                <a:latin typeface="Arial"/>
                <a:ea typeface="+mn-ea"/>
                <a:cs typeface="+mn-cs"/>
              </a:rPr>
              <a:t>this</a:t>
            </a:r>
            <a:r>
              <a:rPr kumimoji="0" lang="sv-SE" b="1" i="0" u="none" strike="noStrike" kern="1200" cap="none" spc="0" normalizeH="0" baseline="0" noProof="0">
                <a:ln>
                  <a:noFill/>
                </a:ln>
                <a:solidFill>
                  <a:srgbClr val="2F2F2F"/>
                </a:solidFill>
                <a:effectLst/>
                <a:uLnTx/>
                <a:uFillTx/>
                <a:latin typeface="Arial"/>
                <a:ea typeface="+mn-ea"/>
                <a:cs typeface="+mn-cs"/>
              </a:rPr>
              <a:t> </a:t>
            </a:r>
            <a:r>
              <a:rPr kumimoji="0" lang="sv-SE" b="1" i="0" u="none" strike="noStrike" kern="1200" cap="none" spc="0" normalizeH="0" baseline="0" noProof="0" err="1">
                <a:ln>
                  <a:noFill/>
                </a:ln>
                <a:solidFill>
                  <a:srgbClr val="2F2F2F"/>
                </a:solidFill>
                <a:effectLst/>
                <a:uLnTx/>
                <a:uFillTx/>
                <a:latin typeface="Arial"/>
                <a:ea typeface="+mn-ea"/>
                <a:cs typeface="+mn-cs"/>
              </a:rPr>
              <a:t>chapter</a:t>
            </a:r>
            <a:r>
              <a:rPr kumimoji="0" lang="sv-SE" b="1" i="0" u="none" strike="noStrike" kern="1200" cap="none" spc="0" normalizeH="0" baseline="0" noProof="0">
                <a:ln>
                  <a:noFill/>
                </a:ln>
                <a:solidFill>
                  <a:srgbClr val="2F2F2F"/>
                </a:solidFill>
                <a:effectLst/>
                <a:uLnTx/>
                <a:uFillTx/>
                <a:latin typeface="Arial"/>
                <a:ea typeface="+mn-ea"/>
                <a:cs typeface="+mn-cs"/>
              </a:rPr>
              <a:t>, </a:t>
            </a:r>
            <a:r>
              <a:rPr kumimoji="0" lang="sv-SE" b="1" i="0" u="none" strike="noStrike" kern="1200" cap="none" spc="0" normalizeH="0" baseline="0" noProof="0" err="1">
                <a:ln>
                  <a:noFill/>
                </a:ln>
                <a:solidFill>
                  <a:srgbClr val="2F2F2F"/>
                </a:solidFill>
                <a:effectLst/>
                <a:uLnTx/>
                <a:uFillTx/>
                <a:latin typeface="Arial"/>
                <a:ea typeface="+mn-ea"/>
                <a:cs typeface="+mn-cs"/>
              </a:rPr>
              <a:t>we</a:t>
            </a:r>
            <a:r>
              <a:rPr kumimoji="0" lang="sv-SE" b="1" i="0" u="none" strike="noStrike" kern="1200" cap="none" spc="0" normalizeH="0" baseline="0" noProof="0">
                <a:ln>
                  <a:noFill/>
                </a:ln>
                <a:solidFill>
                  <a:srgbClr val="2F2F2F"/>
                </a:solidFill>
                <a:effectLst/>
                <a:uLnTx/>
                <a:uFillTx/>
                <a:latin typeface="Arial"/>
                <a:ea typeface="+mn-ea"/>
                <a:cs typeface="+mn-cs"/>
              </a:rPr>
              <a:t> </a:t>
            </a:r>
            <a:r>
              <a:rPr kumimoji="0" lang="sv-SE" b="1" i="0" u="none" strike="noStrike" kern="1200" cap="none" spc="0" normalizeH="0" baseline="0" noProof="0" err="1">
                <a:ln>
                  <a:noFill/>
                </a:ln>
                <a:solidFill>
                  <a:srgbClr val="2F2F2F"/>
                </a:solidFill>
                <a:effectLst/>
                <a:uLnTx/>
                <a:uFillTx/>
                <a:latin typeface="Arial"/>
                <a:ea typeface="+mn-ea"/>
                <a:cs typeface="+mn-cs"/>
              </a:rPr>
              <a:t>will</a:t>
            </a:r>
            <a:r>
              <a:rPr kumimoji="0" lang="sv-SE" b="1" i="0" u="none" strike="noStrike" kern="1200" cap="none" spc="0" normalizeH="0" baseline="0" noProof="0">
                <a:ln>
                  <a:noFill/>
                </a:ln>
                <a:solidFill>
                  <a:srgbClr val="2F2F2F"/>
                </a:solidFill>
                <a:effectLst/>
                <a:uLnTx/>
                <a:uFillTx/>
                <a:latin typeface="Arial"/>
                <a:ea typeface="+mn-ea"/>
                <a:cs typeface="+mn-cs"/>
              </a:rPr>
              <a:t> </a:t>
            </a:r>
            <a:r>
              <a:rPr kumimoji="0" lang="sv-SE" b="1" i="0" u="none" strike="noStrike" kern="1200" cap="none" spc="0" normalizeH="0" baseline="0" noProof="0" err="1">
                <a:ln>
                  <a:noFill/>
                </a:ln>
                <a:solidFill>
                  <a:srgbClr val="2F2F2F"/>
                </a:solidFill>
                <a:effectLst/>
                <a:uLnTx/>
                <a:uFillTx/>
                <a:latin typeface="Arial"/>
                <a:ea typeface="+mn-ea"/>
                <a:cs typeface="+mn-cs"/>
              </a:rPr>
              <a:t>learn</a:t>
            </a:r>
            <a:r>
              <a:rPr kumimoji="0" lang="sv-SE" b="1" i="0" u="none" strike="noStrike" kern="1200" cap="none" spc="0" normalizeH="0" baseline="0" noProof="0">
                <a:ln>
                  <a:noFill/>
                </a:ln>
                <a:solidFill>
                  <a:srgbClr val="2F2F2F"/>
                </a:solidFill>
                <a:effectLst/>
                <a:uLnTx/>
                <a:uFillTx/>
                <a:latin typeface="Arial"/>
                <a:ea typeface="+mn-ea"/>
                <a:cs typeface="+mn-cs"/>
              </a:rPr>
              <a:t> </a:t>
            </a:r>
            <a:r>
              <a:rPr kumimoji="0" lang="sv-SE" b="1" i="0" u="none" strike="noStrike" kern="1200" cap="none" spc="0" normalizeH="0" baseline="0" noProof="0" err="1">
                <a:ln>
                  <a:noFill/>
                </a:ln>
                <a:solidFill>
                  <a:srgbClr val="2F2F2F"/>
                </a:solidFill>
                <a:effectLst/>
                <a:uLnTx/>
                <a:uFillTx/>
                <a:latin typeface="Arial"/>
                <a:ea typeface="+mn-ea"/>
                <a:cs typeface="+mn-cs"/>
              </a:rPr>
              <a:t>about</a:t>
            </a:r>
            <a:r>
              <a:rPr kumimoji="0" lang="sv-SE" b="1" i="0" u="none" strike="noStrike" kern="1200" cap="none" spc="0" normalizeH="0" baseline="0" noProof="0">
                <a:ln>
                  <a:noFill/>
                </a:ln>
                <a:solidFill>
                  <a:srgbClr val="2F2F2F"/>
                </a:solidFill>
                <a:effectLst/>
                <a:uLnTx/>
                <a:uFillTx/>
                <a:latin typeface="Arial"/>
                <a:ea typeface="+mn-ea"/>
                <a:cs typeface="+mn-cs"/>
              </a:rPr>
              <a:t> the RETROFEED Project and the demosites.</a:t>
            </a:r>
            <a:endParaRPr lang="sv-SE" b="1">
              <a:solidFill>
                <a:srgbClr val="2F2F2F"/>
              </a:solidFill>
              <a:latin typeface="Arial"/>
            </a:endParaRPr>
          </a:p>
          <a:p>
            <a:endParaRPr lang="sv-S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4DB91F-1AD8-437C-8866-3636784D085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8528013"/>
      </p:ext>
    </p:extLst>
  </p:cSld>
  <p:clrMapOvr>
    <a:masterClrMapping/>
  </p:clrMapOvr>
</p:notes>
</file>

<file path=ppt/notesSlides/notesSlide2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4DB91F-1AD8-437C-8866-3636784D085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2331808"/>
      </p:ext>
    </p:extLst>
  </p:cSld>
  <p:clrMapOvr>
    <a:masterClrMapping/>
  </p:clrMapOvr>
</p:notes>
</file>

<file path=ppt/notesSlides/notesSlide2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4DB91F-1AD8-437C-8866-3636784D085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1429675"/>
      </p:ext>
    </p:extLst>
  </p:cSld>
  <p:clrMapOvr>
    <a:masterClrMapping/>
  </p:clrMapOvr>
</p:notes>
</file>

<file path=ppt/notesSlides/notesSlide2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4DB91F-1AD8-437C-8866-3636784D085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2597082"/>
      </p:ext>
    </p:extLst>
  </p:cSld>
  <p:clrMapOvr>
    <a:masterClrMapping/>
  </p:clrMapOvr>
</p:notes>
</file>

<file path=ppt/notesSlides/notesSlide2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4DB91F-1AD8-437C-8866-3636784D085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8522513"/>
      </p:ext>
    </p:extLst>
  </p:cSld>
  <p:clrMapOvr>
    <a:masterClrMapping/>
  </p:clrMapOvr>
</p:notes>
</file>

<file path=ppt/notesSlides/notesSlide2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err="1"/>
              <a:t>Replicability</a:t>
            </a:r>
            <a:r>
              <a:rPr lang="sv-SE" dirty="0"/>
              <a:t> </a:t>
            </a:r>
            <a:r>
              <a:rPr lang="sv-SE" dirty="0" err="1"/>
              <a:t>of</a:t>
            </a:r>
            <a:r>
              <a:rPr lang="sv-SE" dirty="0"/>
              <a:t> </a:t>
            </a:r>
            <a:r>
              <a:rPr lang="sv-SE" dirty="0" err="1"/>
              <a:t>agrochemical</a:t>
            </a:r>
            <a:r>
              <a:rPr lang="sv-SE" dirty="0"/>
              <a:t> </a:t>
            </a:r>
            <a:r>
              <a:rPr lang="sv-SE" dirty="0" err="1"/>
              <a:t>sector</a:t>
            </a:r>
            <a:r>
              <a:rPr lang="sv-SE" dirty="0"/>
              <a:t>/</a:t>
            </a:r>
            <a:r>
              <a:rPr lang="sv-SE" dirty="0" err="1"/>
              <a:t>fertilizer</a:t>
            </a:r>
            <a:r>
              <a:rPr lang="sv-SE" dirty="0"/>
              <a:t> </a:t>
            </a:r>
            <a:r>
              <a:rPr lang="sv-SE" dirty="0" err="1"/>
              <a:t>production</a:t>
            </a:r>
            <a:endParaRPr lang="sv-SE" dirty="0"/>
          </a:p>
          <a:p>
            <a:endParaRPr lang="sv-S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4DB91F-1AD8-437C-8866-3636784D085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08732239"/>
      </p:ext>
    </p:extLst>
  </p:cSld>
  <p:clrMapOvr>
    <a:masterClrMapping/>
  </p:clrMapOvr>
</p:notes>
</file>

<file path=ppt/notesSlides/notesSlide2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4DB91F-1AD8-437C-8866-3636784D0854}"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0</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5660906"/>
      </p:ext>
    </p:extLst>
  </p:cSld>
  <p:clrMapOvr>
    <a:masterClrMapping/>
  </p:clrMapOvr>
</p:notes>
</file>

<file path=ppt/notesSlides/notesSlide2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4DB91F-1AD8-437C-8866-3636784D0854}"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1</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98636008"/>
      </p:ext>
    </p:extLst>
  </p:cSld>
  <p:clrMapOvr>
    <a:masterClrMapping/>
  </p:clrMapOvr>
</p:notes>
</file>

<file path=ppt/notesSlides/notesSlide2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4DB91F-1AD8-437C-8866-3636784D0854}"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2</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32734855"/>
      </p:ext>
    </p:extLst>
  </p:cSld>
  <p:clrMapOvr>
    <a:masterClrMapping/>
  </p:clrMapOvr>
</p:notes>
</file>

<file path=ppt/notesSlides/notesSlide2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4DB91F-1AD8-437C-8866-3636784D0854}"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3</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99417863"/>
      </p:ext>
    </p:extLst>
  </p:cSld>
  <p:clrMapOvr>
    <a:masterClrMapping/>
  </p:clrMapOvr>
</p:notes>
</file>

<file path=ppt/notesSlides/notesSlide2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4DB91F-1AD8-437C-8866-3636784D0854}"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4</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7527391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err="1"/>
              <a:t>This</a:t>
            </a:r>
            <a:r>
              <a:rPr lang="sv-SE"/>
              <a:t> </a:t>
            </a:r>
            <a:r>
              <a:rPr lang="sv-SE" err="1"/>
              <a:t>slides</a:t>
            </a:r>
            <a:r>
              <a:rPr lang="sv-SE"/>
              <a:t> gives </a:t>
            </a:r>
            <a:r>
              <a:rPr lang="sv-SE" err="1"/>
              <a:t>you</a:t>
            </a:r>
            <a:r>
              <a:rPr lang="sv-SE"/>
              <a:t> the overall </a:t>
            </a:r>
            <a:r>
              <a:rPr lang="sv-SE" err="1"/>
              <a:t>aim</a:t>
            </a:r>
            <a:r>
              <a:rPr lang="sv-SE"/>
              <a:t> </a:t>
            </a:r>
            <a:r>
              <a:rPr lang="sv-SE" err="1"/>
              <a:t>of</a:t>
            </a:r>
            <a:r>
              <a:rPr lang="sv-SE"/>
              <a:t> the </a:t>
            </a:r>
            <a:r>
              <a:rPr lang="sv-SE" err="1"/>
              <a:t>project</a:t>
            </a:r>
            <a:r>
              <a:rPr lang="sv-SE"/>
              <a:t> as </a:t>
            </a:r>
            <a:r>
              <a:rPr lang="sv-SE" err="1"/>
              <a:t>well</a:t>
            </a:r>
            <a:r>
              <a:rPr lang="sv-SE"/>
              <a:t> as </a:t>
            </a:r>
            <a:r>
              <a:rPr lang="sv-SE" err="1"/>
              <a:t>some</a:t>
            </a:r>
            <a:r>
              <a:rPr lang="sv-SE"/>
              <a:t> information </a:t>
            </a:r>
            <a:r>
              <a:rPr lang="sv-SE" err="1"/>
              <a:t>about</a:t>
            </a:r>
            <a:r>
              <a:rPr lang="sv-SE"/>
              <a:t> the </a:t>
            </a:r>
            <a:r>
              <a:rPr lang="sv-SE" err="1"/>
              <a:t>project</a:t>
            </a:r>
            <a:r>
              <a:rPr lang="sv-SE"/>
              <a:t> in </a:t>
            </a:r>
            <a:r>
              <a:rPr lang="sv-SE" err="1"/>
              <a:t>bulletpoints</a:t>
            </a:r>
            <a:r>
              <a:rPr lang="sv-SE"/>
              <a:t>. </a:t>
            </a:r>
          </a:p>
        </p:txBody>
      </p:sp>
      <p:sp>
        <p:nvSpPr>
          <p:cNvPr id="4" name="Slide Number Placeholder 3"/>
          <p:cNvSpPr>
            <a:spLocks noGrp="1"/>
          </p:cNvSpPr>
          <p:nvPr>
            <p:ph type="sldNum" sz="quarter" idx="5"/>
          </p:nvPr>
        </p:nvSpPr>
        <p:spPr/>
        <p:txBody>
          <a:bodyPr/>
          <a:lstStyle/>
          <a:p>
            <a:fld id="{F84DB91F-1AD8-437C-8866-3636784D0854}" type="slidenum">
              <a:rPr lang="en-GB" smtClean="0"/>
              <a:t>24</a:t>
            </a:fld>
            <a:endParaRPr lang="en-GB"/>
          </a:p>
        </p:txBody>
      </p:sp>
    </p:spTree>
    <p:extLst>
      <p:ext uri="{BB962C8B-B14F-4D97-AF65-F5344CB8AC3E}">
        <p14:creationId xmlns:p14="http://schemas.microsoft.com/office/powerpoint/2010/main" val="1224319861"/>
      </p:ext>
    </p:extLst>
  </p:cSld>
  <p:clrMapOvr>
    <a:masterClrMapping/>
  </p:clrMapOvr>
</p:notes>
</file>

<file path=ppt/notesSlides/notesSlide2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4DB91F-1AD8-437C-8866-3636784D0854}"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5</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35831737"/>
      </p:ext>
    </p:extLst>
  </p:cSld>
  <p:clrMapOvr>
    <a:masterClrMapping/>
  </p:clrMapOvr>
</p:notes>
</file>

<file path=ppt/notesSlides/notesSlide2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There are more than 600 plants in EU, EFTA, UK and Turkey, contributing to covering a demand of 9 million tons per year that is foreseen to grow up to 18 million tons per year in 2050. </a:t>
            </a:r>
          </a:p>
          <a:p>
            <a:r>
              <a:rPr lang="en-US" sz="1200" dirty="0"/>
              <a:t>The most important EU Member States in terms of aluminum production are Germany (554 thousand tons/y), France (433 thousand tons/y) and Spain (401 thousand tons/y).</a:t>
            </a:r>
          </a:p>
          <a:p>
            <a:r>
              <a:rPr lang="en-US" sz="1200" dirty="0"/>
              <a:t>On average, in the EU the production of 1 ton of aluminum is responsible of GHG emissions for 6.8 tCO2e (compared to a global average of 16.1 tCO2e/t), which means that the total GHG emissions for the EU production of aluminum are approximately of 292 million tCO2e/y.</a:t>
            </a:r>
          </a:p>
          <a:p>
            <a:endParaRPr lang="sv-SE" b="1" dirty="0"/>
          </a:p>
          <a:p>
            <a:r>
              <a:rPr lang="sv-SE" b="1" dirty="0"/>
              <a:t>Changes in </a:t>
            </a:r>
            <a:r>
              <a:rPr lang="sv-SE" b="1" dirty="0" err="1"/>
              <a:t>KRIs</a:t>
            </a:r>
            <a:r>
              <a:rPr lang="sv-SE" b="1" dirty="0"/>
              <a:t> </a:t>
            </a:r>
            <a:r>
              <a:rPr lang="sv-SE" b="1" dirty="0" err="1"/>
              <a:t>due</a:t>
            </a:r>
            <a:r>
              <a:rPr lang="sv-SE" b="1" dirty="0"/>
              <a:t> to </a:t>
            </a:r>
            <a:r>
              <a:rPr lang="sv-SE" b="1" dirty="0" err="1"/>
              <a:t>retrofit</a:t>
            </a:r>
            <a:r>
              <a:rPr lang="sv-SE" b="1" dirty="0"/>
              <a:t> actions (</a:t>
            </a:r>
            <a:r>
              <a:rPr lang="sv-SE" b="1" dirty="0" err="1"/>
              <a:t>Result</a:t>
            </a:r>
            <a:r>
              <a:rPr lang="sv-SE" b="1" dirty="0"/>
              <a:t> from </a:t>
            </a:r>
            <a:r>
              <a:rPr lang="sv-SE" b="1" dirty="0" err="1"/>
              <a:t>Retrofeed</a:t>
            </a:r>
            <a:r>
              <a:rPr lang="sv-SE" b="1" dirty="0"/>
              <a:t> </a:t>
            </a:r>
            <a:r>
              <a:rPr lang="sv-SE" b="1" dirty="0" err="1"/>
              <a:t>project</a:t>
            </a:r>
            <a:r>
              <a:rPr lang="sv-SE" b="1" dirty="0"/>
              <a:t>): </a:t>
            </a:r>
          </a:p>
          <a:p>
            <a:pPr marL="171450" indent="-171450">
              <a:buFontTx/>
              <a:buChar char="-"/>
            </a:pPr>
            <a:r>
              <a:rPr lang="sv-SE" b="0" dirty="0" err="1"/>
              <a:t>Electricity</a:t>
            </a:r>
            <a:r>
              <a:rPr lang="sv-SE" b="0" dirty="0"/>
              <a:t> </a:t>
            </a:r>
            <a:r>
              <a:rPr lang="sv-SE" b="0" dirty="0" err="1"/>
              <a:t>consumption</a:t>
            </a:r>
            <a:r>
              <a:rPr lang="sv-SE" b="0" dirty="0"/>
              <a:t> </a:t>
            </a:r>
            <a:r>
              <a:rPr lang="sv-SE" b="0" dirty="0" err="1"/>
              <a:t>increased</a:t>
            </a:r>
            <a:r>
              <a:rPr lang="sv-SE" b="0" dirty="0"/>
              <a:t> </a:t>
            </a:r>
            <a:r>
              <a:rPr lang="sv-SE" b="0" dirty="0" err="1"/>
              <a:t>with</a:t>
            </a:r>
            <a:r>
              <a:rPr lang="sv-SE" b="0" dirty="0"/>
              <a:t> 1 %.</a:t>
            </a:r>
          </a:p>
          <a:p>
            <a:pPr marL="171450" indent="-171450">
              <a:buFontTx/>
              <a:buChar char="-"/>
            </a:pPr>
            <a:r>
              <a:rPr lang="sv-SE" b="0" dirty="0" err="1"/>
              <a:t>Natural</a:t>
            </a:r>
            <a:r>
              <a:rPr lang="sv-SE" b="0" dirty="0"/>
              <a:t> gas </a:t>
            </a:r>
            <a:r>
              <a:rPr lang="sv-SE" b="0" dirty="0" err="1"/>
              <a:t>consumption</a:t>
            </a:r>
            <a:r>
              <a:rPr lang="sv-SE" b="0" dirty="0"/>
              <a:t>, </a:t>
            </a:r>
            <a:r>
              <a:rPr lang="sv-SE" b="0" dirty="0" err="1"/>
              <a:t>primary</a:t>
            </a:r>
            <a:r>
              <a:rPr lang="sv-SE" b="0" dirty="0"/>
              <a:t> </a:t>
            </a:r>
            <a:r>
              <a:rPr lang="sv-SE" b="0" dirty="0" err="1"/>
              <a:t>energy</a:t>
            </a:r>
            <a:r>
              <a:rPr lang="sv-SE" b="0" dirty="0"/>
              <a:t> </a:t>
            </a:r>
            <a:r>
              <a:rPr lang="sv-SE" b="0" dirty="0" err="1"/>
              <a:t>consumption</a:t>
            </a:r>
            <a:r>
              <a:rPr lang="sv-SE" b="0" dirty="0"/>
              <a:t> and CO2 emissions </a:t>
            </a:r>
            <a:r>
              <a:rPr lang="sv-SE" b="0" dirty="0" err="1"/>
              <a:t>decreased</a:t>
            </a:r>
            <a:r>
              <a:rPr lang="sv-SE" b="0" dirty="0"/>
              <a:t> </a:t>
            </a:r>
            <a:r>
              <a:rPr lang="sv-SE" b="0" dirty="0" err="1"/>
              <a:t>with</a:t>
            </a:r>
            <a:r>
              <a:rPr lang="sv-SE" b="0" dirty="0"/>
              <a:t> </a:t>
            </a:r>
            <a:r>
              <a:rPr lang="sv-SE" b="0" dirty="0" err="1"/>
              <a:t>around</a:t>
            </a:r>
            <a:r>
              <a:rPr lang="sv-SE" b="0" dirty="0"/>
              <a:t> 19 %.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77787B-4A66-0142-903F-970ED53E63D2}"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6</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39515371"/>
      </p:ext>
    </p:extLst>
  </p:cSld>
  <p:clrMapOvr>
    <a:masterClrMapping/>
  </p:clrMapOvr>
</p:notes>
</file>

<file path=ppt/notesSlides/notesSlide2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25000"/>
              </a:lnSpc>
              <a:spcAft>
                <a:spcPts val="1200"/>
              </a:spcAft>
            </a:pPr>
            <a:r>
              <a:rPr lang="en-US" sz="12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The steel sector is one of the most important industrial sectors in Europe, employing more than 310,000 persons, producing on average 153 million tons of steel per year and generating revenues for 125 billion € per year.</a:t>
            </a:r>
            <a:endParaRPr lang="sv-SE" sz="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endParaRPr>
          </a:p>
          <a:p>
            <a:pPr algn="just">
              <a:lnSpc>
                <a:spcPct val="125000"/>
              </a:lnSpc>
              <a:spcAft>
                <a:spcPts val="1200"/>
              </a:spcAft>
            </a:pPr>
            <a:r>
              <a:rPr lang="en-US" sz="12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The most important EU Member States in terms of steel production are Germany (40.1 million tons/y, i.e. 26.2% of EU total), Italy (24.4 million tons/y, i.e. 16.0% of EU total), Spain (14.2 million tons/y, i.e. 9.3% of EU total) and France (13.9 million tons/y, i.e. 9.1% of EU total).</a:t>
            </a:r>
            <a:endParaRPr lang="sv-SE" sz="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endParaRPr>
          </a:p>
          <a:p>
            <a:pPr algn="just">
              <a:lnSpc>
                <a:spcPct val="125000"/>
              </a:lnSpc>
              <a:spcAft>
                <a:spcPts val="1200"/>
              </a:spcAft>
            </a:pPr>
            <a:r>
              <a:rPr lang="en-US" sz="12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Out of the total production, 56.4% is realized through Basic Oxygen Furnace and 43.6% through Electric Arc Furnaces; 77.5% is carbon steel-non alloy, 17.9% is carbon steel-other alloy and 4.6% is stainless steel.</a:t>
            </a:r>
            <a:endParaRPr lang="sv-SE" sz="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endParaRPr>
          </a:p>
          <a:p>
            <a:pPr algn="just">
              <a:lnSpc>
                <a:spcPct val="125000"/>
              </a:lnSpc>
              <a:spcAft>
                <a:spcPts val="1200"/>
              </a:spcAft>
            </a:pPr>
            <a:r>
              <a:rPr lang="en-US" sz="12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On average, the production of 1 ton of steel is responsible of GHG emissions for 1.91 tCO</a:t>
            </a:r>
            <a:r>
              <a:rPr lang="en-US" sz="1200" baseline="-250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2</a:t>
            </a:r>
            <a:r>
              <a:rPr lang="en-US" sz="12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e, which means that the total GHG emissions for the EU production of steel are approximately of 292 million tCO</a:t>
            </a:r>
            <a:r>
              <a:rPr lang="en-US" sz="1200" baseline="-250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2</a:t>
            </a:r>
            <a:r>
              <a:rPr lang="en-US" sz="12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e/y.</a:t>
            </a:r>
            <a:endParaRPr lang="sv-SE" sz="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endParaRPr>
          </a:p>
          <a:p>
            <a:endParaRPr lang="sv-SE"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77787B-4A66-0142-903F-970ED53E63D2}"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7</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55188826"/>
      </p:ext>
    </p:extLst>
  </p:cSld>
  <p:clrMapOvr>
    <a:masterClrMapping/>
  </p:clrMapOvr>
</p:notes>
</file>

<file path=ppt/notesSlides/notesSlide2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b="0" i="0" dirty="0">
                <a:solidFill>
                  <a:srgbClr val="000000"/>
                </a:solidFill>
                <a:effectLst/>
                <a:latin typeface="Arial" panose="020B0604020202020204" pitchFamily="34" charset="0"/>
              </a:rPr>
              <a:t>The fertilizers sector in the EU is characterized by a total production of 17.3 million tons/y (out of a worldwide value of 259.1 million tons/y), of which 72% nitrogen-based, 12% phosphorus-based and 16% potassium-based. The sector employs 76,000 persons and generates 12.3 billion €/y of revenues.</a:t>
            </a:r>
            <a:r>
              <a:rPr lang="en-US" sz="1800" b="0" i="0" baseline="30000" dirty="0">
                <a:solidFill>
                  <a:srgbClr val="000000"/>
                </a:solidFill>
                <a:effectLst/>
                <a:latin typeface="Arial" panose="020B0604020202020204" pitchFamily="34" charset="0"/>
              </a:rPr>
              <a:t>4</a:t>
            </a:r>
            <a:r>
              <a:rPr lang="en-US" sz="1800" b="0" i="0" dirty="0">
                <a:solidFill>
                  <a:srgbClr val="000000"/>
                </a:solidFill>
                <a:effectLst/>
                <a:latin typeface="Arial" panose="020B0604020202020204" pitchFamily="34" charset="0"/>
              </a:rPr>
              <a:t> On average, the production of fertilizers is responsible of GHG emissions of 1.909 tCO</a:t>
            </a:r>
            <a:r>
              <a:rPr lang="en-US" sz="1800" b="0" i="0" baseline="-25000" dirty="0">
                <a:solidFill>
                  <a:srgbClr val="000000"/>
                </a:solidFill>
                <a:effectLst/>
                <a:latin typeface="Arial" panose="020B0604020202020204" pitchFamily="34" charset="0"/>
              </a:rPr>
              <a:t>2</a:t>
            </a:r>
            <a:r>
              <a:rPr lang="en-US" sz="1800" b="0" i="0" dirty="0">
                <a:solidFill>
                  <a:srgbClr val="000000"/>
                </a:solidFill>
                <a:effectLst/>
                <a:latin typeface="Arial" panose="020B0604020202020204" pitchFamily="34" charset="0"/>
              </a:rPr>
              <a:t>e/</a:t>
            </a:r>
            <a:r>
              <a:rPr lang="en-US" sz="1800" b="0" i="0" dirty="0" err="1">
                <a:solidFill>
                  <a:srgbClr val="000000"/>
                </a:solidFill>
                <a:effectLst/>
                <a:latin typeface="Arial" panose="020B0604020202020204" pitchFamily="34" charset="0"/>
              </a:rPr>
              <a:t>t</a:t>
            </a:r>
            <a:r>
              <a:rPr lang="en-US" sz="1800" b="0" i="0" baseline="-25000" dirty="0" err="1">
                <a:solidFill>
                  <a:srgbClr val="000000"/>
                </a:solidFill>
                <a:effectLst/>
                <a:latin typeface="Arial" panose="020B0604020202020204" pitchFamily="34" charset="0"/>
              </a:rPr>
              <a:t>N</a:t>
            </a:r>
            <a:r>
              <a:rPr lang="en-US" sz="1800" b="0" i="0" dirty="0">
                <a:solidFill>
                  <a:srgbClr val="000000"/>
                </a:solidFill>
                <a:effectLst/>
                <a:latin typeface="Arial" panose="020B0604020202020204" pitchFamily="34" charset="0"/>
              </a:rPr>
              <a:t> (value referred to urea and excluding CO</a:t>
            </a:r>
            <a:r>
              <a:rPr lang="en-US" sz="1800" b="0" i="0" baseline="-25000" dirty="0">
                <a:solidFill>
                  <a:srgbClr val="000000"/>
                </a:solidFill>
                <a:effectLst/>
                <a:latin typeface="Arial" panose="020B0604020202020204" pitchFamily="34" charset="0"/>
              </a:rPr>
              <a:t>2</a:t>
            </a:r>
            <a:r>
              <a:rPr lang="en-US" sz="1800" b="0" i="0" dirty="0">
                <a:solidFill>
                  <a:srgbClr val="000000"/>
                </a:solidFill>
                <a:effectLst/>
                <a:latin typeface="Arial" panose="020B0604020202020204" pitchFamily="34" charset="0"/>
              </a:rPr>
              <a:t> captured in the product)</a:t>
            </a:r>
            <a:r>
              <a:rPr lang="en-US" sz="1800" b="0" i="0" baseline="30000" dirty="0">
                <a:solidFill>
                  <a:srgbClr val="000000"/>
                </a:solidFill>
                <a:effectLst/>
                <a:latin typeface="Arial" panose="020B0604020202020204" pitchFamily="34" charset="0"/>
              </a:rPr>
              <a:t>5</a:t>
            </a:r>
            <a:r>
              <a:rPr lang="en-US" sz="1800" b="0" i="0" dirty="0">
                <a:solidFill>
                  <a:srgbClr val="000000"/>
                </a:solidFill>
                <a:effectLst/>
                <a:latin typeface="Arial" panose="020B0604020202020204" pitchFamily="34" charset="0"/>
              </a:rPr>
              <a:t>. Therefore, the fertilizers produced in the EU are indicatively responsible of 33 million tCO</a:t>
            </a:r>
            <a:r>
              <a:rPr lang="en-US" sz="1800" b="0" i="0" baseline="-25000" dirty="0">
                <a:solidFill>
                  <a:srgbClr val="000000"/>
                </a:solidFill>
                <a:effectLst/>
                <a:latin typeface="Arial" panose="020B0604020202020204" pitchFamily="34" charset="0"/>
              </a:rPr>
              <a:t>2</a:t>
            </a:r>
            <a:r>
              <a:rPr lang="en-US" sz="1800" b="0" i="0" dirty="0">
                <a:solidFill>
                  <a:srgbClr val="000000"/>
                </a:solidFill>
                <a:effectLst/>
                <a:latin typeface="Arial" panose="020B0604020202020204" pitchFamily="34" charset="0"/>
              </a:rPr>
              <a:t>e/y of GHG emissions. </a:t>
            </a:r>
          </a:p>
          <a:p>
            <a:endParaRPr lang="en-US" sz="1800" b="0" i="0" dirty="0">
              <a:solidFill>
                <a:srgbClr val="000000"/>
              </a:solidFill>
              <a:effectLst/>
              <a:latin typeface="Arial" panose="020B0604020202020204" pitchFamily="34" charset="0"/>
            </a:endParaRPr>
          </a:p>
          <a:p>
            <a:endParaRPr lang="sv-SE" b="1" dirty="0"/>
          </a:p>
          <a:p>
            <a:r>
              <a:rPr lang="sv-SE" b="1" dirty="0"/>
              <a:t>Changes in </a:t>
            </a:r>
            <a:r>
              <a:rPr lang="sv-SE" b="1" dirty="0" err="1"/>
              <a:t>KRIs</a:t>
            </a:r>
            <a:r>
              <a:rPr lang="sv-SE" b="1" dirty="0"/>
              <a:t> </a:t>
            </a:r>
            <a:r>
              <a:rPr lang="sv-SE" b="1" dirty="0" err="1"/>
              <a:t>due</a:t>
            </a:r>
            <a:r>
              <a:rPr lang="sv-SE" b="1" dirty="0"/>
              <a:t> to </a:t>
            </a:r>
            <a:r>
              <a:rPr lang="sv-SE" b="1" dirty="0" err="1"/>
              <a:t>retrofit</a:t>
            </a:r>
            <a:r>
              <a:rPr lang="sv-SE" b="1" dirty="0"/>
              <a:t> actions (</a:t>
            </a:r>
            <a:r>
              <a:rPr lang="sv-SE" b="1" dirty="0" err="1"/>
              <a:t>Result</a:t>
            </a:r>
            <a:r>
              <a:rPr lang="sv-SE" b="1" dirty="0"/>
              <a:t> from </a:t>
            </a:r>
            <a:r>
              <a:rPr lang="sv-SE" b="1" dirty="0" err="1"/>
              <a:t>Retrofeed</a:t>
            </a:r>
            <a:r>
              <a:rPr lang="sv-SE" b="1" dirty="0"/>
              <a:t> </a:t>
            </a:r>
            <a:r>
              <a:rPr lang="sv-SE" b="1" dirty="0" err="1"/>
              <a:t>project</a:t>
            </a:r>
            <a:r>
              <a:rPr lang="sv-SE" b="1" dirty="0"/>
              <a:t> – </a:t>
            </a:r>
            <a:r>
              <a:rPr lang="sv-SE" b="1" dirty="0" err="1"/>
              <a:t>Fertiberia</a:t>
            </a:r>
            <a:r>
              <a:rPr lang="sv-SE" b="1" dirty="0"/>
              <a:t> ):</a:t>
            </a:r>
          </a:p>
          <a:p>
            <a:endParaRPr lang="sv-SE" b="1" dirty="0"/>
          </a:p>
          <a:p>
            <a:endParaRPr lang="sv-SE" b="1" dirty="0"/>
          </a:p>
          <a:p>
            <a:endParaRPr lang="sv-SE" b="1" dirty="0"/>
          </a:p>
          <a:p>
            <a:r>
              <a:rPr lang="sv-SE" b="1" dirty="0" err="1"/>
              <a:t>Sources</a:t>
            </a:r>
            <a:r>
              <a:rPr lang="sv-SE" b="1" dirty="0"/>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baseline="30000" dirty="0">
                <a:solidFill>
                  <a:srgbClr val="000000"/>
                </a:solidFill>
                <a:effectLst/>
                <a:latin typeface="Arial" panose="020B0604020202020204" pitchFamily="34" charset="0"/>
              </a:rPr>
              <a:t>4</a:t>
            </a:r>
            <a:r>
              <a:rPr lang="en-US" sz="1200" b="0" i="0" dirty="0">
                <a:solidFill>
                  <a:srgbClr val="000000"/>
                </a:solidFill>
                <a:effectLst/>
                <a:latin typeface="Arial" panose="020B0604020202020204" pitchFamily="34" charset="0"/>
              </a:rPr>
              <a:t> .</a:t>
            </a:r>
            <a:r>
              <a:rPr lang="en-GB" sz="1200" b="0" i="0" u="sng" strike="noStrike" dirty="0">
                <a:solidFill>
                  <a:srgbClr val="0563C1"/>
                </a:solidFill>
                <a:effectLst/>
                <a:latin typeface="Liberation Serif"/>
                <a:hlinkClick r:id="rId3"/>
              </a:rPr>
              <a:t>https://www.fertilizerseurope.com/wp-content/uploads/2023/07/Industry-Facts-and-figures-2023.pdf</a:t>
            </a:r>
            <a:r>
              <a:rPr lang="en-GB" sz="1200" b="0" i="0" dirty="0">
                <a:solidFill>
                  <a:srgbClr val="404040"/>
                </a:solidFill>
                <a:effectLst/>
                <a:latin typeface="Liberation Serif"/>
              </a:rPr>
              <a:t> </a:t>
            </a:r>
            <a:endParaRPr lang="sv-SE" b="1" dirty="0"/>
          </a:p>
          <a:p>
            <a:r>
              <a:rPr lang="en-GB" sz="1800" b="0" i="0" dirty="0">
                <a:solidFill>
                  <a:srgbClr val="404040"/>
                </a:solidFill>
                <a:effectLst/>
                <a:latin typeface="Liberation Serif"/>
              </a:rPr>
              <a:t> </a:t>
            </a:r>
            <a:r>
              <a:rPr lang="en-US" sz="1800" b="0" i="0" baseline="30000" dirty="0">
                <a:solidFill>
                  <a:srgbClr val="000000"/>
                </a:solidFill>
                <a:effectLst/>
                <a:latin typeface="Arial" panose="020B0604020202020204" pitchFamily="34" charset="0"/>
              </a:rPr>
              <a:t>5</a:t>
            </a:r>
            <a:r>
              <a:rPr lang="en-GB" sz="1800" b="0" i="0" u="sng" strike="noStrike" dirty="0">
                <a:solidFill>
                  <a:srgbClr val="0563C1"/>
                </a:solidFill>
                <a:effectLst/>
                <a:latin typeface="Liberation Serif"/>
                <a:hlinkClick r:id="rId4"/>
              </a:rPr>
              <a:t>https://www.fertilizerseurope.com/wp-content/uploads/2020/01/The-carbon-footprint-of-fertilizer-production_Regional-reference-values.pdf</a:t>
            </a:r>
            <a:endParaRPr lang="sv-SE" b="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77787B-4A66-0142-903F-970ED53E63D2}"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8</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9197051"/>
      </p:ext>
    </p:extLst>
  </p:cSld>
  <p:clrMapOvr>
    <a:masterClrMapping/>
  </p:clrMapOvr>
</p:notes>
</file>

<file path=ppt/notesSlides/notesSlide2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rtl="0" fontAlgn="base"/>
            <a:r>
              <a:rPr lang="en-US" sz="1800" b="0" i="0" dirty="0">
                <a:solidFill>
                  <a:srgbClr val="000000"/>
                </a:solidFill>
                <a:effectLst/>
                <a:latin typeface="Arial" panose="020B0604020202020204" pitchFamily="34" charset="0"/>
              </a:rPr>
              <a:t>Due to delay </a:t>
            </a:r>
            <a:r>
              <a:rPr lang="en-US" sz="1800" b="0" i="0" dirty="0" err="1">
                <a:solidFill>
                  <a:srgbClr val="000000"/>
                </a:solidFill>
                <a:effectLst/>
                <a:latin typeface="Arial" panose="020B0604020202020204" pitchFamily="34" charset="0"/>
              </a:rPr>
              <a:t>Secil</a:t>
            </a:r>
            <a:r>
              <a:rPr lang="en-US" sz="1800" b="0" i="0" dirty="0">
                <a:solidFill>
                  <a:srgbClr val="000000"/>
                </a:solidFill>
                <a:effectLst/>
                <a:latin typeface="Arial" panose="020B0604020202020204" pitchFamily="34" charset="0"/>
              </a:rPr>
              <a:t> does not have any results to present.</a:t>
            </a:r>
          </a:p>
          <a:p>
            <a:pPr algn="just" rtl="0" fontAlgn="base"/>
            <a:endParaRPr lang="en-US" sz="1800" b="0" i="0" dirty="0">
              <a:solidFill>
                <a:srgbClr val="000000"/>
              </a:solidFill>
              <a:effectLst/>
              <a:latin typeface="Arial" panose="020B0604020202020204" pitchFamily="34" charset="0"/>
            </a:endParaRPr>
          </a:p>
          <a:p>
            <a:pPr algn="just" rtl="0" fontAlgn="base"/>
            <a:r>
              <a:rPr lang="en-US" sz="1800" b="0" i="0" dirty="0">
                <a:solidFill>
                  <a:srgbClr val="000000"/>
                </a:solidFill>
                <a:effectLst/>
                <a:latin typeface="Arial" panose="020B0604020202020204" pitchFamily="34" charset="0"/>
              </a:rPr>
              <a:t>In 2020, the cement production in Europe was approximately 171.5 million tons, which accounts for 6.1% of the total produced worldwide. The largest producers of cement in Europe are Germany, Spain, Italy, and France. </a:t>
            </a:r>
            <a:endParaRPr lang="en-US" b="0" i="0" dirty="0">
              <a:solidFill>
                <a:srgbClr val="000000"/>
              </a:solidFill>
              <a:effectLst/>
              <a:latin typeface="Segoe UI" panose="020B0502040204020203" pitchFamily="34" charset="0"/>
            </a:endParaRPr>
          </a:p>
          <a:p>
            <a:pPr algn="just" rtl="0" fontAlgn="base"/>
            <a:r>
              <a:rPr lang="en-US" sz="1800" b="0" i="0" dirty="0">
                <a:solidFill>
                  <a:srgbClr val="000000"/>
                </a:solidFill>
                <a:effectLst/>
                <a:latin typeface="Roboto-Regular"/>
              </a:rPr>
              <a:t>According to the latest data available, the European cement industry has reduced its net CO2 emissions per ton grey clinker by -21.2%, and net per ton cementitious by -23.2%.</a:t>
            </a:r>
            <a:r>
              <a:rPr lang="en-US" sz="1800" b="0" i="0" dirty="0">
                <a:solidFill>
                  <a:srgbClr val="000000"/>
                </a:solidFill>
                <a:effectLst/>
                <a:latin typeface="Arial" panose="020B0604020202020204" pitchFamily="34" charset="0"/>
              </a:rPr>
              <a:t> The Carbon Neutrality Roadmap aims for carbon neutrality along the cement and concrete value chain by 2050 and this will already require deep CO2 cuts between now and 2030. The measures include, for instance, the use of non-recyclable and biomass waste to replace fossil fuels; more energy-efficient kilns; the development of innovative low-clinker cements; etc. </a:t>
            </a:r>
            <a:endParaRPr lang="en-US" b="0" i="0" dirty="0">
              <a:solidFill>
                <a:srgbClr val="000000"/>
              </a:solidFill>
              <a:effectLst/>
              <a:latin typeface="Segoe UI" panose="020B0502040204020203" pitchFamily="34" charset="0"/>
            </a:endParaRPr>
          </a:p>
          <a:p>
            <a:pPr algn="just" rtl="0" fontAlgn="base"/>
            <a:r>
              <a:rPr lang="en-US" sz="1800" b="0" i="0" dirty="0">
                <a:solidFill>
                  <a:srgbClr val="000000"/>
                </a:solidFill>
                <a:effectLst/>
                <a:latin typeface="Roboto-Regular"/>
              </a:rPr>
              <a:t>After a strong contraction in 2020 due to COVID-19, an impulse to the economic activity has certainly been given through the EU’s Recovery and Resilience Facility (RFF), making available €723.8Bn. </a:t>
            </a:r>
            <a:r>
              <a:rPr lang="en-US" sz="1800" b="0" i="0" dirty="0">
                <a:solidFill>
                  <a:srgbClr val="000000"/>
                </a:solidFill>
                <a:effectLst/>
                <a:latin typeface="Arial" panose="020B0604020202020204" pitchFamily="34" charset="0"/>
              </a:rPr>
              <a:t>[1] </a:t>
            </a:r>
          </a:p>
          <a:p>
            <a:pPr algn="just" rtl="0" fontAlgn="base"/>
            <a:endParaRPr lang="en-US" sz="1800" b="0" i="0" dirty="0">
              <a:solidFill>
                <a:srgbClr val="000000"/>
              </a:solidFill>
              <a:effectLst/>
              <a:latin typeface="Arial" panose="020B0604020202020204" pitchFamily="34" charset="0"/>
            </a:endParaRPr>
          </a:p>
          <a:p>
            <a:pPr algn="just" rtl="0" fontAlgn="base"/>
            <a:r>
              <a:rPr lang="en-US" sz="1800" b="0" i="0" dirty="0">
                <a:solidFill>
                  <a:srgbClr val="000000"/>
                </a:solidFill>
                <a:effectLst/>
                <a:latin typeface="Arial" panose="020B0604020202020204" pitchFamily="34" charset="0"/>
              </a:rPr>
              <a:t>References:</a:t>
            </a:r>
          </a:p>
          <a:p>
            <a:pPr algn="just" rtl="0" fontAlgn="base"/>
            <a:r>
              <a:rPr lang="en-US" sz="1800" b="0" i="0" dirty="0">
                <a:solidFill>
                  <a:srgbClr val="000000"/>
                </a:solidFill>
                <a:effectLst/>
                <a:latin typeface="Arial" panose="020B0604020202020204" pitchFamily="34" charset="0"/>
              </a:rPr>
              <a:t>[1] CEMBUREAU. 2021 ACTIVITY REPORT. (</a:t>
            </a:r>
            <a:r>
              <a:rPr lang="en-US" sz="1800" b="0" i="0" dirty="0" err="1">
                <a:solidFill>
                  <a:srgbClr val="000000"/>
                </a:solidFill>
                <a:effectLst/>
                <a:latin typeface="Arial" panose="020B0604020202020204" pitchFamily="34" charset="0"/>
              </a:rPr>
              <a:t>s.f.</a:t>
            </a:r>
            <a:r>
              <a:rPr lang="en-US" sz="1800" b="0" i="0" dirty="0">
                <a:solidFill>
                  <a:srgbClr val="000000"/>
                </a:solidFill>
                <a:effectLst/>
                <a:latin typeface="Arial" panose="020B0604020202020204" pitchFamily="34" charset="0"/>
              </a:rPr>
              <a:t>). </a:t>
            </a:r>
            <a:endParaRPr lang="en-US" b="0" i="0" dirty="0">
              <a:solidFill>
                <a:srgbClr val="000000"/>
              </a:solidFill>
              <a:effectLst/>
              <a:latin typeface="Segoe UI" panose="020B0502040204020203" pitchFamily="34" charset="0"/>
            </a:endParaRPr>
          </a:p>
          <a:p>
            <a:endParaRPr lang="sv-SE" b="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77787B-4A66-0142-903F-970ED53E63D2}"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9</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96179920"/>
      </p:ext>
    </p:extLst>
  </p:cSld>
  <p:clrMapOvr>
    <a:masterClrMapping/>
  </p:clrMapOvr>
</p:notes>
</file>

<file path=ppt/notesSlides/notesSlide2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rPr>
              <a:t>Within the </a:t>
            </a:r>
            <a:r>
              <a:rPr kumimoji="0" lang="en-US" sz="1200" b="0" i="0" u="none" strike="noStrike" kern="1200" cap="none" spc="0" normalizeH="0" baseline="0" noProof="0" dirty="0" err="1">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rPr>
              <a:t>Retrofeed</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rPr>
              <a:t> project the replicability potential has been studied. This means that a retrofit action for one site is evaluated in order to decide if the action is possible to apply to the other demo-sites. The conclusion of the evaluation was for example for </a:t>
            </a:r>
            <a:r>
              <a:rPr kumimoji="0" lang="en-US" sz="1200" b="0" i="0" u="none" strike="noStrike" kern="1200" cap="none" spc="0" normalizeH="0" baseline="0" noProof="0" dirty="0" err="1">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rPr>
              <a:t>Fertiberias</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rPr>
              <a:t> </a:t>
            </a: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rPr>
              <a:t>r</a:t>
            </a: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Times New Roman" panose="02020603050405020304" pitchFamily="18" charset="0"/>
              </a:rPr>
              <a:t>etrofit solution could not be replicated in other project demo sites, while the retrofit actions taken by </a:t>
            </a:r>
            <a:r>
              <a:rPr kumimoji="0" lang="en-GB" sz="1200" b="0" i="0" u="none" strike="noStrike" kern="1200" cap="none" spc="0" normalizeH="0" baseline="0" noProof="0" dirty="0" err="1">
                <a:ln>
                  <a:noFill/>
                </a:ln>
                <a:solidFill>
                  <a:srgbClr val="000000"/>
                </a:solidFill>
                <a:effectLst/>
                <a:uLnTx/>
                <a:uFillTx/>
                <a:latin typeface="Arial" panose="020B0604020202020204" pitchFamily="34" charset="0"/>
                <a:ea typeface="+mn-ea"/>
                <a:cs typeface="Times New Roman" panose="02020603050405020304" pitchFamily="18" charset="0"/>
              </a:rPr>
              <a:t>Secil</a:t>
            </a: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Times New Roman" panose="02020603050405020304" pitchFamily="18" charset="0"/>
              </a:rPr>
              <a:t> could be applied to other demo-sites. </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rPr>
              <a:t>In the table the </a:t>
            </a:r>
            <a:r>
              <a:rPr kumimoji="0" lang="en-US" sz="1200" b="0" i="0" u="none" strike="noStrike" kern="1200" cap="none" spc="0" normalizeH="0" baseline="0" noProof="0" dirty="0" err="1">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rPr>
              <a:t>Secil</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rPr>
              <a:t> retrofit actions that could be replicated in other demo-sites are presented.  </a:t>
            </a:r>
          </a:p>
          <a:p>
            <a:endParaRPr lang="sv-SE" b="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77787B-4A66-0142-903F-970ED53E63D2}"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0</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7664178"/>
      </p:ext>
    </p:extLst>
  </p:cSld>
  <p:clrMapOvr>
    <a:masterClrMapping/>
  </p:clrMapOvr>
</p:notes>
</file>

<file path=ppt/notesSlides/notesSlide2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404040"/>
                </a:solidFill>
                <a:effectLst/>
                <a:latin typeface="Liberation Serif"/>
                <a:ea typeface="Noto Sans CJK SC"/>
                <a:cs typeface="Arial" panose="020B0604020202020204" pitchFamily="34" charset="0"/>
              </a:rPr>
              <a:t>One of the key objectives of RETROFEED is to ensure the exploitation and commercialization of the knowledge and technical results obtained from the execution of the technical work packages in order to pave the way for the successful market uptake of RETROFEED in the industrial environment around Europe. </a:t>
            </a:r>
            <a:r>
              <a:rPr lang="en-US" sz="1200" dirty="0">
                <a:solidFill>
                  <a:srgbClr val="404040"/>
                </a:solidFill>
                <a:effectLst/>
                <a:latin typeface="Liberation Serif"/>
                <a:ea typeface="Noto Sans CJK SC"/>
                <a:cs typeface="Lohit Devanagari"/>
              </a:rPr>
              <a:t>These business models were developed to support the </a:t>
            </a:r>
            <a:r>
              <a:rPr lang="en-US" sz="1200" dirty="0" err="1">
                <a:solidFill>
                  <a:srgbClr val="404040"/>
                </a:solidFill>
                <a:effectLst/>
                <a:latin typeface="Liberation Serif"/>
                <a:ea typeface="Noto Sans CJK SC"/>
                <a:cs typeface="Lohit Devanagari"/>
              </a:rPr>
              <a:t>commercialisation</a:t>
            </a:r>
            <a:r>
              <a:rPr lang="en-US" sz="1200" dirty="0">
                <a:solidFill>
                  <a:srgbClr val="404040"/>
                </a:solidFill>
                <a:effectLst/>
                <a:latin typeface="Liberation Serif"/>
                <a:ea typeface="Noto Sans CJK SC"/>
                <a:cs typeface="Lohit Devanagari"/>
              </a:rPr>
              <a:t> of each individual project result. </a:t>
            </a:r>
            <a:r>
              <a:rPr lang="en-GB" sz="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The deliverable focuses on Identifying the value proposition, i.e. products/services offered to the possible customer and the value they bring. The document also identifies the value proposition, cost structure and </a:t>
            </a:r>
            <a:r>
              <a:rPr lang="en-GB" sz="1200" dirty="0" err="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and</a:t>
            </a:r>
            <a:r>
              <a:rPr lang="en-GB" sz="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the competition landscape and the characterisation of the configuration of the value creation. The Business Model Canvas method was applied to ensure the optimum exploitation of business opportunities and the associated business models for the exploitable results of RETROFEED.</a:t>
            </a:r>
            <a:endParaRPr lang="sv-SE" sz="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endParaRPr>
          </a:p>
          <a:p>
            <a:endParaRPr lang="sv-S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4DB91F-1AD8-437C-8866-3636784D085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71754722"/>
      </p:ext>
    </p:extLst>
  </p:cSld>
  <p:clrMapOvr>
    <a:masterClrMapping/>
  </p:clrMapOvr>
</p:notes>
</file>

<file path=ppt/notesSlides/notesSlide2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solidFill>
                  <a:srgbClr val="404040"/>
                </a:solidFill>
                <a:effectLst/>
                <a:latin typeface="Liberation Serif"/>
                <a:ea typeface="Noto Sans CJK SC"/>
                <a:cs typeface="Lohit Devanagari"/>
              </a:rPr>
              <a:t>The Business Model Canvas is a structured visual map of a business comprised by nine blocks first described by Alexander Osterwalder</a:t>
            </a:r>
            <a:r>
              <a:rPr lang="en-US" sz="1800" dirty="0">
                <a:solidFill>
                  <a:srgbClr val="404040"/>
                </a:solidFill>
                <a:effectLst/>
                <a:latin typeface="Liberation Serif"/>
                <a:ea typeface="SimSun" panose="02010600030101010101" pitchFamily="2" charset="-122"/>
                <a:cs typeface="Lohit Devanagari"/>
              </a:rPr>
              <a:t> </a:t>
            </a:r>
            <a:r>
              <a:rPr lang="hu-HU" sz="1800" dirty="0">
                <a:solidFill>
                  <a:srgbClr val="404040"/>
                </a:solidFill>
                <a:effectLst/>
                <a:highlight>
                  <a:srgbClr val="FFFF00"/>
                </a:highlight>
                <a:latin typeface="Liberation Serif"/>
                <a:ea typeface="SimSun" panose="02010600030101010101" pitchFamily="2" charset="-122"/>
                <a:cs typeface="Lohit Devanagari"/>
              </a:rPr>
              <a:t>[1]</a:t>
            </a:r>
            <a:r>
              <a:rPr lang="en-US" sz="1800" dirty="0">
                <a:solidFill>
                  <a:srgbClr val="404040"/>
                </a:solidFill>
                <a:effectLst/>
                <a:latin typeface="Liberation Serif"/>
                <a:ea typeface="SimSun" panose="02010600030101010101" pitchFamily="2" charset="-122"/>
                <a:cs typeface="Lohit Devanagari"/>
              </a:rPr>
              <a:t>. It offers an insight to the business logic of why customers will buy a product or service and how cooperation with partners benefits the business. It also provides a way to understand the different elements’ connections and interrelations to deliver the products or services a business offers. The nine building blocks are: Se PP slide. </a:t>
            </a:r>
          </a:p>
          <a:p>
            <a:endParaRPr lang="en-US" sz="1800" b="1" dirty="0">
              <a:solidFill>
                <a:srgbClr val="404040"/>
              </a:solidFill>
              <a:effectLst/>
              <a:latin typeface="Liberation Serif"/>
              <a:ea typeface="SimSun" panose="02010600030101010101" pitchFamily="2" charset="-122"/>
            </a:endParaRPr>
          </a:p>
          <a:p>
            <a:endParaRPr lang="en-US" sz="1800" b="1" dirty="0">
              <a:solidFill>
                <a:srgbClr val="404040"/>
              </a:solidFill>
              <a:effectLst/>
              <a:latin typeface="Liberation Serif"/>
              <a:ea typeface="SimSun" panose="02010600030101010101" pitchFamily="2" charset="-122"/>
            </a:endParaRPr>
          </a:p>
          <a:p>
            <a:r>
              <a:rPr lang="en-US" sz="1800" dirty="0">
                <a:effectLst/>
                <a:latin typeface="Arial" panose="020B0604020202020204" pitchFamily="34" charset="0"/>
                <a:ea typeface="Noto Sans CJK SC"/>
              </a:rPr>
              <a:t>[1]  </a:t>
            </a:r>
            <a:r>
              <a:rPr lang="en-US" sz="1800" u="none" strike="noStrike" dirty="0">
                <a:solidFill>
                  <a:srgbClr val="404040"/>
                </a:solidFill>
                <a:effectLst/>
                <a:latin typeface="Arial" panose="020B0604020202020204" pitchFamily="34" charset="0"/>
                <a:ea typeface="Noto Sans CJK SC"/>
                <a:cs typeface="Lohit Devanagari"/>
                <a:hlinkClick r:id="rId3"/>
              </a:rPr>
              <a:t>https://www.decisiondatabases.com/ip/27121-ceramic-frit-market-analysis-report</a:t>
            </a:r>
            <a:endParaRPr lang="sv-SE" sz="1800" b="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77787B-4A66-0142-903F-970ED53E63D2}"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2</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36051026"/>
      </p:ext>
    </p:extLst>
  </p:cSld>
  <p:clrMapOvr>
    <a:masterClrMapping/>
  </p:clrMapOvr>
</p:notes>
</file>

<file path=ppt/notesSlides/notesSlide2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solidFill>
                  <a:srgbClr val="404040"/>
                </a:solidFill>
                <a:effectLst/>
                <a:latin typeface="Liberation Serif"/>
                <a:ea typeface="Noto Sans CJK SC"/>
                <a:cs typeface="Arial" panose="020B0604020202020204" pitchFamily="34" charset="0"/>
              </a:rPr>
              <a:t>One of the key objectives of RETROFEED is to ensure the exploitation and commercialization of the knowledge and technical results obtained from the execution of the technical work packages in order to pave the way for the successful market uptake of RETROFEED in the industrial environment around Europe. </a:t>
            </a:r>
            <a:r>
              <a:rPr lang="en-US" sz="1800" dirty="0">
                <a:solidFill>
                  <a:srgbClr val="404040"/>
                </a:solidFill>
                <a:effectLst/>
                <a:latin typeface="Liberation Serif"/>
                <a:ea typeface="Noto Sans CJK SC"/>
                <a:cs typeface="Lohit Devanagari"/>
              </a:rPr>
              <a:t>These business models were developed to support the </a:t>
            </a:r>
            <a:r>
              <a:rPr lang="en-US" sz="1800" dirty="0" err="1">
                <a:solidFill>
                  <a:srgbClr val="404040"/>
                </a:solidFill>
                <a:effectLst/>
                <a:latin typeface="Liberation Serif"/>
                <a:ea typeface="Noto Sans CJK SC"/>
                <a:cs typeface="Lohit Devanagari"/>
              </a:rPr>
              <a:t>commercialisation</a:t>
            </a:r>
            <a:r>
              <a:rPr lang="en-US" sz="1800" dirty="0">
                <a:solidFill>
                  <a:srgbClr val="404040"/>
                </a:solidFill>
                <a:effectLst/>
                <a:latin typeface="Liberation Serif"/>
                <a:ea typeface="Noto Sans CJK SC"/>
                <a:cs typeface="Lohit Devanagari"/>
              </a:rPr>
              <a:t> of each individual project result. </a:t>
            </a:r>
            <a:r>
              <a:rPr lang="en-GB"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The deliverable focuses on Identifying the value proposition, i.e. products/services offered to the possible customer and the value they bring. The document also identifies the value proposition, cost structure and </a:t>
            </a:r>
            <a:r>
              <a:rPr lang="en-GB" sz="1800" dirty="0" err="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and</a:t>
            </a:r>
            <a:r>
              <a:rPr lang="en-GB"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the competition landscape and the characterisation of the configuration of the value creation. The Business Model Canvas method was applied to ensure the optimum exploitation of business opportunities and the associated business models for the exploitable results of RETROFEED.</a:t>
            </a:r>
            <a:endParaRPr lang="sv-SE"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endParaRPr>
          </a:p>
          <a:p>
            <a:endParaRPr lang="sv-SE" sz="1800" b="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77787B-4A66-0142-903F-970ED53E63D2}"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3</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70638132"/>
      </p:ext>
    </p:extLst>
  </p:cSld>
  <p:clrMapOvr>
    <a:masterClrMapping/>
  </p:clrMapOvr>
</p:notes>
</file>

<file path=ppt/notesSlides/notesSlide2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sz="1800" b="1" dirty="0" err="1"/>
              <a:t>Analysis</a:t>
            </a:r>
            <a:r>
              <a:rPr lang="sv-SE" sz="1800" b="1" dirty="0"/>
              <a:t> </a:t>
            </a:r>
            <a:r>
              <a:rPr lang="sv-SE" sz="1800" b="1" dirty="0" err="1"/>
              <a:t>of</a:t>
            </a:r>
            <a:r>
              <a:rPr lang="sv-SE" sz="1800" b="1" dirty="0"/>
              <a:t> the business </a:t>
            </a:r>
            <a:r>
              <a:rPr lang="sv-SE" sz="1800" b="1" dirty="0" err="1"/>
              <a:t>model</a:t>
            </a:r>
            <a:r>
              <a:rPr lang="sv-SE" sz="1800" b="1" dirty="0"/>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The business model of FERTIBERIA will include a third-party specialized company, INCRO, which is one of the leading Spanish engineering companies, providing a full range of engineering, procurement and construction services, particularly in lump sum turnkey projects. INCRO will be put in charge by FERTIBERIA of the technology transfer based on commercial </a:t>
            </a:r>
            <a:r>
              <a:rPr lang="en-GB" sz="1800" dirty="0" err="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transation</a:t>
            </a:r>
            <a:r>
              <a:rPr lang="en-GB"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to other plants that are producing bio-based phosphorus. It should ne noted that INCRO can only engage into commercialisation activities after the approval of FERTIBERIA and once a business deal is established, FERTIBERIA will automatically receive a certain percentage of INCRO's turnover. The other restriction that was initiate by FERTIBERIA is that the whenever the DSS will be applied to a new plant, the process cannot be done online because of security reasons. This is a very important aspect of the business model as INCRO also has direct access to FERTIBERIA laboratories and agreements with third parties to conduct research and testing of different processes / applications. This way FERTIBERIA will expand its customer base from agriculture to engineers who can use the Decision Support System and DSS developers in which the Digital Twin can be integrate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Result owners: FERTIBERIA and CIRCE</a:t>
            </a:r>
            <a:endParaRPr lang="sv-SE"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endParaRPr>
          </a:p>
          <a:p>
            <a:endParaRPr lang="sv-SE" sz="1800" b="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77787B-4A66-0142-903F-970ED53E63D2}"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4</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96590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a:t>In </a:t>
            </a:r>
            <a:r>
              <a:rPr lang="sv-SE" err="1"/>
              <a:t>this</a:t>
            </a:r>
            <a:r>
              <a:rPr lang="sv-SE"/>
              <a:t> </a:t>
            </a:r>
            <a:r>
              <a:rPr lang="sv-SE" err="1"/>
              <a:t>slide</a:t>
            </a:r>
            <a:r>
              <a:rPr lang="sv-SE"/>
              <a:t> the </a:t>
            </a:r>
            <a:r>
              <a:rPr lang="sv-SE" err="1"/>
              <a:t>concrete</a:t>
            </a:r>
            <a:r>
              <a:rPr lang="sv-SE"/>
              <a:t> actions </a:t>
            </a:r>
            <a:r>
              <a:rPr lang="sv-SE" err="1"/>
              <a:t>that</a:t>
            </a:r>
            <a:r>
              <a:rPr lang="sv-SE"/>
              <a:t> </a:t>
            </a:r>
            <a:r>
              <a:rPr lang="sv-SE" err="1"/>
              <a:t>was</a:t>
            </a:r>
            <a:r>
              <a:rPr lang="sv-SE"/>
              <a:t> taken by the different demo-sites </a:t>
            </a:r>
            <a:r>
              <a:rPr lang="sv-SE" err="1"/>
              <a:t>are</a:t>
            </a:r>
            <a:r>
              <a:rPr lang="sv-SE"/>
              <a:t> </a:t>
            </a:r>
            <a:r>
              <a:rPr lang="sv-SE" err="1"/>
              <a:t>described</a:t>
            </a:r>
            <a:r>
              <a:rPr lang="sv-SE"/>
              <a:t>. Not all actions </a:t>
            </a:r>
            <a:r>
              <a:rPr lang="sv-SE" err="1"/>
              <a:t>were</a:t>
            </a:r>
            <a:r>
              <a:rPr lang="sv-SE"/>
              <a:t> taken for </a:t>
            </a:r>
            <a:r>
              <a:rPr lang="sv-SE" err="1"/>
              <a:t>each</a:t>
            </a:r>
            <a:r>
              <a:rPr lang="sv-SE"/>
              <a:t> demosites, </a:t>
            </a:r>
            <a:r>
              <a:rPr lang="sv-SE" err="1"/>
              <a:t>but</a:t>
            </a:r>
            <a:r>
              <a:rPr lang="sv-SE"/>
              <a:t> all </a:t>
            </a:r>
            <a:r>
              <a:rPr lang="sv-SE" err="1"/>
              <a:t>of</a:t>
            </a:r>
            <a:r>
              <a:rPr lang="sv-SE"/>
              <a:t> the demosites </a:t>
            </a:r>
            <a:r>
              <a:rPr lang="sv-SE" err="1"/>
              <a:t>have</a:t>
            </a:r>
            <a:r>
              <a:rPr lang="sv-SE"/>
              <a:t> </a:t>
            </a:r>
            <a:r>
              <a:rPr lang="sv-SE" err="1"/>
              <a:t>improved</a:t>
            </a:r>
            <a:r>
              <a:rPr lang="sv-SE"/>
              <a:t> the </a:t>
            </a:r>
            <a:r>
              <a:rPr lang="sv-SE" err="1"/>
              <a:t>control</a:t>
            </a:r>
            <a:r>
              <a:rPr lang="sv-SE"/>
              <a:t> system and a decision support system/digital </a:t>
            </a:r>
            <a:r>
              <a:rPr lang="sv-SE" err="1"/>
              <a:t>twin</a:t>
            </a:r>
            <a:r>
              <a:rPr lang="sv-SE"/>
              <a:t> has </a:t>
            </a:r>
            <a:r>
              <a:rPr lang="sv-SE" err="1"/>
              <a:t>been</a:t>
            </a:r>
            <a:r>
              <a:rPr lang="sv-SE"/>
              <a:t> </a:t>
            </a:r>
            <a:r>
              <a:rPr lang="sv-SE" err="1"/>
              <a:t>developed</a:t>
            </a:r>
            <a:r>
              <a:rPr lang="sv-SE"/>
              <a:t> </a:t>
            </a:r>
            <a:r>
              <a:rPr lang="sv-SE" err="1"/>
              <a:t>within</a:t>
            </a:r>
            <a:r>
              <a:rPr lang="sv-SE"/>
              <a:t> the </a:t>
            </a:r>
            <a:r>
              <a:rPr lang="sv-SE" err="1"/>
              <a:t>project</a:t>
            </a:r>
            <a:r>
              <a:rPr lang="sv-SE"/>
              <a:t> for </a:t>
            </a:r>
            <a:r>
              <a:rPr lang="sv-SE" err="1"/>
              <a:t>each</a:t>
            </a:r>
            <a:r>
              <a:rPr lang="sv-SE"/>
              <a:t> demo-site. To get to </a:t>
            </a:r>
            <a:r>
              <a:rPr lang="sv-SE" err="1"/>
              <a:t>know</a:t>
            </a:r>
            <a:r>
              <a:rPr lang="sv-SE"/>
              <a:t> </a:t>
            </a:r>
            <a:r>
              <a:rPr lang="sv-SE" err="1"/>
              <a:t>what</a:t>
            </a:r>
            <a:r>
              <a:rPr lang="sv-SE"/>
              <a:t> </a:t>
            </a:r>
            <a:r>
              <a:rPr lang="sv-SE" err="1"/>
              <a:t>exact</a:t>
            </a:r>
            <a:r>
              <a:rPr lang="sv-SE"/>
              <a:t> actions </a:t>
            </a:r>
            <a:r>
              <a:rPr lang="sv-SE" err="1"/>
              <a:t>one</a:t>
            </a:r>
            <a:r>
              <a:rPr lang="sv-SE"/>
              <a:t> demo-site has taken </a:t>
            </a:r>
            <a:r>
              <a:rPr lang="sv-SE" err="1"/>
              <a:t>you</a:t>
            </a:r>
            <a:r>
              <a:rPr lang="sv-SE"/>
              <a:t> </a:t>
            </a:r>
            <a:r>
              <a:rPr lang="sv-SE" err="1"/>
              <a:t>will</a:t>
            </a:r>
            <a:r>
              <a:rPr lang="sv-SE"/>
              <a:t> get to </a:t>
            </a:r>
            <a:r>
              <a:rPr lang="sv-SE" err="1"/>
              <a:t>know</a:t>
            </a:r>
            <a:r>
              <a:rPr lang="sv-SE"/>
              <a:t> </a:t>
            </a:r>
            <a:r>
              <a:rPr lang="sv-SE" err="1"/>
              <a:t>this</a:t>
            </a:r>
            <a:r>
              <a:rPr lang="sv-SE"/>
              <a:t> in the </a:t>
            </a:r>
            <a:r>
              <a:rPr lang="sv-SE" err="1"/>
              <a:t>following</a:t>
            </a:r>
            <a:r>
              <a:rPr lang="sv-SE"/>
              <a:t> </a:t>
            </a:r>
            <a:r>
              <a:rPr lang="sv-SE" err="1"/>
              <a:t>subchapters</a:t>
            </a:r>
            <a:r>
              <a:rPr lang="sv-SE"/>
              <a:t> and in the </a:t>
            </a:r>
            <a:r>
              <a:rPr lang="sv-SE" err="1"/>
              <a:t>slide</a:t>
            </a:r>
            <a:r>
              <a:rPr lang="sv-SE"/>
              <a:t> ”</a:t>
            </a:r>
            <a:r>
              <a:rPr lang="sv-SE" err="1"/>
              <a:t>Overview</a:t>
            </a:r>
            <a:r>
              <a:rPr lang="sv-SE"/>
              <a:t> </a:t>
            </a:r>
            <a:r>
              <a:rPr lang="sv-SE" err="1"/>
              <a:t>of</a:t>
            </a:r>
            <a:r>
              <a:rPr lang="sv-SE"/>
              <a:t> demo-sites </a:t>
            </a:r>
            <a:r>
              <a:rPr lang="sv-SE" err="1"/>
              <a:t>retrofitting</a:t>
            </a:r>
            <a:r>
              <a:rPr lang="sv-SE"/>
              <a:t> solutions”. </a:t>
            </a:r>
          </a:p>
          <a:p>
            <a:endParaRPr lang="sv-SE"/>
          </a:p>
          <a:p>
            <a:endParaRPr lang="sv-SE"/>
          </a:p>
          <a:p>
            <a:endParaRPr lang="sv-SE"/>
          </a:p>
          <a:p>
            <a:endParaRPr lang="sv-SE"/>
          </a:p>
        </p:txBody>
      </p:sp>
      <p:sp>
        <p:nvSpPr>
          <p:cNvPr id="4" name="Slide Number Placeholder 3"/>
          <p:cNvSpPr>
            <a:spLocks noGrp="1"/>
          </p:cNvSpPr>
          <p:nvPr>
            <p:ph type="sldNum" sz="quarter" idx="5"/>
          </p:nvPr>
        </p:nvSpPr>
        <p:spPr/>
        <p:txBody>
          <a:bodyPr/>
          <a:lstStyle/>
          <a:p>
            <a:fld id="{F84DB91F-1AD8-437C-8866-3636784D0854}" type="slidenum">
              <a:rPr lang="en-GB" smtClean="0"/>
              <a:t>25</a:t>
            </a:fld>
            <a:endParaRPr lang="en-GB"/>
          </a:p>
        </p:txBody>
      </p:sp>
    </p:spTree>
    <p:extLst>
      <p:ext uri="{BB962C8B-B14F-4D97-AF65-F5344CB8AC3E}">
        <p14:creationId xmlns:p14="http://schemas.microsoft.com/office/powerpoint/2010/main" val="2843839393"/>
      </p:ext>
    </p:extLst>
  </p:cSld>
  <p:clrMapOvr>
    <a:masterClrMapping/>
  </p:clrMapOvr>
</p:notes>
</file>

<file path=ppt/notesSlides/notesSlide2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sz="1800" b="1" dirty="0" err="1"/>
              <a:t>Analysis</a:t>
            </a:r>
            <a:r>
              <a:rPr lang="sv-SE" sz="1800" b="1" dirty="0"/>
              <a:t> </a:t>
            </a:r>
            <a:r>
              <a:rPr lang="sv-SE" sz="1800" b="1" dirty="0" err="1"/>
              <a:t>of</a:t>
            </a:r>
            <a:r>
              <a:rPr lang="sv-SE" sz="1800" b="1" dirty="0"/>
              <a:t> the business </a:t>
            </a:r>
            <a:r>
              <a:rPr lang="sv-SE" sz="1800" b="1" dirty="0" err="1"/>
              <a:t>model</a:t>
            </a:r>
            <a:r>
              <a:rPr lang="sv-SE" sz="1800" b="1" dirty="0"/>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The proposed business model by CSM and FENO is based on the automation and </a:t>
            </a:r>
            <a:r>
              <a:rPr lang="en-GB" sz="1800" dirty="0" err="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intergration</a:t>
            </a:r>
            <a:r>
              <a:rPr lang="en-GB"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service needed for the management of the material for the utilization of the burner and the injectors in the heavy industry, not necessarily exclusively in the steel sector. CSM and FENO will be electric arc furnace (EAF) service providers to other players in the steel making sectors and also in other sectors for possible customers that are in need of an </a:t>
            </a:r>
            <a:r>
              <a:rPr lang="en-GB" sz="1800" dirty="0" err="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industral</a:t>
            </a:r>
            <a:r>
              <a:rPr lang="en-GB"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burner. The service provision business model will also cover IT engineering fees for the inclusion of cyber-security protocols in the service portfolio.</a:t>
            </a:r>
            <a:endParaRPr lang="sv-SE"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Result owners: </a:t>
            </a:r>
            <a:r>
              <a:rPr lang="en-GB" sz="1800" kern="0" dirty="0">
                <a:effectLst/>
                <a:latin typeface="Arial" panose="020B0604020202020204" pitchFamily="34" charset="0"/>
                <a:ea typeface="Times New Roman" panose="02020603050405020304" pitchFamily="18" charset="0"/>
              </a:rPr>
              <a:t>CSM, FENO, HTT, SILCOTUB</a:t>
            </a:r>
            <a:endParaRPr lang="sv-SE" sz="1800" b="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77787B-4A66-0142-903F-970ED53E63D2}"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5</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34105277"/>
      </p:ext>
    </p:extLst>
  </p:cSld>
  <p:clrMapOvr>
    <a:masterClrMapping/>
  </p:clrMapOvr>
</p:notes>
</file>

<file path=ppt/notesSlides/notesSlide2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sz="1800" b="1" dirty="0" err="1"/>
              <a:t>Analysis</a:t>
            </a:r>
            <a:r>
              <a:rPr lang="sv-SE" sz="1800" b="1" dirty="0"/>
              <a:t> </a:t>
            </a:r>
            <a:r>
              <a:rPr lang="sv-SE" sz="1800" b="1" dirty="0" err="1"/>
              <a:t>of</a:t>
            </a:r>
            <a:r>
              <a:rPr lang="sv-SE" sz="1800" b="1" dirty="0"/>
              <a:t> the business </a:t>
            </a:r>
            <a:r>
              <a:rPr lang="sv-SE" sz="1800" b="1" dirty="0" err="1"/>
              <a:t>model</a:t>
            </a:r>
            <a:r>
              <a:rPr lang="sv-SE" sz="1800" b="1" dirty="0"/>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Result owners:</a:t>
            </a:r>
            <a:endParaRPr lang="sv-SE" sz="1800" b="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77787B-4A66-0142-903F-970ED53E63D2}"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6</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50369134"/>
      </p:ext>
    </p:extLst>
  </p:cSld>
  <p:clrMapOvr>
    <a:masterClrMapping/>
  </p:clrMapOvr>
</p:notes>
</file>

<file path=ppt/notesSlides/notesSlide2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00" dirty="0">
                <a:solidFill>
                  <a:srgbClr val="404040"/>
                </a:solidFill>
                <a:effectLst/>
                <a:latin typeface="Calibri" panose="020F0502020204030204" pitchFamily="34" charset="0"/>
                <a:ea typeface="Noto Sans CJK SC"/>
                <a:cs typeface="Lohit Devanagari"/>
              </a:rPr>
              <a:t>The business model canvas is a very useful template to summarize the main aspects that define the key features of any entrepreneurial activity in a very concise form. The following table shows the RETROFEED offering and business plan using this standard.  </a:t>
            </a:r>
            <a:endParaRPr lang="sv-SE" sz="1800" b="0" kern="100" dirty="0">
              <a:solidFill>
                <a:srgbClr val="404040"/>
              </a:solidFill>
              <a:effectLst/>
              <a:latin typeface="Liberation Serif"/>
              <a:ea typeface="Noto Sans CJK SC"/>
              <a:cs typeface="Lohit Devanaga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sv-SE" sz="1800" b="0" kern="100" dirty="0">
              <a:solidFill>
                <a:srgbClr val="404040"/>
              </a:solidFill>
              <a:effectLst/>
              <a:latin typeface="Liberation Serif"/>
              <a:ea typeface="Times New Roman" panose="02020603050405020304" pitchFamily="18" charset="0"/>
              <a:cs typeface="Mangal" panose="02040503050203030202"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kern="100" dirty="0">
                <a:solidFill>
                  <a:srgbClr val="CC0033"/>
                </a:solidFill>
                <a:effectLst/>
                <a:latin typeface="Arial" panose="020B0604020202020204" pitchFamily="34" charset="0"/>
                <a:ea typeface="Times New Roman" panose="02020603050405020304" pitchFamily="18" charset="0"/>
                <a:cs typeface="Mangal" panose="02040503050203030202" pitchFamily="18" charset="0"/>
              </a:rPr>
              <a:t>General overview and RETROFEED delivery model </a:t>
            </a:r>
          </a:p>
          <a:p>
            <a:pPr>
              <a:spcAft>
                <a:spcPts val="600"/>
              </a:spcAft>
            </a:pPr>
            <a:r>
              <a:rPr lang="en-US" sz="1800" kern="100" dirty="0">
                <a:solidFill>
                  <a:srgbClr val="404040"/>
                </a:solidFill>
                <a:effectLst/>
                <a:latin typeface="Calibri" panose="020F0502020204030204" pitchFamily="34" charset="0"/>
                <a:ea typeface="Noto Sans CJK SC"/>
                <a:cs typeface="Lohit Devanagari"/>
              </a:rPr>
              <a:t>The tool is considered to have reached a general TRL 6, having been applied in relevant environments represented by the 6 use cases. </a:t>
            </a:r>
            <a:endParaRPr lang="sv-SE" sz="1800" kern="100" dirty="0">
              <a:solidFill>
                <a:srgbClr val="404040"/>
              </a:solidFill>
              <a:effectLst/>
              <a:latin typeface="Liberation Serif"/>
              <a:ea typeface="Noto Sans CJK SC"/>
              <a:cs typeface="Lohit Devanagari"/>
            </a:endParaRPr>
          </a:p>
          <a:p>
            <a:pPr>
              <a:spcAft>
                <a:spcPts val="600"/>
              </a:spcAft>
            </a:pPr>
            <a:r>
              <a:rPr lang="en-US" sz="1800" kern="100" dirty="0">
                <a:solidFill>
                  <a:srgbClr val="404040"/>
                </a:solidFill>
                <a:effectLst/>
                <a:latin typeface="Calibri" panose="020F0502020204030204" pitchFamily="34" charset="0"/>
                <a:ea typeface="Noto Sans CJK SC"/>
                <a:cs typeface="Lohit Devanagari"/>
              </a:rPr>
              <a:t>The delivery model designed for the RETROFEED exploitation builds on a long-lasting experience of </a:t>
            </a:r>
            <a:r>
              <a:rPr lang="en-US" sz="1800" kern="100" dirty="0" err="1">
                <a:solidFill>
                  <a:srgbClr val="404040"/>
                </a:solidFill>
                <a:effectLst/>
                <a:latin typeface="Calibri" panose="020F0502020204030204" pitchFamily="34" charset="0"/>
                <a:ea typeface="Noto Sans CJK SC"/>
                <a:cs typeface="Lohit Devanagari"/>
              </a:rPr>
              <a:t>Optit</a:t>
            </a:r>
            <a:r>
              <a:rPr lang="en-US" sz="1800" kern="100" dirty="0">
                <a:solidFill>
                  <a:srgbClr val="404040"/>
                </a:solidFill>
                <a:effectLst/>
                <a:latin typeface="Calibri" panose="020F0502020204030204" pitchFamily="34" charset="0"/>
                <a:ea typeface="Noto Sans CJK SC"/>
                <a:cs typeface="Lohit Devanagari"/>
              </a:rPr>
              <a:t> in delivering cloud-based Decision Support Systems in a variety of industries and can be described as</a:t>
            </a:r>
            <a:r>
              <a:rPr lang="en-US" sz="1800" b="1" kern="100" dirty="0">
                <a:solidFill>
                  <a:srgbClr val="404040"/>
                </a:solidFill>
                <a:effectLst/>
                <a:latin typeface="Calibri" panose="020F0502020204030204" pitchFamily="34" charset="0"/>
                <a:ea typeface="Noto Sans CJK SC"/>
                <a:cs typeface="Lohit Devanagari"/>
              </a:rPr>
              <a:t> System Setup + SaaS delivery</a:t>
            </a:r>
            <a:r>
              <a:rPr lang="en-US" sz="1800" kern="100" dirty="0">
                <a:solidFill>
                  <a:srgbClr val="404040"/>
                </a:solidFill>
                <a:effectLst/>
                <a:latin typeface="Calibri" panose="020F0502020204030204" pitchFamily="34" charset="0"/>
                <a:ea typeface="Noto Sans CJK SC"/>
                <a:cs typeface="Lohit Devanagari"/>
              </a:rPr>
              <a:t>. Specialized consultants and advisors (mostly provided by </a:t>
            </a:r>
            <a:r>
              <a:rPr lang="en-US" sz="1800" kern="100" dirty="0" err="1">
                <a:solidFill>
                  <a:srgbClr val="404040"/>
                </a:solidFill>
                <a:effectLst/>
                <a:latin typeface="Calibri" panose="020F0502020204030204" pitchFamily="34" charset="0"/>
                <a:ea typeface="Noto Sans CJK SC"/>
                <a:cs typeface="Lohit Devanagari"/>
              </a:rPr>
              <a:t>Optit</a:t>
            </a:r>
            <a:r>
              <a:rPr lang="en-US" sz="1800" kern="100" dirty="0">
                <a:solidFill>
                  <a:srgbClr val="404040"/>
                </a:solidFill>
                <a:effectLst/>
                <a:latin typeface="Calibri" panose="020F0502020204030204" pitchFamily="34" charset="0"/>
                <a:ea typeface="Noto Sans CJK SC"/>
                <a:cs typeface="Lohit Devanagari"/>
              </a:rPr>
              <a:t> and the RTDs) will develop and deploy solutions to setup the system, based on a </a:t>
            </a:r>
            <a:r>
              <a:rPr lang="en-US" sz="1800" b="1" kern="100" dirty="0">
                <a:solidFill>
                  <a:srgbClr val="404040"/>
                </a:solidFill>
                <a:effectLst/>
                <a:latin typeface="Calibri" panose="020F0502020204030204" pitchFamily="34" charset="0"/>
                <a:ea typeface="Noto Sans CJK SC"/>
                <a:cs typeface="Lohit Devanagari"/>
              </a:rPr>
              <a:t>consulting</a:t>
            </a:r>
            <a:r>
              <a:rPr lang="en-US" sz="1800" kern="100" dirty="0">
                <a:solidFill>
                  <a:srgbClr val="404040"/>
                </a:solidFill>
                <a:effectLst/>
                <a:latin typeface="Calibri" panose="020F0502020204030204" pitchFamily="34" charset="0"/>
                <a:ea typeface="Noto Sans CJK SC"/>
                <a:cs typeface="Lohit Devanagari"/>
              </a:rPr>
              <a:t> approach, where the RETROFEED DSS is used as enabling platform in order to solve clients’ problems and meet their goals.</a:t>
            </a:r>
            <a:endParaRPr lang="sv-SE" sz="1800" kern="100" dirty="0">
              <a:solidFill>
                <a:srgbClr val="404040"/>
              </a:solidFill>
              <a:effectLst/>
              <a:latin typeface="Liberation Serif"/>
              <a:ea typeface="Noto Sans CJK SC"/>
              <a:cs typeface="Lohit Devanagari"/>
            </a:endParaRPr>
          </a:p>
          <a:p>
            <a:pPr>
              <a:spcAft>
                <a:spcPts val="600"/>
              </a:spcAft>
            </a:pPr>
            <a:r>
              <a:rPr lang="en-US" sz="1800" kern="100" dirty="0">
                <a:solidFill>
                  <a:srgbClr val="404040"/>
                </a:solidFill>
                <a:effectLst/>
                <a:latin typeface="Calibri" panose="020F0502020204030204" pitchFamily="34" charset="0"/>
                <a:ea typeface="Noto Sans CJK SC"/>
                <a:cs typeface="Lohit Devanagari"/>
              </a:rPr>
              <a:t>This type of business model ensures that the very delicate early phases of, systems integrations, data collection and preparation can be managed by skilled resources capable of managing diverse starting points (for instance in terms of data availability and reliability) and ensures that customizations can be applied to the models, in case this is required to respond to the end users’ specific needs. After the initial setup, a </a:t>
            </a:r>
            <a:r>
              <a:rPr lang="en-US" sz="1800" b="1" kern="100" dirty="0">
                <a:solidFill>
                  <a:srgbClr val="404040"/>
                </a:solidFill>
                <a:effectLst/>
                <a:latin typeface="Calibri" panose="020F0502020204030204" pitchFamily="34" charset="0"/>
                <a:ea typeface="Noto Sans CJK SC"/>
                <a:cs typeface="Lohit Devanagari"/>
              </a:rPr>
              <a:t>Software as a Service (SaaS) agreement </a:t>
            </a:r>
            <a:r>
              <a:rPr lang="en-US" sz="1800" kern="100" dirty="0">
                <a:solidFill>
                  <a:srgbClr val="404040"/>
                </a:solidFill>
                <a:effectLst/>
                <a:latin typeface="Calibri" panose="020F0502020204030204" pitchFamily="34" charset="0"/>
                <a:ea typeface="Noto Sans CJK SC"/>
                <a:cs typeface="Lohit Devanagari"/>
              </a:rPr>
              <a:t>will be offered to the customers, to run simulations (single batch or production plans), review results and monitor the process. Maintenance and support will be guaranteed for the duration of the agreement. </a:t>
            </a:r>
            <a:endParaRPr lang="sv-SE" sz="1800" kern="100" dirty="0">
              <a:solidFill>
                <a:srgbClr val="404040"/>
              </a:solidFill>
              <a:effectLst/>
              <a:latin typeface="Liberation Serif"/>
              <a:ea typeface="Noto Sans CJK SC"/>
              <a:cs typeface="Lohit Devanagari"/>
            </a:endParaRPr>
          </a:p>
          <a:p>
            <a:pPr>
              <a:spcAft>
                <a:spcPts val="600"/>
              </a:spcAft>
            </a:pPr>
            <a:r>
              <a:rPr lang="en-US" sz="1800" kern="100" dirty="0">
                <a:solidFill>
                  <a:srgbClr val="404040"/>
                </a:solidFill>
                <a:effectLst/>
                <a:latin typeface="Calibri" panose="020F0502020204030204" pitchFamily="34" charset="0"/>
                <a:ea typeface="Noto Sans CJK SC"/>
                <a:cs typeface="Lohit Devanagari"/>
              </a:rPr>
              <a:t>The actual scope, duration and functional coverage of the tool is expected to grow in time, as the value proposition expands and consolidates, providing interesting perspectives to early adopters and future up-selling opportunities.</a:t>
            </a:r>
            <a:endParaRPr lang="sv-SE" sz="1800" kern="100" dirty="0">
              <a:solidFill>
                <a:srgbClr val="404040"/>
              </a:solidFill>
              <a:effectLst/>
              <a:latin typeface="Liberation Serif"/>
              <a:ea typeface="Noto Sans CJK SC"/>
              <a:cs typeface="Lohit Devanagari"/>
            </a:endParaRPr>
          </a:p>
          <a:p>
            <a:pPr>
              <a:spcAft>
                <a:spcPts val="600"/>
              </a:spcAft>
            </a:pPr>
            <a:r>
              <a:rPr lang="en-US" sz="1800" kern="100" dirty="0">
                <a:solidFill>
                  <a:srgbClr val="404040"/>
                </a:solidFill>
                <a:effectLst/>
                <a:latin typeface="Calibri" panose="020F0502020204030204" pitchFamily="34" charset="0"/>
                <a:ea typeface="Noto Sans CJK SC"/>
                <a:cs typeface="Lohit Devanagari"/>
              </a:rPr>
              <a:t>For clarity, we assume that hardware and sensors design, production and installation (including connectivity of field data to monitoring systems) is already in place. </a:t>
            </a:r>
            <a:r>
              <a:rPr lang="en-US" sz="1800" kern="100" dirty="0" err="1">
                <a:solidFill>
                  <a:srgbClr val="404040"/>
                </a:solidFill>
                <a:effectLst/>
                <a:latin typeface="Calibri" panose="020F0502020204030204" pitchFamily="34" charset="0"/>
                <a:ea typeface="Noto Sans CJK SC"/>
                <a:cs typeface="Lohit Devanagari"/>
              </a:rPr>
              <a:t>Optit</a:t>
            </a:r>
            <a:r>
              <a:rPr lang="en-US" sz="1800" kern="100" dirty="0">
                <a:solidFill>
                  <a:srgbClr val="404040"/>
                </a:solidFill>
                <a:effectLst/>
                <a:latin typeface="Calibri" panose="020F0502020204030204" pitchFamily="34" charset="0"/>
                <a:ea typeface="Noto Sans CJK SC"/>
                <a:cs typeface="Lohit Devanagari"/>
              </a:rPr>
              <a:t> scope may include (support to) system integration.  </a:t>
            </a:r>
            <a:endParaRPr lang="sv-SE" sz="1800" kern="100" dirty="0">
              <a:solidFill>
                <a:srgbClr val="404040"/>
              </a:solidFill>
              <a:effectLst/>
              <a:latin typeface="Liberation Serif"/>
              <a:ea typeface="Noto Sans CJK SC"/>
              <a:cs typeface="Lohit Devanaga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sv-SE" sz="1800" kern="100" dirty="0">
              <a:solidFill>
                <a:srgbClr val="404040"/>
              </a:solidFill>
              <a:effectLst/>
              <a:latin typeface="Liberation Serif"/>
              <a:ea typeface="Noto Sans CJK SC"/>
              <a:cs typeface="Lohit Devanaga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77787B-4A66-0142-903F-970ED53E63D2}"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7</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802254"/>
      </p:ext>
    </p:extLst>
  </p:cSld>
  <p:clrMapOvr>
    <a:masterClrMapping/>
  </p:clrMapOvr>
</p:notes>
</file>

<file path=ppt/notesSlides/notesSlide2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00" dirty="0">
                <a:solidFill>
                  <a:srgbClr val="404040"/>
                </a:solidFill>
                <a:effectLst/>
                <a:latin typeface="Calibri" panose="020F0502020204030204" pitchFamily="34" charset="0"/>
                <a:ea typeface="Noto Sans CJK SC"/>
                <a:cs typeface="Lohit Devanagari"/>
              </a:rPr>
              <a:t>A RETROFEED typical project can be carried following the process summarized in the following diagram. </a:t>
            </a:r>
            <a:endParaRPr lang="sv-SE" sz="1800" kern="100" dirty="0">
              <a:solidFill>
                <a:srgbClr val="404040"/>
              </a:solidFill>
              <a:effectLst/>
              <a:latin typeface="Liberation Serif"/>
              <a:ea typeface="Noto Sans CJK SC"/>
              <a:cs typeface="Lohit Devanaga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sv-SE" sz="1800" kern="100" dirty="0">
              <a:solidFill>
                <a:srgbClr val="404040"/>
              </a:solidFill>
              <a:effectLst/>
              <a:latin typeface="Liberation Serif"/>
              <a:ea typeface="Noto Sans CJK SC"/>
              <a:cs typeface="Lohit Devanagari"/>
            </a:endParaRPr>
          </a:p>
          <a:p>
            <a:pPr>
              <a:spcAft>
                <a:spcPts val="600"/>
              </a:spcAft>
            </a:pPr>
            <a:r>
              <a:rPr lang="en-US" sz="1800" kern="100" dirty="0">
                <a:solidFill>
                  <a:srgbClr val="404040"/>
                </a:solidFill>
                <a:effectLst/>
                <a:latin typeface="Calibri" panose="020F0502020204030204" pitchFamily="34" charset="0"/>
                <a:ea typeface="Noto Sans CJK SC"/>
                <a:cs typeface="Lohit Devanagari"/>
              </a:rPr>
              <a:t>As already outlined, a core project is consulting based, with the capacity to provide direct use of the tool to the final user/customer in the final phases and, where of interest, the activation of a SaaS fee to retain ongoing capacity to access the tool, visualize solutions in detail and, in perspective, run autonomously analyses.</a:t>
            </a:r>
            <a:endParaRPr lang="sv-SE" sz="1800" kern="100" dirty="0">
              <a:solidFill>
                <a:srgbClr val="404040"/>
              </a:solidFill>
              <a:effectLst/>
              <a:latin typeface="Liberation Serif"/>
              <a:ea typeface="Noto Sans CJK SC"/>
              <a:cs typeface="Lohit Devanagari"/>
            </a:endParaRPr>
          </a:p>
          <a:p>
            <a:pPr>
              <a:spcAft>
                <a:spcPts val="600"/>
              </a:spcAft>
            </a:pPr>
            <a:r>
              <a:rPr lang="en-US" sz="1800" kern="100" dirty="0">
                <a:solidFill>
                  <a:srgbClr val="404040"/>
                </a:solidFill>
                <a:effectLst/>
                <a:latin typeface="Calibri" panose="020F0502020204030204" pitchFamily="34" charset="0"/>
                <a:ea typeface="Noto Sans CJK SC"/>
                <a:cs typeface="Lohit Devanagari"/>
              </a:rPr>
              <a:t>In detail, we expect the project to be structured around the following phases:</a:t>
            </a:r>
          </a:p>
          <a:p>
            <a:pPr>
              <a:spcAft>
                <a:spcPts val="600"/>
              </a:spcAft>
            </a:pPr>
            <a:endParaRPr lang="sv-SE" sz="1800" kern="100" dirty="0">
              <a:solidFill>
                <a:srgbClr val="404040"/>
              </a:solidFill>
              <a:effectLst/>
              <a:latin typeface="Liberation Serif"/>
              <a:ea typeface="Noto Sans CJK SC"/>
              <a:cs typeface="Lohit Devanagari"/>
            </a:endParaRPr>
          </a:p>
          <a:p>
            <a:pPr marL="228600" indent="-228600" algn="just"/>
            <a:r>
              <a:rPr lang="en-GB" sz="1800" b="1" i="1" kern="0" dirty="0">
                <a:solidFill>
                  <a:srgbClr val="404040"/>
                </a:solidFill>
                <a:effectLst/>
                <a:latin typeface="Calibri" panose="020F0502020204030204" pitchFamily="34" charset="0"/>
                <a:ea typeface="Times New Roman" panose="02020603050405020304" pitchFamily="18" charset="0"/>
                <a:cs typeface="Lohit Devanagari"/>
              </a:rPr>
              <a:t>Initial set-up and analysis</a:t>
            </a:r>
            <a:endParaRPr lang="sv-SE" sz="1800" b="1" i="1" kern="100" dirty="0">
              <a:solidFill>
                <a:srgbClr val="404040"/>
              </a:solidFill>
              <a:effectLst/>
              <a:latin typeface="Liberation Serif"/>
              <a:ea typeface="Noto Sans CJK SC"/>
              <a:cs typeface="Lohit Devanagari"/>
            </a:endParaRPr>
          </a:p>
          <a:p>
            <a:pPr>
              <a:spcAft>
                <a:spcPts val="600"/>
              </a:spcAft>
            </a:pPr>
            <a:r>
              <a:rPr lang="en-US" sz="1800" kern="100" dirty="0">
                <a:solidFill>
                  <a:srgbClr val="404040"/>
                </a:solidFill>
                <a:effectLst/>
                <a:latin typeface="Calibri" panose="020F0502020204030204" pitchFamily="34" charset="0"/>
                <a:ea typeface="Noto Sans CJK SC"/>
                <a:cs typeface="Lohit Devanagari"/>
              </a:rPr>
              <a:t>Together with a kick-off meeting, where key assumptions, rules of engagement, project plan and team member presentation will be shared with the customer references, the objectives, scenarios of interests and key business issues will be discussed, based on what was already shared during the preparation of the proposal, to ensure that correct expectation are shared amongst all project participants and identify eventual elements on the critical path.</a:t>
            </a:r>
          </a:p>
          <a:p>
            <a:pPr>
              <a:spcAft>
                <a:spcPts val="600"/>
              </a:spcAft>
            </a:pPr>
            <a:r>
              <a:rPr lang="en-US" sz="1800" kern="100" dirty="0">
                <a:solidFill>
                  <a:srgbClr val="404040"/>
                </a:solidFill>
                <a:effectLst/>
                <a:latin typeface="Calibri" panose="020F0502020204030204" pitchFamily="34" charset="0"/>
                <a:ea typeface="Noto Sans CJK SC"/>
                <a:cs typeface="Lohit Devanagari"/>
              </a:rPr>
              <a:t> </a:t>
            </a:r>
            <a:endParaRPr lang="sv-SE" sz="1800" kern="100" dirty="0">
              <a:solidFill>
                <a:srgbClr val="404040"/>
              </a:solidFill>
              <a:effectLst/>
              <a:latin typeface="Liberation Serif"/>
              <a:ea typeface="Noto Sans CJK SC"/>
              <a:cs typeface="Lohit Devanagari"/>
            </a:endParaRPr>
          </a:p>
          <a:p>
            <a:pPr>
              <a:spcAft>
                <a:spcPts val="600"/>
              </a:spcAft>
            </a:pPr>
            <a:r>
              <a:rPr lang="en-US" sz="1800" kern="100" dirty="0">
                <a:solidFill>
                  <a:srgbClr val="404040"/>
                </a:solidFill>
                <a:effectLst/>
                <a:latin typeface="Calibri" panose="020F0502020204030204" pitchFamily="34" charset="0"/>
                <a:ea typeface="Noto Sans CJK SC"/>
                <a:cs typeface="Lohit Devanagari"/>
              </a:rPr>
              <a:t>Data availability and quality is invariably a significant challenge on such projects, and each source of data and means of retrieval will be defined in specific terms, integrating data from public or open sources, datasets already available to one of the consortium partners and customer specific data to be provided to the project team, specifying data definition, informative content, exchange templates and means for sharing. This process may highlight needs for ETL (Extraction, Transformation and Loading) requirements, that will be integrated in the project </a:t>
            </a:r>
            <a:r>
              <a:rPr lang="en-US" sz="1800" kern="100" dirty="0" err="1">
                <a:solidFill>
                  <a:srgbClr val="404040"/>
                </a:solidFill>
                <a:effectLst/>
                <a:latin typeface="Calibri" panose="020F0502020204030204" pitchFamily="34" charset="0"/>
                <a:ea typeface="Noto Sans CJK SC"/>
                <a:cs typeface="Lohit Devanagari"/>
              </a:rPr>
              <a:t>plan.This</a:t>
            </a:r>
            <a:r>
              <a:rPr lang="en-US" sz="1800" kern="100" dirty="0">
                <a:solidFill>
                  <a:srgbClr val="404040"/>
                </a:solidFill>
                <a:effectLst/>
                <a:latin typeface="Calibri" panose="020F0502020204030204" pitchFamily="34" charset="0"/>
                <a:ea typeface="Noto Sans CJK SC"/>
                <a:cs typeface="Lohit Devanagari"/>
              </a:rPr>
              <a:t> project task will be usually performed by the RTDs together with </a:t>
            </a:r>
            <a:r>
              <a:rPr lang="en-US" sz="1800" kern="100" dirty="0" err="1">
                <a:solidFill>
                  <a:srgbClr val="404040"/>
                </a:solidFill>
                <a:effectLst/>
                <a:latin typeface="Calibri" panose="020F0502020204030204" pitchFamily="34" charset="0"/>
                <a:ea typeface="Noto Sans CJK SC"/>
                <a:cs typeface="Lohit Devanagari"/>
              </a:rPr>
              <a:t>Optit</a:t>
            </a:r>
            <a:r>
              <a:rPr lang="en-US" sz="1800" kern="100" dirty="0">
                <a:solidFill>
                  <a:srgbClr val="404040"/>
                </a:solidFill>
                <a:effectLst/>
                <a:latin typeface="Calibri" panose="020F0502020204030204" pitchFamily="34" charset="0"/>
                <a:ea typeface="Noto Sans CJK SC"/>
                <a:cs typeface="Lohit Devanagari"/>
              </a:rPr>
              <a:t> for the digital section. </a:t>
            </a:r>
          </a:p>
          <a:p>
            <a:pPr>
              <a:spcAft>
                <a:spcPts val="600"/>
              </a:spcAft>
            </a:pPr>
            <a:endParaRPr lang="sv-SE" sz="1800" kern="100" dirty="0">
              <a:solidFill>
                <a:srgbClr val="404040"/>
              </a:solidFill>
              <a:effectLst/>
              <a:latin typeface="Liberation Serif"/>
              <a:ea typeface="Noto Sans CJK SC"/>
              <a:cs typeface="Lohit Devanagari"/>
            </a:endParaRPr>
          </a:p>
          <a:p>
            <a:pPr marL="228600" indent="-228600" algn="just"/>
            <a:r>
              <a:rPr lang="en-GB" sz="1800" b="1" i="1" kern="0" dirty="0">
                <a:solidFill>
                  <a:srgbClr val="404040"/>
                </a:solidFill>
                <a:effectLst/>
                <a:latin typeface="Calibri" panose="020F0502020204030204" pitchFamily="34" charset="0"/>
                <a:ea typeface="Times New Roman" panose="02020603050405020304" pitchFamily="18" charset="0"/>
                <a:cs typeface="Lohit Devanagari"/>
              </a:rPr>
              <a:t>Data Collection and Analysis</a:t>
            </a:r>
            <a:endParaRPr lang="sv-SE" sz="1800" b="1" i="1" kern="100" dirty="0">
              <a:solidFill>
                <a:srgbClr val="404040"/>
              </a:solidFill>
              <a:effectLst/>
              <a:latin typeface="Liberation Serif"/>
              <a:ea typeface="Noto Sans CJK SC"/>
              <a:cs typeface="Lohit Devanagari"/>
            </a:endParaRPr>
          </a:p>
          <a:p>
            <a:pPr>
              <a:spcAft>
                <a:spcPts val="600"/>
              </a:spcAft>
            </a:pPr>
            <a:r>
              <a:rPr lang="en-US" sz="1800" kern="100" dirty="0">
                <a:solidFill>
                  <a:srgbClr val="404040"/>
                </a:solidFill>
                <a:effectLst/>
                <a:latin typeface="Calibri" panose="020F0502020204030204" pitchFamily="34" charset="0"/>
                <a:ea typeface="Noto Sans CJK SC"/>
                <a:cs typeface="Lohit Devanagari"/>
              </a:rPr>
              <a:t>Once data starts to be available, it will typically be object of a series of analysis to ensure its compliance with standards and requirements, triggering activities to ensure eventual gaps are overcome. Data formatting and normalization may be performed, together with the generation or elaboration of data preparation procedures that are not part of the engineered platform.</a:t>
            </a:r>
            <a:endParaRPr lang="sv-SE" sz="1800" kern="100" dirty="0">
              <a:solidFill>
                <a:srgbClr val="404040"/>
              </a:solidFill>
              <a:effectLst/>
              <a:latin typeface="Liberation Serif"/>
              <a:ea typeface="Noto Sans CJK SC"/>
              <a:cs typeface="Lohit Devanagari"/>
            </a:endParaRPr>
          </a:p>
          <a:p>
            <a:pPr>
              <a:spcAft>
                <a:spcPts val="600"/>
              </a:spcAft>
            </a:pPr>
            <a:r>
              <a:rPr lang="en-US" sz="1800" kern="100" dirty="0">
                <a:solidFill>
                  <a:srgbClr val="404040"/>
                </a:solidFill>
                <a:effectLst/>
                <a:latin typeface="Calibri" panose="020F0502020204030204" pitchFamily="34" charset="0"/>
                <a:ea typeface="Noto Sans CJK SC"/>
                <a:cs typeface="Lohit Devanagari"/>
              </a:rPr>
              <a:t>Model developers (RTDs and </a:t>
            </a:r>
            <a:r>
              <a:rPr lang="en-US" sz="1800" kern="100" dirty="0" err="1">
                <a:solidFill>
                  <a:srgbClr val="404040"/>
                </a:solidFill>
                <a:effectLst/>
                <a:latin typeface="Calibri" panose="020F0502020204030204" pitchFamily="34" charset="0"/>
                <a:ea typeface="Noto Sans CJK SC"/>
                <a:cs typeface="Lohit Devanagari"/>
              </a:rPr>
              <a:t>Optit</a:t>
            </a:r>
            <a:r>
              <a:rPr lang="en-US" sz="1800" kern="100" dirty="0">
                <a:solidFill>
                  <a:srgbClr val="404040"/>
                </a:solidFill>
                <a:effectLst/>
                <a:latin typeface="Calibri" panose="020F0502020204030204" pitchFamily="34" charset="0"/>
                <a:ea typeface="Noto Sans CJK SC"/>
                <a:cs typeface="Lohit Devanagari"/>
              </a:rPr>
              <a:t>) will follow this task closely together with the IT department of the industrial users. </a:t>
            </a:r>
          </a:p>
          <a:p>
            <a:pPr>
              <a:spcAft>
                <a:spcPts val="600"/>
              </a:spcAft>
            </a:pPr>
            <a:endParaRPr lang="sv-SE" sz="1800" kern="100" dirty="0">
              <a:solidFill>
                <a:srgbClr val="404040"/>
              </a:solidFill>
              <a:effectLst/>
              <a:latin typeface="Liberation Serif"/>
              <a:ea typeface="Noto Sans CJK SC"/>
              <a:cs typeface="Lohit Devanagari"/>
            </a:endParaRPr>
          </a:p>
          <a:p>
            <a:pPr marL="228600" indent="-228600" algn="just"/>
            <a:r>
              <a:rPr lang="en-GB" sz="1800" b="1" i="1" kern="0" dirty="0">
                <a:solidFill>
                  <a:srgbClr val="404040"/>
                </a:solidFill>
                <a:effectLst/>
                <a:latin typeface="Calibri" panose="020F0502020204030204" pitchFamily="34" charset="0"/>
                <a:ea typeface="Times New Roman" panose="02020603050405020304" pitchFamily="18" charset="0"/>
                <a:cs typeface="Lohit Devanagari"/>
              </a:rPr>
              <a:t>System Creation</a:t>
            </a:r>
            <a:endParaRPr lang="sv-SE" sz="1800" b="1" i="1" kern="100" dirty="0">
              <a:solidFill>
                <a:srgbClr val="404040"/>
              </a:solidFill>
              <a:effectLst/>
              <a:latin typeface="Liberation Serif"/>
              <a:ea typeface="Noto Sans CJK SC"/>
              <a:cs typeface="Lohit Devanagari"/>
            </a:endParaRPr>
          </a:p>
          <a:p>
            <a:pPr>
              <a:spcAft>
                <a:spcPts val="600"/>
              </a:spcAft>
            </a:pPr>
            <a:r>
              <a:rPr lang="en-US" sz="1800" kern="100" dirty="0">
                <a:solidFill>
                  <a:srgbClr val="404040"/>
                </a:solidFill>
                <a:effectLst/>
                <a:latin typeface="Calibri" panose="020F0502020204030204" pitchFamily="34" charset="0"/>
                <a:ea typeface="Noto Sans CJK SC"/>
                <a:cs typeface="Lohit Devanagari"/>
              </a:rPr>
              <a:t>A project-specific environment will be set-up, by </a:t>
            </a:r>
            <a:r>
              <a:rPr lang="en-US" sz="1800" kern="100" dirty="0" err="1">
                <a:solidFill>
                  <a:srgbClr val="404040"/>
                </a:solidFill>
                <a:effectLst/>
                <a:latin typeface="Calibri" panose="020F0502020204030204" pitchFamily="34" charset="0"/>
                <a:ea typeface="Noto Sans CJK SC"/>
                <a:cs typeface="Lohit Devanagari"/>
              </a:rPr>
              <a:t>Optit</a:t>
            </a:r>
            <a:r>
              <a:rPr lang="en-US" sz="1800" kern="100" dirty="0">
                <a:solidFill>
                  <a:srgbClr val="404040"/>
                </a:solidFill>
                <a:effectLst/>
                <a:latin typeface="Calibri" panose="020F0502020204030204" pitchFamily="34" charset="0"/>
                <a:ea typeface="Noto Sans CJK SC"/>
                <a:cs typeface="Lohit Devanagari"/>
              </a:rPr>
              <a:t>, including all resources necessary to realize the project’s activities. As soon as the previous phase generates the appropriate input datasets, the data will be uploaded in the system in order to load the internal databases creating the digital twin baseline. A series of system configurations will normally be required in this delicate phase, including setting parameters and eventual system integration with current legacy tools of the customer. In case specific models needed to be adjusted or customized to achieve the project’s objectives, this will be initiated by model specialists, ensuring the correct configuration is integrated to the platform. </a:t>
            </a:r>
          </a:p>
          <a:p>
            <a:pPr>
              <a:spcAft>
                <a:spcPts val="600"/>
              </a:spcAft>
            </a:pPr>
            <a:endParaRPr lang="sv-SE" sz="1800" kern="100" dirty="0">
              <a:solidFill>
                <a:srgbClr val="404040"/>
              </a:solidFill>
              <a:effectLst/>
              <a:latin typeface="Liberation Serif"/>
              <a:ea typeface="Noto Sans CJK SC"/>
              <a:cs typeface="Lohit Devanagari"/>
            </a:endParaRPr>
          </a:p>
          <a:p>
            <a:pPr marL="228600" indent="-228600" algn="just"/>
            <a:r>
              <a:rPr lang="en-GB" sz="1800" b="1" i="1" kern="0" dirty="0">
                <a:solidFill>
                  <a:srgbClr val="404040"/>
                </a:solidFill>
                <a:effectLst/>
                <a:latin typeface="Calibri" panose="020F0502020204030204" pitchFamily="34" charset="0"/>
                <a:ea typeface="Times New Roman" panose="02020603050405020304" pitchFamily="18" charset="0"/>
                <a:cs typeface="Lohit Devanagari"/>
              </a:rPr>
              <a:t>Model and Tool Validation</a:t>
            </a:r>
            <a:endParaRPr lang="sv-SE" sz="1800" b="1" i="1" kern="100" dirty="0">
              <a:solidFill>
                <a:srgbClr val="404040"/>
              </a:solidFill>
              <a:effectLst/>
              <a:latin typeface="Liberation Serif"/>
              <a:ea typeface="Noto Sans CJK SC"/>
              <a:cs typeface="Lohit Devanagari"/>
            </a:endParaRPr>
          </a:p>
          <a:p>
            <a:pPr>
              <a:spcAft>
                <a:spcPts val="600"/>
              </a:spcAft>
            </a:pPr>
            <a:r>
              <a:rPr lang="en-US" sz="1800" kern="100" dirty="0">
                <a:solidFill>
                  <a:srgbClr val="404040"/>
                </a:solidFill>
                <a:effectLst/>
                <a:latin typeface="Calibri" panose="020F0502020204030204" pitchFamily="34" charset="0"/>
                <a:ea typeface="Noto Sans CJK SC"/>
                <a:cs typeface="Lohit Devanagari"/>
              </a:rPr>
              <a:t>After the system is fully configured and the first version of the model is integrated, the team, together with the final users’ support, will run simulations and tests in order to validate the results and get feedbacks about possible deviations or errors. Iteratively, adjustments and bug fixing will be performed in this phase trying to reach an optimal level of accuracy in the analysis. During this phase, the final users will have access to the platform (Beta Testing) in order to adjust not only the model but also the automations and the procedures embedded within the solutions and reach a high enough quality to support the real production process. </a:t>
            </a:r>
          </a:p>
          <a:p>
            <a:pPr>
              <a:spcAft>
                <a:spcPts val="600"/>
              </a:spcAft>
            </a:pPr>
            <a:endParaRPr lang="sv-SE" sz="1800" kern="100" dirty="0">
              <a:solidFill>
                <a:srgbClr val="404040"/>
              </a:solidFill>
              <a:effectLst/>
              <a:latin typeface="Liberation Serif"/>
              <a:ea typeface="Noto Sans CJK SC"/>
              <a:cs typeface="Lohit Devanagari"/>
            </a:endParaRPr>
          </a:p>
          <a:p>
            <a:pPr marL="228600" indent="-228600" algn="just"/>
            <a:r>
              <a:rPr lang="en-GB" sz="1800" b="1" i="1" kern="0" dirty="0">
                <a:solidFill>
                  <a:srgbClr val="404040"/>
                </a:solidFill>
                <a:effectLst/>
                <a:latin typeface="Calibri" panose="020F0502020204030204" pitchFamily="34" charset="0"/>
                <a:ea typeface="Times New Roman" panose="02020603050405020304" pitchFamily="18" charset="0"/>
                <a:cs typeface="Lohit Devanagari"/>
              </a:rPr>
              <a:t>SaaS agreement for ongoing access to the RETROFEED platform</a:t>
            </a:r>
            <a:endParaRPr lang="sv-SE" sz="1800" b="1" i="1" kern="100" dirty="0">
              <a:solidFill>
                <a:srgbClr val="404040"/>
              </a:solidFill>
              <a:effectLst/>
              <a:latin typeface="Liberation Serif"/>
              <a:ea typeface="Noto Sans CJK SC"/>
              <a:cs typeface="Lohit Devanagari"/>
            </a:endParaRPr>
          </a:p>
          <a:p>
            <a:pPr>
              <a:spcAft>
                <a:spcPts val="600"/>
              </a:spcAft>
            </a:pPr>
            <a:r>
              <a:rPr lang="en-US" sz="1800" kern="100" dirty="0">
                <a:solidFill>
                  <a:srgbClr val="404040"/>
                </a:solidFill>
                <a:effectLst/>
                <a:latin typeface="Calibri" panose="020F0502020204030204" pitchFamily="34" charset="0"/>
                <a:ea typeface="Noto Sans CJK SC"/>
                <a:cs typeface="Lohit Devanagari"/>
              </a:rPr>
              <a:t>Upon agreement with the end-user, the solution, will be installed in a preferred production environment, with IT security requirements that will be decided before deployment, and given to the users to support their process. The agreement will cover every aspect of the service level such as: maintenance included and excluded, security layers and approach, response time, tariffs for future upgrades, costs and length of the service.</a:t>
            </a:r>
            <a:endParaRPr lang="sv-SE" sz="1800" kern="100" dirty="0">
              <a:solidFill>
                <a:srgbClr val="404040"/>
              </a:solidFill>
              <a:effectLst/>
              <a:latin typeface="Liberation Serif"/>
              <a:ea typeface="Noto Sans CJK SC"/>
              <a:cs typeface="Lohit Devanaga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sv-SE" sz="1800" kern="100" dirty="0">
              <a:solidFill>
                <a:srgbClr val="404040"/>
              </a:solidFill>
              <a:effectLst/>
              <a:latin typeface="Liberation Serif"/>
              <a:ea typeface="Noto Sans CJK SC"/>
              <a:cs typeface="Lohit Devanaga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77787B-4A66-0142-903F-970ED53E63D2}"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8</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75767349"/>
      </p:ext>
    </p:extLst>
  </p:cSld>
  <p:clrMapOvr>
    <a:masterClrMapping/>
  </p:clrMapOvr>
</p:notes>
</file>

<file path=ppt/notesSlides/notesSlide2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err="1"/>
              <a:t>Replicability</a:t>
            </a:r>
            <a:r>
              <a:rPr lang="sv-SE" dirty="0"/>
              <a:t> </a:t>
            </a:r>
            <a:r>
              <a:rPr lang="sv-SE" dirty="0" err="1"/>
              <a:t>of</a:t>
            </a:r>
            <a:r>
              <a:rPr lang="sv-SE" dirty="0"/>
              <a:t> </a:t>
            </a:r>
            <a:r>
              <a:rPr lang="sv-SE" dirty="0" err="1"/>
              <a:t>agrochemical</a:t>
            </a:r>
            <a:r>
              <a:rPr lang="sv-SE" dirty="0"/>
              <a:t> </a:t>
            </a:r>
            <a:r>
              <a:rPr lang="sv-SE" dirty="0" err="1"/>
              <a:t>sector</a:t>
            </a:r>
            <a:r>
              <a:rPr lang="sv-SE" dirty="0"/>
              <a:t>/</a:t>
            </a:r>
            <a:r>
              <a:rPr lang="sv-SE" dirty="0" err="1"/>
              <a:t>fertilizer</a:t>
            </a:r>
            <a:r>
              <a:rPr lang="sv-SE" dirty="0"/>
              <a:t> </a:t>
            </a:r>
            <a:r>
              <a:rPr lang="sv-SE" dirty="0" err="1"/>
              <a:t>production</a:t>
            </a:r>
            <a:endParaRPr lang="sv-SE" dirty="0"/>
          </a:p>
          <a:p>
            <a:endParaRPr lang="sv-S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4DB91F-1AD8-437C-8866-3636784D085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63293078"/>
      </p:ext>
    </p:extLst>
  </p:cSld>
  <p:clrMapOvr>
    <a:masterClrMapping/>
  </p:clrMapOvr>
</p:notes>
</file>

<file path=ppt/notesSlides/notesSlide2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srgbClr val="000000"/>
                </a:solidFill>
                <a:effectLst/>
                <a:uLnTx/>
                <a:uFillTx/>
                <a:latin typeface="Arial" panose="020B0604020202020204" pitchFamily="34" charset="0"/>
                <a:ea typeface="+mn-ea"/>
                <a:cs typeface="Times New Roman" panose="02020603050405020304" pitchFamily="18" charset="0"/>
              </a:rPr>
              <a:t>The </a:t>
            </a:r>
            <a:r>
              <a:rPr kumimoji="0" lang="sv-SE" sz="1200" b="0" i="0" u="none" strike="noStrike" kern="1200" cap="none" spc="0" normalizeH="0" baseline="0" noProof="0" err="1">
                <a:ln>
                  <a:noFill/>
                </a:ln>
                <a:solidFill>
                  <a:srgbClr val="000000"/>
                </a:solidFill>
                <a:effectLst/>
                <a:uLnTx/>
                <a:uFillTx/>
                <a:latin typeface="Arial" panose="020B0604020202020204" pitchFamily="34" charset="0"/>
                <a:ea typeface="+mn-ea"/>
                <a:cs typeface="Times New Roman" panose="02020603050405020304" pitchFamily="18" charset="0"/>
              </a:rPr>
              <a:t>environmental</a:t>
            </a:r>
            <a:r>
              <a:rPr kumimoji="0" lang="sv-SE" sz="1200" b="0" i="0" u="none" strike="noStrike" kern="1200" cap="none" spc="0" normalizeH="0" baseline="0" noProof="0">
                <a:ln>
                  <a:noFill/>
                </a:ln>
                <a:solidFill>
                  <a:srgbClr val="000000"/>
                </a:solidFill>
                <a:effectLst/>
                <a:uLnTx/>
                <a:uFillTx/>
                <a:latin typeface="Arial" panose="020B0604020202020204" pitchFamily="34" charset="0"/>
                <a:ea typeface="+mn-ea"/>
                <a:cs typeface="Times New Roman" panose="02020603050405020304" pitchFamily="18" charset="0"/>
              </a:rPr>
              <a:t> </a:t>
            </a:r>
            <a:r>
              <a:rPr kumimoji="0" lang="sv-SE" sz="1200" b="0" i="0" u="none" strike="noStrike" kern="1200" cap="none" spc="0" normalizeH="0" baseline="0" noProof="0" err="1">
                <a:ln>
                  <a:noFill/>
                </a:ln>
                <a:solidFill>
                  <a:srgbClr val="000000"/>
                </a:solidFill>
                <a:effectLst/>
                <a:uLnTx/>
                <a:uFillTx/>
                <a:latin typeface="Arial" panose="020B0604020202020204" pitchFamily="34" charset="0"/>
                <a:ea typeface="+mn-ea"/>
                <a:cs typeface="Times New Roman" panose="02020603050405020304" pitchFamily="18" charset="0"/>
              </a:rPr>
              <a:t>regulatory</a:t>
            </a:r>
            <a:r>
              <a:rPr kumimoji="0" lang="sv-SE" sz="1200" b="0" i="0" u="none" strike="noStrike" kern="1200" cap="none" spc="0" normalizeH="0" baseline="0" noProof="0">
                <a:ln>
                  <a:noFill/>
                </a:ln>
                <a:solidFill>
                  <a:srgbClr val="000000"/>
                </a:solidFill>
                <a:effectLst/>
                <a:uLnTx/>
                <a:uFillTx/>
                <a:latin typeface="Arial" panose="020B0604020202020204" pitchFamily="34" charset="0"/>
                <a:ea typeface="+mn-ea"/>
                <a:cs typeface="Times New Roman" panose="02020603050405020304" pitchFamily="18" charset="0"/>
              </a:rPr>
              <a:t> </a:t>
            </a:r>
            <a:r>
              <a:rPr kumimoji="0" lang="sv-SE" sz="1200" b="0" i="0" u="none" strike="noStrike" kern="1200" cap="none" spc="0" normalizeH="0" baseline="0" noProof="0" err="1">
                <a:ln>
                  <a:noFill/>
                </a:ln>
                <a:solidFill>
                  <a:srgbClr val="000000"/>
                </a:solidFill>
                <a:effectLst/>
                <a:uLnTx/>
                <a:uFillTx/>
                <a:latin typeface="Arial" panose="020B0604020202020204" pitchFamily="34" charset="0"/>
                <a:ea typeface="+mn-ea"/>
                <a:cs typeface="Times New Roman" panose="02020603050405020304" pitchFamily="18" charset="0"/>
              </a:rPr>
              <a:t>framework</a:t>
            </a:r>
            <a:r>
              <a:rPr kumimoji="0" lang="sv-SE" sz="1200" b="0" i="0" u="none" strike="noStrike" kern="1200" cap="none" spc="0" normalizeH="0" baseline="0" noProof="0">
                <a:ln>
                  <a:noFill/>
                </a:ln>
                <a:solidFill>
                  <a:srgbClr val="000000"/>
                </a:solidFill>
                <a:effectLst/>
                <a:uLnTx/>
                <a:uFillTx/>
                <a:latin typeface="Arial" panose="020B0604020202020204" pitchFamily="34" charset="0"/>
                <a:ea typeface="+mn-ea"/>
                <a:cs typeface="Times New Roman" panose="02020603050405020304" pitchFamily="18" charset="0"/>
              </a:rPr>
              <a:t> </a:t>
            </a:r>
            <a:r>
              <a:rPr kumimoji="0" lang="sv-SE" sz="1200" b="0" i="0" u="none" strike="noStrike" kern="1200" cap="none" spc="0" normalizeH="0" baseline="0" noProof="0" err="1">
                <a:ln>
                  <a:noFill/>
                </a:ln>
                <a:solidFill>
                  <a:srgbClr val="000000"/>
                </a:solidFill>
                <a:effectLst/>
                <a:uLnTx/>
                <a:uFillTx/>
                <a:latin typeface="Arial" panose="020B0604020202020204" pitchFamily="34" charset="0"/>
                <a:ea typeface="+mn-ea"/>
                <a:cs typeface="Times New Roman" panose="02020603050405020304" pitchFamily="18" charset="0"/>
              </a:rPr>
              <a:t>was</a:t>
            </a:r>
            <a:r>
              <a:rPr kumimoji="0" lang="sv-SE" sz="1200" b="0" i="0" u="none" strike="noStrike" kern="1200" cap="none" spc="0" normalizeH="0" baseline="0" noProof="0">
                <a:ln>
                  <a:noFill/>
                </a:ln>
                <a:solidFill>
                  <a:srgbClr val="000000"/>
                </a:solidFill>
                <a:effectLst/>
                <a:uLnTx/>
                <a:uFillTx/>
                <a:latin typeface="Arial" panose="020B0604020202020204" pitchFamily="34" charset="0"/>
                <a:ea typeface="+mn-ea"/>
                <a:cs typeface="Times New Roman" panose="02020603050405020304" pitchFamily="18" charset="0"/>
              </a:rPr>
              <a:t> </a:t>
            </a:r>
            <a:r>
              <a:rPr kumimoji="0" lang="sv-SE" sz="1200" b="0" i="0" u="none" strike="noStrike" kern="1200" cap="none" spc="0" normalizeH="0" baseline="0" noProof="0" err="1">
                <a:ln>
                  <a:noFill/>
                </a:ln>
                <a:solidFill>
                  <a:srgbClr val="000000"/>
                </a:solidFill>
                <a:effectLst/>
                <a:uLnTx/>
                <a:uFillTx/>
                <a:latin typeface="Arial" panose="020B0604020202020204" pitchFamily="34" charset="0"/>
                <a:ea typeface="+mn-ea"/>
                <a:cs typeface="Times New Roman" panose="02020603050405020304" pitchFamily="18" charset="0"/>
              </a:rPr>
              <a:t>identified</a:t>
            </a:r>
            <a:r>
              <a:rPr kumimoji="0" lang="sv-SE" sz="1200" b="0" i="0" u="none" strike="noStrike" kern="1200" cap="none" spc="0" normalizeH="0" baseline="0" noProof="0">
                <a:ln>
                  <a:noFill/>
                </a:ln>
                <a:solidFill>
                  <a:srgbClr val="000000"/>
                </a:solidFill>
                <a:effectLst/>
                <a:uLnTx/>
                <a:uFillTx/>
                <a:latin typeface="Arial" panose="020B0604020202020204" pitchFamily="34" charset="0"/>
                <a:ea typeface="+mn-ea"/>
                <a:cs typeface="Times New Roman" panose="02020603050405020304" pitchFamily="18" charset="0"/>
              </a:rPr>
              <a:t> for </a:t>
            </a:r>
            <a:r>
              <a:rPr kumimoji="0" lang="sv-SE" sz="1200" b="0" i="0" u="none" strike="noStrike" kern="1200" cap="none" spc="0" normalizeH="0" baseline="0" noProof="0" err="1">
                <a:ln>
                  <a:noFill/>
                </a:ln>
                <a:solidFill>
                  <a:srgbClr val="000000"/>
                </a:solidFill>
                <a:effectLst/>
                <a:uLnTx/>
                <a:uFillTx/>
                <a:latin typeface="Arial" panose="020B0604020202020204" pitchFamily="34" charset="0"/>
                <a:ea typeface="+mn-ea"/>
                <a:cs typeface="Times New Roman" panose="02020603050405020304" pitchFamily="18" charset="0"/>
              </a:rPr>
              <a:t>each</a:t>
            </a:r>
            <a:r>
              <a:rPr kumimoji="0" lang="sv-SE" sz="1200" b="0" i="0" u="none" strike="noStrike" kern="1200" cap="none" spc="0" normalizeH="0" baseline="0" noProof="0">
                <a:ln>
                  <a:noFill/>
                </a:ln>
                <a:solidFill>
                  <a:srgbClr val="000000"/>
                </a:solidFill>
                <a:effectLst/>
                <a:uLnTx/>
                <a:uFillTx/>
                <a:latin typeface="Arial" panose="020B0604020202020204" pitchFamily="34" charset="0"/>
                <a:ea typeface="+mn-ea"/>
                <a:cs typeface="Times New Roman" panose="02020603050405020304" pitchFamily="18" charset="0"/>
              </a:rPr>
              <a:t> </a:t>
            </a:r>
            <a:r>
              <a:rPr kumimoji="0" lang="sv-SE" sz="1200" b="0" i="0" u="none" strike="noStrike" kern="1200" cap="none" spc="0" normalizeH="0" baseline="0" noProof="0" err="1">
                <a:ln>
                  <a:noFill/>
                </a:ln>
                <a:solidFill>
                  <a:srgbClr val="000000"/>
                </a:solidFill>
                <a:effectLst/>
                <a:uLnTx/>
                <a:uFillTx/>
                <a:latin typeface="Arial" panose="020B0604020202020204" pitchFamily="34" charset="0"/>
                <a:ea typeface="+mn-ea"/>
                <a:cs typeface="Times New Roman" panose="02020603050405020304" pitchFamily="18" charset="0"/>
              </a:rPr>
              <a:t>sector</a:t>
            </a:r>
            <a:r>
              <a:rPr kumimoji="0" lang="sv-SE" sz="1200" b="0" i="0" u="none" strike="noStrike" kern="1200" cap="none" spc="0" normalizeH="0" baseline="0" noProof="0">
                <a:ln>
                  <a:noFill/>
                </a:ln>
                <a:solidFill>
                  <a:srgbClr val="000000"/>
                </a:solidFill>
                <a:effectLst/>
                <a:uLnTx/>
                <a:uFillTx/>
                <a:latin typeface="Arial" panose="020B0604020202020204" pitchFamily="34" charset="0"/>
                <a:ea typeface="+mn-ea"/>
                <a:cs typeface="Times New Roman" panose="02020603050405020304" pitchFamily="18" charset="0"/>
              </a:rPr>
              <a:t> </a:t>
            </a:r>
            <a:r>
              <a:rPr kumimoji="0" lang="sv-SE" sz="1200" b="0" i="0" u="none" strike="noStrike" kern="1200" cap="none" spc="0" normalizeH="0" baseline="0" noProof="0" err="1">
                <a:ln>
                  <a:noFill/>
                </a:ln>
                <a:solidFill>
                  <a:srgbClr val="000000"/>
                </a:solidFill>
                <a:effectLst/>
                <a:uLnTx/>
                <a:uFillTx/>
                <a:latin typeface="Arial" panose="020B0604020202020204" pitchFamily="34" charset="0"/>
                <a:ea typeface="+mn-ea"/>
                <a:cs typeface="Times New Roman" panose="02020603050405020304" pitchFamily="18" charset="0"/>
              </a:rPr>
              <a:t>involved</a:t>
            </a:r>
            <a:r>
              <a:rPr kumimoji="0" lang="sv-SE" sz="1200" b="0" i="0" u="none" strike="noStrike" kern="1200" cap="none" spc="0" normalizeH="0" baseline="0" noProof="0">
                <a:ln>
                  <a:noFill/>
                </a:ln>
                <a:solidFill>
                  <a:srgbClr val="000000"/>
                </a:solidFill>
                <a:effectLst/>
                <a:uLnTx/>
                <a:uFillTx/>
                <a:latin typeface="Arial" panose="020B0604020202020204" pitchFamily="34" charset="0"/>
                <a:ea typeface="+mn-ea"/>
                <a:cs typeface="Times New Roman" panose="02020603050405020304" pitchFamily="18" charset="0"/>
              </a:rPr>
              <a:t> in the </a:t>
            </a:r>
            <a:r>
              <a:rPr kumimoji="0" lang="sv-SE" sz="1200" b="0" i="0" u="none" strike="noStrike" kern="1200" cap="none" spc="0" normalizeH="0" baseline="0" noProof="0" err="1">
                <a:ln>
                  <a:noFill/>
                </a:ln>
                <a:solidFill>
                  <a:srgbClr val="000000"/>
                </a:solidFill>
                <a:effectLst/>
                <a:uLnTx/>
                <a:uFillTx/>
                <a:latin typeface="Arial" panose="020B0604020202020204" pitchFamily="34" charset="0"/>
                <a:ea typeface="+mn-ea"/>
                <a:cs typeface="Times New Roman" panose="02020603050405020304" pitchFamily="18" charset="0"/>
              </a:rPr>
              <a:t>project</a:t>
            </a:r>
            <a:r>
              <a:rPr kumimoji="0" lang="sv-SE" sz="1200" b="0" i="0" u="none" strike="noStrike" kern="1200" cap="none" spc="0" normalizeH="0" baseline="0" noProof="0">
                <a:ln>
                  <a:noFill/>
                </a:ln>
                <a:solidFill>
                  <a:srgbClr val="000000"/>
                </a:solidFill>
                <a:effectLst/>
                <a:uLnTx/>
                <a:uFillTx/>
                <a:latin typeface="Arial" panose="020B0604020202020204" pitchFamily="34" charset="0"/>
                <a:ea typeface="+mn-ea"/>
                <a:cs typeface="Times New Roman" panose="02020603050405020304" pitchFamily="18" charset="0"/>
              </a:rPr>
              <a:t>. In addition, </a:t>
            </a:r>
            <a:r>
              <a:rPr kumimoji="0" lang="sv-SE" sz="1200" b="0" i="0" u="none" strike="noStrike" kern="1200" cap="none" spc="0" normalizeH="0" baseline="0" noProof="0" err="1">
                <a:ln>
                  <a:noFill/>
                </a:ln>
                <a:solidFill>
                  <a:srgbClr val="000000"/>
                </a:solidFill>
                <a:effectLst/>
                <a:uLnTx/>
                <a:uFillTx/>
                <a:latin typeface="Arial" panose="020B0604020202020204" pitchFamily="34" charset="0"/>
                <a:ea typeface="+mn-ea"/>
                <a:cs typeface="Times New Roman" panose="02020603050405020304" pitchFamily="18" charset="0"/>
              </a:rPr>
              <a:t>regulatory</a:t>
            </a:r>
            <a:r>
              <a:rPr kumimoji="0" lang="sv-SE" sz="1200" b="0" i="0" u="none" strike="noStrike" kern="1200" cap="none" spc="0" normalizeH="0" baseline="0" noProof="0">
                <a:ln>
                  <a:noFill/>
                </a:ln>
                <a:solidFill>
                  <a:srgbClr val="000000"/>
                </a:solidFill>
                <a:effectLst/>
                <a:uLnTx/>
                <a:uFillTx/>
                <a:latin typeface="Arial" panose="020B0604020202020204" pitchFamily="34" charset="0"/>
                <a:ea typeface="+mn-ea"/>
                <a:cs typeface="Times New Roman" panose="02020603050405020304" pitchFamily="18" charset="0"/>
              </a:rPr>
              <a:t> </a:t>
            </a:r>
            <a:r>
              <a:rPr kumimoji="0" lang="sv-SE" sz="1200" b="0" i="0" u="none" strike="noStrike" kern="1200" cap="none" spc="0" normalizeH="0" baseline="0" noProof="0" err="1">
                <a:ln>
                  <a:noFill/>
                </a:ln>
                <a:solidFill>
                  <a:srgbClr val="000000"/>
                </a:solidFill>
                <a:effectLst/>
                <a:uLnTx/>
                <a:uFillTx/>
                <a:latin typeface="Arial" panose="020B0604020202020204" pitchFamily="34" charset="0"/>
                <a:ea typeface="+mn-ea"/>
                <a:cs typeface="Times New Roman" panose="02020603050405020304" pitchFamily="18" charset="0"/>
              </a:rPr>
              <a:t>conflicts</a:t>
            </a:r>
            <a:r>
              <a:rPr kumimoji="0" lang="sv-SE" sz="1200" b="0" i="0" u="none" strike="noStrike" kern="1200" cap="none" spc="0" normalizeH="0" baseline="0" noProof="0">
                <a:ln>
                  <a:noFill/>
                </a:ln>
                <a:solidFill>
                  <a:srgbClr val="000000"/>
                </a:solidFill>
                <a:effectLst/>
                <a:uLnTx/>
                <a:uFillTx/>
                <a:latin typeface="Arial" panose="020B0604020202020204" pitchFamily="34" charset="0"/>
                <a:ea typeface="+mn-ea"/>
                <a:cs typeface="Times New Roman" panose="02020603050405020304" pitchFamily="18" charset="0"/>
              </a:rPr>
              <a:t> or legislative gaps </a:t>
            </a:r>
            <a:r>
              <a:rPr kumimoji="0" lang="sv-SE" sz="1200" b="0" i="0" u="none" strike="noStrike" kern="1200" cap="none" spc="0" normalizeH="0" baseline="0" noProof="0" err="1">
                <a:ln>
                  <a:noFill/>
                </a:ln>
                <a:solidFill>
                  <a:srgbClr val="000000"/>
                </a:solidFill>
                <a:effectLst/>
                <a:uLnTx/>
                <a:uFillTx/>
                <a:latin typeface="Arial" panose="020B0604020202020204" pitchFamily="34" charset="0"/>
                <a:ea typeface="+mn-ea"/>
                <a:cs typeface="Times New Roman" panose="02020603050405020304" pitchFamily="18" charset="0"/>
              </a:rPr>
              <a:t>that</a:t>
            </a:r>
            <a:r>
              <a:rPr kumimoji="0" lang="sv-SE" sz="1200" b="0" i="0" u="none" strike="noStrike" kern="1200" cap="none" spc="0" normalizeH="0" baseline="0" noProof="0">
                <a:ln>
                  <a:noFill/>
                </a:ln>
                <a:solidFill>
                  <a:srgbClr val="000000"/>
                </a:solidFill>
                <a:effectLst/>
                <a:uLnTx/>
                <a:uFillTx/>
                <a:latin typeface="Arial" panose="020B0604020202020204" pitchFamily="34" charset="0"/>
                <a:ea typeface="+mn-ea"/>
                <a:cs typeface="Times New Roman" panose="02020603050405020304" pitchFamily="18" charset="0"/>
              </a:rPr>
              <a:t> </a:t>
            </a:r>
            <a:r>
              <a:rPr kumimoji="0" lang="sv-SE" sz="1200" b="0" i="0" u="none" strike="noStrike" kern="1200" cap="none" spc="0" normalizeH="0" baseline="0" noProof="0" err="1">
                <a:ln>
                  <a:noFill/>
                </a:ln>
                <a:solidFill>
                  <a:srgbClr val="000000"/>
                </a:solidFill>
                <a:effectLst/>
                <a:uLnTx/>
                <a:uFillTx/>
                <a:latin typeface="Arial" panose="020B0604020202020204" pitchFamily="34" charset="0"/>
                <a:ea typeface="+mn-ea"/>
                <a:cs typeface="Times New Roman" panose="02020603050405020304" pitchFamily="18" charset="0"/>
              </a:rPr>
              <a:t>may</a:t>
            </a:r>
            <a:r>
              <a:rPr kumimoji="0" lang="sv-SE" sz="1200" b="0" i="0" u="none" strike="noStrike" kern="1200" cap="none" spc="0" normalizeH="0" baseline="0" noProof="0">
                <a:ln>
                  <a:noFill/>
                </a:ln>
                <a:solidFill>
                  <a:srgbClr val="000000"/>
                </a:solidFill>
                <a:effectLst/>
                <a:uLnTx/>
                <a:uFillTx/>
                <a:latin typeface="Arial" panose="020B0604020202020204" pitchFamily="34" charset="0"/>
                <a:ea typeface="+mn-ea"/>
                <a:cs typeface="Times New Roman" panose="02020603050405020304" pitchFamily="18" charset="0"/>
              </a:rPr>
              <a:t> </a:t>
            </a:r>
            <a:r>
              <a:rPr kumimoji="0" lang="sv-SE" sz="1200" b="0" i="0" u="none" strike="noStrike" kern="1200" cap="none" spc="0" normalizeH="0" baseline="0" noProof="0" err="1">
                <a:ln>
                  <a:noFill/>
                </a:ln>
                <a:solidFill>
                  <a:srgbClr val="000000"/>
                </a:solidFill>
                <a:effectLst/>
                <a:uLnTx/>
                <a:uFillTx/>
                <a:latin typeface="Arial" panose="020B0604020202020204" pitchFamily="34" charset="0"/>
                <a:ea typeface="+mn-ea"/>
                <a:cs typeface="Times New Roman" panose="02020603050405020304" pitchFamily="18" charset="0"/>
              </a:rPr>
              <a:t>have</a:t>
            </a:r>
            <a:r>
              <a:rPr kumimoji="0" lang="sv-SE" sz="1200" b="0" i="0" u="none" strike="noStrike" kern="1200" cap="none" spc="0" normalizeH="0" baseline="0" noProof="0">
                <a:ln>
                  <a:noFill/>
                </a:ln>
                <a:solidFill>
                  <a:srgbClr val="000000"/>
                </a:solidFill>
                <a:effectLst/>
                <a:uLnTx/>
                <a:uFillTx/>
                <a:latin typeface="Arial" panose="020B0604020202020204" pitchFamily="34" charset="0"/>
                <a:ea typeface="+mn-ea"/>
                <a:cs typeface="Times New Roman" panose="02020603050405020304" pitchFamily="18" charset="0"/>
              </a:rPr>
              <a:t> an </a:t>
            </a:r>
            <a:r>
              <a:rPr kumimoji="0" lang="sv-SE" sz="1200" b="0" i="0" u="none" strike="noStrike" kern="1200" cap="none" spc="0" normalizeH="0" baseline="0" noProof="0" err="1">
                <a:ln>
                  <a:noFill/>
                </a:ln>
                <a:solidFill>
                  <a:srgbClr val="000000"/>
                </a:solidFill>
                <a:effectLst/>
                <a:uLnTx/>
                <a:uFillTx/>
                <a:latin typeface="Arial" panose="020B0604020202020204" pitchFamily="34" charset="0"/>
                <a:ea typeface="+mn-ea"/>
                <a:cs typeface="Times New Roman" panose="02020603050405020304" pitchFamily="18" charset="0"/>
              </a:rPr>
              <a:t>impact</a:t>
            </a:r>
            <a:r>
              <a:rPr kumimoji="0" lang="sv-SE" sz="1200" b="0" i="0" u="none" strike="noStrike" kern="1200" cap="none" spc="0" normalizeH="0" baseline="0" noProof="0">
                <a:ln>
                  <a:noFill/>
                </a:ln>
                <a:solidFill>
                  <a:srgbClr val="000000"/>
                </a:solidFill>
                <a:effectLst/>
                <a:uLnTx/>
                <a:uFillTx/>
                <a:latin typeface="Arial" panose="020B0604020202020204" pitchFamily="34" charset="0"/>
                <a:ea typeface="+mn-ea"/>
                <a:cs typeface="Times New Roman" panose="02020603050405020304" pitchFamily="18" charset="0"/>
              </a:rPr>
              <a:t> on the </a:t>
            </a:r>
            <a:r>
              <a:rPr kumimoji="0" lang="sv-SE" sz="1200" b="0" i="0" u="none" strike="noStrike" kern="1200" cap="none" spc="0" normalizeH="0" baseline="0" noProof="0" err="1">
                <a:ln>
                  <a:noFill/>
                </a:ln>
                <a:solidFill>
                  <a:srgbClr val="000000"/>
                </a:solidFill>
                <a:effectLst/>
                <a:uLnTx/>
                <a:uFillTx/>
                <a:latin typeface="Arial" panose="020B0604020202020204" pitchFamily="34" charset="0"/>
                <a:ea typeface="+mn-ea"/>
                <a:cs typeface="Times New Roman" panose="02020603050405020304" pitchFamily="18" charset="0"/>
              </a:rPr>
              <a:t>selected</a:t>
            </a:r>
            <a:r>
              <a:rPr kumimoji="0" lang="sv-SE" sz="1200" b="0" i="0" u="none" strike="noStrike" kern="1200" cap="none" spc="0" normalizeH="0" baseline="0" noProof="0">
                <a:ln>
                  <a:noFill/>
                </a:ln>
                <a:solidFill>
                  <a:srgbClr val="000000"/>
                </a:solidFill>
                <a:effectLst/>
                <a:uLnTx/>
                <a:uFillTx/>
                <a:latin typeface="Arial" panose="020B0604020202020204" pitchFamily="34" charset="0"/>
                <a:ea typeface="+mn-ea"/>
                <a:cs typeface="Times New Roman" panose="02020603050405020304" pitchFamily="18" charset="0"/>
              </a:rPr>
              <a:t> </a:t>
            </a:r>
            <a:r>
              <a:rPr kumimoji="0" lang="sv-SE" sz="1200" b="0" i="0" u="none" strike="noStrike" kern="1200" cap="none" spc="0" normalizeH="0" baseline="0" noProof="0" err="1">
                <a:ln>
                  <a:noFill/>
                </a:ln>
                <a:solidFill>
                  <a:srgbClr val="000000"/>
                </a:solidFill>
                <a:effectLst/>
                <a:uLnTx/>
                <a:uFillTx/>
                <a:latin typeface="Arial" panose="020B0604020202020204" pitchFamily="34" charset="0"/>
                <a:ea typeface="+mn-ea"/>
                <a:cs typeface="Times New Roman" panose="02020603050405020304" pitchFamily="18" charset="0"/>
              </a:rPr>
              <a:t>industries</a:t>
            </a:r>
            <a:r>
              <a:rPr kumimoji="0" lang="sv-SE" sz="1200" b="0" i="0" u="none" strike="noStrike" kern="1200" cap="none" spc="0" normalizeH="0" baseline="0" noProof="0">
                <a:ln>
                  <a:noFill/>
                </a:ln>
                <a:solidFill>
                  <a:srgbClr val="000000"/>
                </a:solidFill>
                <a:effectLst/>
                <a:uLnTx/>
                <a:uFillTx/>
                <a:latin typeface="Arial" panose="020B0604020202020204" pitchFamily="34" charset="0"/>
                <a:ea typeface="+mn-ea"/>
                <a:cs typeface="Times New Roman" panose="02020603050405020304" pitchFamily="18" charset="0"/>
              </a:rPr>
              <a:t> and the </a:t>
            </a:r>
            <a:r>
              <a:rPr kumimoji="0" lang="sv-SE" sz="1200" b="0" i="0" u="none" strike="noStrike" kern="1200" cap="none" spc="0" normalizeH="0" baseline="0" noProof="0" err="1">
                <a:ln>
                  <a:noFill/>
                </a:ln>
                <a:solidFill>
                  <a:srgbClr val="000000"/>
                </a:solidFill>
                <a:effectLst/>
                <a:uLnTx/>
                <a:uFillTx/>
                <a:latin typeface="Arial" panose="020B0604020202020204" pitchFamily="34" charset="0"/>
                <a:ea typeface="+mn-ea"/>
                <a:cs typeface="Times New Roman" panose="02020603050405020304" pitchFamily="18" charset="0"/>
              </a:rPr>
              <a:t>development</a:t>
            </a:r>
            <a:r>
              <a:rPr kumimoji="0" lang="sv-SE" sz="1200" b="0" i="0" u="none" strike="noStrike" kern="1200" cap="none" spc="0" normalizeH="0" baseline="0" noProof="0">
                <a:ln>
                  <a:noFill/>
                </a:ln>
                <a:solidFill>
                  <a:srgbClr val="000000"/>
                </a:solidFill>
                <a:effectLst/>
                <a:uLnTx/>
                <a:uFillTx/>
                <a:latin typeface="Arial" panose="020B0604020202020204" pitchFamily="34" charset="0"/>
                <a:ea typeface="+mn-ea"/>
                <a:cs typeface="Times New Roman" panose="02020603050405020304" pitchFamily="18" charset="0"/>
              </a:rPr>
              <a:t> </a:t>
            </a:r>
            <a:r>
              <a:rPr kumimoji="0" lang="sv-SE" sz="1200" b="0" i="0" u="none" strike="noStrike" kern="1200" cap="none" spc="0" normalizeH="0" baseline="0" noProof="0" err="1">
                <a:ln>
                  <a:noFill/>
                </a:ln>
                <a:solidFill>
                  <a:srgbClr val="000000"/>
                </a:solidFill>
                <a:effectLst/>
                <a:uLnTx/>
                <a:uFillTx/>
                <a:latin typeface="Arial" panose="020B0604020202020204" pitchFamily="34" charset="0"/>
                <a:ea typeface="+mn-ea"/>
                <a:cs typeface="Times New Roman" panose="02020603050405020304" pitchFamily="18" charset="0"/>
              </a:rPr>
              <a:t>of</a:t>
            </a:r>
            <a:r>
              <a:rPr kumimoji="0" lang="sv-SE" sz="1200" b="0" i="0" u="none" strike="noStrike" kern="1200" cap="none" spc="0" normalizeH="0" baseline="0" noProof="0">
                <a:ln>
                  <a:noFill/>
                </a:ln>
                <a:solidFill>
                  <a:srgbClr val="000000"/>
                </a:solidFill>
                <a:effectLst/>
                <a:uLnTx/>
                <a:uFillTx/>
                <a:latin typeface="Arial" panose="020B0604020202020204" pitchFamily="34" charset="0"/>
                <a:ea typeface="+mn-ea"/>
                <a:cs typeface="Times New Roman" panose="02020603050405020304" pitchFamily="18" charset="0"/>
              </a:rPr>
              <a:t> </a:t>
            </a:r>
            <a:r>
              <a:rPr kumimoji="0" lang="sv-SE" sz="1200" b="0" i="0" u="none" strike="noStrike" kern="1200" cap="none" spc="0" normalizeH="0" baseline="0" noProof="0" err="1">
                <a:ln>
                  <a:noFill/>
                </a:ln>
                <a:solidFill>
                  <a:srgbClr val="000000"/>
                </a:solidFill>
                <a:effectLst/>
                <a:uLnTx/>
                <a:uFillTx/>
                <a:latin typeface="Arial" panose="020B0604020202020204" pitchFamily="34" charset="0"/>
                <a:ea typeface="+mn-ea"/>
                <a:cs typeface="Times New Roman" panose="02020603050405020304" pitchFamily="18" charset="0"/>
              </a:rPr>
              <a:t>their</a:t>
            </a:r>
            <a:r>
              <a:rPr kumimoji="0" lang="sv-SE" sz="1200" b="0" i="0" u="none" strike="noStrike" kern="1200" cap="none" spc="0" normalizeH="0" baseline="0" noProof="0">
                <a:ln>
                  <a:noFill/>
                </a:ln>
                <a:solidFill>
                  <a:srgbClr val="000000"/>
                </a:solidFill>
                <a:effectLst/>
                <a:uLnTx/>
                <a:uFillTx/>
                <a:latin typeface="Arial" panose="020B0604020202020204" pitchFamily="34" charset="0"/>
                <a:ea typeface="+mn-ea"/>
                <a:cs typeface="Times New Roman" panose="02020603050405020304" pitchFamily="18" charset="0"/>
              </a:rPr>
              <a:t> </a:t>
            </a:r>
            <a:r>
              <a:rPr kumimoji="0" lang="sv-SE" sz="1200" b="0" i="0" u="none" strike="noStrike" kern="1200" cap="none" spc="0" normalizeH="0" baseline="0" noProof="0" err="1">
                <a:ln>
                  <a:noFill/>
                </a:ln>
                <a:solidFill>
                  <a:srgbClr val="000000"/>
                </a:solidFill>
                <a:effectLst/>
                <a:uLnTx/>
                <a:uFillTx/>
                <a:latin typeface="Arial" panose="020B0604020202020204" pitchFamily="34" charset="0"/>
                <a:ea typeface="+mn-ea"/>
                <a:cs typeface="Times New Roman" panose="02020603050405020304" pitchFamily="18" charset="0"/>
              </a:rPr>
              <a:t>activities</a:t>
            </a:r>
            <a:r>
              <a:rPr kumimoji="0" lang="sv-SE" sz="1200" b="0" i="0" u="none" strike="noStrike" kern="1200" cap="none" spc="0" normalizeH="0" baseline="0" noProof="0">
                <a:ln>
                  <a:noFill/>
                </a:ln>
                <a:solidFill>
                  <a:srgbClr val="000000"/>
                </a:solidFill>
                <a:effectLst/>
                <a:uLnTx/>
                <a:uFillTx/>
                <a:latin typeface="Arial" panose="020B0604020202020204" pitchFamily="34" charset="0"/>
                <a:ea typeface="+mn-ea"/>
                <a:cs typeface="Times New Roman" panose="02020603050405020304" pitchFamily="18" charset="0"/>
              </a:rPr>
              <a:t> </a:t>
            </a:r>
            <a:r>
              <a:rPr kumimoji="0" lang="sv-SE" sz="1200" b="0" i="0" u="none" strike="noStrike" kern="1200" cap="none" spc="0" normalizeH="0" baseline="0" noProof="0" err="1">
                <a:ln>
                  <a:noFill/>
                </a:ln>
                <a:solidFill>
                  <a:srgbClr val="000000"/>
                </a:solidFill>
                <a:effectLst/>
                <a:uLnTx/>
                <a:uFillTx/>
                <a:latin typeface="Arial" panose="020B0604020202020204" pitchFamily="34" charset="0"/>
                <a:ea typeface="+mn-ea"/>
                <a:cs typeface="Times New Roman" panose="02020603050405020304" pitchFamily="18" charset="0"/>
              </a:rPr>
              <a:t>were</a:t>
            </a:r>
            <a:r>
              <a:rPr kumimoji="0" lang="sv-SE" sz="1200" b="0" i="0" u="none" strike="noStrike" kern="1200" cap="none" spc="0" normalizeH="0" baseline="0" noProof="0">
                <a:ln>
                  <a:noFill/>
                </a:ln>
                <a:solidFill>
                  <a:srgbClr val="000000"/>
                </a:solidFill>
                <a:effectLst/>
                <a:uLnTx/>
                <a:uFillTx/>
                <a:latin typeface="Arial" panose="020B0604020202020204" pitchFamily="34" charset="0"/>
                <a:ea typeface="+mn-ea"/>
                <a:cs typeface="Times New Roman" panose="02020603050405020304" pitchFamily="18" charset="0"/>
              </a:rPr>
              <a:t> </a:t>
            </a:r>
            <a:r>
              <a:rPr kumimoji="0" lang="sv-SE" sz="1200" b="0" i="0" u="none" strike="noStrike" kern="1200" cap="none" spc="0" normalizeH="0" baseline="0" noProof="0" err="1">
                <a:ln>
                  <a:noFill/>
                </a:ln>
                <a:solidFill>
                  <a:srgbClr val="000000"/>
                </a:solidFill>
                <a:effectLst/>
                <a:uLnTx/>
                <a:uFillTx/>
                <a:latin typeface="Arial" panose="020B0604020202020204" pitchFamily="34" charset="0"/>
                <a:ea typeface="+mn-ea"/>
                <a:cs typeface="Times New Roman" panose="02020603050405020304" pitchFamily="18" charset="0"/>
              </a:rPr>
              <a:t>found</a:t>
            </a:r>
            <a:r>
              <a:rPr kumimoji="0" lang="sv-SE" sz="1200" b="0" i="0" u="none" strike="noStrike" kern="1200" cap="none" spc="0" normalizeH="0" baseline="0" noProof="0">
                <a:ln>
                  <a:noFill/>
                </a:ln>
                <a:solidFill>
                  <a:srgbClr val="000000"/>
                </a:solidFill>
                <a:effectLst/>
                <a:uLnTx/>
                <a:uFillTx/>
                <a:latin typeface="Arial" panose="020B0604020202020204" pitchFamily="34" charset="0"/>
                <a:ea typeface="+mn-ea"/>
                <a:cs typeface="Times New Roman" panose="02020603050405020304" pitchFamily="18" charset="0"/>
              </a:rPr>
              <a:t>. </a:t>
            </a:r>
            <a:r>
              <a:rPr kumimoji="0" lang="sv-SE" sz="1200" b="0" i="0" u="none" strike="noStrike" kern="1200" cap="none" spc="0" normalizeH="0" baseline="0" noProof="0" err="1">
                <a:ln>
                  <a:noFill/>
                </a:ln>
                <a:solidFill>
                  <a:srgbClr val="000000"/>
                </a:solidFill>
                <a:effectLst/>
                <a:uLnTx/>
                <a:uFillTx/>
                <a:latin typeface="Arial" panose="020B0604020202020204" pitchFamily="34" charset="0"/>
                <a:ea typeface="+mn-ea"/>
                <a:cs typeface="Times New Roman" panose="02020603050405020304" pitchFamily="18" charset="0"/>
              </a:rPr>
              <a:t>Once</a:t>
            </a:r>
            <a:r>
              <a:rPr kumimoji="0" lang="sv-SE" sz="1200" b="0" i="0" u="none" strike="noStrike" kern="1200" cap="none" spc="0" normalizeH="0" baseline="0" noProof="0">
                <a:ln>
                  <a:noFill/>
                </a:ln>
                <a:solidFill>
                  <a:srgbClr val="000000"/>
                </a:solidFill>
                <a:effectLst/>
                <a:uLnTx/>
                <a:uFillTx/>
                <a:latin typeface="Arial" panose="020B0604020202020204" pitchFamily="34" charset="0"/>
                <a:ea typeface="+mn-ea"/>
                <a:cs typeface="Times New Roman" panose="02020603050405020304" pitchFamily="18" charset="0"/>
              </a:rPr>
              <a:t> </a:t>
            </a:r>
            <a:r>
              <a:rPr kumimoji="0" lang="sv-SE" sz="1200" b="0" i="0" u="none" strike="noStrike" kern="1200" cap="none" spc="0" normalizeH="0" baseline="0" noProof="0" err="1">
                <a:ln>
                  <a:noFill/>
                </a:ln>
                <a:solidFill>
                  <a:srgbClr val="000000"/>
                </a:solidFill>
                <a:effectLst/>
                <a:uLnTx/>
                <a:uFillTx/>
                <a:latin typeface="Arial" panose="020B0604020202020204" pitchFamily="34" charset="0"/>
                <a:ea typeface="+mn-ea"/>
                <a:cs typeface="Times New Roman" panose="02020603050405020304" pitchFamily="18" charset="0"/>
              </a:rPr>
              <a:t>this</a:t>
            </a:r>
            <a:r>
              <a:rPr kumimoji="0" lang="sv-SE" sz="1200" b="0" i="0" u="none" strike="noStrike" kern="1200" cap="none" spc="0" normalizeH="0" baseline="0" noProof="0">
                <a:ln>
                  <a:noFill/>
                </a:ln>
                <a:solidFill>
                  <a:srgbClr val="000000"/>
                </a:solidFill>
                <a:effectLst/>
                <a:uLnTx/>
                <a:uFillTx/>
                <a:latin typeface="Arial" panose="020B0604020202020204" pitchFamily="34" charset="0"/>
                <a:ea typeface="+mn-ea"/>
                <a:cs typeface="Times New Roman" panose="02020603050405020304" pitchFamily="18" charset="0"/>
              </a:rPr>
              <a:t> information </a:t>
            </a:r>
            <a:r>
              <a:rPr kumimoji="0" lang="sv-SE" sz="1200" b="0" i="0" u="none" strike="noStrike" kern="1200" cap="none" spc="0" normalizeH="0" baseline="0" noProof="0" err="1">
                <a:ln>
                  <a:noFill/>
                </a:ln>
                <a:solidFill>
                  <a:srgbClr val="000000"/>
                </a:solidFill>
                <a:effectLst/>
                <a:uLnTx/>
                <a:uFillTx/>
                <a:latin typeface="Arial" panose="020B0604020202020204" pitchFamily="34" charset="0"/>
                <a:ea typeface="+mn-ea"/>
                <a:cs typeface="Times New Roman" panose="02020603050405020304" pitchFamily="18" charset="0"/>
              </a:rPr>
              <a:t>had</a:t>
            </a:r>
            <a:r>
              <a:rPr kumimoji="0" lang="sv-SE" sz="1200" b="0" i="0" u="none" strike="noStrike" kern="1200" cap="none" spc="0" normalizeH="0" baseline="0" noProof="0">
                <a:ln>
                  <a:noFill/>
                </a:ln>
                <a:solidFill>
                  <a:srgbClr val="000000"/>
                </a:solidFill>
                <a:effectLst/>
                <a:uLnTx/>
                <a:uFillTx/>
                <a:latin typeface="Arial" panose="020B0604020202020204" pitchFamily="34" charset="0"/>
                <a:ea typeface="+mn-ea"/>
                <a:cs typeface="Times New Roman" panose="02020603050405020304" pitchFamily="18" charset="0"/>
              </a:rPr>
              <a:t> </a:t>
            </a:r>
            <a:r>
              <a:rPr kumimoji="0" lang="sv-SE" sz="1200" b="0" i="0" u="none" strike="noStrike" kern="1200" cap="none" spc="0" normalizeH="0" baseline="0" noProof="0" err="1">
                <a:ln>
                  <a:noFill/>
                </a:ln>
                <a:solidFill>
                  <a:srgbClr val="000000"/>
                </a:solidFill>
                <a:effectLst/>
                <a:uLnTx/>
                <a:uFillTx/>
                <a:latin typeface="Arial" panose="020B0604020202020204" pitchFamily="34" charset="0"/>
                <a:ea typeface="+mn-ea"/>
                <a:cs typeface="Times New Roman" panose="02020603050405020304" pitchFamily="18" charset="0"/>
              </a:rPr>
              <a:t>been</a:t>
            </a:r>
            <a:r>
              <a:rPr kumimoji="0" lang="sv-SE" sz="1200" b="0" i="0" u="none" strike="noStrike" kern="1200" cap="none" spc="0" normalizeH="0" baseline="0" noProof="0">
                <a:ln>
                  <a:noFill/>
                </a:ln>
                <a:solidFill>
                  <a:srgbClr val="000000"/>
                </a:solidFill>
                <a:effectLst/>
                <a:uLnTx/>
                <a:uFillTx/>
                <a:latin typeface="Arial" panose="020B0604020202020204" pitchFamily="34" charset="0"/>
                <a:ea typeface="+mn-ea"/>
                <a:cs typeface="Times New Roman" panose="02020603050405020304" pitchFamily="18" charset="0"/>
              </a:rPr>
              <a:t> </a:t>
            </a:r>
            <a:r>
              <a:rPr kumimoji="0" lang="sv-SE" sz="1200" b="0" i="0" u="none" strike="noStrike" kern="1200" cap="none" spc="0" normalizeH="0" baseline="0" noProof="0" err="1">
                <a:ln>
                  <a:noFill/>
                </a:ln>
                <a:solidFill>
                  <a:srgbClr val="000000"/>
                </a:solidFill>
                <a:effectLst/>
                <a:uLnTx/>
                <a:uFillTx/>
                <a:latin typeface="Arial" panose="020B0604020202020204" pitchFamily="34" charset="0"/>
                <a:ea typeface="+mn-ea"/>
                <a:cs typeface="Times New Roman" panose="02020603050405020304" pitchFamily="18" charset="0"/>
              </a:rPr>
              <a:t>obtained</a:t>
            </a:r>
            <a:r>
              <a:rPr kumimoji="0" lang="sv-SE" sz="1200" b="0" i="0" u="none" strike="noStrike" kern="1200" cap="none" spc="0" normalizeH="0" baseline="0" noProof="0">
                <a:ln>
                  <a:noFill/>
                </a:ln>
                <a:solidFill>
                  <a:srgbClr val="000000"/>
                </a:solidFill>
                <a:effectLst/>
                <a:uLnTx/>
                <a:uFillTx/>
                <a:latin typeface="Arial" panose="020B0604020202020204" pitchFamily="34" charset="0"/>
                <a:ea typeface="+mn-ea"/>
                <a:cs typeface="Times New Roman" panose="02020603050405020304" pitchFamily="18" charset="0"/>
              </a:rPr>
              <a:t>, the </a:t>
            </a:r>
            <a:r>
              <a:rPr kumimoji="0" lang="sv-SE" sz="1200" b="0" i="0" u="none" strike="noStrike" kern="1200" cap="none" spc="0" normalizeH="0" baseline="0" noProof="0" err="1">
                <a:ln>
                  <a:noFill/>
                </a:ln>
                <a:solidFill>
                  <a:srgbClr val="000000"/>
                </a:solidFill>
                <a:effectLst/>
                <a:uLnTx/>
                <a:uFillTx/>
                <a:latin typeface="Arial" panose="020B0604020202020204" pitchFamily="34" charset="0"/>
                <a:ea typeface="+mn-ea"/>
                <a:cs typeface="Times New Roman" panose="02020603050405020304" pitchFamily="18" charset="0"/>
              </a:rPr>
              <a:t>impact</a:t>
            </a:r>
            <a:r>
              <a:rPr kumimoji="0" lang="sv-SE" sz="1200" b="0" i="0" u="none" strike="noStrike" kern="1200" cap="none" spc="0" normalizeH="0" baseline="0" noProof="0">
                <a:ln>
                  <a:noFill/>
                </a:ln>
                <a:solidFill>
                  <a:srgbClr val="000000"/>
                </a:solidFill>
                <a:effectLst/>
                <a:uLnTx/>
                <a:uFillTx/>
                <a:latin typeface="Arial" panose="020B0604020202020204" pitchFamily="34" charset="0"/>
                <a:ea typeface="+mn-ea"/>
                <a:cs typeface="Times New Roman" panose="02020603050405020304" pitchFamily="18" charset="0"/>
              </a:rPr>
              <a:t> </a:t>
            </a:r>
            <a:r>
              <a:rPr kumimoji="0" lang="sv-SE" sz="1200" b="0" i="0" u="none" strike="noStrike" kern="1200" cap="none" spc="0" normalizeH="0" baseline="0" noProof="0" err="1">
                <a:ln>
                  <a:noFill/>
                </a:ln>
                <a:solidFill>
                  <a:srgbClr val="000000"/>
                </a:solidFill>
                <a:effectLst/>
                <a:uLnTx/>
                <a:uFillTx/>
                <a:latin typeface="Arial" panose="020B0604020202020204" pitchFamily="34" charset="0"/>
                <a:ea typeface="+mn-ea"/>
                <a:cs typeface="Times New Roman" panose="02020603050405020304" pitchFamily="18" charset="0"/>
              </a:rPr>
              <a:t>that</a:t>
            </a:r>
            <a:r>
              <a:rPr kumimoji="0" lang="sv-SE" sz="1200" b="0" i="0" u="none" strike="noStrike" kern="1200" cap="none" spc="0" normalizeH="0" baseline="0" noProof="0">
                <a:ln>
                  <a:noFill/>
                </a:ln>
                <a:solidFill>
                  <a:srgbClr val="000000"/>
                </a:solidFill>
                <a:effectLst/>
                <a:uLnTx/>
                <a:uFillTx/>
                <a:latin typeface="Arial" panose="020B0604020202020204" pitchFamily="34" charset="0"/>
                <a:ea typeface="+mn-ea"/>
                <a:cs typeface="Times New Roman" panose="02020603050405020304" pitchFamily="18" charset="0"/>
              </a:rPr>
              <a:t> standards and </a:t>
            </a:r>
            <a:r>
              <a:rPr kumimoji="0" lang="sv-SE" sz="1200" b="0" i="0" u="none" strike="noStrike" kern="1200" cap="none" spc="0" normalizeH="0" baseline="0" noProof="0" err="1">
                <a:ln>
                  <a:noFill/>
                </a:ln>
                <a:solidFill>
                  <a:srgbClr val="000000"/>
                </a:solidFill>
                <a:effectLst/>
                <a:uLnTx/>
                <a:uFillTx/>
                <a:latin typeface="Arial" panose="020B0604020202020204" pitchFamily="34" charset="0"/>
                <a:ea typeface="+mn-ea"/>
                <a:cs typeface="Times New Roman" panose="02020603050405020304" pitchFamily="18" charset="0"/>
              </a:rPr>
              <a:t>barriers</a:t>
            </a:r>
            <a:r>
              <a:rPr kumimoji="0" lang="sv-SE" sz="1200" b="0" i="0" u="none" strike="noStrike" kern="1200" cap="none" spc="0" normalizeH="0" baseline="0" noProof="0">
                <a:ln>
                  <a:noFill/>
                </a:ln>
                <a:solidFill>
                  <a:srgbClr val="000000"/>
                </a:solidFill>
                <a:effectLst/>
                <a:uLnTx/>
                <a:uFillTx/>
                <a:latin typeface="Arial" panose="020B0604020202020204" pitchFamily="34" charset="0"/>
                <a:ea typeface="+mn-ea"/>
                <a:cs typeface="Times New Roman" panose="02020603050405020304" pitchFamily="18" charset="0"/>
              </a:rPr>
              <a:t> </a:t>
            </a:r>
            <a:r>
              <a:rPr kumimoji="0" lang="sv-SE" sz="1200" b="0" i="0" u="none" strike="noStrike" kern="1200" cap="none" spc="0" normalizeH="0" baseline="0" noProof="0" err="1">
                <a:ln>
                  <a:noFill/>
                </a:ln>
                <a:solidFill>
                  <a:srgbClr val="000000"/>
                </a:solidFill>
                <a:effectLst/>
                <a:uLnTx/>
                <a:uFillTx/>
                <a:latin typeface="Arial" panose="020B0604020202020204" pitchFamily="34" charset="0"/>
                <a:ea typeface="+mn-ea"/>
                <a:cs typeface="Times New Roman" panose="02020603050405020304" pitchFamily="18" charset="0"/>
              </a:rPr>
              <a:t>have</a:t>
            </a:r>
            <a:r>
              <a:rPr kumimoji="0" lang="sv-SE" sz="1200" b="0" i="0" u="none" strike="noStrike" kern="1200" cap="none" spc="0" normalizeH="0" baseline="0" noProof="0">
                <a:ln>
                  <a:noFill/>
                </a:ln>
                <a:solidFill>
                  <a:srgbClr val="000000"/>
                </a:solidFill>
                <a:effectLst/>
                <a:uLnTx/>
                <a:uFillTx/>
                <a:latin typeface="Arial" panose="020B0604020202020204" pitchFamily="34" charset="0"/>
                <a:ea typeface="+mn-ea"/>
                <a:cs typeface="Times New Roman" panose="02020603050405020304" pitchFamily="18" charset="0"/>
              </a:rPr>
              <a:t> on the </a:t>
            </a:r>
            <a:r>
              <a:rPr kumimoji="0" lang="en-GB" sz="1200" b="0" i="0" u="none" strike="noStrike" kern="1200" cap="none" spc="0" normalizeH="0" baseline="0" noProof="0">
                <a:ln>
                  <a:noFill/>
                </a:ln>
                <a:solidFill>
                  <a:srgbClr val="000000"/>
                </a:solidFill>
                <a:effectLst/>
                <a:uLnTx/>
                <a:uFillTx/>
                <a:latin typeface="Arial" panose="020B0604020202020204" pitchFamily="34" charset="0"/>
                <a:ea typeface="+mn-ea"/>
                <a:cs typeface="Times New Roman" panose="02020603050405020304" pitchFamily="18" charset="0"/>
              </a:rPr>
              <a:t>development</a:t>
            </a:r>
            <a:r>
              <a:rPr kumimoji="0" lang="sv-SE" sz="1200" b="0" i="0" u="none" strike="noStrike" kern="1200" cap="none" spc="0" normalizeH="0" baseline="0" noProof="0">
                <a:ln>
                  <a:noFill/>
                </a:ln>
                <a:solidFill>
                  <a:srgbClr val="000000"/>
                </a:solidFill>
                <a:effectLst/>
                <a:uLnTx/>
                <a:uFillTx/>
                <a:latin typeface="Arial" panose="020B0604020202020204" pitchFamily="34" charset="0"/>
                <a:ea typeface="+mn-ea"/>
                <a:cs typeface="Times New Roman" panose="02020603050405020304" pitchFamily="18" charset="0"/>
              </a:rPr>
              <a:t> </a:t>
            </a:r>
            <a:r>
              <a:rPr kumimoji="0" lang="sv-SE" sz="1200" b="0" i="0" u="none" strike="noStrike" kern="1200" cap="none" spc="0" normalizeH="0" baseline="0" noProof="0" err="1">
                <a:ln>
                  <a:noFill/>
                </a:ln>
                <a:solidFill>
                  <a:srgbClr val="000000"/>
                </a:solidFill>
                <a:effectLst/>
                <a:uLnTx/>
                <a:uFillTx/>
                <a:latin typeface="Arial" panose="020B0604020202020204" pitchFamily="34" charset="0"/>
                <a:ea typeface="+mn-ea"/>
                <a:cs typeface="Times New Roman" panose="02020603050405020304" pitchFamily="18" charset="0"/>
              </a:rPr>
              <a:t>of</a:t>
            </a:r>
            <a:r>
              <a:rPr kumimoji="0" lang="sv-SE" sz="1200" b="0" i="0" u="none" strike="noStrike" kern="1200" cap="none" spc="0" normalizeH="0" baseline="0" noProof="0">
                <a:ln>
                  <a:noFill/>
                </a:ln>
                <a:solidFill>
                  <a:srgbClr val="000000"/>
                </a:solidFill>
                <a:effectLst/>
                <a:uLnTx/>
                <a:uFillTx/>
                <a:latin typeface="Arial" panose="020B0604020202020204" pitchFamily="34" charset="0"/>
                <a:ea typeface="+mn-ea"/>
                <a:cs typeface="Times New Roman" panose="02020603050405020304" pitchFamily="18" charset="0"/>
              </a:rPr>
              <a:t> the </a:t>
            </a:r>
            <a:r>
              <a:rPr kumimoji="0" lang="sv-SE" sz="1200" b="0" i="0" u="none" strike="noStrike" kern="1200" cap="none" spc="0" normalizeH="0" baseline="0" noProof="0" err="1">
                <a:ln>
                  <a:noFill/>
                </a:ln>
                <a:solidFill>
                  <a:srgbClr val="000000"/>
                </a:solidFill>
                <a:effectLst/>
                <a:uLnTx/>
                <a:uFillTx/>
                <a:latin typeface="Arial" panose="020B0604020202020204" pitchFamily="34" charset="0"/>
                <a:ea typeface="+mn-ea"/>
                <a:cs typeface="Times New Roman" panose="02020603050405020304" pitchFamily="18" charset="0"/>
              </a:rPr>
              <a:t>project's</a:t>
            </a:r>
            <a:r>
              <a:rPr kumimoji="0" lang="sv-SE" sz="1200" b="0" i="0" u="none" strike="noStrike" kern="1200" cap="none" spc="0" normalizeH="0" baseline="0" noProof="0">
                <a:ln>
                  <a:noFill/>
                </a:ln>
                <a:solidFill>
                  <a:srgbClr val="000000"/>
                </a:solidFill>
                <a:effectLst/>
                <a:uLnTx/>
                <a:uFillTx/>
                <a:latin typeface="Arial" panose="020B0604020202020204" pitchFamily="34" charset="0"/>
                <a:ea typeface="+mn-ea"/>
                <a:cs typeface="Times New Roman" panose="02020603050405020304" pitchFamily="18" charset="0"/>
              </a:rPr>
              <a:t> </a:t>
            </a:r>
            <a:r>
              <a:rPr kumimoji="0" lang="sv-SE" sz="1200" b="0" i="0" u="none" strike="noStrike" kern="1200" cap="none" spc="0" normalizeH="0" baseline="0" noProof="0" err="1">
                <a:ln>
                  <a:noFill/>
                </a:ln>
                <a:solidFill>
                  <a:srgbClr val="000000"/>
                </a:solidFill>
                <a:effectLst/>
                <a:uLnTx/>
                <a:uFillTx/>
                <a:latin typeface="Arial" panose="020B0604020202020204" pitchFamily="34" charset="0"/>
                <a:ea typeface="+mn-ea"/>
                <a:cs typeface="Times New Roman" panose="02020603050405020304" pitchFamily="18" charset="0"/>
              </a:rPr>
              <a:t>technologies</a:t>
            </a:r>
            <a:r>
              <a:rPr kumimoji="0" lang="sv-SE" sz="1200" b="0" i="0" u="none" strike="noStrike" kern="1200" cap="none" spc="0" normalizeH="0" baseline="0" noProof="0">
                <a:ln>
                  <a:noFill/>
                </a:ln>
                <a:solidFill>
                  <a:srgbClr val="000000"/>
                </a:solidFill>
                <a:effectLst/>
                <a:uLnTx/>
                <a:uFillTx/>
                <a:latin typeface="Arial" panose="020B0604020202020204" pitchFamily="34" charset="0"/>
                <a:ea typeface="+mn-ea"/>
                <a:cs typeface="Times New Roman" panose="02020603050405020304" pitchFamily="18" charset="0"/>
              </a:rPr>
              <a:t> </a:t>
            </a:r>
            <a:r>
              <a:rPr kumimoji="0" lang="sv-SE" sz="1200" b="0" i="0" u="none" strike="noStrike" kern="1200" cap="none" spc="0" normalizeH="0" baseline="0" noProof="0" err="1">
                <a:ln>
                  <a:noFill/>
                </a:ln>
                <a:solidFill>
                  <a:srgbClr val="000000"/>
                </a:solidFill>
                <a:effectLst/>
                <a:uLnTx/>
                <a:uFillTx/>
                <a:latin typeface="Arial" panose="020B0604020202020204" pitchFamily="34" charset="0"/>
                <a:ea typeface="+mn-ea"/>
                <a:cs typeface="Times New Roman" panose="02020603050405020304" pitchFamily="18" charset="0"/>
              </a:rPr>
              <a:t>was</a:t>
            </a:r>
            <a:r>
              <a:rPr kumimoji="0" lang="sv-SE" sz="1200" b="0" i="0" u="none" strike="noStrike" kern="1200" cap="none" spc="0" normalizeH="0" baseline="0" noProof="0">
                <a:ln>
                  <a:noFill/>
                </a:ln>
                <a:solidFill>
                  <a:srgbClr val="000000"/>
                </a:solidFill>
                <a:effectLst/>
                <a:uLnTx/>
                <a:uFillTx/>
                <a:latin typeface="Arial" panose="020B0604020202020204" pitchFamily="34" charset="0"/>
                <a:ea typeface="+mn-ea"/>
                <a:cs typeface="Times New Roman" panose="02020603050405020304" pitchFamily="18" charset="0"/>
              </a:rPr>
              <a:t> </a:t>
            </a:r>
            <a:r>
              <a:rPr kumimoji="0" lang="sv-SE" sz="1200" b="0" i="0" u="none" strike="noStrike" kern="1200" cap="none" spc="0" normalizeH="0" baseline="0" noProof="0" err="1">
                <a:ln>
                  <a:noFill/>
                </a:ln>
                <a:solidFill>
                  <a:srgbClr val="000000"/>
                </a:solidFill>
                <a:effectLst/>
                <a:uLnTx/>
                <a:uFillTx/>
                <a:latin typeface="Arial" panose="020B0604020202020204" pitchFamily="34" charset="0"/>
                <a:ea typeface="+mn-ea"/>
                <a:cs typeface="Times New Roman" panose="02020603050405020304" pitchFamily="18" charset="0"/>
              </a:rPr>
              <a:t>analyzed</a:t>
            </a:r>
            <a:r>
              <a:rPr kumimoji="0" lang="sv-SE" sz="1200" b="0" i="0" u="none" strike="noStrike" kern="1200" cap="none" spc="0" normalizeH="0" baseline="0" noProof="0">
                <a:ln>
                  <a:noFill/>
                </a:ln>
                <a:solidFill>
                  <a:srgbClr val="000000"/>
                </a:solidFill>
                <a:effectLst/>
                <a:uLnTx/>
                <a:uFillTx/>
                <a:latin typeface="Arial" panose="020B0604020202020204" pitchFamily="34" charset="0"/>
                <a:ea typeface="+mn-ea"/>
                <a:cs typeface="Times New Roman" panose="02020603050405020304" pitchFamily="18" charset="0"/>
              </a:rPr>
              <a:t>. </a:t>
            </a:r>
            <a:r>
              <a:rPr kumimoji="0" lang="sv-SE" sz="1200" b="0" i="0" u="none" strike="noStrike" kern="1200" cap="none" spc="0" normalizeH="0" baseline="0" noProof="0" err="1">
                <a:ln>
                  <a:noFill/>
                </a:ln>
                <a:solidFill>
                  <a:srgbClr val="000000"/>
                </a:solidFill>
                <a:effectLst/>
                <a:uLnTx/>
                <a:uFillTx/>
                <a:latin typeface="Arial" panose="020B0604020202020204" pitchFamily="34" charset="0"/>
                <a:ea typeface="+mn-ea"/>
                <a:cs typeface="Times New Roman" panose="02020603050405020304" pitchFamily="18" charset="0"/>
              </a:rPr>
              <a:t>Finally</a:t>
            </a:r>
            <a:r>
              <a:rPr kumimoji="0" lang="sv-SE" sz="1200" b="0" i="0" u="none" strike="noStrike" kern="1200" cap="none" spc="0" normalizeH="0" baseline="0" noProof="0">
                <a:ln>
                  <a:noFill/>
                </a:ln>
                <a:solidFill>
                  <a:srgbClr val="000000"/>
                </a:solidFill>
                <a:effectLst/>
                <a:uLnTx/>
                <a:uFillTx/>
                <a:latin typeface="Arial" panose="020B0604020202020204" pitchFamily="34" charset="0"/>
                <a:ea typeface="+mn-ea"/>
                <a:cs typeface="Times New Roman" panose="02020603050405020304" pitchFamily="18" charset="0"/>
              </a:rPr>
              <a:t>, </a:t>
            </a:r>
            <a:r>
              <a:rPr kumimoji="0" lang="sv-SE" sz="1200" b="0" i="0" u="none" strike="noStrike" kern="1200" cap="none" spc="0" normalizeH="0" baseline="0" noProof="0" err="1">
                <a:ln>
                  <a:noFill/>
                </a:ln>
                <a:solidFill>
                  <a:srgbClr val="000000"/>
                </a:solidFill>
                <a:effectLst/>
                <a:uLnTx/>
                <a:uFillTx/>
                <a:latin typeface="Arial" panose="020B0604020202020204" pitchFamily="34" charset="0"/>
                <a:ea typeface="+mn-ea"/>
                <a:cs typeface="Times New Roman" panose="02020603050405020304" pitchFamily="18" charset="0"/>
              </a:rPr>
              <a:t>ideas</a:t>
            </a:r>
            <a:r>
              <a:rPr kumimoji="0" lang="sv-SE" sz="1200" b="0" i="0" u="none" strike="noStrike" kern="1200" cap="none" spc="0" normalizeH="0" baseline="0" noProof="0">
                <a:ln>
                  <a:noFill/>
                </a:ln>
                <a:solidFill>
                  <a:srgbClr val="000000"/>
                </a:solidFill>
                <a:effectLst/>
                <a:uLnTx/>
                <a:uFillTx/>
                <a:latin typeface="Arial" panose="020B0604020202020204" pitchFamily="34" charset="0"/>
                <a:ea typeface="+mn-ea"/>
                <a:cs typeface="Times New Roman" panose="02020603050405020304" pitchFamily="18" charset="0"/>
              </a:rPr>
              <a:t> and </a:t>
            </a:r>
            <a:r>
              <a:rPr kumimoji="0" lang="sv-SE" sz="1200" b="0" i="0" u="none" strike="noStrike" kern="1200" cap="none" spc="0" normalizeH="0" baseline="0" noProof="0" err="1">
                <a:ln>
                  <a:noFill/>
                </a:ln>
                <a:solidFill>
                  <a:srgbClr val="000000"/>
                </a:solidFill>
                <a:effectLst/>
                <a:uLnTx/>
                <a:uFillTx/>
                <a:latin typeface="Arial" panose="020B0604020202020204" pitchFamily="34" charset="0"/>
                <a:ea typeface="+mn-ea"/>
                <a:cs typeface="Times New Roman" panose="02020603050405020304" pitchFamily="18" charset="0"/>
              </a:rPr>
              <a:t>proposals</a:t>
            </a:r>
            <a:r>
              <a:rPr kumimoji="0" lang="sv-SE" sz="1200" b="0" i="0" u="none" strike="noStrike" kern="1200" cap="none" spc="0" normalizeH="0" baseline="0" noProof="0">
                <a:ln>
                  <a:noFill/>
                </a:ln>
                <a:solidFill>
                  <a:srgbClr val="000000"/>
                </a:solidFill>
                <a:effectLst/>
                <a:uLnTx/>
                <a:uFillTx/>
                <a:latin typeface="Arial" panose="020B0604020202020204" pitchFamily="34" charset="0"/>
                <a:ea typeface="+mn-ea"/>
                <a:cs typeface="Times New Roman" panose="02020603050405020304" pitchFamily="18" charset="0"/>
              </a:rPr>
              <a:t> for </a:t>
            </a:r>
            <a:r>
              <a:rPr kumimoji="0" lang="sv-SE" sz="1200" b="0" i="0" u="none" strike="noStrike" kern="1200" cap="none" spc="0" normalizeH="0" baseline="0" noProof="0" err="1">
                <a:ln>
                  <a:noFill/>
                </a:ln>
                <a:solidFill>
                  <a:srgbClr val="000000"/>
                </a:solidFill>
                <a:effectLst/>
                <a:uLnTx/>
                <a:uFillTx/>
                <a:latin typeface="Arial" panose="020B0604020202020204" pitchFamily="34" charset="0"/>
                <a:ea typeface="+mn-ea"/>
                <a:cs typeface="Times New Roman" panose="02020603050405020304" pitchFamily="18" charset="0"/>
              </a:rPr>
              <a:t>improvement</a:t>
            </a:r>
            <a:r>
              <a:rPr kumimoji="0" lang="sv-SE" sz="1200" b="0" i="0" u="none" strike="noStrike" kern="1200" cap="none" spc="0" normalizeH="0" baseline="0" noProof="0">
                <a:ln>
                  <a:noFill/>
                </a:ln>
                <a:solidFill>
                  <a:srgbClr val="000000"/>
                </a:solidFill>
                <a:effectLst/>
                <a:uLnTx/>
                <a:uFillTx/>
                <a:latin typeface="Arial" panose="020B0604020202020204" pitchFamily="34" charset="0"/>
                <a:ea typeface="+mn-ea"/>
                <a:cs typeface="Times New Roman" panose="02020603050405020304" pitchFamily="18" charset="0"/>
              </a:rPr>
              <a:t> </a:t>
            </a:r>
            <a:r>
              <a:rPr kumimoji="0" lang="sv-SE" sz="1200" b="0" i="0" u="none" strike="noStrike" kern="1200" cap="none" spc="0" normalizeH="0" baseline="0" noProof="0" err="1">
                <a:ln>
                  <a:noFill/>
                </a:ln>
                <a:solidFill>
                  <a:srgbClr val="000000"/>
                </a:solidFill>
                <a:effectLst/>
                <a:uLnTx/>
                <a:uFillTx/>
                <a:latin typeface="Arial" panose="020B0604020202020204" pitchFamily="34" charset="0"/>
                <a:ea typeface="+mn-ea"/>
                <a:cs typeface="Times New Roman" panose="02020603050405020304" pitchFamily="18" charset="0"/>
              </a:rPr>
              <a:t>are</a:t>
            </a:r>
            <a:r>
              <a:rPr kumimoji="0" lang="sv-SE" sz="1200" b="0" i="0" u="none" strike="noStrike" kern="1200" cap="none" spc="0" normalizeH="0" baseline="0" noProof="0">
                <a:ln>
                  <a:noFill/>
                </a:ln>
                <a:solidFill>
                  <a:srgbClr val="000000"/>
                </a:solidFill>
                <a:effectLst/>
                <a:uLnTx/>
                <a:uFillTx/>
                <a:latin typeface="Arial" panose="020B0604020202020204" pitchFamily="34" charset="0"/>
                <a:ea typeface="+mn-ea"/>
                <a:cs typeface="Times New Roman" panose="02020603050405020304" pitchFamily="18" charset="0"/>
              </a:rPr>
              <a:t> </a:t>
            </a:r>
            <a:r>
              <a:rPr kumimoji="0" lang="sv-SE" sz="1200" b="0" i="0" u="none" strike="noStrike" kern="1200" cap="none" spc="0" normalizeH="0" baseline="0" noProof="0" err="1">
                <a:ln>
                  <a:noFill/>
                </a:ln>
                <a:solidFill>
                  <a:srgbClr val="000000"/>
                </a:solidFill>
                <a:effectLst/>
                <a:uLnTx/>
                <a:uFillTx/>
                <a:latin typeface="Arial" panose="020B0604020202020204" pitchFamily="34" charset="0"/>
                <a:ea typeface="+mn-ea"/>
                <a:cs typeface="Times New Roman" panose="02020603050405020304" pitchFamily="18" charset="0"/>
              </a:rPr>
              <a:t>provided</a:t>
            </a:r>
            <a:r>
              <a:rPr kumimoji="0" lang="sv-SE" sz="1200" b="0" i="0" u="none" strike="noStrike" kern="1200" cap="none" spc="0" normalizeH="0" baseline="0" noProof="0">
                <a:ln>
                  <a:noFill/>
                </a:ln>
                <a:solidFill>
                  <a:srgbClr val="000000"/>
                </a:solidFill>
                <a:effectLst/>
                <a:uLnTx/>
                <a:uFillTx/>
                <a:latin typeface="Arial" panose="020B0604020202020204" pitchFamily="34" charset="0"/>
                <a:ea typeface="+mn-ea"/>
                <a:cs typeface="Times New Roman" panose="02020603050405020304" pitchFamily="18" charset="0"/>
              </a:rPr>
              <a:t> to try to </a:t>
            </a:r>
            <a:r>
              <a:rPr kumimoji="0" lang="sv-SE" sz="1200" b="0" i="0" u="none" strike="noStrike" kern="1200" cap="none" spc="0" normalizeH="0" baseline="0" noProof="0" err="1">
                <a:ln>
                  <a:noFill/>
                </a:ln>
                <a:solidFill>
                  <a:srgbClr val="000000"/>
                </a:solidFill>
                <a:effectLst/>
                <a:uLnTx/>
                <a:uFillTx/>
                <a:latin typeface="Arial" panose="020B0604020202020204" pitchFamily="34" charset="0"/>
                <a:ea typeface="+mn-ea"/>
                <a:cs typeface="Times New Roman" panose="02020603050405020304" pitchFamily="18" charset="0"/>
              </a:rPr>
              <a:t>ensure</a:t>
            </a:r>
            <a:r>
              <a:rPr kumimoji="0" lang="sv-SE" sz="1200" b="0" i="0" u="none" strike="noStrike" kern="1200" cap="none" spc="0" normalizeH="0" baseline="0" noProof="0">
                <a:ln>
                  <a:noFill/>
                </a:ln>
                <a:solidFill>
                  <a:srgbClr val="000000"/>
                </a:solidFill>
                <a:effectLst/>
                <a:uLnTx/>
                <a:uFillTx/>
                <a:latin typeface="Arial" panose="020B0604020202020204" pitchFamily="34" charset="0"/>
                <a:ea typeface="+mn-ea"/>
                <a:cs typeface="Times New Roman" panose="02020603050405020304" pitchFamily="18" charset="0"/>
              </a:rPr>
              <a:t> </a:t>
            </a:r>
            <a:r>
              <a:rPr kumimoji="0" lang="sv-SE" sz="1200" b="0" i="0" u="none" strike="noStrike" kern="1200" cap="none" spc="0" normalizeH="0" baseline="0" noProof="0" err="1">
                <a:ln>
                  <a:noFill/>
                </a:ln>
                <a:solidFill>
                  <a:srgbClr val="000000"/>
                </a:solidFill>
                <a:effectLst/>
                <a:uLnTx/>
                <a:uFillTx/>
                <a:latin typeface="Arial" panose="020B0604020202020204" pitchFamily="34" charset="0"/>
                <a:ea typeface="+mn-ea"/>
                <a:cs typeface="Times New Roman" panose="02020603050405020304" pitchFamily="18" charset="0"/>
              </a:rPr>
              <a:t>that</a:t>
            </a:r>
            <a:r>
              <a:rPr kumimoji="0" lang="sv-SE" sz="1200" b="0" i="0" u="none" strike="noStrike" kern="1200" cap="none" spc="0" normalizeH="0" baseline="0" noProof="0">
                <a:ln>
                  <a:noFill/>
                </a:ln>
                <a:solidFill>
                  <a:srgbClr val="000000"/>
                </a:solidFill>
                <a:effectLst/>
                <a:uLnTx/>
                <a:uFillTx/>
                <a:latin typeface="Arial" panose="020B0604020202020204" pitchFamily="34" charset="0"/>
                <a:ea typeface="+mn-ea"/>
                <a:cs typeface="Times New Roman" panose="02020603050405020304" pitchFamily="18" charset="0"/>
              </a:rPr>
              <a:t> </a:t>
            </a:r>
            <a:r>
              <a:rPr kumimoji="0" lang="sv-SE" sz="1200" b="0" i="0" u="none" strike="noStrike" kern="1200" cap="none" spc="0" normalizeH="0" baseline="0" noProof="0" err="1">
                <a:ln>
                  <a:noFill/>
                </a:ln>
                <a:solidFill>
                  <a:srgbClr val="000000"/>
                </a:solidFill>
                <a:effectLst/>
                <a:uLnTx/>
                <a:uFillTx/>
                <a:latin typeface="Arial" panose="020B0604020202020204" pitchFamily="34" charset="0"/>
                <a:ea typeface="+mn-ea"/>
                <a:cs typeface="Times New Roman" panose="02020603050405020304" pitchFamily="18" charset="0"/>
              </a:rPr>
              <a:t>environmental</a:t>
            </a:r>
            <a:r>
              <a:rPr kumimoji="0" lang="sv-SE" sz="1200" b="0" i="0" u="none" strike="noStrike" kern="1200" cap="none" spc="0" normalizeH="0" baseline="0" noProof="0">
                <a:ln>
                  <a:noFill/>
                </a:ln>
                <a:solidFill>
                  <a:srgbClr val="000000"/>
                </a:solidFill>
                <a:effectLst/>
                <a:uLnTx/>
                <a:uFillTx/>
                <a:latin typeface="Arial" panose="020B0604020202020204" pitchFamily="34" charset="0"/>
                <a:ea typeface="+mn-ea"/>
                <a:cs typeface="Times New Roman" panose="02020603050405020304" pitchFamily="18" charset="0"/>
              </a:rPr>
              <a:t> </a:t>
            </a:r>
            <a:r>
              <a:rPr kumimoji="0" lang="sv-SE" sz="1200" b="0" i="0" u="none" strike="noStrike" kern="1200" cap="none" spc="0" normalizeH="0" baseline="0" noProof="0" err="1">
                <a:ln>
                  <a:noFill/>
                </a:ln>
                <a:solidFill>
                  <a:srgbClr val="000000"/>
                </a:solidFill>
                <a:effectLst/>
                <a:uLnTx/>
                <a:uFillTx/>
                <a:latin typeface="Arial" panose="020B0604020202020204" pitchFamily="34" charset="0"/>
                <a:ea typeface="+mn-ea"/>
                <a:cs typeface="Times New Roman" panose="02020603050405020304" pitchFamily="18" charset="0"/>
              </a:rPr>
              <a:t>regulations</a:t>
            </a:r>
            <a:r>
              <a:rPr kumimoji="0" lang="sv-SE" sz="1200" b="0" i="0" u="none" strike="noStrike" kern="1200" cap="none" spc="0" normalizeH="0" baseline="0" noProof="0">
                <a:ln>
                  <a:noFill/>
                </a:ln>
                <a:solidFill>
                  <a:srgbClr val="000000"/>
                </a:solidFill>
                <a:effectLst/>
                <a:uLnTx/>
                <a:uFillTx/>
                <a:latin typeface="Arial" panose="020B0604020202020204" pitchFamily="34" charset="0"/>
                <a:ea typeface="+mn-ea"/>
                <a:cs typeface="Times New Roman" panose="02020603050405020304" pitchFamily="18" charset="0"/>
              </a:rPr>
              <a:t> </a:t>
            </a:r>
            <a:r>
              <a:rPr kumimoji="0" lang="sv-SE" sz="1200" b="0" i="0" u="none" strike="noStrike" kern="1200" cap="none" spc="0" normalizeH="0" baseline="0" noProof="0" err="1">
                <a:ln>
                  <a:noFill/>
                </a:ln>
                <a:solidFill>
                  <a:srgbClr val="000000"/>
                </a:solidFill>
                <a:effectLst/>
                <a:uLnTx/>
                <a:uFillTx/>
                <a:latin typeface="Arial" panose="020B0604020202020204" pitchFamily="34" charset="0"/>
                <a:ea typeface="+mn-ea"/>
                <a:cs typeface="Times New Roman" panose="02020603050405020304" pitchFamily="18" charset="0"/>
              </a:rPr>
              <a:t>have</a:t>
            </a:r>
            <a:r>
              <a:rPr kumimoji="0" lang="sv-SE" sz="1200" b="0" i="0" u="none" strike="noStrike" kern="1200" cap="none" spc="0" normalizeH="0" baseline="0" noProof="0">
                <a:ln>
                  <a:noFill/>
                </a:ln>
                <a:solidFill>
                  <a:srgbClr val="000000"/>
                </a:solidFill>
                <a:effectLst/>
                <a:uLnTx/>
                <a:uFillTx/>
                <a:latin typeface="Arial" panose="020B0604020202020204" pitchFamily="34" charset="0"/>
                <a:ea typeface="+mn-ea"/>
                <a:cs typeface="Times New Roman" panose="02020603050405020304" pitchFamily="18" charset="0"/>
              </a:rPr>
              <a:t> a </a:t>
            </a:r>
            <a:r>
              <a:rPr kumimoji="0" lang="sv-SE" sz="1200" b="0" i="0" u="none" strike="noStrike" kern="1200" cap="none" spc="0" normalizeH="0" baseline="0" noProof="0" err="1">
                <a:ln>
                  <a:noFill/>
                </a:ln>
                <a:solidFill>
                  <a:srgbClr val="000000"/>
                </a:solidFill>
                <a:effectLst/>
                <a:uLnTx/>
                <a:uFillTx/>
                <a:latin typeface="Arial" panose="020B0604020202020204" pitchFamily="34" charset="0"/>
                <a:ea typeface="+mn-ea"/>
                <a:cs typeface="Times New Roman" panose="02020603050405020304" pitchFamily="18" charset="0"/>
              </a:rPr>
              <a:t>more</a:t>
            </a:r>
            <a:r>
              <a:rPr kumimoji="0" lang="sv-SE" sz="1200" b="0" i="0" u="none" strike="noStrike" kern="1200" cap="none" spc="0" normalizeH="0" baseline="0" noProof="0">
                <a:ln>
                  <a:noFill/>
                </a:ln>
                <a:solidFill>
                  <a:srgbClr val="000000"/>
                </a:solidFill>
                <a:effectLst/>
                <a:uLnTx/>
                <a:uFillTx/>
                <a:latin typeface="Arial" panose="020B0604020202020204" pitchFamily="34" charset="0"/>
                <a:ea typeface="+mn-ea"/>
                <a:cs typeface="Times New Roman" panose="02020603050405020304" pitchFamily="18" charset="0"/>
              </a:rPr>
              <a:t> positive </a:t>
            </a:r>
            <a:r>
              <a:rPr kumimoji="0" lang="sv-SE" sz="1200" b="0" i="0" u="none" strike="noStrike" kern="1200" cap="none" spc="0" normalizeH="0" baseline="0" noProof="0" err="1">
                <a:ln>
                  <a:noFill/>
                </a:ln>
                <a:solidFill>
                  <a:srgbClr val="000000"/>
                </a:solidFill>
                <a:effectLst/>
                <a:uLnTx/>
                <a:uFillTx/>
                <a:latin typeface="Arial" panose="020B0604020202020204" pitchFamily="34" charset="0"/>
                <a:ea typeface="+mn-ea"/>
                <a:cs typeface="Times New Roman" panose="02020603050405020304" pitchFamily="18" charset="0"/>
              </a:rPr>
              <a:t>impact</a:t>
            </a:r>
            <a:r>
              <a:rPr kumimoji="0" lang="sv-SE" sz="1200" b="0" i="0" u="none" strike="noStrike" kern="1200" cap="none" spc="0" normalizeH="0" baseline="0" noProof="0">
                <a:ln>
                  <a:noFill/>
                </a:ln>
                <a:solidFill>
                  <a:srgbClr val="000000"/>
                </a:solidFill>
                <a:effectLst/>
                <a:uLnTx/>
                <a:uFillTx/>
                <a:latin typeface="Arial" panose="020B0604020202020204" pitchFamily="34" charset="0"/>
                <a:ea typeface="+mn-ea"/>
                <a:cs typeface="Times New Roman" panose="02020603050405020304" pitchFamily="18" charset="0"/>
              </a:rPr>
              <a:t> on the progress </a:t>
            </a:r>
            <a:r>
              <a:rPr kumimoji="0" lang="sv-SE" sz="1200" b="0" i="0" u="none" strike="noStrike" kern="1200" cap="none" spc="0" normalizeH="0" baseline="0" noProof="0" err="1">
                <a:ln>
                  <a:noFill/>
                </a:ln>
                <a:solidFill>
                  <a:srgbClr val="000000"/>
                </a:solidFill>
                <a:effectLst/>
                <a:uLnTx/>
                <a:uFillTx/>
                <a:latin typeface="Arial" panose="020B0604020202020204" pitchFamily="34" charset="0"/>
                <a:ea typeface="+mn-ea"/>
                <a:cs typeface="Times New Roman" panose="02020603050405020304" pitchFamily="18" charset="0"/>
              </a:rPr>
              <a:t>of</a:t>
            </a:r>
            <a:r>
              <a:rPr kumimoji="0" lang="sv-SE" sz="1200" b="0" i="0" u="none" strike="noStrike" kern="1200" cap="none" spc="0" normalizeH="0" baseline="0" noProof="0">
                <a:ln>
                  <a:noFill/>
                </a:ln>
                <a:solidFill>
                  <a:srgbClr val="000000"/>
                </a:solidFill>
                <a:effectLst/>
                <a:uLnTx/>
                <a:uFillTx/>
                <a:latin typeface="Arial" panose="020B0604020202020204" pitchFamily="34" charset="0"/>
                <a:ea typeface="+mn-ea"/>
                <a:cs typeface="Times New Roman" panose="02020603050405020304" pitchFamily="18" charset="0"/>
              </a:rPr>
              <a:t> the </a:t>
            </a:r>
            <a:r>
              <a:rPr kumimoji="0" lang="sv-SE" sz="1200" b="0" i="0" u="none" strike="noStrike" kern="1200" cap="none" spc="0" normalizeH="0" baseline="0" noProof="0" err="1">
                <a:ln>
                  <a:noFill/>
                </a:ln>
                <a:solidFill>
                  <a:srgbClr val="000000"/>
                </a:solidFill>
                <a:effectLst/>
                <a:uLnTx/>
                <a:uFillTx/>
                <a:latin typeface="Arial" panose="020B0604020202020204" pitchFamily="34" charset="0"/>
                <a:ea typeface="+mn-ea"/>
                <a:cs typeface="Times New Roman" panose="02020603050405020304" pitchFamily="18" charset="0"/>
              </a:rPr>
              <a:t>technologies</a:t>
            </a:r>
            <a:r>
              <a:rPr kumimoji="0" lang="sv-SE" sz="1200" b="0" i="0" u="none" strike="noStrike" kern="1200" cap="none" spc="0" normalizeH="0" baseline="0" noProof="0">
                <a:ln>
                  <a:noFill/>
                </a:ln>
                <a:solidFill>
                  <a:srgbClr val="000000"/>
                </a:solidFill>
                <a:effectLst/>
                <a:uLnTx/>
                <a:uFillTx/>
                <a:latin typeface="Arial" panose="020B0604020202020204" pitchFamily="34" charset="0"/>
                <a:ea typeface="+mn-ea"/>
                <a:cs typeface="Times New Roman" panose="02020603050405020304" pitchFamily="18" charset="0"/>
              </a:rPr>
              <a:t> </a:t>
            </a:r>
            <a:r>
              <a:rPr kumimoji="0" lang="sv-SE" sz="1200" b="0" i="0" u="none" strike="noStrike" kern="1200" cap="none" spc="0" normalizeH="0" baseline="0" noProof="0" err="1">
                <a:ln>
                  <a:noFill/>
                </a:ln>
                <a:solidFill>
                  <a:srgbClr val="000000"/>
                </a:solidFill>
                <a:effectLst/>
                <a:uLnTx/>
                <a:uFillTx/>
                <a:latin typeface="Arial" panose="020B0604020202020204" pitchFamily="34" charset="0"/>
                <a:ea typeface="+mn-ea"/>
                <a:cs typeface="Times New Roman" panose="02020603050405020304" pitchFamily="18" charset="0"/>
              </a:rPr>
              <a:t>developed</a:t>
            </a:r>
            <a:r>
              <a:rPr kumimoji="0" lang="sv-SE" sz="1200" b="0" i="0" u="none" strike="noStrike" kern="1200" cap="none" spc="0" normalizeH="0" baseline="0" noProof="0">
                <a:ln>
                  <a:noFill/>
                </a:ln>
                <a:solidFill>
                  <a:srgbClr val="000000"/>
                </a:solidFill>
                <a:effectLst/>
                <a:uLnTx/>
                <a:uFillTx/>
                <a:latin typeface="Arial" panose="020B0604020202020204" pitchFamily="34" charset="0"/>
                <a:ea typeface="+mn-ea"/>
                <a:cs typeface="Times New Roman" panose="02020603050405020304" pitchFamily="18" charset="0"/>
              </a:rPr>
              <a:t>. In </a:t>
            </a:r>
            <a:r>
              <a:rPr kumimoji="0" lang="sv-SE" sz="1200" b="0" i="0" u="none" strike="noStrike" kern="1200" cap="none" spc="0" normalizeH="0" baseline="0" noProof="0" err="1">
                <a:ln>
                  <a:noFill/>
                </a:ln>
                <a:solidFill>
                  <a:srgbClr val="000000"/>
                </a:solidFill>
                <a:effectLst/>
                <a:uLnTx/>
                <a:uFillTx/>
                <a:latin typeface="Arial" panose="020B0604020202020204" pitchFamily="34" charset="0"/>
                <a:ea typeface="+mn-ea"/>
                <a:cs typeface="Times New Roman" panose="02020603050405020304" pitchFamily="18" charset="0"/>
              </a:rPr>
              <a:t>this</a:t>
            </a:r>
            <a:r>
              <a:rPr kumimoji="0" lang="sv-SE" sz="1200" b="0" i="0" u="none" strike="noStrike" kern="1200" cap="none" spc="0" normalizeH="0" baseline="0" noProof="0">
                <a:ln>
                  <a:noFill/>
                </a:ln>
                <a:solidFill>
                  <a:srgbClr val="000000"/>
                </a:solidFill>
                <a:effectLst/>
                <a:uLnTx/>
                <a:uFillTx/>
                <a:latin typeface="Arial" panose="020B0604020202020204" pitchFamily="34" charset="0"/>
                <a:ea typeface="+mn-ea"/>
                <a:cs typeface="Times New Roman" panose="02020603050405020304" pitchFamily="18" charset="0"/>
              </a:rPr>
              <a:t> </a:t>
            </a:r>
            <a:r>
              <a:rPr kumimoji="0" lang="sv-SE" sz="1200" b="0" i="0" u="none" strike="noStrike" kern="1200" cap="none" spc="0" normalizeH="0" baseline="0" noProof="0" err="1">
                <a:ln>
                  <a:noFill/>
                </a:ln>
                <a:solidFill>
                  <a:srgbClr val="000000"/>
                </a:solidFill>
                <a:effectLst/>
                <a:uLnTx/>
                <a:uFillTx/>
                <a:latin typeface="Arial" panose="020B0604020202020204" pitchFamily="34" charset="0"/>
                <a:ea typeface="+mn-ea"/>
                <a:cs typeface="Times New Roman" panose="02020603050405020304" pitchFamily="18" charset="0"/>
              </a:rPr>
              <a:t>section</a:t>
            </a:r>
            <a:r>
              <a:rPr kumimoji="0" lang="sv-SE" sz="1200" b="0" i="0" u="none" strike="noStrike" kern="1200" cap="none" spc="0" normalizeH="0" baseline="0" noProof="0">
                <a:ln>
                  <a:noFill/>
                </a:ln>
                <a:solidFill>
                  <a:srgbClr val="000000"/>
                </a:solidFill>
                <a:effectLst/>
                <a:uLnTx/>
                <a:uFillTx/>
                <a:latin typeface="Arial" panose="020B0604020202020204" pitchFamily="34" charset="0"/>
                <a:ea typeface="+mn-ea"/>
                <a:cs typeface="Times New Roman" panose="02020603050405020304" pitchFamily="18" charset="0"/>
              </a:rPr>
              <a:t> </a:t>
            </a:r>
            <a:r>
              <a:rPr kumimoji="0" lang="sv-SE" sz="1200" b="0" i="0" u="none" strike="noStrike" kern="1200" cap="none" spc="0" normalizeH="0" baseline="0" noProof="0" err="1">
                <a:ln>
                  <a:noFill/>
                </a:ln>
                <a:solidFill>
                  <a:srgbClr val="000000"/>
                </a:solidFill>
                <a:effectLst/>
                <a:uLnTx/>
                <a:uFillTx/>
                <a:latin typeface="Arial" panose="020B0604020202020204" pitchFamily="34" charset="0"/>
                <a:ea typeface="+mn-ea"/>
                <a:cs typeface="Times New Roman" panose="02020603050405020304" pitchFamily="18" charset="0"/>
              </a:rPr>
              <a:t>you</a:t>
            </a:r>
            <a:r>
              <a:rPr kumimoji="0" lang="sv-SE" sz="1200" b="0" i="0" u="none" strike="noStrike" kern="1200" cap="none" spc="0" normalizeH="0" baseline="0" noProof="0">
                <a:ln>
                  <a:noFill/>
                </a:ln>
                <a:solidFill>
                  <a:srgbClr val="000000"/>
                </a:solidFill>
                <a:effectLst/>
                <a:uLnTx/>
                <a:uFillTx/>
                <a:latin typeface="Arial" panose="020B0604020202020204" pitchFamily="34" charset="0"/>
                <a:ea typeface="+mn-ea"/>
                <a:cs typeface="Times New Roman" panose="02020603050405020304" pitchFamily="18" charset="0"/>
              </a:rPr>
              <a:t> </a:t>
            </a:r>
            <a:r>
              <a:rPr kumimoji="0" lang="sv-SE" sz="1200" b="0" i="0" u="none" strike="noStrike" kern="1200" cap="none" spc="0" normalizeH="0" baseline="0" noProof="0" err="1">
                <a:ln>
                  <a:noFill/>
                </a:ln>
                <a:solidFill>
                  <a:srgbClr val="000000"/>
                </a:solidFill>
                <a:effectLst/>
                <a:uLnTx/>
                <a:uFillTx/>
                <a:latin typeface="Arial" panose="020B0604020202020204" pitchFamily="34" charset="0"/>
                <a:ea typeface="+mn-ea"/>
                <a:cs typeface="Times New Roman" panose="02020603050405020304" pitchFamily="18" charset="0"/>
              </a:rPr>
              <a:t>can</a:t>
            </a:r>
            <a:r>
              <a:rPr kumimoji="0" lang="sv-SE" sz="1200" b="0" i="0" u="none" strike="noStrike" kern="1200" cap="none" spc="0" normalizeH="0" baseline="0" noProof="0">
                <a:ln>
                  <a:noFill/>
                </a:ln>
                <a:solidFill>
                  <a:srgbClr val="000000"/>
                </a:solidFill>
                <a:effectLst/>
                <a:uLnTx/>
                <a:uFillTx/>
                <a:latin typeface="Arial" panose="020B0604020202020204" pitchFamily="34" charset="0"/>
                <a:ea typeface="+mn-ea"/>
                <a:cs typeface="Times New Roman" panose="02020603050405020304" pitchFamily="18" charset="0"/>
              </a:rPr>
              <a:t> read </a:t>
            </a:r>
            <a:r>
              <a:rPr kumimoji="0" lang="sv-SE" sz="1200" b="0" i="0" u="none" strike="noStrike" kern="1200" cap="none" spc="0" normalizeH="0" baseline="0" noProof="0" err="1">
                <a:ln>
                  <a:noFill/>
                </a:ln>
                <a:solidFill>
                  <a:srgbClr val="000000"/>
                </a:solidFill>
                <a:effectLst/>
                <a:uLnTx/>
                <a:uFillTx/>
                <a:latin typeface="Arial" panose="020B0604020202020204" pitchFamily="34" charset="0"/>
                <a:ea typeface="+mn-ea"/>
                <a:cs typeface="Times New Roman" panose="02020603050405020304" pitchFamily="18" charset="0"/>
              </a:rPr>
              <a:t>more</a:t>
            </a:r>
            <a:r>
              <a:rPr kumimoji="0" lang="sv-SE" sz="1200" b="0" i="0" u="none" strike="noStrike" kern="1200" cap="none" spc="0" normalizeH="0" baseline="0" noProof="0">
                <a:ln>
                  <a:noFill/>
                </a:ln>
                <a:solidFill>
                  <a:srgbClr val="000000"/>
                </a:solidFill>
                <a:effectLst/>
                <a:uLnTx/>
                <a:uFillTx/>
                <a:latin typeface="Arial" panose="020B0604020202020204" pitchFamily="34" charset="0"/>
                <a:ea typeface="+mn-ea"/>
                <a:cs typeface="Times New Roman" panose="02020603050405020304" pitchFamily="18" charset="0"/>
              </a:rPr>
              <a:t> </a:t>
            </a:r>
            <a:r>
              <a:rPr kumimoji="0" lang="sv-SE" sz="1200" b="0" i="0" u="none" strike="noStrike" kern="1200" cap="none" spc="0" normalizeH="0" baseline="0" noProof="0" err="1">
                <a:ln>
                  <a:noFill/>
                </a:ln>
                <a:solidFill>
                  <a:srgbClr val="000000"/>
                </a:solidFill>
                <a:effectLst/>
                <a:uLnTx/>
                <a:uFillTx/>
                <a:latin typeface="Arial" panose="020B0604020202020204" pitchFamily="34" charset="0"/>
                <a:ea typeface="+mn-ea"/>
                <a:cs typeface="Times New Roman" panose="02020603050405020304" pitchFamily="18" charset="0"/>
              </a:rPr>
              <a:t>about</a:t>
            </a:r>
            <a:r>
              <a:rPr kumimoji="0" lang="sv-SE" sz="1200" b="0" i="0" u="none" strike="noStrike" kern="1200" cap="none" spc="0" normalizeH="0" baseline="0" noProof="0">
                <a:ln>
                  <a:noFill/>
                </a:ln>
                <a:solidFill>
                  <a:srgbClr val="000000"/>
                </a:solidFill>
                <a:effectLst/>
                <a:uLnTx/>
                <a:uFillTx/>
                <a:latin typeface="Arial" panose="020B0604020202020204" pitchFamily="34" charset="0"/>
                <a:ea typeface="+mn-ea"/>
                <a:cs typeface="Times New Roman" panose="02020603050405020304" pitchFamily="18" charset="0"/>
              </a:rPr>
              <a:t> the </a:t>
            </a:r>
            <a:r>
              <a:rPr kumimoji="0" lang="sv-SE" sz="1200" b="0" i="0" u="none" strike="noStrike" kern="1200" cap="none" spc="0" normalizeH="0" baseline="0" noProof="0" err="1">
                <a:ln>
                  <a:noFill/>
                </a:ln>
                <a:solidFill>
                  <a:srgbClr val="000000"/>
                </a:solidFill>
                <a:effectLst/>
                <a:uLnTx/>
                <a:uFillTx/>
                <a:latin typeface="Arial" panose="020B0604020202020204" pitchFamily="34" charset="0"/>
                <a:ea typeface="+mn-ea"/>
                <a:cs typeface="Times New Roman" panose="02020603050405020304" pitchFamily="18" charset="0"/>
              </a:rPr>
              <a:t>ideas</a:t>
            </a:r>
            <a:r>
              <a:rPr kumimoji="0" lang="sv-SE" sz="1200" b="0" i="0" u="none" strike="noStrike" kern="1200" cap="none" spc="0" normalizeH="0" baseline="0" noProof="0">
                <a:ln>
                  <a:noFill/>
                </a:ln>
                <a:solidFill>
                  <a:srgbClr val="000000"/>
                </a:solidFill>
                <a:effectLst/>
                <a:uLnTx/>
                <a:uFillTx/>
                <a:latin typeface="Arial" panose="020B0604020202020204" pitchFamily="34" charset="0"/>
                <a:ea typeface="+mn-ea"/>
                <a:cs typeface="Times New Roman" panose="02020603050405020304" pitchFamily="18" charset="0"/>
              </a:rPr>
              <a:t> and </a:t>
            </a:r>
            <a:r>
              <a:rPr kumimoji="0" lang="sv-SE" sz="1200" b="0" i="0" u="none" strike="noStrike" kern="1200" cap="none" spc="0" normalizeH="0" baseline="0" noProof="0" err="1">
                <a:ln>
                  <a:noFill/>
                </a:ln>
                <a:solidFill>
                  <a:srgbClr val="000000"/>
                </a:solidFill>
                <a:effectLst/>
                <a:uLnTx/>
                <a:uFillTx/>
                <a:latin typeface="Arial" panose="020B0604020202020204" pitchFamily="34" charset="0"/>
                <a:ea typeface="+mn-ea"/>
                <a:cs typeface="Times New Roman" panose="02020603050405020304" pitchFamily="18" charset="0"/>
              </a:rPr>
              <a:t>proposals</a:t>
            </a:r>
            <a:r>
              <a:rPr kumimoji="0" lang="sv-SE" sz="1200" b="0" i="0" u="none" strike="noStrike" kern="1200" cap="none" spc="0" normalizeH="0" baseline="0" noProof="0">
                <a:ln>
                  <a:noFill/>
                </a:ln>
                <a:solidFill>
                  <a:srgbClr val="000000"/>
                </a:solidFill>
                <a:effectLst/>
                <a:uLnTx/>
                <a:uFillTx/>
                <a:latin typeface="Arial" panose="020B0604020202020204" pitchFamily="34" charset="0"/>
                <a:ea typeface="+mn-ea"/>
                <a:cs typeface="Times New Roman" panose="02020603050405020304" pitchFamily="18" charset="0"/>
              </a:rPr>
              <a:t> for legislative </a:t>
            </a:r>
            <a:r>
              <a:rPr kumimoji="0" lang="sv-SE" sz="1200" b="0" i="0" u="none" strike="noStrike" kern="1200" cap="none" spc="0" normalizeH="0" baseline="0" noProof="0" err="1">
                <a:ln>
                  <a:noFill/>
                </a:ln>
                <a:solidFill>
                  <a:srgbClr val="000000"/>
                </a:solidFill>
                <a:effectLst/>
                <a:uLnTx/>
                <a:uFillTx/>
                <a:latin typeface="Arial" panose="020B0604020202020204" pitchFamily="34" charset="0"/>
                <a:ea typeface="+mn-ea"/>
                <a:cs typeface="Times New Roman" panose="02020603050405020304" pitchFamily="18" charset="0"/>
              </a:rPr>
              <a:t>improvements</a:t>
            </a:r>
            <a:r>
              <a:rPr kumimoji="0" lang="sv-SE" sz="1200" b="0" i="0" u="none" strike="noStrike" kern="1200" cap="none" spc="0" normalizeH="0" baseline="0" noProof="0">
                <a:ln>
                  <a:noFill/>
                </a:ln>
                <a:solidFill>
                  <a:srgbClr val="000000"/>
                </a:solidFill>
                <a:effectLst/>
                <a:uLnTx/>
                <a:uFillTx/>
                <a:latin typeface="Arial" panose="020B0604020202020204" pitchFamily="34" charset="0"/>
                <a:ea typeface="+mn-ea"/>
                <a:cs typeface="Times New Roman" panose="02020603050405020304" pitchFamily="18" charset="0"/>
              </a:rPr>
              <a:t>. </a:t>
            </a:r>
            <a:r>
              <a:rPr kumimoji="0" lang="sv-SE" sz="1200" b="0" i="0" u="none" strike="noStrike" kern="1200" cap="none" spc="0" normalizeH="0" baseline="0" noProof="0" err="1">
                <a:ln>
                  <a:noFill/>
                </a:ln>
                <a:solidFill>
                  <a:srgbClr val="000000"/>
                </a:solidFill>
                <a:effectLst/>
                <a:uLnTx/>
                <a:uFillTx/>
                <a:latin typeface="Arial" panose="020B0604020202020204" pitchFamily="34" charset="0"/>
                <a:ea typeface="+mn-ea"/>
                <a:cs typeface="Times New Roman" panose="02020603050405020304" pitchFamily="18" charset="0"/>
              </a:rPr>
              <a:t>Click</a:t>
            </a:r>
            <a:r>
              <a:rPr kumimoji="0" lang="sv-SE" sz="1200" b="0" i="0" u="none" strike="noStrike" kern="1200" cap="none" spc="0" normalizeH="0" baseline="0" noProof="0">
                <a:ln>
                  <a:noFill/>
                </a:ln>
                <a:solidFill>
                  <a:srgbClr val="000000"/>
                </a:solidFill>
                <a:effectLst/>
                <a:uLnTx/>
                <a:uFillTx/>
                <a:latin typeface="Arial" panose="020B0604020202020204" pitchFamily="34" charset="0"/>
                <a:ea typeface="+mn-ea"/>
                <a:cs typeface="Times New Roman" panose="02020603050405020304" pitchFamily="18" charset="0"/>
              </a:rPr>
              <a:t> on the demo-site </a:t>
            </a:r>
            <a:r>
              <a:rPr kumimoji="0" lang="sv-SE" sz="1200" b="0" i="0" u="none" strike="noStrike" kern="1200" cap="none" spc="0" normalizeH="0" baseline="0" noProof="0" err="1">
                <a:ln>
                  <a:noFill/>
                </a:ln>
                <a:solidFill>
                  <a:srgbClr val="000000"/>
                </a:solidFill>
                <a:effectLst/>
                <a:uLnTx/>
                <a:uFillTx/>
                <a:latin typeface="Arial" panose="020B0604020202020204" pitchFamily="34" charset="0"/>
                <a:ea typeface="+mn-ea"/>
                <a:cs typeface="Times New Roman" panose="02020603050405020304" pitchFamily="18" charset="0"/>
              </a:rPr>
              <a:t>below</a:t>
            </a:r>
            <a:r>
              <a:rPr kumimoji="0" lang="sv-SE" sz="1200" b="0" i="0" u="none" strike="noStrike" kern="1200" cap="none" spc="0" normalizeH="0" baseline="0" noProof="0">
                <a:ln>
                  <a:noFill/>
                </a:ln>
                <a:solidFill>
                  <a:srgbClr val="000000"/>
                </a:solidFill>
                <a:effectLst/>
                <a:uLnTx/>
                <a:uFillTx/>
                <a:latin typeface="Arial" panose="020B0604020202020204" pitchFamily="34" charset="0"/>
                <a:ea typeface="+mn-ea"/>
                <a:cs typeface="Times New Roman" panose="02020603050405020304" pitchFamily="18" charset="0"/>
              </a:rPr>
              <a:t> </a:t>
            </a:r>
            <a:r>
              <a:rPr kumimoji="0" lang="sv-SE" sz="1200" b="0" i="0" u="none" strike="noStrike" kern="1200" cap="none" spc="0" normalizeH="0" baseline="0" noProof="0" err="1">
                <a:ln>
                  <a:noFill/>
                </a:ln>
                <a:solidFill>
                  <a:srgbClr val="000000"/>
                </a:solidFill>
                <a:effectLst/>
                <a:uLnTx/>
                <a:uFillTx/>
                <a:latin typeface="Arial" panose="020B0604020202020204" pitchFamily="34" charset="0"/>
                <a:ea typeface="+mn-ea"/>
                <a:cs typeface="Times New Roman" panose="02020603050405020304" pitchFamily="18" charset="0"/>
              </a:rPr>
              <a:t>that</a:t>
            </a:r>
            <a:r>
              <a:rPr kumimoji="0" lang="sv-SE" sz="1200" b="0" i="0" u="none" strike="noStrike" kern="1200" cap="none" spc="0" normalizeH="0" baseline="0" noProof="0">
                <a:ln>
                  <a:noFill/>
                </a:ln>
                <a:solidFill>
                  <a:srgbClr val="000000"/>
                </a:solidFill>
                <a:effectLst/>
                <a:uLnTx/>
                <a:uFillTx/>
                <a:latin typeface="Arial" panose="020B0604020202020204" pitchFamily="34" charset="0"/>
                <a:ea typeface="+mn-ea"/>
                <a:cs typeface="Times New Roman" panose="02020603050405020304" pitchFamily="18" charset="0"/>
              </a:rPr>
              <a:t> </a:t>
            </a:r>
            <a:r>
              <a:rPr kumimoji="0" lang="sv-SE" sz="1200" b="0" i="0" u="none" strike="noStrike" kern="1200" cap="none" spc="0" normalizeH="0" baseline="0" noProof="0" err="1">
                <a:ln>
                  <a:noFill/>
                </a:ln>
                <a:solidFill>
                  <a:srgbClr val="000000"/>
                </a:solidFill>
                <a:effectLst/>
                <a:uLnTx/>
                <a:uFillTx/>
                <a:latin typeface="Arial" panose="020B0604020202020204" pitchFamily="34" charset="0"/>
                <a:ea typeface="+mn-ea"/>
                <a:cs typeface="Times New Roman" panose="02020603050405020304" pitchFamily="18" charset="0"/>
              </a:rPr>
              <a:t>you</a:t>
            </a:r>
            <a:r>
              <a:rPr kumimoji="0" lang="sv-SE" sz="1200" b="0" i="0" u="none" strike="noStrike" kern="1200" cap="none" spc="0" normalizeH="0" baseline="0" noProof="0">
                <a:ln>
                  <a:noFill/>
                </a:ln>
                <a:solidFill>
                  <a:srgbClr val="000000"/>
                </a:solidFill>
                <a:effectLst/>
                <a:uLnTx/>
                <a:uFillTx/>
                <a:latin typeface="Arial" panose="020B0604020202020204" pitchFamily="34" charset="0"/>
                <a:ea typeface="+mn-ea"/>
                <a:cs typeface="Times New Roman" panose="02020603050405020304" pitchFamily="18" charset="0"/>
              </a:rPr>
              <a:t> </a:t>
            </a:r>
            <a:r>
              <a:rPr kumimoji="0" lang="sv-SE" sz="1200" b="0" i="0" u="none" strike="noStrike" kern="1200" cap="none" spc="0" normalizeH="0" baseline="0" noProof="0" err="1">
                <a:ln>
                  <a:noFill/>
                </a:ln>
                <a:solidFill>
                  <a:srgbClr val="000000"/>
                </a:solidFill>
                <a:effectLst/>
                <a:uLnTx/>
                <a:uFillTx/>
                <a:latin typeface="Arial" panose="020B0604020202020204" pitchFamily="34" charset="0"/>
                <a:ea typeface="+mn-ea"/>
                <a:cs typeface="Times New Roman" panose="02020603050405020304" pitchFamily="18" charset="0"/>
              </a:rPr>
              <a:t>are</a:t>
            </a:r>
            <a:r>
              <a:rPr kumimoji="0" lang="sv-SE" sz="1200" b="0" i="0" u="none" strike="noStrike" kern="1200" cap="none" spc="0" normalizeH="0" baseline="0" noProof="0">
                <a:ln>
                  <a:noFill/>
                </a:ln>
                <a:solidFill>
                  <a:srgbClr val="000000"/>
                </a:solidFill>
                <a:effectLst/>
                <a:uLnTx/>
                <a:uFillTx/>
                <a:latin typeface="Arial" panose="020B0604020202020204" pitchFamily="34" charset="0"/>
                <a:ea typeface="+mn-ea"/>
                <a:cs typeface="Times New Roman" panose="02020603050405020304" pitchFamily="18" charset="0"/>
              </a:rPr>
              <a:t> </a:t>
            </a:r>
            <a:r>
              <a:rPr kumimoji="0" lang="sv-SE" sz="1200" b="0" i="0" u="none" strike="noStrike" kern="1200" cap="none" spc="0" normalizeH="0" baseline="0" noProof="0" err="1">
                <a:ln>
                  <a:noFill/>
                </a:ln>
                <a:solidFill>
                  <a:srgbClr val="000000"/>
                </a:solidFill>
                <a:effectLst/>
                <a:uLnTx/>
                <a:uFillTx/>
                <a:latin typeface="Arial" panose="020B0604020202020204" pitchFamily="34" charset="0"/>
                <a:ea typeface="+mn-ea"/>
                <a:cs typeface="Times New Roman" panose="02020603050405020304" pitchFamily="18" charset="0"/>
              </a:rPr>
              <a:t>interested</a:t>
            </a:r>
            <a:r>
              <a:rPr kumimoji="0" lang="sv-SE" sz="1200" b="0" i="0" u="none" strike="noStrike" kern="1200" cap="none" spc="0" normalizeH="0" baseline="0" noProof="0">
                <a:ln>
                  <a:noFill/>
                </a:ln>
                <a:solidFill>
                  <a:srgbClr val="000000"/>
                </a:solidFill>
                <a:effectLst/>
                <a:uLnTx/>
                <a:uFillTx/>
                <a:latin typeface="Arial" panose="020B0604020202020204" pitchFamily="34" charset="0"/>
                <a:ea typeface="+mn-ea"/>
                <a:cs typeface="Times New Roman" panose="02020603050405020304" pitchFamily="18" charset="0"/>
              </a:rPr>
              <a:t> in. </a:t>
            </a:r>
          </a:p>
          <a:p>
            <a:endParaRPr lang="sv-SE" b="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77787B-4A66-0142-903F-970ED53E63D2}"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0</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1587775"/>
      </p:ext>
    </p:extLst>
  </p:cSld>
  <p:clrMapOvr>
    <a:masterClrMapping/>
  </p:clrMapOvr>
</p:notes>
</file>

<file path=ppt/notesSlides/notesSlide2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b="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77787B-4A66-0142-903F-970ED53E63D2}"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1</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9434700"/>
      </p:ext>
    </p:extLst>
  </p:cSld>
  <p:clrMapOvr>
    <a:masterClrMapping/>
  </p:clrMapOvr>
</p:notes>
</file>

<file path=ppt/notesSlides/notesSlide2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b="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77787B-4A66-0142-903F-970ED53E63D2}"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2</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65117697"/>
      </p:ext>
    </p:extLst>
  </p:cSld>
  <p:clrMapOvr>
    <a:masterClrMapping/>
  </p:clrMapOvr>
</p:notes>
</file>

<file path=ppt/notesSlides/notesSlide2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b="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77787B-4A66-0142-903F-970ED53E63D2}"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3</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27091347"/>
      </p:ext>
    </p:extLst>
  </p:cSld>
  <p:clrMapOvr>
    <a:masterClrMapping/>
  </p:clrMapOvr>
</p:notes>
</file>

<file path=ppt/notesSlides/notesSlide2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b="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77787B-4A66-0142-903F-970ED53E63D2}"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4</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0819253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n-GB"/>
              <a:t>More info on Project goals here: https://retrofeed.eu/objectives/</a:t>
            </a:r>
          </a:p>
          <a:p>
            <a:endParaRPr lang="en-GB"/>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4DB91F-1AD8-437C-8866-3636784D085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cSld>
  <p:clrMapOvr>
    <a:masterClrMapping/>
  </p:clrMapOvr>
</p:notes>
</file>

<file path=ppt/notesSlides/notesSlide2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b="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77787B-4A66-0142-903F-970ED53E63D2}"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5</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42324110"/>
      </p:ext>
    </p:extLst>
  </p:cSld>
  <p:clrMapOvr>
    <a:masterClrMapping/>
  </p:clrMapOvr>
</p:notes>
</file>

<file path=ppt/notesSlides/notesSlide2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b="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77787B-4A66-0142-903F-970ED53E63D2}"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6</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16562639"/>
      </p:ext>
    </p:extLst>
  </p:cSld>
  <p:clrMapOvr>
    <a:masterClrMapping/>
  </p:clrMapOvr>
</p:notes>
</file>

<file path=ppt/notesSlides/notesSlide2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fld id="{F84DB91F-1AD8-437C-8866-3636784D0854}" type="slidenum">
              <a:rPr lang="en-GB" smtClean="0"/>
              <a:t>268</a:t>
            </a:fld>
            <a:endParaRPr lang="en-GB"/>
          </a:p>
        </p:txBody>
      </p:sp>
    </p:spTree>
    <p:extLst>
      <p:ext uri="{BB962C8B-B14F-4D97-AF65-F5344CB8AC3E}">
        <p14:creationId xmlns:p14="http://schemas.microsoft.com/office/powerpoint/2010/main" val="2612549724"/>
      </p:ext>
    </p:extLst>
  </p:cSld>
  <p:clrMapOvr>
    <a:masterClrMapping/>
  </p:clrMapOvr>
</p:notes>
</file>

<file path=ppt/notesSlides/notesSlide2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a:hlinkClick r:id="rId3"/>
              </a:rPr>
              <a:t>- RETROFEED</a:t>
            </a:r>
            <a:endParaRPr lang="sv-SE" dirty="0"/>
          </a:p>
        </p:txBody>
      </p:sp>
      <p:sp>
        <p:nvSpPr>
          <p:cNvPr id="4" name="Slide Number Placeholder 3"/>
          <p:cNvSpPr>
            <a:spLocks noGrp="1"/>
          </p:cNvSpPr>
          <p:nvPr>
            <p:ph type="sldNum" sz="quarter" idx="5"/>
          </p:nvPr>
        </p:nvSpPr>
        <p:spPr/>
        <p:txBody>
          <a:bodyPr/>
          <a:lstStyle/>
          <a:p>
            <a:fld id="{F84DB91F-1AD8-437C-8866-3636784D0854}" type="slidenum">
              <a:rPr lang="en-GB" smtClean="0"/>
              <a:t>269</a:t>
            </a:fld>
            <a:endParaRPr lang="en-GB"/>
          </a:p>
        </p:txBody>
      </p:sp>
    </p:spTree>
    <p:extLst>
      <p:ext uri="{BB962C8B-B14F-4D97-AF65-F5344CB8AC3E}">
        <p14:creationId xmlns:p14="http://schemas.microsoft.com/office/powerpoint/2010/main" val="4048304034"/>
      </p:ext>
    </p:extLst>
  </p:cSld>
  <p:clrMapOvr>
    <a:masterClrMapping/>
  </p:clrMapOvr>
</p:notes>
</file>

<file path=ppt/notesSlides/notesSlide2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fld id="{F84DB91F-1AD8-437C-8866-3636784D0854}" type="slidenum">
              <a:rPr lang="en-GB" smtClean="0"/>
              <a:t>271</a:t>
            </a:fld>
            <a:endParaRPr lang="en-GB"/>
          </a:p>
        </p:txBody>
      </p:sp>
    </p:spTree>
    <p:extLst>
      <p:ext uri="{BB962C8B-B14F-4D97-AF65-F5344CB8AC3E}">
        <p14:creationId xmlns:p14="http://schemas.microsoft.com/office/powerpoint/2010/main" val="20101636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err="1"/>
              <a:t>There</a:t>
            </a:r>
            <a:r>
              <a:rPr lang="sv-SE" dirty="0"/>
              <a:t> </a:t>
            </a:r>
            <a:r>
              <a:rPr lang="sv-SE" dirty="0" err="1"/>
              <a:t>are</a:t>
            </a:r>
            <a:r>
              <a:rPr lang="sv-SE" dirty="0"/>
              <a:t> </a:t>
            </a:r>
            <a:r>
              <a:rPr lang="sv-SE" dirty="0" err="1"/>
              <a:t>six</a:t>
            </a:r>
            <a:r>
              <a:rPr lang="sv-SE" dirty="0"/>
              <a:t> demo-sites in the </a:t>
            </a:r>
            <a:r>
              <a:rPr lang="sv-SE" dirty="0" err="1"/>
              <a:t>Retrofeed</a:t>
            </a:r>
            <a:r>
              <a:rPr lang="sv-SE" dirty="0"/>
              <a:t> </a:t>
            </a:r>
            <a:r>
              <a:rPr lang="sv-SE" dirty="0" err="1"/>
              <a:t>project</a:t>
            </a:r>
            <a:r>
              <a:rPr lang="sv-SE" dirty="0"/>
              <a:t>, </a:t>
            </a:r>
            <a:r>
              <a:rPr lang="sv-SE" dirty="0" err="1"/>
              <a:t>within</a:t>
            </a:r>
            <a:r>
              <a:rPr lang="sv-SE" dirty="0"/>
              <a:t> the cement, </a:t>
            </a:r>
            <a:r>
              <a:rPr lang="sv-SE" dirty="0" err="1"/>
              <a:t>ceramic</a:t>
            </a:r>
            <a:r>
              <a:rPr lang="sv-SE" dirty="0"/>
              <a:t>, </a:t>
            </a:r>
            <a:r>
              <a:rPr lang="sv-SE" dirty="0" err="1"/>
              <a:t>steel</a:t>
            </a:r>
            <a:r>
              <a:rPr lang="sv-SE" dirty="0"/>
              <a:t>, </a:t>
            </a:r>
            <a:r>
              <a:rPr lang="sv-SE" dirty="0" err="1"/>
              <a:t>agrochemical</a:t>
            </a:r>
            <a:r>
              <a:rPr lang="sv-SE" dirty="0"/>
              <a:t> and </a:t>
            </a:r>
            <a:r>
              <a:rPr lang="sv-SE" dirty="0" err="1"/>
              <a:t>aluminum</a:t>
            </a:r>
            <a:r>
              <a:rPr lang="sv-SE" dirty="0"/>
              <a:t> </a:t>
            </a:r>
            <a:r>
              <a:rPr lang="sv-SE" dirty="0" err="1"/>
              <a:t>sector</a:t>
            </a:r>
            <a:r>
              <a:rPr lang="sv-SE" dirty="0"/>
              <a:t>. </a:t>
            </a:r>
          </a:p>
          <a:p>
            <a:r>
              <a:rPr lang="sv-SE" dirty="0" err="1"/>
              <a:t>Two</a:t>
            </a:r>
            <a:r>
              <a:rPr lang="sv-SE" dirty="0"/>
              <a:t> demo-sites </a:t>
            </a:r>
            <a:r>
              <a:rPr lang="sv-SE" dirty="0" err="1"/>
              <a:t>within</a:t>
            </a:r>
            <a:r>
              <a:rPr lang="sv-SE" dirty="0"/>
              <a:t> </a:t>
            </a:r>
            <a:r>
              <a:rPr lang="sv-SE" dirty="0" err="1"/>
              <a:t>steel</a:t>
            </a:r>
            <a:r>
              <a:rPr lang="sv-SE" dirty="0"/>
              <a:t> </a:t>
            </a:r>
            <a:r>
              <a:rPr lang="sv-SE" dirty="0" err="1"/>
              <a:t>sector</a:t>
            </a:r>
            <a:r>
              <a:rPr lang="sv-SE" dirty="0"/>
              <a:t>. </a:t>
            </a:r>
            <a:r>
              <a:rPr lang="sv-SE" dirty="0" err="1"/>
              <a:t>This</a:t>
            </a:r>
            <a:r>
              <a:rPr lang="sv-SE" dirty="0"/>
              <a:t> </a:t>
            </a:r>
            <a:r>
              <a:rPr lang="sv-SE" dirty="0" err="1"/>
              <a:t>slide</a:t>
            </a:r>
            <a:r>
              <a:rPr lang="sv-SE" dirty="0"/>
              <a:t> </a:t>
            </a:r>
            <a:r>
              <a:rPr lang="sv-SE" dirty="0" err="1"/>
              <a:t>will</a:t>
            </a:r>
            <a:r>
              <a:rPr lang="sv-SE" dirty="0"/>
              <a:t> </a:t>
            </a:r>
            <a:r>
              <a:rPr lang="sv-SE" dirty="0" err="1"/>
              <a:t>give</a:t>
            </a:r>
            <a:r>
              <a:rPr lang="sv-SE" dirty="0"/>
              <a:t> </a:t>
            </a:r>
            <a:r>
              <a:rPr lang="sv-SE" dirty="0" err="1"/>
              <a:t>you</a:t>
            </a:r>
            <a:r>
              <a:rPr lang="sv-SE" dirty="0"/>
              <a:t> an </a:t>
            </a:r>
            <a:r>
              <a:rPr lang="sv-SE" dirty="0" err="1"/>
              <a:t>overview</a:t>
            </a:r>
            <a:r>
              <a:rPr lang="sv-SE" dirty="0"/>
              <a:t> </a:t>
            </a:r>
            <a:r>
              <a:rPr lang="sv-SE" dirty="0" err="1"/>
              <a:t>where</a:t>
            </a:r>
            <a:r>
              <a:rPr lang="sv-SE" dirty="0"/>
              <a:t> the demo-sites </a:t>
            </a:r>
            <a:r>
              <a:rPr lang="sv-SE" dirty="0" err="1"/>
              <a:t>are</a:t>
            </a:r>
            <a:r>
              <a:rPr lang="sv-SE" dirty="0"/>
              <a:t> </a:t>
            </a:r>
            <a:r>
              <a:rPr lang="sv-SE" dirty="0" err="1"/>
              <a:t>located</a:t>
            </a:r>
            <a:r>
              <a:rPr lang="sv-SE" dirty="0"/>
              <a:t>. </a:t>
            </a:r>
          </a:p>
          <a:p>
            <a:endParaRPr lang="sv-SE" dirty="0"/>
          </a:p>
          <a:p>
            <a:r>
              <a:rPr lang="sv-SE" dirty="0" err="1"/>
              <a:t>During</a:t>
            </a:r>
            <a:r>
              <a:rPr lang="sv-SE" dirty="0"/>
              <a:t> the RETROFEED </a:t>
            </a:r>
            <a:r>
              <a:rPr lang="sv-SE" dirty="0" err="1"/>
              <a:t>project</a:t>
            </a:r>
            <a:r>
              <a:rPr lang="sv-SE" dirty="0"/>
              <a:t> the demo-sites </a:t>
            </a:r>
            <a:r>
              <a:rPr lang="sv-SE" dirty="0" err="1"/>
              <a:t>have</a:t>
            </a:r>
            <a:r>
              <a:rPr lang="sv-SE" dirty="0"/>
              <a:t> </a:t>
            </a:r>
            <a:r>
              <a:rPr lang="sv-SE" dirty="0" err="1"/>
              <a:t>been</a:t>
            </a:r>
            <a:r>
              <a:rPr lang="sv-SE" dirty="0"/>
              <a:t> </a:t>
            </a:r>
            <a:r>
              <a:rPr lang="sv-SE" dirty="0" err="1"/>
              <a:t>open</a:t>
            </a:r>
            <a:r>
              <a:rPr lang="sv-SE" dirty="0"/>
              <a:t> for </a:t>
            </a:r>
            <a:r>
              <a:rPr lang="sv-SE" dirty="0" err="1"/>
              <a:t>study</a:t>
            </a:r>
            <a:r>
              <a:rPr lang="sv-SE" dirty="0"/>
              <a:t> visits, </a:t>
            </a:r>
            <a:r>
              <a:rPr lang="sv-SE" dirty="0" err="1"/>
              <a:t>but</a:t>
            </a:r>
            <a:r>
              <a:rPr lang="sv-SE" dirty="0"/>
              <a:t> </a:t>
            </a:r>
            <a:r>
              <a:rPr lang="sv-SE" dirty="0" err="1"/>
              <a:t>might</a:t>
            </a:r>
            <a:r>
              <a:rPr lang="sv-SE" dirty="0"/>
              <a:t> no </a:t>
            </a:r>
            <a:r>
              <a:rPr lang="sv-SE" dirty="0" err="1"/>
              <a:t>longer</a:t>
            </a:r>
            <a:r>
              <a:rPr lang="sv-SE" dirty="0"/>
              <a:t> offer </a:t>
            </a:r>
            <a:r>
              <a:rPr lang="sv-SE" dirty="0" err="1"/>
              <a:t>this</a:t>
            </a:r>
            <a:r>
              <a:rPr lang="sv-SE" dirty="0"/>
              <a:t>.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4DB91F-1AD8-437C-8866-3636784D085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0241603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dirty="0" err="1"/>
              <a:t>This</a:t>
            </a:r>
            <a:r>
              <a:rPr lang="sv-SE" dirty="0"/>
              <a:t> </a:t>
            </a:r>
            <a:r>
              <a:rPr lang="sv-SE" dirty="0" err="1"/>
              <a:t>slide</a:t>
            </a:r>
            <a:r>
              <a:rPr lang="sv-SE" dirty="0"/>
              <a:t> </a:t>
            </a:r>
            <a:r>
              <a:rPr lang="sv-SE" dirty="0" err="1"/>
              <a:t>illustrates</a:t>
            </a:r>
            <a:r>
              <a:rPr lang="sv-SE" dirty="0"/>
              <a:t> </a:t>
            </a:r>
            <a:r>
              <a:rPr lang="sv-SE" dirty="0" err="1"/>
              <a:t>where</a:t>
            </a:r>
            <a:r>
              <a:rPr lang="sv-SE" dirty="0"/>
              <a:t> the different </a:t>
            </a:r>
            <a:r>
              <a:rPr lang="sv-SE" dirty="0" err="1"/>
              <a:t>retrofitting</a:t>
            </a:r>
            <a:r>
              <a:rPr lang="sv-SE" dirty="0"/>
              <a:t> actions </a:t>
            </a:r>
            <a:r>
              <a:rPr lang="sv-SE" dirty="0" err="1"/>
              <a:t>are</a:t>
            </a:r>
            <a:r>
              <a:rPr lang="sv-SE" dirty="0"/>
              <a:t> taken by the different demo-sites. </a:t>
            </a:r>
            <a:r>
              <a:rPr lang="sv-SE" dirty="0" err="1"/>
              <a:t>How</a:t>
            </a:r>
            <a:r>
              <a:rPr lang="sv-SE" dirty="0"/>
              <a:t> to interpret </a:t>
            </a:r>
            <a:r>
              <a:rPr lang="sv-SE" dirty="0" err="1"/>
              <a:t>this</a:t>
            </a:r>
            <a:r>
              <a:rPr lang="sv-SE" dirty="0"/>
              <a:t> illustratio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dirty="0"/>
          </a:p>
          <a:p>
            <a:pPr marL="0" marR="0" lvl="0" indent="0" algn="l" defTabSz="914400" rtl="0" eaLnBrk="1" fontAlgn="auto" latinLnBrk="0" hangingPunct="1">
              <a:lnSpc>
                <a:spcPct val="100000"/>
              </a:lnSpc>
              <a:spcBef>
                <a:spcPts val="0"/>
              </a:spcBef>
              <a:spcAft>
                <a:spcPts val="0"/>
              </a:spcAft>
              <a:buClrTx/>
              <a:buSzTx/>
              <a:buFontTx/>
              <a:buNone/>
              <a:tabLst/>
              <a:defRPr/>
            </a:pPr>
            <a:r>
              <a:rPr lang="sv-SE" dirty="0" err="1"/>
              <a:t>Firstly</a:t>
            </a:r>
            <a:r>
              <a:rPr lang="sv-SE" dirty="0"/>
              <a:t>:</a:t>
            </a:r>
          </a:p>
          <a:p>
            <a:r>
              <a:rPr lang="sv-SE" dirty="0"/>
              <a:t>For all </a:t>
            </a:r>
            <a:r>
              <a:rPr lang="sv-SE" dirty="0" err="1"/>
              <a:t>of</a:t>
            </a:r>
            <a:r>
              <a:rPr lang="sv-SE" dirty="0"/>
              <a:t> the demosites the 1., 2. and 3. </a:t>
            </a:r>
            <a:r>
              <a:rPr lang="sv-SE" dirty="0" err="1"/>
              <a:t>are</a:t>
            </a:r>
            <a:r>
              <a:rPr lang="sv-SE" dirty="0"/>
              <a:t> </a:t>
            </a:r>
            <a:r>
              <a:rPr lang="sv-SE" dirty="0" err="1"/>
              <a:t>included</a:t>
            </a:r>
            <a:r>
              <a:rPr lang="sv-SE" dirty="0"/>
              <a:t>. All </a:t>
            </a:r>
            <a:r>
              <a:rPr lang="sv-SE" dirty="0" err="1"/>
              <a:t>will</a:t>
            </a:r>
            <a:r>
              <a:rPr lang="sv-SE" dirty="0"/>
              <a:t> </a:t>
            </a:r>
            <a:r>
              <a:rPr lang="sv-SE" dirty="0" err="1"/>
              <a:t>have</a:t>
            </a:r>
            <a:r>
              <a:rPr lang="sv-SE" dirty="0"/>
              <a:t> </a:t>
            </a:r>
            <a:r>
              <a:rPr lang="sv-SE" dirty="0" err="1"/>
              <a:t>retrofitted</a:t>
            </a:r>
            <a:r>
              <a:rPr lang="sv-SE" dirty="0"/>
              <a:t> </a:t>
            </a:r>
            <a:r>
              <a:rPr lang="sv-SE" dirty="0" err="1"/>
              <a:t>some</a:t>
            </a:r>
            <a:r>
              <a:rPr lang="sv-SE" dirty="0"/>
              <a:t> </a:t>
            </a:r>
            <a:r>
              <a:rPr lang="sv-SE" dirty="0" err="1"/>
              <a:t>key</a:t>
            </a:r>
            <a:r>
              <a:rPr lang="sv-SE" dirty="0"/>
              <a:t> </a:t>
            </a:r>
            <a:r>
              <a:rPr lang="sv-SE" dirty="0" err="1"/>
              <a:t>equipment</a:t>
            </a:r>
            <a:r>
              <a:rPr lang="sv-SE" dirty="0"/>
              <a:t>, </a:t>
            </a:r>
            <a:r>
              <a:rPr lang="sv-SE" dirty="0" err="1"/>
              <a:t>improved</a:t>
            </a:r>
            <a:r>
              <a:rPr lang="sv-SE" dirty="0"/>
              <a:t> the M&amp;C systems and has the </a:t>
            </a:r>
            <a:r>
              <a:rPr lang="sv-SE" dirty="0" err="1"/>
              <a:t>goal</a:t>
            </a:r>
            <a:r>
              <a:rPr lang="sv-SE" dirty="0"/>
              <a:t> to </a:t>
            </a:r>
            <a:r>
              <a:rPr lang="sv-SE" dirty="0" err="1"/>
              <a:t>incorperate</a:t>
            </a:r>
            <a:r>
              <a:rPr lang="sv-SE" dirty="0"/>
              <a:t> the </a:t>
            </a:r>
            <a:r>
              <a:rPr lang="sv-SE" dirty="0" err="1"/>
              <a:t>retrofit</a:t>
            </a:r>
            <a:r>
              <a:rPr lang="sv-SE" dirty="0"/>
              <a:t> decision support system </a:t>
            </a:r>
            <a:r>
              <a:rPr lang="sv-SE" dirty="0" err="1"/>
              <a:t>tool</a:t>
            </a:r>
            <a:r>
              <a:rPr lang="sv-SE" dirty="0"/>
              <a:t> (DSS </a:t>
            </a:r>
            <a:r>
              <a:rPr lang="sv-SE" dirty="0" err="1"/>
              <a:t>tool</a:t>
            </a:r>
            <a:r>
              <a:rPr lang="sv-SE" dirty="0"/>
              <a:t>) </a:t>
            </a:r>
            <a:r>
              <a:rPr lang="sv-SE" dirty="0" err="1"/>
              <a:t>developed</a:t>
            </a:r>
            <a:r>
              <a:rPr lang="sv-SE" dirty="0"/>
              <a:t> </a:t>
            </a:r>
            <a:r>
              <a:rPr lang="sv-SE" dirty="0" err="1"/>
              <a:t>within</a:t>
            </a:r>
            <a:r>
              <a:rPr lang="sv-SE" dirty="0"/>
              <a:t> the RETROFEED </a:t>
            </a:r>
            <a:r>
              <a:rPr lang="sv-SE" dirty="0" err="1"/>
              <a:t>project</a:t>
            </a:r>
            <a:r>
              <a:rPr lang="sv-SE" dirty="0"/>
              <a:t>. </a:t>
            </a:r>
          </a:p>
          <a:p>
            <a:r>
              <a:rPr lang="sv-SE" dirty="0"/>
              <a:t> </a:t>
            </a:r>
          </a:p>
          <a:p>
            <a:r>
              <a:rPr lang="sv-SE" dirty="0" err="1"/>
              <a:t>Secondly</a:t>
            </a:r>
            <a:r>
              <a:rPr lang="sv-SE" dirty="0"/>
              <a:t>: </a:t>
            </a:r>
          </a:p>
          <a:p>
            <a:r>
              <a:rPr lang="sv-SE" dirty="0" err="1"/>
              <a:t>Torrecid</a:t>
            </a:r>
            <a:r>
              <a:rPr lang="sv-SE" dirty="0"/>
              <a:t> – D1 – </a:t>
            </a:r>
            <a:r>
              <a:rPr lang="sv-SE" dirty="0" err="1"/>
              <a:t>retrofit</a:t>
            </a:r>
            <a:r>
              <a:rPr lang="sv-SE" dirty="0"/>
              <a:t> so </a:t>
            </a:r>
            <a:r>
              <a:rPr lang="sv-SE" dirty="0" err="1"/>
              <a:t>they</a:t>
            </a:r>
            <a:r>
              <a:rPr lang="sv-SE" dirty="0"/>
              <a:t> </a:t>
            </a:r>
            <a:r>
              <a:rPr lang="sv-SE" dirty="0" err="1"/>
              <a:t>can</a:t>
            </a:r>
            <a:r>
              <a:rPr lang="sv-SE" dirty="0"/>
              <a:t> </a:t>
            </a:r>
            <a:r>
              <a:rPr lang="sv-SE" dirty="0" err="1"/>
              <a:t>use</a:t>
            </a:r>
            <a:r>
              <a:rPr lang="sv-SE" dirty="0"/>
              <a:t> </a:t>
            </a:r>
            <a:r>
              <a:rPr lang="sv-SE" dirty="0" err="1"/>
              <a:t>waste</a:t>
            </a:r>
            <a:r>
              <a:rPr lang="sv-SE" dirty="0"/>
              <a:t>/</a:t>
            </a:r>
            <a:r>
              <a:rPr lang="sv-SE" dirty="0" err="1"/>
              <a:t>byproducts</a:t>
            </a:r>
            <a:r>
              <a:rPr lang="sv-SE" dirty="0"/>
              <a:t> as </a:t>
            </a:r>
            <a:r>
              <a:rPr lang="sv-SE" dirty="0" err="1"/>
              <a:t>raw</a:t>
            </a:r>
            <a:r>
              <a:rPr lang="sv-SE" dirty="0"/>
              <a:t> materials. </a:t>
            </a:r>
          </a:p>
          <a:p>
            <a:r>
              <a:rPr lang="sv-SE" dirty="0" err="1"/>
              <a:t>Secil</a:t>
            </a:r>
            <a:r>
              <a:rPr lang="sv-SE" dirty="0"/>
              <a:t> – D2 – </a:t>
            </a:r>
            <a:r>
              <a:rPr lang="sv-SE" dirty="0" err="1"/>
              <a:t>retrofit</a:t>
            </a:r>
            <a:r>
              <a:rPr lang="sv-SE" dirty="0"/>
              <a:t> so </a:t>
            </a:r>
            <a:r>
              <a:rPr lang="sv-SE" dirty="0" err="1"/>
              <a:t>they</a:t>
            </a:r>
            <a:r>
              <a:rPr lang="sv-SE" dirty="0"/>
              <a:t> </a:t>
            </a:r>
            <a:r>
              <a:rPr lang="sv-SE" dirty="0" err="1"/>
              <a:t>can</a:t>
            </a:r>
            <a:r>
              <a:rPr lang="sv-SE" dirty="0"/>
              <a:t> </a:t>
            </a:r>
            <a:r>
              <a:rPr lang="sv-SE" dirty="0" err="1"/>
              <a:t>use</a:t>
            </a:r>
            <a:r>
              <a:rPr lang="sv-SE" dirty="0"/>
              <a:t> alternative </a:t>
            </a:r>
            <a:r>
              <a:rPr lang="sv-SE" dirty="0" err="1"/>
              <a:t>feedstock</a:t>
            </a:r>
            <a:r>
              <a:rPr lang="sv-SE" dirty="0"/>
              <a:t> as </a:t>
            </a:r>
            <a:r>
              <a:rPr lang="sv-SE" dirty="0" err="1"/>
              <a:t>fuel</a:t>
            </a:r>
            <a:endParaRPr lang="sv-SE" dirty="0"/>
          </a:p>
          <a:p>
            <a:r>
              <a:rPr lang="sv-SE" dirty="0"/>
              <a:t>Asas – D3 – </a:t>
            </a:r>
            <a:r>
              <a:rPr lang="sv-SE" dirty="0" err="1"/>
              <a:t>retrofit</a:t>
            </a:r>
            <a:r>
              <a:rPr lang="sv-SE" dirty="0"/>
              <a:t> so </a:t>
            </a:r>
            <a:r>
              <a:rPr lang="sv-SE" dirty="0" err="1"/>
              <a:t>they</a:t>
            </a:r>
            <a:r>
              <a:rPr lang="sv-SE" dirty="0"/>
              <a:t> </a:t>
            </a:r>
            <a:r>
              <a:rPr lang="sv-SE" dirty="0" err="1"/>
              <a:t>can</a:t>
            </a:r>
            <a:r>
              <a:rPr lang="sv-SE" dirty="0"/>
              <a:t> </a:t>
            </a:r>
            <a:r>
              <a:rPr lang="sv-SE" dirty="0" err="1"/>
              <a:t>use</a:t>
            </a:r>
            <a:r>
              <a:rPr lang="sv-SE" dirty="0"/>
              <a:t> alternative </a:t>
            </a:r>
            <a:r>
              <a:rPr lang="sv-SE" dirty="0" err="1"/>
              <a:t>rawmaterial</a:t>
            </a:r>
            <a:r>
              <a:rPr lang="sv-SE" dirty="0"/>
              <a:t>, </a:t>
            </a:r>
            <a:r>
              <a:rPr lang="sv-SE" dirty="0" err="1"/>
              <a:t>increase</a:t>
            </a:r>
            <a:r>
              <a:rPr lang="sv-SE" dirty="0"/>
              <a:t> the </a:t>
            </a:r>
            <a:r>
              <a:rPr lang="sv-SE" dirty="0" err="1"/>
              <a:t>amount</a:t>
            </a:r>
            <a:r>
              <a:rPr lang="sv-SE" dirty="0"/>
              <a:t> </a:t>
            </a:r>
            <a:r>
              <a:rPr lang="sv-SE" dirty="0" err="1"/>
              <a:t>of</a:t>
            </a:r>
            <a:r>
              <a:rPr lang="sv-SE" dirty="0"/>
              <a:t> </a:t>
            </a:r>
            <a:r>
              <a:rPr lang="sv-SE" dirty="0" err="1"/>
              <a:t>scrap</a:t>
            </a:r>
            <a:endParaRPr lang="sv-SE" dirty="0"/>
          </a:p>
          <a:p>
            <a:r>
              <a:rPr lang="sv-SE" dirty="0" err="1"/>
              <a:t>Feno</a:t>
            </a:r>
            <a:r>
              <a:rPr lang="sv-SE" dirty="0"/>
              <a:t>/</a:t>
            </a:r>
            <a:r>
              <a:rPr lang="sv-SE" dirty="0" err="1"/>
              <a:t>Silcotub</a:t>
            </a:r>
            <a:r>
              <a:rPr lang="sv-SE" dirty="0"/>
              <a:t> – D4 – </a:t>
            </a:r>
            <a:r>
              <a:rPr lang="sv-SE" dirty="0" err="1"/>
              <a:t>retrofit</a:t>
            </a:r>
            <a:r>
              <a:rPr lang="sv-SE" dirty="0"/>
              <a:t> so </a:t>
            </a:r>
            <a:r>
              <a:rPr lang="sv-SE" dirty="0" err="1"/>
              <a:t>they</a:t>
            </a:r>
            <a:r>
              <a:rPr lang="sv-SE" dirty="0"/>
              <a:t> </a:t>
            </a:r>
            <a:r>
              <a:rPr lang="sv-SE" dirty="0" err="1"/>
              <a:t>can</a:t>
            </a:r>
            <a:r>
              <a:rPr lang="sv-SE" dirty="0"/>
              <a:t> </a:t>
            </a:r>
            <a:r>
              <a:rPr lang="sv-SE" dirty="0" err="1"/>
              <a:t>use</a:t>
            </a:r>
            <a:r>
              <a:rPr lang="sv-SE" dirty="0"/>
              <a:t> new </a:t>
            </a:r>
            <a:r>
              <a:rPr lang="sv-SE" dirty="0" err="1"/>
              <a:t>biobased</a:t>
            </a:r>
            <a:r>
              <a:rPr lang="sv-SE" dirty="0"/>
              <a:t> </a:t>
            </a:r>
            <a:r>
              <a:rPr lang="sv-SE" dirty="0" err="1"/>
              <a:t>feedstock</a:t>
            </a:r>
            <a:r>
              <a:rPr lang="sv-SE" dirty="0"/>
              <a:t> as </a:t>
            </a:r>
            <a:r>
              <a:rPr lang="sv-SE" dirty="0" err="1"/>
              <a:t>well</a:t>
            </a:r>
            <a:r>
              <a:rPr lang="sv-SE" dirty="0"/>
              <a:t> as </a:t>
            </a:r>
            <a:r>
              <a:rPr lang="sv-SE" dirty="0" err="1"/>
              <a:t>other</a:t>
            </a:r>
            <a:r>
              <a:rPr lang="sv-SE" dirty="0"/>
              <a:t> </a:t>
            </a:r>
            <a:r>
              <a:rPr lang="sv-SE" dirty="0" err="1"/>
              <a:t>alterantive</a:t>
            </a:r>
            <a:r>
              <a:rPr lang="sv-SE" dirty="0"/>
              <a:t> </a:t>
            </a:r>
            <a:r>
              <a:rPr lang="sv-SE" dirty="0" err="1"/>
              <a:t>feedstock</a:t>
            </a:r>
            <a:r>
              <a:rPr lang="sv-SE" dirty="0"/>
              <a:t> as </a:t>
            </a:r>
            <a:r>
              <a:rPr lang="sv-SE" dirty="0" err="1"/>
              <a:t>fuel</a:t>
            </a:r>
            <a:r>
              <a:rPr lang="sv-SE" dirty="0"/>
              <a:t>. </a:t>
            </a:r>
          </a:p>
          <a:p>
            <a:r>
              <a:rPr lang="sv-SE" dirty="0" err="1"/>
              <a:t>Fertiberia</a:t>
            </a:r>
            <a:r>
              <a:rPr lang="sv-SE" dirty="0"/>
              <a:t> – D5 – </a:t>
            </a:r>
            <a:r>
              <a:rPr lang="sv-SE" dirty="0" err="1"/>
              <a:t>retrofit</a:t>
            </a:r>
            <a:r>
              <a:rPr lang="sv-SE" dirty="0"/>
              <a:t> so </a:t>
            </a:r>
            <a:r>
              <a:rPr lang="sv-SE" dirty="0" err="1"/>
              <a:t>they</a:t>
            </a:r>
            <a:r>
              <a:rPr lang="sv-SE" dirty="0"/>
              <a:t> </a:t>
            </a:r>
            <a:r>
              <a:rPr lang="sv-SE" dirty="0" err="1"/>
              <a:t>can</a:t>
            </a:r>
            <a:r>
              <a:rPr lang="sv-SE" dirty="0"/>
              <a:t> </a:t>
            </a:r>
            <a:r>
              <a:rPr lang="sv-SE" dirty="0" err="1"/>
              <a:t>use</a:t>
            </a:r>
            <a:r>
              <a:rPr lang="sv-SE" dirty="0"/>
              <a:t> alternative </a:t>
            </a:r>
            <a:r>
              <a:rPr lang="sv-SE" dirty="0" err="1"/>
              <a:t>rawmaterial</a:t>
            </a:r>
            <a:r>
              <a:rPr lang="sv-SE" dirty="0"/>
              <a:t>.  </a:t>
            </a:r>
          </a:p>
          <a:p>
            <a:endParaRPr lang="sv-SE" dirty="0"/>
          </a:p>
          <a:p>
            <a:r>
              <a:rPr lang="sv-SE" dirty="0" err="1"/>
              <a:t>More</a:t>
            </a:r>
            <a:r>
              <a:rPr lang="sv-SE" dirty="0"/>
              <a:t> </a:t>
            </a:r>
            <a:r>
              <a:rPr lang="sv-SE" dirty="0" err="1"/>
              <a:t>about</a:t>
            </a:r>
            <a:r>
              <a:rPr lang="sv-SE" dirty="0"/>
              <a:t> the actions for </a:t>
            </a:r>
            <a:r>
              <a:rPr lang="sv-SE" dirty="0" err="1"/>
              <a:t>each</a:t>
            </a:r>
            <a:r>
              <a:rPr lang="sv-SE" dirty="0"/>
              <a:t> site in the coming </a:t>
            </a:r>
            <a:r>
              <a:rPr lang="sv-SE" dirty="0" err="1"/>
              <a:t>subchapters</a:t>
            </a:r>
            <a:r>
              <a:rPr lang="sv-SE" dirty="0"/>
              <a:t>. </a:t>
            </a:r>
          </a:p>
          <a:p>
            <a:endParaRPr lang="sv-SE" dirty="0"/>
          </a:p>
          <a:p>
            <a:r>
              <a:rPr lang="sv-SE" dirty="0"/>
              <a:t>Abbreviations: </a:t>
            </a:r>
          </a:p>
          <a:p>
            <a:r>
              <a:rPr lang="sv-SE" dirty="0" err="1"/>
              <a:t>Silcotub</a:t>
            </a:r>
            <a:r>
              <a:rPr lang="sv-SE" dirty="0"/>
              <a:t> - </a:t>
            </a:r>
            <a:r>
              <a:rPr lang="sv-SE" dirty="0" err="1"/>
              <a:t>Tenaris</a:t>
            </a:r>
            <a:r>
              <a:rPr lang="sv-SE" dirty="0"/>
              <a:t> </a:t>
            </a:r>
            <a:r>
              <a:rPr lang="sv-SE" dirty="0" err="1"/>
              <a:t>Silcotube</a:t>
            </a:r>
            <a:r>
              <a:rPr lang="sv-SE" dirty="0"/>
              <a:t> (</a:t>
            </a:r>
            <a:r>
              <a:rPr lang="sv-SE" dirty="0" err="1"/>
              <a:t>steel</a:t>
            </a:r>
            <a:r>
              <a:rPr lang="sv-SE" dirty="0"/>
              <a:t> </a:t>
            </a:r>
            <a:r>
              <a:rPr lang="sv-SE" dirty="0" err="1"/>
              <a:t>sector</a:t>
            </a:r>
            <a:r>
              <a:rPr lang="sv-SE" dirty="0"/>
              <a:t>)</a:t>
            </a:r>
          </a:p>
          <a:p>
            <a:r>
              <a:rPr lang="sv-SE" dirty="0"/>
              <a:t>FENO – </a:t>
            </a:r>
            <a:r>
              <a:rPr lang="sv-SE" dirty="0" err="1"/>
              <a:t>Pittini</a:t>
            </a:r>
            <a:r>
              <a:rPr lang="sv-SE" dirty="0"/>
              <a:t> (</a:t>
            </a:r>
            <a:r>
              <a:rPr lang="sv-SE" dirty="0" err="1"/>
              <a:t>steel</a:t>
            </a:r>
            <a:r>
              <a:rPr lang="sv-SE" dirty="0"/>
              <a:t> </a:t>
            </a:r>
            <a:r>
              <a:rPr lang="sv-SE" dirty="0" err="1"/>
              <a:t>sector</a:t>
            </a:r>
            <a:r>
              <a:rPr lang="sv-SE" dirty="0"/>
              <a:t>)</a:t>
            </a:r>
          </a:p>
          <a:p>
            <a:r>
              <a:rPr lang="sv-SE" dirty="0"/>
              <a:t>M&amp;C – </a:t>
            </a:r>
            <a:r>
              <a:rPr lang="sv-SE" dirty="0" err="1"/>
              <a:t>Monitoring</a:t>
            </a:r>
            <a:r>
              <a:rPr lang="sv-SE" dirty="0"/>
              <a:t> and </a:t>
            </a:r>
            <a:r>
              <a:rPr lang="sv-SE" dirty="0" err="1"/>
              <a:t>control</a:t>
            </a:r>
            <a:r>
              <a:rPr lang="sv-SE" dirty="0"/>
              <a:t> systems</a:t>
            </a:r>
          </a:p>
          <a:p>
            <a:r>
              <a:rPr lang="sv-SE" dirty="0"/>
              <a:t>DSS – Decision support system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4DB91F-1AD8-437C-8866-3636784D085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957055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a:t>In </a:t>
            </a:r>
            <a:r>
              <a:rPr lang="sv-SE" err="1"/>
              <a:t>this</a:t>
            </a:r>
            <a:r>
              <a:rPr lang="sv-SE"/>
              <a:t> </a:t>
            </a:r>
            <a:r>
              <a:rPr lang="sv-SE" err="1"/>
              <a:t>subchapter</a:t>
            </a:r>
            <a:r>
              <a:rPr lang="sv-SE"/>
              <a:t> </a:t>
            </a:r>
            <a:r>
              <a:rPr lang="sv-SE" err="1"/>
              <a:t>you</a:t>
            </a:r>
            <a:r>
              <a:rPr lang="sv-SE"/>
              <a:t> </a:t>
            </a:r>
            <a:r>
              <a:rPr lang="sv-SE" err="1"/>
              <a:t>will</a:t>
            </a:r>
            <a:r>
              <a:rPr lang="sv-SE"/>
              <a:t> </a:t>
            </a:r>
            <a:r>
              <a:rPr lang="sv-SE" err="1"/>
              <a:t>learn</a:t>
            </a:r>
            <a:r>
              <a:rPr lang="sv-SE"/>
              <a:t> </a:t>
            </a:r>
            <a:r>
              <a:rPr lang="sv-SE" err="1"/>
              <a:t>more</a:t>
            </a:r>
            <a:r>
              <a:rPr lang="sv-SE"/>
              <a:t> </a:t>
            </a:r>
            <a:r>
              <a:rPr lang="sv-SE" err="1"/>
              <a:t>about</a:t>
            </a:r>
            <a:r>
              <a:rPr lang="sv-SE"/>
              <a:t> the </a:t>
            </a:r>
            <a:r>
              <a:rPr lang="sv-SE" err="1"/>
              <a:t>company</a:t>
            </a:r>
            <a:r>
              <a:rPr lang="sv-SE"/>
              <a:t> and the demo-site </a:t>
            </a:r>
            <a:r>
              <a:rPr lang="sv-SE" err="1"/>
              <a:t>within</a:t>
            </a:r>
            <a:r>
              <a:rPr lang="sv-SE"/>
              <a:t> the cement </a:t>
            </a:r>
            <a:r>
              <a:rPr lang="sv-SE" err="1"/>
              <a:t>production</a:t>
            </a:r>
            <a:r>
              <a:rPr lang="sv-SE"/>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a:p>
          <a:p>
            <a:pPr marL="0" marR="0" lvl="0" indent="0" algn="l" defTabSz="914400" rtl="0" eaLnBrk="1" fontAlgn="auto" latinLnBrk="0" hangingPunct="1">
              <a:lnSpc>
                <a:spcPct val="100000"/>
              </a:lnSpc>
              <a:spcBef>
                <a:spcPts val="0"/>
              </a:spcBef>
              <a:spcAft>
                <a:spcPts val="0"/>
              </a:spcAft>
              <a:buClrTx/>
              <a:buSzTx/>
              <a:buFontTx/>
              <a:buNone/>
              <a:tabLst/>
              <a:defRPr/>
            </a:pPr>
            <a:r>
              <a:rPr lang="sv-SE" err="1"/>
              <a:t>Secil</a:t>
            </a:r>
            <a:r>
              <a:rPr lang="sv-SE"/>
              <a:t> is the </a:t>
            </a:r>
            <a:r>
              <a:rPr lang="sv-SE" err="1"/>
              <a:t>company</a:t>
            </a:r>
            <a:r>
              <a:rPr lang="sv-SE"/>
              <a:t> </a:t>
            </a:r>
            <a:r>
              <a:rPr lang="sv-SE" err="1"/>
              <a:t>with</a:t>
            </a:r>
            <a:r>
              <a:rPr lang="sv-SE"/>
              <a:t> </a:t>
            </a:r>
            <a:r>
              <a:rPr lang="sv-SE" err="1"/>
              <a:t>one</a:t>
            </a:r>
            <a:r>
              <a:rPr lang="sv-SE"/>
              <a:t> </a:t>
            </a:r>
            <a:r>
              <a:rPr lang="sv-SE" err="1"/>
              <a:t>of</a:t>
            </a:r>
            <a:r>
              <a:rPr lang="sv-SE"/>
              <a:t> the demo-sites </a:t>
            </a:r>
            <a:r>
              <a:rPr lang="sv-SE" err="1"/>
              <a:t>within</a:t>
            </a:r>
            <a:r>
              <a:rPr lang="sv-SE"/>
              <a:t> the RETROFEED </a:t>
            </a:r>
            <a:r>
              <a:rPr lang="sv-SE" err="1"/>
              <a:t>project</a:t>
            </a:r>
            <a:r>
              <a:rPr lang="sv-SE"/>
              <a:t>. </a:t>
            </a:r>
            <a:r>
              <a:rPr lang="sv-SE" err="1"/>
              <a:t>You</a:t>
            </a:r>
            <a:r>
              <a:rPr lang="sv-SE"/>
              <a:t> </a:t>
            </a:r>
            <a:r>
              <a:rPr lang="sv-SE" err="1"/>
              <a:t>will</a:t>
            </a:r>
            <a:r>
              <a:rPr lang="sv-SE"/>
              <a:t> get to </a:t>
            </a:r>
            <a:r>
              <a:rPr lang="sv-SE" err="1"/>
              <a:t>know</a:t>
            </a:r>
            <a:r>
              <a:rPr lang="sv-SE"/>
              <a:t>:</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sv-SE" err="1"/>
              <a:t>Background</a:t>
            </a:r>
            <a:r>
              <a:rPr lang="sv-SE"/>
              <a:t> information </a:t>
            </a:r>
            <a:r>
              <a:rPr lang="sv-SE" err="1"/>
              <a:t>of</a:t>
            </a:r>
            <a:r>
              <a:rPr lang="sv-SE"/>
              <a:t> the </a:t>
            </a:r>
            <a:r>
              <a:rPr lang="sv-SE" err="1"/>
              <a:t>company</a:t>
            </a:r>
            <a:r>
              <a:rPr lang="sv-SE"/>
              <a:t>.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sv-SE" err="1"/>
              <a:t>Production</a:t>
            </a:r>
            <a:r>
              <a:rPr lang="sv-SE"/>
              <a:t> process in </a:t>
            </a:r>
            <a:r>
              <a:rPr lang="sv-SE" err="1"/>
              <a:t>Secil</a:t>
            </a:r>
            <a:r>
              <a:rPr lang="sv-SE"/>
              <a:t> – all the steps </a:t>
            </a:r>
            <a:r>
              <a:rPr lang="sv-SE" err="1"/>
              <a:t>within</a:t>
            </a:r>
            <a:r>
              <a:rPr lang="sv-SE"/>
              <a:t> the </a:t>
            </a:r>
            <a:r>
              <a:rPr lang="sv-SE" err="1"/>
              <a:t>production</a:t>
            </a:r>
            <a:r>
              <a:rPr lang="sv-SE"/>
              <a:t> from </a:t>
            </a:r>
            <a:r>
              <a:rPr lang="sv-SE" err="1"/>
              <a:t>raw</a:t>
            </a:r>
            <a:r>
              <a:rPr lang="sv-SE"/>
              <a:t> material </a:t>
            </a:r>
            <a:r>
              <a:rPr lang="sv-SE" err="1"/>
              <a:t>extraction</a:t>
            </a:r>
            <a:r>
              <a:rPr lang="sv-SE"/>
              <a:t> to cement </a:t>
            </a:r>
            <a:r>
              <a:rPr lang="sv-SE" err="1"/>
              <a:t>grinding</a:t>
            </a:r>
            <a:r>
              <a:rPr lang="sv-SE"/>
              <a:t>.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sv-SE" err="1"/>
              <a:t>Secil</a:t>
            </a:r>
            <a:r>
              <a:rPr lang="sv-SE"/>
              <a:t> </a:t>
            </a:r>
            <a:r>
              <a:rPr lang="sv-SE" err="1"/>
              <a:t>characterization</a:t>
            </a:r>
            <a:r>
              <a:rPr lang="sv-SE"/>
              <a:t> in terms </a:t>
            </a:r>
            <a:r>
              <a:rPr lang="sv-SE" err="1"/>
              <a:t>of</a:t>
            </a:r>
            <a:r>
              <a:rPr lang="sv-SE"/>
              <a:t> </a:t>
            </a:r>
            <a:r>
              <a:rPr lang="sv-SE" err="1"/>
              <a:t>primary</a:t>
            </a:r>
            <a:r>
              <a:rPr lang="sv-SE"/>
              <a:t> </a:t>
            </a:r>
            <a:r>
              <a:rPr lang="sv-SE" err="1"/>
              <a:t>energy</a:t>
            </a:r>
            <a:r>
              <a:rPr lang="sv-SE"/>
              <a:t> </a:t>
            </a:r>
            <a:r>
              <a:rPr lang="sv-SE" err="1"/>
              <a:t>requirements</a:t>
            </a:r>
            <a:r>
              <a:rPr lang="sv-SE"/>
              <a:t> and GHG gas emissions </a:t>
            </a:r>
            <a:r>
              <a:rPr lang="sv-SE" err="1"/>
              <a:t>before</a:t>
            </a:r>
            <a:r>
              <a:rPr lang="sv-SE"/>
              <a:t> </a:t>
            </a:r>
            <a:r>
              <a:rPr lang="sv-SE" err="1"/>
              <a:t>retrofitting</a:t>
            </a:r>
            <a:r>
              <a:rPr lang="sv-SE"/>
              <a:t>.</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sv-SE" err="1"/>
              <a:t>Why</a:t>
            </a:r>
            <a:r>
              <a:rPr lang="sv-SE"/>
              <a:t> </a:t>
            </a:r>
            <a:r>
              <a:rPr lang="sv-SE" err="1"/>
              <a:t>retrofitting</a:t>
            </a:r>
            <a:r>
              <a:rPr lang="sv-SE"/>
              <a:t> is </a:t>
            </a:r>
            <a:r>
              <a:rPr lang="sv-SE" err="1"/>
              <a:t>needed</a:t>
            </a:r>
            <a:r>
              <a:rPr lang="sv-SE"/>
              <a:t> and </a:t>
            </a:r>
            <a:r>
              <a:rPr lang="sv-SE" err="1"/>
              <a:t>where</a:t>
            </a:r>
            <a:r>
              <a:rPr lang="sv-SE"/>
              <a:t> </a:t>
            </a:r>
            <a:r>
              <a:rPr lang="sv-SE" err="1"/>
              <a:t>retrofitting</a:t>
            </a:r>
            <a:r>
              <a:rPr lang="sv-SE"/>
              <a:t> is </a:t>
            </a:r>
            <a:r>
              <a:rPr lang="sv-SE" err="1"/>
              <a:t>needed</a:t>
            </a:r>
            <a:r>
              <a:rPr lang="sv-SE"/>
              <a:t>.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sv-SE" err="1"/>
              <a:t>Summary</a:t>
            </a:r>
            <a:r>
              <a:rPr lang="sv-SE"/>
              <a:t> </a:t>
            </a:r>
            <a:r>
              <a:rPr lang="sv-SE" err="1"/>
              <a:t>of</a:t>
            </a:r>
            <a:r>
              <a:rPr lang="sv-SE"/>
              <a:t> actions and </a:t>
            </a:r>
            <a:r>
              <a:rPr lang="sv-SE" err="1"/>
              <a:t>goals</a:t>
            </a:r>
            <a:r>
              <a:rPr lang="sv-SE"/>
              <a:t>.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sv-SE" err="1"/>
              <a:t>Discussion</a:t>
            </a:r>
            <a:r>
              <a:rPr lang="sv-SE"/>
              <a:t> </a:t>
            </a:r>
            <a:r>
              <a:rPr lang="sv-SE" err="1"/>
              <a:t>exercise</a:t>
            </a:r>
            <a:r>
              <a:rPr lang="sv-SE"/>
              <a:t>.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lang="sv-SE"/>
          </a:p>
          <a:p>
            <a:endParaRPr lang="sv-SE"/>
          </a:p>
        </p:txBody>
      </p:sp>
      <p:sp>
        <p:nvSpPr>
          <p:cNvPr id="4" name="Platshållare för bildnummer 3"/>
          <p:cNvSpPr>
            <a:spLocks noGrp="1"/>
          </p:cNvSpPr>
          <p:nvPr>
            <p:ph type="sldNum" sz="quarter" idx="5"/>
          </p:nvPr>
        </p:nvSpPr>
        <p:spPr/>
        <p:txBody>
          <a:bodyPr/>
          <a:lstStyle/>
          <a:p>
            <a:fld id="{F84DB91F-1AD8-437C-8866-3636784D0854}" type="slidenum">
              <a:rPr lang="en-GB" smtClean="0"/>
              <a:t>29</a:t>
            </a:fld>
            <a:endParaRPr lang="en-GB"/>
          </a:p>
        </p:txBody>
      </p:sp>
    </p:spTree>
    <p:extLst>
      <p:ext uri="{BB962C8B-B14F-4D97-AF65-F5344CB8AC3E}">
        <p14:creationId xmlns:p14="http://schemas.microsoft.com/office/powerpoint/2010/main" val="7728905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sv-S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4DB91F-1AD8-437C-8866-3636784D085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0772307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err="1"/>
              <a:t>Detail</a:t>
            </a:r>
            <a:r>
              <a:rPr lang="sv-SE"/>
              <a:t> process </a:t>
            </a:r>
            <a:r>
              <a:rPr lang="sv-SE" err="1"/>
              <a:t>explanation</a:t>
            </a:r>
            <a:r>
              <a:rPr lang="sv-SE"/>
              <a:t>:</a:t>
            </a:r>
          </a:p>
          <a:p>
            <a:pPr marL="342900" lvl="0" indent="-342900">
              <a:lnSpc>
                <a:spcPct val="107000"/>
              </a:lnSpc>
              <a:spcAft>
                <a:spcPts val="800"/>
              </a:spcAft>
              <a:buFont typeface="+mj-lt"/>
              <a:buAutoNum type="arabicPeriod"/>
              <a:tabLst>
                <a:tab pos="457200" algn="l"/>
              </a:tabLst>
            </a:pPr>
            <a:r>
              <a:rPr lang="en-US" sz="1200" b="1">
                <a:effectLst/>
                <a:ea typeface="Calibri" panose="020F0502020204030204" pitchFamily="34" charset="0"/>
                <a:cs typeface="Times New Roman" panose="02020603050405020304" pitchFamily="18" charset="0"/>
              </a:rPr>
              <a:t>Extraction of raw materials -&gt;</a:t>
            </a:r>
            <a:r>
              <a:rPr lang="en-US" sz="1200">
                <a:effectLst/>
                <a:ea typeface="Calibri" panose="020F0502020204030204" pitchFamily="34" charset="0"/>
                <a:cs typeface="Times New Roman" panose="02020603050405020304" pitchFamily="18" charset="0"/>
              </a:rPr>
              <a:t> The main raw materials, limestone and marl </a:t>
            </a:r>
            <a:r>
              <a:rPr lang="en-GB" sz="1200">
                <a:effectLst/>
                <a:ea typeface="Calibri" panose="020F0502020204030204" pitchFamily="34" charset="0"/>
                <a:cs typeface="Times New Roman" panose="02020603050405020304" pitchFamily="18" charset="0"/>
              </a:rPr>
              <a:t>are usually quarried by blasting at the quarries near the plant </a:t>
            </a:r>
            <a:r>
              <a:rPr lang="en-US" sz="1200">
                <a:effectLst/>
                <a:ea typeface="Calibri" panose="020F0502020204030204" pitchFamily="34" charset="0"/>
                <a:cs typeface="Times New Roman" panose="02020603050405020304" pitchFamily="18" charset="0"/>
              </a:rPr>
              <a:t>then are transported to the crushing stage by trucks. </a:t>
            </a:r>
            <a:endParaRPr lang="pt-PT" sz="1200">
              <a:effectLst/>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mj-lt"/>
              <a:buAutoNum type="arabicPeriod"/>
              <a:tabLst>
                <a:tab pos="457200" algn="l"/>
              </a:tabLst>
            </a:pPr>
            <a:r>
              <a:rPr lang="en-GB" sz="1200" b="1">
                <a:effectLst/>
                <a:ea typeface="Calibri" panose="020F0502020204030204" pitchFamily="34" charset="0"/>
                <a:cs typeface="Times New Roman" panose="02020603050405020304" pitchFamily="18" charset="0"/>
              </a:rPr>
              <a:t>Crushing -&gt;</a:t>
            </a:r>
            <a:r>
              <a:rPr lang="en-GB" sz="1200">
                <a:effectLst/>
                <a:ea typeface="Calibri" panose="020F0502020204030204" pitchFamily="34" charset="0"/>
                <a:cs typeface="Times New Roman" panose="02020603050405020304" pitchFamily="18" charset="0"/>
              </a:rPr>
              <a:t> T</a:t>
            </a:r>
            <a:r>
              <a:rPr lang="en-US" sz="1200">
                <a:effectLst/>
                <a:ea typeface="Calibri" panose="020F0502020204030204" pitchFamily="34" charset="0"/>
                <a:cs typeface="Times New Roman" panose="02020603050405020304" pitchFamily="18" charset="0"/>
              </a:rPr>
              <a:t>he extracted material is broken in a crusher with the purpose of obtaining material whose dimensions are less than 9 cm. The materials are also mixed to approach the desired chemical composition. </a:t>
            </a:r>
            <a:endParaRPr lang="pt-PT" sz="1200">
              <a:effectLst/>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mj-lt"/>
              <a:buAutoNum type="arabicPeriod"/>
              <a:tabLst>
                <a:tab pos="457200" algn="l"/>
              </a:tabLst>
            </a:pPr>
            <a:r>
              <a:rPr lang="en-US" sz="1200" b="1">
                <a:effectLst/>
                <a:ea typeface="Calibri" panose="020F0502020204030204" pitchFamily="34" charset="0"/>
                <a:cs typeface="Times New Roman" panose="02020603050405020304" pitchFamily="18" charset="0"/>
              </a:rPr>
              <a:t>Production raw materials -&gt;</a:t>
            </a:r>
            <a:r>
              <a:rPr lang="en-US" sz="1200">
                <a:effectLst/>
                <a:ea typeface="Calibri" panose="020F0502020204030204" pitchFamily="34" charset="0"/>
                <a:cs typeface="Times New Roman" panose="02020603050405020304" pitchFamily="18" charset="0"/>
              </a:rPr>
              <a:t> After crushing, the material is transported </a:t>
            </a:r>
            <a:r>
              <a:rPr lang="en-GB" sz="1200">
                <a:effectLst/>
                <a:ea typeface="Calibri" panose="020F0502020204030204" pitchFamily="34" charset="0"/>
                <a:cs typeface="Times New Roman" panose="02020603050405020304" pitchFamily="18" charset="0"/>
              </a:rPr>
              <a:t>to vertical silos (Limestone) and horizontal storage (Marl) where the homogenization occurs. Considering the quality of the product to be obtained (clinker) the raw materials are selected proportionally. </a:t>
            </a:r>
            <a:r>
              <a:rPr lang="en-US" sz="1200">
                <a:effectLst/>
                <a:ea typeface="Calibri" panose="020F0502020204030204" pitchFamily="34" charset="0"/>
                <a:cs typeface="Times New Roman" panose="02020603050405020304" pitchFamily="18" charset="0"/>
              </a:rPr>
              <a:t>The mix is then transported to the raw mill, where a finely ground mixture is obtained in a well-defined proportion of the raw materials. It is also during this process that the chemical composition of the raw materials is finely adjusted using materials or residues (sand and iron oxide). </a:t>
            </a:r>
            <a:endParaRPr lang="pt-PT" sz="1200">
              <a:effectLst/>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mj-lt"/>
              <a:buAutoNum type="arabicPeriod"/>
              <a:tabLst>
                <a:tab pos="457200" algn="l"/>
              </a:tabLst>
            </a:pPr>
            <a:r>
              <a:rPr lang="en-GB" sz="1200" b="1">
                <a:effectLst/>
                <a:ea typeface="Calibri" panose="020F0502020204030204" pitchFamily="34" charset="0"/>
                <a:cs typeface="Times New Roman" panose="02020603050405020304" pitchFamily="18" charset="0"/>
              </a:rPr>
              <a:t>Clinkering -&gt; </a:t>
            </a:r>
            <a:r>
              <a:rPr lang="en-GB" sz="1200">
                <a:effectLst/>
                <a:ea typeface="Calibri" panose="020F0502020204030204" pitchFamily="34" charset="0"/>
                <a:cs typeface="Times New Roman" panose="02020603050405020304" pitchFamily="18" charset="0"/>
              </a:rPr>
              <a:t>Before entering the kiln, the raw material passes through a cyclone tower to preheat it, this heating is done through the hot gases from the kiln that pass in counter-current and heat the raw material, achieving that by the end of the cyclone tower, its temperature is already above 800°C and all the water present has been lost. In the rotary kiln the raw material, already calcined, from the cyclone tower, is heated again, this time until a temperature of 1450°C to which a part of the material melts and the clinker is obtained. Due to the rotation movement of the kiln and its inclination of 3.5%, the raw material advances from the upper end of the kiln(coldest part) to the lower end (hottest part), where is the flame from the burner. The feedstock used in the burner could be </a:t>
            </a:r>
            <a:r>
              <a:rPr lang="en-GB" sz="1200" err="1">
                <a:effectLst/>
                <a:ea typeface="Calibri" panose="020F0502020204030204" pitchFamily="34" charset="0"/>
                <a:cs typeface="Times New Roman" panose="02020603050405020304" pitchFamily="18" charset="0"/>
              </a:rPr>
              <a:t>petcoke</a:t>
            </a:r>
            <a:r>
              <a:rPr lang="en-GB" sz="1200">
                <a:effectLst/>
                <a:ea typeface="Calibri" panose="020F0502020204030204" pitchFamily="34" charset="0"/>
                <a:cs typeface="Times New Roman" panose="02020603050405020304" pitchFamily="18" charset="0"/>
              </a:rPr>
              <a:t>, fuel or alternative fuels. </a:t>
            </a:r>
            <a:r>
              <a:rPr lang="en-US" sz="1200">
                <a:effectLst/>
                <a:ea typeface="Calibri" panose="020F0502020204030204" pitchFamily="34" charset="0"/>
                <a:cs typeface="Times New Roman" panose="02020603050405020304" pitchFamily="18" charset="0"/>
              </a:rPr>
              <a:t>The mineralogical characteristics of the clinker, as well as the properties of the final cement product, are determined by factors inherent to the clinkering of the raw material, namely its chemical and mineralogical composition, the residence time and the temperature profile in the kiln. The clinker leaves the kiln and enters the cooler at a temperature between 1200 – 1300 °C where it is cooled with air. When the clinker reaches a temperature of about 125 - 180 °C, it leaves the cooler and is stored in silos, where the cooling ends and the product is left to reach room temperature.</a:t>
            </a:r>
            <a:endParaRPr lang="pt-PT" sz="1200">
              <a:effectLst/>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mj-lt"/>
              <a:buAutoNum type="arabicPeriod"/>
              <a:tabLst>
                <a:tab pos="457200" algn="l"/>
              </a:tabLst>
            </a:pPr>
            <a:r>
              <a:rPr lang="en-US" sz="1200" b="1">
                <a:effectLst/>
                <a:ea typeface="Calibri" panose="020F0502020204030204" pitchFamily="34" charset="0"/>
                <a:cs typeface="Times New Roman" panose="02020603050405020304" pitchFamily="18" charset="0"/>
              </a:rPr>
              <a:t>Cement grinding -&gt; </a:t>
            </a:r>
            <a:r>
              <a:rPr lang="en-US" sz="1200">
                <a:effectLst/>
                <a:ea typeface="Calibri" panose="020F0502020204030204" pitchFamily="34" charset="0"/>
                <a:cs typeface="Times New Roman" panose="02020603050405020304" pitchFamily="18" charset="0"/>
              </a:rPr>
              <a:t>the clinker is then fed to a ball mill, where it is ground together with a previously designated amount of gypsum to increase the setting time (i.e. time it takes for cement to harden when mixed with water) among other additives with hydraulic properties, thus forming the cement. </a:t>
            </a:r>
            <a:r>
              <a:rPr lang="en-GB" sz="1200">
                <a:effectLst/>
                <a:ea typeface="Calibri" panose="020F0502020204030204" pitchFamily="34" charset="0"/>
                <a:cs typeface="Times New Roman" panose="02020603050405020304" pitchFamily="18" charset="0"/>
              </a:rPr>
              <a:t>This grinding with different materials implies that there are types of cement with various properties, so depending on the type of cement, there is an associated characteristic designation. </a:t>
            </a:r>
            <a:r>
              <a:rPr lang="en-US" sz="1200">
                <a:effectLst/>
                <a:ea typeface="Calibri" panose="020F0502020204030204" pitchFamily="34" charset="0"/>
                <a:cs typeface="Times New Roman" panose="02020603050405020304" pitchFamily="18" charset="0"/>
              </a:rPr>
              <a:t>Each type of cement produced is stored in the respective silo where it is homogenized and ready to be sent off for packing and shipping.</a:t>
            </a:r>
            <a:endParaRPr lang="en-US" sz="1200" b="0" i="0" u="none" strike="noStrike" baseline="0">
              <a:solidFill>
                <a:srgbClr val="000000"/>
              </a:solidFill>
              <a:latin typeface="Arial" panose="020B0604020202020204" pitchFamily="34" charset="0"/>
            </a:endParaRPr>
          </a:p>
          <a:p>
            <a:endParaRPr lang="sv-S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4DB91F-1AD8-437C-8866-3636784D085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77794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effectLst/>
                <a:latin typeface="Arial (Textkörper (komplexe Sch"/>
                <a:ea typeface="SimSun" panose="02010600030101010101" pitchFamily="2" charset="-122"/>
                <a:cs typeface="Arial" panose="020B0604020202020204" pitchFamily="34" charset="0"/>
              </a:rPr>
              <a:t>Objective of the student materials is also to provide a tool for teachers to complement their existing materials. </a:t>
            </a:r>
          </a:p>
          <a:p>
            <a:endParaRPr lang="sv-SE" dirty="0"/>
          </a:p>
        </p:txBody>
      </p:sp>
      <p:sp>
        <p:nvSpPr>
          <p:cNvPr id="4" name="Slide Number Placeholder 3"/>
          <p:cNvSpPr>
            <a:spLocks noGrp="1"/>
          </p:cNvSpPr>
          <p:nvPr>
            <p:ph type="sldNum" sz="quarter" idx="5"/>
          </p:nvPr>
        </p:nvSpPr>
        <p:spPr/>
        <p:txBody>
          <a:bodyPr/>
          <a:lstStyle/>
          <a:p>
            <a:fld id="{F84DB91F-1AD8-437C-8866-3636784D0854}" type="slidenum">
              <a:rPr lang="en-GB" smtClean="0"/>
              <a:t>3</a:t>
            </a:fld>
            <a:endParaRPr lang="en-GB"/>
          </a:p>
        </p:txBody>
      </p:sp>
    </p:spTree>
    <p:extLst>
      <p:ext uri="{BB962C8B-B14F-4D97-AF65-F5344CB8AC3E}">
        <p14:creationId xmlns:p14="http://schemas.microsoft.com/office/powerpoint/2010/main" val="317922197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sv-S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4DB91F-1AD8-437C-8866-3636784D085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4499649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fld id="{F84DB91F-1AD8-437C-8866-3636784D0854}" type="slidenum">
              <a:rPr lang="en-GB" smtClean="0"/>
              <a:t>33</a:t>
            </a:fld>
            <a:endParaRPr lang="en-GB"/>
          </a:p>
        </p:txBody>
      </p:sp>
    </p:spTree>
    <p:extLst>
      <p:ext uri="{BB962C8B-B14F-4D97-AF65-F5344CB8AC3E}">
        <p14:creationId xmlns:p14="http://schemas.microsoft.com/office/powerpoint/2010/main" val="299648058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 err="1"/>
              <a:t>Secil</a:t>
            </a:r>
            <a:r>
              <a:rPr lang="es-ES"/>
              <a:t> </a:t>
            </a:r>
            <a:r>
              <a:rPr lang="es-ES" err="1"/>
              <a:t>is</a:t>
            </a:r>
            <a:r>
              <a:rPr lang="es-ES"/>
              <a:t> </a:t>
            </a:r>
            <a:r>
              <a:rPr lang="es-ES" err="1"/>
              <a:t>one</a:t>
            </a:r>
            <a:r>
              <a:rPr lang="es-ES"/>
              <a:t> </a:t>
            </a:r>
            <a:r>
              <a:rPr lang="es-ES" err="1"/>
              <a:t>of</a:t>
            </a:r>
            <a:r>
              <a:rPr lang="es-ES"/>
              <a:t> </a:t>
            </a:r>
            <a:r>
              <a:rPr lang="es-ES" err="1"/>
              <a:t>the</a:t>
            </a:r>
            <a:r>
              <a:rPr lang="es-ES"/>
              <a:t> </a:t>
            </a:r>
            <a:r>
              <a:rPr lang="es-ES" err="1"/>
              <a:t>Portugal’s</a:t>
            </a:r>
            <a:r>
              <a:rPr lang="es-ES"/>
              <a:t> </a:t>
            </a:r>
            <a:r>
              <a:rPr lang="es-ES" err="1"/>
              <a:t>cement</a:t>
            </a:r>
            <a:r>
              <a:rPr lang="es-ES"/>
              <a:t> </a:t>
            </a:r>
            <a:r>
              <a:rPr lang="es-ES" err="1"/>
              <a:t>producer</a:t>
            </a:r>
            <a:r>
              <a:rPr lang="es-ES"/>
              <a:t> leader. In </a:t>
            </a:r>
            <a:r>
              <a:rPr lang="es-ES" err="1"/>
              <a:t>this</a:t>
            </a:r>
            <a:r>
              <a:rPr lang="es-ES"/>
              <a:t> case, </a:t>
            </a:r>
            <a:r>
              <a:rPr lang="es-ES" err="1"/>
              <a:t>retrofitting</a:t>
            </a:r>
            <a:r>
              <a:rPr lang="es-ES"/>
              <a:t> </a:t>
            </a:r>
            <a:r>
              <a:rPr lang="es-ES" err="1"/>
              <a:t>actions</a:t>
            </a:r>
            <a:r>
              <a:rPr lang="es-ES"/>
              <a:t> Will be </a:t>
            </a:r>
            <a:r>
              <a:rPr lang="es-ES" err="1"/>
              <a:t>centered</a:t>
            </a:r>
            <a:r>
              <a:rPr lang="es-ES"/>
              <a:t> in </a:t>
            </a:r>
            <a:r>
              <a:rPr lang="es-ES" err="1"/>
              <a:t>the</a:t>
            </a:r>
            <a:r>
              <a:rPr lang="es-ES"/>
              <a:t> </a:t>
            </a:r>
            <a:r>
              <a:rPr lang="es-ES" err="1"/>
              <a:t>core</a:t>
            </a:r>
            <a:r>
              <a:rPr lang="es-ES"/>
              <a:t> </a:t>
            </a:r>
            <a:r>
              <a:rPr lang="es-ES" err="1"/>
              <a:t>equipment</a:t>
            </a:r>
            <a:r>
              <a:rPr lang="es-ES"/>
              <a:t>, </a:t>
            </a:r>
            <a:r>
              <a:rPr lang="es-ES" err="1"/>
              <a:t>the</a:t>
            </a:r>
            <a:r>
              <a:rPr lang="es-ES"/>
              <a:t> </a:t>
            </a:r>
            <a:r>
              <a:rPr lang="es-ES" err="1"/>
              <a:t>rotatory</a:t>
            </a:r>
            <a:r>
              <a:rPr lang="es-ES"/>
              <a:t> </a:t>
            </a:r>
            <a:r>
              <a:rPr lang="es-ES" err="1"/>
              <a:t>kiln</a:t>
            </a:r>
            <a:r>
              <a:rPr lang="es-ES"/>
              <a:t>. A full-</a:t>
            </a:r>
            <a:r>
              <a:rPr lang="es-ES" err="1"/>
              <a:t>scale</a:t>
            </a:r>
            <a:r>
              <a:rPr lang="es-ES"/>
              <a:t> </a:t>
            </a:r>
            <a:r>
              <a:rPr lang="es-ES" err="1"/>
              <a:t>multifuel</a:t>
            </a:r>
            <a:r>
              <a:rPr lang="es-ES"/>
              <a:t> </a:t>
            </a:r>
            <a:r>
              <a:rPr lang="es-ES" err="1"/>
              <a:t>burner</a:t>
            </a:r>
            <a:r>
              <a:rPr lang="es-ES"/>
              <a:t> Will be </a:t>
            </a:r>
            <a:r>
              <a:rPr lang="es-ES" err="1"/>
              <a:t>design</a:t>
            </a:r>
            <a:r>
              <a:rPr lang="es-ES"/>
              <a:t> </a:t>
            </a:r>
            <a:r>
              <a:rPr lang="es-ES" err="1"/>
              <a:t>to</a:t>
            </a:r>
            <a:r>
              <a:rPr lang="es-ES"/>
              <a:t> be </a:t>
            </a:r>
            <a:r>
              <a:rPr lang="es-ES" err="1"/>
              <a:t>used</a:t>
            </a:r>
            <a:r>
              <a:rPr lang="es-ES"/>
              <a:t> </a:t>
            </a:r>
            <a:r>
              <a:rPr lang="es-ES" err="1"/>
              <a:t>with</a:t>
            </a:r>
            <a:r>
              <a:rPr lang="es-ES"/>
              <a:t> alternative </a:t>
            </a:r>
            <a:r>
              <a:rPr lang="es-ES" err="1"/>
              <a:t>fuels</a:t>
            </a:r>
            <a:r>
              <a:rPr lang="es-ES"/>
              <a:t>. New innovative </a:t>
            </a:r>
            <a:r>
              <a:rPr lang="es-ES" err="1"/>
              <a:t>sensors</a:t>
            </a:r>
            <a:r>
              <a:rPr lang="es-ES"/>
              <a:t> Will be </a:t>
            </a:r>
            <a:r>
              <a:rPr lang="es-ES" err="1"/>
              <a:t>developed</a:t>
            </a:r>
            <a:r>
              <a:rPr lang="es-ES"/>
              <a:t> and </a:t>
            </a:r>
            <a:r>
              <a:rPr lang="es-ES" err="1"/>
              <a:t>installed</a:t>
            </a:r>
            <a:r>
              <a:rPr lang="es-ES"/>
              <a:t> </a:t>
            </a:r>
            <a:r>
              <a:rPr lang="es-ES" err="1"/>
              <a:t>to</a:t>
            </a:r>
            <a:r>
              <a:rPr lang="es-ES"/>
              <a:t> monitor </a:t>
            </a:r>
            <a:r>
              <a:rPr lang="es-ES" err="1"/>
              <a:t>the</a:t>
            </a:r>
            <a:r>
              <a:rPr lang="es-ES"/>
              <a:t> combustión </a:t>
            </a:r>
            <a:r>
              <a:rPr lang="es-ES" err="1"/>
              <a:t>process</a:t>
            </a:r>
            <a:r>
              <a:rPr lang="es-ES"/>
              <a:t> </a:t>
            </a:r>
            <a:r>
              <a:rPr lang="es-ES" err="1"/>
              <a:t>based</a:t>
            </a:r>
            <a:r>
              <a:rPr lang="es-ES"/>
              <a:t> </a:t>
            </a:r>
            <a:r>
              <a:rPr lang="es-ES" err="1"/>
              <a:t>on</a:t>
            </a:r>
            <a:r>
              <a:rPr lang="es-ES"/>
              <a:t> </a:t>
            </a:r>
            <a:r>
              <a:rPr lang="es-ES" err="1"/>
              <a:t>flame</a:t>
            </a:r>
            <a:r>
              <a:rPr lang="es-ES"/>
              <a:t> </a:t>
            </a:r>
            <a:r>
              <a:rPr lang="es-ES" err="1"/>
              <a:t>images</a:t>
            </a:r>
            <a:r>
              <a:rPr lang="es-ES"/>
              <a:t> and </a:t>
            </a:r>
            <a:r>
              <a:rPr lang="es-ES" err="1"/>
              <a:t>characteristics</a:t>
            </a:r>
            <a:r>
              <a:rPr lang="es-ES"/>
              <a:t> </a:t>
            </a:r>
            <a:r>
              <a:rPr lang="es-ES" err="1"/>
              <a:t>of</a:t>
            </a:r>
            <a:r>
              <a:rPr lang="es-ES"/>
              <a:t> </a:t>
            </a:r>
            <a:r>
              <a:rPr lang="es-ES" err="1"/>
              <a:t>the</a:t>
            </a:r>
            <a:r>
              <a:rPr lang="es-ES"/>
              <a:t> Clinker </a:t>
            </a:r>
            <a:r>
              <a:rPr lang="es-ES" err="1"/>
              <a:t>composition</a:t>
            </a:r>
            <a:r>
              <a:rPr lang="es-ES"/>
              <a:t> </a:t>
            </a:r>
            <a:r>
              <a:rPr lang="es-ES" err="1"/>
              <a:t>by</a:t>
            </a:r>
            <a:r>
              <a:rPr lang="es-ES"/>
              <a:t> </a:t>
            </a:r>
            <a:r>
              <a:rPr lang="es-ES" err="1"/>
              <a:t>means</a:t>
            </a:r>
            <a:r>
              <a:rPr lang="es-ES"/>
              <a:t> </a:t>
            </a:r>
            <a:r>
              <a:rPr lang="es-ES" err="1"/>
              <a:t>optical</a:t>
            </a:r>
            <a:r>
              <a:rPr lang="es-ES"/>
              <a:t> </a:t>
            </a:r>
            <a:r>
              <a:rPr lang="es-ES" err="1"/>
              <a:t>techniques</a:t>
            </a:r>
            <a:r>
              <a:rPr lang="es-ES"/>
              <a:t>. In </a:t>
            </a:r>
            <a:r>
              <a:rPr lang="es-ES" err="1"/>
              <a:t>addition</a:t>
            </a:r>
            <a:r>
              <a:rPr lang="es-ES"/>
              <a:t>, alternative fuel Will be </a:t>
            </a:r>
            <a:r>
              <a:rPr lang="es-ES" err="1"/>
              <a:t>also</a:t>
            </a:r>
            <a:r>
              <a:rPr lang="es-ES"/>
              <a:t> </a:t>
            </a:r>
            <a:r>
              <a:rPr lang="es-ES" err="1"/>
              <a:t>characterize</a:t>
            </a:r>
            <a:r>
              <a:rPr lang="es-ES"/>
              <a:t> </a:t>
            </a:r>
            <a:r>
              <a:rPr lang="es-ES" err="1"/>
              <a:t>to</a:t>
            </a:r>
            <a:r>
              <a:rPr lang="es-ES"/>
              <a:t> </a:t>
            </a:r>
            <a:r>
              <a:rPr lang="es-ES" err="1"/>
              <a:t>support</a:t>
            </a:r>
            <a:r>
              <a:rPr lang="es-ES"/>
              <a:t> </a:t>
            </a:r>
            <a:r>
              <a:rPr lang="es-ES" err="1"/>
              <a:t>the</a:t>
            </a:r>
            <a:r>
              <a:rPr lang="es-ES"/>
              <a:t> </a:t>
            </a:r>
            <a:r>
              <a:rPr lang="es-ES" err="1"/>
              <a:t>kiln</a:t>
            </a:r>
            <a:r>
              <a:rPr lang="es-ES"/>
              <a:t> performance. </a:t>
            </a:r>
            <a:r>
              <a:rPr lang="es-ES" err="1"/>
              <a:t>The</a:t>
            </a:r>
            <a:r>
              <a:rPr lang="es-ES"/>
              <a:t> </a:t>
            </a:r>
            <a:r>
              <a:rPr lang="es-ES" err="1"/>
              <a:t>implementation</a:t>
            </a:r>
            <a:r>
              <a:rPr lang="es-ES"/>
              <a:t> </a:t>
            </a:r>
            <a:r>
              <a:rPr lang="es-ES" err="1"/>
              <a:t>of</a:t>
            </a:r>
            <a:r>
              <a:rPr lang="es-ES"/>
              <a:t> </a:t>
            </a:r>
            <a:r>
              <a:rPr lang="es-ES" err="1"/>
              <a:t>these</a:t>
            </a:r>
            <a:r>
              <a:rPr lang="es-ES"/>
              <a:t> </a:t>
            </a:r>
            <a:r>
              <a:rPr lang="es-ES" err="1"/>
              <a:t>actions</a:t>
            </a:r>
            <a:r>
              <a:rPr lang="es-ES"/>
              <a:t> Will lead </a:t>
            </a:r>
            <a:r>
              <a:rPr lang="es-ES" err="1"/>
              <a:t>to</a:t>
            </a:r>
            <a:r>
              <a:rPr lang="es-ES"/>
              <a:t> </a:t>
            </a:r>
            <a:r>
              <a:rPr lang="es-ES" err="1"/>
              <a:t>expect</a:t>
            </a:r>
            <a:r>
              <a:rPr lang="es-ES"/>
              <a:t> a </a:t>
            </a:r>
            <a:r>
              <a:rPr lang="es-ES" err="1"/>
              <a:t>substitution</a:t>
            </a:r>
            <a:r>
              <a:rPr lang="es-ES"/>
              <a:t> </a:t>
            </a:r>
            <a:r>
              <a:rPr lang="es-ES" err="1"/>
              <a:t>of</a:t>
            </a:r>
            <a:r>
              <a:rPr lang="es-ES"/>
              <a:t> 60-80% </a:t>
            </a:r>
            <a:r>
              <a:rPr lang="es-ES" err="1"/>
              <a:t>of</a:t>
            </a:r>
            <a:r>
              <a:rPr lang="es-ES"/>
              <a:t> </a:t>
            </a:r>
            <a:r>
              <a:rPr lang="es-ES" err="1"/>
              <a:t>fossil</a:t>
            </a:r>
            <a:r>
              <a:rPr lang="es-ES"/>
              <a:t> fuel. </a:t>
            </a:r>
            <a:r>
              <a:rPr lang="es-ES" err="1"/>
              <a:t>Which</a:t>
            </a:r>
            <a:r>
              <a:rPr lang="es-ES"/>
              <a:t> Will </a:t>
            </a:r>
            <a:r>
              <a:rPr lang="es-ES" err="1"/>
              <a:t>contribute</a:t>
            </a:r>
            <a:r>
              <a:rPr lang="es-ES"/>
              <a:t> </a:t>
            </a:r>
            <a:r>
              <a:rPr lang="es-ES" err="1"/>
              <a:t>to</a:t>
            </a:r>
            <a:r>
              <a:rPr lang="es-ES"/>
              <a:t> a </a:t>
            </a:r>
            <a:r>
              <a:rPr lang="es-ES" err="1"/>
              <a:t>reduction</a:t>
            </a:r>
            <a:r>
              <a:rPr lang="es-ES"/>
              <a:t> </a:t>
            </a:r>
            <a:r>
              <a:rPr lang="es-ES" err="1"/>
              <a:t>of</a:t>
            </a:r>
            <a:r>
              <a:rPr lang="es-ES"/>
              <a:t> CO2 </a:t>
            </a:r>
            <a:r>
              <a:rPr lang="es-ES" err="1"/>
              <a:t>emissions</a:t>
            </a:r>
            <a:r>
              <a:rPr lang="es-ES"/>
              <a:t>. </a:t>
            </a:r>
            <a:r>
              <a:rPr lang="es-ES" err="1"/>
              <a:t>Besides</a:t>
            </a:r>
            <a:r>
              <a:rPr lang="es-ES"/>
              <a:t>, </a:t>
            </a:r>
            <a:r>
              <a:rPr lang="es-ES" err="1"/>
              <a:t>it</a:t>
            </a:r>
            <a:r>
              <a:rPr lang="es-ES"/>
              <a:t> </a:t>
            </a:r>
            <a:r>
              <a:rPr lang="es-ES" err="1"/>
              <a:t>is</a:t>
            </a:r>
            <a:r>
              <a:rPr lang="es-ES"/>
              <a:t> </a:t>
            </a:r>
            <a:r>
              <a:rPr lang="es-ES" err="1"/>
              <a:t>expected</a:t>
            </a:r>
            <a:r>
              <a:rPr lang="es-ES"/>
              <a:t> a 5% </a:t>
            </a:r>
            <a:r>
              <a:rPr lang="es-ES" err="1"/>
              <a:t>of</a:t>
            </a:r>
            <a:r>
              <a:rPr lang="es-ES"/>
              <a:t> </a:t>
            </a:r>
            <a:r>
              <a:rPr lang="es-ES" err="1"/>
              <a:t>specidifc</a:t>
            </a:r>
            <a:r>
              <a:rPr lang="es-ES"/>
              <a:t> </a:t>
            </a:r>
            <a:r>
              <a:rPr lang="es-ES" err="1"/>
              <a:t>energy</a:t>
            </a:r>
            <a:r>
              <a:rPr lang="es-ES"/>
              <a:t> </a:t>
            </a:r>
            <a:r>
              <a:rPr lang="es-ES" err="1"/>
              <a:t>consumption</a:t>
            </a:r>
            <a:r>
              <a:rPr lang="es-ES"/>
              <a:t> </a:t>
            </a:r>
            <a:r>
              <a:rPr lang="es-ES" err="1"/>
              <a:t>decreasing</a:t>
            </a:r>
            <a:r>
              <a:rPr lang="es-ES"/>
              <a:t> and so, </a:t>
            </a:r>
            <a:r>
              <a:rPr lang="es-ES" err="1"/>
              <a:t>an</a:t>
            </a:r>
            <a:r>
              <a:rPr lang="es-ES"/>
              <a:t> </a:t>
            </a:r>
            <a:r>
              <a:rPr lang="es-ES" err="1"/>
              <a:t>increment</a:t>
            </a:r>
            <a:r>
              <a:rPr lang="es-ES"/>
              <a:t> in </a:t>
            </a:r>
            <a:r>
              <a:rPr lang="es-ES" err="1"/>
              <a:t>energy</a:t>
            </a:r>
            <a:r>
              <a:rPr lang="es-ES"/>
              <a:t> </a:t>
            </a:r>
            <a:r>
              <a:rPr lang="es-ES" err="1"/>
              <a:t>efficiendy</a:t>
            </a:r>
            <a:r>
              <a:rPr lang="es-ES"/>
              <a:t>. A </a:t>
            </a:r>
            <a:r>
              <a:rPr lang="es-ES" err="1"/>
              <a:t>flue</a:t>
            </a:r>
            <a:r>
              <a:rPr lang="es-ES"/>
              <a:t> gases </a:t>
            </a:r>
            <a:r>
              <a:rPr lang="es-ES" err="1"/>
              <a:t>analyzer</a:t>
            </a:r>
            <a:r>
              <a:rPr lang="es-ES"/>
              <a:t> Will </a:t>
            </a:r>
            <a:r>
              <a:rPr lang="es-ES" err="1"/>
              <a:t>improve</a:t>
            </a:r>
            <a:r>
              <a:rPr lang="es-ES"/>
              <a:t> </a:t>
            </a:r>
            <a:r>
              <a:rPr lang="es-ES" err="1"/>
              <a:t>the</a:t>
            </a:r>
            <a:r>
              <a:rPr lang="es-ES"/>
              <a:t> M&amp;C </a:t>
            </a:r>
            <a:r>
              <a:rPr lang="es-ES" err="1"/>
              <a:t>system</a:t>
            </a:r>
            <a:r>
              <a:rPr lang="es-ES"/>
              <a:t>. </a:t>
            </a:r>
            <a:endParaRPr lang="en-GB"/>
          </a:p>
        </p:txBody>
      </p:sp>
      <p:sp>
        <p:nvSpPr>
          <p:cNvPr id="4" name="Marcador de número de diapositiva 3"/>
          <p:cNvSpPr>
            <a:spLocks noGrp="1"/>
          </p:cNvSpPr>
          <p:nvPr>
            <p:ph type="sldNum" sz="quarter" idx="5"/>
          </p:nvPr>
        </p:nvSpPr>
        <p:spPr/>
        <p:txBody>
          <a:bodyPr/>
          <a:lstStyle/>
          <a:p>
            <a:fld id="{F84DB91F-1AD8-437C-8866-3636784D0854}" type="slidenum">
              <a:rPr lang="en-GB" smtClean="0"/>
              <a:t>34</a:t>
            </a:fld>
            <a:endParaRPr lang="en-GB"/>
          </a:p>
        </p:txBody>
      </p:sp>
    </p:spTree>
    <p:extLst>
      <p:ext uri="{BB962C8B-B14F-4D97-AF65-F5344CB8AC3E}">
        <p14:creationId xmlns:p14="http://schemas.microsoft.com/office/powerpoint/2010/main" val="185456035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a:t>To read </a:t>
            </a:r>
            <a:r>
              <a:rPr lang="sv-SE" err="1"/>
              <a:t>more</a:t>
            </a:r>
            <a:r>
              <a:rPr lang="sv-SE"/>
              <a:t> </a:t>
            </a:r>
            <a:r>
              <a:rPr lang="sv-SE" err="1"/>
              <a:t>about</a:t>
            </a:r>
            <a:r>
              <a:rPr lang="sv-SE"/>
              <a:t> alternative </a:t>
            </a:r>
            <a:r>
              <a:rPr lang="sv-SE" err="1"/>
              <a:t>feedstock</a:t>
            </a:r>
            <a:r>
              <a:rPr lang="sv-SE"/>
              <a:t>:</a:t>
            </a:r>
            <a:r>
              <a:rPr lang="sv-SE" sz="1800" b="0" i="0" u="none" strike="noStrike" baseline="0">
                <a:latin typeface="Arial" panose="020B0604020202020204" pitchFamily="34" charset="0"/>
              </a:rPr>
              <a:t> </a:t>
            </a:r>
            <a:r>
              <a:rPr lang="sv-SE" sz="1800" b="1" i="0" u="none" strike="noStrike" baseline="0">
                <a:latin typeface="Arial" panose="020B0604020202020204" pitchFamily="34" charset="0"/>
              </a:rPr>
              <a:t>D2.6 </a:t>
            </a:r>
            <a:r>
              <a:rPr lang="sv-SE" sz="1800" b="0" i="0" u="none" strike="noStrike" baseline="0">
                <a:latin typeface="Arial" panose="020B0604020202020204" pitchFamily="34" charset="0"/>
              </a:rPr>
              <a:t>- ALTERNATIVE FEEDSTOCK BENCHMARKING, </a:t>
            </a:r>
            <a:r>
              <a:rPr lang="sv-SE" sz="1800" b="0" i="0" u="none" strike="noStrike" baseline="0" err="1">
                <a:latin typeface="Arial" panose="020B0604020202020204" pitchFamily="34" charset="0"/>
              </a:rPr>
              <a:t>see</a:t>
            </a:r>
            <a:r>
              <a:rPr lang="sv-SE" sz="1800" b="0" i="0" u="none" strike="noStrike" baseline="0">
                <a:latin typeface="Arial" panose="020B0604020202020204" pitchFamily="34" charset="0"/>
              </a:rPr>
              <a:t> </a:t>
            </a:r>
            <a:r>
              <a:rPr lang="sv-SE">
                <a:hlinkClick r:id="rId3"/>
              </a:rPr>
              <a:t>Public </a:t>
            </a:r>
            <a:r>
              <a:rPr lang="sv-SE" err="1">
                <a:hlinkClick r:id="rId3"/>
              </a:rPr>
              <a:t>Deliverables</a:t>
            </a:r>
            <a:r>
              <a:rPr lang="sv-SE">
                <a:hlinkClick r:id="rId3"/>
              </a:rPr>
              <a:t> – RETROFEED</a:t>
            </a:r>
            <a:r>
              <a:rPr lang="sv-SE"/>
              <a:t>. </a:t>
            </a:r>
          </a:p>
        </p:txBody>
      </p:sp>
      <p:sp>
        <p:nvSpPr>
          <p:cNvPr id="4" name="Slide Number Placeholder 3"/>
          <p:cNvSpPr>
            <a:spLocks noGrp="1"/>
          </p:cNvSpPr>
          <p:nvPr>
            <p:ph type="sldNum" sz="quarter" idx="5"/>
          </p:nvPr>
        </p:nvSpPr>
        <p:spPr/>
        <p:txBody>
          <a:bodyPr/>
          <a:lstStyle/>
          <a:p>
            <a:fld id="{F84DB91F-1AD8-437C-8866-3636784D0854}" type="slidenum">
              <a:rPr lang="en-GB" smtClean="0"/>
              <a:t>35</a:t>
            </a:fld>
            <a:endParaRPr lang="en-GB"/>
          </a:p>
        </p:txBody>
      </p:sp>
    </p:spTree>
    <p:extLst>
      <p:ext uri="{BB962C8B-B14F-4D97-AF65-F5344CB8AC3E}">
        <p14:creationId xmlns:p14="http://schemas.microsoft.com/office/powerpoint/2010/main" val="150398453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a:t>In </a:t>
            </a:r>
            <a:r>
              <a:rPr lang="sv-SE" err="1"/>
              <a:t>this</a:t>
            </a:r>
            <a:r>
              <a:rPr lang="sv-SE"/>
              <a:t> </a:t>
            </a:r>
            <a:r>
              <a:rPr lang="sv-SE" err="1"/>
              <a:t>subchapter</a:t>
            </a:r>
            <a:r>
              <a:rPr lang="sv-SE"/>
              <a:t> </a:t>
            </a:r>
            <a:r>
              <a:rPr lang="sv-SE" err="1"/>
              <a:t>you</a:t>
            </a:r>
            <a:r>
              <a:rPr lang="sv-SE"/>
              <a:t> </a:t>
            </a:r>
            <a:r>
              <a:rPr lang="sv-SE" err="1"/>
              <a:t>will</a:t>
            </a:r>
            <a:r>
              <a:rPr lang="sv-SE"/>
              <a:t> </a:t>
            </a:r>
            <a:r>
              <a:rPr lang="sv-SE" err="1"/>
              <a:t>learn</a:t>
            </a:r>
            <a:r>
              <a:rPr lang="sv-SE"/>
              <a:t> </a:t>
            </a:r>
            <a:r>
              <a:rPr lang="sv-SE" err="1"/>
              <a:t>more</a:t>
            </a:r>
            <a:r>
              <a:rPr lang="sv-SE"/>
              <a:t> </a:t>
            </a:r>
            <a:r>
              <a:rPr lang="sv-SE" err="1"/>
              <a:t>about</a:t>
            </a:r>
            <a:r>
              <a:rPr lang="sv-SE"/>
              <a:t> the </a:t>
            </a:r>
            <a:r>
              <a:rPr lang="sv-SE" err="1"/>
              <a:t>company</a:t>
            </a:r>
            <a:r>
              <a:rPr lang="sv-SE"/>
              <a:t> and the demo-site </a:t>
            </a:r>
            <a:r>
              <a:rPr lang="sv-SE" err="1"/>
              <a:t>within</a:t>
            </a:r>
            <a:r>
              <a:rPr lang="sv-SE"/>
              <a:t> the </a:t>
            </a:r>
            <a:r>
              <a:rPr lang="sv-SE" err="1"/>
              <a:t>aluminum</a:t>
            </a:r>
            <a:r>
              <a:rPr lang="sv-SE"/>
              <a:t> </a:t>
            </a:r>
            <a:r>
              <a:rPr lang="sv-SE" err="1"/>
              <a:t>production</a:t>
            </a:r>
            <a:r>
              <a:rPr lang="sv-SE"/>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a:p>
          <a:p>
            <a:pPr marL="0" marR="0" lvl="0" indent="0" algn="l" defTabSz="914400" rtl="0" eaLnBrk="1" fontAlgn="auto" latinLnBrk="0" hangingPunct="1">
              <a:lnSpc>
                <a:spcPct val="100000"/>
              </a:lnSpc>
              <a:spcBef>
                <a:spcPts val="0"/>
              </a:spcBef>
              <a:spcAft>
                <a:spcPts val="0"/>
              </a:spcAft>
              <a:buClrTx/>
              <a:buSzTx/>
              <a:buFontTx/>
              <a:buNone/>
              <a:tabLst/>
              <a:defRPr/>
            </a:pPr>
            <a:r>
              <a:rPr lang="sv-SE"/>
              <a:t>ASAS is the </a:t>
            </a:r>
            <a:r>
              <a:rPr lang="sv-SE" err="1"/>
              <a:t>company</a:t>
            </a:r>
            <a:r>
              <a:rPr lang="sv-SE"/>
              <a:t> </a:t>
            </a:r>
            <a:r>
              <a:rPr lang="sv-SE" err="1"/>
              <a:t>with</a:t>
            </a:r>
            <a:r>
              <a:rPr lang="sv-SE"/>
              <a:t> </a:t>
            </a:r>
            <a:r>
              <a:rPr lang="sv-SE" err="1"/>
              <a:t>one</a:t>
            </a:r>
            <a:r>
              <a:rPr lang="sv-SE"/>
              <a:t> </a:t>
            </a:r>
            <a:r>
              <a:rPr lang="sv-SE" err="1"/>
              <a:t>of</a:t>
            </a:r>
            <a:r>
              <a:rPr lang="sv-SE"/>
              <a:t> the demo-sites </a:t>
            </a:r>
            <a:r>
              <a:rPr lang="sv-SE" err="1"/>
              <a:t>within</a:t>
            </a:r>
            <a:r>
              <a:rPr lang="sv-SE"/>
              <a:t> the RETROFEED </a:t>
            </a:r>
            <a:r>
              <a:rPr lang="sv-SE" err="1"/>
              <a:t>project</a:t>
            </a:r>
            <a:r>
              <a:rPr lang="sv-SE"/>
              <a:t>. </a:t>
            </a:r>
            <a:r>
              <a:rPr lang="sv-SE" err="1"/>
              <a:t>You</a:t>
            </a:r>
            <a:r>
              <a:rPr lang="sv-SE"/>
              <a:t> </a:t>
            </a:r>
            <a:r>
              <a:rPr lang="sv-SE" err="1"/>
              <a:t>will</a:t>
            </a:r>
            <a:r>
              <a:rPr lang="sv-SE"/>
              <a:t> get to </a:t>
            </a:r>
            <a:r>
              <a:rPr lang="sv-SE" err="1"/>
              <a:t>know</a:t>
            </a:r>
            <a:r>
              <a:rPr lang="sv-SE"/>
              <a:t>:</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sv-SE" err="1"/>
              <a:t>Background</a:t>
            </a:r>
            <a:r>
              <a:rPr lang="sv-SE"/>
              <a:t> information </a:t>
            </a:r>
            <a:r>
              <a:rPr lang="sv-SE" err="1"/>
              <a:t>of</a:t>
            </a:r>
            <a:r>
              <a:rPr lang="sv-SE"/>
              <a:t> the </a:t>
            </a:r>
            <a:r>
              <a:rPr lang="sv-SE" err="1"/>
              <a:t>company</a:t>
            </a:r>
            <a:r>
              <a:rPr lang="sv-SE"/>
              <a:t>.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sv-SE" err="1"/>
              <a:t>Production</a:t>
            </a:r>
            <a:r>
              <a:rPr lang="sv-SE"/>
              <a:t> process in ASAS– all the steps </a:t>
            </a:r>
            <a:r>
              <a:rPr lang="sv-SE" err="1"/>
              <a:t>within</a:t>
            </a:r>
            <a:r>
              <a:rPr lang="sv-SE"/>
              <a:t> the </a:t>
            </a:r>
            <a:r>
              <a:rPr lang="sv-SE" err="1"/>
              <a:t>production</a:t>
            </a:r>
            <a:r>
              <a:rPr lang="sv-SE"/>
              <a:t> from </a:t>
            </a:r>
            <a:r>
              <a:rPr lang="sv-SE" err="1"/>
              <a:t>raw</a:t>
            </a:r>
            <a:r>
              <a:rPr lang="sv-SE"/>
              <a:t> material </a:t>
            </a:r>
            <a:r>
              <a:rPr lang="sv-SE" err="1"/>
              <a:t>extraction</a:t>
            </a:r>
            <a:r>
              <a:rPr lang="sv-SE"/>
              <a:t> to cement </a:t>
            </a:r>
            <a:r>
              <a:rPr lang="sv-SE" err="1"/>
              <a:t>grinding</a:t>
            </a:r>
            <a:r>
              <a:rPr lang="sv-SE"/>
              <a:t>.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sv-SE" err="1"/>
              <a:t>Secil</a:t>
            </a:r>
            <a:r>
              <a:rPr lang="sv-SE"/>
              <a:t> </a:t>
            </a:r>
            <a:r>
              <a:rPr lang="sv-SE" err="1"/>
              <a:t>characterization</a:t>
            </a:r>
            <a:r>
              <a:rPr lang="sv-SE"/>
              <a:t> in terms </a:t>
            </a:r>
            <a:r>
              <a:rPr lang="sv-SE" err="1"/>
              <a:t>of</a:t>
            </a:r>
            <a:r>
              <a:rPr lang="sv-SE"/>
              <a:t> </a:t>
            </a:r>
            <a:r>
              <a:rPr lang="sv-SE" err="1"/>
              <a:t>primary</a:t>
            </a:r>
            <a:r>
              <a:rPr lang="sv-SE"/>
              <a:t> </a:t>
            </a:r>
            <a:r>
              <a:rPr lang="sv-SE" err="1"/>
              <a:t>energy</a:t>
            </a:r>
            <a:r>
              <a:rPr lang="sv-SE"/>
              <a:t> </a:t>
            </a:r>
            <a:r>
              <a:rPr lang="sv-SE" err="1"/>
              <a:t>requirements</a:t>
            </a:r>
            <a:r>
              <a:rPr lang="sv-SE"/>
              <a:t> and GHG gas emissions </a:t>
            </a:r>
            <a:r>
              <a:rPr lang="sv-SE" err="1"/>
              <a:t>before</a:t>
            </a:r>
            <a:r>
              <a:rPr lang="sv-SE"/>
              <a:t> </a:t>
            </a:r>
            <a:r>
              <a:rPr lang="sv-SE" err="1"/>
              <a:t>retrofitting</a:t>
            </a:r>
            <a:r>
              <a:rPr lang="sv-SE"/>
              <a:t>.</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sv-SE" err="1"/>
              <a:t>Why</a:t>
            </a:r>
            <a:r>
              <a:rPr lang="sv-SE"/>
              <a:t> </a:t>
            </a:r>
            <a:r>
              <a:rPr lang="sv-SE" err="1"/>
              <a:t>retrofitting</a:t>
            </a:r>
            <a:r>
              <a:rPr lang="sv-SE"/>
              <a:t> is </a:t>
            </a:r>
            <a:r>
              <a:rPr lang="sv-SE" err="1"/>
              <a:t>needed</a:t>
            </a:r>
            <a:r>
              <a:rPr lang="sv-SE"/>
              <a:t> and </a:t>
            </a:r>
            <a:r>
              <a:rPr lang="sv-SE" err="1"/>
              <a:t>where</a:t>
            </a:r>
            <a:r>
              <a:rPr lang="sv-SE"/>
              <a:t> </a:t>
            </a:r>
            <a:r>
              <a:rPr lang="sv-SE" err="1"/>
              <a:t>retrofitting</a:t>
            </a:r>
            <a:r>
              <a:rPr lang="sv-SE"/>
              <a:t> is </a:t>
            </a:r>
            <a:r>
              <a:rPr lang="sv-SE" err="1"/>
              <a:t>needed</a:t>
            </a:r>
            <a:r>
              <a:rPr lang="sv-SE"/>
              <a:t>.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sv-SE" err="1"/>
              <a:t>Summary</a:t>
            </a:r>
            <a:r>
              <a:rPr lang="sv-SE"/>
              <a:t> </a:t>
            </a:r>
            <a:r>
              <a:rPr lang="sv-SE" err="1"/>
              <a:t>of</a:t>
            </a:r>
            <a:r>
              <a:rPr lang="sv-SE"/>
              <a:t> actions and </a:t>
            </a:r>
            <a:r>
              <a:rPr lang="sv-SE" err="1"/>
              <a:t>goals</a:t>
            </a:r>
            <a:r>
              <a:rPr lang="sv-SE"/>
              <a:t>.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sv-SE" err="1"/>
              <a:t>Discussion</a:t>
            </a:r>
            <a:r>
              <a:rPr lang="sv-SE"/>
              <a:t> </a:t>
            </a:r>
            <a:r>
              <a:rPr lang="sv-SE" err="1"/>
              <a:t>exercise</a:t>
            </a:r>
            <a:r>
              <a:rPr lang="sv-SE"/>
              <a:t>. </a:t>
            </a:r>
          </a:p>
          <a:p>
            <a:endParaRPr lang="sv-SE"/>
          </a:p>
        </p:txBody>
      </p:sp>
      <p:sp>
        <p:nvSpPr>
          <p:cNvPr id="4" name="Platshållare för bildnummer 3"/>
          <p:cNvSpPr>
            <a:spLocks noGrp="1"/>
          </p:cNvSpPr>
          <p:nvPr>
            <p:ph type="sldNum" sz="quarter" idx="5"/>
          </p:nvPr>
        </p:nvSpPr>
        <p:spPr/>
        <p:txBody>
          <a:bodyPr/>
          <a:lstStyle/>
          <a:p>
            <a:fld id="{F84DB91F-1AD8-437C-8866-3636784D0854}" type="slidenum">
              <a:rPr lang="en-GB" smtClean="0"/>
              <a:t>36</a:t>
            </a:fld>
            <a:endParaRPr lang="en-GB"/>
          </a:p>
        </p:txBody>
      </p:sp>
    </p:spTree>
    <p:extLst>
      <p:ext uri="{BB962C8B-B14F-4D97-AF65-F5344CB8AC3E}">
        <p14:creationId xmlns:p14="http://schemas.microsoft.com/office/powerpoint/2010/main" val="268325355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800">
                <a:effectLst/>
                <a:latin typeface="Arial MT"/>
                <a:ea typeface="Arial MT"/>
                <a:cs typeface="Arial MT"/>
              </a:rPr>
              <a:t>Picture source: </a:t>
            </a:r>
            <a:r>
              <a:rPr lang="sv-SE" sz="1800">
                <a:effectLst/>
                <a:latin typeface="Segoe UI" panose="020B0502040204020203" pitchFamily="34" charset="0"/>
              </a:rPr>
              <a:t>https://www.asaspen.com.tr/corporate/about-us/asas/</a:t>
            </a:r>
            <a:endParaRPr lang="sv-SE" sz="1800">
              <a:effectLst/>
              <a:latin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sv-SE" sz="1800">
                <a:effectLst/>
                <a:latin typeface="Arial MT"/>
                <a:ea typeface="Arial MT"/>
                <a:cs typeface="Arial MT"/>
              </a:rPr>
              <a:t> </a:t>
            </a:r>
          </a:p>
        </p:txBody>
      </p:sp>
      <p:sp>
        <p:nvSpPr>
          <p:cNvPr id="4" name="Slide Number Placeholder 3"/>
          <p:cNvSpPr>
            <a:spLocks noGrp="1"/>
          </p:cNvSpPr>
          <p:nvPr>
            <p:ph type="sldNum" sz="quarter" idx="5"/>
          </p:nvPr>
        </p:nvSpPr>
        <p:spPr/>
        <p:txBody>
          <a:bodyPr/>
          <a:lstStyle/>
          <a:p>
            <a:fld id="{F84DB91F-1AD8-437C-8866-3636784D0854}" type="slidenum">
              <a:rPr lang="en-GB" smtClean="0"/>
              <a:t>37</a:t>
            </a:fld>
            <a:endParaRPr lang="en-GB"/>
          </a:p>
        </p:txBody>
      </p:sp>
    </p:spTree>
    <p:extLst>
      <p:ext uri="{BB962C8B-B14F-4D97-AF65-F5344CB8AC3E}">
        <p14:creationId xmlns:p14="http://schemas.microsoft.com/office/powerpoint/2010/main" val="232387660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50000"/>
              </a:lnSpc>
              <a:spcAft>
                <a:spcPts val="1200"/>
              </a:spcAft>
            </a:pPr>
            <a:r>
              <a:rPr lang="en-US" sz="1200">
                <a:effectLst/>
                <a:latin typeface="+mj-lt"/>
                <a:ea typeface="Georgia" panose="02040502050405020303" pitchFamily="18" charset="0"/>
                <a:cs typeface="Times New Roman" panose="02020603050405020304" pitchFamily="18" charset="0"/>
              </a:rPr>
              <a:t>The main stages involved in the manufacturing of the billed products are:</a:t>
            </a:r>
            <a:endParaRPr lang="sv-SE" sz="1200">
              <a:effectLst/>
              <a:latin typeface="+mj-lt"/>
              <a:ea typeface="Georgia" panose="02040502050405020303" pitchFamily="18" charset="0"/>
              <a:cs typeface="Times New Roman" panose="02020603050405020304" pitchFamily="18" charset="0"/>
            </a:endParaRPr>
          </a:p>
          <a:p>
            <a:pPr marL="342900" lvl="0" indent="-342900">
              <a:lnSpc>
                <a:spcPct val="150000"/>
              </a:lnSpc>
              <a:spcAft>
                <a:spcPts val="1200"/>
              </a:spcAft>
              <a:buFont typeface="+mj-lt"/>
              <a:buAutoNum type="arabicPeriod"/>
            </a:pPr>
            <a:r>
              <a:rPr lang="en-US" sz="1200" i="1">
                <a:effectLst/>
                <a:latin typeface="+mj-lt"/>
                <a:ea typeface="Georgia" panose="02040502050405020303" pitchFamily="18" charset="0"/>
                <a:cs typeface="Times New Roman" panose="02020603050405020304" pitchFamily="18" charset="0"/>
              </a:rPr>
              <a:t>Raw materials loading: </a:t>
            </a:r>
            <a:r>
              <a:rPr lang="en-US" sz="1200">
                <a:effectLst/>
                <a:latin typeface="+mj-lt"/>
                <a:ea typeface="Georgia" panose="02040502050405020303" pitchFamily="18" charset="0"/>
                <a:cs typeface="Times New Roman" panose="02020603050405020304" pitchFamily="18" charset="0"/>
              </a:rPr>
              <a:t>The raw material used in the process is a mixture of primary (55%) and secondary (5%) aluminum, scrap (37%) and other materials for alloying (3%) which are introduced into the melting furnace at a temperature of 25 </a:t>
            </a:r>
            <a:r>
              <a:rPr lang="en-US" sz="1200" baseline="30000" err="1">
                <a:effectLst/>
                <a:latin typeface="+mj-lt"/>
                <a:ea typeface="Georgia" panose="02040502050405020303" pitchFamily="18" charset="0"/>
                <a:cs typeface="Times New Roman" panose="02020603050405020304" pitchFamily="18" charset="0"/>
              </a:rPr>
              <a:t>o</a:t>
            </a:r>
            <a:r>
              <a:rPr lang="en-US" sz="1200" err="1">
                <a:effectLst/>
                <a:latin typeface="+mj-lt"/>
                <a:ea typeface="Georgia" panose="02040502050405020303" pitchFamily="18" charset="0"/>
                <a:cs typeface="Times New Roman" panose="02020603050405020304" pitchFamily="18" charset="0"/>
              </a:rPr>
              <a:t>C.</a:t>
            </a:r>
            <a:r>
              <a:rPr lang="en-US" sz="1200">
                <a:effectLst/>
                <a:latin typeface="+mj-lt"/>
                <a:ea typeface="Georgia" panose="02040502050405020303" pitchFamily="18" charset="0"/>
                <a:cs typeface="Times New Roman" panose="02020603050405020304" pitchFamily="18" charset="0"/>
              </a:rPr>
              <a:t> Raw materials are fed to the furnace at an average rate of 2,500 kg/h.</a:t>
            </a:r>
            <a:endParaRPr lang="sv-SE" sz="1200">
              <a:effectLst/>
              <a:latin typeface="+mj-lt"/>
              <a:ea typeface="Georgia" panose="02040502050405020303" pitchFamily="18" charset="0"/>
              <a:cs typeface="Times New Roman" panose="02020603050405020304" pitchFamily="18" charset="0"/>
            </a:endParaRPr>
          </a:p>
          <a:p>
            <a:pPr marL="342900" lvl="0" indent="-342900">
              <a:lnSpc>
                <a:spcPct val="150000"/>
              </a:lnSpc>
              <a:spcAft>
                <a:spcPts val="1200"/>
              </a:spcAft>
              <a:buFont typeface="+mj-lt"/>
              <a:buAutoNum type="arabicPeriod"/>
            </a:pPr>
            <a:r>
              <a:rPr lang="en-US" sz="1200" i="1">
                <a:effectLst/>
                <a:latin typeface="+mj-lt"/>
                <a:ea typeface="Georgia" panose="02040502050405020303" pitchFamily="18" charset="0"/>
                <a:cs typeface="Times New Roman" panose="02020603050405020304" pitchFamily="18" charset="0"/>
              </a:rPr>
              <a:t>Melting process: </a:t>
            </a:r>
            <a:r>
              <a:rPr lang="en-US" sz="1200">
                <a:effectLst/>
                <a:latin typeface="+mj-lt"/>
                <a:ea typeface="Georgia" panose="02040502050405020303" pitchFamily="18" charset="0"/>
                <a:cs typeface="Times New Roman" panose="02020603050405020304" pitchFamily="18" charset="0"/>
              </a:rPr>
              <a:t>The melting process lasts 4.5 h and is finalized when the aluminum’s temperature is increasing. The discharging phase then begins.</a:t>
            </a:r>
            <a:endParaRPr lang="sv-SE" sz="1200">
              <a:effectLst/>
              <a:latin typeface="+mj-lt"/>
              <a:ea typeface="Georgia" panose="02040502050405020303" pitchFamily="18" charset="0"/>
              <a:cs typeface="Times New Roman" panose="02020603050405020304" pitchFamily="18" charset="0"/>
            </a:endParaRPr>
          </a:p>
          <a:p>
            <a:pPr marL="342900" lvl="0" indent="-342900">
              <a:lnSpc>
                <a:spcPct val="150000"/>
              </a:lnSpc>
              <a:spcAft>
                <a:spcPts val="1200"/>
              </a:spcAft>
              <a:buFont typeface="+mj-lt"/>
              <a:buAutoNum type="arabicPeriod"/>
            </a:pPr>
            <a:r>
              <a:rPr lang="en-US" sz="1200" i="1">
                <a:effectLst/>
                <a:latin typeface="+mj-lt"/>
                <a:ea typeface="Georgia" panose="02040502050405020303" pitchFamily="18" charset="0"/>
                <a:cs typeface="Times New Roman" panose="02020603050405020304" pitchFamily="18" charset="0"/>
              </a:rPr>
              <a:t>Thinning of particle: </a:t>
            </a:r>
            <a:r>
              <a:rPr lang="en-US" sz="1200">
                <a:effectLst/>
                <a:latin typeface="+mj-lt"/>
                <a:ea typeface="Georgia" panose="02040502050405020303" pitchFamily="18" charset="0"/>
                <a:cs typeface="Times New Roman" panose="02020603050405020304" pitchFamily="18" charset="0"/>
              </a:rPr>
              <a:t>Additives are added to the aluminum to improve its mechanical properties. ASAS employs ti5b1 as a grain thinner.</a:t>
            </a:r>
            <a:endParaRPr lang="sv-SE" sz="1200">
              <a:effectLst/>
              <a:latin typeface="+mj-lt"/>
              <a:ea typeface="Georgia" panose="02040502050405020303" pitchFamily="18" charset="0"/>
              <a:cs typeface="Times New Roman" panose="02020603050405020304" pitchFamily="18" charset="0"/>
            </a:endParaRPr>
          </a:p>
          <a:p>
            <a:pPr marL="342900" lvl="0" indent="-342900">
              <a:lnSpc>
                <a:spcPct val="150000"/>
              </a:lnSpc>
              <a:spcAft>
                <a:spcPts val="1200"/>
              </a:spcAft>
              <a:buFont typeface="+mj-lt"/>
              <a:buAutoNum type="arabicPeriod"/>
            </a:pPr>
            <a:r>
              <a:rPr lang="en-US" sz="1200" i="1">
                <a:effectLst/>
                <a:latin typeface="+mj-lt"/>
                <a:ea typeface="Georgia" panose="02040502050405020303" pitchFamily="18" charset="0"/>
                <a:cs typeface="Times New Roman" panose="02020603050405020304" pitchFamily="18" charset="0"/>
              </a:rPr>
              <a:t>Degassing: </a:t>
            </a:r>
            <a:r>
              <a:rPr lang="en-US" sz="1200">
                <a:effectLst/>
                <a:latin typeface="+mj-lt"/>
                <a:ea typeface="Georgia" panose="02040502050405020303" pitchFamily="18" charset="0"/>
                <a:cs typeface="Times New Roman" panose="02020603050405020304" pitchFamily="18" charset="0"/>
              </a:rPr>
              <a:t>Due to the reactive nature of aluminum, any water that may come into contact with the melt will decompose and release hydrogen. The degassing operation consists mainly on removing this compound which may create inclusions (impurities on the metal structure) and thus weaken the final product, through bubbling an inert gas in the liquid. In this case, argon is used, but nitrogen is also a popular option. Any remaining slag is also separated from the bulk liquid at this point.</a:t>
            </a:r>
            <a:endParaRPr lang="sv-SE" sz="1200">
              <a:effectLst/>
              <a:latin typeface="+mj-lt"/>
              <a:ea typeface="Georgia" panose="02040502050405020303" pitchFamily="18" charset="0"/>
              <a:cs typeface="Times New Roman" panose="02020603050405020304" pitchFamily="18" charset="0"/>
            </a:endParaRPr>
          </a:p>
          <a:p>
            <a:pPr marL="342900" lvl="0" indent="-342900">
              <a:lnSpc>
                <a:spcPct val="150000"/>
              </a:lnSpc>
              <a:spcAft>
                <a:spcPts val="1200"/>
              </a:spcAft>
              <a:buFont typeface="+mj-lt"/>
              <a:buAutoNum type="arabicPeriod"/>
            </a:pPr>
            <a:r>
              <a:rPr lang="en-US" sz="1200" i="1">
                <a:effectLst/>
                <a:latin typeface="+mj-lt"/>
                <a:ea typeface="Georgia" panose="02040502050405020303" pitchFamily="18" charset="0"/>
                <a:cs typeface="Times New Roman" panose="02020603050405020304" pitchFamily="18" charset="0"/>
              </a:rPr>
              <a:t>Filtering with ceramic foam: </a:t>
            </a:r>
            <a:r>
              <a:rPr lang="en-US" sz="1200">
                <a:effectLst/>
                <a:latin typeface="+mj-lt"/>
                <a:ea typeface="Georgia" panose="02040502050405020303" pitchFamily="18" charset="0"/>
                <a:cs typeface="Times New Roman" panose="02020603050405020304" pitchFamily="18" charset="0"/>
              </a:rPr>
              <a:t>Ceramic foam has an excellent temperature resistance, and thus is used to remove any undesirable non-metallic inclusions in molten metals.</a:t>
            </a:r>
            <a:endParaRPr lang="sv-SE" sz="1200">
              <a:effectLst/>
              <a:latin typeface="+mj-lt"/>
              <a:ea typeface="Georgia" panose="02040502050405020303" pitchFamily="18" charset="0"/>
              <a:cs typeface="Times New Roman" panose="02020603050405020304" pitchFamily="18" charset="0"/>
            </a:endParaRPr>
          </a:p>
          <a:p>
            <a:pPr marL="342900" lvl="0" indent="-342900">
              <a:lnSpc>
                <a:spcPct val="150000"/>
              </a:lnSpc>
              <a:spcAft>
                <a:spcPts val="1200"/>
              </a:spcAft>
              <a:buFont typeface="+mj-lt"/>
              <a:buAutoNum type="arabicPeriod"/>
            </a:pPr>
            <a:r>
              <a:rPr lang="en-US" sz="1200" i="1">
                <a:effectLst/>
                <a:latin typeface="+mj-lt"/>
                <a:ea typeface="Georgia" panose="02040502050405020303" pitchFamily="18" charset="0"/>
                <a:cs typeface="Times New Roman" panose="02020603050405020304" pitchFamily="18" charset="0"/>
              </a:rPr>
              <a:t>Casting: </a:t>
            </a:r>
            <a:r>
              <a:rPr lang="en-US" sz="1200">
                <a:effectLst/>
                <a:latin typeface="+mj-lt"/>
                <a:ea typeface="Georgia" panose="02040502050405020303" pitchFamily="18" charset="0"/>
                <a:cs typeface="Times New Roman" panose="02020603050405020304" pitchFamily="18" charset="0"/>
              </a:rPr>
              <a:t>Liquid aluminum is casted and solidified.</a:t>
            </a:r>
            <a:endParaRPr lang="sv-SE" sz="1200">
              <a:effectLst/>
              <a:latin typeface="+mj-lt"/>
              <a:ea typeface="Georgia" panose="02040502050405020303" pitchFamily="18" charset="0"/>
              <a:cs typeface="Times New Roman" panose="02020603050405020304" pitchFamily="18" charset="0"/>
            </a:endParaRPr>
          </a:p>
          <a:p>
            <a:pPr marL="342900" lvl="0" indent="-342900">
              <a:lnSpc>
                <a:spcPct val="150000"/>
              </a:lnSpc>
              <a:spcAft>
                <a:spcPts val="1200"/>
              </a:spcAft>
              <a:buFont typeface="+mj-lt"/>
              <a:buAutoNum type="arabicPeriod"/>
            </a:pPr>
            <a:r>
              <a:rPr lang="en-US" sz="1200" i="1">
                <a:effectLst/>
                <a:latin typeface="+mj-lt"/>
                <a:ea typeface="Georgia" panose="02040502050405020303" pitchFamily="18" charset="0"/>
                <a:cs typeface="Times New Roman" panose="02020603050405020304" pitchFamily="18" charset="0"/>
              </a:rPr>
              <a:t>Cutting of the edges: </a:t>
            </a:r>
            <a:r>
              <a:rPr lang="en-US" sz="1200">
                <a:effectLst/>
                <a:latin typeface="+mj-lt"/>
                <a:ea typeface="Georgia" panose="02040502050405020303" pitchFamily="18" charset="0"/>
                <a:cs typeface="Times New Roman" panose="02020603050405020304" pitchFamily="18" charset="0"/>
              </a:rPr>
              <a:t>In this step, all segments are obtained in the desired length. Quality assurance is attained through the cutting of edges since the billets’ microstructure is not same with edges and remains. To obtain a homogeneous microstructure, billets are cut from top and bottom in a proportion equal to their diameter (for example, if the billet diameter is 203 mm, it is cut 203 mm from top and bottom).</a:t>
            </a:r>
            <a:endParaRPr lang="sv-SE" sz="1200">
              <a:effectLst/>
              <a:latin typeface="+mj-lt"/>
              <a:ea typeface="Georgia" panose="02040502050405020303" pitchFamily="18" charset="0"/>
              <a:cs typeface="Times New Roman" panose="02020603050405020304" pitchFamily="18" charset="0"/>
            </a:endParaRPr>
          </a:p>
          <a:p>
            <a:pPr marL="342900" lvl="0" indent="-342900">
              <a:lnSpc>
                <a:spcPct val="150000"/>
              </a:lnSpc>
              <a:spcAft>
                <a:spcPts val="1200"/>
              </a:spcAft>
              <a:buFont typeface="+mj-lt"/>
              <a:buAutoNum type="arabicPeriod"/>
            </a:pPr>
            <a:r>
              <a:rPr lang="en-US" sz="1200" i="1">
                <a:effectLst/>
                <a:latin typeface="+mj-lt"/>
                <a:ea typeface="Georgia" panose="02040502050405020303" pitchFamily="18" charset="0"/>
                <a:cs typeface="Times New Roman" panose="02020603050405020304" pitchFamily="18" charset="0"/>
              </a:rPr>
              <a:t>Homogenization and cooling: </a:t>
            </a:r>
            <a:r>
              <a:rPr lang="en-US" sz="1200">
                <a:effectLst/>
                <a:latin typeface="+mj-lt"/>
                <a:ea typeface="Georgia" panose="02040502050405020303" pitchFamily="18" charset="0"/>
                <a:cs typeface="Times New Roman" panose="02020603050405020304" pitchFamily="18" charset="0"/>
              </a:rPr>
              <a:t>The billets are heated-up and held at the desired temperature for a specific time (depending on the alloy type). The goal of the homogenization is to remove segregations and create adequate conditions for phase changes. The billets are then removed from the furnace and cooled down.</a:t>
            </a:r>
            <a:endParaRPr lang="sv-SE" sz="1200">
              <a:effectLst/>
              <a:latin typeface="+mj-lt"/>
              <a:ea typeface="Georgia" panose="02040502050405020303" pitchFamily="18" charset="0"/>
              <a:cs typeface="Times New Roman" panose="02020603050405020304" pitchFamily="18" charset="0"/>
            </a:endParaRPr>
          </a:p>
          <a:p>
            <a:pPr marL="342900" lvl="0" indent="-342900">
              <a:lnSpc>
                <a:spcPct val="150000"/>
              </a:lnSpc>
              <a:spcAft>
                <a:spcPts val="1200"/>
              </a:spcAft>
              <a:buFont typeface="+mj-lt"/>
              <a:buAutoNum type="arabicPeriod"/>
            </a:pPr>
            <a:r>
              <a:rPr lang="en-US" sz="1200" i="1">
                <a:effectLst/>
                <a:latin typeface="+mj-lt"/>
                <a:ea typeface="Georgia" panose="02040502050405020303" pitchFamily="18" charset="0"/>
                <a:cs typeface="Times New Roman" panose="02020603050405020304" pitchFamily="18" charset="0"/>
              </a:rPr>
              <a:t>Final product – </a:t>
            </a:r>
            <a:r>
              <a:rPr lang="en-US" sz="1200">
                <a:effectLst/>
                <a:latin typeface="+mj-lt"/>
                <a:ea typeface="Georgia" panose="02040502050405020303" pitchFamily="18" charset="0"/>
                <a:cs typeface="Times New Roman" panose="02020603050405020304" pitchFamily="18" charset="0"/>
              </a:rPr>
              <a:t>billet: In this step, billets are stored to be extruded and later on cut to the desired length in the extrusion process.</a:t>
            </a:r>
            <a:endParaRPr lang="sv-SE" sz="1200">
              <a:effectLst/>
              <a:latin typeface="+mj-lt"/>
              <a:ea typeface="Georgia" panose="02040502050405020303" pitchFamily="18"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F84DB91F-1AD8-437C-8866-3636784D0854}" type="slidenum">
              <a:rPr lang="en-GB" smtClean="0"/>
              <a:t>38</a:t>
            </a:fld>
            <a:endParaRPr lang="en-GB"/>
          </a:p>
        </p:txBody>
      </p:sp>
    </p:spTree>
    <p:extLst>
      <p:ext uri="{BB962C8B-B14F-4D97-AF65-F5344CB8AC3E}">
        <p14:creationId xmlns:p14="http://schemas.microsoft.com/office/powerpoint/2010/main" val="387072011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sv-SE"/>
          </a:p>
        </p:txBody>
      </p:sp>
      <p:sp>
        <p:nvSpPr>
          <p:cNvPr id="4" name="Slide Number Placeholder 3"/>
          <p:cNvSpPr>
            <a:spLocks noGrp="1"/>
          </p:cNvSpPr>
          <p:nvPr>
            <p:ph type="sldNum" sz="quarter" idx="5"/>
          </p:nvPr>
        </p:nvSpPr>
        <p:spPr/>
        <p:txBody>
          <a:bodyPr/>
          <a:lstStyle/>
          <a:p>
            <a:fld id="{F84DB91F-1AD8-437C-8866-3636784D0854}" type="slidenum">
              <a:rPr lang="en-GB" smtClean="0"/>
              <a:t>39</a:t>
            </a:fld>
            <a:endParaRPr lang="en-GB"/>
          </a:p>
        </p:txBody>
      </p:sp>
    </p:spTree>
    <p:extLst>
      <p:ext uri="{BB962C8B-B14F-4D97-AF65-F5344CB8AC3E}">
        <p14:creationId xmlns:p14="http://schemas.microsoft.com/office/powerpoint/2010/main" val="339940828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fld id="{F84DB91F-1AD8-437C-8866-3636784D0854}" type="slidenum">
              <a:rPr lang="en-GB" smtClean="0"/>
              <a:t>40</a:t>
            </a:fld>
            <a:endParaRPr lang="en-GB"/>
          </a:p>
        </p:txBody>
      </p:sp>
    </p:spTree>
    <p:extLst>
      <p:ext uri="{BB962C8B-B14F-4D97-AF65-F5344CB8AC3E}">
        <p14:creationId xmlns:p14="http://schemas.microsoft.com/office/powerpoint/2010/main" val="177850284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n-GB" noProof="0" dirty="0"/>
              <a:t>ASAS, which is one of the leader </a:t>
            </a:r>
            <a:r>
              <a:rPr lang="en-GB" noProof="0" dirty="0" err="1"/>
              <a:t>aluminum</a:t>
            </a:r>
            <a:r>
              <a:rPr lang="en-GB" noProof="0" dirty="0"/>
              <a:t> manufactures' in Europe, </a:t>
            </a:r>
            <a:r>
              <a:rPr lang="en-GB" noProof="0" dirty="0" err="1"/>
              <a:t>persues</a:t>
            </a:r>
            <a:r>
              <a:rPr lang="en-GB" noProof="0" dirty="0"/>
              <a:t> to increase the amount of scrap in the melting process maintaining product standards. In this manner, a reduction of the primary </a:t>
            </a:r>
            <a:r>
              <a:rPr lang="en-GB" noProof="0" dirty="0" err="1"/>
              <a:t>aluminum</a:t>
            </a:r>
            <a:r>
              <a:rPr lang="en-GB" noProof="0" dirty="0"/>
              <a:t> billet use can be reduced. For this regard, a O2 injection system and head burner will be designed and installed to improve the combustion performance inside the furnace.. In addition, a </a:t>
            </a:r>
            <a:r>
              <a:rPr lang="en-GB" noProof="0" dirty="0" err="1"/>
              <a:t>delacquiring</a:t>
            </a:r>
            <a:r>
              <a:rPr lang="en-GB" noProof="0" dirty="0"/>
              <a:t> system will be installed to remove the coated layers as Paint, oil and so on to allow to increase the share of low quality scrap in the feeding line. O2 and TOC </a:t>
            </a:r>
            <a:r>
              <a:rPr lang="en-GB" noProof="0" dirty="0" err="1"/>
              <a:t>analyzers</a:t>
            </a:r>
            <a:r>
              <a:rPr lang="en-GB" noProof="0" dirty="0"/>
              <a:t> Will be installed also to support in the process management and to ensure the adequate emission level which lead to an improved M&amp;C system. The expected goals are related with the increment of the share of the scrap up 50% which Will reduce the energy consumption in 15 times. Besides, these actions Will generate a more efficient combustion and so, a reduction of the GHG emissions.</a:t>
            </a:r>
          </a:p>
          <a:p>
            <a:endParaRPr lang="es-ES" dirty="0"/>
          </a:p>
        </p:txBody>
      </p:sp>
      <p:sp>
        <p:nvSpPr>
          <p:cNvPr id="4" name="Marcador de número de diapositiva 3"/>
          <p:cNvSpPr>
            <a:spLocks noGrp="1"/>
          </p:cNvSpPr>
          <p:nvPr>
            <p:ph type="sldNum" sz="quarter" idx="5"/>
          </p:nvPr>
        </p:nvSpPr>
        <p:spPr/>
        <p:txBody>
          <a:bodyPr/>
          <a:lstStyle/>
          <a:p>
            <a:fld id="{F84DB91F-1AD8-437C-8866-3636784D0854}" type="slidenum">
              <a:rPr lang="en-GB" smtClean="0"/>
              <a:t>41</a:t>
            </a:fld>
            <a:endParaRPr lang="en-GB"/>
          </a:p>
        </p:txBody>
      </p:sp>
    </p:spTree>
    <p:extLst>
      <p:ext uri="{BB962C8B-B14F-4D97-AF65-F5344CB8AC3E}">
        <p14:creationId xmlns:p14="http://schemas.microsoft.com/office/powerpoint/2010/main" val="11783712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solidFill>
                <a:schemeClr val="tx1"/>
              </a:solidFill>
            </a:endParaRPr>
          </a:p>
        </p:txBody>
      </p:sp>
      <p:sp>
        <p:nvSpPr>
          <p:cNvPr id="4" name="Slide Number Placeholder 3"/>
          <p:cNvSpPr>
            <a:spLocks noGrp="1"/>
          </p:cNvSpPr>
          <p:nvPr>
            <p:ph type="sldNum" sz="quarter" idx="5"/>
          </p:nvPr>
        </p:nvSpPr>
        <p:spPr/>
        <p:txBody>
          <a:bodyPr/>
          <a:lstStyle/>
          <a:p>
            <a:fld id="{F84DB91F-1AD8-437C-8866-3636784D0854}" type="slidenum">
              <a:rPr lang="en-GB" smtClean="0"/>
              <a:t>4</a:t>
            </a:fld>
            <a:endParaRPr lang="en-GB"/>
          </a:p>
        </p:txBody>
      </p:sp>
    </p:spTree>
    <p:extLst>
      <p:ext uri="{BB962C8B-B14F-4D97-AF65-F5344CB8AC3E}">
        <p14:creationId xmlns:p14="http://schemas.microsoft.com/office/powerpoint/2010/main" val="146992709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200"/>
              <a:t>Simple </a:t>
            </a:r>
            <a:r>
              <a:rPr lang="sv-SE" sz="1200" err="1"/>
              <a:t>fertilizers</a:t>
            </a:r>
            <a:r>
              <a:rPr lang="sv-SE" sz="1200"/>
              <a: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srgbClr val="000000"/>
                </a:solidFill>
                <a:latin typeface="Arial" panose="020B0604020202020204" pitchFamily="34" charset="0"/>
              </a:rPr>
              <a:t>Contain </a:t>
            </a:r>
            <a:r>
              <a:rPr lang="en-US" sz="1200" b="0" i="0" u="none" strike="noStrike" baseline="0">
                <a:solidFill>
                  <a:srgbClr val="000000"/>
                </a:solidFill>
                <a:latin typeface="Arial" panose="020B0604020202020204" pitchFamily="34" charset="0"/>
              </a:rPr>
              <a:t>urea, nitrates and compounds exclusively composed either of nitrogen (N) or phosphorous (P), </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sz="1600"/>
          </a:p>
          <a:p>
            <a:pPr marL="0" marR="0" lvl="0" indent="0" algn="l" defTabSz="914400" rtl="0" eaLnBrk="1" fontAlgn="auto" latinLnBrk="0" hangingPunct="1">
              <a:lnSpc>
                <a:spcPct val="100000"/>
              </a:lnSpc>
              <a:spcBef>
                <a:spcPts val="0"/>
              </a:spcBef>
              <a:spcAft>
                <a:spcPts val="0"/>
              </a:spcAft>
              <a:buClrTx/>
              <a:buSzTx/>
              <a:buFontTx/>
              <a:buNone/>
              <a:tabLst/>
              <a:defRPr/>
            </a:pPr>
            <a:r>
              <a:rPr lang="sv-SE" sz="1200" err="1"/>
              <a:t>Complex</a:t>
            </a:r>
            <a:r>
              <a:rPr lang="sv-SE" sz="1200"/>
              <a:t> </a:t>
            </a:r>
            <a:r>
              <a:rPr lang="sv-SE" sz="1200" err="1"/>
              <a:t>fertilizers</a:t>
            </a:r>
            <a:r>
              <a:rPr lang="sv-SE" sz="1200"/>
              <a: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srgbClr val="000000"/>
                </a:solidFill>
                <a:latin typeface="Arial" panose="020B0604020202020204" pitchFamily="34" charset="0"/>
              </a:rPr>
              <a:t>C</a:t>
            </a:r>
            <a:r>
              <a:rPr lang="en-US" sz="1200" b="0" i="0" u="none" strike="noStrike" baseline="0">
                <a:solidFill>
                  <a:srgbClr val="000000"/>
                </a:solidFill>
                <a:latin typeface="Arial" panose="020B0604020202020204" pitchFamily="34" charset="0"/>
              </a:rPr>
              <a:t>ontain different proportions of N, P and potassium (K), as well as other additives. NPK fertilizers compositions are expressed in terms of their N, P and K contents, measured as %N, %P2O5 and %K2O, respectively. Therefore, a 10-10-10 fertilizer for example, has 10% Nitrogen, 10% P2O5 and 10% K2O. The actual quantities of P and K may be deduced from the oxide’s contents.  </a:t>
            </a:r>
            <a:endParaRPr lang="sv-SE" sz="1200">
              <a:latin typeface="Arial M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sv-SE"/>
          </a:p>
        </p:txBody>
      </p:sp>
      <p:sp>
        <p:nvSpPr>
          <p:cNvPr id="4" name="Slide Number Placeholder 3"/>
          <p:cNvSpPr>
            <a:spLocks noGrp="1"/>
          </p:cNvSpPr>
          <p:nvPr>
            <p:ph type="sldNum" sz="quarter" idx="5"/>
          </p:nvPr>
        </p:nvSpPr>
        <p:spPr/>
        <p:txBody>
          <a:bodyPr/>
          <a:lstStyle/>
          <a:p>
            <a:fld id="{F84DB91F-1AD8-437C-8866-3636784D0854}" type="slidenum">
              <a:rPr lang="en-GB" smtClean="0"/>
              <a:t>43</a:t>
            </a:fld>
            <a:endParaRPr lang="en-GB"/>
          </a:p>
        </p:txBody>
      </p:sp>
    </p:spTree>
    <p:extLst>
      <p:ext uri="{BB962C8B-B14F-4D97-AF65-F5344CB8AC3E}">
        <p14:creationId xmlns:p14="http://schemas.microsoft.com/office/powerpoint/2010/main" val="58069012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70000"/>
              </a:lnSpc>
              <a:spcBef>
                <a:spcPts val="55"/>
              </a:spcBef>
            </a:pPr>
            <a:r>
              <a:rPr lang="en-US" sz="1200">
                <a:effectLst/>
                <a:latin typeface="+mj-lt"/>
                <a:ea typeface="Arial MT"/>
                <a:cs typeface="Arial MT"/>
              </a:rPr>
              <a:t>Detail of process:</a:t>
            </a:r>
          </a:p>
          <a:p>
            <a:pPr>
              <a:lnSpc>
                <a:spcPct val="170000"/>
              </a:lnSpc>
              <a:spcBef>
                <a:spcPts val="55"/>
              </a:spcBef>
            </a:pPr>
            <a:r>
              <a:rPr lang="en-US" sz="1200">
                <a:effectLst/>
                <a:latin typeface="+mj-lt"/>
                <a:ea typeface="Arial MT"/>
                <a:cs typeface="Arial MT"/>
              </a:rPr>
              <a:t>1.  </a:t>
            </a:r>
            <a:r>
              <a:rPr lang="en-US" sz="1200" b="0" i="0" u="none" strike="noStrike" baseline="0">
                <a:solidFill>
                  <a:srgbClr val="000000"/>
                </a:solidFill>
                <a:latin typeface="+mj-lt"/>
              </a:rPr>
              <a:t>The NPK production process begins with the solids transport from the warehouse. Fine grains of solid compounds are distributed along various hoppers and are sorted and mixed in adequate proportions. </a:t>
            </a:r>
          </a:p>
          <a:p>
            <a:pPr>
              <a:lnSpc>
                <a:spcPct val="170000"/>
              </a:lnSpc>
              <a:spcBef>
                <a:spcPts val="55"/>
              </a:spcBef>
            </a:pPr>
            <a:r>
              <a:rPr lang="en-US" sz="1200">
                <a:solidFill>
                  <a:srgbClr val="000000"/>
                </a:solidFill>
                <a:effectLst/>
                <a:latin typeface="+mj-lt"/>
                <a:ea typeface="Arial MT"/>
                <a:cs typeface="Arial MT"/>
              </a:rPr>
              <a:t>2: </a:t>
            </a:r>
            <a:r>
              <a:rPr lang="en-US" sz="1200" b="0" i="0" u="none" strike="noStrike" baseline="0">
                <a:solidFill>
                  <a:srgbClr val="000000"/>
                </a:solidFill>
                <a:latin typeface="+mj-lt"/>
              </a:rPr>
              <a:t>recycle transports these solid formulations to the pug mill where they are mixed with gaseous ammonia (NH3) and sulfuric acid (H2SO4) forming a slurry </a:t>
            </a:r>
          </a:p>
          <a:p>
            <a:pPr>
              <a:lnSpc>
                <a:spcPct val="170000"/>
              </a:lnSpc>
              <a:spcBef>
                <a:spcPts val="55"/>
              </a:spcBef>
            </a:pPr>
            <a:r>
              <a:rPr lang="en-US" sz="1200">
                <a:solidFill>
                  <a:srgbClr val="000000"/>
                </a:solidFill>
                <a:effectLst/>
                <a:latin typeface="+mj-lt"/>
                <a:ea typeface="Arial MT"/>
                <a:cs typeface="Arial MT"/>
              </a:rPr>
              <a:t>3: </a:t>
            </a:r>
            <a:r>
              <a:rPr lang="en-US" sz="1200" b="0" i="0" u="none" strike="noStrike" baseline="0">
                <a:solidFill>
                  <a:srgbClr val="000000"/>
                </a:solidFill>
                <a:latin typeface="+mj-lt"/>
              </a:rPr>
              <a:t>The slurry is then sent to a granulator, where heat is provided through a pipe reactor of ammonia and phosphoric acid to evaporate the water from the solution and produced granules by the rotating movement. Heat provided by the pipe reactor is the result of the exothermic reaction between phosphoric acid (H3PO4) and ammonia NH3. Depending on the formulation, mid-pressure steam is also employed to supply additional heat. </a:t>
            </a:r>
          </a:p>
          <a:p>
            <a:pPr>
              <a:lnSpc>
                <a:spcPct val="170000"/>
              </a:lnSpc>
              <a:spcBef>
                <a:spcPts val="55"/>
              </a:spcBef>
            </a:pPr>
            <a:r>
              <a:rPr lang="en-US" sz="1200">
                <a:solidFill>
                  <a:srgbClr val="000000"/>
                </a:solidFill>
                <a:effectLst/>
                <a:latin typeface="+mj-lt"/>
                <a:ea typeface="Arial MT"/>
                <a:cs typeface="Arial MT"/>
              </a:rPr>
              <a:t>4: </a:t>
            </a:r>
            <a:r>
              <a:rPr lang="en-US" sz="1200" b="0" i="0" u="none" strike="noStrike" baseline="0">
                <a:solidFill>
                  <a:srgbClr val="000000"/>
                </a:solidFill>
                <a:latin typeface="+mj-lt"/>
              </a:rPr>
              <a:t>The granulated compounds are sent to a drying stage which uses natural gas as fuel, followed by screening. The screening step allows to separate the granules according to their size and recirculate those out of specification. This involves grinding coarse granules to be screened again and recycling all fine particles resulting from the process. </a:t>
            </a:r>
          </a:p>
          <a:p>
            <a:pPr>
              <a:lnSpc>
                <a:spcPct val="170000"/>
              </a:lnSpc>
              <a:spcBef>
                <a:spcPts val="55"/>
              </a:spcBef>
            </a:pPr>
            <a:r>
              <a:rPr lang="en-US" sz="1200" b="0" i="0" u="none" strike="noStrike" baseline="0">
                <a:solidFill>
                  <a:srgbClr val="000000"/>
                </a:solidFill>
                <a:latin typeface="+mj-lt"/>
              </a:rPr>
              <a:t>5: Once the granules have been sorted out, commercial-sized particles are cooled down using air, before being sent off for final treatment and storage</a:t>
            </a:r>
          </a:p>
          <a:p>
            <a:pPr>
              <a:lnSpc>
                <a:spcPct val="170000"/>
              </a:lnSpc>
              <a:spcBef>
                <a:spcPts val="55"/>
              </a:spcBef>
            </a:pPr>
            <a:r>
              <a:rPr lang="en-US" sz="1200">
                <a:solidFill>
                  <a:srgbClr val="000000"/>
                </a:solidFill>
                <a:latin typeface="+mj-lt"/>
              </a:rPr>
              <a:t>6: </a:t>
            </a:r>
            <a:r>
              <a:rPr lang="en-US" sz="1200" b="0" i="0" u="none" strike="noStrike" baseline="0">
                <a:solidFill>
                  <a:srgbClr val="000000"/>
                </a:solidFill>
                <a:latin typeface="+mj-lt"/>
              </a:rPr>
              <a:t>Gases leaving each process unit are washed progressively in scrubbers with aqueous H3PO4 solutions, until they are released to the atmosphere. This process works under a zero-waste discharge principle</a:t>
            </a:r>
            <a:r>
              <a:rPr lang="en-US" sz="1200">
                <a:solidFill>
                  <a:srgbClr val="000000"/>
                </a:solidFill>
                <a:latin typeface="+mj-lt"/>
              </a:rPr>
              <a:t>. W</a:t>
            </a:r>
            <a:r>
              <a:rPr lang="en-US" sz="1200" b="0" i="0" u="none" strike="noStrike" baseline="0">
                <a:solidFill>
                  <a:srgbClr val="000000"/>
                </a:solidFill>
                <a:latin typeface="+mj-lt"/>
              </a:rPr>
              <a:t>ater is treated and reused, and rejected products are recycled and reutilized in the fertilizer production</a:t>
            </a:r>
            <a:r>
              <a:rPr lang="en-US" sz="1000" b="0" i="0" u="none" strike="noStrike" baseline="0">
                <a:solidFill>
                  <a:srgbClr val="000000"/>
                </a:solidFill>
                <a:latin typeface="Arial" panose="020B0604020202020204" pitchFamily="34" charset="0"/>
              </a:rPr>
              <a:t>.  </a:t>
            </a:r>
            <a:endParaRPr lang="sv-SE" sz="1100">
              <a:effectLst/>
              <a:latin typeface="Arial MT"/>
              <a:ea typeface="Arial MT"/>
              <a:cs typeface="Arial MT"/>
            </a:endParaRPr>
          </a:p>
          <a:p>
            <a:endParaRPr lang="sv-SE"/>
          </a:p>
        </p:txBody>
      </p:sp>
      <p:sp>
        <p:nvSpPr>
          <p:cNvPr id="4" name="Slide Number Placeholder 3"/>
          <p:cNvSpPr>
            <a:spLocks noGrp="1"/>
          </p:cNvSpPr>
          <p:nvPr>
            <p:ph type="sldNum" sz="quarter" idx="5"/>
          </p:nvPr>
        </p:nvSpPr>
        <p:spPr/>
        <p:txBody>
          <a:bodyPr/>
          <a:lstStyle/>
          <a:p>
            <a:fld id="{F84DB91F-1AD8-437C-8866-3636784D0854}" type="slidenum">
              <a:rPr lang="en-GB" smtClean="0"/>
              <a:t>44</a:t>
            </a:fld>
            <a:endParaRPr lang="en-GB"/>
          </a:p>
        </p:txBody>
      </p:sp>
    </p:spTree>
    <p:extLst>
      <p:ext uri="{BB962C8B-B14F-4D97-AF65-F5344CB8AC3E}">
        <p14:creationId xmlns:p14="http://schemas.microsoft.com/office/powerpoint/2010/main" val="362105590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70000"/>
              </a:lnSpc>
              <a:spcBef>
                <a:spcPts val="55"/>
              </a:spcBef>
            </a:pPr>
            <a:r>
              <a:rPr lang="en-US" sz="1200">
                <a:effectLst/>
                <a:latin typeface="+mj-lt"/>
                <a:ea typeface="Arial MT"/>
                <a:cs typeface="Arial MT"/>
              </a:rPr>
              <a:t>Detail of process:</a:t>
            </a:r>
          </a:p>
          <a:p>
            <a:pPr>
              <a:lnSpc>
                <a:spcPct val="170000"/>
              </a:lnSpc>
              <a:spcBef>
                <a:spcPts val="55"/>
              </a:spcBef>
            </a:pPr>
            <a:r>
              <a:rPr lang="en-US" sz="1200">
                <a:effectLst/>
                <a:latin typeface="+mj-lt"/>
                <a:ea typeface="Arial MT"/>
                <a:cs typeface="Arial MT"/>
              </a:rPr>
              <a:t>1.  </a:t>
            </a:r>
            <a:r>
              <a:rPr lang="en-US" sz="1200" b="0" i="0" u="none" strike="noStrike" baseline="0">
                <a:solidFill>
                  <a:srgbClr val="000000"/>
                </a:solidFill>
                <a:latin typeface="+mj-lt"/>
              </a:rPr>
              <a:t>The NPK production process begins with the solids transport from the warehouse. Fine grains of solid compounds are distributed along various hoppers and are sorted and mixed in adequate proportions. </a:t>
            </a:r>
          </a:p>
          <a:p>
            <a:pPr>
              <a:lnSpc>
                <a:spcPct val="170000"/>
              </a:lnSpc>
              <a:spcBef>
                <a:spcPts val="55"/>
              </a:spcBef>
            </a:pPr>
            <a:r>
              <a:rPr lang="en-US" sz="1200">
                <a:solidFill>
                  <a:srgbClr val="000000"/>
                </a:solidFill>
                <a:effectLst/>
                <a:latin typeface="+mj-lt"/>
                <a:ea typeface="Arial MT"/>
                <a:cs typeface="Arial MT"/>
              </a:rPr>
              <a:t>2: </a:t>
            </a:r>
            <a:r>
              <a:rPr lang="en-US" sz="1200" b="0" i="0" u="none" strike="noStrike" baseline="0">
                <a:solidFill>
                  <a:srgbClr val="000000"/>
                </a:solidFill>
                <a:latin typeface="+mj-lt"/>
              </a:rPr>
              <a:t>recycle transports these solid formulations to the pug mill where they are mixed with gaseous ammonia (NH3) and sulfuric acid (H2SO4) forming a slurry </a:t>
            </a:r>
          </a:p>
          <a:p>
            <a:pPr>
              <a:lnSpc>
                <a:spcPct val="170000"/>
              </a:lnSpc>
              <a:spcBef>
                <a:spcPts val="55"/>
              </a:spcBef>
            </a:pPr>
            <a:r>
              <a:rPr lang="en-US" sz="1200">
                <a:solidFill>
                  <a:srgbClr val="000000"/>
                </a:solidFill>
                <a:effectLst/>
                <a:latin typeface="+mj-lt"/>
                <a:ea typeface="Arial MT"/>
                <a:cs typeface="Arial MT"/>
              </a:rPr>
              <a:t>3: </a:t>
            </a:r>
            <a:r>
              <a:rPr lang="en-US" sz="1200" b="0" i="0" u="none" strike="noStrike" baseline="0">
                <a:solidFill>
                  <a:srgbClr val="000000"/>
                </a:solidFill>
                <a:latin typeface="+mj-lt"/>
              </a:rPr>
              <a:t>The slurry is then sent to a granulator, where heat is provided through a pipe reactor of ammonia and phosphoric acid to evaporate the water from the solution and produced granules by the rotating movement. Heat provided by the pipe reactor is the result of the exothermic reaction between phosphoric acid (H3PO4) and ammonia NH3. Depending on the formulation, mid-pressure steam is also employed to supply additional heat. </a:t>
            </a:r>
          </a:p>
          <a:p>
            <a:pPr>
              <a:lnSpc>
                <a:spcPct val="170000"/>
              </a:lnSpc>
              <a:spcBef>
                <a:spcPts val="55"/>
              </a:spcBef>
            </a:pPr>
            <a:r>
              <a:rPr lang="en-US" sz="1200">
                <a:solidFill>
                  <a:srgbClr val="000000"/>
                </a:solidFill>
                <a:effectLst/>
                <a:latin typeface="+mj-lt"/>
                <a:ea typeface="Arial MT"/>
                <a:cs typeface="Arial MT"/>
              </a:rPr>
              <a:t>4: </a:t>
            </a:r>
            <a:r>
              <a:rPr lang="en-US" sz="1200" b="0" i="0" u="none" strike="noStrike" baseline="0">
                <a:solidFill>
                  <a:srgbClr val="000000"/>
                </a:solidFill>
                <a:latin typeface="+mj-lt"/>
              </a:rPr>
              <a:t>The granulated compounds are sent to a drying stage which uses natural gas as fuel, followed by screening. The screening step allows to separate the granules according to their size and recirculate those out of specification. This involves grinding coarse granules to be screened again and recycling all fine particles resulting from the process. </a:t>
            </a:r>
          </a:p>
          <a:p>
            <a:pPr>
              <a:lnSpc>
                <a:spcPct val="170000"/>
              </a:lnSpc>
              <a:spcBef>
                <a:spcPts val="55"/>
              </a:spcBef>
            </a:pPr>
            <a:r>
              <a:rPr lang="en-US" sz="1200" b="0" i="0" u="none" strike="noStrike" baseline="0">
                <a:solidFill>
                  <a:srgbClr val="000000"/>
                </a:solidFill>
                <a:latin typeface="+mj-lt"/>
              </a:rPr>
              <a:t>5: Once the granules have been sorted out, commercial-sized particles are cooled down using air, before being sent off for final treatment and storage</a:t>
            </a:r>
          </a:p>
          <a:p>
            <a:pPr>
              <a:lnSpc>
                <a:spcPct val="170000"/>
              </a:lnSpc>
              <a:spcBef>
                <a:spcPts val="55"/>
              </a:spcBef>
            </a:pPr>
            <a:r>
              <a:rPr lang="en-US" sz="1200">
                <a:solidFill>
                  <a:srgbClr val="000000"/>
                </a:solidFill>
                <a:latin typeface="+mj-lt"/>
              </a:rPr>
              <a:t>6: </a:t>
            </a:r>
            <a:r>
              <a:rPr lang="en-US" sz="1200" b="0" i="0" u="none" strike="noStrike" baseline="0">
                <a:solidFill>
                  <a:srgbClr val="000000"/>
                </a:solidFill>
                <a:latin typeface="+mj-lt"/>
              </a:rPr>
              <a:t>Gases leaving each process unit are washed progressively in scrubbers with aqueous H3PO4 solutions, until they are released to the atmosphere. This process works under a zero-waste discharge principle</a:t>
            </a:r>
            <a:r>
              <a:rPr lang="en-US" sz="1200">
                <a:solidFill>
                  <a:srgbClr val="000000"/>
                </a:solidFill>
                <a:latin typeface="+mj-lt"/>
              </a:rPr>
              <a:t>. W</a:t>
            </a:r>
            <a:r>
              <a:rPr lang="en-US" sz="1200" b="0" i="0" u="none" strike="noStrike" baseline="0">
                <a:solidFill>
                  <a:srgbClr val="000000"/>
                </a:solidFill>
                <a:latin typeface="+mj-lt"/>
              </a:rPr>
              <a:t>ater is treated and reused, and rejected products are recycled and reutilized in the fertilizer production</a:t>
            </a:r>
            <a:r>
              <a:rPr lang="en-US" sz="1000" b="0" i="0" u="none" strike="noStrike" baseline="0">
                <a:solidFill>
                  <a:srgbClr val="000000"/>
                </a:solidFill>
                <a:latin typeface="Arial" panose="020B0604020202020204" pitchFamily="34" charset="0"/>
              </a:rPr>
              <a:t>.  </a:t>
            </a:r>
            <a:endParaRPr lang="sv-SE" sz="1100">
              <a:effectLst/>
              <a:latin typeface="Arial MT"/>
              <a:ea typeface="Arial MT"/>
              <a:cs typeface="Arial MT"/>
            </a:endParaRPr>
          </a:p>
          <a:p>
            <a:endParaRPr lang="sv-SE"/>
          </a:p>
        </p:txBody>
      </p:sp>
      <p:sp>
        <p:nvSpPr>
          <p:cNvPr id="4" name="Slide Number Placeholder 3"/>
          <p:cNvSpPr>
            <a:spLocks noGrp="1"/>
          </p:cNvSpPr>
          <p:nvPr>
            <p:ph type="sldNum" sz="quarter" idx="5"/>
          </p:nvPr>
        </p:nvSpPr>
        <p:spPr/>
        <p:txBody>
          <a:bodyPr/>
          <a:lstStyle/>
          <a:p>
            <a:fld id="{F84DB91F-1AD8-437C-8866-3636784D0854}" type="slidenum">
              <a:rPr lang="en-GB" smtClean="0"/>
              <a:t>45</a:t>
            </a:fld>
            <a:endParaRPr lang="en-GB"/>
          </a:p>
        </p:txBody>
      </p:sp>
    </p:spTree>
    <p:extLst>
      <p:ext uri="{BB962C8B-B14F-4D97-AF65-F5344CB8AC3E}">
        <p14:creationId xmlns:p14="http://schemas.microsoft.com/office/powerpoint/2010/main" val="242057568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effectLst/>
                <a:latin typeface="Arial MT"/>
                <a:ea typeface="Arial MT"/>
                <a:cs typeface="Arial MT"/>
              </a:rPr>
              <a:t>In the RETROFEED project, indicators are used to assess technological changes in the process</a:t>
            </a:r>
            <a:r>
              <a:rPr lang="en-US" sz="1200" spc="5">
                <a:effectLst/>
                <a:latin typeface="Arial MT"/>
                <a:ea typeface="Arial MT"/>
                <a:cs typeface="Arial MT"/>
              </a:rPr>
              <a:t> </a:t>
            </a:r>
            <a:r>
              <a:rPr lang="en-US" sz="1200">
                <a:effectLst/>
                <a:latin typeface="Arial MT"/>
                <a:ea typeface="Arial MT"/>
                <a:cs typeface="Arial MT"/>
              </a:rPr>
              <a:t>industry. A set of criteria can be useful to evaluate the indicators themselves or, at least, to validate </a:t>
            </a:r>
            <a:r>
              <a:rPr lang="en-US" sz="1200" spc="-295">
                <a:effectLst/>
                <a:latin typeface="Arial MT"/>
                <a:ea typeface="Arial MT"/>
                <a:cs typeface="Arial MT"/>
              </a:rPr>
              <a:t> </a:t>
            </a:r>
            <a:r>
              <a:rPr lang="en-US" sz="1200">
                <a:effectLst/>
                <a:latin typeface="Arial MT"/>
                <a:ea typeface="Arial MT"/>
                <a:cs typeface="Arial MT"/>
              </a:rPr>
              <a:t>the set of indicators chosen. Different sets of criteria for indicators have been presented in various</a:t>
            </a:r>
            <a:r>
              <a:rPr lang="en-US" sz="1200" spc="5">
                <a:effectLst/>
                <a:latin typeface="Arial MT"/>
                <a:ea typeface="Arial MT"/>
                <a:cs typeface="Arial MT"/>
              </a:rPr>
              <a:t> </a:t>
            </a:r>
            <a:r>
              <a:rPr lang="en-US" sz="1200">
                <a:effectLst/>
                <a:latin typeface="Arial MT"/>
                <a:ea typeface="Arial MT"/>
                <a:cs typeface="Arial MT"/>
              </a:rPr>
              <a:t>contexts. </a:t>
            </a:r>
            <a:endParaRPr lang="sv-SE"/>
          </a:p>
        </p:txBody>
      </p:sp>
      <p:sp>
        <p:nvSpPr>
          <p:cNvPr id="4" name="Slide Number Placeholder 3"/>
          <p:cNvSpPr>
            <a:spLocks noGrp="1"/>
          </p:cNvSpPr>
          <p:nvPr>
            <p:ph type="sldNum" sz="quarter" idx="5"/>
          </p:nvPr>
        </p:nvSpPr>
        <p:spPr/>
        <p:txBody>
          <a:bodyPr/>
          <a:lstStyle/>
          <a:p>
            <a:fld id="{F84DB91F-1AD8-437C-8866-3636784D0854}" type="slidenum">
              <a:rPr lang="en-GB" smtClean="0"/>
              <a:t>46</a:t>
            </a:fld>
            <a:endParaRPr lang="en-GB"/>
          </a:p>
        </p:txBody>
      </p:sp>
    </p:spTree>
    <p:extLst>
      <p:ext uri="{BB962C8B-B14F-4D97-AF65-F5344CB8AC3E}">
        <p14:creationId xmlns:p14="http://schemas.microsoft.com/office/powerpoint/2010/main" val="410873470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fld id="{F84DB91F-1AD8-437C-8866-3636784D0854}" type="slidenum">
              <a:rPr lang="en-GB" smtClean="0"/>
              <a:t>47</a:t>
            </a:fld>
            <a:endParaRPr lang="en-GB"/>
          </a:p>
        </p:txBody>
      </p:sp>
    </p:spTree>
    <p:extLst>
      <p:ext uri="{BB962C8B-B14F-4D97-AF65-F5344CB8AC3E}">
        <p14:creationId xmlns:p14="http://schemas.microsoft.com/office/powerpoint/2010/main" val="172207239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err="1"/>
              <a:t>Fertiberia</a:t>
            </a:r>
            <a:r>
              <a:rPr lang="en-US"/>
              <a:t>, is a Spanish fertilizer producer and one of the leading international providers of ammonia and its derivate. In this case, the retrofitting activities are centered in the phosphorous reactor. The idea is to replace the imported phosphorous designing a new reactor to incorporate biobased waste. This modification will lead to a substitution of 10% of the currently used of phosphorous sources integrating raw material from waste and reducing cost. New sensors to monitor and control the new system will improve the M&amp;C system.</a:t>
            </a:r>
          </a:p>
        </p:txBody>
      </p:sp>
      <p:sp>
        <p:nvSpPr>
          <p:cNvPr id="4" name="Slide Number Placeholder 3"/>
          <p:cNvSpPr>
            <a:spLocks noGrp="1"/>
          </p:cNvSpPr>
          <p:nvPr>
            <p:ph type="sldNum" sz="quarter" idx="5"/>
          </p:nvPr>
        </p:nvSpPr>
        <p:spPr/>
        <p:txBody>
          <a:bodyPr/>
          <a:lstStyle/>
          <a:p>
            <a:fld id="{F84DB91F-1AD8-437C-8866-3636784D0854}" type="slidenum">
              <a:rPr lang="en-GB" smtClean="0"/>
              <a:t>48</a:t>
            </a:fld>
            <a:endParaRPr lang="en-GB"/>
          </a:p>
        </p:txBody>
      </p:sp>
    </p:spTree>
    <p:extLst>
      <p:ext uri="{BB962C8B-B14F-4D97-AF65-F5344CB8AC3E}">
        <p14:creationId xmlns:p14="http://schemas.microsoft.com/office/powerpoint/2010/main" val="405536929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sv-SE" sz="1800">
              <a:effectLst/>
              <a:latin typeface="Arial MT"/>
              <a:ea typeface="Arial MT"/>
              <a:cs typeface="Arial MT"/>
            </a:endParaRPr>
          </a:p>
        </p:txBody>
      </p:sp>
      <p:sp>
        <p:nvSpPr>
          <p:cNvPr id="4" name="Slide Number Placeholder 3"/>
          <p:cNvSpPr>
            <a:spLocks noGrp="1"/>
          </p:cNvSpPr>
          <p:nvPr>
            <p:ph type="sldNum" sz="quarter" idx="5"/>
          </p:nvPr>
        </p:nvSpPr>
        <p:spPr/>
        <p:txBody>
          <a:bodyPr/>
          <a:lstStyle/>
          <a:p>
            <a:fld id="{F84DB91F-1AD8-437C-8866-3636784D0854}" type="slidenum">
              <a:rPr lang="en-GB" smtClean="0"/>
              <a:t>50</a:t>
            </a:fld>
            <a:endParaRPr lang="en-GB"/>
          </a:p>
        </p:txBody>
      </p:sp>
    </p:spTree>
    <p:extLst>
      <p:ext uri="{BB962C8B-B14F-4D97-AF65-F5344CB8AC3E}">
        <p14:creationId xmlns:p14="http://schemas.microsoft.com/office/powerpoint/2010/main" val="311970347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14020" marR="294640" indent="-342900" algn="just">
              <a:lnSpc>
                <a:spcPct val="125000"/>
              </a:lnSpc>
              <a:spcBef>
                <a:spcPts val="470"/>
              </a:spcBef>
              <a:spcAft>
                <a:spcPts val="0"/>
              </a:spcAft>
              <a:buFont typeface="+mj-lt"/>
              <a:buAutoNum type="arabicPeriod"/>
            </a:pPr>
            <a:r>
              <a:rPr lang="en-US" sz="1200">
                <a:effectLst/>
                <a:latin typeface="Arial MT"/>
                <a:ea typeface="Arial MT"/>
                <a:cs typeface="Arial MT"/>
              </a:rPr>
              <a:t>The production cycle begins with the charging of the steel scrap into dedicated scrap buckets. </a:t>
            </a:r>
          </a:p>
          <a:p>
            <a:pPr marL="414020" marR="294640" indent="-342900" algn="just">
              <a:lnSpc>
                <a:spcPct val="125000"/>
              </a:lnSpc>
              <a:spcBef>
                <a:spcPts val="470"/>
              </a:spcBef>
              <a:spcAft>
                <a:spcPts val="0"/>
              </a:spcAft>
              <a:buFont typeface="+mj-lt"/>
              <a:buAutoNum type="arabicPeriod"/>
            </a:pPr>
            <a:r>
              <a:rPr lang="en-US" sz="1200">
                <a:effectLst/>
                <a:latin typeface="Arial MT"/>
                <a:ea typeface="Arial MT"/>
                <a:cs typeface="Arial MT"/>
              </a:rPr>
              <a:t>The</a:t>
            </a:r>
            <a:r>
              <a:rPr lang="en-US" sz="1200" spc="5">
                <a:effectLst/>
                <a:latin typeface="Arial MT"/>
                <a:ea typeface="Arial MT"/>
                <a:cs typeface="Arial MT"/>
              </a:rPr>
              <a:t> </a:t>
            </a:r>
            <a:r>
              <a:rPr lang="en-US" sz="1200">
                <a:effectLst/>
                <a:latin typeface="Arial MT"/>
                <a:ea typeface="Arial MT"/>
                <a:cs typeface="Arial MT"/>
              </a:rPr>
              <a:t>scrap buckets are moved inside the melting bay to be charged in the furnace. The Electric Arc Furnace</a:t>
            </a:r>
            <a:r>
              <a:rPr lang="en-US" sz="1200" spc="5">
                <a:effectLst/>
                <a:latin typeface="Arial MT"/>
                <a:ea typeface="Arial MT"/>
                <a:cs typeface="Arial MT"/>
              </a:rPr>
              <a:t> (</a:t>
            </a:r>
            <a:r>
              <a:rPr lang="en-US" sz="1200">
                <a:effectLst/>
                <a:latin typeface="Arial MT"/>
                <a:ea typeface="Arial MT"/>
                <a:cs typeface="Arial MT"/>
              </a:rPr>
              <a:t>EAF) melts the</a:t>
            </a:r>
            <a:r>
              <a:rPr lang="en-US" sz="1200" spc="5">
                <a:effectLst/>
                <a:latin typeface="Arial MT"/>
                <a:ea typeface="Arial MT"/>
                <a:cs typeface="Arial MT"/>
              </a:rPr>
              <a:t> </a:t>
            </a:r>
            <a:r>
              <a:rPr lang="en-US" sz="1200">
                <a:effectLst/>
                <a:latin typeface="Arial MT"/>
                <a:ea typeface="Arial MT"/>
                <a:cs typeface="Arial MT"/>
              </a:rPr>
              <a:t>scrap to liquid steel and increases its temperature to the desired value, suitable for the following</a:t>
            </a:r>
            <a:r>
              <a:rPr lang="en-US" sz="1200" spc="5">
                <a:effectLst/>
                <a:latin typeface="Arial MT"/>
                <a:ea typeface="Arial MT"/>
                <a:cs typeface="Arial MT"/>
              </a:rPr>
              <a:t> </a:t>
            </a:r>
            <a:r>
              <a:rPr lang="en-US" sz="1200">
                <a:effectLst/>
                <a:latin typeface="Arial MT"/>
                <a:ea typeface="Arial MT"/>
                <a:cs typeface="Arial MT"/>
              </a:rPr>
              <a:t>refinement treatment. To melt the scrap, electrical and chemical energy are used,</a:t>
            </a:r>
            <a:r>
              <a:rPr lang="en-US" sz="1200" spc="-295">
                <a:effectLst/>
                <a:latin typeface="Arial MT"/>
                <a:ea typeface="Arial MT"/>
                <a:cs typeface="Arial MT"/>
              </a:rPr>
              <a:t> </a:t>
            </a:r>
            <a:r>
              <a:rPr lang="en-US" sz="1200">
                <a:effectLst/>
                <a:latin typeface="Arial MT"/>
                <a:ea typeface="Arial MT"/>
                <a:cs typeface="Arial MT"/>
              </a:rPr>
              <a:t>reducing time for melting and costs. </a:t>
            </a:r>
            <a:r>
              <a:rPr lang="en-US" sz="1200" spc="-5">
                <a:effectLst/>
                <a:latin typeface="Arial MT"/>
                <a:ea typeface="Arial MT"/>
                <a:cs typeface="Arial MT"/>
              </a:rPr>
              <a:t>The</a:t>
            </a:r>
            <a:r>
              <a:rPr lang="en-US" sz="1200" spc="-65">
                <a:effectLst/>
                <a:latin typeface="Arial MT"/>
                <a:ea typeface="Arial MT"/>
                <a:cs typeface="Arial MT"/>
              </a:rPr>
              <a:t> </a:t>
            </a:r>
            <a:r>
              <a:rPr lang="en-US" sz="1200" spc="-5">
                <a:effectLst/>
                <a:latin typeface="Arial MT"/>
                <a:ea typeface="Arial MT"/>
                <a:cs typeface="Arial MT"/>
              </a:rPr>
              <a:t>melting</a:t>
            </a:r>
            <a:r>
              <a:rPr lang="en-US" sz="1200" spc="-60">
                <a:effectLst/>
                <a:latin typeface="Arial MT"/>
                <a:ea typeface="Arial MT"/>
                <a:cs typeface="Arial MT"/>
              </a:rPr>
              <a:t> </a:t>
            </a:r>
            <a:r>
              <a:rPr lang="en-US" sz="1200" spc="-5">
                <a:effectLst/>
                <a:latin typeface="Arial MT"/>
                <a:ea typeface="Arial MT"/>
                <a:cs typeface="Arial MT"/>
              </a:rPr>
              <a:t>of</a:t>
            </a:r>
            <a:r>
              <a:rPr lang="en-US" sz="1200" spc="-65">
                <a:effectLst/>
                <a:latin typeface="Arial MT"/>
                <a:ea typeface="Arial MT"/>
                <a:cs typeface="Arial MT"/>
              </a:rPr>
              <a:t> </a:t>
            </a:r>
            <a:r>
              <a:rPr lang="en-US" sz="1200" spc="-5">
                <a:effectLst/>
                <a:latin typeface="Arial MT"/>
                <a:ea typeface="Arial MT"/>
                <a:cs typeface="Arial MT"/>
              </a:rPr>
              <a:t>scrap</a:t>
            </a:r>
            <a:r>
              <a:rPr lang="en-US" sz="1200" spc="-35">
                <a:effectLst/>
                <a:latin typeface="Arial MT"/>
                <a:ea typeface="Arial MT"/>
                <a:cs typeface="Arial MT"/>
              </a:rPr>
              <a:t> </a:t>
            </a:r>
            <a:r>
              <a:rPr lang="en-US" sz="1200" spc="-5">
                <a:effectLst/>
                <a:latin typeface="Arial MT"/>
                <a:ea typeface="Arial MT"/>
                <a:cs typeface="Arial MT"/>
              </a:rPr>
              <a:t>is</a:t>
            </a:r>
            <a:r>
              <a:rPr lang="en-US" sz="1200" spc="-70">
                <a:effectLst/>
                <a:latin typeface="Arial MT"/>
                <a:ea typeface="Arial MT"/>
                <a:cs typeface="Arial MT"/>
              </a:rPr>
              <a:t> </a:t>
            </a:r>
            <a:r>
              <a:rPr lang="en-US" sz="1200" spc="-5">
                <a:effectLst/>
                <a:latin typeface="Arial MT"/>
                <a:ea typeface="Arial MT"/>
                <a:cs typeface="Arial MT"/>
              </a:rPr>
              <a:t>a</a:t>
            </a:r>
            <a:r>
              <a:rPr lang="en-US" sz="1200" spc="-65">
                <a:effectLst/>
                <a:latin typeface="Arial MT"/>
                <a:ea typeface="Arial MT"/>
                <a:cs typeface="Arial MT"/>
              </a:rPr>
              <a:t> </a:t>
            </a:r>
            <a:r>
              <a:rPr lang="en-US" sz="1200" spc="-5">
                <a:effectLst/>
                <a:latin typeface="Arial MT"/>
                <a:ea typeface="Arial MT"/>
                <a:cs typeface="Arial MT"/>
              </a:rPr>
              <a:t>batch</a:t>
            </a:r>
            <a:r>
              <a:rPr lang="en-US" sz="1200" spc="-60">
                <a:effectLst/>
                <a:latin typeface="Arial MT"/>
                <a:ea typeface="Arial MT"/>
                <a:cs typeface="Arial MT"/>
              </a:rPr>
              <a:t> </a:t>
            </a:r>
            <a:r>
              <a:rPr lang="en-US" sz="1200" spc="-5">
                <a:effectLst/>
                <a:latin typeface="Arial MT"/>
                <a:ea typeface="Arial MT"/>
                <a:cs typeface="Arial MT"/>
              </a:rPr>
              <a:t>process</a:t>
            </a:r>
            <a:r>
              <a:rPr lang="en-US" sz="1200" spc="-65">
                <a:effectLst/>
                <a:latin typeface="Arial MT"/>
                <a:ea typeface="Arial MT"/>
                <a:cs typeface="Arial MT"/>
              </a:rPr>
              <a:t> </a:t>
            </a:r>
            <a:r>
              <a:rPr lang="en-US" sz="1200">
                <a:effectLst/>
                <a:latin typeface="Arial MT"/>
                <a:ea typeface="Arial MT"/>
                <a:cs typeface="Arial MT"/>
              </a:rPr>
              <a:t>where</a:t>
            </a:r>
            <a:r>
              <a:rPr lang="en-US" sz="1200" spc="-60">
                <a:effectLst/>
                <a:latin typeface="Arial MT"/>
                <a:ea typeface="Arial MT"/>
                <a:cs typeface="Arial MT"/>
              </a:rPr>
              <a:t> </a:t>
            </a:r>
            <a:r>
              <a:rPr lang="en-US" sz="1200">
                <a:effectLst/>
                <a:latin typeface="Arial MT"/>
                <a:ea typeface="Arial MT"/>
                <a:cs typeface="Arial MT"/>
              </a:rPr>
              <a:t>every</a:t>
            </a:r>
            <a:r>
              <a:rPr lang="en-US" sz="1200" spc="-45">
                <a:effectLst/>
                <a:latin typeface="Arial MT"/>
                <a:ea typeface="Arial MT"/>
                <a:cs typeface="Arial MT"/>
              </a:rPr>
              <a:t> </a:t>
            </a:r>
            <a:r>
              <a:rPr lang="en-US" sz="1200">
                <a:effectLst/>
                <a:latin typeface="Arial MT"/>
                <a:ea typeface="Arial MT"/>
                <a:cs typeface="Arial MT"/>
              </a:rPr>
              <a:t>45</a:t>
            </a:r>
            <a:r>
              <a:rPr lang="en-US" sz="1200" spc="-40">
                <a:effectLst/>
                <a:latin typeface="Arial MT"/>
                <a:ea typeface="Arial MT"/>
                <a:cs typeface="Arial MT"/>
              </a:rPr>
              <a:t> </a:t>
            </a:r>
            <a:r>
              <a:rPr lang="en-US" sz="1200">
                <a:effectLst/>
                <a:latin typeface="Arial MT"/>
                <a:ea typeface="Arial MT"/>
                <a:cs typeface="Arial MT"/>
              </a:rPr>
              <a:t>minutes</a:t>
            </a:r>
            <a:r>
              <a:rPr lang="en-US" sz="1200" spc="-70">
                <a:effectLst/>
                <a:latin typeface="Arial MT"/>
                <a:ea typeface="Arial MT"/>
                <a:cs typeface="Arial MT"/>
              </a:rPr>
              <a:t> </a:t>
            </a:r>
            <a:r>
              <a:rPr lang="en-US" sz="1200">
                <a:effectLst/>
                <a:latin typeface="Arial MT"/>
                <a:ea typeface="Arial MT"/>
                <a:cs typeface="Arial MT"/>
              </a:rPr>
              <a:t>liquid</a:t>
            </a:r>
            <a:r>
              <a:rPr lang="en-US" sz="1200" spc="-65">
                <a:effectLst/>
                <a:latin typeface="Arial MT"/>
                <a:ea typeface="Arial MT"/>
                <a:cs typeface="Arial MT"/>
              </a:rPr>
              <a:t> </a:t>
            </a:r>
            <a:r>
              <a:rPr lang="en-US" sz="1200">
                <a:effectLst/>
                <a:latin typeface="Arial MT"/>
                <a:ea typeface="Arial MT"/>
                <a:cs typeface="Arial MT"/>
              </a:rPr>
              <a:t>steel</a:t>
            </a:r>
            <a:r>
              <a:rPr lang="en-US" sz="1200" spc="-75">
                <a:effectLst/>
                <a:latin typeface="Arial MT"/>
                <a:ea typeface="Arial MT"/>
                <a:cs typeface="Arial MT"/>
              </a:rPr>
              <a:t> </a:t>
            </a:r>
            <a:r>
              <a:rPr lang="en-US" sz="1200">
                <a:effectLst/>
                <a:latin typeface="Arial MT"/>
                <a:ea typeface="Arial MT"/>
                <a:cs typeface="Arial MT"/>
              </a:rPr>
              <a:t>are</a:t>
            </a:r>
            <a:r>
              <a:rPr lang="en-US" sz="1200" spc="-55">
                <a:effectLst/>
                <a:latin typeface="Arial MT"/>
                <a:ea typeface="Arial MT"/>
                <a:cs typeface="Arial MT"/>
              </a:rPr>
              <a:t> </a:t>
            </a:r>
            <a:r>
              <a:rPr lang="en-US" sz="1200">
                <a:effectLst/>
                <a:latin typeface="Arial MT"/>
                <a:ea typeface="Arial MT"/>
                <a:cs typeface="Arial MT"/>
              </a:rPr>
              <a:t>produced</a:t>
            </a:r>
            <a:r>
              <a:rPr lang="en-US" sz="1200" spc="5">
                <a:effectLst/>
                <a:latin typeface="Arial MT"/>
                <a:ea typeface="Arial MT"/>
                <a:cs typeface="Arial MT"/>
              </a:rPr>
              <a:t> </a:t>
            </a:r>
            <a:r>
              <a:rPr lang="en-US" sz="1200">
                <a:effectLst/>
                <a:latin typeface="Arial MT"/>
                <a:ea typeface="Arial MT"/>
                <a:cs typeface="Arial MT"/>
              </a:rPr>
              <a:t>in the EAF. At the end of each melting cycle, the liquid steel at about 1580 °C is poured into a</a:t>
            </a:r>
            <a:r>
              <a:rPr lang="en-US" sz="1200" spc="5">
                <a:effectLst/>
                <a:latin typeface="Arial MT"/>
                <a:ea typeface="Arial MT"/>
                <a:cs typeface="Arial MT"/>
              </a:rPr>
              <a:t> </a:t>
            </a:r>
            <a:r>
              <a:rPr lang="en-US" sz="1200">
                <a:effectLst/>
                <a:latin typeface="Arial MT"/>
                <a:ea typeface="Arial MT"/>
                <a:cs typeface="Arial MT"/>
              </a:rPr>
              <a:t>dedicated pot, named ladle, used to carry the liquid steel to the subsequent production steps.</a:t>
            </a:r>
          </a:p>
          <a:p>
            <a:pPr marL="414020" marR="294640" indent="-342900" algn="just">
              <a:lnSpc>
                <a:spcPct val="125000"/>
              </a:lnSpc>
              <a:spcBef>
                <a:spcPts val="470"/>
              </a:spcBef>
              <a:spcAft>
                <a:spcPts val="0"/>
              </a:spcAft>
              <a:buFont typeface="+mj-lt"/>
              <a:buAutoNum type="arabicPeriod"/>
            </a:pPr>
            <a:r>
              <a:rPr lang="en-US" sz="1200">
                <a:effectLst/>
                <a:latin typeface="Arial MT"/>
                <a:ea typeface="Arial MT"/>
                <a:cs typeface="Arial MT"/>
              </a:rPr>
              <a:t> After</a:t>
            </a:r>
            <a:r>
              <a:rPr lang="en-US" sz="1200" spc="5">
                <a:effectLst/>
                <a:latin typeface="Arial MT"/>
                <a:ea typeface="Arial MT"/>
                <a:cs typeface="Arial MT"/>
              </a:rPr>
              <a:t> </a:t>
            </a:r>
            <a:r>
              <a:rPr lang="en-US" sz="1200">
                <a:effectLst/>
                <a:latin typeface="Arial MT"/>
                <a:ea typeface="Arial MT"/>
                <a:cs typeface="Arial MT"/>
              </a:rPr>
              <a:t>exiting the EAF, the liquid steel is treated in the Ladle Furnace (LF) plant, where the chemical</a:t>
            </a:r>
            <a:r>
              <a:rPr lang="en-US" sz="1200" spc="5">
                <a:effectLst/>
                <a:latin typeface="Arial MT"/>
                <a:ea typeface="Arial MT"/>
                <a:cs typeface="Arial MT"/>
              </a:rPr>
              <a:t> </a:t>
            </a:r>
            <a:r>
              <a:rPr lang="en-US" sz="1200">
                <a:effectLst/>
                <a:latin typeface="Arial MT"/>
                <a:ea typeface="Arial MT"/>
                <a:cs typeface="Arial MT"/>
              </a:rPr>
              <a:t>composition and steel temperature are adjusted. </a:t>
            </a:r>
          </a:p>
          <a:p>
            <a:pPr marL="414020" marR="294640" indent="-342900" algn="just">
              <a:lnSpc>
                <a:spcPct val="125000"/>
              </a:lnSpc>
              <a:spcBef>
                <a:spcPts val="470"/>
              </a:spcBef>
              <a:spcAft>
                <a:spcPts val="0"/>
              </a:spcAft>
              <a:buFont typeface="+mj-lt"/>
              <a:buAutoNum type="arabicPeriod"/>
            </a:pPr>
            <a:r>
              <a:rPr lang="en-US" sz="1200">
                <a:effectLst/>
                <a:latin typeface="Arial MT"/>
                <a:ea typeface="Arial MT"/>
                <a:cs typeface="Arial MT"/>
              </a:rPr>
              <a:t>The ladle is then carried to a Continuous Casting</a:t>
            </a:r>
            <a:r>
              <a:rPr lang="en-US" sz="1200" spc="5">
                <a:effectLst/>
                <a:latin typeface="Arial MT"/>
                <a:ea typeface="Arial MT"/>
                <a:cs typeface="Arial MT"/>
              </a:rPr>
              <a:t> </a:t>
            </a:r>
            <a:r>
              <a:rPr lang="en-US" sz="1200">
                <a:effectLst/>
                <a:latin typeface="Arial MT"/>
                <a:ea typeface="Arial MT"/>
                <a:cs typeface="Arial MT"/>
              </a:rPr>
              <a:t>Machine</a:t>
            </a:r>
            <a:r>
              <a:rPr lang="en-US" sz="1200" spc="-25">
                <a:effectLst/>
                <a:latin typeface="Arial MT"/>
                <a:ea typeface="Arial MT"/>
                <a:cs typeface="Arial MT"/>
              </a:rPr>
              <a:t> </a:t>
            </a:r>
            <a:r>
              <a:rPr lang="en-US" sz="1200">
                <a:effectLst/>
                <a:latin typeface="Arial MT"/>
                <a:ea typeface="Arial MT"/>
                <a:cs typeface="Arial MT"/>
              </a:rPr>
              <a:t>(CCM)</a:t>
            </a:r>
            <a:r>
              <a:rPr lang="en-US" sz="1200" spc="-45">
                <a:effectLst/>
                <a:latin typeface="Arial MT"/>
                <a:ea typeface="Arial MT"/>
                <a:cs typeface="Arial MT"/>
              </a:rPr>
              <a:t> </a:t>
            </a:r>
            <a:r>
              <a:rPr lang="en-US" sz="1200">
                <a:effectLst/>
                <a:latin typeface="Arial MT"/>
                <a:ea typeface="Arial MT"/>
                <a:cs typeface="Arial MT"/>
              </a:rPr>
              <a:t>where</a:t>
            </a:r>
            <a:r>
              <a:rPr lang="en-US" sz="1200" spc="-45">
                <a:effectLst/>
                <a:latin typeface="Arial MT"/>
                <a:ea typeface="Arial MT"/>
                <a:cs typeface="Arial MT"/>
              </a:rPr>
              <a:t> </a:t>
            </a:r>
            <a:r>
              <a:rPr lang="en-US" sz="1200">
                <a:effectLst/>
                <a:latin typeface="Arial MT"/>
                <a:ea typeface="Arial MT"/>
                <a:cs typeface="Arial MT"/>
              </a:rPr>
              <a:t>liquid</a:t>
            </a:r>
            <a:r>
              <a:rPr lang="en-US" sz="1200" spc="-50">
                <a:effectLst/>
                <a:latin typeface="Arial MT"/>
                <a:ea typeface="Arial MT"/>
                <a:cs typeface="Arial MT"/>
              </a:rPr>
              <a:t> </a:t>
            </a:r>
            <a:r>
              <a:rPr lang="en-US" sz="1200">
                <a:effectLst/>
                <a:latin typeface="Arial MT"/>
                <a:ea typeface="Arial MT"/>
                <a:cs typeface="Arial MT"/>
              </a:rPr>
              <a:t>steel</a:t>
            </a:r>
            <a:r>
              <a:rPr lang="en-US" sz="1200" spc="-60">
                <a:effectLst/>
                <a:latin typeface="Arial MT"/>
                <a:ea typeface="Arial MT"/>
                <a:cs typeface="Arial MT"/>
              </a:rPr>
              <a:t> </a:t>
            </a:r>
            <a:r>
              <a:rPr lang="en-US" sz="1200">
                <a:effectLst/>
                <a:latin typeface="Arial MT"/>
                <a:ea typeface="Arial MT"/>
                <a:cs typeface="Arial MT"/>
              </a:rPr>
              <a:t>becomes</a:t>
            </a:r>
            <a:r>
              <a:rPr lang="en-US" sz="1200" spc="-60">
                <a:effectLst/>
                <a:latin typeface="Arial MT"/>
                <a:ea typeface="Arial MT"/>
                <a:cs typeface="Arial MT"/>
              </a:rPr>
              <a:t> </a:t>
            </a:r>
            <a:r>
              <a:rPr lang="en-US" sz="1200">
                <a:effectLst/>
                <a:latin typeface="Arial MT"/>
                <a:ea typeface="Arial MT"/>
                <a:cs typeface="Arial MT"/>
              </a:rPr>
              <a:t>solid</a:t>
            </a:r>
            <a:r>
              <a:rPr lang="en-US" sz="1200" spc="-25">
                <a:effectLst/>
                <a:latin typeface="Arial MT"/>
                <a:ea typeface="Arial MT"/>
                <a:cs typeface="Arial MT"/>
              </a:rPr>
              <a:t> </a:t>
            </a:r>
            <a:r>
              <a:rPr lang="en-US" sz="1200">
                <a:effectLst/>
                <a:latin typeface="Arial MT"/>
                <a:ea typeface="Arial MT"/>
                <a:cs typeface="Arial MT"/>
              </a:rPr>
              <a:t>in</a:t>
            </a:r>
            <a:r>
              <a:rPr lang="en-US" sz="1200" spc="-25">
                <a:effectLst/>
                <a:latin typeface="Arial MT"/>
                <a:ea typeface="Arial MT"/>
                <a:cs typeface="Arial MT"/>
              </a:rPr>
              <a:t> </a:t>
            </a:r>
            <a:r>
              <a:rPr lang="en-US" sz="1200">
                <a:effectLst/>
                <a:latin typeface="Arial MT"/>
                <a:ea typeface="Arial MT"/>
                <a:cs typeface="Arial MT"/>
              </a:rPr>
              <a:t>the</a:t>
            </a:r>
            <a:r>
              <a:rPr lang="en-US" sz="1200" spc="-45">
                <a:effectLst/>
                <a:latin typeface="Arial MT"/>
                <a:ea typeface="Arial MT"/>
                <a:cs typeface="Arial MT"/>
              </a:rPr>
              <a:t> </a:t>
            </a:r>
            <a:r>
              <a:rPr lang="en-US" sz="1200">
                <a:effectLst/>
                <a:latin typeface="Arial MT"/>
                <a:ea typeface="Arial MT"/>
                <a:cs typeface="Arial MT"/>
              </a:rPr>
              <a:t>shape</a:t>
            </a:r>
            <a:r>
              <a:rPr lang="en-US" sz="1200" spc="-50">
                <a:effectLst/>
                <a:latin typeface="Arial MT"/>
                <a:ea typeface="Arial MT"/>
                <a:cs typeface="Arial MT"/>
              </a:rPr>
              <a:t> </a:t>
            </a:r>
            <a:r>
              <a:rPr lang="en-US" sz="1200">
                <a:effectLst/>
                <a:latin typeface="Arial MT"/>
                <a:ea typeface="Arial MT"/>
                <a:cs typeface="Arial MT"/>
              </a:rPr>
              <a:t>of</a:t>
            </a:r>
            <a:r>
              <a:rPr lang="en-US" sz="1200" spc="-50">
                <a:effectLst/>
                <a:latin typeface="Arial MT"/>
                <a:ea typeface="Arial MT"/>
                <a:cs typeface="Arial MT"/>
              </a:rPr>
              <a:t> </a:t>
            </a:r>
            <a:r>
              <a:rPr lang="en-US" sz="1200">
                <a:effectLst/>
                <a:latin typeface="Arial MT"/>
                <a:ea typeface="Arial MT"/>
                <a:cs typeface="Arial MT"/>
              </a:rPr>
              <a:t>square</a:t>
            </a:r>
            <a:r>
              <a:rPr lang="en-US" sz="1200" spc="-50">
                <a:effectLst/>
                <a:latin typeface="Arial MT"/>
                <a:ea typeface="Arial MT"/>
                <a:cs typeface="Arial MT"/>
              </a:rPr>
              <a:t> </a:t>
            </a:r>
            <a:r>
              <a:rPr lang="en-US" sz="1200">
                <a:effectLst/>
                <a:latin typeface="Arial MT"/>
                <a:ea typeface="Arial MT"/>
                <a:cs typeface="Arial MT"/>
              </a:rPr>
              <a:t>billets</a:t>
            </a:r>
            <a:r>
              <a:rPr lang="en-US" sz="1200" spc="-55">
                <a:effectLst/>
                <a:latin typeface="Arial MT"/>
                <a:ea typeface="Arial MT"/>
                <a:cs typeface="Arial MT"/>
              </a:rPr>
              <a:t> </a:t>
            </a:r>
            <a:r>
              <a:rPr lang="en-US" sz="1200">
                <a:effectLst/>
                <a:latin typeface="Arial MT"/>
                <a:ea typeface="Arial MT"/>
                <a:cs typeface="Arial MT"/>
              </a:rPr>
              <a:t>(160</a:t>
            </a:r>
            <a:r>
              <a:rPr lang="en-US" sz="1200" spc="-50">
                <a:effectLst/>
                <a:latin typeface="Arial MT"/>
                <a:ea typeface="Arial MT"/>
                <a:cs typeface="Arial MT"/>
              </a:rPr>
              <a:t> </a:t>
            </a:r>
            <a:r>
              <a:rPr lang="en-US" sz="1200">
                <a:effectLst/>
                <a:latin typeface="Arial MT"/>
                <a:ea typeface="Arial MT"/>
                <a:cs typeface="Arial MT"/>
              </a:rPr>
              <a:t>x</a:t>
            </a:r>
            <a:r>
              <a:rPr lang="en-US" sz="1200" spc="-55">
                <a:effectLst/>
                <a:latin typeface="Arial MT"/>
                <a:ea typeface="Arial MT"/>
                <a:cs typeface="Arial MT"/>
              </a:rPr>
              <a:t> </a:t>
            </a:r>
            <a:r>
              <a:rPr lang="en-US" sz="1200">
                <a:effectLst/>
                <a:latin typeface="Arial MT"/>
                <a:ea typeface="Arial MT"/>
                <a:cs typeface="Arial MT"/>
              </a:rPr>
              <a:t>160</a:t>
            </a:r>
            <a:r>
              <a:rPr lang="en-US" sz="1200" spc="-50">
                <a:effectLst/>
                <a:latin typeface="Arial MT"/>
                <a:ea typeface="Arial MT"/>
                <a:cs typeface="Arial MT"/>
              </a:rPr>
              <a:t> </a:t>
            </a:r>
            <a:r>
              <a:rPr lang="en-US" sz="1200">
                <a:effectLst/>
                <a:latin typeface="Arial MT"/>
                <a:ea typeface="Arial MT"/>
                <a:cs typeface="Arial MT"/>
              </a:rPr>
              <a:t>mm),</a:t>
            </a:r>
            <a:r>
              <a:rPr lang="en-US" sz="1200" spc="-30">
                <a:effectLst/>
                <a:latin typeface="Arial MT"/>
                <a:ea typeface="Arial MT"/>
                <a:cs typeface="Arial MT"/>
              </a:rPr>
              <a:t> </a:t>
            </a:r>
            <a:r>
              <a:rPr lang="en-US" sz="1200">
                <a:effectLst/>
                <a:latin typeface="Arial MT"/>
                <a:ea typeface="Arial MT"/>
                <a:cs typeface="Arial MT"/>
              </a:rPr>
              <a:t>with</a:t>
            </a:r>
            <a:r>
              <a:rPr lang="en-US" sz="1200" spc="5">
                <a:effectLst/>
                <a:latin typeface="Arial MT"/>
                <a:ea typeface="Arial MT"/>
                <a:cs typeface="Arial MT"/>
              </a:rPr>
              <a:t> </a:t>
            </a:r>
            <a:r>
              <a:rPr lang="en-US" sz="1200">
                <a:effectLst/>
                <a:latin typeface="Arial MT"/>
                <a:ea typeface="Arial MT"/>
                <a:cs typeface="Arial MT"/>
              </a:rPr>
              <a:t>a</a:t>
            </a:r>
            <a:r>
              <a:rPr lang="en-US" sz="1200" spc="5">
                <a:effectLst/>
                <a:latin typeface="Arial MT"/>
                <a:ea typeface="Arial MT"/>
                <a:cs typeface="Arial MT"/>
              </a:rPr>
              <a:t> </a:t>
            </a:r>
            <a:r>
              <a:rPr lang="en-US" sz="1200">
                <a:effectLst/>
                <a:latin typeface="Arial MT"/>
                <a:ea typeface="Arial MT"/>
                <a:cs typeface="Arial MT"/>
              </a:rPr>
              <a:t>length</a:t>
            </a:r>
            <a:r>
              <a:rPr lang="en-US" sz="1200" spc="10">
                <a:effectLst/>
                <a:latin typeface="Arial MT"/>
                <a:ea typeface="Arial MT"/>
                <a:cs typeface="Arial MT"/>
              </a:rPr>
              <a:t> </a:t>
            </a:r>
            <a:r>
              <a:rPr lang="en-US" sz="1200">
                <a:effectLst/>
                <a:latin typeface="Arial MT"/>
                <a:ea typeface="Arial MT"/>
                <a:cs typeface="Arial MT"/>
              </a:rPr>
              <a:t>that</a:t>
            </a:r>
            <a:r>
              <a:rPr lang="en-US" sz="1200" spc="5">
                <a:effectLst/>
                <a:latin typeface="Arial MT"/>
                <a:ea typeface="Arial MT"/>
                <a:cs typeface="Arial MT"/>
              </a:rPr>
              <a:t> </a:t>
            </a:r>
            <a:r>
              <a:rPr lang="en-US" sz="1200">
                <a:effectLst/>
                <a:latin typeface="Arial MT"/>
                <a:ea typeface="Arial MT"/>
                <a:cs typeface="Arial MT"/>
              </a:rPr>
              <a:t>ranges</a:t>
            </a:r>
            <a:r>
              <a:rPr lang="en-US" sz="1200" spc="-20">
                <a:effectLst/>
                <a:latin typeface="Arial MT"/>
                <a:ea typeface="Arial MT"/>
                <a:cs typeface="Arial MT"/>
              </a:rPr>
              <a:t> </a:t>
            </a:r>
            <a:r>
              <a:rPr lang="en-US" sz="1200">
                <a:effectLst/>
                <a:latin typeface="Arial MT"/>
                <a:ea typeface="Arial MT"/>
                <a:cs typeface="Arial MT"/>
              </a:rPr>
              <a:t>between</a:t>
            </a:r>
            <a:r>
              <a:rPr lang="en-US" sz="1200" spc="-15">
                <a:effectLst/>
                <a:latin typeface="Arial MT"/>
                <a:ea typeface="Arial MT"/>
                <a:cs typeface="Arial MT"/>
              </a:rPr>
              <a:t> </a:t>
            </a:r>
            <a:r>
              <a:rPr lang="en-US" sz="1200">
                <a:effectLst/>
                <a:latin typeface="Arial MT"/>
                <a:ea typeface="Arial MT"/>
                <a:cs typeface="Arial MT"/>
              </a:rPr>
              <a:t>12</a:t>
            </a:r>
            <a:r>
              <a:rPr lang="en-US" sz="1200" spc="10">
                <a:effectLst/>
                <a:latin typeface="Arial MT"/>
                <a:ea typeface="Arial MT"/>
                <a:cs typeface="Arial MT"/>
              </a:rPr>
              <a:t> </a:t>
            </a:r>
            <a:r>
              <a:rPr lang="en-US" sz="1200">
                <a:effectLst/>
                <a:latin typeface="Arial MT"/>
                <a:ea typeface="Arial MT"/>
                <a:cs typeface="Arial MT"/>
              </a:rPr>
              <a:t>m</a:t>
            </a:r>
            <a:r>
              <a:rPr lang="en-US" sz="1200" spc="-30">
                <a:effectLst/>
                <a:latin typeface="Arial MT"/>
                <a:ea typeface="Arial MT"/>
                <a:cs typeface="Arial MT"/>
              </a:rPr>
              <a:t> </a:t>
            </a:r>
            <a:r>
              <a:rPr lang="en-US" sz="1200">
                <a:effectLst/>
                <a:latin typeface="Arial MT"/>
                <a:ea typeface="Arial MT"/>
                <a:cs typeface="Arial MT"/>
              </a:rPr>
              <a:t>and</a:t>
            </a:r>
            <a:r>
              <a:rPr lang="en-US" sz="1200" spc="-15">
                <a:effectLst/>
                <a:latin typeface="Arial MT"/>
                <a:ea typeface="Arial MT"/>
                <a:cs typeface="Arial MT"/>
              </a:rPr>
              <a:t> </a:t>
            </a:r>
            <a:r>
              <a:rPr lang="en-US" sz="1200">
                <a:effectLst/>
                <a:latin typeface="Arial MT"/>
                <a:ea typeface="Arial MT"/>
                <a:cs typeface="Arial MT"/>
              </a:rPr>
              <a:t>13</a:t>
            </a:r>
            <a:r>
              <a:rPr lang="en-US" sz="1200" spc="-15">
                <a:effectLst/>
                <a:latin typeface="Arial MT"/>
                <a:ea typeface="Arial MT"/>
                <a:cs typeface="Arial MT"/>
              </a:rPr>
              <a:t> </a:t>
            </a:r>
            <a:r>
              <a:rPr lang="en-US" sz="1200">
                <a:effectLst/>
                <a:latin typeface="Arial MT"/>
                <a:ea typeface="Arial MT"/>
                <a:cs typeface="Arial MT"/>
              </a:rPr>
              <a:t>m</a:t>
            </a:r>
            <a:r>
              <a:rPr lang="en-US" sz="1200" spc="-10">
                <a:effectLst/>
                <a:latin typeface="Arial MT"/>
                <a:ea typeface="Arial MT"/>
                <a:cs typeface="Arial MT"/>
              </a:rPr>
              <a:t> </a:t>
            </a:r>
            <a:r>
              <a:rPr lang="en-US" sz="1200">
                <a:effectLst/>
                <a:latin typeface="Arial MT"/>
                <a:ea typeface="Arial MT"/>
                <a:cs typeface="Arial MT"/>
              </a:rPr>
              <a:t>and</a:t>
            </a:r>
            <a:r>
              <a:rPr lang="en-US" sz="1200" spc="-40">
                <a:effectLst/>
                <a:latin typeface="Arial MT"/>
                <a:ea typeface="Arial MT"/>
                <a:cs typeface="Arial MT"/>
              </a:rPr>
              <a:t> </a:t>
            </a:r>
            <a:r>
              <a:rPr lang="en-US" sz="1200">
                <a:effectLst/>
                <a:latin typeface="Arial MT"/>
                <a:ea typeface="Arial MT"/>
                <a:cs typeface="Arial MT"/>
              </a:rPr>
              <a:t>then</a:t>
            </a:r>
            <a:r>
              <a:rPr lang="en-US" sz="1200" spc="10">
                <a:effectLst/>
                <a:latin typeface="Arial MT"/>
                <a:ea typeface="Arial MT"/>
                <a:cs typeface="Arial MT"/>
              </a:rPr>
              <a:t> </a:t>
            </a:r>
            <a:r>
              <a:rPr lang="en-US" sz="1200">
                <a:effectLst/>
                <a:latin typeface="Arial MT"/>
                <a:ea typeface="Arial MT"/>
                <a:cs typeface="Arial MT"/>
              </a:rPr>
              <a:t>cooled</a:t>
            </a:r>
            <a:r>
              <a:rPr lang="en-US" sz="1200" spc="-15">
                <a:effectLst/>
                <a:latin typeface="Arial MT"/>
                <a:ea typeface="Arial MT"/>
                <a:cs typeface="Arial MT"/>
              </a:rPr>
              <a:t> </a:t>
            </a:r>
            <a:r>
              <a:rPr lang="en-US" sz="1200">
                <a:effectLst/>
                <a:latin typeface="Arial MT"/>
                <a:ea typeface="Arial MT"/>
                <a:cs typeface="Arial MT"/>
              </a:rPr>
              <a:t>down</a:t>
            </a:r>
            <a:r>
              <a:rPr lang="en-US" sz="1200" spc="10">
                <a:effectLst/>
                <a:latin typeface="Arial MT"/>
                <a:ea typeface="Arial MT"/>
                <a:cs typeface="Arial MT"/>
              </a:rPr>
              <a:t> </a:t>
            </a:r>
            <a:r>
              <a:rPr lang="en-US" sz="1200">
                <a:effectLst/>
                <a:latin typeface="Arial MT"/>
                <a:ea typeface="Arial MT"/>
                <a:cs typeface="Arial MT"/>
              </a:rPr>
              <a:t>to</a:t>
            </a:r>
            <a:r>
              <a:rPr lang="en-US" sz="1200" spc="10">
                <a:effectLst/>
                <a:latin typeface="Arial MT"/>
                <a:ea typeface="Arial MT"/>
                <a:cs typeface="Arial MT"/>
              </a:rPr>
              <a:t> </a:t>
            </a:r>
            <a:r>
              <a:rPr lang="en-US" sz="1200">
                <a:effectLst/>
                <a:latin typeface="Arial MT"/>
                <a:ea typeface="Arial MT"/>
                <a:cs typeface="Arial MT"/>
              </a:rPr>
              <a:t>room</a:t>
            </a:r>
            <a:r>
              <a:rPr lang="en-US" sz="1200" spc="-10">
                <a:effectLst/>
                <a:latin typeface="Arial MT"/>
                <a:ea typeface="Arial MT"/>
                <a:cs typeface="Arial MT"/>
              </a:rPr>
              <a:t> </a:t>
            </a:r>
            <a:r>
              <a:rPr lang="en-US" sz="1200">
                <a:effectLst/>
                <a:latin typeface="Arial MT"/>
                <a:ea typeface="Arial MT"/>
                <a:cs typeface="Arial MT"/>
              </a:rPr>
              <a:t>temperature.</a:t>
            </a:r>
          </a:p>
          <a:p>
            <a:pPr marL="414020" marR="294640" indent="-342900" algn="just">
              <a:lnSpc>
                <a:spcPct val="125000"/>
              </a:lnSpc>
              <a:spcBef>
                <a:spcPts val="470"/>
              </a:spcBef>
              <a:spcAft>
                <a:spcPts val="0"/>
              </a:spcAft>
              <a:buFont typeface="+mj-lt"/>
              <a:buAutoNum type="arabicPeriod"/>
            </a:pPr>
            <a:r>
              <a:rPr lang="en-US" sz="1200">
                <a:effectLst/>
                <a:latin typeface="Arial MT"/>
                <a:ea typeface="Arial MT"/>
                <a:cs typeface="Arial MT"/>
              </a:rPr>
              <a:t>The</a:t>
            </a:r>
            <a:r>
              <a:rPr lang="en-US" sz="1200" spc="-5">
                <a:effectLst/>
                <a:latin typeface="Arial MT"/>
                <a:ea typeface="Arial MT"/>
                <a:cs typeface="Arial MT"/>
              </a:rPr>
              <a:t> </a:t>
            </a:r>
            <a:r>
              <a:rPr lang="en-US" sz="1200">
                <a:effectLst/>
                <a:latin typeface="Arial MT"/>
                <a:ea typeface="Arial MT"/>
                <a:cs typeface="Arial MT"/>
              </a:rPr>
              <a:t>solidified</a:t>
            </a:r>
            <a:r>
              <a:rPr lang="en-US" sz="1200" spc="-25">
                <a:effectLst/>
                <a:latin typeface="Arial MT"/>
                <a:ea typeface="Arial MT"/>
                <a:cs typeface="Arial MT"/>
              </a:rPr>
              <a:t> </a:t>
            </a:r>
            <a:r>
              <a:rPr lang="en-US" sz="1200">
                <a:effectLst/>
                <a:latin typeface="Arial MT"/>
                <a:ea typeface="Arial MT"/>
                <a:cs typeface="Arial MT"/>
              </a:rPr>
              <a:t>billets</a:t>
            </a:r>
            <a:r>
              <a:rPr lang="en-US" sz="1200" spc="-30">
                <a:effectLst/>
                <a:latin typeface="Arial MT"/>
                <a:ea typeface="Arial MT"/>
                <a:cs typeface="Arial MT"/>
              </a:rPr>
              <a:t> </a:t>
            </a:r>
            <a:r>
              <a:rPr lang="en-US" sz="1200">
                <a:effectLst/>
                <a:latin typeface="Arial MT"/>
                <a:ea typeface="Arial MT"/>
                <a:cs typeface="Arial MT"/>
              </a:rPr>
              <a:t>are</a:t>
            </a:r>
            <a:r>
              <a:rPr lang="en-US" sz="1200" spc="-25">
                <a:effectLst/>
                <a:latin typeface="Arial MT"/>
                <a:ea typeface="Arial MT"/>
                <a:cs typeface="Arial MT"/>
              </a:rPr>
              <a:t> </a:t>
            </a:r>
            <a:r>
              <a:rPr lang="en-US" sz="1200">
                <a:effectLst/>
                <a:latin typeface="Arial MT"/>
                <a:ea typeface="Arial MT"/>
                <a:cs typeface="Arial MT"/>
              </a:rPr>
              <a:t>heated</a:t>
            </a:r>
            <a:r>
              <a:rPr lang="en-US" sz="1200" spc="-25">
                <a:effectLst/>
                <a:latin typeface="Arial MT"/>
                <a:ea typeface="Arial MT"/>
                <a:cs typeface="Arial MT"/>
              </a:rPr>
              <a:t> </a:t>
            </a:r>
            <a:r>
              <a:rPr lang="en-US" sz="1200">
                <a:effectLst/>
                <a:latin typeface="Arial MT"/>
                <a:ea typeface="Arial MT"/>
                <a:cs typeface="Arial MT"/>
              </a:rPr>
              <a:t>up</a:t>
            </a:r>
            <a:r>
              <a:rPr lang="en-US" sz="1200" spc="-25">
                <a:effectLst/>
                <a:latin typeface="Arial MT"/>
                <a:ea typeface="Arial MT"/>
                <a:cs typeface="Arial MT"/>
              </a:rPr>
              <a:t> </a:t>
            </a:r>
            <a:r>
              <a:rPr lang="en-US" sz="1200">
                <a:effectLst/>
                <a:latin typeface="Arial MT"/>
                <a:ea typeface="Arial MT"/>
                <a:cs typeface="Arial MT"/>
              </a:rPr>
              <a:t>again to around</a:t>
            </a:r>
            <a:r>
              <a:rPr lang="en-US" sz="1200" spc="-5">
                <a:effectLst/>
                <a:latin typeface="Arial MT"/>
                <a:ea typeface="Arial MT"/>
                <a:cs typeface="Arial MT"/>
              </a:rPr>
              <a:t> </a:t>
            </a:r>
            <a:r>
              <a:rPr lang="en-US" sz="1200">
                <a:effectLst/>
                <a:latin typeface="Arial MT"/>
                <a:ea typeface="Arial MT"/>
                <a:cs typeface="Arial MT"/>
              </a:rPr>
              <a:t>1150 °C</a:t>
            </a:r>
            <a:r>
              <a:rPr lang="en-US" sz="1200" spc="-40">
                <a:effectLst/>
                <a:latin typeface="Arial MT"/>
                <a:ea typeface="Arial MT"/>
                <a:cs typeface="Arial MT"/>
              </a:rPr>
              <a:t> </a:t>
            </a:r>
            <a:r>
              <a:rPr lang="en-US" sz="1200">
                <a:effectLst/>
                <a:latin typeface="Arial MT"/>
                <a:ea typeface="Arial MT"/>
                <a:cs typeface="Arial MT"/>
              </a:rPr>
              <a:t>to</a:t>
            </a:r>
            <a:r>
              <a:rPr lang="en-US" sz="1200" spc="-20">
                <a:effectLst/>
                <a:latin typeface="Arial MT"/>
                <a:ea typeface="Arial MT"/>
                <a:cs typeface="Arial MT"/>
              </a:rPr>
              <a:t> </a:t>
            </a:r>
            <a:r>
              <a:rPr lang="en-US" sz="1200">
                <a:effectLst/>
                <a:latin typeface="Arial MT"/>
                <a:ea typeface="Arial MT"/>
                <a:cs typeface="Arial MT"/>
              </a:rPr>
              <a:t>be</a:t>
            </a:r>
            <a:r>
              <a:rPr lang="en-US" sz="1200" spc="-25">
                <a:effectLst/>
                <a:latin typeface="Arial MT"/>
                <a:ea typeface="Arial MT"/>
                <a:cs typeface="Arial MT"/>
              </a:rPr>
              <a:t> </a:t>
            </a:r>
            <a:r>
              <a:rPr lang="en-US" sz="1200">
                <a:effectLst/>
                <a:latin typeface="Arial MT"/>
                <a:ea typeface="Arial MT"/>
                <a:cs typeface="Arial MT"/>
              </a:rPr>
              <a:t>rolled</a:t>
            </a:r>
            <a:r>
              <a:rPr lang="en-US" sz="1200" spc="-25">
                <a:effectLst/>
                <a:latin typeface="Arial MT"/>
                <a:ea typeface="Arial MT"/>
                <a:cs typeface="Arial MT"/>
              </a:rPr>
              <a:t> </a:t>
            </a:r>
            <a:r>
              <a:rPr lang="en-US" sz="1200">
                <a:effectLst/>
                <a:latin typeface="Arial MT"/>
                <a:ea typeface="Arial MT"/>
                <a:cs typeface="Arial MT"/>
              </a:rPr>
              <a:t>in shape</a:t>
            </a:r>
            <a:r>
              <a:rPr lang="en-US" sz="1200" spc="-25">
                <a:effectLst/>
                <a:latin typeface="Arial MT"/>
                <a:ea typeface="Arial MT"/>
                <a:cs typeface="Arial MT"/>
              </a:rPr>
              <a:t> </a:t>
            </a:r>
            <a:r>
              <a:rPr lang="en-US" sz="1200">
                <a:effectLst/>
                <a:latin typeface="Arial MT"/>
                <a:ea typeface="Arial MT"/>
                <a:cs typeface="Arial MT"/>
              </a:rPr>
              <a:t>of</a:t>
            </a:r>
            <a:r>
              <a:rPr lang="en-US" sz="1200" spc="-30">
                <a:effectLst/>
                <a:latin typeface="Arial MT"/>
                <a:ea typeface="Arial MT"/>
                <a:cs typeface="Arial MT"/>
              </a:rPr>
              <a:t> </a:t>
            </a:r>
            <a:r>
              <a:rPr lang="en-US" sz="1200">
                <a:effectLst/>
                <a:latin typeface="Arial MT"/>
                <a:ea typeface="Arial MT"/>
                <a:cs typeface="Arial MT"/>
              </a:rPr>
              <a:t>round wire</a:t>
            </a:r>
            <a:r>
              <a:rPr lang="en-US" sz="1200" spc="-5">
                <a:effectLst/>
                <a:latin typeface="Arial MT"/>
                <a:ea typeface="Arial MT"/>
                <a:cs typeface="Arial MT"/>
              </a:rPr>
              <a:t> </a:t>
            </a:r>
            <a:r>
              <a:rPr lang="en-US" sz="1200">
                <a:effectLst/>
                <a:latin typeface="Arial MT"/>
                <a:ea typeface="Arial MT"/>
                <a:cs typeface="Arial MT"/>
              </a:rPr>
              <a:t>rods</a:t>
            </a:r>
            <a:r>
              <a:rPr lang="en-US" sz="1200" spc="-290">
                <a:effectLst/>
                <a:latin typeface="Arial MT"/>
                <a:ea typeface="Arial MT"/>
                <a:cs typeface="Arial MT"/>
              </a:rPr>
              <a:t> </a:t>
            </a:r>
            <a:r>
              <a:rPr lang="en-GB" sz="1200">
                <a:effectLst/>
                <a:latin typeface="Palatino Linotype" panose="02040502050505030304" pitchFamily="18" charset="0"/>
                <a:ea typeface="Georgia" panose="02040502050405020303" pitchFamily="18" charset="0"/>
                <a:cs typeface="Times New Roman" panose="02020603050405020304" pitchFamily="18" charset="0"/>
              </a:rPr>
              <a:t> </a:t>
            </a:r>
            <a:endParaRPr lang="sv-SE" sz="1200">
              <a:effectLst/>
              <a:latin typeface="Palatino Linotype" panose="02040502050505030304" pitchFamily="18" charset="0"/>
              <a:ea typeface="Georgia" panose="02040502050405020303" pitchFamily="18" charset="0"/>
              <a:cs typeface="Times New Roman" panose="02020603050405020304" pitchFamily="18" charset="0"/>
            </a:endParaRPr>
          </a:p>
          <a:p>
            <a:endParaRPr lang="sv-SE"/>
          </a:p>
        </p:txBody>
      </p:sp>
      <p:sp>
        <p:nvSpPr>
          <p:cNvPr id="4" name="Slide Number Placeholder 3"/>
          <p:cNvSpPr>
            <a:spLocks noGrp="1"/>
          </p:cNvSpPr>
          <p:nvPr>
            <p:ph type="sldNum" sz="quarter" idx="5"/>
          </p:nvPr>
        </p:nvSpPr>
        <p:spPr/>
        <p:txBody>
          <a:bodyPr/>
          <a:lstStyle/>
          <a:p>
            <a:fld id="{F84DB91F-1AD8-437C-8866-3636784D0854}" type="slidenum">
              <a:rPr lang="en-GB" smtClean="0"/>
              <a:t>51</a:t>
            </a:fld>
            <a:endParaRPr lang="en-GB"/>
          </a:p>
        </p:txBody>
      </p:sp>
    </p:spTree>
    <p:extLst>
      <p:ext uri="{BB962C8B-B14F-4D97-AF65-F5344CB8AC3E}">
        <p14:creationId xmlns:p14="http://schemas.microsoft.com/office/powerpoint/2010/main" val="168788441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sv-SE"/>
          </a:p>
        </p:txBody>
      </p:sp>
      <p:sp>
        <p:nvSpPr>
          <p:cNvPr id="4" name="Slide Number Placeholder 3"/>
          <p:cNvSpPr>
            <a:spLocks noGrp="1"/>
          </p:cNvSpPr>
          <p:nvPr>
            <p:ph type="sldNum" sz="quarter" idx="5"/>
          </p:nvPr>
        </p:nvSpPr>
        <p:spPr/>
        <p:txBody>
          <a:bodyPr/>
          <a:lstStyle/>
          <a:p>
            <a:fld id="{F84DB91F-1AD8-437C-8866-3636784D0854}" type="slidenum">
              <a:rPr lang="en-GB" smtClean="0"/>
              <a:t>52</a:t>
            </a:fld>
            <a:endParaRPr lang="en-GB"/>
          </a:p>
        </p:txBody>
      </p:sp>
    </p:spTree>
    <p:extLst>
      <p:ext uri="{BB962C8B-B14F-4D97-AF65-F5344CB8AC3E}">
        <p14:creationId xmlns:p14="http://schemas.microsoft.com/office/powerpoint/2010/main" val="237504458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fld id="{F84DB91F-1AD8-437C-8866-3636784D0854}" type="slidenum">
              <a:rPr lang="en-GB" smtClean="0"/>
              <a:t>53</a:t>
            </a:fld>
            <a:endParaRPr lang="en-GB"/>
          </a:p>
        </p:txBody>
      </p:sp>
    </p:spTree>
    <p:extLst>
      <p:ext uri="{BB962C8B-B14F-4D97-AF65-F5344CB8AC3E}">
        <p14:creationId xmlns:p14="http://schemas.microsoft.com/office/powerpoint/2010/main" val="2194036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solidFill>
                <a:schemeClr val="tx1"/>
              </a:solidFill>
            </a:endParaRPr>
          </a:p>
        </p:txBody>
      </p:sp>
      <p:sp>
        <p:nvSpPr>
          <p:cNvPr id="4" name="Slide Number Placeholder 3"/>
          <p:cNvSpPr>
            <a:spLocks noGrp="1"/>
          </p:cNvSpPr>
          <p:nvPr>
            <p:ph type="sldNum" sz="quarter" idx="5"/>
          </p:nvPr>
        </p:nvSpPr>
        <p:spPr/>
        <p:txBody>
          <a:bodyPr/>
          <a:lstStyle/>
          <a:p>
            <a:fld id="{F84DB91F-1AD8-437C-8866-3636784D0854}" type="slidenum">
              <a:rPr lang="en-GB" smtClean="0"/>
              <a:t>5</a:t>
            </a:fld>
            <a:endParaRPr lang="en-GB"/>
          </a:p>
        </p:txBody>
      </p:sp>
    </p:spTree>
    <p:extLst>
      <p:ext uri="{BB962C8B-B14F-4D97-AF65-F5344CB8AC3E}">
        <p14:creationId xmlns:p14="http://schemas.microsoft.com/office/powerpoint/2010/main" val="312917419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n-GB" sz="1800" u="none">
                <a:solidFill>
                  <a:srgbClr val="008080"/>
                </a:solidFill>
                <a:effectLst/>
                <a:latin typeface="Times New Roman" panose="02020603050405020304" pitchFamily="18" charset="0"/>
                <a:ea typeface="Times New Roman" panose="02020603050405020304" pitchFamily="18" charset="0"/>
              </a:rPr>
              <a:t>In the steel sector, two end users are involved: FENO and SILCOTUB. In both cases the activities will be </a:t>
            </a:r>
            <a:r>
              <a:rPr lang="en-GB" sz="1800" u="none" err="1">
                <a:solidFill>
                  <a:srgbClr val="008080"/>
                </a:solidFill>
                <a:effectLst/>
                <a:latin typeface="Times New Roman" panose="02020603050405020304" pitchFamily="18" charset="0"/>
                <a:ea typeface="Times New Roman" panose="02020603050405020304" pitchFamily="18" charset="0"/>
              </a:rPr>
              <a:t>centered</a:t>
            </a:r>
            <a:r>
              <a:rPr lang="en-GB" sz="1800" u="none">
                <a:solidFill>
                  <a:srgbClr val="008080"/>
                </a:solidFill>
                <a:effectLst/>
                <a:latin typeface="Times New Roman" panose="02020603050405020304" pitchFamily="18" charset="0"/>
                <a:ea typeface="Times New Roman" panose="02020603050405020304" pitchFamily="18" charset="0"/>
              </a:rPr>
              <a:t> in the Electrical Arc furnace where circular economy concepts will be applied. In the case of FENO, biochar and plastic grains will substitute the use of fossil fuel for combustion. At the same time, anthracite will be replaced by biochar as Carbon source. so that, the injection system and burner are required to be modified. Whereas in </a:t>
            </a:r>
            <a:r>
              <a:rPr lang="en-GB" sz="1800" u="none" err="1">
                <a:solidFill>
                  <a:srgbClr val="008080"/>
                </a:solidFill>
                <a:effectLst/>
                <a:latin typeface="Times New Roman" panose="02020603050405020304" pitchFamily="18" charset="0"/>
                <a:ea typeface="Times New Roman" panose="02020603050405020304" pitchFamily="18" charset="0"/>
              </a:rPr>
              <a:t>Silcotub</a:t>
            </a:r>
            <a:r>
              <a:rPr lang="en-GB" sz="1800" u="none">
                <a:solidFill>
                  <a:srgbClr val="008080"/>
                </a:solidFill>
                <a:effectLst/>
                <a:latin typeface="Times New Roman" panose="02020603050405020304" pitchFamily="18" charset="0"/>
                <a:ea typeface="Times New Roman" panose="02020603050405020304" pitchFamily="18" charset="0"/>
              </a:rPr>
              <a:t>, rubber and plastic injection will be used as energy provider in the melting process. In addition, SILCOTUB will intend to replace raw materials incorporating sludges and dust in the furnace. In both cases a reduction of GHG are expected and as I mentioned previously the implementation of circular economy concepts will support the reduction of feedstock. </a:t>
            </a:r>
            <a:endParaRPr lang="en-GB"/>
          </a:p>
        </p:txBody>
      </p:sp>
      <p:sp>
        <p:nvSpPr>
          <p:cNvPr id="4" name="Marcador de número de diapositiva 3"/>
          <p:cNvSpPr>
            <a:spLocks noGrp="1"/>
          </p:cNvSpPr>
          <p:nvPr>
            <p:ph type="sldNum" sz="quarter" idx="5"/>
          </p:nvPr>
        </p:nvSpPr>
        <p:spPr/>
        <p:txBody>
          <a:bodyPr/>
          <a:lstStyle/>
          <a:p>
            <a:fld id="{F84DB91F-1AD8-437C-8866-3636784D0854}" type="slidenum">
              <a:rPr lang="en-GB" smtClean="0"/>
              <a:t>54</a:t>
            </a:fld>
            <a:endParaRPr lang="en-GB"/>
          </a:p>
        </p:txBody>
      </p:sp>
    </p:spTree>
    <p:extLst>
      <p:ext uri="{BB962C8B-B14F-4D97-AF65-F5344CB8AC3E}">
        <p14:creationId xmlns:p14="http://schemas.microsoft.com/office/powerpoint/2010/main" val="378262700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sv-SE" sz="1800">
              <a:effectLst/>
              <a:latin typeface="Arial MT"/>
              <a:ea typeface="Arial MT"/>
              <a:cs typeface="Arial MT"/>
            </a:endParaRPr>
          </a:p>
        </p:txBody>
      </p:sp>
      <p:sp>
        <p:nvSpPr>
          <p:cNvPr id="4" name="Slide Number Placeholder 3"/>
          <p:cNvSpPr>
            <a:spLocks noGrp="1"/>
          </p:cNvSpPr>
          <p:nvPr>
            <p:ph type="sldNum" sz="quarter" idx="5"/>
          </p:nvPr>
        </p:nvSpPr>
        <p:spPr/>
        <p:txBody>
          <a:bodyPr/>
          <a:lstStyle/>
          <a:p>
            <a:fld id="{F84DB91F-1AD8-437C-8866-3636784D0854}" type="slidenum">
              <a:rPr lang="en-GB" smtClean="0"/>
              <a:t>55</a:t>
            </a:fld>
            <a:endParaRPr lang="en-GB"/>
          </a:p>
        </p:txBody>
      </p:sp>
    </p:spTree>
    <p:extLst>
      <p:ext uri="{BB962C8B-B14F-4D97-AF65-F5344CB8AC3E}">
        <p14:creationId xmlns:p14="http://schemas.microsoft.com/office/powerpoint/2010/main" val="50909993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71120" marR="294640" algn="just">
              <a:lnSpc>
                <a:spcPct val="125000"/>
              </a:lnSpc>
              <a:spcBef>
                <a:spcPts val="470"/>
              </a:spcBef>
              <a:spcAft>
                <a:spcPts val="0"/>
              </a:spcAft>
            </a:pPr>
            <a:r>
              <a:rPr lang="en-US" sz="1200">
                <a:effectLst/>
                <a:latin typeface="Arial MT"/>
                <a:ea typeface="Arial MT"/>
                <a:cs typeface="Arial MT"/>
              </a:rPr>
              <a:t>Liquid steel production is centered around the Electric Arc Furnace</a:t>
            </a:r>
            <a:r>
              <a:rPr lang="en-US" sz="1200" spc="5">
                <a:effectLst/>
                <a:latin typeface="Arial MT"/>
                <a:ea typeface="Arial MT"/>
                <a:cs typeface="Arial MT"/>
              </a:rPr>
              <a:t> (</a:t>
            </a:r>
            <a:r>
              <a:rPr lang="en-US" sz="1200">
                <a:effectLst/>
                <a:latin typeface="Arial MT"/>
                <a:ea typeface="Arial MT"/>
                <a:cs typeface="Arial MT"/>
              </a:rPr>
              <a:t>EAF) operation.</a:t>
            </a:r>
          </a:p>
          <a:p>
            <a:pPr marL="414020" marR="294640" indent="-342900" algn="just">
              <a:lnSpc>
                <a:spcPct val="125000"/>
              </a:lnSpc>
              <a:spcBef>
                <a:spcPts val="470"/>
              </a:spcBef>
              <a:buFont typeface="+mj-lt"/>
              <a:buAutoNum type="arabicPeriod"/>
            </a:pPr>
            <a:r>
              <a:rPr lang="en-US">
                <a:latin typeface="Arial MT"/>
                <a:ea typeface="Arial MT"/>
                <a:cs typeface="Arial MT"/>
              </a:rPr>
              <a:t>T</a:t>
            </a:r>
            <a:r>
              <a:rPr lang="en-US" sz="1200">
                <a:effectLst/>
                <a:latin typeface="Arial MT"/>
                <a:ea typeface="Arial MT"/>
                <a:cs typeface="Arial MT"/>
              </a:rPr>
              <a:t>he steel scrap is first sorted and charged into</a:t>
            </a:r>
            <a:r>
              <a:rPr lang="en-US" sz="1200" spc="5">
                <a:effectLst/>
                <a:latin typeface="Arial MT"/>
                <a:ea typeface="Arial MT"/>
                <a:cs typeface="Arial MT"/>
              </a:rPr>
              <a:t> </a:t>
            </a:r>
            <a:r>
              <a:rPr lang="en-US" sz="1200" spc="-5">
                <a:effectLst/>
                <a:latin typeface="Arial MT"/>
                <a:ea typeface="Arial MT"/>
                <a:cs typeface="Arial MT"/>
              </a:rPr>
              <a:t>dedicated</a:t>
            </a:r>
            <a:r>
              <a:rPr lang="en-US" sz="1200" spc="-55">
                <a:effectLst/>
                <a:latin typeface="Arial MT"/>
                <a:ea typeface="Arial MT"/>
                <a:cs typeface="Arial MT"/>
              </a:rPr>
              <a:t> </a:t>
            </a:r>
            <a:r>
              <a:rPr lang="en-US" sz="1200">
                <a:effectLst/>
                <a:latin typeface="Arial MT"/>
                <a:ea typeface="Arial MT"/>
                <a:cs typeface="Arial MT"/>
              </a:rPr>
              <a:t>scrap</a:t>
            </a:r>
            <a:r>
              <a:rPr lang="en-US" sz="1200" spc="-75">
                <a:effectLst/>
                <a:latin typeface="Arial MT"/>
                <a:ea typeface="Arial MT"/>
                <a:cs typeface="Arial MT"/>
              </a:rPr>
              <a:t> </a:t>
            </a:r>
            <a:r>
              <a:rPr lang="en-US" sz="1200">
                <a:effectLst/>
                <a:latin typeface="Arial MT"/>
                <a:ea typeface="Arial MT"/>
                <a:cs typeface="Arial MT"/>
              </a:rPr>
              <a:t>buckets</a:t>
            </a:r>
          </a:p>
          <a:p>
            <a:pPr marL="414020" marR="294640" indent="-342900" algn="just">
              <a:lnSpc>
                <a:spcPct val="125000"/>
              </a:lnSpc>
              <a:spcBef>
                <a:spcPts val="470"/>
              </a:spcBef>
              <a:buFont typeface="+mj-lt"/>
              <a:buAutoNum type="arabicPeriod"/>
            </a:pPr>
            <a:r>
              <a:rPr lang="en-US" sz="1200" spc="-75">
                <a:effectLst/>
                <a:latin typeface="Arial MT"/>
                <a:ea typeface="Arial MT"/>
                <a:cs typeface="Arial MT"/>
              </a:rPr>
              <a:t> </a:t>
            </a:r>
            <a:r>
              <a:rPr lang="en-US" sz="1200">
                <a:effectLst/>
                <a:latin typeface="Arial MT"/>
                <a:ea typeface="Arial MT"/>
                <a:cs typeface="Arial MT"/>
              </a:rPr>
              <a:t>Scrap</a:t>
            </a:r>
            <a:r>
              <a:rPr lang="en-US" sz="1200" spc="-75">
                <a:effectLst/>
                <a:latin typeface="Arial MT"/>
                <a:ea typeface="Arial MT"/>
                <a:cs typeface="Arial MT"/>
              </a:rPr>
              <a:t> </a:t>
            </a:r>
            <a:r>
              <a:rPr lang="en-US" sz="1200">
                <a:effectLst/>
                <a:latin typeface="Arial MT"/>
                <a:ea typeface="Arial MT"/>
                <a:cs typeface="Arial MT"/>
              </a:rPr>
              <a:t>buckets are</a:t>
            </a:r>
            <a:r>
              <a:rPr lang="en-US" sz="1200" spc="-50">
                <a:effectLst/>
                <a:latin typeface="Arial MT"/>
                <a:ea typeface="Arial MT"/>
                <a:cs typeface="Arial MT"/>
              </a:rPr>
              <a:t> </a:t>
            </a:r>
            <a:r>
              <a:rPr lang="en-US" sz="1200">
                <a:effectLst/>
                <a:latin typeface="Arial MT"/>
                <a:ea typeface="Arial MT"/>
                <a:cs typeface="Arial MT"/>
              </a:rPr>
              <a:t>conveyed</a:t>
            </a:r>
            <a:r>
              <a:rPr lang="en-US" sz="1200" spc="-55">
                <a:effectLst/>
                <a:latin typeface="Arial MT"/>
                <a:ea typeface="Arial MT"/>
                <a:cs typeface="Arial MT"/>
              </a:rPr>
              <a:t> </a:t>
            </a:r>
            <a:r>
              <a:rPr lang="en-US" sz="1200">
                <a:effectLst/>
                <a:latin typeface="Arial MT"/>
                <a:ea typeface="Arial MT"/>
                <a:cs typeface="Arial MT"/>
              </a:rPr>
              <a:t>to</a:t>
            </a:r>
            <a:r>
              <a:rPr lang="en-US" sz="1200" spc="-75">
                <a:effectLst/>
                <a:latin typeface="Arial MT"/>
                <a:ea typeface="Arial MT"/>
                <a:cs typeface="Arial MT"/>
              </a:rPr>
              <a:t> </a:t>
            </a:r>
            <a:r>
              <a:rPr lang="en-US" sz="1200">
                <a:effectLst/>
                <a:latin typeface="Arial MT"/>
                <a:ea typeface="Arial MT"/>
                <a:cs typeface="Arial MT"/>
              </a:rPr>
              <a:t>the</a:t>
            </a:r>
            <a:r>
              <a:rPr lang="en-US" sz="1200" spc="-50">
                <a:effectLst/>
                <a:latin typeface="Arial MT"/>
                <a:ea typeface="Arial MT"/>
                <a:cs typeface="Arial MT"/>
              </a:rPr>
              <a:t> </a:t>
            </a:r>
            <a:r>
              <a:rPr lang="en-US" sz="1200">
                <a:effectLst/>
                <a:latin typeface="Arial MT"/>
                <a:ea typeface="Arial MT"/>
                <a:cs typeface="Arial MT"/>
              </a:rPr>
              <a:t>melting</a:t>
            </a:r>
            <a:r>
              <a:rPr lang="en-US" sz="1200" spc="-50">
                <a:effectLst/>
                <a:latin typeface="Arial MT"/>
                <a:ea typeface="Arial MT"/>
                <a:cs typeface="Arial MT"/>
              </a:rPr>
              <a:t> </a:t>
            </a:r>
            <a:r>
              <a:rPr lang="en-US" sz="1200">
                <a:effectLst/>
                <a:latin typeface="Arial MT"/>
                <a:ea typeface="Arial MT"/>
                <a:cs typeface="Arial MT"/>
              </a:rPr>
              <a:t>bay</a:t>
            </a:r>
            <a:r>
              <a:rPr lang="en-US" sz="1200" spc="-65">
                <a:effectLst/>
                <a:latin typeface="Arial MT"/>
                <a:ea typeface="Arial MT"/>
                <a:cs typeface="Arial MT"/>
              </a:rPr>
              <a:t> </a:t>
            </a:r>
            <a:r>
              <a:rPr lang="en-US" sz="1200">
                <a:effectLst/>
                <a:latin typeface="Arial MT"/>
                <a:ea typeface="Arial MT"/>
                <a:cs typeface="Arial MT"/>
              </a:rPr>
              <a:t>for</a:t>
            </a:r>
            <a:r>
              <a:rPr lang="en-US" sz="1200" spc="-65">
                <a:effectLst/>
                <a:latin typeface="Arial MT"/>
                <a:ea typeface="Arial MT"/>
                <a:cs typeface="Arial MT"/>
              </a:rPr>
              <a:t> </a:t>
            </a:r>
            <a:r>
              <a:rPr lang="en-US" sz="1200">
                <a:effectLst/>
                <a:latin typeface="Arial MT"/>
                <a:ea typeface="Arial MT"/>
                <a:cs typeface="Arial MT"/>
              </a:rPr>
              <a:t>further</a:t>
            </a:r>
            <a:r>
              <a:rPr lang="en-US" sz="1200" spc="-65">
                <a:effectLst/>
                <a:latin typeface="Arial MT"/>
                <a:ea typeface="Arial MT"/>
                <a:cs typeface="Arial MT"/>
              </a:rPr>
              <a:t> </a:t>
            </a:r>
            <a:r>
              <a:rPr lang="en-US" sz="1200">
                <a:effectLst/>
                <a:latin typeface="Arial MT"/>
                <a:ea typeface="Arial MT"/>
                <a:cs typeface="Arial MT"/>
              </a:rPr>
              <a:t>introduction</a:t>
            </a:r>
            <a:r>
              <a:rPr lang="en-US" sz="1200" spc="-50">
                <a:effectLst/>
                <a:latin typeface="Arial MT"/>
                <a:ea typeface="Arial MT"/>
                <a:cs typeface="Arial MT"/>
              </a:rPr>
              <a:t> </a:t>
            </a:r>
            <a:r>
              <a:rPr lang="en-US" sz="1200">
                <a:effectLst/>
                <a:latin typeface="Arial MT"/>
                <a:ea typeface="Arial MT"/>
                <a:cs typeface="Arial MT"/>
              </a:rPr>
              <a:t>into</a:t>
            </a:r>
            <a:r>
              <a:rPr lang="en-US" sz="1200" spc="-50">
                <a:effectLst/>
                <a:latin typeface="Arial MT"/>
                <a:ea typeface="Arial MT"/>
                <a:cs typeface="Arial MT"/>
              </a:rPr>
              <a:t> </a:t>
            </a:r>
            <a:r>
              <a:rPr lang="en-US" sz="1200">
                <a:effectLst/>
                <a:latin typeface="Arial MT"/>
                <a:ea typeface="Arial MT"/>
                <a:cs typeface="Arial MT"/>
              </a:rPr>
              <a:t>the</a:t>
            </a:r>
            <a:r>
              <a:rPr lang="en-US" sz="1200" spc="-55">
                <a:effectLst/>
                <a:latin typeface="Arial MT"/>
                <a:ea typeface="Arial MT"/>
                <a:cs typeface="Arial MT"/>
              </a:rPr>
              <a:t> </a:t>
            </a:r>
            <a:r>
              <a:rPr lang="en-US" sz="1200">
                <a:effectLst/>
                <a:latin typeface="Arial MT"/>
                <a:ea typeface="Arial MT"/>
                <a:cs typeface="Arial MT"/>
              </a:rPr>
              <a:t>EAF,</a:t>
            </a:r>
            <a:r>
              <a:rPr lang="en-US" sz="1200" spc="-295">
                <a:effectLst/>
                <a:latin typeface="Arial MT"/>
                <a:ea typeface="Arial MT"/>
                <a:cs typeface="Arial MT"/>
              </a:rPr>
              <a:t> </a:t>
            </a:r>
            <a:r>
              <a:rPr lang="en-US" sz="1200">
                <a:effectLst/>
                <a:latin typeface="Arial MT"/>
                <a:ea typeface="Arial MT"/>
                <a:cs typeface="Arial MT"/>
              </a:rPr>
              <a:t>where</a:t>
            </a:r>
            <a:r>
              <a:rPr lang="en-US" sz="1200" spc="-50">
                <a:effectLst/>
                <a:latin typeface="Arial MT"/>
                <a:ea typeface="Arial MT"/>
                <a:cs typeface="Arial MT"/>
              </a:rPr>
              <a:t> </a:t>
            </a:r>
            <a:r>
              <a:rPr lang="en-US" sz="1200">
                <a:effectLst/>
                <a:latin typeface="Arial MT"/>
                <a:ea typeface="Arial MT"/>
                <a:cs typeface="Arial MT"/>
              </a:rPr>
              <a:t>the</a:t>
            </a:r>
            <a:r>
              <a:rPr lang="en-US" sz="1200" spc="-25">
                <a:effectLst/>
                <a:latin typeface="Arial MT"/>
                <a:ea typeface="Arial MT"/>
                <a:cs typeface="Arial MT"/>
              </a:rPr>
              <a:t> </a:t>
            </a:r>
            <a:r>
              <a:rPr lang="en-US" sz="1200">
                <a:effectLst/>
                <a:latin typeface="Arial MT"/>
                <a:ea typeface="Arial MT"/>
                <a:cs typeface="Arial MT"/>
              </a:rPr>
              <a:t>main</a:t>
            </a:r>
            <a:r>
              <a:rPr lang="en-US" sz="1200" spc="-25">
                <a:effectLst/>
                <a:latin typeface="Arial MT"/>
                <a:ea typeface="Arial MT"/>
                <a:cs typeface="Arial MT"/>
              </a:rPr>
              <a:t> </a:t>
            </a:r>
            <a:r>
              <a:rPr lang="en-US" sz="1200">
                <a:effectLst/>
                <a:latin typeface="Arial MT"/>
                <a:ea typeface="Arial MT"/>
                <a:cs typeface="Arial MT"/>
              </a:rPr>
              <a:t>chemical</a:t>
            </a:r>
            <a:r>
              <a:rPr lang="en-US" sz="1200" spc="-40">
                <a:effectLst/>
                <a:latin typeface="Arial MT"/>
                <a:ea typeface="Arial MT"/>
                <a:cs typeface="Arial MT"/>
              </a:rPr>
              <a:t> </a:t>
            </a:r>
            <a:r>
              <a:rPr lang="en-US" sz="1200">
                <a:effectLst/>
                <a:latin typeface="Arial MT"/>
                <a:ea typeface="Arial MT"/>
                <a:cs typeface="Arial MT"/>
              </a:rPr>
              <a:t>reactions</a:t>
            </a:r>
            <a:r>
              <a:rPr lang="en-US" sz="1200" spc="-60">
                <a:effectLst/>
                <a:latin typeface="Arial MT"/>
                <a:ea typeface="Arial MT"/>
                <a:cs typeface="Arial MT"/>
              </a:rPr>
              <a:t> </a:t>
            </a:r>
            <a:r>
              <a:rPr lang="en-US" sz="1200">
                <a:effectLst/>
                <a:latin typeface="Arial MT"/>
                <a:ea typeface="Arial MT"/>
                <a:cs typeface="Arial MT"/>
              </a:rPr>
              <a:t>will</a:t>
            </a:r>
            <a:r>
              <a:rPr lang="en-US" sz="1200" spc="-40">
                <a:effectLst/>
                <a:latin typeface="Arial MT"/>
                <a:ea typeface="Arial MT"/>
                <a:cs typeface="Arial MT"/>
              </a:rPr>
              <a:t> </a:t>
            </a:r>
            <a:r>
              <a:rPr lang="en-US" sz="1200">
                <a:effectLst/>
                <a:latin typeface="Arial MT"/>
                <a:ea typeface="Arial MT"/>
                <a:cs typeface="Arial MT"/>
              </a:rPr>
              <a:t>occur.</a:t>
            </a:r>
            <a:r>
              <a:rPr lang="en-US" sz="1200" spc="-30">
                <a:effectLst/>
                <a:latin typeface="Arial MT"/>
                <a:ea typeface="Arial MT"/>
                <a:cs typeface="Arial MT"/>
              </a:rPr>
              <a:t> </a:t>
            </a:r>
          </a:p>
          <a:p>
            <a:pPr marL="414020" marR="294640" indent="-342900" algn="just">
              <a:lnSpc>
                <a:spcPct val="125000"/>
              </a:lnSpc>
              <a:spcBef>
                <a:spcPts val="470"/>
              </a:spcBef>
              <a:buFont typeface="+mj-lt"/>
              <a:buAutoNum type="arabicPeriod"/>
            </a:pPr>
            <a:r>
              <a:rPr lang="en-US" sz="1200">
                <a:effectLst/>
                <a:latin typeface="Arial MT"/>
                <a:ea typeface="Arial MT"/>
                <a:cs typeface="Arial MT"/>
              </a:rPr>
              <a:t>At the end of each melt, the liquid steel is processed in the Ladle Furnace plant, where the final</a:t>
            </a:r>
            <a:r>
              <a:rPr lang="en-US" sz="1200" spc="5">
                <a:effectLst/>
                <a:latin typeface="Arial MT"/>
                <a:ea typeface="Arial MT"/>
                <a:cs typeface="Arial MT"/>
              </a:rPr>
              <a:t> </a:t>
            </a:r>
            <a:r>
              <a:rPr lang="en-US" sz="1200">
                <a:effectLst/>
                <a:latin typeface="Arial MT"/>
                <a:ea typeface="Arial MT"/>
                <a:cs typeface="Arial MT"/>
              </a:rPr>
              <a:t>chemical and thermal adjustments are made.</a:t>
            </a:r>
          </a:p>
          <a:p>
            <a:pPr marL="414020" marR="294640" indent="-342900" algn="just">
              <a:lnSpc>
                <a:spcPct val="125000"/>
              </a:lnSpc>
              <a:spcBef>
                <a:spcPts val="470"/>
              </a:spcBef>
              <a:buFont typeface="+mj-lt"/>
              <a:buAutoNum type="arabicPeriod"/>
            </a:pPr>
            <a:r>
              <a:rPr lang="en-US" sz="1200">
                <a:effectLst/>
                <a:latin typeface="Arial MT"/>
                <a:ea typeface="Arial MT"/>
                <a:cs typeface="Arial MT"/>
              </a:rPr>
              <a:t> The ladle is then carried to the Continuous Casting</a:t>
            </a:r>
            <a:r>
              <a:rPr lang="en-US" sz="1200" spc="5">
                <a:effectLst/>
                <a:latin typeface="Arial MT"/>
                <a:ea typeface="Arial MT"/>
                <a:cs typeface="Arial MT"/>
              </a:rPr>
              <a:t> </a:t>
            </a:r>
            <a:r>
              <a:rPr lang="en-US" sz="1200">
                <a:effectLst/>
                <a:latin typeface="Arial MT"/>
                <a:ea typeface="Arial MT"/>
                <a:cs typeface="Arial MT"/>
              </a:rPr>
              <a:t>machine where the liquid steel becomes solid in the shape of round blooms (140 – 270 mm) and</a:t>
            </a:r>
            <a:r>
              <a:rPr lang="en-US" sz="1200" spc="5">
                <a:effectLst/>
                <a:latin typeface="Arial MT"/>
                <a:ea typeface="Arial MT"/>
                <a:cs typeface="Arial MT"/>
              </a:rPr>
              <a:t> </a:t>
            </a:r>
            <a:r>
              <a:rPr lang="en-US" sz="1200">
                <a:effectLst/>
                <a:latin typeface="Arial MT"/>
                <a:ea typeface="Arial MT"/>
                <a:cs typeface="Arial MT"/>
              </a:rPr>
              <a:t>then</a:t>
            </a:r>
            <a:r>
              <a:rPr lang="en-US" sz="1200" spc="10">
                <a:effectLst/>
                <a:latin typeface="Arial MT"/>
                <a:ea typeface="Arial MT"/>
                <a:cs typeface="Arial MT"/>
              </a:rPr>
              <a:t> </a:t>
            </a:r>
            <a:r>
              <a:rPr lang="en-US" sz="1200">
                <a:effectLst/>
                <a:latin typeface="Arial MT"/>
                <a:ea typeface="Arial MT"/>
                <a:cs typeface="Arial MT"/>
              </a:rPr>
              <a:t>cooled</a:t>
            </a:r>
            <a:r>
              <a:rPr lang="en-US" sz="1200" spc="-10">
                <a:effectLst/>
                <a:latin typeface="Arial MT"/>
                <a:ea typeface="Arial MT"/>
                <a:cs typeface="Arial MT"/>
              </a:rPr>
              <a:t> </a:t>
            </a:r>
            <a:r>
              <a:rPr lang="en-US" sz="1200">
                <a:effectLst/>
                <a:latin typeface="Arial MT"/>
                <a:ea typeface="Arial MT"/>
                <a:cs typeface="Arial MT"/>
              </a:rPr>
              <a:t>down</a:t>
            </a:r>
            <a:r>
              <a:rPr lang="en-US" sz="1200" spc="15">
                <a:effectLst/>
                <a:latin typeface="Arial MT"/>
                <a:ea typeface="Arial MT"/>
                <a:cs typeface="Arial MT"/>
              </a:rPr>
              <a:t> </a:t>
            </a:r>
            <a:r>
              <a:rPr lang="en-US" sz="1200">
                <a:effectLst/>
                <a:latin typeface="Arial MT"/>
                <a:ea typeface="Arial MT"/>
                <a:cs typeface="Arial MT"/>
              </a:rPr>
              <a:t>to</a:t>
            </a:r>
            <a:r>
              <a:rPr lang="en-US" sz="1200" spc="15">
                <a:effectLst/>
                <a:latin typeface="Arial MT"/>
                <a:ea typeface="Arial MT"/>
                <a:cs typeface="Arial MT"/>
              </a:rPr>
              <a:t> </a:t>
            </a:r>
            <a:r>
              <a:rPr lang="en-US" sz="1200">
                <a:effectLst/>
                <a:latin typeface="Arial MT"/>
                <a:ea typeface="Arial MT"/>
                <a:cs typeface="Arial MT"/>
              </a:rPr>
              <a:t>room</a:t>
            </a:r>
            <a:r>
              <a:rPr lang="en-US" sz="1200" spc="-5">
                <a:effectLst/>
                <a:latin typeface="Arial MT"/>
                <a:ea typeface="Arial MT"/>
                <a:cs typeface="Arial MT"/>
              </a:rPr>
              <a:t> </a:t>
            </a:r>
            <a:r>
              <a:rPr lang="en-US" sz="1200">
                <a:effectLst/>
                <a:latin typeface="Arial MT"/>
                <a:ea typeface="Arial MT"/>
                <a:cs typeface="Arial MT"/>
              </a:rPr>
              <a:t>temperature.</a:t>
            </a:r>
            <a:endParaRPr lang="sv-SE" sz="1200">
              <a:effectLst/>
              <a:latin typeface="Arial MT"/>
              <a:ea typeface="Arial MT"/>
              <a:cs typeface="Arial MT"/>
            </a:endParaRPr>
          </a:p>
          <a:p>
            <a:endParaRPr lang="sv-SE"/>
          </a:p>
        </p:txBody>
      </p:sp>
      <p:sp>
        <p:nvSpPr>
          <p:cNvPr id="4" name="Slide Number Placeholder 3"/>
          <p:cNvSpPr>
            <a:spLocks noGrp="1"/>
          </p:cNvSpPr>
          <p:nvPr>
            <p:ph type="sldNum" sz="quarter" idx="5"/>
          </p:nvPr>
        </p:nvSpPr>
        <p:spPr/>
        <p:txBody>
          <a:bodyPr/>
          <a:lstStyle/>
          <a:p>
            <a:fld id="{F84DB91F-1AD8-437C-8866-3636784D0854}" type="slidenum">
              <a:rPr lang="en-GB" smtClean="0"/>
              <a:t>56</a:t>
            </a:fld>
            <a:endParaRPr lang="en-GB"/>
          </a:p>
        </p:txBody>
      </p:sp>
    </p:spTree>
    <p:extLst>
      <p:ext uri="{BB962C8B-B14F-4D97-AF65-F5344CB8AC3E}">
        <p14:creationId xmlns:p14="http://schemas.microsoft.com/office/powerpoint/2010/main" val="342116539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sv-SE"/>
          </a:p>
        </p:txBody>
      </p:sp>
      <p:sp>
        <p:nvSpPr>
          <p:cNvPr id="4" name="Slide Number Placeholder 3"/>
          <p:cNvSpPr>
            <a:spLocks noGrp="1"/>
          </p:cNvSpPr>
          <p:nvPr>
            <p:ph type="sldNum" sz="quarter" idx="5"/>
          </p:nvPr>
        </p:nvSpPr>
        <p:spPr/>
        <p:txBody>
          <a:bodyPr/>
          <a:lstStyle/>
          <a:p>
            <a:fld id="{F84DB91F-1AD8-437C-8866-3636784D0854}" type="slidenum">
              <a:rPr lang="en-GB" smtClean="0"/>
              <a:t>57</a:t>
            </a:fld>
            <a:endParaRPr lang="en-GB"/>
          </a:p>
        </p:txBody>
      </p:sp>
    </p:spTree>
    <p:extLst>
      <p:ext uri="{BB962C8B-B14F-4D97-AF65-F5344CB8AC3E}">
        <p14:creationId xmlns:p14="http://schemas.microsoft.com/office/powerpoint/2010/main" val="71208730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fld id="{F84DB91F-1AD8-437C-8866-3636784D0854}" type="slidenum">
              <a:rPr lang="en-GB" smtClean="0"/>
              <a:t>58</a:t>
            </a:fld>
            <a:endParaRPr lang="en-GB"/>
          </a:p>
        </p:txBody>
      </p:sp>
    </p:spTree>
    <p:extLst>
      <p:ext uri="{BB962C8B-B14F-4D97-AF65-F5344CB8AC3E}">
        <p14:creationId xmlns:p14="http://schemas.microsoft.com/office/powerpoint/2010/main" val="248016032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n-GB" sz="1800" u="none">
                <a:solidFill>
                  <a:srgbClr val="008080"/>
                </a:solidFill>
                <a:effectLst/>
                <a:latin typeface="Times New Roman" panose="02020603050405020304" pitchFamily="18" charset="0"/>
                <a:ea typeface="Times New Roman" panose="02020603050405020304" pitchFamily="18" charset="0"/>
              </a:rPr>
              <a:t>In the steel sector, two end users are involved: FENO and SILCOTUB. In both cases the activities will be </a:t>
            </a:r>
            <a:r>
              <a:rPr lang="en-GB" sz="1800" u="none" err="1">
                <a:solidFill>
                  <a:srgbClr val="008080"/>
                </a:solidFill>
                <a:effectLst/>
                <a:latin typeface="Times New Roman" panose="02020603050405020304" pitchFamily="18" charset="0"/>
                <a:ea typeface="Times New Roman" panose="02020603050405020304" pitchFamily="18" charset="0"/>
              </a:rPr>
              <a:t>centered</a:t>
            </a:r>
            <a:r>
              <a:rPr lang="en-GB" sz="1800" u="none">
                <a:solidFill>
                  <a:srgbClr val="008080"/>
                </a:solidFill>
                <a:effectLst/>
                <a:latin typeface="Times New Roman" panose="02020603050405020304" pitchFamily="18" charset="0"/>
                <a:ea typeface="Times New Roman" panose="02020603050405020304" pitchFamily="18" charset="0"/>
              </a:rPr>
              <a:t> in the Electrical Arc furnace where circular economy concepts will be applied. In the case of FENO, biochar and plastic grains will substitute the use of fossil fuel for combustion. At the same time, anthracite will be replaced by biochar as Carbon source. so that, the injection system and burner are required to be modified. Whereas in </a:t>
            </a:r>
            <a:r>
              <a:rPr lang="en-GB" sz="1800" u="none" err="1">
                <a:solidFill>
                  <a:srgbClr val="008080"/>
                </a:solidFill>
                <a:effectLst/>
                <a:latin typeface="Times New Roman" panose="02020603050405020304" pitchFamily="18" charset="0"/>
                <a:ea typeface="Times New Roman" panose="02020603050405020304" pitchFamily="18" charset="0"/>
              </a:rPr>
              <a:t>Silcotub</a:t>
            </a:r>
            <a:r>
              <a:rPr lang="en-GB" sz="1800" u="none">
                <a:solidFill>
                  <a:srgbClr val="008080"/>
                </a:solidFill>
                <a:effectLst/>
                <a:latin typeface="Times New Roman" panose="02020603050405020304" pitchFamily="18" charset="0"/>
                <a:ea typeface="Times New Roman" panose="02020603050405020304" pitchFamily="18" charset="0"/>
              </a:rPr>
              <a:t>, rubber and plastic injection will be used as energy provider in the melting process. In addition, SILCOTUB will intend to replace raw materials incorporating sludges and dust in the furnace. In both cases a reduction of GHG are expected and as I mentioned previously the implementation of circular economy concepts will support the reduction of feedstock. </a:t>
            </a:r>
            <a:endParaRPr lang="en-GB"/>
          </a:p>
        </p:txBody>
      </p:sp>
      <p:sp>
        <p:nvSpPr>
          <p:cNvPr id="4" name="Marcador de número de diapositiva 3"/>
          <p:cNvSpPr>
            <a:spLocks noGrp="1"/>
          </p:cNvSpPr>
          <p:nvPr>
            <p:ph type="sldNum" sz="quarter" idx="5"/>
          </p:nvPr>
        </p:nvSpPr>
        <p:spPr/>
        <p:txBody>
          <a:bodyPr/>
          <a:lstStyle/>
          <a:p>
            <a:fld id="{F84DB91F-1AD8-437C-8866-3636784D0854}" type="slidenum">
              <a:rPr lang="en-GB" smtClean="0"/>
              <a:t>59</a:t>
            </a:fld>
            <a:endParaRPr lang="en-GB"/>
          </a:p>
        </p:txBody>
      </p:sp>
    </p:spTree>
    <p:extLst>
      <p:ext uri="{BB962C8B-B14F-4D97-AF65-F5344CB8AC3E}">
        <p14:creationId xmlns:p14="http://schemas.microsoft.com/office/powerpoint/2010/main" val="378262700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err="1"/>
              <a:t>Now</a:t>
            </a:r>
            <a:r>
              <a:rPr lang="sv-SE"/>
              <a:t> </a:t>
            </a:r>
            <a:r>
              <a:rPr lang="sv-SE" err="1"/>
              <a:t>let’s</a:t>
            </a:r>
            <a:r>
              <a:rPr lang="sv-SE"/>
              <a:t> </a:t>
            </a:r>
            <a:r>
              <a:rPr lang="sv-SE" err="1"/>
              <a:t>learn</a:t>
            </a:r>
            <a:r>
              <a:rPr lang="sv-SE"/>
              <a:t> </a:t>
            </a:r>
            <a:r>
              <a:rPr lang="sv-SE" err="1"/>
              <a:t>more</a:t>
            </a:r>
            <a:r>
              <a:rPr lang="sv-SE"/>
              <a:t> </a:t>
            </a:r>
            <a:r>
              <a:rPr lang="sv-SE" err="1"/>
              <a:t>about</a:t>
            </a:r>
            <a:r>
              <a:rPr lang="sv-SE"/>
              <a:t> the EU </a:t>
            </a:r>
            <a:r>
              <a:rPr lang="sv-SE" err="1"/>
              <a:t>project</a:t>
            </a:r>
            <a:r>
              <a:rPr lang="sv-SE"/>
              <a:t> RETROFEED and </a:t>
            </a:r>
            <a:r>
              <a:rPr lang="sv-SE" err="1"/>
              <a:t>each</a:t>
            </a:r>
            <a:r>
              <a:rPr lang="sv-SE"/>
              <a:t> </a:t>
            </a:r>
            <a:r>
              <a:rPr lang="sv-SE" err="1"/>
              <a:t>of</a:t>
            </a:r>
            <a:r>
              <a:rPr lang="sv-SE"/>
              <a:t> the 6 demo-sites from the </a:t>
            </a:r>
            <a:r>
              <a:rPr lang="sv-SE" err="1"/>
              <a:t>project</a:t>
            </a:r>
            <a:r>
              <a:rPr lang="sv-SE"/>
              <a:t>.</a:t>
            </a:r>
          </a:p>
          <a:p>
            <a:endParaRPr lang="sv-SE"/>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4DB91F-1AD8-437C-8866-3636784D085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7795542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4DB91F-1AD8-437C-8866-3636784D085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3697252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en-US" sz="1200" b="0" kern="1200">
                <a:solidFill>
                  <a:srgbClr val="FFFFFF"/>
                </a:solidFill>
                <a:latin typeface="+mj-lt"/>
                <a:ea typeface="+mj-ea"/>
                <a:cs typeface="+mj-cs"/>
              </a:rPr>
              <a:t>Expected Impacts in RETROFEED in terms of some of the selected KRIs and KPA. </a:t>
            </a:r>
            <a:endParaRPr lang="sv-SE" b="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4DB91F-1AD8-437C-8866-3636784D085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09008065"/>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719455" algn="just">
              <a:lnSpc>
                <a:spcPct val="125000"/>
              </a:lnSpc>
              <a:spcBef>
                <a:spcPts val="705"/>
              </a:spcBef>
              <a:spcAft>
                <a:spcPts val="0"/>
              </a:spcAft>
            </a:pPr>
            <a:endParaRPr lang="sv-SE" sz="1100">
              <a:effectLst/>
              <a:latin typeface="Arial MT"/>
              <a:ea typeface="Arial MT"/>
              <a:cs typeface="Arial MT"/>
            </a:endParaRPr>
          </a:p>
        </p:txBody>
      </p:sp>
      <p:sp>
        <p:nvSpPr>
          <p:cNvPr id="4" name="Slide Number Placeholder 3"/>
          <p:cNvSpPr>
            <a:spLocks noGrp="1"/>
          </p:cNvSpPr>
          <p:nvPr>
            <p:ph type="sldNum" sz="quarter" idx="5"/>
          </p:nvPr>
        </p:nvSpPr>
        <p:spPr/>
        <p:txBody>
          <a:bodyPr/>
          <a:lstStyle/>
          <a:p>
            <a:fld id="{F84DB91F-1AD8-437C-8866-3636784D0854}" type="slidenum">
              <a:rPr lang="en-GB" smtClean="0"/>
              <a:t>64</a:t>
            </a:fld>
            <a:endParaRPr lang="en-GB"/>
          </a:p>
        </p:txBody>
      </p:sp>
    </p:spTree>
    <p:extLst>
      <p:ext uri="{BB962C8B-B14F-4D97-AF65-F5344CB8AC3E}">
        <p14:creationId xmlns:p14="http://schemas.microsoft.com/office/powerpoint/2010/main" val="39598502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F84DB91F-1AD8-437C-8866-3636784D0854}" type="slidenum">
              <a:rPr lang="en-GB" smtClean="0"/>
              <a:t>6</a:t>
            </a:fld>
            <a:endParaRPr lang="en-GB"/>
          </a:p>
        </p:txBody>
      </p:sp>
    </p:spTree>
    <p:extLst>
      <p:ext uri="{BB962C8B-B14F-4D97-AF65-F5344CB8AC3E}">
        <p14:creationId xmlns:p14="http://schemas.microsoft.com/office/powerpoint/2010/main" val="289729674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718820" algn="just">
              <a:lnSpc>
                <a:spcPct val="125000"/>
              </a:lnSpc>
              <a:spcBef>
                <a:spcPts val="1205"/>
              </a:spcBef>
              <a:spcAft>
                <a:spcPts val="0"/>
              </a:spcAft>
            </a:pPr>
            <a:r>
              <a:rPr lang="en-US" sz="1100" dirty="0">
                <a:effectLst/>
                <a:latin typeface="Arial MT"/>
                <a:ea typeface="Arial MT"/>
                <a:cs typeface="Arial MT"/>
              </a:rPr>
              <a:t>In the RETROFEED project, indicators are used to assess technological changes in the process</a:t>
            </a:r>
            <a:r>
              <a:rPr lang="en-US" sz="1100" spc="5" dirty="0">
                <a:effectLst/>
                <a:latin typeface="Arial MT"/>
                <a:ea typeface="Arial MT"/>
                <a:cs typeface="Arial MT"/>
              </a:rPr>
              <a:t> </a:t>
            </a:r>
            <a:r>
              <a:rPr lang="en-US" sz="1100" dirty="0">
                <a:effectLst/>
                <a:latin typeface="Arial MT"/>
                <a:ea typeface="Arial MT"/>
                <a:cs typeface="Arial MT"/>
              </a:rPr>
              <a:t>industry. A set of criteria can be useful to evaluate the indicators themselves or, at least, to validate</a:t>
            </a:r>
            <a:r>
              <a:rPr lang="en-US" sz="1100" spc="-295" dirty="0">
                <a:effectLst/>
                <a:latin typeface="Arial MT"/>
                <a:ea typeface="Arial MT"/>
                <a:cs typeface="Arial MT"/>
              </a:rPr>
              <a:t> </a:t>
            </a:r>
            <a:r>
              <a:rPr lang="en-US" sz="1100" dirty="0">
                <a:effectLst/>
                <a:latin typeface="Arial MT"/>
                <a:ea typeface="Arial MT"/>
                <a:cs typeface="Arial MT"/>
              </a:rPr>
              <a:t>the set of indicators chosen. Different sets of criteria for indicators have been presented in various</a:t>
            </a:r>
            <a:r>
              <a:rPr lang="en-US" sz="1100" spc="5" dirty="0">
                <a:effectLst/>
                <a:latin typeface="Arial MT"/>
                <a:ea typeface="Arial MT"/>
                <a:cs typeface="Arial MT"/>
              </a:rPr>
              <a:t> </a:t>
            </a:r>
            <a:r>
              <a:rPr lang="en-US" sz="1100" dirty="0">
                <a:effectLst/>
                <a:latin typeface="Arial MT"/>
                <a:ea typeface="Arial MT"/>
                <a:cs typeface="Arial MT"/>
              </a:rPr>
              <a:t>contexts, which have been identified during a literature review. The most relevant findings from this</a:t>
            </a:r>
            <a:r>
              <a:rPr lang="en-US" sz="1100" spc="-295" dirty="0">
                <a:effectLst/>
                <a:latin typeface="Arial MT"/>
                <a:ea typeface="Arial MT"/>
                <a:cs typeface="Arial MT"/>
              </a:rPr>
              <a:t> </a:t>
            </a:r>
            <a:r>
              <a:rPr lang="en-US" sz="1100" dirty="0">
                <a:effectLst/>
                <a:latin typeface="Arial MT"/>
                <a:ea typeface="Arial MT"/>
                <a:cs typeface="Arial MT"/>
              </a:rPr>
              <a:t>review</a:t>
            </a:r>
            <a:r>
              <a:rPr lang="en-US" sz="1100" spc="-30" dirty="0">
                <a:effectLst/>
                <a:latin typeface="Arial MT"/>
                <a:ea typeface="Arial MT"/>
                <a:cs typeface="Arial MT"/>
              </a:rPr>
              <a:t> </a:t>
            </a:r>
            <a:r>
              <a:rPr lang="en-US" sz="1100" dirty="0">
                <a:effectLst/>
                <a:latin typeface="Arial MT"/>
                <a:ea typeface="Arial MT"/>
                <a:cs typeface="Arial MT"/>
              </a:rPr>
              <a:t>are</a:t>
            </a:r>
            <a:r>
              <a:rPr lang="en-US" sz="1100" spc="-30" dirty="0">
                <a:effectLst/>
                <a:latin typeface="Arial MT"/>
                <a:ea typeface="Arial MT"/>
                <a:cs typeface="Arial MT"/>
              </a:rPr>
              <a:t> </a:t>
            </a:r>
            <a:r>
              <a:rPr lang="en-US" sz="1100" dirty="0">
                <a:effectLst/>
                <a:latin typeface="Arial MT"/>
                <a:ea typeface="Arial MT"/>
                <a:cs typeface="Arial MT"/>
              </a:rPr>
              <a:t>presented</a:t>
            </a:r>
            <a:r>
              <a:rPr lang="en-US" sz="1100" spc="-30" dirty="0">
                <a:effectLst/>
                <a:latin typeface="Arial MT"/>
                <a:ea typeface="Arial MT"/>
                <a:cs typeface="Arial MT"/>
              </a:rPr>
              <a:t> </a:t>
            </a:r>
            <a:r>
              <a:rPr lang="en-US" sz="1100" dirty="0">
                <a:effectLst/>
                <a:latin typeface="Arial MT"/>
                <a:ea typeface="Arial MT"/>
                <a:cs typeface="Arial MT"/>
              </a:rPr>
              <a:t>in</a:t>
            </a:r>
            <a:r>
              <a:rPr lang="en-US" sz="1100" spc="-30" dirty="0">
                <a:effectLst/>
                <a:latin typeface="Arial MT"/>
                <a:ea typeface="Arial MT"/>
                <a:cs typeface="Arial MT"/>
              </a:rPr>
              <a:t> </a:t>
            </a:r>
            <a:r>
              <a:rPr lang="en-US" sz="1100" dirty="0">
                <a:effectLst/>
                <a:latin typeface="Arial MT"/>
                <a:ea typeface="Arial MT"/>
                <a:cs typeface="Arial MT"/>
              </a:rPr>
              <a:t>this</a:t>
            </a:r>
            <a:r>
              <a:rPr lang="en-US" sz="1100" spc="-20" dirty="0">
                <a:effectLst/>
                <a:latin typeface="Arial MT"/>
                <a:ea typeface="Arial MT"/>
                <a:cs typeface="Arial MT"/>
              </a:rPr>
              <a:t> </a:t>
            </a:r>
            <a:r>
              <a:rPr lang="en-US" sz="1100" dirty="0">
                <a:effectLst/>
                <a:latin typeface="Arial MT"/>
                <a:ea typeface="Arial MT"/>
                <a:cs typeface="Arial MT"/>
              </a:rPr>
              <a:t>section,</a:t>
            </a:r>
            <a:r>
              <a:rPr lang="en-US" sz="1100" spc="-35" dirty="0">
                <a:effectLst/>
                <a:latin typeface="Arial MT"/>
                <a:ea typeface="Arial MT"/>
                <a:cs typeface="Arial MT"/>
              </a:rPr>
              <a:t> </a:t>
            </a:r>
            <a:r>
              <a:rPr lang="en-US" sz="1100" dirty="0">
                <a:effectLst/>
                <a:latin typeface="Arial MT"/>
                <a:ea typeface="Arial MT"/>
                <a:cs typeface="Arial MT"/>
              </a:rPr>
              <a:t>where</a:t>
            </a:r>
            <a:r>
              <a:rPr lang="en-US" sz="1100" spc="-30" dirty="0">
                <a:effectLst/>
                <a:latin typeface="Arial MT"/>
                <a:ea typeface="Arial MT"/>
                <a:cs typeface="Arial MT"/>
              </a:rPr>
              <a:t> </a:t>
            </a:r>
            <a:r>
              <a:rPr lang="en-US" sz="1100" dirty="0">
                <a:effectLst/>
                <a:latin typeface="Arial MT"/>
                <a:ea typeface="Arial MT"/>
                <a:cs typeface="Arial MT"/>
              </a:rPr>
              <a:t>three</a:t>
            </a:r>
            <a:r>
              <a:rPr lang="en-US" sz="1100" spc="-25" dirty="0">
                <a:effectLst/>
                <a:latin typeface="Arial MT"/>
                <a:ea typeface="Arial MT"/>
                <a:cs typeface="Arial MT"/>
              </a:rPr>
              <a:t> </a:t>
            </a:r>
            <a:r>
              <a:rPr lang="en-US" sz="1100" dirty="0">
                <a:effectLst/>
                <a:latin typeface="Arial MT"/>
                <a:ea typeface="Arial MT"/>
                <a:cs typeface="Arial MT"/>
              </a:rPr>
              <a:t>frameworks</a:t>
            </a:r>
            <a:r>
              <a:rPr lang="en-US" sz="1100" spc="-20" dirty="0">
                <a:effectLst/>
                <a:latin typeface="Arial MT"/>
                <a:ea typeface="Arial MT"/>
                <a:cs typeface="Arial MT"/>
              </a:rPr>
              <a:t> </a:t>
            </a:r>
            <a:r>
              <a:rPr lang="en-US" sz="1100" dirty="0">
                <a:effectLst/>
                <a:latin typeface="Arial MT"/>
                <a:ea typeface="Arial MT"/>
                <a:cs typeface="Arial MT"/>
              </a:rPr>
              <a:t>for</a:t>
            </a:r>
            <a:r>
              <a:rPr lang="en-US" sz="1100" spc="-30" dirty="0">
                <a:effectLst/>
                <a:latin typeface="Arial MT"/>
                <a:ea typeface="Arial MT"/>
                <a:cs typeface="Arial MT"/>
              </a:rPr>
              <a:t> </a:t>
            </a:r>
            <a:r>
              <a:rPr lang="en-US" sz="1100" dirty="0">
                <a:effectLst/>
                <a:latin typeface="Arial MT"/>
                <a:ea typeface="Arial MT"/>
                <a:cs typeface="Arial MT"/>
              </a:rPr>
              <a:t>criteria</a:t>
            </a:r>
            <a:r>
              <a:rPr lang="en-US" sz="1100" spc="-25" dirty="0">
                <a:effectLst/>
                <a:latin typeface="Arial MT"/>
                <a:ea typeface="Arial MT"/>
                <a:cs typeface="Arial MT"/>
              </a:rPr>
              <a:t> </a:t>
            </a:r>
            <a:r>
              <a:rPr lang="en-US" sz="1100" dirty="0">
                <a:effectLst/>
                <a:latin typeface="Arial MT"/>
                <a:ea typeface="Arial MT"/>
                <a:cs typeface="Arial MT"/>
              </a:rPr>
              <a:t>of</a:t>
            </a:r>
            <a:r>
              <a:rPr lang="en-US" sz="1100" spc="-35" dirty="0">
                <a:effectLst/>
                <a:latin typeface="Arial MT"/>
                <a:ea typeface="Arial MT"/>
                <a:cs typeface="Arial MT"/>
              </a:rPr>
              <a:t> </a:t>
            </a:r>
            <a:r>
              <a:rPr lang="en-US" sz="1100" dirty="0">
                <a:effectLst/>
                <a:latin typeface="Arial MT"/>
                <a:ea typeface="Arial MT"/>
                <a:cs typeface="Arial MT"/>
              </a:rPr>
              <a:t>indicators</a:t>
            </a:r>
            <a:r>
              <a:rPr lang="en-US" sz="1100" spc="-25" dirty="0">
                <a:effectLst/>
                <a:latin typeface="Arial MT"/>
                <a:ea typeface="Arial MT"/>
                <a:cs typeface="Arial MT"/>
              </a:rPr>
              <a:t> </a:t>
            </a:r>
            <a:r>
              <a:rPr lang="en-US" sz="1100" dirty="0">
                <a:effectLst/>
                <a:latin typeface="Arial MT"/>
                <a:ea typeface="Arial MT"/>
                <a:cs typeface="Arial MT"/>
              </a:rPr>
              <a:t>are</a:t>
            </a:r>
            <a:r>
              <a:rPr lang="en-US" sz="1100" spc="-30" dirty="0">
                <a:effectLst/>
                <a:latin typeface="Arial MT"/>
                <a:ea typeface="Arial MT"/>
                <a:cs typeface="Arial MT"/>
              </a:rPr>
              <a:t> </a:t>
            </a:r>
            <a:r>
              <a:rPr lang="en-US" sz="1100" dirty="0">
                <a:effectLst/>
                <a:latin typeface="Arial MT"/>
                <a:ea typeface="Arial MT"/>
                <a:cs typeface="Arial MT"/>
              </a:rPr>
              <a:t>introduced</a:t>
            </a:r>
            <a:r>
              <a:rPr lang="en-US" sz="1100" spc="-290" dirty="0">
                <a:effectLst/>
                <a:latin typeface="Arial MT"/>
                <a:ea typeface="Arial MT"/>
                <a:cs typeface="Arial MT"/>
              </a:rPr>
              <a:t> </a:t>
            </a:r>
            <a:r>
              <a:rPr lang="en-US" sz="1100" dirty="0">
                <a:effectLst/>
                <a:latin typeface="Arial MT"/>
                <a:ea typeface="Arial MT"/>
                <a:cs typeface="Arial MT"/>
              </a:rPr>
              <a:t>briefly. These frameworks are used as input in the next step, where the relevant documents from</a:t>
            </a:r>
            <a:r>
              <a:rPr lang="en-US" sz="1100" spc="5" dirty="0">
                <a:effectLst/>
                <a:latin typeface="Arial MT"/>
                <a:ea typeface="Arial MT"/>
                <a:cs typeface="Arial MT"/>
              </a:rPr>
              <a:t> </a:t>
            </a:r>
            <a:r>
              <a:rPr lang="en-US" sz="1100" dirty="0">
                <a:effectLst/>
                <a:latin typeface="Arial MT"/>
                <a:ea typeface="Arial MT"/>
                <a:cs typeface="Arial MT"/>
              </a:rPr>
              <a:t>each</a:t>
            </a:r>
            <a:r>
              <a:rPr lang="en-US" sz="1100" spc="-5" dirty="0">
                <a:effectLst/>
                <a:latin typeface="Arial MT"/>
                <a:ea typeface="Arial MT"/>
                <a:cs typeface="Arial MT"/>
              </a:rPr>
              <a:t> </a:t>
            </a:r>
            <a:r>
              <a:rPr lang="en-US" sz="1100" dirty="0">
                <a:effectLst/>
                <a:latin typeface="Arial MT"/>
                <a:ea typeface="Arial MT"/>
                <a:cs typeface="Arial MT"/>
              </a:rPr>
              <a:t>industrial</a:t>
            </a:r>
            <a:r>
              <a:rPr lang="en-US" sz="1100" spc="-5" dirty="0">
                <a:effectLst/>
                <a:latin typeface="Arial MT"/>
                <a:ea typeface="Arial MT"/>
                <a:cs typeface="Arial MT"/>
              </a:rPr>
              <a:t> </a:t>
            </a:r>
            <a:r>
              <a:rPr lang="en-US" sz="1100" dirty="0">
                <a:effectLst/>
                <a:latin typeface="Arial MT"/>
                <a:ea typeface="Arial MT"/>
                <a:cs typeface="Arial MT"/>
              </a:rPr>
              <a:t>sector</a:t>
            </a:r>
            <a:r>
              <a:rPr lang="en-US" sz="1100" spc="-5" dirty="0">
                <a:effectLst/>
                <a:latin typeface="Arial MT"/>
                <a:ea typeface="Arial MT"/>
                <a:cs typeface="Arial MT"/>
              </a:rPr>
              <a:t> </a:t>
            </a:r>
            <a:r>
              <a:rPr lang="en-US" sz="1100" dirty="0">
                <a:effectLst/>
                <a:latin typeface="Arial MT"/>
                <a:ea typeface="Arial MT"/>
                <a:cs typeface="Arial MT"/>
              </a:rPr>
              <a:t>were</a:t>
            </a:r>
            <a:r>
              <a:rPr lang="en-US" sz="1100" spc="-5" dirty="0">
                <a:effectLst/>
                <a:latin typeface="Arial MT"/>
                <a:ea typeface="Arial MT"/>
                <a:cs typeface="Arial MT"/>
              </a:rPr>
              <a:t> </a:t>
            </a:r>
            <a:r>
              <a:rPr lang="en-US" sz="1100" dirty="0">
                <a:effectLst/>
                <a:latin typeface="Arial MT"/>
                <a:ea typeface="Arial MT"/>
                <a:cs typeface="Arial MT"/>
              </a:rPr>
              <a:t>reviewed, before</a:t>
            </a:r>
            <a:r>
              <a:rPr lang="en-US" sz="1100" spc="-5" dirty="0">
                <a:effectLst/>
                <a:latin typeface="Arial MT"/>
                <a:ea typeface="Arial MT"/>
                <a:cs typeface="Arial MT"/>
              </a:rPr>
              <a:t> </a:t>
            </a:r>
            <a:r>
              <a:rPr lang="en-US" sz="1100" dirty="0">
                <a:effectLst/>
                <a:latin typeface="Arial MT"/>
                <a:ea typeface="Arial MT"/>
                <a:cs typeface="Arial MT"/>
              </a:rPr>
              <a:t>a</a:t>
            </a:r>
            <a:r>
              <a:rPr lang="en-US" sz="1100" spc="-5" dirty="0">
                <a:effectLst/>
                <a:latin typeface="Arial MT"/>
                <a:ea typeface="Arial MT"/>
                <a:cs typeface="Arial MT"/>
              </a:rPr>
              <a:t> </a:t>
            </a:r>
            <a:r>
              <a:rPr lang="en-US" sz="1100" dirty="0">
                <a:effectLst/>
                <a:latin typeface="Arial MT"/>
                <a:ea typeface="Arial MT"/>
                <a:cs typeface="Arial MT"/>
              </a:rPr>
              <a:t>final</a:t>
            </a:r>
            <a:r>
              <a:rPr lang="en-US" sz="1100" spc="-5" dirty="0">
                <a:effectLst/>
                <a:latin typeface="Arial MT"/>
                <a:ea typeface="Arial MT"/>
                <a:cs typeface="Arial MT"/>
              </a:rPr>
              <a:t> </a:t>
            </a:r>
            <a:r>
              <a:rPr lang="en-US" sz="1100" dirty="0">
                <a:effectLst/>
                <a:latin typeface="Arial MT"/>
                <a:ea typeface="Arial MT"/>
                <a:cs typeface="Arial MT"/>
              </a:rPr>
              <a:t>selection</a:t>
            </a:r>
            <a:r>
              <a:rPr lang="en-US" sz="1100" spc="-5" dirty="0">
                <a:effectLst/>
                <a:latin typeface="Arial MT"/>
                <a:ea typeface="Arial MT"/>
                <a:cs typeface="Arial MT"/>
              </a:rPr>
              <a:t> </a:t>
            </a:r>
            <a:r>
              <a:rPr lang="en-US" sz="1100" dirty="0">
                <a:effectLst/>
                <a:latin typeface="Arial MT"/>
                <a:ea typeface="Arial MT"/>
                <a:cs typeface="Arial MT"/>
              </a:rPr>
              <a:t>of</a:t>
            </a:r>
            <a:r>
              <a:rPr lang="en-US" sz="1100" spc="-5" dirty="0">
                <a:effectLst/>
                <a:latin typeface="Arial MT"/>
                <a:ea typeface="Arial MT"/>
                <a:cs typeface="Arial MT"/>
              </a:rPr>
              <a:t> </a:t>
            </a:r>
            <a:r>
              <a:rPr lang="en-US" sz="1100" dirty="0">
                <a:effectLst/>
                <a:latin typeface="Arial MT"/>
                <a:ea typeface="Arial MT"/>
                <a:cs typeface="Arial MT"/>
              </a:rPr>
              <a:t>indicators</a:t>
            </a:r>
            <a:r>
              <a:rPr lang="en-US" sz="1100" spc="-10" dirty="0">
                <a:effectLst/>
                <a:latin typeface="Arial MT"/>
                <a:ea typeface="Arial MT"/>
                <a:cs typeface="Arial MT"/>
              </a:rPr>
              <a:t> </a:t>
            </a:r>
            <a:r>
              <a:rPr lang="en-US" sz="1100" dirty="0">
                <a:effectLst/>
                <a:latin typeface="Arial MT"/>
                <a:ea typeface="Arial MT"/>
                <a:cs typeface="Arial MT"/>
              </a:rPr>
              <a:t>was</a:t>
            </a:r>
            <a:r>
              <a:rPr lang="en-US" sz="1100" spc="-5" dirty="0">
                <a:effectLst/>
                <a:latin typeface="Arial MT"/>
                <a:ea typeface="Arial MT"/>
                <a:cs typeface="Arial MT"/>
              </a:rPr>
              <a:t> </a:t>
            </a:r>
            <a:r>
              <a:rPr lang="en-US" sz="1100" dirty="0">
                <a:effectLst/>
                <a:latin typeface="Arial MT"/>
                <a:ea typeface="Arial MT"/>
                <a:cs typeface="Arial MT"/>
              </a:rPr>
              <a:t>made.</a:t>
            </a:r>
            <a:endParaRPr lang="sv-SE" sz="1100" dirty="0">
              <a:effectLst/>
              <a:latin typeface="Arial MT"/>
              <a:ea typeface="Arial MT"/>
              <a:cs typeface="Arial MT"/>
            </a:endParaRPr>
          </a:p>
          <a:p>
            <a:pPr>
              <a:spcBef>
                <a:spcPts val="50"/>
              </a:spcBef>
            </a:pPr>
            <a:r>
              <a:rPr lang="en-US" sz="1000" dirty="0">
                <a:effectLst/>
                <a:latin typeface="Arial MT"/>
                <a:ea typeface="Arial MT"/>
                <a:cs typeface="Arial MT"/>
              </a:rPr>
              <a:t> </a:t>
            </a:r>
            <a:endParaRPr lang="sv-SE" sz="1100" dirty="0">
              <a:effectLst/>
              <a:latin typeface="Arial MT"/>
              <a:ea typeface="Arial MT"/>
              <a:cs typeface="Arial MT"/>
            </a:endParaRPr>
          </a:p>
          <a:p>
            <a:pPr marL="0" marR="0" lvl="0" indent="0" algn="just" defTabSz="914400" rtl="0" eaLnBrk="1" fontAlgn="auto" latinLnBrk="0" hangingPunct="1">
              <a:lnSpc>
                <a:spcPct val="125000"/>
              </a:lnSpc>
              <a:spcBef>
                <a:spcPts val="0"/>
              </a:spcBef>
              <a:spcAft>
                <a:spcPts val="0"/>
              </a:spcAft>
              <a:buClrTx/>
              <a:buSzTx/>
              <a:buFontTx/>
              <a:buNone/>
              <a:tabLst/>
              <a:defRPr/>
            </a:pPr>
            <a:r>
              <a:rPr lang="en-US" sz="1100" dirty="0">
                <a:effectLst/>
                <a:latin typeface="Arial MT"/>
                <a:ea typeface="Arial MT"/>
                <a:cs typeface="Arial MT"/>
              </a:rPr>
              <a:t>As a starting point, Statistics New Zealand published the following criteria for indicators for use in</a:t>
            </a:r>
            <a:r>
              <a:rPr lang="en-US" sz="1100" spc="5" dirty="0">
                <a:effectLst/>
                <a:latin typeface="Arial MT"/>
                <a:ea typeface="Arial MT"/>
                <a:cs typeface="Arial MT"/>
              </a:rPr>
              <a:t> </a:t>
            </a:r>
            <a:r>
              <a:rPr lang="en-US" sz="1100" dirty="0">
                <a:effectLst/>
                <a:latin typeface="Arial MT"/>
                <a:ea typeface="Arial MT"/>
                <a:cs typeface="Arial MT"/>
              </a:rPr>
              <a:t>statistics</a:t>
            </a:r>
            <a:r>
              <a:rPr lang="en-US" sz="1100" spc="-5" dirty="0">
                <a:effectLst/>
                <a:latin typeface="Arial MT"/>
                <a:ea typeface="Arial MT"/>
                <a:cs typeface="Arial MT"/>
              </a:rPr>
              <a:t> </a:t>
            </a:r>
            <a:r>
              <a:rPr lang="en-US" sz="1100" dirty="0">
                <a:effectLst/>
                <a:latin typeface="Arial MT"/>
                <a:ea typeface="Arial MT"/>
                <a:cs typeface="Arial MT"/>
              </a:rPr>
              <a:t>[</a:t>
            </a:r>
            <a:r>
              <a:rPr lang="en-US" sz="1800" dirty="0">
                <a:solidFill>
                  <a:srgbClr val="3E3E3E"/>
                </a:solidFill>
                <a:effectLst/>
                <a:latin typeface="Arial MT"/>
                <a:ea typeface="Arial MT"/>
                <a:cs typeface="Arial MT"/>
              </a:rPr>
              <a:t>Advisory Committee on Official Statistics. (2009). Good practice guidelines for the development</a:t>
            </a:r>
            <a:r>
              <a:rPr lang="en-US" sz="1800" spc="5" dirty="0">
                <a:solidFill>
                  <a:srgbClr val="3E3E3E"/>
                </a:solidFill>
                <a:effectLst/>
                <a:latin typeface="Arial MT"/>
                <a:ea typeface="Arial MT"/>
                <a:cs typeface="Arial MT"/>
              </a:rPr>
              <a:t> </a:t>
            </a:r>
            <a:r>
              <a:rPr lang="en-US" sz="1800" dirty="0">
                <a:solidFill>
                  <a:srgbClr val="3E3E3E"/>
                </a:solidFill>
                <a:effectLst/>
                <a:latin typeface="Arial MT"/>
                <a:ea typeface="Arial MT"/>
                <a:cs typeface="Arial MT"/>
              </a:rPr>
              <a:t>and</a:t>
            </a:r>
            <a:r>
              <a:rPr lang="en-US" sz="1800" spc="-65" dirty="0">
                <a:solidFill>
                  <a:srgbClr val="3E3E3E"/>
                </a:solidFill>
                <a:effectLst/>
                <a:latin typeface="Arial MT"/>
                <a:ea typeface="Arial MT"/>
                <a:cs typeface="Arial MT"/>
              </a:rPr>
              <a:t> </a:t>
            </a:r>
            <a:r>
              <a:rPr lang="en-US" sz="1800" dirty="0">
                <a:solidFill>
                  <a:srgbClr val="3E3E3E"/>
                </a:solidFill>
                <a:effectLst/>
                <a:latin typeface="Arial MT"/>
                <a:ea typeface="Arial MT"/>
                <a:cs typeface="Arial MT"/>
              </a:rPr>
              <a:t>reporting</a:t>
            </a:r>
            <a:r>
              <a:rPr lang="en-US" sz="1800" spc="-60" dirty="0">
                <a:solidFill>
                  <a:srgbClr val="3E3E3E"/>
                </a:solidFill>
                <a:effectLst/>
                <a:latin typeface="Arial MT"/>
                <a:ea typeface="Arial MT"/>
                <a:cs typeface="Arial MT"/>
              </a:rPr>
              <a:t> </a:t>
            </a:r>
            <a:r>
              <a:rPr lang="en-US" sz="1800" dirty="0">
                <a:solidFill>
                  <a:srgbClr val="3E3E3E"/>
                </a:solidFill>
                <a:effectLst/>
                <a:latin typeface="Arial MT"/>
                <a:ea typeface="Arial MT"/>
                <a:cs typeface="Arial MT"/>
              </a:rPr>
              <a:t>of</a:t>
            </a:r>
            <a:r>
              <a:rPr lang="en-US" sz="1800" spc="-60" dirty="0">
                <a:solidFill>
                  <a:srgbClr val="3E3E3E"/>
                </a:solidFill>
                <a:effectLst/>
                <a:latin typeface="Arial MT"/>
                <a:ea typeface="Arial MT"/>
                <a:cs typeface="Arial MT"/>
              </a:rPr>
              <a:t> </a:t>
            </a:r>
            <a:r>
              <a:rPr lang="en-US" sz="1800" dirty="0">
                <a:solidFill>
                  <a:srgbClr val="3E3E3E"/>
                </a:solidFill>
                <a:effectLst/>
                <a:latin typeface="Arial MT"/>
                <a:ea typeface="Arial MT"/>
                <a:cs typeface="Arial MT"/>
              </a:rPr>
              <a:t>indicators.</a:t>
            </a:r>
            <a:r>
              <a:rPr lang="en-US" sz="1800" spc="-65" dirty="0">
                <a:solidFill>
                  <a:srgbClr val="3E3E3E"/>
                </a:solidFill>
                <a:effectLst/>
                <a:latin typeface="Arial MT"/>
                <a:ea typeface="Arial MT"/>
                <a:cs typeface="Arial MT"/>
              </a:rPr>
              <a:t> </a:t>
            </a:r>
            <a:r>
              <a:rPr lang="en-US" sz="1800" dirty="0" err="1">
                <a:solidFill>
                  <a:srgbClr val="3E3E3E"/>
                </a:solidFill>
                <a:effectLst/>
                <a:latin typeface="Arial MT"/>
                <a:ea typeface="Arial MT"/>
                <a:cs typeface="Arial MT"/>
              </a:rPr>
              <a:t>Wellingtong</a:t>
            </a:r>
            <a:r>
              <a:rPr lang="en-US" sz="1800" dirty="0">
                <a:solidFill>
                  <a:srgbClr val="3E3E3E"/>
                </a:solidFill>
                <a:effectLst/>
                <a:latin typeface="Arial MT"/>
                <a:ea typeface="Arial MT"/>
                <a:cs typeface="Arial MT"/>
              </a:rPr>
              <a:t>:</a:t>
            </a:r>
            <a:r>
              <a:rPr lang="en-US" sz="1800" spc="-60" dirty="0">
                <a:solidFill>
                  <a:srgbClr val="3E3E3E"/>
                </a:solidFill>
                <a:effectLst/>
                <a:latin typeface="Arial MT"/>
                <a:ea typeface="Arial MT"/>
                <a:cs typeface="Arial MT"/>
              </a:rPr>
              <a:t> </a:t>
            </a:r>
            <a:r>
              <a:rPr lang="en-US" sz="1800" dirty="0">
                <a:solidFill>
                  <a:srgbClr val="3E3E3E"/>
                </a:solidFill>
                <a:effectLst/>
                <a:latin typeface="Arial MT"/>
                <a:ea typeface="Arial MT"/>
                <a:cs typeface="Arial MT"/>
              </a:rPr>
              <a:t>Statistics</a:t>
            </a:r>
            <a:r>
              <a:rPr lang="en-US" sz="1800" spc="-55" dirty="0">
                <a:solidFill>
                  <a:srgbClr val="3E3E3E"/>
                </a:solidFill>
                <a:effectLst/>
                <a:latin typeface="Arial MT"/>
                <a:ea typeface="Arial MT"/>
                <a:cs typeface="Arial MT"/>
              </a:rPr>
              <a:t> </a:t>
            </a:r>
            <a:r>
              <a:rPr lang="en-US" sz="1800" dirty="0">
                <a:solidFill>
                  <a:srgbClr val="3E3E3E"/>
                </a:solidFill>
                <a:effectLst/>
                <a:latin typeface="Arial MT"/>
                <a:ea typeface="Arial MT"/>
                <a:cs typeface="Arial MT"/>
              </a:rPr>
              <a:t>New</a:t>
            </a:r>
            <a:r>
              <a:rPr lang="en-US" sz="1800" spc="-60" dirty="0">
                <a:solidFill>
                  <a:srgbClr val="3E3E3E"/>
                </a:solidFill>
                <a:effectLst/>
                <a:latin typeface="Arial MT"/>
                <a:ea typeface="Arial MT"/>
                <a:cs typeface="Arial MT"/>
              </a:rPr>
              <a:t> </a:t>
            </a:r>
            <a:r>
              <a:rPr lang="en-US" sz="1800" dirty="0">
                <a:solidFill>
                  <a:srgbClr val="3E3E3E"/>
                </a:solidFill>
                <a:effectLst/>
                <a:latin typeface="Arial MT"/>
                <a:ea typeface="Arial MT"/>
                <a:cs typeface="Arial MT"/>
              </a:rPr>
              <a:t>Zealand.</a:t>
            </a:r>
            <a:r>
              <a:rPr lang="en-US" sz="1800" spc="-65" dirty="0">
                <a:solidFill>
                  <a:srgbClr val="3E3E3E"/>
                </a:solidFill>
                <a:effectLst/>
                <a:latin typeface="Arial MT"/>
                <a:ea typeface="Arial MT"/>
                <a:cs typeface="Arial MT"/>
              </a:rPr>
              <a:t> </a:t>
            </a:r>
            <a:r>
              <a:rPr lang="en-US" sz="1800" dirty="0">
                <a:solidFill>
                  <a:srgbClr val="3E3E3E"/>
                </a:solidFill>
                <a:effectLst/>
                <a:latin typeface="Arial MT"/>
                <a:ea typeface="Arial MT"/>
                <a:cs typeface="Arial MT"/>
              </a:rPr>
              <a:t>Cited</a:t>
            </a:r>
            <a:r>
              <a:rPr lang="en-US" sz="1800" spc="-60" dirty="0">
                <a:solidFill>
                  <a:srgbClr val="3E3E3E"/>
                </a:solidFill>
                <a:effectLst/>
                <a:latin typeface="Arial MT"/>
                <a:ea typeface="Arial MT"/>
                <a:cs typeface="Arial MT"/>
              </a:rPr>
              <a:t> </a:t>
            </a:r>
            <a:r>
              <a:rPr lang="en-US" sz="1800" dirty="0">
                <a:solidFill>
                  <a:srgbClr val="3E3E3E"/>
                </a:solidFill>
                <a:effectLst/>
                <a:latin typeface="Arial MT"/>
                <a:ea typeface="Arial MT"/>
                <a:cs typeface="Arial MT"/>
              </a:rPr>
              <a:t>by</a:t>
            </a:r>
            <a:r>
              <a:rPr lang="en-US" sz="1800" spc="-65" dirty="0">
                <a:solidFill>
                  <a:srgbClr val="3E3E3E"/>
                </a:solidFill>
                <a:effectLst/>
                <a:latin typeface="Arial MT"/>
                <a:ea typeface="Arial MT"/>
                <a:cs typeface="Arial MT"/>
              </a:rPr>
              <a:t> </a:t>
            </a:r>
            <a:r>
              <a:rPr lang="en-US" sz="1800" dirty="0" err="1">
                <a:solidFill>
                  <a:srgbClr val="3E3E3E"/>
                </a:solidFill>
                <a:effectLst/>
                <a:latin typeface="Arial MT"/>
                <a:ea typeface="Arial MT"/>
                <a:cs typeface="Arial MT"/>
              </a:rPr>
              <a:t>Ekvall</a:t>
            </a:r>
            <a:r>
              <a:rPr lang="en-US" sz="1800" spc="-65" dirty="0">
                <a:solidFill>
                  <a:srgbClr val="3E3E3E"/>
                </a:solidFill>
                <a:effectLst/>
                <a:latin typeface="Arial MT"/>
                <a:ea typeface="Arial MT"/>
                <a:cs typeface="Arial MT"/>
              </a:rPr>
              <a:t> </a:t>
            </a:r>
            <a:r>
              <a:rPr lang="en-US" sz="1800" dirty="0">
                <a:solidFill>
                  <a:srgbClr val="3E3E3E"/>
                </a:solidFill>
                <a:effectLst/>
                <a:latin typeface="Arial MT"/>
                <a:ea typeface="Arial MT"/>
                <a:cs typeface="Arial MT"/>
              </a:rPr>
              <a:t>et</a:t>
            </a:r>
            <a:r>
              <a:rPr lang="en-US" sz="1800" spc="-65" dirty="0">
                <a:solidFill>
                  <a:srgbClr val="3E3E3E"/>
                </a:solidFill>
                <a:effectLst/>
                <a:latin typeface="Arial MT"/>
                <a:ea typeface="Arial MT"/>
                <a:cs typeface="Arial MT"/>
              </a:rPr>
              <a:t> </a:t>
            </a:r>
            <a:r>
              <a:rPr lang="en-US" sz="1800" dirty="0">
                <a:solidFill>
                  <a:srgbClr val="3E3E3E"/>
                </a:solidFill>
                <a:effectLst/>
                <a:latin typeface="Arial MT"/>
                <a:ea typeface="Arial MT"/>
                <a:cs typeface="Arial MT"/>
              </a:rPr>
              <a:t>al.</a:t>
            </a:r>
            <a:r>
              <a:rPr lang="en-US" sz="1800" spc="-65" dirty="0">
                <a:solidFill>
                  <a:srgbClr val="3E3E3E"/>
                </a:solidFill>
                <a:effectLst/>
                <a:latin typeface="Arial MT"/>
                <a:ea typeface="Arial MT"/>
                <a:cs typeface="Arial MT"/>
              </a:rPr>
              <a:t> </a:t>
            </a:r>
            <a:r>
              <a:rPr lang="en-US" sz="1800" dirty="0">
                <a:solidFill>
                  <a:srgbClr val="3E3E3E"/>
                </a:solidFill>
                <a:effectLst/>
                <a:latin typeface="Arial MT"/>
                <a:ea typeface="Arial MT"/>
                <a:cs typeface="Arial MT"/>
              </a:rPr>
              <a:t>(2019),</a:t>
            </a:r>
            <a:r>
              <a:rPr lang="en-US" sz="1800" spc="-295" dirty="0">
                <a:solidFill>
                  <a:srgbClr val="3E3E3E"/>
                </a:solidFill>
                <a:effectLst/>
                <a:latin typeface="Arial MT"/>
                <a:ea typeface="Arial MT"/>
                <a:cs typeface="Arial MT"/>
              </a:rPr>
              <a:t> </a:t>
            </a:r>
            <a:r>
              <a:rPr lang="en-US" sz="1800" dirty="0">
                <a:solidFill>
                  <a:srgbClr val="3E3E3E"/>
                </a:solidFill>
                <a:effectLst/>
                <a:latin typeface="Arial MT"/>
                <a:ea typeface="Arial MT"/>
                <a:cs typeface="Arial MT"/>
              </a:rPr>
              <a:t>p.14.</a:t>
            </a:r>
            <a:r>
              <a:rPr lang="en-US" sz="1100" dirty="0">
                <a:effectLst/>
                <a:latin typeface="Arial MT"/>
                <a:ea typeface="Arial MT"/>
                <a:cs typeface="Arial MT"/>
              </a:rPr>
              <a:t>]:</a:t>
            </a:r>
            <a:endParaRPr lang="sv-SE" sz="1100" dirty="0">
              <a:effectLst/>
              <a:latin typeface="Arial MT"/>
              <a:ea typeface="Arial MT"/>
              <a:cs typeface="Arial MT"/>
            </a:endParaRPr>
          </a:p>
          <a:p>
            <a:pPr>
              <a:spcBef>
                <a:spcPts val="50"/>
              </a:spcBef>
            </a:pPr>
            <a:r>
              <a:rPr lang="en-US" sz="1000" dirty="0">
                <a:effectLst/>
                <a:latin typeface="Arial MT"/>
                <a:ea typeface="Arial MT"/>
                <a:cs typeface="Arial MT"/>
              </a:rPr>
              <a:t> </a:t>
            </a:r>
            <a:endParaRPr lang="sv-SE" sz="1100" dirty="0">
              <a:effectLst/>
              <a:latin typeface="Arial MT"/>
              <a:ea typeface="Arial MT"/>
              <a:cs typeface="Arial MT"/>
            </a:endParaRPr>
          </a:p>
          <a:p>
            <a:pPr marL="1143000" marR="900430" lvl="2" indent="-228600">
              <a:lnSpc>
                <a:spcPct val="113000"/>
              </a:lnSpc>
              <a:spcAft>
                <a:spcPts val="0"/>
              </a:spcAft>
              <a:buSzPts val="1100"/>
              <a:buFont typeface="Symbol" panose="05050102010706020507" pitchFamily="18" charset="2"/>
              <a:buChar char=""/>
              <a:tabLst>
                <a:tab pos="1176655" algn="l"/>
                <a:tab pos="1177290" algn="l"/>
              </a:tabLst>
            </a:pPr>
            <a:r>
              <a:rPr lang="en-US" sz="1100" i="1" dirty="0">
                <a:effectLst/>
                <a:latin typeface="Arial" panose="020B0604020202020204" pitchFamily="34" charset="0"/>
                <a:ea typeface="Symbol" panose="05050102010706020507" pitchFamily="18" charset="2"/>
                <a:cs typeface="Arial MT"/>
              </a:rPr>
              <a:t>Valid</a:t>
            </a:r>
            <a:r>
              <a:rPr lang="en-US" sz="1100" i="1" spc="230"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and</a:t>
            </a:r>
            <a:r>
              <a:rPr lang="en-US" sz="1100" i="1" spc="235"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meaningful</a:t>
            </a:r>
            <a:r>
              <a:rPr lang="en-US" sz="1100" i="1" spc="235"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a:t>
            </a:r>
            <a:r>
              <a:rPr lang="en-US" sz="1100" i="1" spc="235"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an</a:t>
            </a:r>
            <a:r>
              <a:rPr lang="en-US" sz="1100" i="1" spc="235"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indicator</a:t>
            </a:r>
            <a:r>
              <a:rPr lang="en-US" sz="1100" i="1" spc="235"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should</a:t>
            </a:r>
            <a:r>
              <a:rPr lang="en-US" sz="1100" i="1" spc="230"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adequately</a:t>
            </a:r>
            <a:r>
              <a:rPr lang="en-US" sz="1100" i="1" spc="235"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reflect</a:t>
            </a:r>
            <a:r>
              <a:rPr lang="en-US" sz="1100" i="1" spc="235"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the</a:t>
            </a:r>
            <a:r>
              <a:rPr lang="en-US" sz="1100" i="1" spc="230"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phenomenon</a:t>
            </a:r>
            <a:r>
              <a:rPr lang="en-US" sz="1100" i="1" spc="235"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it</a:t>
            </a:r>
            <a:r>
              <a:rPr lang="en-US" sz="1100" i="1" spc="235"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is</a:t>
            </a:r>
            <a:r>
              <a:rPr lang="en-US" sz="1100" i="1" spc="-290"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intended</a:t>
            </a:r>
            <a:r>
              <a:rPr lang="en-US" sz="1100" i="1" spc="-5"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to</a:t>
            </a:r>
            <a:r>
              <a:rPr lang="en-US" sz="1100" i="1" spc="-10"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measure and</a:t>
            </a:r>
            <a:r>
              <a:rPr lang="en-US" sz="1100" i="1" spc="-5"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should be</a:t>
            </a:r>
            <a:r>
              <a:rPr lang="en-US" sz="1100" i="1" spc="-10"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appropriate</a:t>
            </a:r>
            <a:r>
              <a:rPr lang="en-US" sz="1100" i="1" spc="-10"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to the</a:t>
            </a:r>
            <a:r>
              <a:rPr lang="en-US" sz="1100" i="1" spc="-5"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needs</a:t>
            </a:r>
            <a:r>
              <a:rPr lang="en-US" sz="1100" i="1" spc="-5"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of</a:t>
            </a:r>
            <a:r>
              <a:rPr lang="en-US" sz="1100" i="1" spc="-5"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the</a:t>
            </a:r>
            <a:r>
              <a:rPr lang="en-US" sz="1100" i="1" spc="-5"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user.</a:t>
            </a:r>
            <a:endParaRPr lang="sv-SE" sz="1100" dirty="0">
              <a:effectLst/>
              <a:latin typeface="Arial MT"/>
              <a:ea typeface="Symbol" panose="05050102010706020507" pitchFamily="18" charset="2"/>
              <a:cs typeface="Symbol" panose="05050102010706020507" pitchFamily="18" charset="2"/>
            </a:endParaRPr>
          </a:p>
          <a:p>
            <a:pPr marL="1143000" marR="898525" lvl="2" indent="-228600">
              <a:lnSpc>
                <a:spcPct val="113000"/>
              </a:lnSpc>
              <a:spcBef>
                <a:spcPts val="705"/>
              </a:spcBef>
              <a:spcAft>
                <a:spcPts val="0"/>
              </a:spcAft>
              <a:buSzPts val="1100"/>
              <a:buFont typeface="Symbol" panose="05050102010706020507" pitchFamily="18" charset="2"/>
              <a:buChar char=""/>
              <a:tabLst>
                <a:tab pos="1177290" algn="l"/>
                <a:tab pos="1177925" algn="l"/>
              </a:tabLst>
            </a:pPr>
            <a:r>
              <a:rPr lang="en-US" sz="1100" i="1" dirty="0">
                <a:effectLst/>
                <a:latin typeface="Arial" panose="020B0604020202020204" pitchFamily="34" charset="0"/>
                <a:ea typeface="Symbol" panose="05050102010706020507" pitchFamily="18" charset="2"/>
                <a:cs typeface="Arial MT"/>
              </a:rPr>
              <a:t>Sensitive</a:t>
            </a:r>
            <a:r>
              <a:rPr lang="en-US" sz="1100" i="1" spc="75"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and</a:t>
            </a:r>
            <a:r>
              <a:rPr lang="en-US" sz="1100" i="1" spc="75"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specific</a:t>
            </a:r>
            <a:r>
              <a:rPr lang="en-US" sz="1100" i="1" spc="70"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to</a:t>
            </a:r>
            <a:r>
              <a:rPr lang="en-US" sz="1100" i="1" spc="75"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the</a:t>
            </a:r>
            <a:r>
              <a:rPr lang="en-US" sz="1100" i="1" spc="75"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underlying</a:t>
            </a:r>
            <a:r>
              <a:rPr lang="en-US" sz="1100" i="1" spc="75"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phenomenon</a:t>
            </a:r>
            <a:r>
              <a:rPr lang="en-US" sz="1100" i="1" spc="75"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a:t>
            </a:r>
            <a:r>
              <a:rPr lang="en-US" sz="1100" i="1" spc="80"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sensitivity</a:t>
            </a:r>
            <a:r>
              <a:rPr lang="en-US" sz="1100" i="1" spc="70"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relates</a:t>
            </a:r>
            <a:r>
              <a:rPr lang="en-US" sz="1100" i="1" spc="75"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to</a:t>
            </a:r>
            <a:r>
              <a:rPr lang="en-US" sz="1100" i="1" spc="70"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how</a:t>
            </a:r>
            <a:r>
              <a:rPr lang="en-US" sz="1100" i="1" spc="-295"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significantly</a:t>
            </a:r>
            <a:r>
              <a:rPr lang="en-US" sz="1100" i="1" spc="-15"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an</a:t>
            </a:r>
            <a:r>
              <a:rPr lang="en-US" sz="1100" i="1" spc="-5"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indicator</a:t>
            </a:r>
            <a:r>
              <a:rPr lang="en-US" sz="1100" i="1" spc="-20"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varies</a:t>
            </a:r>
            <a:r>
              <a:rPr lang="en-US" sz="1100" i="1" spc="-5"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according</a:t>
            </a:r>
            <a:r>
              <a:rPr lang="en-US" sz="1100" i="1" spc="-5"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to</a:t>
            </a:r>
            <a:r>
              <a:rPr lang="en-US" sz="1100" i="1" spc="-10"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changes</a:t>
            </a:r>
            <a:r>
              <a:rPr lang="en-US" sz="1100" i="1" spc="-5"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in</a:t>
            </a:r>
            <a:r>
              <a:rPr lang="en-US" sz="1100" i="1" spc="-5"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the</a:t>
            </a:r>
            <a:r>
              <a:rPr lang="en-US" sz="1100" i="1" spc="-10"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underlying</a:t>
            </a:r>
            <a:r>
              <a:rPr lang="en-US" sz="1100" i="1" spc="-5"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phenomenon.</a:t>
            </a:r>
            <a:endParaRPr lang="sv-SE" sz="1100" dirty="0">
              <a:effectLst/>
              <a:latin typeface="Arial MT"/>
              <a:ea typeface="Symbol" panose="05050102010706020507" pitchFamily="18" charset="2"/>
              <a:cs typeface="Symbol" panose="05050102010706020507" pitchFamily="18" charset="2"/>
            </a:endParaRPr>
          </a:p>
          <a:p>
            <a:pPr marL="1143000" lvl="2" indent="-228600">
              <a:spcBef>
                <a:spcPts val="705"/>
              </a:spcBef>
              <a:spcAft>
                <a:spcPts val="0"/>
              </a:spcAft>
              <a:buSzPts val="1100"/>
              <a:buFont typeface="Symbol" panose="05050102010706020507" pitchFamily="18" charset="2"/>
              <a:buChar char=""/>
              <a:tabLst>
                <a:tab pos="1177290" algn="l"/>
                <a:tab pos="1177925" algn="l"/>
              </a:tabLst>
            </a:pPr>
            <a:r>
              <a:rPr lang="en-US" sz="1100" i="1" dirty="0">
                <a:effectLst/>
                <a:latin typeface="Arial" panose="020B0604020202020204" pitchFamily="34" charset="0"/>
                <a:ea typeface="Symbol" panose="05050102010706020507" pitchFamily="18" charset="2"/>
                <a:cs typeface="Arial MT"/>
              </a:rPr>
              <a:t>Grounded</a:t>
            </a:r>
            <a:r>
              <a:rPr lang="en-US" sz="1100" i="1" spc="-10"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in</a:t>
            </a:r>
            <a:r>
              <a:rPr lang="en-US" sz="1100" i="1" spc="-10"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research</a:t>
            </a:r>
            <a:r>
              <a:rPr lang="en-US" sz="1100" i="1" spc="-10"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a:t>
            </a:r>
            <a:r>
              <a:rPr lang="en-US" sz="1100" i="1" spc="-15"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awareness</a:t>
            </a:r>
            <a:r>
              <a:rPr lang="en-US" sz="1100" i="1" spc="-10"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of</a:t>
            </a:r>
            <a:r>
              <a:rPr lang="en-US" sz="1100" i="1" spc="-10"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the</a:t>
            </a:r>
            <a:r>
              <a:rPr lang="en-US" sz="1100" i="1" spc="-10"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key</a:t>
            </a:r>
            <a:r>
              <a:rPr lang="en-US" sz="1100" i="1" spc="-10"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influences</a:t>
            </a:r>
            <a:r>
              <a:rPr lang="en-US" sz="1100" i="1" spc="-5"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and</a:t>
            </a:r>
            <a:r>
              <a:rPr lang="en-US" sz="1100" i="1" spc="-10"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factors</a:t>
            </a:r>
            <a:r>
              <a:rPr lang="en-US" sz="1100" i="1" spc="-10"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affecting</a:t>
            </a:r>
            <a:r>
              <a:rPr lang="en-US" sz="1100" i="1" spc="-10"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outcomes.</a:t>
            </a:r>
            <a:endParaRPr lang="sv-SE" sz="1100" dirty="0">
              <a:effectLst/>
              <a:latin typeface="Arial MT"/>
              <a:ea typeface="Arial MT"/>
              <a:cs typeface="Arial MT"/>
            </a:endParaRPr>
          </a:p>
          <a:p>
            <a:pPr marL="1143000" marR="899795" lvl="2" indent="-228600" algn="just">
              <a:lnSpc>
                <a:spcPct val="113000"/>
              </a:lnSpc>
              <a:spcAft>
                <a:spcPts val="0"/>
              </a:spcAft>
              <a:buSzPts val="1100"/>
              <a:buFont typeface="Symbol" panose="05050102010706020507" pitchFamily="18" charset="2"/>
              <a:buChar char=""/>
              <a:tabLst>
                <a:tab pos="1177925" algn="l"/>
              </a:tabLst>
            </a:pPr>
            <a:r>
              <a:rPr lang="en-US" sz="1100" i="1" dirty="0">
                <a:effectLst/>
                <a:latin typeface="Arial" panose="020B0604020202020204" pitchFamily="34" charset="0"/>
                <a:ea typeface="Symbol" panose="05050102010706020507" pitchFamily="18" charset="2"/>
                <a:cs typeface="Arial MT"/>
              </a:rPr>
              <a:t>Statistically sound – indicator measurement needs to be methodologically sound and fit</a:t>
            </a:r>
            <a:r>
              <a:rPr lang="en-US" sz="1100" i="1" spc="5"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for</a:t>
            </a:r>
            <a:r>
              <a:rPr lang="en-US" sz="1100" i="1" spc="-5"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purpose</a:t>
            </a:r>
            <a:r>
              <a:rPr lang="en-US" sz="1100" i="1" spc="-5"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to which it is</a:t>
            </a:r>
            <a:r>
              <a:rPr lang="en-US" sz="1100" i="1" spc="-5"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being applied.</a:t>
            </a:r>
            <a:endParaRPr lang="sv-SE" sz="1100" dirty="0">
              <a:effectLst/>
              <a:latin typeface="Arial MT"/>
              <a:ea typeface="Symbol" panose="05050102010706020507" pitchFamily="18" charset="2"/>
              <a:cs typeface="Symbol" panose="05050102010706020507" pitchFamily="18" charset="2"/>
            </a:endParaRPr>
          </a:p>
          <a:p>
            <a:pPr marL="1143000" marR="899795" lvl="2" indent="-228600" algn="just">
              <a:lnSpc>
                <a:spcPct val="113000"/>
              </a:lnSpc>
              <a:spcBef>
                <a:spcPts val="705"/>
              </a:spcBef>
              <a:spcAft>
                <a:spcPts val="0"/>
              </a:spcAft>
              <a:buSzPts val="1100"/>
              <a:buFont typeface="Symbol" panose="05050102010706020507" pitchFamily="18" charset="2"/>
              <a:buChar char=""/>
              <a:tabLst>
                <a:tab pos="1177290" algn="l"/>
              </a:tabLst>
            </a:pPr>
            <a:r>
              <a:rPr lang="en-US" sz="1100" i="1" spc="-5" dirty="0">
                <a:effectLst/>
                <a:latin typeface="Arial" panose="020B0604020202020204" pitchFamily="34" charset="0"/>
                <a:ea typeface="Symbol" panose="05050102010706020507" pitchFamily="18" charset="2"/>
                <a:cs typeface="Arial MT"/>
              </a:rPr>
              <a:t>Intelligible</a:t>
            </a:r>
            <a:r>
              <a:rPr lang="en-US" sz="1100" i="1" spc="-65" dirty="0">
                <a:effectLst/>
                <a:latin typeface="Arial" panose="020B0604020202020204" pitchFamily="34" charset="0"/>
                <a:ea typeface="Symbol" panose="05050102010706020507" pitchFamily="18" charset="2"/>
                <a:cs typeface="Arial MT"/>
              </a:rPr>
              <a:t> </a:t>
            </a:r>
            <a:r>
              <a:rPr lang="en-US" sz="1100" i="1" spc="-5" dirty="0">
                <a:effectLst/>
                <a:latin typeface="Arial" panose="020B0604020202020204" pitchFamily="34" charset="0"/>
                <a:ea typeface="Symbol" panose="05050102010706020507" pitchFamily="18" charset="2"/>
                <a:cs typeface="Arial MT"/>
              </a:rPr>
              <a:t>and</a:t>
            </a:r>
            <a:r>
              <a:rPr lang="en-US" sz="1100" i="1" spc="-65" dirty="0">
                <a:effectLst/>
                <a:latin typeface="Arial" panose="020B0604020202020204" pitchFamily="34" charset="0"/>
                <a:ea typeface="Symbol" panose="05050102010706020507" pitchFamily="18" charset="2"/>
                <a:cs typeface="Arial MT"/>
              </a:rPr>
              <a:t> </a:t>
            </a:r>
            <a:r>
              <a:rPr lang="en-US" sz="1100" i="1" spc="-5" dirty="0">
                <a:effectLst/>
                <a:latin typeface="Arial" panose="020B0604020202020204" pitchFamily="34" charset="0"/>
                <a:ea typeface="Symbol" panose="05050102010706020507" pitchFamily="18" charset="2"/>
                <a:cs typeface="Arial MT"/>
              </a:rPr>
              <a:t>easily</a:t>
            </a:r>
            <a:r>
              <a:rPr lang="en-US" sz="1100" i="1" spc="-65" dirty="0">
                <a:effectLst/>
                <a:latin typeface="Arial" panose="020B0604020202020204" pitchFamily="34" charset="0"/>
                <a:ea typeface="Symbol" panose="05050102010706020507" pitchFamily="18" charset="2"/>
                <a:cs typeface="Arial MT"/>
              </a:rPr>
              <a:t> </a:t>
            </a:r>
            <a:r>
              <a:rPr lang="en-US" sz="1100" i="1" spc="-5" dirty="0">
                <a:effectLst/>
                <a:latin typeface="Arial" panose="020B0604020202020204" pitchFamily="34" charset="0"/>
                <a:ea typeface="Symbol" panose="05050102010706020507" pitchFamily="18" charset="2"/>
                <a:cs typeface="Arial MT"/>
              </a:rPr>
              <a:t>interpreted</a:t>
            </a:r>
            <a:r>
              <a:rPr lang="en-US" sz="1100" i="1" spc="-65"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a:t>
            </a:r>
            <a:r>
              <a:rPr lang="en-US" sz="1100" i="1" spc="-65"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indicators</a:t>
            </a:r>
            <a:r>
              <a:rPr lang="en-US" sz="1100" i="1" spc="-60"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should</a:t>
            </a:r>
            <a:r>
              <a:rPr lang="en-US" sz="1100" i="1" spc="-65"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be</a:t>
            </a:r>
            <a:r>
              <a:rPr lang="en-US" sz="1100" i="1" spc="-60"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sufficiently</a:t>
            </a:r>
            <a:r>
              <a:rPr lang="en-US" sz="1100" i="1" spc="-65"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simple</a:t>
            </a:r>
            <a:r>
              <a:rPr lang="en-US" sz="1100" i="1" spc="-75"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to</a:t>
            </a:r>
            <a:r>
              <a:rPr lang="en-US" sz="1100" i="1" spc="-60"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be</a:t>
            </a:r>
            <a:r>
              <a:rPr lang="en-US" sz="1100" i="1" spc="-65"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interpreted</a:t>
            </a:r>
            <a:r>
              <a:rPr lang="en-US" sz="1100" i="1" spc="-295"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in</a:t>
            </a:r>
            <a:r>
              <a:rPr lang="en-US" sz="1100" i="1" spc="-10"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practice</a:t>
            </a:r>
            <a:r>
              <a:rPr lang="en-US" sz="1100" i="1" spc="-10"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and</a:t>
            </a:r>
            <a:r>
              <a:rPr lang="en-US" sz="1100" i="1" spc="-5"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intuitive</a:t>
            </a:r>
            <a:r>
              <a:rPr lang="en-US" sz="1100" i="1" spc="-5"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in</a:t>
            </a:r>
            <a:r>
              <a:rPr lang="en-US" sz="1100" i="1" spc="-5"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the</a:t>
            </a:r>
            <a:r>
              <a:rPr lang="en-US" sz="1100" i="1" spc="-5"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sense</a:t>
            </a:r>
            <a:r>
              <a:rPr lang="en-US" sz="1100" i="1" spc="-10"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that</a:t>
            </a:r>
            <a:r>
              <a:rPr lang="en-US" sz="1100" i="1" spc="-5"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it</a:t>
            </a:r>
            <a:r>
              <a:rPr lang="en-US" sz="1100" i="1" spc="-5"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is</a:t>
            </a:r>
            <a:r>
              <a:rPr lang="en-US" sz="1100" i="1" spc="-5"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obvious</a:t>
            </a:r>
            <a:r>
              <a:rPr lang="en-US" sz="1100" i="1" spc="-5"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what</a:t>
            </a:r>
            <a:r>
              <a:rPr lang="en-US" sz="1100" i="1" spc="-5"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the</a:t>
            </a:r>
            <a:r>
              <a:rPr lang="en-US" sz="1100" i="1" spc="-5"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indicator</a:t>
            </a:r>
            <a:r>
              <a:rPr lang="en-US" sz="1100" i="1" spc="-15"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is</a:t>
            </a:r>
            <a:r>
              <a:rPr lang="en-US" sz="1100" i="1" spc="-5"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measuring.</a:t>
            </a:r>
            <a:endParaRPr lang="sv-SE" sz="1100" dirty="0">
              <a:effectLst/>
              <a:latin typeface="Arial MT"/>
              <a:ea typeface="Symbol" panose="05050102010706020507" pitchFamily="18" charset="2"/>
              <a:cs typeface="Symbol" panose="05050102010706020507" pitchFamily="18" charset="2"/>
            </a:endParaRPr>
          </a:p>
          <a:p>
            <a:pPr marL="1143000" marR="899795" lvl="2" indent="-228600" algn="just">
              <a:lnSpc>
                <a:spcPct val="113000"/>
              </a:lnSpc>
              <a:spcBef>
                <a:spcPts val="705"/>
              </a:spcBef>
              <a:spcAft>
                <a:spcPts val="0"/>
              </a:spcAft>
              <a:buSzPts val="1100"/>
              <a:buFont typeface="Symbol" panose="05050102010706020507" pitchFamily="18" charset="2"/>
              <a:buChar char=""/>
              <a:tabLst>
                <a:tab pos="1177290" algn="l"/>
              </a:tabLst>
            </a:pPr>
            <a:r>
              <a:rPr lang="en-US" sz="1100" i="1" dirty="0">
                <a:effectLst/>
                <a:latin typeface="Arial" panose="020B0604020202020204" pitchFamily="34" charset="0"/>
                <a:ea typeface="Symbol" panose="05050102010706020507" pitchFamily="18" charset="2"/>
                <a:cs typeface="Arial MT"/>
              </a:rPr>
              <a:t>Relate where appropriate to other indicators – a single indicator often tends to show part</a:t>
            </a:r>
            <a:r>
              <a:rPr lang="en-US" sz="1100" i="1" spc="-295"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of</a:t>
            </a:r>
            <a:r>
              <a:rPr lang="en-US" sz="1100" i="1" spc="-5"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a</a:t>
            </a:r>
            <a:r>
              <a:rPr lang="en-US" sz="1100" i="1" spc="-5"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phenomenon and</a:t>
            </a:r>
            <a:r>
              <a:rPr lang="en-US" sz="1100" i="1" spc="-5"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is</a:t>
            </a:r>
            <a:r>
              <a:rPr lang="en-US" sz="1100" i="1" spc="-5"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best</a:t>
            </a:r>
            <a:r>
              <a:rPr lang="en-US" sz="1100" i="1" spc="-5"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interpreted</a:t>
            </a:r>
            <a:r>
              <a:rPr lang="en-US" sz="1100" i="1" spc="-5"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alongside other</a:t>
            </a:r>
            <a:r>
              <a:rPr lang="en-US" sz="1100" i="1" spc="-5"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similar indicators.</a:t>
            </a:r>
            <a:endParaRPr lang="sv-SE" sz="1100" dirty="0">
              <a:effectLst/>
              <a:latin typeface="Arial MT"/>
              <a:ea typeface="Symbol" panose="05050102010706020507" pitchFamily="18" charset="2"/>
              <a:cs typeface="Symbol" panose="05050102010706020507" pitchFamily="18" charset="2"/>
            </a:endParaRPr>
          </a:p>
          <a:p>
            <a:pPr marL="1143000" marR="899160" lvl="2" indent="-228600" algn="just">
              <a:lnSpc>
                <a:spcPct val="113000"/>
              </a:lnSpc>
              <a:spcBef>
                <a:spcPts val="710"/>
              </a:spcBef>
              <a:spcAft>
                <a:spcPts val="0"/>
              </a:spcAft>
              <a:buSzPts val="1100"/>
              <a:buFont typeface="Symbol" panose="05050102010706020507" pitchFamily="18" charset="2"/>
              <a:buChar char=""/>
              <a:tabLst>
                <a:tab pos="1177290" algn="l"/>
              </a:tabLst>
            </a:pPr>
            <a:r>
              <a:rPr lang="en-US" sz="1100" i="1" dirty="0">
                <a:effectLst/>
                <a:latin typeface="Arial" panose="020B0604020202020204" pitchFamily="34" charset="0"/>
                <a:ea typeface="Symbol" panose="05050102010706020507" pitchFamily="18" charset="2"/>
                <a:cs typeface="Arial MT"/>
              </a:rPr>
              <a:t>Allow international comparison – indicators need to reflect goals specific for the country</a:t>
            </a:r>
            <a:r>
              <a:rPr lang="en-US" sz="1100" i="1" spc="5"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or region of the study, but where possible they should also be consistent with those used</a:t>
            </a:r>
            <a:r>
              <a:rPr lang="en-US" sz="1100" i="1" spc="-295"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in</a:t>
            </a:r>
            <a:r>
              <a:rPr lang="en-US" sz="1100" i="1" spc="-5"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international indicator </a:t>
            </a:r>
            <a:r>
              <a:rPr lang="en-US" sz="1100" i="1" dirty="0" err="1">
                <a:effectLst/>
                <a:latin typeface="Arial" panose="020B0604020202020204" pitchFamily="34" charset="0"/>
                <a:ea typeface="Symbol" panose="05050102010706020507" pitchFamily="18" charset="2"/>
                <a:cs typeface="Arial MT"/>
              </a:rPr>
              <a:t>programmes</a:t>
            </a:r>
            <a:r>
              <a:rPr lang="en-US" sz="1100" i="1" spc="-5"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enabling</a:t>
            </a:r>
            <a:r>
              <a:rPr lang="en-US" sz="1100" i="1" spc="-5"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comparison.</a:t>
            </a:r>
            <a:endParaRPr lang="sv-SE" sz="1100" dirty="0">
              <a:effectLst/>
              <a:latin typeface="Arial MT"/>
              <a:ea typeface="Symbol" panose="05050102010706020507" pitchFamily="18" charset="2"/>
              <a:cs typeface="Symbol" panose="05050102010706020507" pitchFamily="18" charset="2"/>
            </a:endParaRPr>
          </a:p>
          <a:p>
            <a:pPr marL="1143000" marR="899160" lvl="2" indent="-228600" algn="just">
              <a:lnSpc>
                <a:spcPct val="113000"/>
              </a:lnSpc>
              <a:spcBef>
                <a:spcPts val="715"/>
              </a:spcBef>
              <a:spcAft>
                <a:spcPts val="0"/>
              </a:spcAft>
              <a:buSzPts val="1100"/>
              <a:buFont typeface="Symbol" panose="05050102010706020507" pitchFamily="18" charset="2"/>
              <a:buChar char=""/>
              <a:tabLst>
                <a:tab pos="1177290" algn="l"/>
              </a:tabLst>
            </a:pPr>
            <a:r>
              <a:rPr lang="en-US" sz="1100" i="1" dirty="0">
                <a:effectLst/>
                <a:latin typeface="Arial" panose="020B0604020202020204" pitchFamily="34" charset="0"/>
                <a:ea typeface="Symbol" panose="05050102010706020507" pitchFamily="18" charset="2"/>
                <a:cs typeface="Arial MT"/>
              </a:rPr>
              <a:t>Ability to be disaggregated over time and geography – indicators should be able to be</a:t>
            </a:r>
            <a:r>
              <a:rPr lang="en-US" sz="1100" i="1" spc="5"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broken down into population sub-groups or areas of particular interest, such as ethnic</a:t>
            </a:r>
            <a:r>
              <a:rPr lang="en-US" sz="1100" i="1" spc="5"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groups</a:t>
            </a:r>
            <a:r>
              <a:rPr lang="en-US" sz="1100" i="1" spc="-5"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or regional areas.</a:t>
            </a:r>
            <a:endParaRPr lang="sv-SE" sz="1100" dirty="0">
              <a:effectLst/>
              <a:latin typeface="Arial MT"/>
              <a:ea typeface="Symbol" panose="05050102010706020507" pitchFamily="18" charset="2"/>
              <a:cs typeface="Symbol" panose="05050102010706020507" pitchFamily="18" charset="2"/>
            </a:endParaRPr>
          </a:p>
          <a:p>
            <a:pPr marL="1143000" marR="897890" lvl="2" indent="-228600" algn="just">
              <a:lnSpc>
                <a:spcPct val="113000"/>
              </a:lnSpc>
              <a:spcBef>
                <a:spcPts val="715"/>
              </a:spcBef>
              <a:spcAft>
                <a:spcPts val="0"/>
              </a:spcAft>
              <a:buSzPts val="1100"/>
              <a:buFont typeface="Symbol" panose="05050102010706020507" pitchFamily="18" charset="2"/>
              <a:buChar char=""/>
              <a:tabLst>
                <a:tab pos="1177290" algn="l"/>
              </a:tabLst>
            </a:pPr>
            <a:r>
              <a:rPr lang="en-US" sz="1100" i="1" dirty="0">
                <a:effectLst/>
                <a:latin typeface="Arial" panose="020B0604020202020204" pitchFamily="34" charset="0"/>
                <a:ea typeface="Symbol" panose="05050102010706020507" pitchFamily="18" charset="2"/>
                <a:cs typeface="Arial MT"/>
              </a:rPr>
              <a:t>Consistency over time – the usefulness of the indicators is directly related to the ability to</a:t>
            </a:r>
            <a:r>
              <a:rPr lang="en-US" sz="1100" i="1" spc="-295"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track</a:t>
            </a:r>
            <a:r>
              <a:rPr lang="en-US" sz="1100" i="1" spc="-5"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trends</a:t>
            </a:r>
            <a:r>
              <a:rPr lang="en-US" sz="1100" i="1" spc="-10"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over time,</a:t>
            </a:r>
            <a:r>
              <a:rPr lang="en-US" sz="1100" i="1" spc="-5"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so as</a:t>
            </a:r>
            <a:r>
              <a:rPr lang="en-US" sz="1100" i="1" spc="-5"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far as</a:t>
            </a:r>
            <a:r>
              <a:rPr lang="en-US" sz="1100" i="1" spc="-5"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possible</a:t>
            </a:r>
            <a:r>
              <a:rPr lang="en-US" sz="1100" i="1" spc="-10"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indicators should</a:t>
            </a:r>
            <a:r>
              <a:rPr lang="en-US" sz="1100" i="1" spc="-10"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be consistent.</a:t>
            </a:r>
            <a:endParaRPr lang="sv-SE" sz="1100" dirty="0">
              <a:effectLst/>
              <a:latin typeface="Arial MT"/>
              <a:ea typeface="Arial MT"/>
              <a:cs typeface="Arial MT"/>
            </a:endParaRPr>
          </a:p>
          <a:p>
            <a:pPr marL="1143000" marR="899795" lvl="2" indent="-228600">
              <a:lnSpc>
                <a:spcPct val="113000"/>
              </a:lnSpc>
              <a:spcBef>
                <a:spcPts val="500"/>
              </a:spcBef>
              <a:spcAft>
                <a:spcPts val="0"/>
              </a:spcAft>
              <a:buSzPts val="1100"/>
              <a:buFont typeface="Symbol" panose="05050102010706020507" pitchFamily="18" charset="2"/>
              <a:buChar char=""/>
              <a:tabLst>
                <a:tab pos="1176655" algn="l"/>
                <a:tab pos="1177290" algn="l"/>
              </a:tabLst>
            </a:pPr>
            <a:r>
              <a:rPr lang="en-US" sz="1100" i="1" dirty="0">
                <a:effectLst/>
                <a:latin typeface="Arial" panose="020B0604020202020204" pitchFamily="34" charset="0"/>
                <a:ea typeface="Symbol" panose="05050102010706020507" pitchFamily="18" charset="2"/>
                <a:cs typeface="Arial MT"/>
              </a:rPr>
              <a:t>Timeliness</a:t>
            </a:r>
            <a:r>
              <a:rPr lang="en-US" sz="1100" i="1" spc="-65"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a:t>
            </a:r>
            <a:r>
              <a:rPr lang="en-US" sz="1100" i="1" spc="-70"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there</a:t>
            </a:r>
            <a:r>
              <a:rPr lang="en-US" sz="1100" i="1" spc="-65"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should</a:t>
            </a:r>
            <a:r>
              <a:rPr lang="en-US" sz="1100" i="1" spc="-65"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be</a:t>
            </a:r>
            <a:r>
              <a:rPr lang="en-US" sz="1100" i="1" spc="-70"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minimal</a:t>
            </a:r>
            <a:r>
              <a:rPr lang="en-US" sz="1100" i="1" spc="-65"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time</a:t>
            </a:r>
            <a:r>
              <a:rPr lang="en-US" sz="1100" i="1" spc="-65"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lag</a:t>
            </a:r>
            <a:r>
              <a:rPr lang="en-US" sz="1100" i="1" spc="-65"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between</a:t>
            </a:r>
            <a:r>
              <a:rPr lang="en-US" sz="1100" i="1" spc="-70"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the</a:t>
            </a:r>
            <a:r>
              <a:rPr lang="en-US" sz="1100" i="1" spc="-65"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collection</a:t>
            </a:r>
            <a:r>
              <a:rPr lang="en-US" sz="1100" i="1" spc="-65"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and</a:t>
            </a:r>
            <a:r>
              <a:rPr lang="en-US" sz="1100" i="1" spc="-65"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reporting</a:t>
            </a:r>
            <a:r>
              <a:rPr lang="en-US" sz="1100" i="1" spc="-70"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of</a:t>
            </a:r>
            <a:r>
              <a:rPr lang="en-US" sz="1100" i="1" spc="-65"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data </a:t>
            </a:r>
            <a:r>
              <a:rPr lang="en-US" sz="1100" i="1" spc="-290"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to</a:t>
            </a:r>
            <a:r>
              <a:rPr lang="en-US" sz="1100" i="1" spc="-5"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ensure</a:t>
            </a:r>
            <a:r>
              <a:rPr lang="en-US" sz="1100" i="1" spc="-5"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that</a:t>
            </a:r>
            <a:r>
              <a:rPr lang="en-US" sz="1100" i="1" spc="-5"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indicators</a:t>
            </a:r>
            <a:r>
              <a:rPr lang="en-US" sz="1100" i="1" spc="-10"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are</a:t>
            </a:r>
            <a:r>
              <a:rPr lang="en-US" sz="1100" i="1" spc="-5"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reporting</a:t>
            </a:r>
            <a:r>
              <a:rPr lang="en-US" sz="1100" i="1" spc="-5"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current</a:t>
            </a:r>
            <a:r>
              <a:rPr lang="en-US" sz="1100" i="1" spc="-5"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rather</a:t>
            </a:r>
            <a:r>
              <a:rPr lang="en-US" sz="1100" i="1" spc="-5"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than</a:t>
            </a:r>
            <a:r>
              <a:rPr lang="en-US" sz="1100" i="1" spc="-5"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historical</a:t>
            </a:r>
            <a:r>
              <a:rPr lang="en-US" sz="1100" i="1" spc="-5" dirty="0">
                <a:effectLst/>
                <a:latin typeface="Arial" panose="020B0604020202020204" pitchFamily="34" charset="0"/>
                <a:ea typeface="Symbol" panose="05050102010706020507" pitchFamily="18" charset="2"/>
                <a:cs typeface="Arial MT"/>
              </a:rPr>
              <a:t> </a:t>
            </a:r>
            <a:r>
              <a:rPr lang="en-US" sz="1100" i="1" dirty="0">
                <a:effectLst/>
                <a:latin typeface="Arial" panose="020B0604020202020204" pitchFamily="34" charset="0"/>
                <a:ea typeface="Symbol" panose="05050102010706020507" pitchFamily="18" charset="2"/>
                <a:cs typeface="Arial MT"/>
              </a:rPr>
              <a:t>information.</a:t>
            </a:r>
          </a:p>
          <a:p>
            <a:pPr marL="914400" marR="899795" lvl="2" indent="0">
              <a:lnSpc>
                <a:spcPct val="113000"/>
              </a:lnSpc>
              <a:spcBef>
                <a:spcPts val="500"/>
              </a:spcBef>
              <a:spcAft>
                <a:spcPts val="0"/>
              </a:spcAft>
              <a:buSzPts val="1100"/>
              <a:buFont typeface="Symbol" panose="05050102010706020507" pitchFamily="18" charset="2"/>
              <a:buNone/>
              <a:tabLst>
                <a:tab pos="1176655" algn="l"/>
                <a:tab pos="1177290" algn="l"/>
              </a:tabLst>
            </a:pPr>
            <a:endParaRPr lang="en-US" sz="1100" i="1" dirty="0">
              <a:effectLst/>
              <a:latin typeface="Arial" panose="020B0604020202020204" pitchFamily="34" charset="0"/>
              <a:ea typeface="Symbol" panose="05050102010706020507" pitchFamily="18" charset="2"/>
              <a:cs typeface="Symbol" panose="05050102010706020507" pitchFamily="18" charset="2"/>
            </a:endParaRPr>
          </a:p>
          <a:p>
            <a:pPr marL="914400" marR="899795" lvl="2" indent="0">
              <a:lnSpc>
                <a:spcPct val="113000"/>
              </a:lnSpc>
              <a:spcBef>
                <a:spcPts val="500"/>
              </a:spcBef>
              <a:spcAft>
                <a:spcPts val="0"/>
              </a:spcAft>
              <a:buSzPts val="1100"/>
              <a:buFont typeface="Symbol" panose="05050102010706020507" pitchFamily="18" charset="2"/>
              <a:buNone/>
              <a:tabLst>
                <a:tab pos="1176655" algn="l"/>
                <a:tab pos="1177290" algn="l"/>
              </a:tabLst>
            </a:pPr>
            <a:r>
              <a:rPr lang="sv-SE" sz="1800" dirty="0">
                <a:effectLst/>
                <a:latin typeface="Segoe UI" panose="020B0502040204020203" pitchFamily="34" charset="0"/>
              </a:rPr>
              <a:t>https://waytobi.com/ua/blog/kpi.html</a:t>
            </a:r>
            <a:r>
              <a:rPr lang="en-US" sz="1100" i="1" dirty="0">
                <a:effectLst/>
                <a:latin typeface="Arial" panose="020B0604020202020204" pitchFamily="34" charset="0"/>
              </a:rPr>
              <a:t> - link to the picture</a:t>
            </a:r>
            <a:endParaRPr lang="sv-SE" sz="1100" dirty="0">
              <a:effectLst/>
              <a:latin typeface="Arial MT"/>
              <a:ea typeface="Symbol" panose="05050102010706020507" pitchFamily="18" charset="2"/>
              <a:cs typeface="Symbol" panose="05050102010706020507" pitchFamily="18" charset="2"/>
            </a:endParaRPr>
          </a:p>
          <a:p>
            <a:pPr marR="719455" algn="just">
              <a:lnSpc>
                <a:spcPct val="125000"/>
              </a:lnSpc>
              <a:spcBef>
                <a:spcPts val="705"/>
              </a:spcBef>
              <a:spcAft>
                <a:spcPts val="0"/>
              </a:spcAft>
            </a:pPr>
            <a:endParaRPr lang="sv-SE" sz="1100" dirty="0">
              <a:effectLst/>
              <a:latin typeface="Arial MT"/>
              <a:ea typeface="Arial MT"/>
              <a:cs typeface="Arial MT"/>
            </a:endParaRPr>
          </a:p>
        </p:txBody>
      </p:sp>
      <p:sp>
        <p:nvSpPr>
          <p:cNvPr id="4" name="Slide Number Placeholder 3"/>
          <p:cNvSpPr>
            <a:spLocks noGrp="1"/>
          </p:cNvSpPr>
          <p:nvPr>
            <p:ph type="sldNum" sz="quarter" idx="5"/>
          </p:nvPr>
        </p:nvSpPr>
        <p:spPr/>
        <p:txBody>
          <a:bodyPr/>
          <a:lstStyle/>
          <a:p>
            <a:fld id="{F84DB91F-1AD8-437C-8866-3636784D0854}" type="slidenum">
              <a:rPr lang="en-GB" smtClean="0"/>
              <a:t>65</a:t>
            </a:fld>
            <a:endParaRPr lang="en-GB"/>
          </a:p>
        </p:txBody>
      </p:sp>
    </p:spTree>
    <p:extLst>
      <p:ext uri="{BB962C8B-B14F-4D97-AF65-F5344CB8AC3E}">
        <p14:creationId xmlns:p14="http://schemas.microsoft.com/office/powerpoint/2010/main" val="3035880027"/>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719455" algn="just">
              <a:lnSpc>
                <a:spcPct val="125000"/>
              </a:lnSpc>
              <a:spcBef>
                <a:spcPts val="705"/>
              </a:spcBef>
              <a:spcAft>
                <a:spcPts val="0"/>
              </a:spcAft>
            </a:pPr>
            <a:r>
              <a:rPr lang="en-US" sz="1100" dirty="0">
                <a:effectLst/>
                <a:latin typeface="Arial MT"/>
                <a:ea typeface="Arial MT"/>
                <a:cs typeface="Arial MT"/>
              </a:rPr>
              <a:t>Another set of criteria identified was proposed by Castro (2011) [</a:t>
            </a:r>
            <a:r>
              <a:rPr lang="en-US" sz="1800" spc="-10" dirty="0">
                <a:solidFill>
                  <a:srgbClr val="3E3E3E"/>
                </a:solidFill>
                <a:effectLst/>
                <a:latin typeface="Arial MT"/>
                <a:ea typeface="Arial MT"/>
                <a:cs typeface="Arial MT"/>
              </a:rPr>
              <a:t>Castro,</a:t>
            </a:r>
            <a:r>
              <a:rPr lang="en-US" sz="1800" spc="-60" dirty="0">
                <a:solidFill>
                  <a:srgbClr val="3E3E3E"/>
                </a:solidFill>
                <a:effectLst/>
                <a:latin typeface="Arial MT"/>
                <a:ea typeface="Arial MT"/>
                <a:cs typeface="Arial MT"/>
              </a:rPr>
              <a:t> </a:t>
            </a:r>
            <a:r>
              <a:rPr lang="en-US" sz="1800" spc="-10" dirty="0">
                <a:solidFill>
                  <a:srgbClr val="3E3E3E"/>
                </a:solidFill>
                <a:effectLst/>
                <a:latin typeface="Arial MT"/>
                <a:ea typeface="Arial MT"/>
                <a:cs typeface="Arial MT"/>
              </a:rPr>
              <a:t>M.</a:t>
            </a:r>
            <a:r>
              <a:rPr lang="en-US" sz="1800" spc="-60" dirty="0">
                <a:solidFill>
                  <a:srgbClr val="3E3E3E"/>
                </a:solidFill>
                <a:effectLst/>
                <a:latin typeface="Arial MT"/>
                <a:ea typeface="Arial MT"/>
                <a:cs typeface="Arial MT"/>
              </a:rPr>
              <a:t> </a:t>
            </a:r>
            <a:r>
              <a:rPr lang="en-US" sz="1800" spc="-5" dirty="0">
                <a:solidFill>
                  <a:srgbClr val="3E3E3E"/>
                </a:solidFill>
                <a:effectLst/>
                <a:latin typeface="Arial MT"/>
                <a:ea typeface="Arial MT"/>
                <a:cs typeface="Arial MT"/>
              </a:rPr>
              <a:t>F.</a:t>
            </a:r>
            <a:r>
              <a:rPr lang="en-US" sz="1800" spc="-60" dirty="0">
                <a:solidFill>
                  <a:srgbClr val="3E3E3E"/>
                </a:solidFill>
                <a:effectLst/>
                <a:latin typeface="Arial MT"/>
                <a:ea typeface="Arial MT"/>
                <a:cs typeface="Arial MT"/>
              </a:rPr>
              <a:t> </a:t>
            </a:r>
            <a:r>
              <a:rPr lang="en-US" sz="1800" spc="-5" dirty="0">
                <a:solidFill>
                  <a:srgbClr val="3E3E3E"/>
                </a:solidFill>
                <a:effectLst/>
                <a:latin typeface="Arial MT"/>
                <a:ea typeface="Arial MT"/>
                <a:cs typeface="Arial MT"/>
              </a:rPr>
              <a:t>(2011).</a:t>
            </a:r>
            <a:r>
              <a:rPr lang="en-US" sz="1800" spc="-55" dirty="0">
                <a:solidFill>
                  <a:srgbClr val="3E3E3E"/>
                </a:solidFill>
                <a:effectLst/>
                <a:latin typeface="Arial MT"/>
                <a:ea typeface="Arial MT"/>
                <a:cs typeface="Arial MT"/>
              </a:rPr>
              <a:t> </a:t>
            </a:r>
            <a:r>
              <a:rPr lang="en-US" sz="1800" spc="-5" dirty="0">
                <a:solidFill>
                  <a:srgbClr val="3E3E3E"/>
                </a:solidFill>
                <a:effectLst/>
                <a:latin typeface="Arial MT"/>
                <a:ea typeface="Arial MT"/>
                <a:cs typeface="Arial MT"/>
              </a:rPr>
              <a:t>Defining</a:t>
            </a:r>
            <a:r>
              <a:rPr lang="en-US" sz="1800" spc="-60" dirty="0">
                <a:solidFill>
                  <a:srgbClr val="3E3E3E"/>
                </a:solidFill>
                <a:effectLst/>
                <a:latin typeface="Arial MT"/>
                <a:ea typeface="Arial MT"/>
                <a:cs typeface="Arial MT"/>
              </a:rPr>
              <a:t> </a:t>
            </a:r>
            <a:r>
              <a:rPr lang="en-US" sz="1800" spc="-5" dirty="0">
                <a:solidFill>
                  <a:srgbClr val="3E3E3E"/>
                </a:solidFill>
                <a:effectLst/>
                <a:latin typeface="Arial MT"/>
                <a:ea typeface="Arial MT"/>
                <a:cs typeface="Arial MT"/>
              </a:rPr>
              <a:t>and</a:t>
            </a:r>
            <a:r>
              <a:rPr lang="en-US" sz="1800" spc="-60" dirty="0">
                <a:solidFill>
                  <a:srgbClr val="3E3E3E"/>
                </a:solidFill>
                <a:effectLst/>
                <a:latin typeface="Arial MT"/>
                <a:ea typeface="Arial MT"/>
                <a:cs typeface="Arial MT"/>
              </a:rPr>
              <a:t> </a:t>
            </a:r>
            <a:r>
              <a:rPr lang="en-US" sz="1800" spc="-5" dirty="0">
                <a:solidFill>
                  <a:srgbClr val="3E3E3E"/>
                </a:solidFill>
                <a:effectLst/>
                <a:latin typeface="Arial MT"/>
                <a:ea typeface="Arial MT"/>
                <a:cs typeface="Arial MT"/>
              </a:rPr>
              <a:t>Using</a:t>
            </a:r>
            <a:r>
              <a:rPr lang="en-US" sz="1800" spc="-60" dirty="0">
                <a:solidFill>
                  <a:srgbClr val="3E3E3E"/>
                </a:solidFill>
                <a:effectLst/>
                <a:latin typeface="Arial MT"/>
                <a:ea typeface="Arial MT"/>
                <a:cs typeface="Arial MT"/>
              </a:rPr>
              <a:t> </a:t>
            </a:r>
            <a:r>
              <a:rPr lang="en-US" sz="1800" spc="-5" dirty="0">
                <a:solidFill>
                  <a:srgbClr val="3E3E3E"/>
                </a:solidFill>
                <a:effectLst/>
                <a:latin typeface="Arial MT"/>
                <a:ea typeface="Arial MT"/>
                <a:cs typeface="Arial MT"/>
              </a:rPr>
              <a:t>Performance</a:t>
            </a:r>
            <a:r>
              <a:rPr lang="en-US" sz="1800" spc="-55" dirty="0">
                <a:solidFill>
                  <a:srgbClr val="3E3E3E"/>
                </a:solidFill>
                <a:effectLst/>
                <a:latin typeface="Arial MT"/>
                <a:ea typeface="Arial MT"/>
                <a:cs typeface="Arial MT"/>
              </a:rPr>
              <a:t> </a:t>
            </a:r>
            <a:r>
              <a:rPr lang="en-US" sz="1800" spc="-5" dirty="0">
                <a:solidFill>
                  <a:srgbClr val="3E3E3E"/>
                </a:solidFill>
                <a:effectLst/>
                <a:latin typeface="Arial MT"/>
                <a:ea typeface="Arial MT"/>
                <a:cs typeface="Arial MT"/>
              </a:rPr>
              <a:t>Indicators</a:t>
            </a:r>
            <a:r>
              <a:rPr lang="en-US" sz="1800" spc="-60" dirty="0">
                <a:solidFill>
                  <a:srgbClr val="3E3E3E"/>
                </a:solidFill>
                <a:effectLst/>
                <a:latin typeface="Arial MT"/>
                <a:ea typeface="Arial MT"/>
                <a:cs typeface="Arial MT"/>
              </a:rPr>
              <a:t> </a:t>
            </a:r>
            <a:r>
              <a:rPr lang="en-US" sz="1800" spc="-5" dirty="0">
                <a:solidFill>
                  <a:srgbClr val="3E3E3E"/>
                </a:solidFill>
                <a:effectLst/>
                <a:latin typeface="Arial MT"/>
                <a:ea typeface="Arial MT"/>
                <a:cs typeface="Arial MT"/>
              </a:rPr>
              <a:t>and</a:t>
            </a:r>
            <a:r>
              <a:rPr lang="en-US" sz="1800" spc="-80" dirty="0">
                <a:solidFill>
                  <a:srgbClr val="3E3E3E"/>
                </a:solidFill>
                <a:effectLst/>
                <a:latin typeface="Arial MT"/>
                <a:ea typeface="Arial MT"/>
                <a:cs typeface="Arial MT"/>
              </a:rPr>
              <a:t> </a:t>
            </a:r>
            <a:r>
              <a:rPr lang="en-US" sz="1800" spc="-5" dirty="0">
                <a:solidFill>
                  <a:srgbClr val="3E3E3E"/>
                </a:solidFill>
                <a:effectLst/>
                <a:latin typeface="Arial MT"/>
                <a:ea typeface="Arial MT"/>
                <a:cs typeface="Arial MT"/>
              </a:rPr>
              <a:t>Targets</a:t>
            </a:r>
            <a:r>
              <a:rPr lang="en-US" sz="1800" spc="-60" dirty="0">
                <a:solidFill>
                  <a:srgbClr val="3E3E3E"/>
                </a:solidFill>
                <a:effectLst/>
                <a:latin typeface="Arial MT"/>
                <a:ea typeface="Arial MT"/>
                <a:cs typeface="Arial MT"/>
              </a:rPr>
              <a:t> </a:t>
            </a:r>
            <a:r>
              <a:rPr lang="en-US" sz="1800" spc="-5" dirty="0">
                <a:solidFill>
                  <a:srgbClr val="3E3E3E"/>
                </a:solidFill>
                <a:effectLst/>
                <a:latin typeface="Arial MT"/>
                <a:ea typeface="Arial MT"/>
                <a:cs typeface="Arial MT"/>
              </a:rPr>
              <a:t>in</a:t>
            </a:r>
            <a:r>
              <a:rPr lang="en-US" sz="1800" spc="-60" dirty="0">
                <a:solidFill>
                  <a:srgbClr val="3E3E3E"/>
                </a:solidFill>
                <a:effectLst/>
                <a:latin typeface="Arial MT"/>
                <a:ea typeface="Arial MT"/>
                <a:cs typeface="Arial MT"/>
              </a:rPr>
              <a:t> </a:t>
            </a:r>
            <a:r>
              <a:rPr lang="en-US" sz="1800" spc="-5" dirty="0">
                <a:solidFill>
                  <a:srgbClr val="3E3E3E"/>
                </a:solidFill>
                <a:effectLst/>
                <a:latin typeface="Arial MT"/>
                <a:ea typeface="Arial MT"/>
                <a:cs typeface="Arial MT"/>
              </a:rPr>
              <a:t>Government</a:t>
            </a:r>
            <a:r>
              <a:rPr lang="en-US" sz="1800" spc="-60" dirty="0">
                <a:solidFill>
                  <a:srgbClr val="3E3E3E"/>
                </a:solidFill>
                <a:effectLst/>
                <a:latin typeface="Arial MT"/>
                <a:ea typeface="Arial MT"/>
                <a:cs typeface="Arial MT"/>
              </a:rPr>
              <a:t> </a:t>
            </a:r>
            <a:r>
              <a:rPr lang="en-US" sz="1800" spc="-5" dirty="0">
                <a:solidFill>
                  <a:srgbClr val="3E3E3E"/>
                </a:solidFill>
                <a:effectLst/>
                <a:latin typeface="Arial MT"/>
                <a:ea typeface="Arial MT"/>
                <a:cs typeface="Arial MT"/>
              </a:rPr>
              <a:t>M&amp;E</a:t>
            </a:r>
            <a:r>
              <a:rPr lang="en-US" sz="1800" spc="-290" dirty="0">
                <a:solidFill>
                  <a:srgbClr val="3E3E3E"/>
                </a:solidFill>
                <a:effectLst/>
                <a:latin typeface="Arial MT"/>
                <a:ea typeface="Arial MT"/>
                <a:cs typeface="Arial MT"/>
              </a:rPr>
              <a:t> </a:t>
            </a:r>
            <a:r>
              <a:rPr lang="en-US" sz="1800" dirty="0">
                <a:solidFill>
                  <a:srgbClr val="3E3E3E"/>
                </a:solidFill>
                <a:effectLst/>
                <a:latin typeface="Arial MT"/>
                <a:ea typeface="Arial MT"/>
                <a:cs typeface="Arial MT"/>
              </a:rPr>
              <a:t>Systems.</a:t>
            </a:r>
            <a:r>
              <a:rPr lang="en-US" sz="1800" spc="-30" dirty="0">
                <a:solidFill>
                  <a:srgbClr val="3E3E3E"/>
                </a:solidFill>
                <a:effectLst/>
                <a:latin typeface="Arial MT"/>
                <a:ea typeface="Arial MT"/>
                <a:cs typeface="Arial MT"/>
              </a:rPr>
              <a:t> </a:t>
            </a:r>
            <a:r>
              <a:rPr lang="en-US" sz="1800" dirty="0">
                <a:solidFill>
                  <a:srgbClr val="3E3E3E"/>
                </a:solidFill>
                <a:effectLst/>
                <a:latin typeface="Arial MT"/>
                <a:ea typeface="Arial MT"/>
                <a:cs typeface="Arial MT"/>
              </a:rPr>
              <a:t>The</a:t>
            </a:r>
            <a:r>
              <a:rPr lang="en-US" sz="1800" spc="-5" dirty="0">
                <a:solidFill>
                  <a:srgbClr val="3E3E3E"/>
                </a:solidFill>
                <a:effectLst/>
                <a:latin typeface="Arial MT"/>
                <a:ea typeface="Arial MT"/>
                <a:cs typeface="Arial MT"/>
              </a:rPr>
              <a:t> </a:t>
            </a:r>
            <a:r>
              <a:rPr lang="en-US" sz="1800" dirty="0">
                <a:solidFill>
                  <a:srgbClr val="3E3E3E"/>
                </a:solidFill>
                <a:effectLst/>
                <a:latin typeface="Arial MT"/>
                <a:ea typeface="Arial MT"/>
                <a:cs typeface="Arial MT"/>
              </a:rPr>
              <a:t>World</a:t>
            </a:r>
            <a:r>
              <a:rPr lang="en-US" sz="1800" spc="-5" dirty="0">
                <a:solidFill>
                  <a:srgbClr val="3E3E3E"/>
                </a:solidFill>
                <a:effectLst/>
                <a:latin typeface="Arial MT"/>
                <a:ea typeface="Arial MT"/>
                <a:cs typeface="Arial MT"/>
              </a:rPr>
              <a:t> </a:t>
            </a:r>
            <a:r>
              <a:rPr lang="en-US" sz="1800" dirty="0">
                <a:solidFill>
                  <a:srgbClr val="3E3E3E"/>
                </a:solidFill>
                <a:effectLst/>
                <a:latin typeface="Arial MT"/>
                <a:ea typeface="Arial MT"/>
                <a:cs typeface="Arial MT"/>
              </a:rPr>
              <a:t>Bank,</a:t>
            </a:r>
            <a:r>
              <a:rPr lang="en-US" sz="1800" spc="-5" dirty="0">
                <a:solidFill>
                  <a:srgbClr val="3E3E3E"/>
                </a:solidFill>
                <a:effectLst/>
                <a:latin typeface="Arial MT"/>
                <a:ea typeface="Arial MT"/>
                <a:cs typeface="Arial MT"/>
              </a:rPr>
              <a:t> </a:t>
            </a:r>
            <a:r>
              <a:rPr lang="en-US" sz="1800" dirty="0">
                <a:solidFill>
                  <a:srgbClr val="3E3E3E"/>
                </a:solidFill>
                <a:effectLst/>
                <a:latin typeface="Arial MT"/>
                <a:ea typeface="Arial MT"/>
                <a:cs typeface="Arial MT"/>
              </a:rPr>
              <a:t>Washington,</a:t>
            </a:r>
            <a:r>
              <a:rPr lang="en-US" sz="1800" spc="-10" dirty="0">
                <a:solidFill>
                  <a:srgbClr val="3E3E3E"/>
                </a:solidFill>
                <a:effectLst/>
                <a:latin typeface="Arial MT"/>
                <a:ea typeface="Arial MT"/>
                <a:cs typeface="Arial MT"/>
              </a:rPr>
              <a:t> </a:t>
            </a:r>
            <a:r>
              <a:rPr lang="en-US" sz="1800" dirty="0">
                <a:solidFill>
                  <a:srgbClr val="3E3E3E"/>
                </a:solidFill>
                <a:effectLst/>
                <a:latin typeface="Arial MT"/>
                <a:ea typeface="Arial MT"/>
                <a:cs typeface="Arial MT"/>
              </a:rPr>
              <a:t>DC.</a:t>
            </a:r>
            <a:r>
              <a:rPr lang="en-US" sz="1800" spc="-5" dirty="0">
                <a:solidFill>
                  <a:srgbClr val="3E3E3E"/>
                </a:solidFill>
                <a:effectLst/>
                <a:latin typeface="Arial MT"/>
                <a:ea typeface="Arial MT"/>
                <a:cs typeface="Arial MT"/>
              </a:rPr>
              <a:t> </a:t>
            </a:r>
            <a:r>
              <a:rPr lang="en-US" sz="1800" dirty="0">
                <a:solidFill>
                  <a:srgbClr val="3E3E3E"/>
                </a:solidFill>
                <a:effectLst/>
                <a:latin typeface="Arial MT"/>
                <a:ea typeface="Arial MT"/>
                <a:cs typeface="Arial MT"/>
              </a:rPr>
              <a:t>Cited</a:t>
            </a:r>
            <a:r>
              <a:rPr lang="en-US" sz="1800" spc="-5" dirty="0">
                <a:solidFill>
                  <a:srgbClr val="3E3E3E"/>
                </a:solidFill>
                <a:effectLst/>
                <a:latin typeface="Arial MT"/>
                <a:ea typeface="Arial MT"/>
                <a:cs typeface="Arial MT"/>
              </a:rPr>
              <a:t> </a:t>
            </a:r>
            <a:r>
              <a:rPr lang="en-US" sz="1800" dirty="0">
                <a:solidFill>
                  <a:srgbClr val="3E3E3E"/>
                </a:solidFill>
                <a:effectLst/>
                <a:latin typeface="Arial MT"/>
                <a:ea typeface="Arial MT"/>
                <a:cs typeface="Arial MT"/>
              </a:rPr>
              <a:t>by</a:t>
            </a:r>
            <a:r>
              <a:rPr lang="en-US" sz="1800" spc="-5" dirty="0">
                <a:solidFill>
                  <a:srgbClr val="3E3E3E"/>
                </a:solidFill>
                <a:effectLst/>
                <a:latin typeface="Arial MT"/>
                <a:ea typeface="Arial MT"/>
                <a:cs typeface="Arial MT"/>
              </a:rPr>
              <a:t> </a:t>
            </a:r>
            <a:r>
              <a:rPr lang="en-US" sz="1800" dirty="0" err="1">
                <a:solidFill>
                  <a:srgbClr val="3E3E3E"/>
                </a:solidFill>
                <a:effectLst/>
                <a:latin typeface="Arial MT"/>
                <a:ea typeface="Arial MT"/>
                <a:cs typeface="Arial MT"/>
              </a:rPr>
              <a:t>Ekvall</a:t>
            </a:r>
            <a:r>
              <a:rPr lang="en-US" sz="1800" spc="-10" dirty="0">
                <a:solidFill>
                  <a:srgbClr val="3E3E3E"/>
                </a:solidFill>
                <a:effectLst/>
                <a:latin typeface="Arial MT"/>
                <a:ea typeface="Arial MT"/>
                <a:cs typeface="Arial MT"/>
              </a:rPr>
              <a:t> </a:t>
            </a:r>
            <a:r>
              <a:rPr lang="en-US" sz="1800" dirty="0">
                <a:solidFill>
                  <a:srgbClr val="3E3E3E"/>
                </a:solidFill>
                <a:effectLst/>
                <a:latin typeface="Arial MT"/>
                <a:ea typeface="Arial MT"/>
                <a:cs typeface="Arial MT"/>
              </a:rPr>
              <a:t>et</a:t>
            </a:r>
            <a:r>
              <a:rPr lang="en-US" sz="1800" spc="-10" dirty="0">
                <a:solidFill>
                  <a:srgbClr val="3E3E3E"/>
                </a:solidFill>
                <a:effectLst/>
                <a:latin typeface="Arial MT"/>
                <a:ea typeface="Arial MT"/>
                <a:cs typeface="Arial MT"/>
              </a:rPr>
              <a:t> </a:t>
            </a:r>
            <a:r>
              <a:rPr lang="en-US" sz="1800" dirty="0">
                <a:solidFill>
                  <a:srgbClr val="3E3E3E"/>
                </a:solidFill>
                <a:effectLst/>
                <a:latin typeface="Arial MT"/>
                <a:ea typeface="Arial MT"/>
                <a:cs typeface="Arial MT"/>
              </a:rPr>
              <a:t>al.</a:t>
            </a:r>
            <a:r>
              <a:rPr lang="en-US" sz="1800" spc="-5" dirty="0">
                <a:solidFill>
                  <a:srgbClr val="3E3E3E"/>
                </a:solidFill>
                <a:effectLst/>
                <a:latin typeface="Arial MT"/>
                <a:ea typeface="Arial MT"/>
                <a:cs typeface="Arial MT"/>
              </a:rPr>
              <a:t> </a:t>
            </a:r>
            <a:r>
              <a:rPr lang="en-US" sz="1800" dirty="0">
                <a:solidFill>
                  <a:srgbClr val="3E3E3E"/>
                </a:solidFill>
                <a:effectLst/>
                <a:latin typeface="Arial MT"/>
                <a:ea typeface="Arial MT"/>
                <a:cs typeface="Arial MT"/>
              </a:rPr>
              <a:t>(2019),</a:t>
            </a:r>
            <a:r>
              <a:rPr lang="en-US" sz="1800" spc="-5" dirty="0">
                <a:solidFill>
                  <a:srgbClr val="3E3E3E"/>
                </a:solidFill>
                <a:effectLst/>
                <a:latin typeface="Arial MT"/>
                <a:ea typeface="Arial MT"/>
                <a:cs typeface="Arial MT"/>
              </a:rPr>
              <a:t> </a:t>
            </a:r>
            <a:r>
              <a:rPr lang="en-US" sz="1800" dirty="0">
                <a:solidFill>
                  <a:srgbClr val="3E3E3E"/>
                </a:solidFill>
                <a:effectLst/>
                <a:latin typeface="Arial MT"/>
                <a:ea typeface="Arial MT"/>
                <a:cs typeface="Arial MT"/>
              </a:rPr>
              <a:t>p.15</a:t>
            </a:r>
            <a:r>
              <a:rPr lang="en-US" sz="1100" dirty="0">
                <a:effectLst/>
                <a:latin typeface="Arial MT"/>
                <a:ea typeface="Arial MT"/>
                <a:cs typeface="Arial MT"/>
              </a:rPr>
              <a:t>], who highlights two established</a:t>
            </a:r>
            <a:r>
              <a:rPr lang="en-US" sz="1100" spc="5" dirty="0">
                <a:effectLst/>
                <a:latin typeface="Arial MT"/>
                <a:ea typeface="Arial MT"/>
                <a:cs typeface="Arial MT"/>
              </a:rPr>
              <a:t> </a:t>
            </a:r>
            <a:r>
              <a:rPr lang="en-US" sz="1100" dirty="0">
                <a:effectLst/>
                <a:latin typeface="Arial MT"/>
                <a:ea typeface="Arial MT"/>
                <a:cs typeface="Arial MT"/>
              </a:rPr>
              <a:t>principles for the development of</a:t>
            </a:r>
            <a:r>
              <a:rPr lang="en-US" sz="1100" spc="-5" dirty="0">
                <a:effectLst/>
                <a:latin typeface="Arial MT"/>
                <a:ea typeface="Arial MT"/>
                <a:cs typeface="Arial MT"/>
              </a:rPr>
              <a:t> </a:t>
            </a:r>
            <a:r>
              <a:rPr lang="en-US" sz="1100" dirty="0">
                <a:effectLst/>
                <a:latin typeface="Arial MT"/>
                <a:ea typeface="Arial MT"/>
                <a:cs typeface="Arial MT"/>
              </a:rPr>
              <a:t>performance indicators:</a:t>
            </a:r>
            <a:endParaRPr lang="sv-SE" sz="1100" dirty="0">
              <a:effectLst/>
              <a:latin typeface="Arial MT"/>
              <a:ea typeface="Arial MT"/>
              <a:cs typeface="Arial MT"/>
            </a:endParaRPr>
          </a:p>
          <a:p>
            <a:pPr>
              <a:spcBef>
                <a:spcPts val="50"/>
              </a:spcBef>
            </a:pPr>
            <a:r>
              <a:rPr lang="en-US" sz="1000" dirty="0">
                <a:effectLst/>
                <a:latin typeface="Arial MT"/>
                <a:ea typeface="Arial MT"/>
                <a:cs typeface="Arial MT"/>
              </a:rPr>
              <a:t> </a:t>
            </a:r>
            <a:endParaRPr lang="sv-SE" sz="1100" dirty="0">
              <a:effectLst/>
              <a:latin typeface="Arial MT"/>
              <a:ea typeface="Arial MT"/>
              <a:cs typeface="Arial MT"/>
            </a:endParaRPr>
          </a:p>
          <a:p>
            <a:pPr marL="1143000" lvl="2" indent="-228600">
              <a:buSzPts val="1100"/>
              <a:buFont typeface="Symbol" panose="05050102010706020507" pitchFamily="18" charset="2"/>
              <a:buChar char=""/>
              <a:tabLst>
                <a:tab pos="1176655" algn="l"/>
                <a:tab pos="1177290" algn="l"/>
              </a:tabLst>
            </a:pPr>
            <a:r>
              <a:rPr lang="en-US" sz="1100" dirty="0">
                <a:effectLst/>
                <a:latin typeface="Arial MT"/>
                <a:ea typeface="Symbol" panose="05050102010706020507" pitchFamily="18" charset="2"/>
                <a:cs typeface="Symbol" panose="05050102010706020507" pitchFamily="18" charset="2"/>
              </a:rPr>
              <a:t>SMART</a:t>
            </a:r>
            <a:r>
              <a:rPr lang="en-US" sz="1100" spc="-35" dirty="0">
                <a:effectLst/>
                <a:latin typeface="Arial MT"/>
                <a:ea typeface="Symbol" panose="05050102010706020507" pitchFamily="18" charset="2"/>
                <a:cs typeface="Symbol" panose="05050102010706020507" pitchFamily="18" charset="2"/>
              </a:rPr>
              <a:t> </a:t>
            </a:r>
            <a:r>
              <a:rPr lang="en-US" sz="1100" dirty="0">
                <a:effectLst/>
                <a:latin typeface="Arial MT"/>
                <a:ea typeface="Symbol" panose="05050102010706020507" pitchFamily="18" charset="2"/>
                <a:cs typeface="Symbol" panose="05050102010706020507" pitchFamily="18" charset="2"/>
              </a:rPr>
              <a:t>is</a:t>
            </a:r>
            <a:r>
              <a:rPr lang="en-US" sz="1100" spc="-10" dirty="0">
                <a:effectLst/>
                <a:latin typeface="Arial MT"/>
                <a:ea typeface="Symbol" panose="05050102010706020507" pitchFamily="18" charset="2"/>
                <a:cs typeface="Symbol" panose="05050102010706020507" pitchFamily="18" charset="2"/>
              </a:rPr>
              <a:t> </a:t>
            </a:r>
            <a:r>
              <a:rPr lang="en-US" sz="1100" dirty="0">
                <a:effectLst/>
                <a:latin typeface="Arial MT"/>
                <a:ea typeface="Symbol" panose="05050102010706020507" pitchFamily="18" charset="2"/>
                <a:cs typeface="Symbol" panose="05050102010706020507" pitchFamily="18" charset="2"/>
              </a:rPr>
              <a:t>a</a:t>
            </a:r>
            <a:r>
              <a:rPr lang="en-US" sz="1100" spc="-10" dirty="0">
                <a:effectLst/>
                <a:latin typeface="Arial MT"/>
                <a:ea typeface="Symbol" panose="05050102010706020507" pitchFamily="18" charset="2"/>
                <a:cs typeface="Symbol" panose="05050102010706020507" pitchFamily="18" charset="2"/>
              </a:rPr>
              <a:t> </a:t>
            </a:r>
            <a:r>
              <a:rPr lang="en-US" sz="1100" dirty="0">
                <a:effectLst/>
                <a:latin typeface="Arial MT"/>
                <a:ea typeface="Symbol" panose="05050102010706020507" pitchFamily="18" charset="2"/>
                <a:cs typeface="Symbol" panose="05050102010706020507" pitchFamily="18" charset="2"/>
              </a:rPr>
              <a:t>framework</a:t>
            </a:r>
            <a:r>
              <a:rPr lang="en-US" sz="1100" spc="-10" dirty="0">
                <a:effectLst/>
                <a:latin typeface="Arial MT"/>
                <a:ea typeface="Symbol" panose="05050102010706020507" pitchFamily="18" charset="2"/>
                <a:cs typeface="Symbol" panose="05050102010706020507" pitchFamily="18" charset="2"/>
              </a:rPr>
              <a:t> </a:t>
            </a:r>
            <a:r>
              <a:rPr lang="en-US" sz="1100" dirty="0">
                <a:effectLst/>
                <a:latin typeface="Arial MT"/>
                <a:ea typeface="Symbol" panose="05050102010706020507" pitchFamily="18" charset="2"/>
                <a:cs typeface="Symbol" panose="05050102010706020507" pitchFamily="18" charset="2"/>
              </a:rPr>
              <a:t>for</a:t>
            </a:r>
            <a:r>
              <a:rPr lang="en-US" sz="1100" spc="-10" dirty="0">
                <a:effectLst/>
                <a:latin typeface="Arial MT"/>
                <a:ea typeface="Symbol" panose="05050102010706020507" pitchFamily="18" charset="2"/>
                <a:cs typeface="Symbol" panose="05050102010706020507" pitchFamily="18" charset="2"/>
              </a:rPr>
              <a:t> </a:t>
            </a:r>
            <a:r>
              <a:rPr lang="en-US" sz="1100" dirty="0">
                <a:effectLst/>
                <a:latin typeface="Arial MT"/>
                <a:ea typeface="Symbol" panose="05050102010706020507" pitchFamily="18" charset="2"/>
                <a:cs typeface="Symbol" panose="05050102010706020507" pitchFamily="18" charset="2"/>
              </a:rPr>
              <a:t>management</a:t>
            </a:r>
            <a:r>
              <a:rPr lang="en-US" sz="1100" spc="-10" dirty="0">
                <a:effectLst/>
                <a:latin typeface="Arial MT"/>
                <a:ea typeface="Symbol" panose="05050102010706020507" pitchFamily="18" charset="2"/>
                <a:cs typeface="Symbol" panose="05050102010706020507" pitchFamily="18" charset="2"/>
              </a:rPr>
              <a:t> </a:t>
            </a:r>
            <a:r>
              <a:rPr lang="en-US" sz="1100" dirty="0">
                <a:effectLst/>
                <a:latin typeface="Arial MT"/>
                <a:ea typeface="Symbol" panose="05050102010706020507" pitchFamily="18" charset="2"/>
                <a:cs typeface="Symbol" panose="05050102010706020507" pitchFamily="18" charset="2"/>
              </a:rPr>
              <a:t>by</a:t>
            </a:r>
            <a:r>
              <a:rPr lang="en-US" sz="1100" spc="-10" dirty="0">
                <a:effectLst/>
                <a:latin typeface="Arial MT"/>
                <a:ea typeface="Symbol" panose="05050102010706020507" pitchFamily="18" charset="2"/>
                <a:cs typeface="Symbol" panose="05050102010706020507" pitchFamily="18" charset="2"/>
              </a:rPr>
              <a:t> </a:t>
            </a:r>
            <a:r>
              <a:rPr lang="en-US" sz="1100" dirty="0">
                <a:effectLst/>
                <a:latin typeface="Arial MT"/>
                <a:ea typeface="Symbol" panose="05050102010706020507" pitchFamily="18" charset="2"/>
                <a:cs typeface="Symbol" panose="05050102010706020507" pitchFamily="18" charset="2"/>
              </a:rPr>
              <a:t>objectives,</a:t>
            </a:r>
            <a:r>
              <a:rPr lang="en-US" sz="1100" spc="-15" dirty="0">
                <a:effectLst/>
                <a:latin typeface="Arial MT"/>
                <a:ea typeface="Symbol" panose="05050102010706020507" pitchFamily="18" charset="2"/>
                <a:cs typeface="Symbol" panose="05050102010706020507" pitchFamily="18" charset="2"/>
              </a:rPr>
              <a:t> </a:t>
            </a:r>
            <a:r>
              <a:rPr lang="en-US" sz="1100" dirty="0">
                <a:effectLst/>
                <a:latin typeface="Arial MT"/>
                <a:ea typeface="Symbol" panose="05050102010706020507" pitchFamily="18" charset="2"/>
                <a:cs typeface="Symbol" panose="05050102010706020507" pitchFamily="18" charset="2"/>
              </a:rPr>
              <a:t>presented</a:t>
            </a:r>
            <a:r>
              <a:rPr lang="en-US" sz="1100" spc="-10" dirty="0">
                <a:effectLst/>
                <a:latin typeface="Arial MT"/>
                <a:ea typeface="Symbol" panose="05050102010706020507" pitchFamily="18" charset="2"/>
                <a:cs typeface="Symbol" panose="05050102010706020507" pitchFamily="18" charset="2"/>
              </a:rPr>
              <a:t> </a:t>
            </a:r>
            <a:r>
              <a:rPr lang="en-US" sz="1100" dirty="0">
                <a:effectLst/>
                <a:latin typeface="Arial MT"/>
                <a:ea typeface="Symbol" panose="05050102010706020507" pitchFamily="18" charset="2"/>
                <a:cs typeface="Symbol" panose="05050102010706020507" pitchFamily="18" charset="2"/>
              </a:rPr>
              <a:t>by</a:t>
            </a:r>
            <a:r>
              <a:rPr lang="en-US" sz="1100" spc="-10" dirty="0">
                <a:effectLst/>
                <a:latin typeface="Arial MT"/>
                <a:ea typeface="Symbol" panose="05050102010706020507" pitchFamily="18" charset="2"/>
                <a:cs typeface="Symbol" panose="05050102010706020507" pitchFamily="18" charset="2"/>
              </a:rPr>
              <a:t> </a:t>
            </a:r>
            <a:r>
              <a:rPr lang="en-US" sz="1100" dirty="0">
                <a:effectLst/>
                <a:latin typeface="Arial MT"/>
                <a:ea typeface="Symbol" panose="05050102010706020507" pitchFamily="18" charset="2"/>
                <a:cs typeface="Symbol" panose="05050102010706020507" pitchFamily="18" charset="2"/>
              </a:rPr>
              <a:t>Drucker</a:t>
            </a:r>
            <a:r>
              <a:rPr lang="en-US" sz="1100" spc="-10" dirty="0">
                <a:effectLst/>
                <a:latin typeface="Arial MT"/>
                <a:ea typeface="Symbol" panose="05050102010706020507" pitchFamily="18" charset="2"/>
                <a:cs typeface="Symbol" panose="05050102010706020507" pitchFamily="18" charset="2"/>
              </a:rPr>
              <a:t> </a:t>
            </a:r>
            <a:r>
              <a:rPr lang="en-US" sz="1100" dirty="0">
                <a:effectLst/>
                <a:latin typeface="Arial MT"/>
                <a:ea typeface="Symbol" panose="05050102010706020507" pitchFamily="18" charset="2"/>
                <a:cs typeface="Symbol" panose="05050102010706020507" pitchFamily="18" charset="2"/>
              </a:rPr>
              <a:t>(1954)</a:t>
            </a:r>
            <a:r>
              <a:rPr lang="en-US" sz="1100" spc="-5" dirty="0">
                <a:effectLst/>
                <a:latin typeface="Arial MT"/>
                <a:ea typeface="Symbol" panose="05050102010706020507" pitchFamily="18" charset="2"/>
                <a:cs typeface="Symbol" panose="05050102010706020507" pitchFamily="18" charset="2"/>
              </a:rPr>
              <a:t> </a:t>
            </a:r>
            <a:r>
              <a:rPr lang="en-US" sz="1100" dirty="0">
                <a:effectLst/>
                <a:latin typeface="Arial MT"/>
                <a:ea typeface="Symbol" panose="05050102010706020507" pitchFamily="18" charset="2"/>
                <a:cs typeface="Symbol" panose="05050102010706020507" pitchFamily="18" charset="2"/>
              </a:rPr>
              <a:t>[</a:t>
            </a:r>
            <a:r>
              <a:rPr lang="en-US" sz="1800" dirty="0">
                <a:solidFill>
                  <a:srgbClr val="3E3E3E"/>
                </a:solidFill>
                <a:effectLst/>
                <a:latin typeface="Arial MT"/>
                <a:ea typeface="Arial MT"/>
                <a:cs typeface="Arial MT"/>
              </a:rPr>
              <a:t>Drucker,</a:t>
            </a:r>
            <a:r>
              <a:rPr lang="en-US" sz="1800" spc="-30" dirty="0">
                <a:solidFill>
                  <a:srgbClr val="3E3E3E"/>
                </a:solidFill>
                <a:effectLst/>
                <a:latin typeface="Arial MT"/>
                <a:ea typeface="Arial MT"/>
                <a:cs typeface="Arial MT"/>
              </a:rPr>
              <a:t> </a:t>
            </a:r>
            <a:r>
              <a:rPr lang="en-US" sz="1800" dirty="0">
                <a:solidFill>
                  <a:srgbClr val="3E3E3E"/>
                </a:solidFill>
                <a:effectLst/>
                <a:latin typeface="Arial MT"/>
                <a:ea typeface="Arial MT"/>
                <a:cs typeface="Arial MT"/>
              </a:rPr>
              <a:t>P.</a:t>
            </a:r>
            <a:r>
              <a:rPr lang="en-US" sz="1800" spc="-20" dirty="0">
                <a:solidFill>
                  <a:srgbClr val="3E3E3E"/>
                </a:solidFill>
                <a:effectLst/>
                <a:latin typeface="Arial MT"/>
                <a:ea typeface="Arial MT"/>
                <a:cs typeface="Arial MT"/>
              </a:rPr>
              <a:t> </a:t>
            </a:r>
            <a:r>
              <a:rPr lang="en-US" sz="1800" dirty="0">
                <a:solidFill>
                  <a:srgbClr val="3E3E3E"/>
                </a:solidFill>
                <a:effectLst/>
                <a:latin typeface="Arial MT"/>
                <a:ea typeface="Arial MT"/>
                <a:cs typeface="Arial MT"/>
              </a:rPr>
              <a:t>F.</a:t>
            </a:r>
            <a:r>
              <a:rPr lang="en-US" sz="1800" spc="-25" dirty="0">
                <a:solidFill>
                  <a:srgbClr val="3E3E3E"/>
                </a:solidFill>
                <a:effectLst/>
                <a:latin typeface="Arial MT"/>
                <a:ea typeface="Arial MT"/>
                <a:cs typeface="Arial MT"/>
              </a:rPr>
              <a:t> </a:t>
            </a:r>
            <a:r>
              <a:rPr lang="en-US" sz="1800" dirty="0">
                <a:solidFill>
                  <a:srgbClr val="3E3E3E"/>
                </a:solidFill>
                <a:effectLst/>
                <a:latin typeface="Arial MT"/>
                <a:ea typeface="Arial MT"/>
                <a:cs typeface="Arial MT"/>
              </a:rPr>
              <a:t>(1954).</a:t>
            </a:r>
            <a:r>
              <a:rPr lang="en-US" sz="1800" spc="-35" dirty="0">
                <a:solidFill>
                  <a:srgbClr val="3E3E3E"/>
                </a:solidFill>
                <a:effectLst/>
                <a:latin typeface="Arial MT"/>
                <a:ea typeface="Arial MT"/>
                <a:cs typeface="Arial MT"/>
              </a:rPr>
              <a:t> </a:t>
            </a:r>
            <a:r>
              <a:rPr lang="en-US" sz="1800" dirty="0">
                <a:solidFill>
                  <a:srgbClr val="3E3E3E"/>
                </a:solidFill>
                <a:effectLst/>
                <a:latin typeface="Arial MT"/>
                <a:ea typeface="Arial MT"/>
                <a:cs typeface="Arial MT"/>
              </a:rPr>
              <a:t>The</a:t>
            </a:r>
            <a:r>
              <a:rPr lang="en-US" sz="1800" spc="-25" dirty="0">
                <a:solidFill>
                  <a:srgbClr val="3E3E3E"/>
                </a:solidFill>
                <a:effectLst/>
                <a:latin typeface="Arial MT"/>
                <a:ea typeface="Arial MT"/>
                <a:cs typeface="Arial MT"/>
              </a:rPr>
              <a:t> </a:t>
            </a:r>
            <a:r>
              <a:rPr lang="en-US" sz="1800" dirty="0">
                <a:solidFill>
                  <a:srgbClr val="3E3E3E"/>
                </a:solidFill>
                <a:effectLst/>
                <a:latin typeface="Arial MT"/>
                <a:ea typeface="Arial MT"/>
                <a:cs typeface="Arial MT"/>
              </a:rPr>
              <a:t>practice</a:t>
            </a:r>
            <a:r>
              <a:rPr lang="en-US" sz="1800" spc="-20" dirty="0">
                <a:solidFill>
                  <a:srgbClr val="3E3E3E"/>
                </a:solidFill>
                <a:effectLst/>
                <a:latin typeface="Arial MT"/>
                <a:ea typeface="Arial MT"/>
                <a:cs typeface="Arial MT"/>
              </a:rPr>
              <a:t> </a:t>
            </a:r>
            <a:r>
              <a:rPr lang="en-US" sz="1800" dirty="0">
                <a:solidFill>
                  <a:srgbClr val="3E3E3E"/>
                </a:solidFill>
                <a:effectLst/>
                <a:latin typeface="Arial MT"/>
                <a:ea typeface="Arial MT"/>
                <a:cs typeface="Arial MT"/>
              </a:rPr>
              <a:t>of</a:t>
            </a:r>
            <a:r>
              <a:rPr lang="en-US" sz="1800" spc="-25" dirty="0">
                <a:solidFill>
                  <a:srgbClr val="3E3E3E"/>
                </a:solidFill>
                <a:effectLst/>
                <a:latin typeface="Arial MT"/>
                <a:ea typeface="Arial MT"/>
                <a:cs typeface="Arial MT"/>
              </a:rPr>
              <a:t> </a:t>
            </a:r>
            <a:r>
              <a:rPr lang="en-US" sz="1800" dirty="0">
                <a:solidFill>
                  <a:srgbClr val="3E3E3E"/>
                </a:solidFill>
                <a:effectLst/>
                <a:latin typeface="Arial MT"/>
                <a:ea typeface="Arial MT"/>
                <a:cs typeface="Arial MT"/>
              </a:rPr>
              <a:t>management.</a:t>
            </a:r>
            <a:r>
              <a:rPr lang="en-US" sz="1800" spc="-20" dirty="0">
                <a:solidFill>
                  <a:srgbClr val="3E3E3E"/>
                </a:solidFill>
                <a:effectLst/>
                <a:latin typeface="Arial MT"/>
                <a:ea typeface="Arial MT"/>
                <a:cs typeface="Arial MT"/>
              </a:rPr>
              <a:t> </a:t>
            </a:r>
            <a:r>
              <a:rPr lang="en-US" sz="1800" dirty="0">
                <a:solidFill>
                  <a:srgbClr val="3E3E3E"/>
                </a:solidFill>
                <a:effectLst/>
                <a:latin typeface="Arial MT"/>
                <a:ea typeface="Arial MT"/>
                <a:cs typeface="Arial MT"/>
              </a:rPr>
              <a:t>Harper</a:t>
            </a:r>
            <a:r>
              <a:rPr lang="en-US" sz="1800" spc="-25" dirty="0">
                <a:solidFill>
                  <a:srgbClr val="3E3E3E"/>
                </a:solidFill>
                <a:effectLst/>
                <a:latin typeface="Arial MT"/>
                <a:ea typeface="Arial MT"/>
                <a:cs typeface="Arial MT"/>
              </a:rPr>
              <a:t> </a:t>
            </a:r>
            <a:r>
              <a:rPr lang="en-US" sz="1800" dirty="0">
                <a:solidFill>
                  <a:srgbClr val="3E3E3E"/>
                </a:solidFill>
                <a:effectLst/>
                <a:latin typeface="Arial MT"/>
                <a:ea typeface="Arial MT"/>
                <a:cs typeface="Arial MT"/>
              </a:rPr>
              <a:t>&amp;</a:t>
            </a:r>
            <a:r>
              <a:rPr lang="en-US" sz="1800" spc="-20" dirty="0">
                <a:solidFill>
                  <a:srgbClr val="3E3E3E"/>
                </a:solidFill>
                <a:effectLst/>
                <a:latin typeface="Arial MT"/>
                <a:ea typeface="Arial MT"/>
                <a:cs typeface="Arial MT"/>
              </a:rPr>
              <a:t> </a:t>
            </a:r>
            <a:r>
              <a:rPr lang="en-US" sz="1800" dirty="0">
                <a:solidFill>
                  <a:srgbClr val="3E3E3E"/>
                </a:solidFill>
                <a:effectLst/>
                <a:latin typeface="Arial MT"/>
                <a:ea typeface="Arial MT"/>
                <a:cs typeface="Arial MT"/>
              </a:rPr>
              <a:t>Row,</a:t>
            </a:r>
            <a:r>
              <a:rPr lang="en-US" sz="1800" spc="-25" dirty="0">
                <a:solidFill>
                  <a:srgbClr val="3E3E3E"/>
                </a:solidFill>
                <a:effectLst/>
                <a:latin typeface="Arial MT"/>
                <a:ea typeface="Arial MT"/>
                <a:cs typeface="Arial MT"/>
              </a:rPr>
              <a:t> </a:t>
            </a:r>
            <a:r>
              <a:rPr lang="en-US" sz="1800" dirty="0">
                <a:solidFill>
                  <a:srgbClr val="3E3E3E"/>
                </a:solidFill>
                <a:effectLst/>
                <a:latin typeface="Arial MT"/>
                <a:ea typeface="Arial MT"/>
                <a:cs typeface="Arial MT"/>
              </a:rPr>
              <a:t>New</a:t>
            </a:r>
            <a:r>
              <a:rPr lang="en-US" sz="1800" spc="-40" dirty="0">
                <a:solidFill>
                  <a:srgbClr val="3E3E3E"/>
                </a:solidFill>
                <a:effectLst/>
                <a:latin typeface="Arial MT"/>
                <a:ea typeface="Arial MT"/>
                <a:cs typeface="Arial MT"/>
              </a:rPr>
              <a:t> </a:t>
            </a:r>
            <a:r>
              <a:rPr lang="en-US" sz="1800" dirty="0">
                <a:solidFill>
                  <a:srgbClr val="3E3E3E"/>
                </a:solidFill>
                <a:effectLst/>
                <a:latin typeface="Arial MT"/>
                <a:ea typeface="Arial MT"/>
                <a:cs typeface="Arial MT"/>
              </a:rPr>
              <a:t>York.</a:t>
            </a:r>
            <a:r>
              <a:rPr lang="en-US" sz="1800" spc="-20" dirty="0">
                <a:solidFill>
                  <a:srgbClr val="3E3E3E"/>
                </a:solidFill>
                <a:effectLst/>
                <a:latin typeface="Arial MT"/>
                <a:ea typeface="Arial MT"/>
                <a:cs typeface="Arial MT"/>
              </a:rPr>
              <a:t> </a:t>
            </a:r>
            <a:r>
              <a:rPr lang="en-US" sz="1800" dirty="0">
                <a:solidFill>
                  <a:srgbClr val="3E3E3E"/>
                </a:solidFill>
                <a:effectLst/>
                <a:latin typeface="Arial MT"/>
                <a:ea typeface="Arial MT"/>
                <a:cs typeface="Arial MT"/>
              </a:rPr>
              <a:t>Cited</a:t>
            </a:r>
            <a:r>
              <a:rPr lang="en-US" sz="1800" spc="-25" dirty="0">
                <a:solidFill>
                  <a:srgbClr val="3E3E3E"/>
                </a:solidFill>
                <a:effectLst/>
                <a:latin typeface="Arial MT"/>
                <a:ea typeface="Arial MT"/>
                <a:cs typeface="Arial MT"/>
              </a:rPr>
              <a:t> </a:t>
            </a:r>
            <a:r>
              <a:rPr lang="en-US" sz="1800" dirty="0">
                <a:solidFill>
                  <a:srgbClr val="3E3E3E"/>
                </a:solidFill>
                <a:effectLst/>
                <a:latin typeface="Arial MT"/>
                <a:ea typeface="Arial MT"/>
                <a:cs typeface="Arial MT"/>
              </a:rPr>
              <a:t>by</a:t>
            </a:r>
            <a:r>
              <a:rPr lang="en-US" sz="1800" spc="-20" dirty="0">
                <a:solidFill>
                  <a:srgbClr val="3E3E3E"/>
                </a:solidFill>
                <a:effectLst/>
                <a:latin typeface="Arial MT"/>
                <a:ea typeface="Arial MT"/>
                <a:cs typeface="Arial MT"/>
              </a:rPr>
              <a:t> </a:t>
            </a:r>
            <a:r>
              <a:rPr lang="en-US" sz="1800" dirty="0" err="1">
                <a:solidFill>
                  <a:srgbClr val="3E3E3E"/>
                </a:solidFill>
                <a:effectLst/>
                <a:latin typeface="Arial MT"/>
                <a:ea typeface="Arial MT"/>
                <a:cs typeface="Arial MT"/>
              </a:rPr>
              <a:t>Ekvall</a:t>
            </a:r>
            <a:r>
              <a:rPr lang="en-US" sz="1800" spc="-25" dirty="0">
                <a:solidFill>
                  <a:srgbClr val="3E3E3E"/>
                </a:solidFill>
                <a:effectLst/>
                <a:latin typeface="Arial MT"/>
                <a:ea typeface="Arial MT"/>
                <a:cs typeface="Arial MT"/>
              </a:rPr>
              <a:t> </a:t>
            </a:r>
            <a:r>
              <a:rPr lang="en-US" sz="1800" dirty="0">
                <a:solidFill>
                  <a:srgbClr val="3E3E3E"/>
                </a:solidFill>
                <a:effectLst/>
                <a:latin typeface="Arial MT"/>
                <a:ea typeface="Arial MT"/>
                <a:cs typeface="Arial MT"/>
              </a:rPr>
              <a:t>et</a:t>
            </a:r>
            <a:r>
              <a:rPr lang="en-US" sz="1800" spc="-295" dirty="0">
                <a:solidFill>
                  <a:srgbClr val="3E3E3E"/>
                </a:solidFill>
                <a:effectLst/>
                <a:latin typeface="Arial MT"/>
                <a:ea typeface="Arial MT"/>
                <a:cs typeface="Arial MT"/>
              </a:rPr>
              <a:t> </a:t>
            </a:r>
            <a:r>
              <a:rPr lang="en-US" sz="1800" dirty="0">
                <a:solidFill>
                  <a:srgbClr val="3E3E3E"/>
                </a:solidFill>
                <a:effectLst/>
                <a:latin typeface="Arial MT"/>
                <a:ea typeface="Arial MT"/>
                <a:cs typeface="Arial MT"/>
              </a:rPr>
              <a:t>al.</a:t>
            </a:r>
            <a:r>
              <a:rPr lang="en-US" sz="1800" spc="-5" dirty="0">
                <a:solidFill>
                  <a:srgbClr val="3E3E3E"/>
                </a:solidFill>
                <a:effectLst/>
                <a:latin typeface="Arial MT"/>
                <a:ea typeface="Arial MT"/>
                <a:cs typeface="Arial MT"/>
              </a:rPr>
              <a:t> </a:t>
            </a:r>
            <a:r>
              <a:rPr lang="en-US" sz="1800" dirty="0">
                <a:solidFill>
                  <a:srgbClr val="3E3E3E"/>
                </a:solidFill>
                <a:effectLst/>
                <a:latin typeface="Arial MT"/>
                <a:ea typeface="Arial MT"/>
                <a:cs typeface="Arial MT"/>
              </a:rPr>
              <a:t>(2019), p.15</a:t>
            </a:r>
            <a:r>
              <a:rPr lang="en-US" sz="1100" dirty="0">
                <a:effectLst/>
                <a:latin typeface="Arial MT"/>
                <a:ea typeface="Symbol" panose="05050102010706020507" pitchFamily="18" charset="2"/>
                <a:cs typeface="Symbol" panose="05050102010706020507" pitchFamily="18" charset="2"/>
              </a:rPr>
              <a:t>]</a:t>
            </a:r>
            <a:r>
              <a:rPr lang="en-US" sz="1100" spc="-10" dirty="0">
                <a:effectLst/>
                <a:latin typeface="Arial MT"/>
                <a:ea typeface="Symbol" panose="05050102010706020507" pitchFamily="18" charset="2"/>
                <a:cs typeface="Symbol" panose="05050102010706020507" pitchFamily="18" charset="2"/>
              </a:rPr>
              <a:t> </a:t>
            </a:r>
            <a:r>
              <a:rPr lang="en-US" sz="1100" dirty="0">
                <a:effectLst/>
                <a:latin typeface="Arial MT"/>
                <a:ea typeface="Symbol" panose="05050102010706020507" pitchFamily="18" charset="2"/>
                <a:cs typeface="Symbol" panose="05050102010706020507" pitchFamily="18" charset="2"/>
              </a:rPr>
              <a:t>:</a:t>
            </a:r>
            <a:endParaRPr lang="sv-SE" sz="1100" dirty="0">
              <a:effectLst/>
              <a:latin typeface="Arial MT"/>
              <a:ea typeface="Symbol" panose="05050102010706020507" pitchFamily="18" charset="2"/>
              <a:cs typeface="Symbol" panose="05050102010706020507" pitchFamily="18" charset="2"/>
            </a:endParaRPr>
          </a:p>
          <a:p>
            <a:pPr marL="1600200" lvl="3" indent="-228600">
              <a:spcBef>
                <a:spcPts val="880"/>
              </a:spcBef>
              <a:spcAft>
                <a:spcPts val="0"/>
              </a:spcAft>
              <a:buSzPts val="1100"/>
              <a:buFont typeface="Courier New" panose="02070309020205020404" pitchFamily="49" charset="0"/>
              <a:buChar char="o"/>
              <a:tabLst>
                <a:tab pos="1634490" algn="l"/>
              </a:tabLst>
            </a:pPr>
            <a:r>
              <a:rPr lang="en-US" sz="1100" i="1" dirty="0">
                <a:effectLst/>
                <a:latin typeface="Arial" panose="020B0604020202020204" pitchFamily="34" charset="0"/>
                <a:ea typeface="Courier New" panose="02070309020205020404" pitchFamily="49" charset="0"/>
                <a:cs typeface="Arial MT"/>
              </a:rPr>
              <a:t>Specific</a:t>
            </a:r>
            <a:r>
              <a:rPr lang="en-US" sz="1100" i="1" spc="-20" dirty="0">
                <a:effectLst/>
                <a:latin typeface="Arial" panose="020B0604020202020204" pitchFamily="34" charset="0"/>
                <a:ea typeface="Courier New" panose="02070309020205020404" pitchFamily="49" charset="0"/>
                <a:cs typeface="Arial MT"/>
              </a:rPr>
              <a:t> </a:t>
            </a:r>
            <a:r>
              <a:rPr lang="en-US" sz="1100" i="1" dirty="0">
                <a:effectLst/>
                <a:latin typeface="Arial" panose="020B0604020202020204" pitchFamily="34" charset="0"/>
                <a:ea typeface="Courier New" panose="02070309020205020404" pitchFamily="49" charset="0"/>
                <a:cs typeface="Arial MT"/>
              </a:rPr>
              <a:t>(precise</a:t>
            </a:r>
            <a:r>
              <a:rPr lang="en-US" sz="1100" i="1" spc="-20" dirty="0">
                <a:effectLst/>
                <a:latin typeface="Arial" panose="020B0604020202020204" pitchFamily="34" charset="0"/>
                <a:ea typeface="Courier New" panose="02070309020205020404" pitchFamily="49" charset="0"/>
                <a:cs typeface="Arial MT"/>
              </a:rPr>
              <a:t> </a:t>
            </a:r>
            <a:r>
              <a:rPr lang="en-US" sz="1100" i="1" dirty="0">
                <a:effectLst/>
                <a:latin typeface="Arial" panose="020B0604020202020204" pitchFamily="34" charset="0"/>
                <a:ea typeface="Courier New" panose="02070309020205020404" pitchFamily="49" charset="0"/>
                <a:cs typeface="Arial MT"/>
              </a:rPr>
              <a:t>and</a:t>
            </a:r>
            <a:r>
              <a:rPr lang="en-US" sz="1100" i="1" spc="-15" dirty="0">
                <a:effectLst/>
                <a:latin typeface="Arial" panose="020B0604020202020204" pitchFamily="34" charset="0"/>
                <a:ea typeface="Courier New" panose="02070309020205020404" pitchFamily="49" charset="0"/>
                <a:cs typeface="Arial MT"/>
              </a:rPr>
              <a:t> </a:t>
            </a:r>
            <a:r>
              <a:rPr lang="en-US" sz="1100" i="1" dirty="0">
                <a:effectLst/>
                <a:latin typeface="Arial" panose="020B0604020202020204" pitchFamily="34" charset="0"/>
                <a:ea typeface="Courier New" panose="02070309020205020404" pitchFamily="49" charset="0"/>
                <a:cs typeface="Arial MT"/>
              </a:rPr>
              <a:t>unambiguous)</a:t>
            </a:r>
            <a:endParaRPr lang="sv-SE" sz="1100" dirty="0">
              <a:effectLst/>
              <a:latin typeface="Arial MT"/>
              <a:ea typeface="Courier New" panose="02070309020205020404" pitchFamily="49" charset="0"/>
              <a:cs typeface="Arial MT"/>
            </a:endParaRPr>
          </a:p>
          <a:p>
            <a:pPr>
              <a:spcBef>
                <a:spcPts val="40"/>
              </a:spcBef>
            </a:pPr>
            <a:r>
              <a:rPr lang="en-US" sz="1200" i="1" dirty="0">
                <a:effectLst/>
                <a:latin typeface="Arial" panose="020B0604020202020204" pitchFamily="34" charset="0"/>
                <a:ea typeface="Arial MT"/>
                <a:cs typeface="Arial MT"/>
              </a:rPr>
              <a:t> </a:t>
            </a:r>
            <a:endParaRPr lang="sv-SE" sz="1100" dirty="0">
              <a:effectLst/>
              <a:latin typeface="Arial MT"/>
              <a:ea typeface="Arial MT"/>
              <a:cs typeface="Arial MT"/>
            </a:endParaRPr>
          </a:p>
          <a:p>
            <a:pPr marL="1600200" lvl="3" indent="-228600">
              <a:spcBef>
                <a:spcPts val="5"/>
              </a:spcBef>
              <a:spcAft>
                <a:spcPts val="0"/>
              </a:spcAft>
              <a:buSzPts val="1100"/>
              <a:buFont typeface="Courier New" panose="02070309020205020404" pitchFamily="49" charset="0"/>
              <a:buChar char="o"/>
              <a:tabLst>
                <a:tab pos="1634490" algn="l"/>
              </a:tabLst>
            </a:pPr>
            <a:r>
              <a:rPr lang="en-US" sz="1100" i="1" dirty="0">
                <a:effectLst/>
                <a:latin typeface="Arial" panose="020B0604020202020204" pitchFamily="34" charset="0"/>
                <a:ea typeface="Courier New" panose="02070309020205020404" pitchFamily="49" charset="0"/>
                <a:cs typeface="Arial MT"/>
              </a:rPr>
              <a:t>Measurable</a:t>
            </a:r>
            <a:r>
              <a:rPr lang="en-US" sz="1100" i="1" spc="-15" dirty="0">
                <a:effectLst/>
                <a:latin typeface="Arial" panose="020B0604020202020204" pitchFamily="34" charset="0"/>
                <a:ea typeface="Courier New" panose="02070309020205020404" pitchFamily="49" charset="0"/>
                <a:cs typeface="Arial MT"/>
              </a:rPr>
              <a:t> </a:t>
            </a:r>
            <a:r>
              <a:rPr lang="en-US" sz="1100" i="1" dirty="0">
                <a:effectLst/>
                <a:latin typeface="Arial" panose="020B0604020202020204" pitchFamily="34" charset="0"/>
                <a:ea typeface="Courier New" panose="02070309020205020404" pitchFamily="49" charset="0"/>
                <a:cs typeface="Arial MT"/>
              </a:rPr>
              <a:t>(appropriate</a:t>
            </a:r>
            <a:r>
              <a:rPr lang="en-US" sz="1100" i="1" spc="-15" dirty="0">
                <a:effectLst/>
                <a:latin typeface="Arial" panose="020B0604020202020204" pitchFamily="34" charset="0"/>
                <a:ea typeface="Courier New" panose="02070309020205020404" pitchFamily="49" charset="0"/>
                <a:cs typeface="Arial MT"/>
              </a:rPr>
              <a:t> </a:t>
            </a:r>
            <a:r>
              <a:rPr lang="en-US" sz="1100" i="1" dirty="0">
                <a:effectLst/>
                <a:latin typeface="Arial" panose="020B0604020202020204" pitchFamily="34" charset="0"/>
                <a:ea typeface="Courier New" panose="02070309020205020404" pitchFamily="49" charset="0"/>
                <a:cs typeface="Arial MT"/>
              </a:rPr>
              <a:t>to</a:t>
            </a:r>
            <a:r>
              <a:rPr lang="en-US" sz="1100" i="1" spc="-10" dirty="0">
                <a:effectLst/>
                <a:latin typeface="Arial" panose="020B0604020202020204" pitchFamily="34" charset="0"/>
                <a:ea typeface="Courier New" panose="02070309020205020404" pitchFamily="49" charset="0"/>
                <a:cs typeface="Arial MT"/>
              </a:rPr>
              <a:t> </a:t>
            </a:r>
            <a:r>
              <a:rPr lang="en-US" sz="1100" i="1" dirty="0">
                <a:effectLst/>
                <a:latin typeface="Arial" panose="020B0604020202020204" pitchFamily="34" charset="0"/>
                <a:ea typeface="Courier New" panose="02070309020205020404" pitchFamily="49" charset="0"/>
                <a:cs typeface="Arial MT"/>
              </a:rPr>
              <a:t>subject)</a:t>
            </a:r>
            <a:endParaRPr lang="sv-SE" sz="1100" dirty="0">
              <a:effectLst/>
              <a:latin typeface="Arial MT"/>
              <a:ea typeface="Courier New" panose="02070309020205020404" pitchFamily="49" charset="0"/>
              <a:cs typeface="Arial MT"/>
            </a:endParaRPr>
          </a:p>
          <a:p>
            <a:pPr>
              <a:spcBef>
                <a:spcPts val="35"/>
              </a:spcBef>
            </a:pPr>
            <a:r>
              <a:rPr lang="en-US" sz="1200" i="1" dirty="0">
                <a:effectLst/>
                <a:latin typeface="Arial" panose="020B0604020202020204" pitchFamily="34" charset="0"/>
                <a:ea typeface="Arial MT"/>
                <a:cs typeface="Arial MT"/>
              </a:rPr>
              <a:t> </a:t>
            </a:r>
            <a:endParaRPr lang="sv-SE" sz="1100" dirty="0">
              <a:effectLst/>
              <a:latin typeface="Arial MT"/>
              <a:ea typeface="Arial MT"/>
              <a:cs typeface="Arial MT"/>
            </a:endParaRPr>
          </a:p>
          <a:p>
            <a:pPr marL="1600200" lvl="3" indent="-228600">
              <a:buSzPts val="1100"/>
              <a:buFont typeface="Courier New" panose="02070309020205020404" pitchFamily="49" charset="0"/>
              <a:buChar char="o"/>
              <a:tabLst>
                <a:tab pos="1634490" algn="l"/>
              </a:tabLst>
            </a:pPr>
            <a:r>
              <a:rPr lang="en-US" sz="1100" i="1" dirty="0">
                <a:effectLst/>
                <a:latin typeface="Arial" panose="020B0604020202020204" pitchFamily="34" charset="0"/>
                <a:ea typeface="Courier New" panose="02070309020205020404" pitchFamily="49" charset="0"/>
                <a:cs typeface="Arial MT"/>
              </a:rPr>
              <a:t>Achievable</a:t>
            </a:r>
            <a:r>
              <a:rPr lang="en-US" sz="1100" i="1" spc="-10" dirty="0">
                <a:effectLst/>
                <a:latin typeface="Arial" panose="020B0604020202020204" pitchFamily="34" charset="0"/>
                <a:ea typeface="Courier New" panose="02070309020205020404" pitchFamily="49" charset="0"/>
                <a:cs typeface="Arial MT"/>
              </a:rPr>
              <a:t> </a:t>
            </a:r>
            <a:r>
              <a:rPr lang="en-US" sz="1100" i="1" dirty="0">
                <a:effectLst/>
                <a:latin typeface="Arial" panose="020B0604020202020204" pitchFamily="34" charset="0"/>
                <a:ea typeface="Courier New" panose="02070309020205020404" pitchFamily="49" charset="0"/>
                <a:cs typeface="Arial MT"/>
              </a:rPr>
              <a:t>(of</a:t>
            </a:r>
            <a:r>
              <a:rPr lang="en-US" sz="1100" i="1" spc="-10" dirty="0">
                <a:effectLst/>
                <a:latin typeface="Arial" panose="020B0604020202020204" pitchFamily="34" charset="0"/>
                <a:ea typeface="Courier New" panose="02070309020205020404" pitchFamily="49" charset="0"/>
                <a:cs typeface="Arial MT"/>
              </a:rPr>
              <a:t> </a:t>
            </a:r>
            <a:r>
              <a:rPr lang="en-US" sz="1100" i="1" dirty="0">
                <a:effectLst/>
                <a:latin typeface="Arial" panose="020B0604020202020204" pitchFamily="34" charset="0"/>
                <a:ea typeface="Courier New" panose="02070309020205020404" pitchFamily="49" charset="0"/>
                <a:cs typeface="Arial MT"/>
              </a:rPr>
              <a:t>a</a:t>
            </a:r>
            <a:r>
              <a:rPr lang="en-US" sz="1100" i="1" spc="-10" dirty="0">
                <a:effectLst/>
                <a:latin typeface="Arial" panose="020B0604020202020204" pitchFamily="34" charset="0"/>
                <a:ea typeface="Courier New" panose="02070309020205020404" pitchFamily="49" charset="0"/>
                <a:cs typeface="Arial MT"/>
              </a:rPr>
              <a:t> </a:t>
            </a:r>
            <a:r>
              <a:rPr lang="en-US" sz="1100" i="1" dirty="0">
                <a:effectLst/>
                <a:latin typeface="Arial" panose="020B0604020202020204" pitchFamily="34" charset="0"/>
                <a:ea typeface="Courier New" panose="02070309020205020404" pitchFamily="49" charset="0"/>
                <a:cs typeface="Arial MT"/>
              </a:rPr>
              <a:t>reasonable</a:t>
            </a:r>
            <a:r>
              <a:rPr lang="en-US" sz="1100" i="1" spc="-10" dirty="0">
                <a:effectLst/>
                <a:latin typeface="Arial" panose="020B0604020202020204" pitchFamily="34" charset="0"/>
                <a:ea typeface="Courier New" panose="02070309020205020404" pitchFamily="49" charset="0"/>
                <a:cs typeface="Arial MT"/>
              </a:rPr>
              <a:t> </a:t>
            </a:r>
            <a:r>
              <a:rPr lang="en-US" sz="1100" i="1" dirty="0">
                <a:effectLst/>
                <a:latin typeface="Arial" panose="020B0604020202020204" pitchFamily="34" charset="0"/>
                <a:ea typeface="Courier New" panose="02070309020205020404" pitchFamily="49" charset="0"/>
                <a:cs typeface="Arial MT"/>
              </a:rPr>
              <a:t>cost)</a:t>
            </a:r>
            <a:endParaRPr lang="sv-SE" sz="1100" dirty="0">
              <a:effectLst/>
              <a:latin typeface="Arial MT"/>
              <a:ea typeface="Courier New" panose="02070309020205020404" pitchFamily="49" charset="0"/>
              <a:cs typeface="Arial MT"/>
            </a:endParaRPr>
          </a:p>
          <a:p>
            <a:pPr>
              <a:spcBef>
                <a:spcPts val="40"/>
              </a:spcBef>
            </a:pPr>
            <a:r>
              <a:rPr lang="en-US" sz="1200" i="1" dirty="0">
                <a:effectLst/>
                <a:latin typeface="Arial" panose="020B0604020202020204" pitchFamily="34" charset="0"/>
                <a:ea typeface="Arial MT"/>
                <a:cs typeface="Arial MT"/>
              </a:rPr>
              <a:t> </a:t>
            </a:r>
            <a:endParaRPr lang="sv-SE" sz="1100" dirty="0">
              <a:effectLst/>
              <a:latin typeface="Arial MT"/>
              <a:ea typeface="Arial MT"/>
              <a:cs typeface="Arial MT"/>
            </a:endParaRPr>
          </a:p>
          <a:p>
            <a:pPr marL="1600200" lvl="3" indent="-228600">
              <a:buSzPts val="1100"/>
              <a:buFont typeface="Courier New" panose="02070309020205020404" pitchFamily="49" charset="0"/>
              <a:buChar char="o"/>
              <a:tabLst>
                <a:tab pos="1634490" algn="l"/>
              </a:tabLst>
            </a:pPr>
            <a:r>
              <a:rPr lang="en-US" sz="1100" i="1" dirty="0">
                <a:effectLst/>
                <a:latin typeface="Arial" panose="020B0604020202020204" pitchFamily="34" charset="0"/>
                <a:ea typeface="Courier New" panose="02070309020205020404" pitchFamily="49" charset="0"/>
                <a:cs typeface="Arial MT"/>
              </a:rPr>
              <a:t>Relevant</a:t>
            </a:r>
            <a:r>
              <a:rPr lang="en-US" sz="1100" i="1" spc="-15" dirty="0">
                <a:effectLst/>
                <a:latin typeface="Arial" panose="020B0604020202020204" pitchFamily="34" charset="0"/>
                <a:ea typeface="Courier New" panose="02070309020205020404" pitchFamily="49" charset="0"/>
                <a:cs typeface="Arial MT"/>
              </a:rPr>
              <a:t> </a:t>
            </a:r>
            <a:r>
              <a:rPr lang="en-US" sz="1100" i="1" dirty="0">
                <a:effectLst/>
                <a:latin typeface="Arial" panose="020B0604020202020204" pitchFamily="34" charset="0"/>
                <a:ea typeface="Courier New" panose="02070309020205020404" pitchFamily="49" charset="0"/>
                <a:cs typeface="Arial MT"/>
              </a:rPr>
              <a:t>(serve</a:t>
            </a:r>
            <a:r>
              <a:rPr lang="en-US" sz="1100" i="1" spc="-10" dirty="0">
                <a:effectLst/>
                <a:latin typeface="Arial" panose="020B0604020202020204" pitchFamily="34" charset="0"/>
                <a:ea typeface="Courier New" panose="02070309020205020404" pitchFamily="49" charset="0"/>
                <a:cs typeface="Arial MT"/>
              </a:rPr>
              <a:t> </a:t>
            </a:r>
            <a:r>
              <a:rPr lang="en-US" sz="1100" i="1" dirty="0">
                <a:effectLst/>
                <a:latin typeface="Arial" panose="020B0604020202020204" pitchFamily="34" charset="0"/>
                <a:ea typeface="Courier New" panose="02070309020205020404" pitchFamily="49" charset="0"/>
                <a:cs typeface="Arial MT"/>
              </a:rPr>
              <a:t>to</a:t>
            </a:r>
            <a:r>
              <a:rPr lang="en-US" sz="1100" i="1" spc="-10" dirty="0">
                <a:effectLst/>
                <a:latin typeface="Arial" panose="020B0604020202020204" pitchFamily="34" charset="0"/>
                <a:ea typeface="Courier New" panose="02070309020205020404" pitchFamily="49" charset="0"/>
                <a:cs typeface="Arial MT"/>
              </a:rPr>
              <a:t> </a:t>
            </a:r>
            <a:r>
              <a:rPr lang="en-US" sz="1100" i="1" dirty="0">
                <a:effectLst/>
                <a:latin typeface="Arial" panose="020B0604020202020204" pitchFamily="34" charset="0"/>
                <a:ea typeface="Courier New" panose="02070309020205020404" pitchFamily="49" charset="0"/>
                <a:cs typeface="Arial MT"/>
              </a:rPr>
              <a:t>assess</a:t>
            </a:r>
            <a:r>
              <a:rPr lang="en-US" sz="1100" i="1" spc="-10" dirty="0">
                <a:effectLst/>
                <a:latin typeface="Arial" panose="020B0604020202020204" pitchFamily="34" charset="0"/>
                <a:ea typeface="Courier New" panose="02070309020205020404" pitchFamily="49" charset="0"/>
                <a:cs typeface="Arial MT"/>
              </a:rPr>
              <a:t> </a:t>
            </a:r>
            <a:r>
              <a:rPr lang="en-US" sz="1100" i="1" dirty="0">
                <a:effectLst/>
                <a:latin typeface="Arial" panose="020B0604020202020204" pitchFamily="34" charset="0"/>
                <a:ea typeface="Courier New" panose="02070309020205020404" pitchFamily="49" charset="0"/>
                <a:cs typeface="Arial MT"/>
              </a:rPr>
              <a:t>performance)</a:t>
            </a:r>
            <a:endParaRPr lang="sv-SE" sz="1100" dirty="0">
              <a:effectLst/>
              <a:latin typeface="Arial MT"/>
              <a:ea typeface="Courier New" panose="02070309020205020404" pitchFamily="49" charset="0"/>
              <a:cs typeface="Arial MT"/>
            </a:endParaRPr>
          </a:p>
          <a:p>
            <a:pPr>
              <a:spcBef>
                <a:spcPts val="35"/>
              </a:spcBef>
            </a:pPr>
            <a:r>
              <a:rPr lang="en-US" sz="1200" i="1" dirty="0">
                <a:effectLst/>
                <a:latin typeface="Arial" panose="020B0604020202020204" pitchFamily="34" charset="0"/>
                <a:ea typeface="Arial MT"/>
                <a:cs typeface="Arial MT"/>
              </a:rPr>
              <a:t> </a:t>
            </a:r>
            <a:endParaRPr lang="sv-SE" sz="1100" dirty="0">
              <a:effectLst/>
              <a:latin typeface="Arial MT"/>
              <a:ea typeface="Arial MT"/>
              <a:cs typeface="Arial MT"/>
            </a:endParaRPr>
          </a:p>
          <a:p>
            <a:pPr marL="1600200" lvl="3" indent="-228600">
              <a:buSzPts val="1100"/>
              <a:buFont typeface="Courier New" panose="02070309020205020404" pitchFamily="49" charset="0"/>
              <a:buChar char="o"/>
              <a:tabLst>
                <a:tab pos="1634490" algn="l"/>
              </a:tabLst>
            </a:pPr>
            <a:r>
              <a:rPr lang="en-US" sz="1100" i="1" dirty="0">
                <a:effectLst/>
                <a:latin typeface="Arial" panose="020B0604020202020204" pitchFamily="34" charset="0"/>
                <a:ea typeface="Courier New" panose="02070309020205020404" pitchFamily="49" charset="0"/>
                <a:cs typeface="Arial MT"/>
              </a:rPr>
              <a:t>Trackable</a:t>
            </a:r>
            <a:r>
              <a:rPr lang="en-US" sz="1100" i="1" spc="-10" dirty="0">
                <a:effectLst/>
                <a:latin typeface="Arial" panose="020B0604020202020204" pitchFamily="34" charset="0"/>
                <a:ea typeface="Courier New" panose="02070309020205020404" pitchFamily="49" charset="0"/>
                <a:cs typeface="Arial MT"/>
              </a:rPr>
              <a:t> </a:t>
            </a:r>
            <a:r>
              <a:rPr lang="en-US" sz="1100" i="1" dirty="0">
                <a:effectLst/>
                <a:latin typeface="Arial" panose="020B0604020202020204" pitchFamily="34" charset="0"/>
                <a:ea typeface="Courier New" panose="02070309020205020404" pitchFamily="49" charset="0"/>
                <a:cs typeface="Arial MT"/>
              </a:rPr>
              <a:t>(easy</a:t>
            </a:r>
            <a:r>
              <a:rPr lang="en-US" sz="1100" i="1" spc="-10" dirty="0">
                <a:effectLst/>
                <a:latin typeface="Arial" panose="020B0604020202020204" pitchFamily="34" charset="0"/>
                <a:ea typeface="Courier New" panose="02070309020205020404" pitchFamily="49" charset="0"/>
                <a:cs typeface="Arial MT"/>
              </a:rPr>
              <a:t> </a:t>
            </a:r>
            <a:r>
              <a:rPr lang="en-US" sz="1100" i="1" dirty="0">
                <a:effectLst/>
                <a:latin typeface="Arial" panose="020B0604020202020204" pitchFamily="34" charset="0"/>
                <a:ea typeface="Courier New" panose="02070309020205020404" pitchFamily="49" charset="0"/>
                <a:cs typeface="Arial MT"/>
              </a:rPr>
              <a:t>to</a:t>
            </a:r>
            <a:r>
              <a:rPr lang="en-US" sz="1100" i="1" spc="-5" dirty="0">
                <a:effectLst/>
                <a:latin typeface="Arial" panose="020B0604020202020204" pitchFamily="34" charset="0"/>
                <a:ea typeface="Courier New" panose="02070309020205020404" pitchFamily="49" charset="0"/>
                <a:cs typeface="Arial MT"/>
              </a:rPr>
              <a:t> </a:t>
            </a:r>
            <a:r>
              <a:rPr lang="en-US" sz="1100" i="1" dirty="0">
                <a:effectLst/>
                <a:latin typeface="Arial" panose="020B0604020202020204" pitchFamily="34" charset="0"/>
                <a:ea typeface="Courier New" panose="02070309020205020404" pitchFamily="49" charset="0"/>
                <a:cs typeface="Arial MT"/>
              </a:rPr>
              <a:t>validate</a:t>
            </a:r>
            <a:r>
              <a:rPr lang="en-US" sz="1100" i="1" spc="-10" dirty="0">
                <a:effectLst/>
                <a:latin typeface="Arial" panose="020B0604020202020204" pitchFamily="34" charset="0"/>
                <a:ea typeface="Courier New" panose="02070309020205020404" pitchFamily="49" charset="0"/>
                <a:cs typeface="Arial MT"/>
              </a:rPr>
              <a:t> </a:t>
            </a:r>
            <a:r>
              <a:rPr lang="en-US" sz="1100" i="1" dirty="0">
                <a:effectLst/>
                <a:latin typeface="Arial" panose="020B0604020202020204" pitchFamily="34" charset="0"/>
                <a:ea typeface="Courier New" panose="02070309020205020404" pitchFamily="49" charset="0"/>
                <a:cs typeface="Arial MT"/>
              </a:rPr>
              <a:t>or</a:t>
            </a:r>
            <a:r>
              <a:rPr lang="en-US" sz="1100" i="1" spc="-5" dirty="0">
                <a:effectLst/>
                <a:latin typeface="Arial" panose="020B0604020202020204" pitchFamily="34" charset="0"/>
                <a:ea typeface="Courier New" panose="02070309020205020404" pitchFamily="49" charset="0"/>
                <a:cs typeface="Arial MT"/>
              </a:rPr>
              <a:t> </a:t>
            </a:r>
            <a:r>
              <a:rPr lang="en-US" sz="1100" i="1" dirty="0">
                <a:effectLst/>
                <a:latin typeface="Arial" panose="020B0604020202020204" pitchFamily="34" charset="0"/>
                <a:ea typeface="Courier New" panose="02070309020205020404" pitchFamily="49" charset="0"/>
                <a:cs typeface="Arial MT"/>
              </a:rPr>
              <a:t>verify)</a:t>
            </a:r>
          </a:p>
          <a:p>
            <a:pPr marL="1600200" lvl="3" indent="-228600">
              <a:buSzPts val="1100"/>
              <a:buFont typeface="Courier New" panose="02070309020205020404" pitchFamily="49" charset="0"/>
              <a:buChar char="o"/>
              <a:tabLst>
                <a:tab pos="1634490" algn="l"/>
              </a:tabLst>
            </a:pPr>
            <a:endParaRPr lang="en-US" sz="1100" i="1" dirty="0">
              <a:effectLst/>
              <a:latin typeface="Arial" panose="020B0604020202020204" pitchFamily="34" charset="0"/>
              <a:ea typeface="Courier New" panose="02070309020205020404" pitchFamily="49" charset="0"/>
              <a:cs typeface="Arial MT"/>
            </a:endParaRPr>
          </a:p>
          <a:p>
            <a:pPr marL="1600200" lvl="3" indent="-228600">
              <a:buSzPts val="1100"/>
              <a:buFont typeface="Courier New" panose="02070309020205020404" pitchFamily="49" charset="0"/>
              <a:buChar char="o"/>
              <a:tabLst>
                <a:tab pos="1634490" algn="l"/>
              </a:tabLst>
            </a:pPr>
            <a:endParaRPr lang="en-US" sz="1100" i="1" dirty="0">
              <a:effectLst/>
              <a:latin typeface="Arial" panose="020B0604020202020204" pitchFamily="34" charset="0"/>
              <a:ea typeface="Courier New" panose="02070309020205020404" pitchFamily="49" charset="0"/>
              <a:cs typeface="Arial MT"/>
            </a:endParaRPr>
          </a:p>
          <a:p>
            <a:pPr marL="1371600" lvl="3" indent="0">
              <a:buSzPts val="1100"/>
              <a:buFont typeface="Courier New" panose="02070309020205020404" pitchFamily="49" charset="0"/>
              <a:buNone/>
              <a:tabLst>
                <a:tab pos="1634490" algn="l"/>
              </a:tabLst>
            </a:pPr>
            <a:r>
              <a:rPr lang="sv-SE" sz="1800" dirty="0">
                <a:effectLst/>
                <a:latin typeface="Segoe UI" panose="020B0502040204020203" pitchFamily="34" charset="0"/>
              </a:rPr>
              <a:t>https://www.hydratemarketing.com/blog/the-importance-of-setting-smart-goals</a:t>
            </a:r>
            <a:r>
              <a:rPr lang="en-US" sz="1100" i="1" dirty="0">
                <a:effectLst/>
                <a:latin typeface="Arial" panose="020B0604020202020204" pitchFamily="34" charset="0"/>
              </a:rPr>
              <a:t> , link to the picture</a:t>
            </a:r>
            <a:endParaRPr lang="sv-SE" sz="1100" dirty="0">
              <a:effectLst/>
              <a:latin typeface="Arial MT"/>
              <a:ea typeface="Courier New" panose="02070309020205020404" pitchFamily="49" charset="0"/>
              <a:cs typeface="Arial MT"/>
            </a:endParaRPr>
          </a:p>
          <a:p>
            <a:pPr>
              <a:spcBef>
                <a:spcPts val="40"/>
              </a:spcBef>
            </a:pPr>
            <a:r>
              <a:rPr lang="en-US" sz="1200" i="1" dirty="0">
                <a:effectLst/>
                <a:latin typeface="Arial" panose="020B0604020202020204" pitchFamily="34" charset="0"/>
                <a:ea typeface="Arial MT"/>
                <a:cs typeface="Arial MT"/>
              </a:rPr>
              <a:t> </a:t>
            </a:r>
            <a:endParaRPr lang="sv-SE" sz="1100" dirty="0">
              <a:effectLst/>
              <a:latin typeface="Arial MT"/>
              <a:ea typeface="Arial MT"/>
              <a:cs typeface="Arial MT"/>
            </a:endParaRPr>
          </a:p>
        </p:txBody>
      </p:sp>
      <p:sp>
        <p:nvSpPr>
          <p:cNvPr id="4" name="Slide Number Placeholder 3"/>
          <p:cNvSpPr>
            <a:spLocks noGrp="1"/>
          </p:cNvSpPr>
          <p:nvPr>
            <p:ph type="sldNum" sz="quarter" idx="5"/>
          </p:nvPr>
        </p:nvSpPr>
        <p:spPr/>
        <p:txBody>
          <a:bodyPr/>
          <a:lstStyle/>
          <a:p>
            <a:fld id="{F84DB91F-1AD8-437C-8866-3636784D0854}" type="slidenum">
              <a:rPr lang="en-GB" smtClean="0"/>
              <a:t>66</a:t>
            </a:fld>
            <a:endParaRPr lang="en-GB"/>
          </a:p>
        </p:txBody>
      </p:sp>
    </p:spTree>
    <p:extLst>
      <p:ext uri="{BB962C8B-B14F-4D97-AF65-F5344CB8AC3E}">
        <p14:creationId xmlns:p14="http://schemas.microsoft.com/office/powerpoint/2010/main" val="1308508395"/>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914400" marR="718820" lvl="2" indent="0">
              <a:lnSpc>
                <a:spcPct val="113000"/>
              </a:lnSpc>
              <a:spcAft>
                <a:spcPts val="0"/>
              </a:spcAft>
              <a:buSzPts val="1100"/>
              <a:buFont typeface="Symbol" panose="05050102010706020507" pitchFamily="18" charset="2"/>
              <a:buNone/>
              <a:tabLst>
                <a:tab pos="1176655" algn="l"/>
                <a:tab pos="1177290" algn="l"/>
              </a:tabLst>
            </a:pPr>
            <a:r>
              <a:rPr lang="en-US" sz="1100" dirty="0">
                <a:effectLst/>
                <a:latin typeface="Arial MT"/>
                <a:ea typeface="Symbol" panose="05050102010706020507" pitchFamily="18" charset="2"/>
                <a:cs typeface="Symbol" panose="05050102010706020507" pitchFamily="18" charset="2"/>
              </a:rPr>
              <a:t>CREAM</a:t>
            </a:r>
            <a:r>
              <a:rPr lang="en-US" sz="1100" spc="-20" dirty="0">
                <a:effectLst/>
                <a:latin typeface="Arial MT"/>
                <a:ea typeface="Symbol" panose="05050102010706020507" pitchFamily="18" charset="2"/>
                <a:cs typeface="Symbol" panose="05050102010706020507" pitchFamily="18" charset="2"/>
              </a:rPr>
              <a:t> </a:t>
            </a:r>
            <a:r>
              <a:rPr lang="en-US" sz="1100" dirty="0">
                <a:effectLst/>
                <a:latin typeface="Arial MT"/>
                <a:ea typeface="Symbol" panose="05050102010706020507" pitchFamily="18" charset="2"/>
                <a:cs typeface="Symbol" panose="05050102010706020507" pitchFamily="18" charset="2"/>
              </a:rPr>
              <a:t>summarizes</a:t>
            </a:r>
            <a:r>
              <a:rPr lang="en-US" sz="1100" spc="-15" dirty="0">
                <a:effectLst/>
                <a:latin typeface="Arial MT"/>
                <a:ea typeface="Symbol" panose="05050102010706020507" pitchFamily="18" charset="2"/>
                <a:cs typeface="Symbol" panose="05050102010706020507" pitchFamily="18" charset="2"/>
              </a:rPr>
              <a:t> </a:t>
            </a:r>
            <a:r>
              <a:rPr lang="en-US" sz="1100" dirty="0">
                <a:effectLst/>
                <a:latin typeface="Arial MT"/>
                <a:ea typeface="Symbol" panose="05050102010706020507" pitchFamily="18" charset="2"/>
                <a:cs typeface="Symbol" panose="05050102010706020507" pitchFamily="18" charset="2"/>
              </a:rPr>
              <a:t>the</a:t>
            </a:r>
            <a:r>
              <a:rPr lang="en-US" sz="1100" spc="-10" dirty="0">
                <a:effectLst/>
                <a:latin typeface="Arial MT"/>
                <a:ea typeface="Symbol" panose="05050102010706020507" pitchFamily="18" charset="2"/>
                <a:cs typeface="Symbol" panose="05050102010706020507" pitchFamily="18" charset="2"/>
              </a:rPr>
              <a:t> </a:t>
            </a:r>
            <a:r>
              <a:rPr lang="en-US" sz="1100" dirty="0">
                <a:effectLst/>
                <a:latin typeface="Arial MT"/>
                <a:ea typeface="Symbol" panose="05050102010706020507" pitchFamily="18" charset="2"/>
                <a:cs typeface="Symbol" panose="05050102010706020507" pitchFamily="18" charset="2"/>
              </a:rPr>
              <a:t>requirements</a:t>
            </a:r>
            <a:r>
              <a:rPr lang="en-US" sz="1100" spc="-15" dirty="0">
                <a:effectLst/>
                <a:latin typeface="Arial MT"/>
                <a:ea typeface="Symbol" panose="05050102010706020507" pitchFamily="18" charset="2"/>
                <a:cs typeface="Symbol" panose="05050102010706020507" pitchFamily="18" charset="2"/>
              </a:rPr>
              <a:t> </a:t>
            </a:r>
            <a:r>
              <a:rPr lang="en-US" sz="1100" dirty="0">
                <a:effectLst/>
                <a:latin typeface="Arial MT"/>
                <a:ea typeface="Symbol" panose="05050102010706020507" pitchFamily="18" charset="2"/>
                <a:cs typeface="Symbol" panose="05050102010706020507" pitchFamily="18" charset="2"/>
              </a:rPr>
              <a:t>on</a:t>
            </a:r>
            <a:r>
              <a:rPr lang="en-US" sz="1100" spc="-10" dirty="0">
                <a:effectLst/>
                <a:latin typeface="Arial MT"/>
                <a:ea typeface="Symbol" panose="05050102010706020507" pitchFamily="18" charset="2"/>
                <a:cs typeface="Symbol" panose="05050102010706020507" pitchFamily="18" charset="2"/>
              </a:rPr>
              <a:t> </a:t>
            </a:r>
            <a:r>
              <a:rPr lang="en-US" sz="1100" dirty="0">
                <a:effectLst/>
                <a:latin typeface="Arial MT"/>
                <a:ea typeface="Symbol" panose="05050102010706020507" pitchFamily="18" charset="2"/>
                <a:cs typeface="Symbol" panose="05050102010706020507" pitchFamily="18" charset="2"/>
              </a:rPr>
              <a:t>performance</a:t>
            </a:r>
            <a:r>
              <a:rPr lang="en-US" sz="1100" spc="-15" dirty="0">
                <a:effectLst/>
                <a:latin typeface="Arial MT"/>
                <a:ea typeface="Symbol" panose="05050102010706020507" pitchFamily="18" charset="2"/>
                <a:cs typeface="Symbol" panose="05050102010706020507" pitchFamily="18" charset="2"/>
              </a:rPr>
              <a:t> </a:t>
            </a:r>
            <a:r>
              <a:rPr lang="en-US" sz="1100" dirty="0">
                <a:effectLst/>
                <a:latin typeface="Arial MT"/>
                <a:ea typeface="Symbol" panose="05050102010706020507" pitchFamily="18" charset="2"/>
                <a:cs typeface="Symbol" panose="05050102010706020507" pitchFamily="18" charset="2"/>
              </a:rPr>
              <a:t>indicators</a:t>
            </a:r>
            <a:r>
              <a:rPr lang="en-US" sz="1100" spc="-10" dirty="0">
                <a:effectLst/>
                <a:latin typeface="Arial MT"/>
                <a:ea typeface="Symbol" panose="05050102010706020507" pitchFamily="18" charset="2"/>
                <a:cs typeface="Symbol" panose="05050102010706020507" pitchFamily="18" charset="2"/>
              </a:rPr>
              <a:t> </a:t>
            </a:r>
            <a:r>
              <a:rPr lang="en-US" sz="1100" dirty="0">
                <a:effectLst/>
                <a:latin typeface="Arial MT"/>
                <a:ea typeface="Symbol" panose="05050102010706020507" pitchFamily="18" charset="2"/>
                <a:cs typeface="Symbol" panose="05050102010706020507" pitchFamily="18" charset="2"/>
              </a:rPr>
              <a:t>for</a:t>
            </a:r>
            <a:r>
              <a:rPr lang="en-US" sz="1100" spc="-20" dirty="0">
                <a:effectLst/>
                <a:latin typeface="Arial MT"/>
                <a:ea typeface="Symbol" panose="05050102010706020507" pitchFamily="18" charset="2"/>
                <a:cs typeface="Symbol" panose="05050102010706020507" pitchFamily="18" charset="2"/>
              </a:rPr>
              <a:t> </a:t>
            </a:r>
            <a:r>
              <a:rPr lang="en-US" sz="1100" dirty="0">
                <a:effectLst/>
                <a:latin typeface="Arial MT"/>
                <a:ea typeface="Symbol" panose="05050102010706020507" pitchFamily="18" charset="2"/>
                <a:cs typeface="Symbol" panose="05050102010706020507" pitchFamily="18" charset="2"/>
              </a:rPr>
              <a:t>use</a:t>
            </a:r>
            <a:r>
              <a:rPr lang="en-US" sz="1100" spc="-15" dirty="0">
                <a:effectLst/>
                <a:latin typeface="Arial MT"/>
                <a:ea typeface="Symbol" panose="05050102010706020507" pitchFamily="18" charset="2"/>
                <a:cs typeface="Symbol" panose="05050102010706020507" pitchFamily="18" charset="2"/>
              </a:rPr>
              <a:t> </a:t>
            </a:r>
            <a:r>
              <a:rPr lang="en-US" sz="1100" dirty="0">
                <a:effectLst/>
                <a:latin typeface="Arial MT"/>
                <a:ea typeface="Symbol" panose="05050102010706020507" pitchFamily="18" charset="2"/>
                <a:cs typeface="Symbol" panose="05050102010706020507" pitchFamily="18" charset="2"/>
              </a:rPr>
              <a:t>in</a:t>
            </a:r>
            <a:r>
              <a:rPr lang="en-US" sz="1100" spc="-10" dirty="0">
                <a:effectLst/>
                <a:latin typeface="Arial MT"/>
                <a:ea typeface="Symbol" panose="05050102010706020507" pitchFamily="18" charset="2"/>
                <a:cs typeface="Symbol" panose="05050102010706020507" pitchFamily="18" charset="2"/>
              </a:rPr>
              <a:t> </a:t>
            </a:r>
            <a:r>
              <a:rPr lang="en-US" sz="1100" dirty="0">
                <a:effectLst/>
                <a:latin typeface="Arial MT"/>
                <a:ea typeface="Symbol" panose="05050102010706020507" pitchFamily="18" charset="2"/>
                <a:cs typeface="Symbol" panose="05050102010706020507" pitchFamily="18" charset="2"/>
              </a:rPr>
              <a:t>the</a:t>
            </a:r>
            <a:r>
              <a:rPr lang="en-US" sz="1100" spc="-15" dirty="0">
                <a:effectLst/>
                <a:latin typeface="Arial MT"/>
                <a:ea typeface="Symbol" panose="05050102010706020507" pitchFamily="18" charset="2"/>
                <a:cs typeface="Symbol" panose="05050102010706020507" pitchFamily="18" charset="2"/>
              </a:rPr>
              <a:t> </a:t>
            </a:r>
            <a:r>
              <a:rPr lang="en-US" sz="1100" dirty="0">
                <a:effectLst/>
                <a:latin typeface="Arial MT"/>
                <a:ea typeface="Symbol" panose="05050102010706020507" pitchFamily="18" charset="2"/>
                <a:cs typeface="Symbol" panose="05050102010706020507" pitchFamily="18" charset="2"/>
              </a:rPr>
              <a:t>assessment</a:t>
            </a:r>
            <a:r>
              <a:rPr lang="en-US" sz="1100" spc="-290" dirty="0">
                <a:effectLst/>
                <a:latin typeface="Arial MT"/>
                <a:ea typeface="Symbol" panose="05050102010706020507" pitchFamily="18" charset="2"/>
                <a:cs typeface="Symbol" panose="05050102010706020507" pitchFamily="18" charset="2"/>
              </a:rPr>
              <a:t> </a:t>
            </a:r>
            <a:r>
              <a:rPr lang="en-US" sz="1100" dirty="0">
                <a:effectLst/>
                <a:latin typeface="Arial MT"/>
                <a:ea typeface="Symbol" panose="05050102010706020507" pitchFamily="18" charset="2"/>
                <a:cs typeface="Symbol" panose="05050102010706020507" pitchFamily="18" charset="2"/>
              </a:rPr>
              <a:t>of</a:t>
            </a:r>
            <a:r>
              <a:rPr lang="en-US" sz="1100" spc="-5" dirty="0">
                <a:effectLst/>
                <a:latin typeface="Arial MT"/>
                <a:ea typeface="Symbol" panose="05050102010706020507" pitchFamily="18" charset="2"/>
                <a:cs typeface="Symbol" panose="05050102010706020507" pitchFamily="18" charset="2"/>
              </a:rPr>
              <a:t> </a:t>
            </a:r>
            <a:r>
              <a:rPr lang="en-US" sz="1100" dirty="0">
                <a:effectLst/>
                <a:latin typeface="Arial MT"/>
                <a:ea typeface="Symbol" panose="05050102010706020507" pitchFamily="18" charset="2"/>
                <a:cs typeface="Symbol" panose="05050102010706020507" pitchFamily="18" charset="2"/>
              </a:rPr>
              <a:t>governmental [</a:t>
            </a:r>
            <a:r>
              <a:rPr lang="en-US" sz="1800" dirty="0">
                <a:solidFill>
                  <a:srgbClr val="3E3E3E"/>
                </a:solidFill>
                <a:effectLst/>
                <a:latin typeface="Arial MT"/>
                <a:ea typeface="Arial MT"/>
                <a:cs typeface="Arial MT"/>
              </a:rPr>
              <a:t>Schiavo-Campo, S., &amp; </a:t>
            </a:r>
            <a:r>
              <a:rPr lang="en-US" sz="1800" dirty="0" err="1">
                <a:solidFill>
                  <a:srgbClr val="3E3E3E"/>
                </a:solidFill>
                <a:effectLst/>
                <a:latin typeface="Arial MT"/>
                <a:ea typeface="Arial MT"/>
                <a:cs typeface="Arial MT"/>
              </a:rPr>
              <a:t>Tommasi</a:t>
            </a:r>
            <a:r>
              <a:rPr lang="en-US" sz="1800" dirty="0">
                <a:solidFill>
                  <a:srgbClr val="3E3E3E"/>
                </a:solidFill>
                <a:effectLst/>
                <a:latin typeface="Arial MT"/>
                <a:ea typeface="Arial MT"/>
                <a:cs typeface="Arial MT"/>
              </a:rPr>
              <a:t>, D. (1999). Managing Government Expenditure. Manila: Asian</a:t>
            </a:r>
            <a:r>
              <a:rPr lang="en-US" sz="1800" spc="5" dirty="0">
                <a:solidFill>
                  <a:srgbClr val="3E3E3E"/>
                </a:solidFill>
                <a:effectLst/>
                <a:latin typeface="Arial MT"/>
                <a:ea typeface="Arial MT"/>
                <a:cs typeface="Arial MT"/>
              </a:rPr>
              <a:t> </a:t>
            </a:r>
            <a:r>
              <a:rPr lang="en-US" sz="1800" dirty="0">
                <a:solidFill>
                  <a:srgbClr val="3E3E3E"/>
                </a:solidFill>
                <a:effectLst/>
                <a:latin typeface="Arial MT"/>
                <a:ea typeface="Arial MT"/>
                <a:cs typeface="Arial MT"/>
              </a:rPr>
              <a:t>Development</a:t>
            </a:r>
            <a:r>
              <a:rPr lang="en-US" sz="1800" spc="-5" dirty="0">
                <a:solidFill>
                  <a:srgbClr val="3E3E3E"/>
                </a:solidFill>
                <a:effectLst/>
                <a:latin typeface="Arial MT"/>
                <a:ea typeface="Arial MT"/>
                <a:cs typeface="Arial MT"/>
              </a:rPr>
              <a:t> </a:t>
            </a:r>
            <a:r>
              <a:rPr lang="en-US" sz="1800" dirty="0">
                <a:solidFill>
                  <a:srgbClr val="3E3E3E"/>
                </a:solidFill>
                <a:effectLst/>
                <a:latin typeface="Arial MT"/>
                <a:ea typeface="Arial MT"/>
                <a:cs typeface="Arial MT"/>
              </a:rPr>
              <a:t>Bank. Cited by </a:t>
            </a:r>
            <a:r>
              <a:rPr lang="en-US" sz="1800" dirty="0" err="1">
                <a:solidFill>
                  <a:srgbClr val="3E3E3E"/>
                </a:solidFill>
                <a:effectLst/>
                <a:latin typeface="Arial MT"/>
                <a:ea typeface="Arial MT"/>
                <a:cs typeface="Arial MT"/>
              </a:rPr>
              <a:t>Ekvall</a:t>
            </a:r>
            <a:r>
              <a:rPr lang="en-US" sz="1800" spc="-10" dirty="0">
                <a:solidFill>
                  <a:srgbClr val="3E3E3E"/>
                </a:solidFill>
                <a:effectLst/>
                <a:latin typeface="Arial MT"/>
                <a:ea typeface="Arial MT"/>
                <a:cs typeface="Arial MT"/>
              </a:rPr>
              <a:t> </a:t>
            </a:r>
            <a:r>
              <a:rPr lang="en-US" sz="1800" dirty="0">
                <a:solidFill>
                  <a:srgbClr val="3E3E3E"/>
                </a:solidFill>
                <a:effectLst/>
                <a:latin typeface="Arial MT"/>
                <a:ea typeface="Arial MT"/>
                <a:cs typeface="Arial MT"/>
              </a:rPr>
              <a:t>et al. (2019), p.15</a:t>
            </a:r>
            <a:r>
              <a:rPr lang="en-US" sz="1100" dirty="0">
                <a:effectLst/>
                <a:latin typeface="Arial MT"/>
                <a:ea typeface="Symbol" panose="05050102010706020507" pitchFamily="18" charset="2"/>
                <a:cs typeface="Symbol" panose="05050102010706020507" pitchFamily="18" charset="2"/>
              </a:rPr>
              <a:t>]):</a:t>
            </a:r>
            <a:endParaRPr lang="sv-SE" sz="1100" dirty="0">
              <a:effectLst/>
              <a:latin typeface="Arial MT"/>
              <a:ea typeface="Symbol" panose="05050102010706020507" pitchFamily="18" charset="2"/>
              <a:cs typeface="Symbol" panose="05050102010706020507" pitchFamily="18" charset="2"/>
            </a:endParaRPr>
          </a:p>
          <a:p>
            <a:pPr marL="1600200" lvl="3" indent="-228600">
              <a:spcBef>
                <a:spcPts val="710"/>
              </a:spcBef>
              <a:spcAft>
                <a:spcPts val="0"/>
              </a:spcAft>
              <a:buSzPts val="1100"/>
              <a:buFont typeface="Courier New" panose="02070309020205020404" pitchFamily="49" charset="0"/>
              <a:buChar char="o"/>
              <a:tabLst>
                <a:tab pos="1634490" algn="l"/>
              </a:tabLst>
            </a:pPr>
            <a:r>
              <a:rPr lang="en-US" sz="1100" i="1" dirty="0">
                <a:effectLst/>
                <a:latin typeface="Arial" panose="020B0604020202020204" pitchFamily="34" charset="0"/>
                <a:ea typeface="Courier New" panose="02070309020205020404" pitchFamily="49" charset="0"/>
                <a:cs typeface="Arial MT"/>
              </a:rPr>
              <a:t>Clear</a:t>
            </a:r>
            <a:endParaRPr lang="sv-SE" sz="1100" dirty="0">
              <a:effectLst/>
              <a:latin typeface="Arial MT"/>
              <a:ea typeface="Courier New" panose="02070309020205020404" pitchFamily="49" charset="0"/>
              <a:cs typeface="Arial MT"/>
            </a:endParaRPr>
          </a:p>
          <a:p>
            <a:pPr>
              <a:spcBef>
                <a:spcPts val="35"/>
              </a:spcBef>
            </a:pPr>
            <a:r>
              <a:rPr lang="en-US" sz="1200" i="1" dirty="0">
                <a:effectLst/>
                <a:latin typeface="Arial" panose="020B0604020202020204" pitchFamily="34" charset="0"/>
                <a:ea typeface="Arial MT"/>
                <a:cs typeface="Arial MT"/>
              </a:rPr>
              <a:t> </a:t>
            </a:r>
            <a:endParaRPr lang="sv-SE" sz="1100" dirty="0">
              <a:effectLst/>
              <a:latin typeface="Arial MT"/>
              <a:ea typeface="Arial MT"/>
              <a:cs typeface="Arial MT"/>
            </a:endParaRPr>
          </a:p>
          <a:p>
            <a:pPr marL="1600200" lvl="3" indent="-228600">
              <a:buSzPts val="1100"/>
              <a:buFont typeface="Courier New" panose="02070309020205020404" pitchFamily="49" charset="0"/>
              <a:buChar char="o"/>
              <a:tabLst>
                <a:tab pos="1634490" algn="l"/>
              </a:tabLst>
            </a:pPr>
            <a:r>
              <a:rPr lang="en-US" sz="1100" i="1" dirty="0">
                <a:effectLst/>
                <a:latin typeface="Arial" panose="020B0604020202020204" pitchFamily="34" charset="0"/>
                <a:ea typeface="Courier New" panose="02070309020205020404" pitchFamily="49" charset="0"/>
                <a:cs typeface="Arial MT"/>
              </a:rPr>
              <a:t>Relevant</a:t>
            </a:r>
            <a:endParaRPr lang="sv-SE" sz="1100" dirty="0">
              <a:effectLst/>
              <a:latin typeface="Arial MT"/>
              <a:ea typeface="Courier New" panose="02070309020205020404" pitchFamily="49" charset="0"/>
              <a:cs typeface="Arial MT"/>
            </a:endParaRPr>
          </a:p>
          <a:p>
            <a:pPr>
              <a:spcBef>
                <a:spcPts val="40"/>
              </a:spcBef>
            </a:pPr>
            <a:r>
              <a:rPr lang="en-US" sz="1200" i="1" dirty="0">
                <a:effectLst/>
                <a:latin typeface="Arial" panose="020B0604020202020204" pitchFamily="34" charset="0"/>
                <a:ea typeface="Arial MT"/>
                <a:cs typeface="Arial MT"/>
              </a:rPr>
              <a:t> </a:t>
            </a:r>
            <a:endParaRPr lang="sv-SE" sz="1100" dirty="0">
              <a:effectLst/>
              <a:latin typeface="Arial MT"/>
              <a:ea typeface="Arial MT"/>
              <a:cs typeface="Arial MT"/>
            </a:endParaRPr>
          </a:p>
          <a:p>
            <a:pPr marL="1600200" lvl="3" indent="-228600">
              <a:buSzPts val="1100"/>
              <a:buFont typeface="Courier New" panose="02070309020205020404" pitchFamily="49" charset="0"/>
              <a:buChar char="o"/>
              <a:tabLst>
                <a:tab pos="1634490" algn="l"/>
              </a:tabLst>
            </a:pPr>
            <a:r>
              <a:rPr lang="en-US" sz="1100" i="1" dirty="0">
                <a:effectLst/>
                <a:latin typeface="Arial" panose="020B0604020202020204" pitchFamily="34" charset="0"/>
                <a:ea typeface="Courier New" panose="02070309020205020404" pitchFamily="49" charset="0"/>
                <a:cs typeface="Arial MT"/>
              </a:rPr>
              <a:t>Economic</a:t>
            </a:r>
            <a:endParaRPr lang="sv-SE" sz="1100" dirty="0">
              <a:effectLst/>
              <a:latin typeface="Arial MT"/>
              <a:ea typeface="Courier New" panose="02070309020205020404" pitchFamily="49" charset="0"/>
              <a:cs typeface="Arial MT"/>
            </a:endParaRPr>
          </a:p>
          <a:p>
            <a:pPr>
              <a:spcBef>
                <a:spcPts val="40"/>
              </a:spcBef>
            </a:pPr>
            <a:r>
              <a:rPr lang="en-US" sz="1200" i="1" dirty="0">
                <a:effectLst/>
                <a:latin typeface="Arial" panose="020B0604020202020204" pitchFamily="34" charset="0"/>
                <a:ea typeface="Arial MT"/>
                <a:cs typeface="Arial MT"/>
              </a:rPr>
              <a:t> </a:t>
            </a:r>
            <a:endParaRPr lang="sv-SE" sz="1100" dirty="0">
              <a:effectLst/>
              <a:latin typeface="Arial MT"/>
              <a:ea typeface="Arial MT"/>
              <a:cs typeface="Arial MT"/>
            </a:endParaRPr>
          </a:p>
          <a:p>
            <a:pPr marL="1600200" lvl="3" indent="-228600">
              <a:buSzPts val="1100"/>
              <a:buFont typeface="Courier New" panose="02070309020205020404" pitchFamily="49" charset="0"/>
              <a:buChar char="o"/>
              <a:tabLst>
                <a:tab pos="1634490" algn="l"/>
              </a:tabLst>
            </a:pPr>
            <a:r>
              <a:rPr lang="en-US" sz="1100" i="1" dirty="0">
                <a:effectLst/>
                <a:latin typeface="Arial" panose="020B0604020202020204" pitchFamily="34" charset="0"/>
                <a:ea typeface="Courier New" panose="02070309020205020404" pitchFamily="49" charset="0"/>
                <a:cs typeface="Arial MT"/>
              </a:rPr>
              <a:t>Adequate</a:t>
            </a:r>
            <a:endParaRPr lang="sv-SE" sz="1100" dirty="0">
              <a:effectLst/>
              <a:latin typeface="Arial MT"/>
              <a:ea typeface="Courier New" panose="02070309020205020404" pitchFamily="49" charset="0"/>
              <a:cs typeface="Arial MT"/>
            </a:endParaRPr>
          </a:p>
          <a:p>
            <a:pPr>
              <a:spcBef>
                <a:spcPts val="40"/>
              </a:spcBef>
            </a:pPr>
            <a:r>
              <a:rPr lang="en-US" sz="1200" i="1" dirty="0">
                <a:effectLst/>
                <a:latin typeface="Arial" panose="020B0604020202020204" pitchFamily="34" charset="0"/>
                <a:ea typeface="Arial MT"/>
                <a:cs typeface="Arial MT"/>
              </a:rPr>
              <a:t> </a:t>
            </a:r>
            <a:endParaRPr lang="sv-SE" sz="1100" dirty="0">
              <a:effectLst/>
              <a:latin typeface="Arial MT"/>
              <a:ea typeface="Arial MT"/>
              <a:cs typeface="Arial MT"/>
            </a:endParaRPr>
          </a:p>
          <a:p>
            <a:pPr marL="1600200" lvl="3" indent="-228600">
              <a:buSzPts val="1100"/>
              <a:buFont typeface="Courier New" panose="02070309020205020404" pitchFamily="49" charset="0"/>
              <a:buChar char="o"/>
              <a:tabLst>
                <a:tab pos="1634490" algn="l"/>
              </a:tabLst>
            </a:pPr>
            <a:r>
              <a:rPr lang="en-US" sz="1100" i="1" dirty="0">
                <a:effectLst/>
                <a:latin typeface="Arial" panose="020B0604020202020204" pitchFamily="34" charset="0"/>
                <a:ea typeface="Courier New" panose="02070309020205020404" pitchFamily="49" charset="0"/>
                <a:cs typeface="Arial MT"/>
              </a:rPr>
              <a:t>Monitorable</a:t>
            </a:r>
            <a:endParaRPr lang="sv-SE" sz="1100" dirty="0">
              <a:effectLst/>
              <a:latin typeface="Arial MT"/>
              <a:ea typeface="Courier New" panose="02070309020205020404" pitchFamily="49" charset="0"/>
              <a:cs typeface="Arial MT"/>
            </a:endParaRPr>
          </a:p>
          <a:p>
            <a:pPr>
              <a:spcBef>
                <a:spcPts val="40"/>
              </a:spcBef>
            </a:pPr>
            <a:r>
              <a:rPr lang="en-US" sz="1200" i="1" dirty="0">
                <a:effectLst/>
                <a:latin typeface="Arial" panose="020B0604020202020204" pitchFamily="34" charset="0"/>
                <a:ea typeface="Arial MT"/>
                <a:cs typeface="Arial MT"/>
              </a:rPr>
              <a:t> </a:t>
            </a:r>
            <a:endParaRPr lang="sv-SE" sz="1100" dirty="0">
              <a:effectLst/>
              <a:latin typeface="Arial MT"/>
              <a:ea typeface="Arial MT"/>
              <a:cs typeface="Arial MT"/>
            </a:endParaRPr>
          </a:p>
          <a:p>
            <a:pPr marR="718820" algn="just">
              <a:lnSpc>
                <a:spcPct val="125000"/>
              </a:lnSpc>
              <a:spcBef>
                <a:spcPts val="5"/>
              </a:spcBef>
              <a:spcAft>
                <a:spcPts val="0"/>
              </a:spcAft>
            </a:pPr>
            <a:r>
              <a:rPr lang="en-US" sz="1100" dirty="0">
                <a:effectLst/>
                <a:latin typeface="Arial MT"/>
                <a:ea typeface="Arial MT"/>
                <a:cs typeface="Arial MT"/>
              </a:rPr>
              <a:t>In summary, the frameworks identified and described above point out at similar criteria; indicators</a:t>
            </a:r>
            <a:r>
              <a:rPr lang="en-US" sz="1100" spc="5" dirty="0">
                <a:effectLst/>
                <a:latin typeface="Arial MT"/>
                <a:ea typeface="Arial MT"/>
                <a:cs typeface="Arial MT"/>
              </a:rPr>
              <a:t> </a:t>
            </a:r>
            <a:r>
              <a:rPr lang="en-US" sz="1100" dirty="0">
                <a:effectLst/>
                <a:latin typeface="Arial MT"/>
                <a:ea typeface="Arial MT"/>
                <a:cs typeface="Arial MT"/>
              </a:rPr>
              <a:t>must</a:t>
            </a:r>
            <a:r>
              <a:rPr lang="en-US" sz="1100" spc="-30" dirty="0">
                <a:effectLst/>
                <a:latin typeface="Arial MT"/>
                <a:ea typeface="Arial MT"/>
                <a:cs typeface="Arial MT"/>
              </a:rPr>
              <a:t> </a:t>
            </a:r>
            <a:r>
              <a:rPr lang="en-US" sz="1100" dirty="0">
                <a:effectLst/>
                <a:latin typeface="Arial MT"/>
                <a:ea typeface="Arial MT"/>
                <a:cs typeface="Arial MT"/>
              </a:rPr>
              <a:t>be</a:t>
            </a:r>
            <a:r>
              <a:rPr lang="en-US" sz="1100" spc="-25" dirty="0">
                <a:effectLst/>
                <a:latin typeface="Arial MT"/>
                <a:ea typeface="Arial MT"/>
                <a:cs typeface="Arial MT"/>
              </a:rPr>
              <a:t> </a:t>
            </a:r>
            <a:r>
              <a:rPr lang="en-US" sz="1100" dirty="0">
                <a:effectLst/>
                <a:latin typeface="Arial MT"/>
                <a:ea typeface="Arial MT"/>
                <a:cs typeface="Arial MT"/>
              </a:rPr>
              <a:t>monitorable,</a:t>
            </a:r>
            <a:r>
              <a:rPr lang="en-US" sz="1100" spc="-30" dirty="0">
                <a:effectLst/>
                <a:latin typeface="Arial MT"/>
                <a:ea typeface="Arial MT"/>
                <a:cs typeface="Arial MT"/>
              </a:rPr>
              <a:t> </a:t>
            </a:r>
            <a:r>
              <a:rPr lang="en-US" sz="1100" dirty="0">
                <a:effectLst/>
                <a:latin typeface="Arial MT"/>
                <a:ea typeface="Arial MT"/>
                <a:cs typeface="Arial MT"/>
              </a:rPr>
              <a:t>economically</a:t>
            </a:r>
            <a:r>
              <a:rPr lang="en-US" sz="1100" spc="-20" dirty="0">
                <a:effectLst/>
                <a:latin typeface="Arial MT"/>
                <a:ea typeface="Arial MT"/>
                <a:cs typeface="Arial MT"/>
              </a:rPr>
              <a:t> </a:t>
            </a:r>
            <a:r>
              <a:rPr lang="en-US" sz="1100" dirty="0">
                <a:effectLst/>
                <a:latin typeface="Arial MT"/>
                <a:ea typeface="Arial MT"/>
                <a:cs typeface="Arial MT"/>
              </a:rPr>
              <a:t>feasible,</a:t>
            </a:r>
            <a:r>
              <a:rPr lang="en-US" sz="1100" spc="-30" dirty="0">
                <a:effectLst/>
                <a:latin typeface="Arial MT"/>
                <a:ea typeface="Arial MT"/>
                <a:cs typeface="Arial MT"/>
              </a:rPr>
              <a:t> </a:t>
            </a:r>
            <a:r>
              <a:rPr lang="en-US" sz="1100" dirty="0">
                <a:effectLst/>
                <a:latin typeface="Arial MT"/>
                <a:ea typeface="Arial MT"/>
                <a:cs typeface="Arial MT"/>
              </a:rPr>
              <a:t>technically</a:t>
            </a:r>
            <a:r>
              <a:rPr lang="en-US" sz="1100" spc="-20" dirty="0">
                <a:effectLst/>
                <a:latin typeface="Arial MT"/>
                <a:ea typeface="Arial MT"/>
                <a:cs typeface="Arial MT"/>
              </a:rPr>
              <a:t> </a:t>
            </a:r>
            <a:r>
              <a:rPr lang="en-US" sz="1100" dirty="0">
                <a:effectLst/>
                <a:latin typeface="Arial MT"/>
                <a:ea typeface="Arial MT"/>
                <a:cs typeface="Arial MT"/>
              </a:rPr>
              <a:t>feasible,</a:t>
            </a:r>
            <a:r>
              <a:rPr lang="en-US" sz="1100" spc="-30" dirty="0">
                <a:effectLst/>
                <a:latin typeface="Arial MT"/>
                <a:ea typeface="Arial MT"/>
                <a:cs typeface="Arial MT"/>
              </a:rPr>
              <a:t> </a:t>
            </a:r>
            <a:r>
              <a:rPr lang="en-US" sz="1100" dirty="0">
                <a:effectLst/>
                <a:latin typeface="Arial MT"/>
                <a:ea typeface="Arial MT"/>
                <a:cs typeface="Arial MT"/>
              </a:rPr>
              <a:t>relevant</a:t>
            </a:r>
            <a:r>
              <a:rPr lang="en-US" sz="1100" spc="-25" dirty="0">
                <a:effectLst/>
                <a:latin typeface="Arial MT"/>
                <a:ea typeface="Arial MT"/>
                <a:cs typeface="Arial MT"/>
              </a:rPr>
              <a:t> </a:t>
            </a:r>
            <a:r>
              <a:rPr lang="en-US" sz="1100" dirty="0">
                <a:effectLst/>
                <a:latin typeface="Arial MT"/>
                <a:ea typeface="Arial MT"/>
                <a:cs typeface="Arial MT"/>
              </a:rPr>
              <a:t>for</a:t>
            </a:r>
            <a:r>
              <a:rPr lang="en-US" sz="1100" spc="-30" dirty="0">
                <a:effectLst/>
                <a:latin typeface="Arial MT"/>
                <a:ea typeface="Arial MT"/>
                <a:cs typeface="Arial MT"/>
              </a:rPr>
              <a:t> </a:t>
            </a:r>
            <a:r>
              <a:rPr lang="en-US" sz="1100" dirty="0">
                <a:effectLst/>
                <a:latin typeface="Arial MT"/>
                <a:ea typeface="Arial MT"/>
                <a:cs typeface="Arial MT"/>
              </a:rPr>
              <a:t>the</a:t>
            </a:r>
            <a:r>
              <a:rPr lang="en-US" sz="1100" spc="-25" dirty="0">
                <a:effectLst/>
                <a:latin typeface="Arial MT"/>
                <a:ea typeface="Arial MT"/>
                <a:cs typeface="Arial MT"/>
              </a:rPr>
              <a:t> </a:t>
            </a:r>
            <a:r>
              <a:rPr lang="en-US" sz="1100" dirty="0">
                <a:effectLst/>
                <a:latin typeface="Arial MT"/>
                <a:ea typeface="Arial MT"/>
                <a:cs typeface="Arial MT"/>
              </a:rPr>
              <a:t>project</a:t>
            </a:r>
            <a:r>
              <a:rPr lang="en-US" sz="1100" spc="-25" dirty="0">
                <a:effectLst/>
                <a:latin typeface="Arial MT"/>
                <a:ea typeface="Arial MT"/>
                <a:cs typeface="Arial MT"/>
              </a:rPr>
              <a:t> </a:t>
            </a:r>
            <a:r>
              <a:rPr lang="en-US" sz="1100" dirty="0">
                <a:effectLst/>
                <a:latin typeface="Arial MT"/>
                <a:ea typeface="Arial MT"/>
                <a:cs typeface="Arial MT"/>
              </a:rPr>
              <a:t>and</a:t>
            </a:r>
            <a:r>
              <a:rPr lang="en-US" sz="1100" spc="-30" dirty="0">
                <a:effectLst/>
                <a:latin typeface="Arial MT"/>
                <a:ea typeface="Arial MT"/>
                <a:cs typeface="Arial MT"/>
              </a:rPr>
              <a:t> </a:t>
            </a:r>
            <a:r>
              <a:rPr lang="en-US" sz="1100" dirty="0">
                <a:effectLst/>
                <a:latin typeface="Arial MT"/>
                <a:ea typeface="Arial MT"/>
                <a:cs typeface="Arial MT"/>
              </a:rPr>
              <a:t>its</a:t>
            </a:r>
            <a:r>
              <a:rPr lang="en-US" sz="1100" spc="-20" dirty="0">
                <a:effectLst/>
                <a:latin typeface="Arial MT"/>
                <a:ea typeface="Arial MT"/>
                <a:cs typeface="Arial MT"/>
              </a:rPr>
              <a:t> </a:t>
            </a:r>
            <a:r>
              <a:rPr lang="en-US" sz="1100" dirty="0">
                <a:effectLst/>
                <a:latin typeface="Arial MT"/>
                <a:ea typeface="Arial MT"/>
                <a:cs typeface="Arial MT"/>
              </a:rPr>
              <a:t>goal </a:t>
            </a:r>
            <a:r>
              <a:rPr lang="en-US" sz="1100" spc="-295" dirty="0">
                <a:effectLst/>
                <a:latin typeface="Arial MT"/>
                <a:ea typeface="Arial MT"/>
                <a:cs typeface="Arial MT"/>
              </a:rPr>
              <a:t>  </a:t>
            </a:r>
            <a:r>
              <a:rPr lang="en-US" sz="1100" dirty="0">
                <a:effectLst/>
                <a:latin typeface="Arial MT"/>
                <a:ea typeface="Arial MT"/>
                <a:cs typeface="Arial MT"/>
              </a:rPr>
              <a:t>and</a:t>
            </a:r>
            <a:r>
              <a:rPr lang="en-US" sz="1100" spc="-5" dirty="0">
                <a:effectLst/>
                <a:latin typeface="Arial MT"/>
                <a:ea typeface="Arial MT"/>
                <a:cs typeface="Arial MT"/>
              </a:rPr>
              <a:t> </a:t>
            </a:r>
            <a:r>
              <a:rPr lang="en-US" sz="1100" dirty="0">
                <a:effectLst/>
                <a:latin typeface="Arial MT"/>
                <a:ea typeface="Arial MT"/>
                <a:cs typeface="Arial MT"/>
              </a:rPr>
              <a:t>relevant</a:t>
            </a:r>
            <a:r>
              <a:rPr lang="en-US" sz="1100" spc="-5" dirty="0">
                <a:effectLst/>
                <a:latin typeface="Arial MT"/>
                <a:ea typeface="Arial MT"/>
                <a:cs typeface="Arial MT"/>
              </a:rPr>
              <a:t> </a:t>
            </a:r>
            <a:r>
              <a:rPr lang="en-US" sz="1100" dirty="0">
                <a:effectLst/>
                <a:latin typeface="Arial MT"/>
                <a:ea typeface="Arial MT"/>
                <a:cs typeface="Arial MT"/>
              </a:rPr>
              <a:t>for the industrial sector.</a:t>
            </a:r>
          </a:p>
          <a:p>
            <a:pPr marR="718820" algn="just">
              <a:lnSpc>
                <a:spcPct val="125000"/>
              </a:lnSpc>
              <a:spcBef>
                <a:spcPts val="5"/>
              </a:spcBef>
              <a:spcAft>
                <a:spcPts val="0"/>
              </a:spcAft>
            </a:pPr>
            <a:endParaRPr lang="en-US" sz="1100" dirty="0">
              <a:effectLst/>
              <a:latin typeface="Arial MT"/>
            </a:endParaRPr>
          </a:p>
          <a:p>
            <a:pPr marR="718820" algn="just">
              <a:lnSpc>
                <a:spcPct val="125000"/>
              </a:lnSpc>
              <a:spcBef>
                <a:spcPts val="5"/>
              </a:spcBef>
              <a:spcAft>
                <a:spcPts val="0"/>
              </a:spcAft>
            </a:pPr>
            <a:endParaRPr lang="en-US" sz="1100" dirty="0">
              <a:effectLst/>
              <a:latin typeface="Arial MT"/>
            </a:endParaRPr>
          </a:p>
          <a:p>
            <a:pPr marL="0" marR="718820" lvl="0" indent="0" algn="just" defTabSz="914400" rtl="0" eaLnBrk="1" fontAlgn="auto" latinLnBrk="0" hangingPunct="1">
              <a:lnSpc>
                <a:spcPct val="125000"/>
              </a:lnSpc>
              <a:spcBef>
                <a:spcPts val="5"/>
              </a:spcBef>
              <a:spcAft>
                <a:spcPts val="0"/>
              </a:spcAft>
              <a:buClrTx/>
              <a:buSzTx/>
              <a:buFontTx/>
              <a:buNone/>
              <a:tabLst/>
              <a:defRPr/>
            </a:pPr>
            <a:r>
              <a:rPr lang="sv-SE" sz="1800" dirty="0">
                <a:effectLst/>
                <a:latin typeface="Segoe UI" panose="020B0502040204020203" pitchFamily="34" charset="0"/>
              </a:rPr>
              <a:t>https://www.goodhousekeeping.com/food-recipes/dessert/a22577539/easiest-ever-fruit-and-coconut-ice-cream-recipe/</a:t>
            </a:r>
            <a:r>
              <a:rPr lang="sv-SE" sz="1800" dirty="0">
                <a:effectLst/>
                <a:latin typeface="Arial" panose="020B0604020202020204" pitchFamily="34" charset="0"/>
              </a:rPr>
              <a:t> , </a:t>
            </a:r>
            <a:r>
              <a:rPr lang="sv-SE" sz="1800" dirty="0" err="1">
                <a:effectLst/>
                <a:latin typeface="Arial" panose="020B0604020202020204" pitchFamily="34" charset="0"/>
              </a:rPr>
              <a:t>link</a:t>
            </a:r>
            <a:r>
              <a:rPr lang="sv-SE" sz="1800" dirty="0">
                <a:effectLst/>
                <a:latin typeface="Arial" panose="020B0604020202020204" pitchFamily="34" charset="0"/>
              </a:rPr>
              <a:t> to the </a:t>
            </a:r>
            <a:r>
              <a:rPr lang="sv-SE" sz="1800" dirty="0" err="1">
                <a:effectLst/>
                <a:latin typeface="Arial" panose="020B0604020202020204" pitchFamily="34" charset="0"/>
              </a:rPr>
              <a:t>picture</a:t>
            </a:r>
            <a:endParaRPr lang="sv-SE" dirty="0"/>
          </a:p>
          <a:p>
            <a:endParaRPr lang="sv-SE" dirty="0"/>
          </a:p>
        </p:txBody>
      </p:sp>
      <p:sp>
        <p:nvSpPr>
          <p:cNvPr id="4" name="Slide Number Placeholder 3"/>
          <p:cNvSpPr>
            <a:spLocks noGrp="1"/>
          </p:cNvSpPr>
          <p:nvPr>
            <p:ph type="sldNum" sz="quarter" idx="5"/>
          </p:nvPr>
        </p:nvSpPr>
        <p:spPr/>
        <p:txBody>
          <a:bodyPr/>
          <a:lstStyle/>
          <a:p>
            <a:fld id="{F84DB91F-1AD8-437C-8866-3636784D0854}" type="slidenum">
              <a:rPr lang="en-GB" smtClean="0"/>
              <a:t>67</a:t>
            </a:fld>
            <a:endParaRPr lang="en-GB"/>
          </a:p>
        </p:txBody>
      </p:sp>
    </p:spTree>
    <p:extLst>
      <p:ext uri="{BB962C8B-B14F-4D97-AF65-F5344CB8AC3E}">
        <p14:creationId xmlns:p14="http://schemas.microsoft.com/office/powerpoint/2010/main" val="748160608"/>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sz="1800">
                <a:effectLst/>
                <a:latin typeface="Arial MT"/>
                <a:ea typeface="Arial MT"/>
                <a:cs typeface="Arial MT"/>
              </a:rPr>
              <a:t>The</a:t>
            </a:r>
            <a:r>
              <a:rPr lang="en-US" sz="1800" spc="5">
                <a:effectLst/>
                <a:latin typeface="Arial MT"/>
                <a:ea typeface="Arial MT"/>
                <a:cs typeface="Arial MT"/>
              </a:rPr>
              <a:t> </a:t>
            </a:r>
            <a:r>
              <a:rPr lang="en-US" sz="1800" kern="1200">
                <a:solidFill>
                  <a:schemeClr val="tx1"/>
                </a:solidFill>
                <a:effectLst/>
                <a:latin typeface="Arial MT"/>
                <a:cs typeface="Arial" panose="020B0604020202020204" pitchFamily="34" charset="0"/>
              </a:rPr>
              <a:t>Key Resource Indicators (KRI) </a:t>
            </a:r>
            <a:r>
              <a:rPr lang="en-US" sz="1800" kern="1200">
                <a:solidFill>
                  <a:schemeClr val="tx1"/>
                </a:solidFill>
                <a:effectLst/>
                <a:latin typeface="Arial MT"/>
                <a:ea typeface="+mn-ea"/>
                <a:cs typeface="Arial" panose="020B0604020202020204" pitchFamily="34" charset="0"/>
              </a:rPr>
              <a:t>are </a:t>
            </a:r>
            <a:r>
              <a:rPr lang="en-US" sz="1800">
                <a:effectLst/>
                <a:latin typeface="Arial MT"/>
                <a:ea typeface="Arial MT"/>
                <a:cs typeface="Arial MT"/>
              </a:rPr>
              <a:t>grouped into the following themes: </a:t>
            </a:r>
          </a:p>
          <a:p>
            <a:pPr marL="342900" indent="-342900" algn="just">
              <a:buAutoNum type="arabicPeriod"/>
            </a:pPr>
            <a:r>
              <a:rPr lang="en-US" sz="1800">
                <a:effectLst/>
                <a:latin typeface="Arial MT"/>
                <a:ea typeface="Arial MT"/>
                <a:cs typeface="Arial MT"/>
              </a:rPr>
              <a:t>energy use </a:t>
            </a:r>
          </a:p>
          <a:p>
            <a:pPr marL="342900" indent="-342900" algn="just">
              <a:buAutoNum type="arabicPeriod"/>
            </a:pPr>
            <a:r>
              <a:rPr lang="en-US" sz="1800">
                <a:effectLst/>
                <a:latin typeface="Arial MT"/>
                <a:ea typeface="Arial MT"/>
                <a:cs typeface="Arial MT"/>
              </a:rPr>
              <a:t>material flows</a:t>
            </a:r>
          </a:p>
          <a:p>
            <a:pPr marL="342900" indent="-342900" algn="just">
              <a:buAutoNum type="arabicPeriod"/>
            </a:pPr>
            <a:r>
              <a:rPr lang="en-US" sz="1800">
                <a:effectLst/>
                <a:latin typeface="Arial MT"/>
                <a:ea typeface="Arial MT"/>
                <a:cs typeface="Arial MT"/>
              </a:rPr>
              <a:t>water use</a:t>
            </a:r>
          </a:p>
          <a:p>
            <a:pPr marL="342900" indent="-342900" algn="just">
              <a:buAutoNum type="arabicPeriod"/>
            </a:pPr>
            <a:r>
              <a:rPr lang="en-US" sz="1800">
                <a:effectLst/>
                <a:latin typeface="Arial MT"/>
                <a:ea typeface="Arial MT"/>
                <a:cs typeface="Arial MT"/>
              </a:rPr>
              <a:t>waste generation</a:t>
            </a:r>
          </a:p>
          <a:p>
            <a:pPr marL="342900" indent="-342900" algn="just">
              <a:buAutoNum type="arabicPeriod"/>
            </a:pPr>
            <a:r>
              <a:rPr lang="en-US" sz="1800">
                <a:effectLst/>
                <a:latin typeface="Arial MT"/>
                <a:ea typeface="Arial MT"/>
                <a:cs typeface="Arial MT"/>
              </a:rPr>
              <a:t>GHG generation </a:t>
            </a:r>
          </a:p>
          <a:p>
            <a:pPr marL="342900" indent="-342900" algn="just">
              <a:buAutoNum type="arabicPeriod"/>
            </a:pPr>
            <a:r>
              <a:rPr lang="en-US" sz="1800">
                <a:effectLst/>
                <a:latin typeface="Arial MT"/>
                <a:ea typeface="Arial MT"/>
                <a:cs typeface="Arial MT"/>
              </a:rPr>
              <a:t>other emissions </a:t>
            </a:r>
          </a:p>
          <a:p>
            <a:pPr marL="0" indent="0" algn="just">
              <a:buNone/>
            </a:pPr>
            <a:endParaRPr lang="en-US" sz="1800">
              <a:effectLst/>
              <a:latin typeface="Arial MT"/>
              <a:ea typeface="Arial MT"/>
              <a:cs typeface="Arial MT"/>
            </a:endParaRPr>
          </a:p>
          <a:p>
            <a:pPr marL="0" indent="0" algn="just">
              <a:buNone/>
            </a:pPr>
            <a:r>
              <a:rPr lang="en-US" sz="1800">
                <a:effectLst/>
                <a:latin typeface="Arial MT"/>
                <a:ea typeface="Arial MT"/>
                <a:cs typeface="Arial MT"/>
              </a:rPr>
              <a:t>Table shows:</a:t>
            </a:r>
          </a:p>
          <a:p>
            <a:pPr marL="285750" indent="-285750" algn="just">
              <a:buFont typeface="Arial" panose="020B0604020202020204" pitchFamily="34" charset="0"/>
              <a:buChar char="•"/>
            </a:pPr>
            <a:r>
              <a:rPr lang="en-US" sz="1800">
                <a:effectLst/>
                <a:latin typeface="Arial MT"/>
                <a:ea typeface="Arial MT"/>
                <a:cs typeface="Arial MT"/>
              </a:rPr>
              <a:t>First column shows the name of the indicator. </a:t>
            </a:r>
          </a:p>
          <a:p>
            <a:pPr marL="285750" indent="-285750" algn="just">
              <a:buFont typeface="Arial" panose="020B0604020202020204" pitchFamily="34" charset="0"/>
              <a:buChar char="•"/>
            </a:pPr>
            <a:r>
              <a:rPr lang="en-US" sz="1800">
                <a:effectLst/>
                <a:latin typeface="Arial MT"/>
                <a:ea typeface="Arial MT"/>
                <a:cs typeface="Arial MT"/>
              </a:rPr>
              <a:t>Second column shows in which unit the indicators is given. </a:t>
            </a:r>
          </a:p>
          <a:p>
            <a:pPr marL="285750" indent="-285750" algn="just">
              <a:buFont typeface="Arial" panose="020B0604020202020204" pitchFamily="34" charset="0"/>
              <a:buChar char="•"/>
            </a:pPr>
            <a:r>
              <a:rPr lang="en-US" sz="1800">
                <a:effectLst/>
                <a:latin typeface="Arial MT"/>
                <a:ea typeface="Arial MT"/>
                <a:cs typeface="Arial MT"/>
              </a:rPr>
              <a:t>Third column shows the relevance for the RETROFEEDs different demo-sites/pilot cases. </a:t>
            </a:r>
          </a:p>
          <a:p>
            <a:pPr marL="0" indent="0" algn="just">
              <a:buNone/>
            </a:pPr>
            <a:endParaRPr lang="en-US" sz="1800">
              <a:effectLst/>
              <a:latin typeface="Arial MT"/>
              <a:ea typeface="Arial MT"/>
              <a:cs typeface="Arial MT"/>
            </a:endParaRPr>
          </a:p>
          <a:p>
            <a:pPr marL="0" indent="0" algn="just">
              <a:buNone/>
            </a:pPr>
            <a:r>
              <a:rPr lang="en-US" sz="1800">
                <a:effectLst/>
                <a:latin typeface="Arial MT"/>
                <a:ea typeface="Arial MT"/>
                <a:cs typeface="Arial MT"/>
              </a:rPr>
              <a:t>All the indicators selected are considered to be monitorable as part of</a:t>
            </a:r>
            <a:r>
              <a:rPr lang="en-US" sz="1800" spc="5">
                <a:effectLst/>
                <a:latin typeface="Arial MT"/>
                <a:ea typeface="Arial MT"/>
                <a:cs typeface="Arial MT"/>
              </a:rPr>
              <a:t> </a:t>
            </a:r>
            <a:r>
              <a:rPr lang="en-US" sz="1800">
                <a:effectLst/>
                <a:latin typeface="Arial MT"/>
                <a:ea typeface="Arial MT"/>
                <a:cs typeface="Arial MT"/>
              </a:rPr>
              <a:t>the</a:t>
            </a:r>
            <a:r>
              <a:rPr lang="en-US" sz="1800" spc="-15">
                <a:effectLst/>
                <a:latin typeface="Arial MT"/>
                <a:ea typeface="Arial MT"/>
                <a:cs typeface="Arial MT"/>
              </a:rPr>
              <a:t> </a:t>
            </a:r>
            <a:r>
              <a:rPr lang="en-US" sz="1800">
                <a:effectLst/>
                <a:latin typeface="Arial MT"/>
                <a:ea typeface="Arial MT"/>
                <a:cs typeface="Arial MT"/>
              </a:rPr>
              <a:t>measurements</a:t>
            </a:r>
            <a:r>
              <a:rPr lang="en-US" sz="1800" spc="-10">
                <a:effectLst/>
                <a:latin typeface="Arial MT"/>
                <a:ea typeface="Arial MT"/>
                <a:cs typeface="Arial MT"/>
              </a:rPr>
              <a:t> </a:t>
            </a:r>
            <a:r>
              <a:rPr lang="en-US" sz="1800">
                <a:effectLst/>
                <a:latin typeface="Arial MT"/>
                <a:ea typeface="Arial MT"/>
                <a:cs typeface="Arial MT"/>
              </a:rPr>
              <a:t>planned</a:t>
            </a:r>
            <a:r>
              <a:rPr lang="en-US" sz="1800" spc="-10">
                <a:effectLst/>
                <a:latin typeface="Arial MT"/>
                <a:ea typeface="Arial MT"/>
                <a:cs typeface="Arial MT"/>
              </a:rPr>
              <a:t> </a:t>
            </a:r>
            <a:r>
              <a:rPr lang="en-US" sz="1800">
                <a:effectLst/>
                <a:latin typeface="Arial MT"/>
                <a:ea typeface="Arial MT"/>
                <a:cs typeface="Arial MT"/>
              </a:rPr>
              <a:t>for</a:t>
            </a:r>
            <a:r>
              <a:rPr lang="en-US" sz="1800" spc="-15">
                <a:effectLst/>
                <a:latin typeface="Arial MT"/>
                <a:ea typeface="Arial MT"/>
                <a:cs typeface="Arial MT"/>
              </a:rPr>
              <a:t> </a:t>
            </a:r>
            <a:r>
              <a:rPr lang="en-US" sz="1800">
                <a:effectLst/>
                <a:latin typeface="Arial MT"/>
                <a:ea typeface="Arial MT"/>
                <a:cs typeface="Arial MT"/>
              </a:rPr>
              <a:t>the</a:t>
            </a:r>
            <a:r>
              <a:rPr lang="en-US" sz="1800" spc="-10">
                <a:effectLst/>
                <a:latin typeface="Arial MT"/>
                <a:ea typeface="Arial MT"/>
                <a:cs typeface="Arial MT"/>
              </a:rPr>
              <a:t> </a:t>
            </a:r>
            <a:r>
              <a:rPr lang="en-US" sz="1800">
                <a:effectLst/>
                <a:latin typeface="Arial MT"/>
                <a:ea typeface="Arial MT"/>
                <a:cs typeface="Arial MT"/>
              </a:rPr>
              <a:t>pilot</a:t>
            </a:r>
            <a:r>
              <a:rPr lang="en-US" sz="1800" spc="-10">
                <a:effectLst/>
                <a:latin typeface="Arial MT"/>
                <a:ea typeface="Arial MT"/>
                <a:cs typeface="Arial MT"/>
              </a:rPr>
              <a:t> </a:t>
            </a:r>
            <a:r>
              <a:rPr lang="en-US" sz="1800">
                <a:effectLst/>
                <a:latin typeface="Arial MT"/>
                <a:ea typeface="Arial MT"/>
                <a:cs typeface="Arial MT"/>
              </a:rPr>
              <a:t>cases</a:t>
            </a:r>
            <a:r>
              <a:rPr lang="en-US" sz="1800" spc="-10">
                <a:effectLst/>
                <a:latin typeface="Arial MT"/>
                <a:ea typeface="Arial MT"/>
                <a:cs typeface="Arial MT"/>
              </a:rPr>
              <a:t> </a:t>
            </a:r>
            <a:r>
              <a:rPr lang="en-US" sz="1800">
                <a:effectLst/>
                <a:latin typeface="Arial MT"/>
                <a:ea typeface="Arial MT"/>
                <a:cs typeface="Arial MT"/>
              </a:rPr>
              <a:t>in</a:t>
            </a:r>
            <a:r>
              <a:rPr lang="en-US" sz="1800" spc="-15">
                <a:effectLst/>
                <a:latin typeface="Arial MT"/>
                <a:ea typeface="Arial MT"/>
                <a:cs typeface="Arial MT"/>
              </a:rPr>
              <a:t> </a:t>
            </a:r>
            <a:r>
              <a:rPr lang="en-US" sz="1800">
                <a:effectLst/>
                <a:latin typeface="Arial MT"/>
                <a:ea typeface="Arial MT"/>
                <a:cs typeface="Arial MT"/>
              </a:rPr>
              <a:t>the</a:t>
            </a:r>
            <a:r>
              <a:rPr lang="en-US" sz="1800" spc="-10">
                <a:effectLst/>
                <a:latin typeface="Arial MT"/>
                <a:ea typeface="Arial MT"/>
                <a:cs typeface="Arial MT"/>
              </a:rPr>
              <a:t> </a:t>
            </a:r>
            <a:r>
              <a:rPr lang="en-US" sz="1800">
                <a:effectLst/>
                <a:latin typeface="Arial MT"/>
                <a:ea typeface="Arial MT"/>
                <a:cs typeface="Arial MT"/>
              </a:rPr>
              <a:t>project.</a:t>
            </a:r>
            <a:r>
              <a:rPr lang="en-US" sz="1800" spc="-10">
                <a:effectLst/>
                <a:latin typeface="Arial MT"/>
                <a:ea typeface="Arial MT"/>
                <a:cs typeface="Arial MT"/>
              </a:rPr>
              <a:t> </a:t>
            </a:r>
            <a:r>
              <a:rPr lang="en-US" sz="1800">
                <a:effectLst/>
                <a:latin typeface="Arial MT"/>
                <a:ea typeface="Arial MT"/>
                <a:cs typeface="Arial MT"/>
              </a:rPr>
              <a:t>By</a:t>
            </a:r>
            <a:r>
              <a:rPr lang="en-US" sz="1800" spc="-10">
                <a:effectLst/>
                <a:latin typeface="Arial MT"/>
                <a:ea typeface="Arial MT"/>
                <a:cs typeface="Arial MT"/>
              </a:rPr>
              <a:t> </a:t>
            </a:r>
            <a:r>
              <a:rPr lang="en-US" sz="1800">
                <a:effectLst/>
                <a:latin typeface="Arial MT"/>
                <a:ea typeface="Arial MT"/>
                <a:cs typeface="Arial MT"/>
              </a:rPr>
              <a:t>being</a:t>
            </a:r>
            <a:r>
              <a:rPr lang="en-US" sz="1800" spc="-10">
                <a:effectLst/>
                <a:latin typeface="Arial MT"/>
                <a:ea typeface="Arial MT"/>
                <a:cs typeface="Arial MT"/>
              </a:rPr>
              <a:t> </a:t>
            </a:r>
            <a:r>
              <a:rPr lang="en-US" sz="1800">
                <a:effectLst/>
                <a:latin typeface="Arial MT"/>
                <a:ea typeface="Arial MT"/>
                <a:cs typeface="Arial MT"/>
              </a:rPr>
              <a:t>part</a:t>
            </a:r>
            <a:r>
              <a:rPr lang="en-US" sz="1800" spc="-10">
                <a:effectLst/>
                <a:latin typeface="Arial MT"/>
                <a:ea typeface="Arial MT"/>
                <a:cs typeface="Arial MT"/>
              </a:rPr>
              <a:t> </a:t>
            </a:r>
            <a:r>
              <a:rPr lang="en-US" sz="1800">
                <a:effectLst/>
                <a:latin typeface="Arial MT"/>
                <a:ea typeface="Arial MT"/>
                <a:cs typeface="Arial MT"/>
              </a:rPr>
              <a:t>of</a:t>
            </a:r>
            <a:r>
              <a:rPr lang="en-US" sz="1800" spc="-10">
                <a:effectLst/>
                <a:latin typeface="Arial MT"/>
                <a:ea typeface="Arial MT"/>
                <a:cs typeface="Arial MT"/>
              </a:rPr>
              <a:t> </a:t>
            </a:r>
            <a:r>
              <a:rPr lang="en-US" sz="1800">
                <a:effectLst/>
                <a:latin typeface="Arial MT"/>
                <a:ea typeface="Arial MT"/>
                <a:cs typeface="Arial MT"/>
              </a:rPr>
              <a:t>the</a:t>
            </a:r>
            <a:r>
              <a:rPr lang="en-US" sz="1800" spc="-10">
                <a:effectLst/>
                <a:latin typeface="Arial MT"/>
                <a:ea typeface="Arial MT"/>
                <a:cs typeface="Arial MT"/>
              </a:rPr>
              <a:t> </a:t>
            </a:r>
            <a:r>
              <a:rPr lang="en-US" sz="1800">
                <a:effectLst/>
                <a:latin typeface="Arial MT"/>
                <a:ea typeface="Arial MT"/>
                <a:cs typeface="Arial MT"/>
              </a:rPr>
              <a:t>monitoring</a:t>
            </a:r>
            <a:r>
              <a:rPr lang="en-US" sz="1800" spc="-10">
                <a:effectLst/>
                <a:latin typeface="Arial MT"/>
                <a:ea typeface="Arial MT"/>
                <a:cs typeface="Arial MT"/>
              </a:rPr>
              <a:t> </a:t>
            </a:r>
            <a:r>
              <a:rPr lang="en-US" sz="1800">
                <a:effectLst/>
                <a:latin typeface="Arial MT"/>
                <a:ea typeface="Arial MT"/>
                <a:cs typeface="Arial MT"/>
              </a:rPr>
              <a:t>work</a:t>
            </a:r>
            <a:r>
              <a:rPr lang="en-US" sz="1800" spc="-10">
                <a:effectLst/>
                <a:latin typeface="Arial MT"/>
                <a:ea typeface="Arial MT"/>
                <a:cs typeface="Arial MT"/>
              </a:rPr>
              <a:t> </a:t>
            </a:r>
            <a:r>
              <a:rPr lang="en-US" sz="1800">
                <a:effectLst/>
                <a:latin typeface="Arial MT"/>
                <a:ea typeface="Arial MT"/>
                <a:cs typeface="Arial MT"/>
              </a:rPr>
              <a:t>in</a:t>
            </a:r>
            <a:r>
              <a:rPr lang="en-US" sz="1800" spc="-295">
                <a:effectLst/>
                <a:latin typeface="Arial MT"/>
                <a:ea typeface="Arial MT"/>
                <a:cs typeface="Arial MT"/>
              </a:rPr>
              <a:t> </a:t>
            </a:r>
            <a:r>
              <a:rPr lang="en-US" sz="1800">
                <a:effectLst/>
                <a:latin typeface="Arial MT"/>
                <a:ea typeface="Arial MT"/>
                <a:cs typeface="Arial MT"/>
              </a:rPr>
              <a:t>RETROFEED, the economic feasibility of their measurement is also secured. Therefore, the main</a:t>
            </a:r>
            <a:r>
              <a:rPr lang="en-US" sz="1800" spc="5">
                <a:effectLst/>
                <a:latin typeface="Arial MT"/>
                <a:ea typeface="Arial MT"/>
                <a:cs typeface="Arial MT"/>
              </a:rPr>
              <a:t> </a:t>
            </a:r>
            <a:r>
              <a:rPr lang="en-US" sz="1800">
                <a:effectLst/>
                <a:latin typeface="Arial MT"/>
                <a:ea typeface="Arial MT"/>
                <a:cs typeface="Arial MT"/>
              </a:rPr>
              <a:t>criteria</a:t>
            </a:r>
            <a:r>
              <a:rPr lang="en-US" sz="1800" spc="-70">
                <a:effectLst/>
                <a:latin typeface="Arial MT"/>
                <a:ea typeface="Arial MT"/>
                <a:cs typeface="Arial MT"/>
              </a:rPr>
              <a:t> </a:t>
            </a:r>
            <a:r>
              <a:rPr lang="en-US" sz="1800">
                <a:effectLst/>
                <a:latin typeface="Arial MT"/>
                <a:ea typeface="Arial MT"/>
                <a:cs typeface="Arial MT"/>
              </a:rPr>
              <a:t>used</a:t>
            </a:r>
            <a:r>
              <a:rPr lang="en-US" sz="1800" spc="-75">
                <a:effectLst/>
                <a:latin typeface="Arial MT"/>
                <a:ea typeface="Arial MT"/>
                <a:cs typeface="Arial MT"/>
              </a:rPr>
              <a:t> </a:t>
            </a:r>
            <a:r>
              <a:rPr lang="en-US" sz="1800">
                <a:effectLst/>
                <a:latin typeface="Arial MT"/>
                <a:ea typeface="Arial MT"/>
                <a:cs typeface="Arial MT"/>
              </a:rPr>
              <a:t>for</a:t>
            </a:r>
            <a:r>
              <a:rPr lang="en-US" sz="1800" spc="-70">
                <a:effectLst/>
                <a:latin typeface="Arial MT"/>
                <a:ea typeface="Arial MT"/>
                <a:cs typeface="Arial MT"/>
              </a:rPr>
              <a:t> </a:t>
            </a:r>
            <a:r>
              <a:rPr lang="en-US" sz="1800">
                <a:effectLst/>
                <a:latin typeface="Arial MT"/>
                <a:ea typeface="Arial MT"/>
                <a:cs typeface="Arial MT"/>
              </a:rPr>
              <a:t>the</a:t>
            </a:r>
            <a:r>
              <a:rPr lang="en-US" sz="1800" spc="-65">
                <a:effectLst/>
                <a:latin typeface="Arial MT"/>
                <a:ea typeface="Arial MT"/>
                <a:cs typeface="Arial MT"/>
              </a:rPr>
              <a:t> </a:t>
            </a:r>
            <a:r>
              <a:rPr lang="en-US" sz="1800">
                <a:effectLst/>
                <a:latin typeface="Arial MT"/>
                <a:ea typeface="Arial MT"/>
                <a:cs typeface="Arial MT"/>
              </a:rPr>
              <a:t>selection</a:t>
            </a:r>
            <a:r>
              <a:rPr lang="en-US" sz="1800" spc="-70">
                <a:effectLst/>
                <a:latin typeface="Arial MT"/>
                <a:ea typeface="Arial MT"/>
                <a:cs typeface="Arial MT"/>
              </a:rPr>
              <a:t> </a:t>
            </a:r>
            <a:r>
              <a:rPr lang="en-US" sz="1800">
                <a:effectLst/>
                <a:latin typeface="Arial MT"/>
                <a:ea typeface="Arial MT"/>
                <a:cs typeface="Arial MT"/>
              </a:rPr>
              <a:t>is</a:t>
            </a:r>
            <a:r>
              <a:rPr lang="en-US" sz="1800" spc="-70">
                <a:effectLst/>
                <a:latin typeface="Arial MT"/>
                <a:ea typeface="Arial MT"/>
                <a:cs typeface="Arial MT"/>
              </a:rPr>
              <a:t> </a:t>
            </a:r>
            <a:r>
              <a:rPr lang="en-US" sz="1800">
                <a:effectLst/>
                <a:latin typeface="Arial MT"/>
                <a:ea typeface="Arial MT"/>
                <a:cs typeface="Arial MT"/>
              </a:rPr>
              <a:t>the</a:t>
            </a:r>
            <a:r>
              <a:rPr lang="en-US" sz="1800" spc="-70">
                <a:effectLst/>
                <a:latin typeface="Arial MT"/>
                <a:ea typeface="Arial MT"/>
                <a:cs typeface="Arial MT"/>
              </a:rPr>
              <a:t> </a:t>
            </a:r>
            <a:r>
              <a:rPr lang="en-US" sz="1800">
                <a:effectLst/>
                <a:latin typeface="Arial MT"/>
                <a:ea typeface="Arial MT"/>
                <a:cs typeface="Arial MT"/>
              </a:rPr>
              <a:t>relevance</a:t>
            </a:r>
            <a:r>
              <a:rPr lang="en-US" sz="1800" spc="-70">
                <a:effectLst/>
                <a:latin typeface="Arial MT"/>
                <a:ea typeface="Arial MT"/>
                <a:cs typeface="Arial MT"/>
              </a:rPr>
              <a:t> </a:t>
            </a:r>
            <a:r>
              <a:rPr lang="en-US" sz="1800">
                <a:effectLst/>
                <a:latin typeface="Arial MT"/>
                <a:ea typeface="Arial MT"/>
                <a:cs typeface="Arial MT"/>
              </a:rPr>
              <a:t>of</a:t>
            </a:r>
            <a:r>
              <a:rPr lang="en-US" sz="1800" spc="-70">
                <a:effectLst/>
                <a:latin typeface="Arial MT"/>
                <a:ea typeface="Arial MT"/>
                <a:cs typeface="Arial MT"/>
              </a:rPr>
              <a:t> </a:t>
            </a:r>
            <a:r>
              <a:rPr lang="en-US" sz="1800">
                <a:effectLst/>
                <a:latin typeface="Arial MT"/>
                <a:ea typeface="Arial MT"/>
                <a:cs typeface="Arial MT"/>
              </a:rPr>
              <a:t>the</a:t>
            </a:r>
            <a:r>
              <a:rPr lang="en-US" sz="1800" spc="-65">
                <a:effectLst/>
                <a:latin typeface="Arial MT"/>
                <a:ea typeface="Arial MT"/>
                <a:cs typeface="Arial MT"/>
              </a:rPr>
              <a:t> </a:t>
            </a:r>
            <a:r>
              <a:rPr lang="en-US" sz="1800">
                <a:effectLst/>
                <a:latin typeface="Arial MT"/>
                <a:ea typeface="Arial MT"/>
                <a:cs typeface="Arial MT"/>
              </a:rPr>
              <a:t>indicators,</a:t>
            </a:r>
            <a:r>
              <a:rPr lang="en-US" sz="1800" spc="-75">
                <a:effectLst/>
                <a:latin typeface="Arial MT"/>
                <a:ea typeface="Arial MT"/>
                <a:cs typeface="Arial MT"/>
              </a:rPr>
              <a:t> </a:t>
            </a:r>
            <a:r>
              <a:rPr lang="en-US" sz="1800">
                <a:effectLst/>
                <a:latin typeface="Arial MT"/>
                <a:ea typeface="Arial MT"/>
                <a:cs typeface="Arial MT"/>
              </a:rPr>
              <a:t>as</a:t>
            </a:r>
            <a:r>
              <a:rPr lang="en-US" sz="1800" spc="-70">
                <a:effectLst/>
                <a:latin typeface="Arial MT"/>
                <a:ea typeface="Arial MT"/>
                <a:cs typeface="Arial MT"/>
              </a:rPr>
              <a:t> </a:t>
            </a:r>
            <a:r>
              <a:rPr lang="en-US" sz="1800">
                <a:effectLst/>
                <a:latin typeface="Arial MT"/>
                <a:ea typeface="Arial MT"/>
                <a:cs typeface="Arial MT"/>
              </a:rPr>
              <a:t>an</a:t>
            </a:r>
            <a:r>
              <a:rPr lang="en-US" sz="1800" spc="-65">
                <a:effectLst/>
                <a:latin typeface="Arial MT"/>
                <a:ea typeface="Arial MT"/>
                <a:cs typeface="Arial MT"/>
              </a:rPr>
              <a:t> </a:t>
            </a:r>
            <a:r>
              <a:rPr lang="en-US" sz="1800">
                <a:effectLst/>
                <a:latin typeface="Arial MT"/>
                <a:ea typeface="Arial MT"/>
                <a:cs typeface="Arial MT"/>
              </a:rPr>
              <a:t>assessment</a:t>
            </a:r>
            <a:r>
              <a:rPr lang="en-US" sz="1800" spc="-70">
                <a:effectLst/>
                <a:latin typeface="Arial MT"/>
                <a:ea typeface="Arial MT"/>
                <a:cs typeface="Arial MT"/>
              </a:rPr>
              <a:t> </a:t>
            </a:r>
            <a:r>
              <a:rPr lang="en-US" sz="1800">
                <a:effectLst/>
                <a:latin typeface="Arial MT"/>
                <a:ea typeface="Arial MT"/>
                <a:cs typeface="Arial MT"/>
              </a:rPr>
              <a:t>of</a:t>
            </a:r>
            <a:r>
              <a:rPr lang="en-US" sz="1800" spc="-70">
                <a:effectLst/>
                <a:latin typeface="Arial MT"/>
                <a:ea typeface="Arial MT"/>
                <a:cs typeface="Arial MT"/>
              </a:rPr>
              <a:t> </a:t>
            </a:r>
            <a:r>
              <a:rPr lang="en-US" sz="1800">
                <a:effectLst/>
                <a:latin typeface="Arial MT"/>
                <a:ea typeface="Arial MT"/>
                <a:cs typeface="Arial MT"/>
              </a:rPr>
              <a:t>the</a:t>
            </a:r>
            <a:r>
              <a:rPr lang="en-US" sz="1800" spc="-70">
                <a:effectLst/>
                <a:latin typeface="Arial MT"/>
                <a:ea typeface="Arial MT"/>
                <a:cs typeface="Arial MT"/>
              </a:rPr>
              <a:t> </a:t>
            </a:r>
            <a:r>
              <a:rPr lang="en-US" sz="1800">
                <a:effectLst/>
                <a:latin typeface="Arial MT"/>
                <a:ea typeface="Arial MT"/>
                <a:cs typeface="Arial MT"/>
              </a:rPr>
              <a:t>performance </a:t>
            </a:r>
            <a:r>
              <a:rPr lang="en-US" sz="1800" spc="-290">
                <a:effectLst/>
                <a:latin typeface="Arial MT"/>
                <a:ea typeface="Arial MT"/>
                <a:cs typeface="Arial MT"/>
              </a:rPr>
              <a:t> </a:t>
            </a:r>
            <a:r>
              <a:rPr lang="en-US" sz="1800">
                <a:effectLst/>
                <a:latin typeface="Arial MT"/>
                <a:ea typeface="Arial MT"/>
                <a:cs typeface="Arial MT"/>
              </a:rPr>
              <a:t>of the specific actions planned within the project and as an indicator that is widely measured within</a:t>
            </a:r>
            <a:r>
              <a:rPr lang="en-US" sz="1800" spc="5">
                <a:effectLst/>
                <a:latin typeface="Arial MT"/>
                <a:ea typeface="Arial MT"/>
                <a:cs typeface="Arial MT"/>
              </a:rPr>
              <a:t> </a:t>
            </a:r>
            <a:r>
              <a:rPr lang="en-US" sz="1800">
                <a:effectLst/>
                <a:latin typeface="Arial MT"/>
                <a:ea typeface="Arial MT"/>
                <a:cs typeface="Arial MT"/>
              </a:rPr>
              <a:t>the</a:t>
            </a:r>
            <a:r>
              <a:rPr lang="en-US" sz="1800" spc="-5">
                <a:effectLst/>
                <a:latin typeface="Arial MT"/>
                <a:ea typeface="Arial MT"/>
                <a:cs typeface="Arial MT"/>
              </a:rPr>
              <a:t> </a:t>
            </a:r>
            <a:r>
              <a:rPr lang="en-US" sz="1800">
                <a:effectLst/>
                <a:latin typeface="Arial MT"/>
                <a:ea typeface="Arial MT"/>
                <a:cs typeface="Arial MT"/>
              </a:rPr>
              <a:t>relevant</a:t>
            </a:r>
            <a:r>
              <a:rPr lang="en-US" sz="1800" spc="-5">
                <a:effectLst/>
                <a:latin typeface="Arial MT"/>
                <a:ea typeface="Arial MT"/>
                <a:cs typeface="Arial MT"/>
              </a:rPr>
              <a:t> </a:t>
            </a:r>
            <a:r>
              <a:rPr lang="en-US" sz="1800">
                <a:effectLst/>
                <a:latin typeface="Arial MT"/>
                <a:ea typeface="Arial MT"/>
                <a:cs typeface="Arial MT"/>
              </a:rPr>
              <a:t>sectors.</a:t>
            </a:r>
            <a:endParaRPr lang="sv-SE" sz="1800">
              <a:effectLst/>
              <a:latin typeface="Arial MT"/>
              <a:ea typeface="Arial MT"/>
              <a:cs typeface="Arial MT"/>
            </a:endParaRPr>
          </a:p>
          <a:p>
            <a:endParaRPr lang="sv-SE"/>
          </a:p>
        </p:txBody>
      </p:sp>
      <p:sp>
        <p:nvSpPr>
          <p:cNvPr id="4" name="Slide Number Placeholder 3"/>
          <p:cNvSpPr>
            <a:spLocks noGrp="1"/>
          </p:cNvSpPr>
          <p:nvPr>
            <p:ph type="sldNum" sz="quarter" idx="5"/>
          </p:nvPr>
        </p:nvSpPr>
        <p:spPr/>
        <p:txBody>
          <a:bodyPr/>
          <a:lstStyle/>
          <a:p>
            <a:fld id="{F84DB91F-1AD8-437C-8866-3636784D0854}" type="slidenum">
              <a:rPr lang="en-GB" smtClean="0"/>
              <a:t>68</a:t>
            </a:fld>
            <a:endParaRPr lang="en-GB"/>
          </a:p>
        </p:txBody>
      </p:sp>
    </p:spTree>
    <p:extLst>
      <p:ext uri="{BB962C8B-B14F-4D97-AF65-F5344CB8AC3E}">
        <p14:creationId xmlns:p14="http://schemas.microsoft.com/office/powerpoint/2010/main" val="2416916278"/>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fld id="{F84DB91F-1AD8-437C-8866-3636784D0854}" type="slidenum">
              <a:rPr lang="en-GB" smtClean="0"/>
              <a:t>69</a:t>
            </a:fld>
            <a:endParaRPr lang="en-GB"/>
          </a:p>
        </p:txBody>
      </p:sp>
    </p:spTree>
    <p:extLst>
      <p:ext uri="{BB962C8B-B14F-4D97-AF65-F5344CB8AC3E}">
        <p14:creationId xmlns:p14="http://schemas.microsoft.com/office/powerpoint/2010/main" val="2571537995"/>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72390" marR="210820" algn="just">
              <a:lnSpc>
                <a:spcPct val="125000"/>
              </a:lnSpc>
              <a:spcBef>
                <a:spcPts val="1200"/>
              </a:spcBef>
              <a:spcAft>
                <a:spcPts val="0"/>
              </a:spcAft>
            </a:pPr>
            <a:r>
              <a:rPr lang="en-US" sz="1800" dirty="0">
                <a:effectLst/>
                <a:latin typeface="Arial MT"/>
                <a:ea typeface="Arial MT"/>
                <a:cs typeface="Arial MT"/>
              </a:rPr>
              <a:t>The selection of indicators, KRIs and KPAs, and system boundaries are presented for each demo-</a:t>
            </a:r>
            <a:r>
              <a:rPr lang="en-US" sz="1800" spc="5" dirty="0">
                <a:effectLst/>
                <a:latin typeface="Arial MT"/>
                <a:ea typeface="Arial MT"/>
                <a:cs typeface="Arial MT"/>
              </a:rPr>
              <a:t> </a:t>
            </a:r>
            <a:r>
              <a:rPr lang="en-US" sz="1800" spc="-5" dirty="0">
                <a:effectLst/>
                <a:latin typeface="Arial MT"/>
                <a:ea typeface="Arial MT"/>
                <a:cs typeface="Arial MT"/>
              </a:rPr>
              <a:t>site.</a:t>
            </a:r>
            <a:r>
              <a:rPr lang="en-US" sz="1800" spc="-75" dirty="0">
                <a:effectLst/>
                <a:latin typeface="Arial MT"/>
                <a:ea typeface="Arial MT"/>
                <a:cs typeface="Arial MT"/>
              </a:rPr>
              <a:t> </a:t>
            </a:r>
            <a:r>
              <a:rPr lang="en-US" sz="1800" dirty="0">
                <a:effectLst/>
                <a:latin typeface="Arial MT"/>
                <a:ea typeface="Arial MT"/>
                <a:cs typeface="Arial MT"/>
              </a:rPr>
              <a:t>The</a:t>
            </a:r>
            <a:r>
              <a:rPr lang="en-US" sz="1800" spc="-70" dirty="0">
                <a:effectLst/>
                <a:latin typeface="Arial MT"/>
                <a:ea typeface="Arial MT"/>
                <a:cs typeface="Arial MT"/>
              </a:rPr>
              <a:t> </a:t>
            </a:r>
            <a:r>
              <a:rPr lang="en-US" sz="1800" dirty="0">
                <a:effectLst/>
                <a:latin typeface="Arial MT"/>
                <a:ea typeface="Arial MT"/>
                <a:cs typeface="Arial MT"/>
              </a:rPr>
              <a:t>selection</a:t>
            </a:r>
            <a:r>
              <a:rPr lang="en-US" sz="1800" spc="-70" dirty="0">
                <a:effectLst/>
                <a:latin typeface="Arial MT"/>
                <a:ea typeface="Arial MT"/>
                <a:cs typeface="Arial MT"/>
              </a:rPr>
              <a:t> </a:t>
            </a:r>
            <a:r>
              <a:rPr lang="en-US" sz="1800" dirty="0">
                <a:effectLst/>
                <a:latin typeface="Arial MT"/>
                <a:ea typeface="Arial MT"/>
                <a:cs typeface="Arial MT"/>
              </a:rPr>
              <a:t>is</a:t>
            </a:r>
            <a:r>
              <a:rPr lang="en-US" sz="1800" spc="-70" dirty="0">
                <a:effectLst/>
                <a:latin typeface="Arial MT"/>
                <a:ea typeface="Arial MT"/>
                <a:cs typeface="Arial MT"/>
              </a:rPr>
              <a:t> </a:t>
            </a:r>
            <a:r>
              <a:rPr lang="en-US" sz="1800" dirty="0">
                <a:effectLst/>
                <a:latin typeface="Arial MT"/>
                <a:ea typeface="Arial MT"/>
                <a:cs typeface="Arial MT"/>
              </a:rPr>
              <a:t>based</a:t>
            </a:r>
            <a:r>
              <a:rPr lang="en-US" sz="1800" spc="-70" dirty="0">
                <a:effectLst/>
                <a:latin typeface="Arial MT"/>
                <a:ea typeface="Arial MT"/>
                <a:cs typeface="Arial MT"/>
              </a:rPr>
              <a:t> </a:t>
            </a:r>
            <a:r>
              <a:rPr lang="en-US" sz="1800" dirty="0">
                <a:effectLst/>
                <a:latin typeface="Arial MT"/>
                <a:ea typeface="Arial MT"/>
                <a:cs typeface="Arial MT"/>
              </a:rPr>
              <a:t>on</a:t>
            </a:r>
            <a:r>
              <a:rPr lang="en-US" sz="1800" spc="-70" dirty="0">
                <a:effectLst/>
                <a:latin typeface="Arial MT"/>
                <a:ea typeface="Arial MT"/>
                <a:cs typeface="Arial MT"/>
              </a:rPr>
              <a:t> </a:t>
            </a:r>
            <a:r>
              <a:rPr lang="en-US" sz="1800" dirty="0">
                <a:effectLst/>
                <a:latin typeface="Arial MT"/>
                <a:ea typeface="Arial MT"/>
                <a:cs typeface="Arial MT"/>
              </a:rPr>
              <a:t>the</a:t>
            </a:r>
            <a:r>
              <a:rPr lang="en-US" sz="1800" spc="-75" dirty="0">
                <a:effectLst/>
                <a:latin typeface="Arial MT"/>
                <a:ea typeface="Arial MT"/>
                <a:cs typeface="Arial MT"/>
              </a:rPr>
              <a:t> </a:t>
            </a:r>
            <a:r>
              <a:rPr lang="en-US" sz="1800" dirty="0">
                <a:effectLst/>
                <a:latin typeface="Arial MT"/>
                <a:ea typeface="Arial MT"/>
                <a:cs typeface="Arial MT"/>
              </a:rPr>
              <a:t>objectives</a:t>
            </a:r>
            <a:r>
              <a:rPr lang="en-US" sz="1800" spc="-70" dirty="0">
                <a:effectLst/>
                <a:latin typeface="Arial MT"/>
                <a:ea typeface="Arial MT"/>
                <a:cs typeface="Arial MT"/>
              </a:rPr>
              <a:t> </a:t>
            </a:r>
            <a:r>
              <a:rPr lang="en-US" sz="1800" dirty="0">
                <a:effectLst/>
                <a:latin typeface="Arial MT"/>
                <a:ea typeface="Arial MT"/>
                <a:cs typeface="Arial MT"/>
              </a:rPr>
              <a:t>of</a:t>
            </a:r>
            <a:r>
              <a:rPr lang="en-US" sz="1800" spc="-70" dirty="0">
                <a:effectLst/>
                <a:latin typeface="Arial MT"/>
                <a:ea typeface="Arial MT"/>
                <a:cs typeface="Arial MT"/>
              </a:rPr>
              <a:t> </a:t>
            </a:r>
            <a:r>
              <a:rPr lang="en-US" sz="1800" dirty="0">
                <a:effectLst/>
                <a:latin typeface="Arial MT"/>
                <a:ea typeface="Arial MT"/>
                <a:cs typeface="Arial MT"/>
              </a:rPr>
              <a:t>the</a:t>
            </a:r>
            <a:r>
              <a:rPr lang="en-US" sz="1800" spc="-70" dirty="0">
                <a:effectLst/>
                <a:latin typeface="Arial MT"/>
                <a:ea typeface="Arial MT"/>
                <a:cs typeface="Arial MT"/>
              </a:rPr>
              <a:t> </a:t>
            </a:r>
            <a:r>
              <a:rPr lang="en-US" sz="1800" dirty="0">
                <a:effectLst/>
                <a:latin typeface="Arial MT"/>
                <a:ea typeface="Arial MT"/>
                <a:cs typeface="Arial MT"/>
              </a:rPr>
              <a:t>RETROFEED</a:t>
            </a:r>
            <a:r>
              <a:rPr lang="en-US" sz="1800" spc="-75" dirty="0">
                <a:effectLst/>
                <a:latin typeface="Arial MT"/>
                <a:ea typeface="Arial MT"/>
                <a:cs typeface="Arial MT"/>
              </a:rPr>
              <a:t> </a:t>
            </a:r>
            <a:r>
              <a:rPr lang="en-US" sz="1800" dirty="0">
                <a:effectLst/>
                <a:latin typeface="Arial MT"/>
                <a:ea typeface="Arial MT"/>
                <a:cs typeface="Arial MT"/>
              </a:rPr>
              <a:t>project</a:t>
            </a:r>
            <a:r>
              <a:rPr lang="en-US" sz="1800" spc="-70" dirty="0">
                <a:effectLst/>
                <a:latin typeface="Arial MT"/>
                <a:ea typeface="Arial MT"/>
                <a:cs typeface="Arial MT"/>
              </a:rPr>
              <a:t> </a:t>
            </a:r>
            <a:r>
              <a:rPr lang="en-US" sz="1800" dirty="0">
                <a:effectLst/>
                <a:latin typeface="Arial MT"/>
                <a:ea typeface="Arial MT"/>
                <a:cs typeface="Arial MT"/>
              </a:rPr>
              <a:t>at</a:t>
            </a:r>
            <a:r>
              <a:rPr lang="en-US" sz="1800" spc="-70" dirty="0">
                <a:effectLst/>
                <a:latin typeface="Arial MT"/>
                <a:ea typeface="Arial MT"/>
                <a:cs typeface="Arial MT"/>
              </a:rPr>
              <a:t> </a:t>
            </a:r>
            <a:r>
              <a:rPr lang="en-US" sz="1800" dirty="0">
                <a:effectLst/>
                <a:latin typeface="Arial MT"/>
                <a:ea typeface="Arial MT"/>
                <a:cs typeface="Arial MT"/>
              </a:rPr>
              <a:t>each</a:t>
            </a:r>
            <a:r>
              <a:rPr lang="en-US" sz="1800" spc="-75" dirty="0">
                <a:effectLst/>
                <a:latin typeface="Arial MT"/>
                <a:ea typeface="Arial MT"/>
                <a:cs typeface="Arial MT"/>
              </a:rPr>
              <a:t> </a:t>
            </a:r>
            <a:r>
              <a:rPr lang="en-US" sz="1800" dirty="0">
                <a:effectLst/>
                <a:latin typeface="Arial MT"/>
                <a:ea typeface="Arial MT"/>
                <a:cs typeface="Arial MT"/>
              </a:rPr>
              <a:t>site,</a:t>
            </a:r>
            <a:r>
              <a:rPr lang="en-US" sz="1800" spc="-70" dirty="0">
                <a:effectLst/>
                <a:latin typeface="Arial MT"/>
                <a:ea typeface="Arial MT"/>
                <a:cs typeface="Arial MT"/>
              </a:rPr>
              <a:t> </a:t>
            </a:r>
            <a:r>
              <a:rPr lang="en-US" sz="1800" dirty="0">
                <a:effectLst/>
                <a:latin typeface="Arial MT"/>
                <a:ea typeface="Arial MT"/>
                <a:cs typeface="Arial MT"/>
              </a:rPr>
              <a:t>in</a:t>
            </a:r>
            <a:r>
              <a:rPr lang="en-US" sz="1800" spc="-70" dirty="0">
                <a:effectLst/>
                <a:latin typeface="Arial MT"/>
                <a:ea typeface="Arial MT"/>
                <a:cs typeface="Arial MT"/>
              </a:rPr>
              <a:t> </a:t>
            </a:r>
            <a:r>
              <a:rPr lang="en-US" sz="1800" dirty="0">
                <a:effectLst/>
                <a:latin typeface="Arial MT"/>
                <a:ea typeface="Arial MT"/>
                <a:cs typeface="Arial MT"/>
              </a:rPr>
              <a:t>combination</a:t>
            </a:r>
            <a:r>
              <a:rPr lang="en-US" sz="1800" spc="-295" dirty="0">
                <a:effectLst/>
                <a:latin typeface="Arial MT"/>
                <a:ea typeface="Arial MT"/>
                <a:cs typeface="Arial MT"/>
              </a:rPr>
              <a:t> </a:t>
            </a:r>
            <a:r>
              <a:rPr lang="en-US" sz="1800" spc="-5" dirty="0">
                <a:effectLst/>
                <a:latin typeface="Arial MT"/>
                <a:ea typeface="Arial MT"/>
                <a:cs typeface="Arial MT"/>
              </a:rPr>
              <a:t>with</a:t>
            </a:r>
            <a:r>
              <a:rPr lang="en-US" sz="1800" spc="-70" dirty="0">
                <a:effectLst/>
                <a:latin typeface="Arial MT"/>
                <a:ea typeface="Arial MT"/>
                <a:cs typeface="Arial MT"/>
              </a:rPr>
              <a:t> </a:t>
            </a:r>
            <a:r>
              <a:rPr lang="en-US" sz="1800" spc="-5" dirty="0">
                <a:effectLst/>
                <a:latin typeface="Arial MT"/>
                <a:ea typeface="Arial MT"/>
                <a:cs typeface="Arial MT"/>
              </a:rPr>
              <a:t>the</a:t>
            </a:r>
            <a:r>
              <a:rPr lang="en-US" sz="1800" spc="-65" dirty="0">
                <a:effectLst/>
                <a:latin typeface="Arial MT"/>
                <a:ea typeface="Arial MT"/>
                <a:cs typeface="Arial MT"/>
              </a:rPr>
              <a:t> </a:t>
            </a:r>
            <a:r>
              <a:rPr lang="en-US" sz="1800" spc="-5" dirty="0">
                <a:effectLst/>
                <a:latin typeface="Arial MT"/>
                <a:ea typeface="Arial MT"/>
                <a:cs typeface="Arial MT"/>
              </a:rPr>
              <a:t>result</a:t>
            </a:r>
            <a:r>
              <a:rPr lang="en-US" sz="1800" spc="-65" dirty="0">
                <a:effectLst/>
                <a:latin typeface="Arial MT"/>
                <a:ea typeface="Arial MT"/>
                <a:cs typeface="Arial MT"/>
              </a:rPr>
              <a:t> </a:t>
            </a:r>
            <a:r>
              <a:rPr lang="en-US" sz="1800" spc="-5" dirty="0">
                <a:effectLst/>
                <a:latin typeface="Arial MT"/>
                <a:ea typeface="Arial MT"/>
                <a:cs typeface="Arial MT"/>
              </a:rPr>
              <a:t>from</a:t>
            </a:r>
            <a:r>
              <a:rPr lang="en-US" sz="1800" spc="-70" dirty="0">
                <a:effectLst/>
                <a:latin typeface="Arial MT"/>
                <a:ea typeface="Arial MT"/>
                <a:cs typeface="Arial MT"/>
              </a:rPr>
              <a:t> </a:t>
            </a:r>
            <a:r>
              <a:rPr lang="en-US" sz="1800" spc="-5" dirty="0">
                <a:effectLst/>
                <a:latin typeface="Arial MT"/>
                <a:ea typeface="Arial MT"/>
                <a:cs typeface="Arial MT"/>
              </a:rPr>
              <a:t>the</a:t>
            </a:r>
            <a:r>
              <a:rPr lang="en-US" sz="1800" spc="-65" dirty="0">
                <a:effectLst/>
                <a:latin typeface="Arial MT"/>
                <a:ea typeface="Arial MT"/>
                <a:cs typeface="Arial MT"/>
              </a:rPr>
              <a:t> </a:t>
            </a:r>
            <a:r>
              <a:rPr lang="en-US" sz="1800" spc="-5" dirty="0">
                <a:effectLst/>
                <a:latin typeface="Arial MT"/>
                <a:ea typeface="Arial MT"/>
                <a:cs typeface="Arial MT"/>
              </a:rPr>
              <a:t>literature</a:t>
            </a:r>
            <a:r>
              <a:rPr lang="en-US" sz="1800" spc="-65" dirty="0">
                <a:effectLst/>
                <a:latin typeface="Arial MT"/>
                <a:ea typeface="Arial MT"/>
                <a:cs typeface="Arial MT"/>
              </a:rPr>
              <a:t> </a:t>
            </a:r>
            <a:r>
              <a:rPr lang="en-US" sz="1800" dirty="0">
                <a:effectLst/>
                <a:latin typeface="Arial MT"/>
                <a:ea typeface="Arial MT"/>
                <a:cs typeface="Arial MT"/>
              </a:rPr>
              <a:t>study</a:t>
            </a:r>
            <a:r>
              <a:rPr lang="en-US" sz="1800" spc="-65" dirty="0">
                <a:effectLst/>
                <a:latin typeface="Arial MT"/>
                <a:ea typeface="Arial MT"/>
                <a:cs typeface="Arial MT"/>
              </a:rPr>
              <a:t> </a:t>
            </a:r>
            <a:r>
              <a:rPr lang="en-US" sz="1800" dirty="0">
                <a:effectLst/>
                <a:latin typeface="Arial MT"/>
                <a:ea typeface="Arial MT"/>
                <a:cs typeface="Arial MT"/>
              </a:rPr>
              <a:t>of</a:t>
            </a:r>
            <a:r>
              <a:rPr lang="en-US" sz="1800" spc="-65" dirty="0">
                <a:effectLst/>
                <a:latin typeface="Arial MT"/>
                <a:ea typeface="Arial MT"/>
                <a:cs typeface="Arial MT"/>
              </a:rPr>
              <a:t> </a:t>
            </a:r>
            <a:r>
              <a:rPr lang="en-US" sz="1800" dirty="0">
                <a:effectLst/>
                <a:latin typeface="Arial MT"/>
                <a:ea typeface="Arial MT"/>
                <a:cs typeface="Arial MT"/>
              </a:rPr>
              <a:t>relevant</a:t>
            </a:r>
            <a:r>
              <a:rPr lang="en-US" sz="1800" spc="-75" dirty="0">
                <a:effectLst/>
                <a:latin typeface="Arial MT"/>
                <a:ea typeface="Arial MT"/>
                <a:cs typeface="Arial MT"/>
              </a:rPr>
              <a:t> </a:t>
            </a:r>
            <a:r>
              <a:rPr lang="en-US" sz="1800" dirty="0">
                <a:effectLst/>
                <a:latin typeface="Arial MT"/>
                <a:ea typeface="Arial MT"/>
                <a:cs typeface="Arial MT"/>
              </a:rPr>
              <a:t>indicators</a:t>
            </a:r>
            <a:r>
              <a:rPr lang="en-US" sz="1800" spc="-70" dirty="0">
                <a:effectLst/>
                <a:latin typeface="Arial MT"/>
                <a:ea typeface="Arial MT"/>
                <a:cs typeface="Arial MT"/>
              </a:rPr>
              <a:t> </a:t>
            </a:r>
            <a:r>
              <a:rPr lang="en-US" sz="1800" dirty="0">
                <a:effectLst/>
                <a:latin typeface="Arial MT"/>
                <a:ea typeface="Arial MT"/>
                <a:cs typeface="Arial MT"/>
              </a:rPr>
              <a:t>for</a:t>
            </a:r>
            <a:r>
              <a:rPr lang="en-US" sz="1800" spc="-65" dirty="0">
                <a:effectLst/>
                <a:latin typeface="Arial MT"/>
                <a:ea typeface="Arial MT"/>
                <a:cs typeface="Arial MT"/>
              </a:rPr>
              <a:t> </a:t>
            </a:r>
            <a:r>
              <a:rPr lang="en-US" sz="1800" dirty="0">
                <a:effectLst/>
                <a:latin typeface="Arial MT"/>
                <a:ea typeface="Arial MT"/>
                <a:cs typeface="Arial MT"/>
              </a:rPr>
              <a:t>the</a:t>
            </a:r>
            <a:r>
              <a:rPr lang="en-US" sz="1800" spc="-65" dirty="0">
                <a:effectLst/>
                <a:latin typeface="Arial MT"/>
                <a:ea typeface="Arial MT"/>
                <a:cs typeface="Arial MT"/>
              </a:rPr>
              <a:t> </a:t>
            </a:r>
            <a:r>
              <a:rPr lang="en-US" sz="1800" dirty="0">
                <a:effectLst/>
                <a:latin typeface="Arial MT"/>
                <a:ea typeface="Arial MT"/>
                <a:cs typeface="Arial MT"/>
              </a:rPr>
              <a:t>industrial</a:t>
            </a:r>
            <a:r>
              <a:rPr lang="en-US" sz="1800" spc="-70" dirty="0">
                <a:effectLst/>
                <a:latin typeface="Arial MT"/>
                <a:ea typeface="Arial MT"/>
                <a:cs typeface="Arial MT"/>
              </a:rPr>
              <a:t> </a:t>
            </a:r>
            <a:r>
              <a:rPr lang="en-US" sz="1800" dirty="0">
                <a:effectLst/>
                <a:latin typeface="Arial MT"/>
                <a:ea typeface="Arial MT"/>
                <a:cs typeface="Arial MT"/>
              </a:rPr>
              <a:t>sectors</a:t>
            </a:r>
            <a:r>
              <a:rPr lang="en-US" sz="1800" spc="-65" dirty="0">
                <a:effectLst/>
                <a:latin typeface="Arial MT"/>
                <a:ea typeface="Arial MT"/>
                <a:cs typeface="Arial MT"/>
              </a:rPr>
              <a:t> </a:t>
            </a:r>
            <a:r>
              <a:rPr lang="en-US" sz="1800" dirty="0">
                <a:effectLst/>
                <a:latin typeface="Arial MT"/>
                <a:ea typeface="Arial MT"/>
                <a:cs typeface="Arial MT"/>
              </a:rPr>
              <a:t>within</a:t>
            </a:r>
            <a:r>
              <a:rPr lang="en-US" sz="1800" spc="-65" dirty="0">
                <a:effectLst/>
                <a:latin typeface="Arial MT"/>
                <a:ea typeface="Arial MT"/>
                <a:cs typeface="Arial MT"/>
              </a:rPr>
              <a:t> </a:t>
            </a:r>
            <a:r>
              <a:rPr lang="en-US" sz="1800" dirty="0">
                <a:effectLst/>
                <a:latin typeface="Arial MT"/>
                <a:ea typeface="Arial MT"/>
                <a:cs typeface="Arial MT"/>
              </a:rPr>
              <a:t>the</a:t>
            </a:r>
            <a:r>
              <a:rPr lang="en-US" sz="1800" spc="-70" dirty="0">
                <a:effectLst/>
                <a:latin typeface="Arial MT"/>
                <a:ea typeface="Arial MT"/>
                <a:cs typeface="Arial MT"/>
              </a:rPr>
              <a:t> </a:t>
            </a:r>
            <a:r>
              <a:rPr lang="en-US" sz="1800" dirty="0">
                <a:effectLst/>
                <a:latin typeface="Arial MT"/>
                <a:ea typeface="Arial MT"/>
                <a:cs typeface="Arial MT"/>
              </a:rPr>
              <a:t>scope </a:t>
            </a:r>
            <a:r>
              <a:rPr lang="en-US" sz="1800" spc="-290" dirty="0">
                <a:effectLst/>
                <a:latin typeface="Arial MT"/>
                <a:ea typeface="Arial MT"/>
                <a:cs typeface="Arial MT"/>
              </a:rPr>
              <a:t> </a:t>
            </a:r>
            <a:r>
              <a:rPr lang="en-US" sz="1800" dirty="0">
                <a:effectLst/>
                <a:latin typeface="Arial MT"/>
                <a:ea typeface="Arial MT"/>
                <a:cs typeface="Arial MT"/>
              </a:rPr>
              <a:t>of</a:t>
            </a:r>
            <a:r>
              <a:rPr lang="en-US" sz="1800" spc="-20" dirty="0">
                <a:effectLst/>
                <a:latin typeface="Arial MT"/>
                <a:ea typeface="Arial MT"/>
                <a:cs typeface="Arial MT"/>
              </a:rPr>
              <a:t> </a:t>
            </a:r>
            <a:r>
              <a:rPr lang="en-US" sz="1800" dirty="0">
                <a:effectLst/>
                <a:latin typeface="Arial MT"/>
                <a:ea typeface="Arial MT"/>
                <a:cs typeface="Arial MT"/>
              </a:rPr>
              <a:t>the</a:t>
            </a:r>
            <a:r>
              <a:rPr lang="en-US" sz="1800" spc="-25" dirty="0">
                <a:effectLst/>
                <a:latin typeface="Arial MT"/>
                <a:ea typeface="Arial MT"/>
                <a:cs typeface="Arial MT"/>
              </a:rPr>
              <a:t> </a:t>
            </a:r>
            <a:r>
              <a:rPr lang="en-US" sz="1800" dirty="0">
                <a:effectLst/>
                <a:latin typeface="Arial MT"/>
                <a:ea typeface="Arial MT"/>
                <a:cs typeface="Arial MT"/>
              </a:rPr>
              <a:t>project.</a:t>
            </a:r>
            <a:r>
              <a:rPr lang="en-US" sz="1800" spc="-20" dirty="0">
                <a:effectLst/>
                <a:latin typeface="Arial MT"/>
                <a:ea typeface="Arial MT"/>
                <a:cs typeface="Arial MT"/>
              </a:rPr>
              <a:t> </a:t>
            </a:r>
            <a:r>
              <a:rPr lang="en-US" sz="1800" dirty="0">
                <a:effectLst/>
                <a:latin typeface="Arial MT"/>
                <a:ea typeface="Arial MT"/>
                <a:cs typeface="Arial MT"/>
              </a:rPr>
              <a:t>The</a:t>
            </a:r>
            <a:r>
              <a:rPr lang="en-US" sz="1800" spc="-20" dirty="0">
                <a:effectLst/>
                <a:latin typeface="Arial MT"/>
                <a:ea typeface="Arial MT"/>
                <a:cs typeface="Arial MT"/>
              </a:rPr>
              <a:t> </a:t>
            </a:r>
            <a:r>
              <a:rPr lang="en-US" sz="1800" dirty="0">
                <a:effectLst/>
                <a:latin typeface="Arial MT"/>
                <a:ea typeface="Arial MT"/>
                <a:cs typeface="Arial MT"/>
              </a:rPr>
              <a:t>objective</a:t>
            </a:r>
            <a:r>
              <a:rPr lang="en-US" sz="1800" spc="-20" dirty="0">
                <a:effectLst/>
                <a:latin typeface="Arial MT"/>
                <a:ea typeface="Arial MT"/>
                <a:cs typeface="Arial MT"/>
              </a:rPr>
              <a:t> </a:t>
            </a:r>
            <a:r>
              <a:rPr lang="en-US" sz="1800" dirty="0">
                <a:effectLst/>
                <a:latin typeface="Arial MT"/>
                <a:ea typeface="Arial MT"/>
                <a:cs typeface="Arial MT"/>
              </a:rPr>
              <a:t>that</a:t>
            </a:r>
            <a:r>
              <a:rPr lang="en-US" sz="1800" spc="-20" dirty="0">
                <a:effectLst/>
                <a:latin typeface="Arial MT"/>
                <a:ea typeface="Arial MT"/>
                <a:cs typeface="Arial MT"/>
              </a:rPr>
              <a:t> </a:t>
            </a:r>
            <a:r>
              <a:rPr lang="en-US" sz="1800" dirty="0">
                <a:effectLst/>
                <a:latin typeface="Arial MT"/>
                <a:ea typeface="Arial MT"/>
                <a:cs typeface="Arial MT"/>
              </a:rPr>
              <a:t>is</a:t>
            </a:r>
            <a:r>
              <a:rPr lang="en-US" sz="1800" spc="-15" dirty="0">
                <a:effectLst/>
                <a:latin typeface="Arial MT"/>
                <a:ea typeface="Arial MT"/>
                <a:cs typeface="Arial MT"/>
              </a:rPr>
              <a:t> </a:t>
            </a:r>
            <a:r>
              <a:rPr lang="en-US" sz="1800" dirty="0">
                <a:effectLst/>
                <a:latin typeface="Arial MT"/>
                <a:ea typeface="Arial MT"/>
                <a:cs typeface="Arial MT"/>
              </a:rPr>
              <a:t>related</a:t>
            </a:r>
            <a:r>
              <a:rPr lang="en-US" sz="1800" spc="-20" dirty="0">
                <a:effectLst/>
                <a:latin typeface="Arial MT"/>
                <a:ea typeface="Arial MT"/>
                <a:cs typeface="Arial MT"/>
              </a:rPr>
              <a:t> </a:t>
            </a:r>
            <a:r>
              <a:rPr lang="en-US" sz="1800" dirty="0">
                <a:effectLst/>
                <a:latin typeface="Arial MT"/>
                <a:ea typeface="Arial MT"/>
                <a:cs typeface="Arial MT"/>
              </a:rPr>
              <a:t>to</a:t>
            </a:r>
            <a:r>
              <a:rPr lang="en-US" sz="1800" spc="-20" dirty="0">
                <a:effectLst/>
                <a:latin typeface="Arial MT"/>
                <a:ea typeface="Arial MT"/>
                <a:cs typeface="Arial MT"/>
              </a:rPr>
              <a:t> </a:t>
            </a:r>
            <a:r>
              <a:rPr lang="en-US" sz="1800" dirty="0">
                <a:effectLst/>
                <a:latin typeface="Arial MT"/>
                <a:ea typeface="Arial MT"/>
                <a:cs typeface="Arial MT"/>
              </a:rPr>
              <a:t>each</a:t>
            </a:r>
            <a:r>
              <a:rPr lang="en-US" sz="1800" spc="-20" dirty="0">
                <a:effectLst/>
                <a:latin typeface="Arial MT"/>
                <a:ea typeface="Arial MT"/>
                <a:cs typeface="Arial MT"/>
              </a:rPr>
              <a:t> </a:t>
            </a:r>
            <a:r>
              <a:rPr lang="en-US" sz="1800" dirty="0">
                <a:effectLst/>
                <a:latin typeface="Arial MT"/>
                <a:ea typeface="Arial MT"/>
                <a:cs typeface="Arial MT"/>
              </a:rPr>
              <a:t>indicator</a:t>
            </a:r>
            <a:r>
              <a:rPr lang="en-US" sz="1800" spc="-20" dirty="0">
                <a:effectLst/>
                <a:latin typeface="Arial MT"/>
                <a:ea typeface="Arial MT"/>
                <a:cs typeface="Arial MT"/>
              </a:rPr>
              <a:t> </a:t>
            </a:r>
            <a:r>
              <a:rPr lang="en-US" sz="1800" dirty="0">
                <a:effectLst/>
                <a:latin typeface="Arial MT"/>
                <a:ea typeface="Arial MT"/>
                <a:cs typeface="Arial MT"/>
              </a:rPr>
              <a:t>is</a:t>
            </a:r>
            <a:r>
              <a:rPr lang="en-US" sz="1800" spc="-15" dirty="0">
                <a:effectLst/>
                <a:latin typeface="Arial MT"/>
                <a:ea typeface="Arial MT"/>
                <a:cs typeface="Arial MT"/>
              </a:rPr>
              <a:t> </a:t>
            </a:r>
            <a:r>
              <a:rPr lang="en-US" sz="1800" dirty="0">
                <a:effectLst/>
                <a:latin typeface="Arial MT"/>
                <a:ea typeface="Arial MT"/>
                <a:cs typeface="Arial MT"/>
              </a:rPr>
              <a:t>described</a:t>
            </a:r>
            <a:r>
              <a:rPr lang="en-US" sz="1800" spc="-25" dirty="0">
                <a:effectLst/>
                <a:latin typeface="Arial MT"/>
                <a:ea typeface="Arial MT"/>
                <a:cs typeface="Arial MT"/>
              </a:rPr>
              <a:t> </a:t>
            </a:r>
            <a:r>
              <a:rPr lang="en-US" sz="1800" dirty="0">
                <a:effectLst/>
                <a:latin typeface="Arial MT"/>
                <a:ea typeface="Arial MT"/>
                <a:cs typeface="Arial MT"/>
              </a:rPr>
              <a:t>in</a:t>
            </a:r>
            <a:r>
              <a:rPr lang="en-US" sz="1800" spc="-20" dirty="0">
                <a:effectLst/>
                <a:latin typeface="Arial MT"/>
                <a:ea typeface="Arial MT"/>
                <a:cs typeface="Arial MT"/>
              </a:rPr>
              <a:t> </a:t>
            </a:r>
            <a:r>
              <a:rPr lang="en-US" sz="1800" dirty="0">
                <a:effectLst/>
                <a:latin typeface="Arial MT"/>
                <a:ea typeface="Arial MT"/>
                <a:cs typeface="Arial MT"/>
              </a:rPr>
              <a:t>the</a:t>
            </a:r>
            <a:r>
              <a:rPr lang="en-US" sz="1800" spc="-20" dirty="0">
                <a:effectLst/>
                <a:latin typeface="Arial MT"/>
                <a:ea typeface="Arial MT"/>
                <a:cs typeface="Arial MT"/>
              </a:rPr>
              <a:t> </a:t>
            </a:r>
            <a:r>
              <a:rPr lang="en-US" sz="1800" dirty="0">
                <a:effectLst/>
                <a:latin typeface="Arial MT"/>
                <a:ea typeface="Arial MT"/>
                <a:cs typeface="Arial MT"/>
              </a:rPr>
              <a:t>table</a:t>
            </a:r>
            <a:r>
              <a:rPr lang="en-US" sz="1800" spc="-20" dirty="0">
                <a:effectLst/>
                <a:latin typeface="Arial MT"/>
                <a:ea typeface="Arial MT"/>
                <a:cs typeface="Arial MT"/>
              </a:rPr>
              <a:t> </a:t>
            </a:r>
            <a:r>
              <a:rPr lang="en-US" sz="1800" dirty="0">
                <a:effectLst/>
                <a:latin typeface="Arial MT"/>
                <a:ea typeface="Arial MT"/>
                <a:cs typeface="Arial MT"/>
              </a:rPr>
              <a:t>for</a:t>
            </a:r>
            <a:r>
              <a:rPr lang="en-US" sz="1800" spc="-20" dirty="0">
                <a:effectLst/>
                <a:latin typeface="Arial MT"/>
                <a:ea typeface="Arial MT"/>
                <a:cs typeface="Arial MT"/>
              </a:rPr>
              <a:t> </a:t>
            </a:r>
            <a:r>
              <a:rPr lang="en-US" sz="1800" dirty="0">
                <a:effectLst/>
                <a:latin typeface="Arial MT"/>
                <a:ea typeface="Arial MT"/>
                <a:cs typeface="Arial MT"/>
              </a:rPr>
              <a:t>each</a:t>
            </a:r>
            <a:r>
              <a:rPr lang="en-US" sz="1800" spc="-20" dirty="0">
                <a:effectLst/>
                <a:latin typeface="Arial MT"/>
                <a:ea typeface="Arial MT"/>
                <a:cs typeface="Arial MT"/>
              </a:rPr>
              <a:t> </a:t>
            </a:r>
            <a:r>
              <a:rPr lang="en-US" sz="1800" dirty="0">
                <a:effectLst/>
                <a:latin typeface="Arial MT"/>
                <a:ea typeface="Arial MT"/>
                <a:cs typeface="Arial MT"/>
              </a:rPr>
              <a:t>demo-</a:t>
            </a:r>
            <a:r>
              <a:rPr lang="en-US" sz="1800" spc="-290" dirty="0">
                <a:effectLst/>
                <a:latin typeface="Arial MT"/>
                <a:ea typeface="Arial MT"/>
                <a:cs typeface="Arial MT"/>
              </a:rPr>
              <a:t> </a:t>
            </a:r>
            <a:r>
              <a:rPr lang="en-US" sz="1800" dirty="0">
                <a:effectLst/>
                <a:latin typeface="Arial MT"/>
                <a:ea typeface="Arial MT"/>
                <a:cs typeface="Arial MT"/>
              </a:rPr>
              <a:t>site.</a:t>
            </a:r>
            <a:r>
              <a:rPr lang="en-US" sz="1800" spc="-5" dirty="0">
                <a:effectLst/>
                <a:latin typeface="Arial MT"/>
                <a:ea typeface="Arial MT"/>
                <a:cs typeface="Arial MT"/>
              </a:rPr>
              <a:t> </a:t>
            </a:r>
          </a:p>
          <a:p>
            <a:pPr marL="72390" marR="210820" algn="just">
              <a:lnSpc>
                <a:spcPct val="125000"/>
              </a:lnSpc>
              <a:spcBef>
                <a:spcPts val="1200"/>
              </a:spcBef>
              <a:spcAft>
                <a:spcPts val="0"/>
              </a:spcAft>
            </a:pPr>
            <a:endParaRPr lang="en-US" sz="1800" spc="-5" dirty="0">
              <a:effectLst/>
              <a:latin typeface="Arial MT"/>
              <a:ea typeface="Arial MT"/>
              <a:cs typeface="Arial MT"/>
            </a:endParaRPr>
          </a:p>
          <a:p>
            <a:pPr marL="72390" marR="210820" algn="just">
              <a:lnSpc>
                <a:spcPct val="125000"/>
              </a:lnSpc>
              <a:spcBef>
                <a:spcPts val="1200"/>
              </a:spcBef>
              <a:spcAft>
                <a:spcPts val="0"/>
              </a:spcAft>
            </a:pPr>
            <a:r>
              <a:rPr lang="en-US" sz="1800" dirty="0">
                <a:effectLst/>
                <a:latin typeface="Arial MT"/>
                <a:ea typeface="Arial MT"/>
                <a:cs typeface="Arial MT"/>
              </a:rPr>
              <a:t>The objectives</a:t>
            </a:r>
            <a:r>
              <a:rPr lang="en-US" sz="1800" spc="-5" dirty="0">
                <a:effectLst/>
                <a:latin typeface="Arial MT"/>
                <a:ea typeface="Arial MT"/>
                <a:cs typeface="Arial MT"/>
              </a:rPr>
              <a:t> </a:t>
            </a:r>
            <a:r>
              <a:rPr lang="en-US" sz="1800" dirty="0">
                <a:effectLst/>
                <a:latin typeface="Arial MT"/>
                <a:ea typeface="Arial MT"/>
                <a:cs typeface="Arial MT"/>
              </a:rPr>
              <a:t>are</a:t>
            </a:r>
            <a:r>
              <a:rPr lang="en-US" sz="1800" spc="-5" dirty="0">
                <a:effectLst/>
                <a:latin typeface="Arial MT"/>
                <a:ea typeface="Arial MT"/>
                <a:cs typeface="Arial MT"/>
              </a:rPr>
              <a:t> </a:t>
            </a:r>
            <a:r>
              <a:rPr lang="en-US" sz="1800" dirty="0">
                <a:effectLst/>
                <a:latin typeface="Arial MT"/>
                <a:ea typeface="Arial MT"/>
                <a:cs typeface="Arial MT"/>
              </a:rPr>
              <a:t>divided into</a:t>
            </a:r>
            <a:r>
              <a:rPr lang="en-US" sz="1800" spc="-5" dirty="0">
                <a:effectLst/>
                <a:latin typeface="Arial MT"/>
                <a:ea typeface="Arial MT"/>
                <a:cs typeface="Arial MT"/>
              </a:rPr>
              <a:t> </a:t>
            </a:r>
            <a:r>
              <a:rPr lang="en-US" sz="1800" dirty="0">
                <a:effectLst/>
                <a:latin typeface="Arial MT"/>
                <a:ea typeface="Arial MT"/>
                <a:cs typeface="Arial MT"/>
              </a:rPr>
              <a:t>three</a:t>
            </a:r>
            <a:r>
              <a:rPr lang="en-US" sz="1800" spc="-5" dirty="0">
                <a:effectLst/>
                <a:latin typeface="Arial MT"/>
                <a:ea typeface="Arial MT"/>
                <a:cs typeface="Arial MT"/>
              </a:rPr>
              <a:t> </a:t>
            </a:r>
            <a:r>
              <a:rPr lang="en-US" sz="1800" dirty="0">
                <a:effectLst/>
                <a:latin typeface="Arial MT"/>
                <a:ea typeface="Arial MT"/>
                <a:cs typeface="Arial MT"/>
              </a:rPr>
              <a:t>categories:</a:t>
            </a:r>
            <a:endParaRPr lang="sv-SE" sz="1800" dirty="0">
              <a:effectLst/>
              <a:latin typeface="Arial MT"/>
              <a:ea typeface="Arial MT"/>
              <a:cs typeface="Arial MT"/>
            </a:endParaRPr>
          </a:p>
          <a:p>
            <a:pPr>
              <a:spcBef>
                <a:spcPts val="55"/>
              </a:spcBef>
            </a:pPr>
            <a:r>
              <a:rPr lang="en-US" sz="1800" dirty="0">
                <a:effectLst/>
                <a:latin typeface="Arial MT"/>
                <a:ea typeface="Arial MT"/>
                <a:cs typeface="Arial MT"/>
              </a:rPr>
              <a:t> R – Reduce, </a:t>
            </a:r>
            <a:r>
              <a:rPr lang="en-US" sz="1800" spc="-295" dirty="0">
                <a:effectLst/>
                <a:latin typeface="Arial MT"/>
                <a:ea typeface="Arial MT"/>
                <a:cs typeface="Arial MT"/>
              </a:rPr>
              <a:t> </a:t>
            </a:r>
            <a:r>
              <a:rPr lang="en-US" sz="1800" dirty="0">
                <a:effectLst/>
                <a:latin typeface="Arial MT"/>
                <a:ea typeface="Arial MT"/>
                <a:cs typeface="Arial MT"/>
              </a:rPr>
              <a:t>I</a:t>
            </a:r>
            <a:r>
              <a:rPr lang="en-US" sz="1800" spc="-5" dirty="0">
                <a:effectLst/>
                <a:latin typeface="Arial MT"/>
                <a:ea typeface="Arial MT"/>
                <a:cs typeface="Arial MT"/>
              </a:rPr>
              <a:t> </a:t>
            </a:r>
            <a:r>
              <a:rPr lang="en-US" sz="1800" dirty="0">
                <a:effectLst/>
                <a:latin typeface="Arial MT"/>
                <a:ea typeface="Arial MT"/>
                <a:cs typeface="Arial MT"/>
              </a:rPr>
              <a:t>–</a:t>
            </a:r>
            <a:r>
              <a:rPr lang="en-US" sz="1800" spc="-5" dirty="0">
                <a:effectLst/>
                <a:latin typeface="Arial MT"/>
                <a:ea typeface="Arial MT"/>
                <a:cs typeface="Arial MT"/>
              </a:rPr>
              <a:t> </a:t>
            </a:r>
            <a:r>
              <a:rPr lang="en-US" sz="1800" dirty="0">
                <a:effectLst/>
                <a:latin typeface="Arial MT"/>
                <a:ea typeface="Arial MT"/>
                <a:cs typeface="Arial MT"/>
              </a:rPr>
              <a:t>Increase, O</a:t>
            </a:r>
            <a:r>
              <a:rPr lang="en-US" sz="1800" spc="-10" dirty="0">
                <a:effectLst/>
                <a:latin typeface="Arial MT"/>
                <a:ea typeface="Arial MT"/>
                <a:cs typeface="Arial MT"/>
              </a:rPr>
              <a:t> </a:t>
            </a:r>
            <a:r>
              <a:rPr lang="en-US" sz="1800" dirty="0">
                <a:effectLst/>
                <a:latin typeface="Arial MT"/>
                <a:ea typeface="Arial MT"/>
                <a:cs typeface="Arial MT"/>
              </a:rPr>
              <a:t>–</a:t>
            </a:r>
            <a:r>
              <a:rPr lang="en-US" sz="1800" spc="-5" dirty="0">
                <a:effectLst/>
                <a:latin typeface="Arial MT"/>
                <a:ea typeface="Arial MT"/>
                <a:cs typeface="Arial MT"/>
              </a:rPr>
              <a:t> </a:t>
            </a:r>
            <a:r>
              <a:rPr lang="en-US" sz="1800" dirty="0" err="1">
                <a:effectLst/>
                <a:latin typeface="Arial MT"/>
                <a:ea typeface="Arial MT"/>
                <a:cs typeface="Arial MT"/>
              </a:rPr>
              <a:t>Optimise</a:t>
            </a:r>
            <a:endParaRPr lang="en-US" sz="1800" dirty="0">
              <a:effectLst/>
              <a:latin typeface="Arial MT"/>
              <a:ea typeface="Arial MT"/>
              <a:cs typeface="Arial MT"/>
            </a:endParaRPr>
          </a:p>
          <a:p>
            <a:pPr marL="72390" marR="211455" algn="just">
              <a:lnSpc>
                <a:spcPct val="125000"/>
              </a:lnSpc>
              <a:spcBef>
                <a:spcPts val="5"/>
              </a:spcBef>
              <a:spcAft>
                <a:spcPts val="0"/>
              </a:spcAft>
            </a:pPr>
            <a:r>
              <a:rPr lang="en-US" sz="1100" dirty="0">
                <a:effectLst/>
                <a:latin typeface="Arial MT"/>
                <a:ea typeface="Arial MT"/>
                <a:cs typeface="Arial MT"/>
              </a:rPr>
              <a:t>In</a:t>
            </a:r>
            <a:r>
              <a:rPr lang="en-US" sz="1100" spc="-20" dirty="0">
                <a:effectLst/>
                <a:latin typeface="Arial MT"/>
                <a:ea typeface="Arial MT"/>
                <a:cs typeface="Arial MT"/>
              </a:rPr>
              <a:t> </a:t>
            </a:r>
            <a:r>
              <a:rPr lang="en-US" sz="1100" dirty="0">
                <a:effectLst/>
                <a:latin typeface="Arial MT"/>
                <a:ea typeface="Arial MT"/>
                <a:cs typeface="Arial MT"/>
              </a:rPr>
              <a:t>the</a:t>
            </a:r>
            <a:r>
              <a:rPr lang="en-US" sz="1100" spc="-15" dirty="0">
                <a:effectLst/>
                <a:latin typeface="Arial MT"/>
                <a:ea typeface="Arial MT"/>
                <a:cs typeface="Arial MT"/>
              </a:rPr>
              <a:t> </a:t>
            </a:r>
            <a:r>
              <a:rPr lang="en-US" sz="1100" dirty="0">
                <a:effectLst/>
                <a:latin typeface="Arial MT"/>
                <a:ea typeface="Arial MT"/>
                <a:cs typeface="Arial MT"/>
              </a:rPr>
              <a:t>following</a:t>
            </a:r>
            <a:r>
              <a:rPr lang="en-US" sz="1100" spc="-15" dirty="0">
                <a:effectLst/>
                <a:latin typeface="Arial MT"/>
                <a:ea typeface="Arial MT"/>
                <a:cs typeface="Arial MT"/>
              </a:rPr>
              <a:t> </a:t>
            </a:r>
            <a:r>
              <a:rPr lang="en-US" sz="1100" dirty="0">
                <a:effectLst/>
                <a:latin typeface="Arial MT"/>
                <a:ea typeface="Arial MT"/>
                <a:cs typeface="Arial MT"/>
              </a:rPr>
              <a:t>sub-chapters,</a:t>
            </a:r>
            <a:r>
              <a:rPr lang="en-US" sz="1100" spc="-20" dirty="0">
                <a:effectLst/>
                <a:latin typeface="Arial MT"/>
                <a:ea typeface="Arial MT"/>
                <a:cs typeface="Arial MT"/>
              </a:rPr>
              <a:t> </a:t>
            </a:r>
            <a:r>
              <a:rPr lang="en-US" sz="1100" dirty="0">
                <a:effectLst/>
                <a:latin typeface="Arial MT"/>
                <a:ea typeface="Arial MT"/>
                <a:cs typeface="Arial MT"/>
              </a:rPr>
              <a:t>the</a:t>
            </a:r>
            <a:r>
              <a:rPr lang="en-US" sz="1100" spc="-25" dirty="0">
                <a:effectLst/>
                <a:latin typeface="Arial MT"/>
                <a:ea typeface="Arial MT"/>
                <a:cs typeface="Arial MT"/>
              </a:rPr>
              <a:t> </a:t>
            </a:r>
            <a:r>
              <a:rPr lang="en-US" sz="1100" dirty="0">
                <a:effectLst/>
                <a:latin typeface="Arial MT"/>
                <a:ea typeface="Arial MT"/>
                <a:cs typeface="Arial MT"/>
              </a:rPr>
              <a:t>system</a:t>
            </a:r>
            <a:r>
              <a:rPr lang="en-US" sz="1100" spc="-20" dirty="0">
                <a:effectLst/>
                <a:latin typeface="Arial MT"/>
                <a:ea typeface="Arial MT"/>
                <a:cs typeface="Arial MT"/>
              </a:rPr>
              <a:t> </a:t>
            </a:r>
            <a:r>
              <a:rPr lang="en-US" sz="1100" dirty="0">
                <a:effectLst/>
                <a:latin typeface="Arial MT"/>
                <a:ea typeface="Arial MT"/>
                <a:cs typeface="Arial MT"/>
              </a:rPr>
              <a:t>boundaries</a:t>
            </a:r>
            <a:r>
              <a:rPr lang="en-US" sz="1100" spc="-15" dirty="0">
                <a:effectLst/>
                <a:latin typeface="Arial MT"/>
                <a:ea typeface="Arial MT"/>
                <a:cs typeface="Arial MT"/>
              </a:rPr>
              <a:t> </a:t>
            </a:r>
            <a:r>
              <a:rPr lang="en-US" sz="1100" dirty="0">
                <a:effectLst/>
                <a:latin typeface="Arial MT"/>
                <a:ea typeface="Arial MT"/>
                <a:cs typeface="Arial MT"/>
              </a:rPr>
              <a:t>are</a:t>
            </a:r>
            <a:r>
              <a:rPr lang="en-US" sz="1100" spc="-25" dirty="0">
                <a:effectLst/>
                <a:latin typeface="Arial MT"/>
                <a:ea typeface="Arial MT"/>
                <a:cs typeface="Arial MT"/>
              </a:rPr>
              <a:t> </a:t>
            </a:r>
            <a:r>
              <a:rPr lang="en-US" sz="1100" dirty="0">
                <a:effectLst/>
                <a:latin typeface="Arial MT"/>
                <a:ea typeface="Arial MT"/>
                <a:cs typeface="Arial MT"/>
              </a:rPr>
              <a:t>illustrated</a:t>
            </a:r>
            <a:r>
              <a:rPr lang="en-US" sz="1100" spc="-20" dirty="0">
                <a:effectLst/>
                <a:latin typeface="Arial MT"/>
                <a:ea typeface="Arial MT"/>
                <a:cs typeface="Arial MT"/>
              </a:rPr>
              <a:t> </a:t>
            </a:r>
            <a:r>
              <a:rPr lang="en-US" sz="1100" dirty="0">
                <a:effectLst/>
                <a:latin typeface="Arial MT"/>
                <a:ea typeface="Arial MT"/>
                <a:cs typeface="Arial MT"/>
              </a:rPr>
              <a:t>for</a:t>
            </a:r>
            <a:r>
              <a:rPr lang="en-US" sz="1100" spc="-20" dirty="0">
                <a:effectLst/>
                <a:latin typeface="Arial MT"/>
                <a:ea typeface="Arial MT"/>
                <a:cs typeface="Arial MT"/>
              </a:rPr>
              <a:t> </a:t>
            </a:r>
            <a:r>
              <a:rPr lang="en-US" sz="1100" dirty="0">
                <a:effectLst/>
                <a:latin typeface="Arial MT"/>
                <a:ea typeface="Arial MT"/>
                <a:cs typeface="Arial MT"/>
              </a:rPr>
              <a:t>each</a:t>
            </a:r>
            <a:r>
              <a:rPr lang="en-US" sz="1100" spc="-15" dirty="0">
                <a:effectLst/>
                <a:latin typeface="Arial MT"/>
                <a:ea typeface="Arial MT"/>
                <a:cs typeface="Arial MT"/>
              </a:rPr>
              <a:t> </a:t>
            </a:r>
            <a:r>
              <a:rPr lang="en-US" sz="1100" dirty="0">
                <a:effectLst/>
                <a:latin typeface="Arial MT"/>
                <a:ea typeface="Arial MT"/>
                <a:cs typeface="Arial MT"/>
              </a:rPr>
              <a:t>demo-site.</a:t>
            </a:r>
            <a:r>
              <a:rPr lang="en-US" sz="1100" spc="-15" dirty="0">
                <a:effectLst/>
                <a:latin typeface="Arial MT"/>
                <a:ea typeface="Arial MT"/>
                <a:cs typeface="Arial MT"/>
              </a:rPr>
              <a:t> </a:t>
            </a:r>
            <a:r>
              <a:rPr lang="en-US" sz="1100" dirty="0">
                <a:effectLst/>
                <a:latin typeface="Arial MT"/>
                <a:ea typeface="Arial MT"/>
                <a:cs typeface="Arial MT"/>
              </a:rPr>
              <a:t>The</a:t>
            </a:r>
            <a:r>
              <a:rPr lang="en-US" sz="1100" spc="-30" dirty="0">
                <a:effectLst/>
                <a:latin typeface="Arial MT"/>
                <a:ea typeface="Arial MT"/>
                <a:cs typeface="Arial MT"/>
              </a:rPr>
              <a:t> </a:t>
            </a:r>
            <a:r>
              <a:rPr lang="en-US" sz="1100" dirty="0">
                <a:effectLst/>
                <a:latin typeface="Arial MT"/>
                <a:ea typeface="Arial MT"/>
                <a:cs typeface="Arial MT"/>
              </a:rPr>
              <a:t>system</a:t>
            </a:r>
            <a:r>
              <a:rPr lang="en-US" sz="1100" spc="-290" dirty="0">
                <a:effectLst/>
                <a:latin typeface="Arial MT"/>
                <a:ea typeface="Arial MT"/>
                <a:cs typeface="Arial MT"/>
              </a:rPr>
              <a:t> </a:t>
            </a:r>
            <a:r>
              <a:rPr lang="en-US" sz="1100" dirty="0">
                <a:effectLst/>
                <a:latin typeface="Arial MT"/>
                <a:ea typeface="Arial MT"/>
                <a:cs typeface="Arial MT"/>
              </a:rPr>
              <a:t>boundary for the KRIs is the specific industrial process that is in focus in the RETROFEED project,</a:t>
            </a:r>
            <a:r>
              <a:rPr lang="en-US" sz="1100" spc="5" dirty="0">
                <a:effectLst/>
                <a:latin typeface="Arial MT"/>
                <a:ea typeface="Arial MT"/>
                <a:cs typeface="Arial MT"/>
              </a:rPr>
              <a:t> </a:t>
            </a:r>
            <a:r>
              <a:rPr lang="en-US" sz="1100" dirty="0">
                <a:effectLst/>
                <a:latin typeface="Arial MT"/>
                <a:ea typeface="Arial MT"/>
                <a:cs typeface="Arial MT"/>
              </a:rPr>
              <a:t>in most cases the core production process. The KPAs use a wider system boundary which include</a:t>
            </a:r>
            <a:r>
              <a:rPr lang="en-US" sz="1100" spc="5" dirty="0">
                <a:effectLst/>
                <a:latin typeface="Arial MT"/>
                <a:ea typeface="Arial MT"/>
                <a:cs typeface="Arial MT"/>
              </a:rPr>
              <a:t> </a:t>
            </a:r>
            <a:r>
              <a:rPr lang="en-US" sz="1100" dirty="0">
                <a:effectLst/>
                <a:latin typeface="Arial MT"/>
                <a:ea typeface="Arial MT"/>
                <a:cs typeface="Arial MT"/>
              </a:rPr>
              <a:t>all</a:t>
            </a:r>
            <a:r>
              <a:rPr lang="en-US" sz="1100" spc="-5" dirty="0">
                <a:effectLst/>
                <a:latin typeface="Arial MT"/>
                <a:ea typeface="Arial MT"/>
                <a:cs typeface="Arial MT"/>
              </a:rPr>
              <a:t> </a:t>
            </a:r>
            <a:r>
              <a:rPr lang="en-US" sz="1100" dirty="0">
                <a:effectLst/>
                <a:latin typeface="Arial MT"/>
                <a:ea typeface="Arial MT"/>
                <a:cs typeface="Arial MT"/>
              </a:rPr>
              <a:t>or a larger part of the</a:t>
            </a:r>
            <a:r>
              <a:rPr lang="en-US" sz="1100" spc="-5" dirty="0">
                <a:effectLst/>
                <a:latin typeface="Arial MT"/>
                <a:ea typeface="Arial MT"/>
                <a:cs typeface="Arial MT"/>
              </a:rPr>
              <a:t> </a:t>
            </a:r>
            <a:r>
              <a:rPr lang="en-US" sz="1100" dirty="0">
                <a:effectLst/>
                <a:latin typeface="Arial MT"/>
                <a:ea typeface="Arial MT"/>
                <a:cs typeface="Arial MT"/>
              </a:rPr>
              <a:t>industrial plant.</a:t>
            </a:r>
            <a:endParaRPr lang="sv-SE" sz="1100" dirty="0">
              <a:effectLst/>
              <a:latin typeface="Arial MT"/>
              <a:ea typeface="Arial MT"/>
              <a:cs typeface="Arial MT"/>
            </a:endParaRPr>
          </a:p>
          <a:p>
            <a:pPr>
              <a:spcBef>
                <a:spcPts val="45"/>
              </a:spcBef>
            </a:pPr>
            <a:r>
              <a:rPr lang="en-US" sz="1000" dirty="0">
                <a:effectLst/>
                <a:latin typeface="Arial MT"/>
                <a:ea typeface="Arial MT"/>
                <a:cs typeface="Arial MT"/>
              </a:rPr>
              <a:t> </a:t>
            </a:r>
            <a:endParaRPr lang="sv-SE" sz="1100" dirty="0">
              <a:effectLst/>
              <a:latin typeface="Arial MT"/>
              <a:ea typeface="Arial MT"/>
              <a:cs typeface="Arial MT"/>
            </a:endParaRPr>
          </a:p>
          <a:p>
            <a:pPr marL="72390" algn="just"/>
            <a:r>
              <a:rPr lang="en-US" sz="1100" dirty="0">
                <a:effectLst/>
                <a:latin typeface="Arial MT"/>
                <a:ea typeface="Arial MT"/>
                <a:cs typeface="Arial MT"/>
              </a:rPr>
              <a:t>The</a:t>
            </a:r>
            <a:r>
              <a:rPr lang="en-US" sz="1100" spc="-10" dirty="0">
                <a:effectLst/>
                <a:latin typeface="Arial MT"/>
                <a:ea typeface="Arial MT"/>
                <a:cs typeface="Arial MT"/>
              </a:rPr>
              <a:t> </a:t>
            </a:r>
            <a:r>
              <a:rPr lang="en-US" sz="1100" dirty="0">
                <a:effectLst/>
                <a:latin typeface="Arial MT"/>
                <a:ea typeface="Arial MT"/>
                <a:cs typeface="Arial MT"/>
              </a:rPr>
              <a:t>KRIs</a:t>
            </a:r>
            <a:r>
              <a:rPr lang="en-US" sz="1100" spc="-10" dirty="0">
                <a:effectLst/>
                <a:latin typeface="Arial MT"/>
                <a:ea typeface="Arial MT"/>
                <a:cs typeface="Arial MT"/>
              </a:rPr>
              <a:t> </a:t>
            </a:r>
            <a:r>
              <a:rPr lang="en-US" sz="1100" dirty="0">
                <a:effectLst/>
                <a:latin typeface="Arial MT"/>
                <a:ea typeface="Arial MT"/>
                <a:cs typeface="Arial MT"/>
              </a:rPr>
              <a:t>which</a:t>
            </a:r>
            <a:r>
              <a:rPr lang="en-US" sz="1100" spc="-10" dirty="0">
                <a:effectLst/>
                <a:latin typeface="Arial MT"/>
                <a:ea typeface="Arial MT"/>
                <a:cs typeface="Arial MT"/>
              </a:rPr>
              <a:t> </a:t>
            </a:r>
            <a:r>
              <a:rPr lang="en-US" sz="1100" dirty="0">
                <a:effectLst/>
                <a:latin typeface="Arial MT"/>
                <a:ea typeface="Arial MT"/>
                <a:cs typeface="Arial MT"/>
              </a:rPr>
              <a:t>have</a:t>
            </a:r>
            <a:r>
              <a:rPr lang="en-US" sz="1100" spc="-5" dirty="0">
                <a:effectLst/>
                <a:latin typeface="Arial MT"/>
                <a:ea typeface="Arial MT"/>
                <a:cs typeface="Arial MT"/>
              </a:rPr>
              <a:t> </a:t>
            </a:r>
            <a:r>
              <a:rPr lang="en-US" sz="1100" dirty="0">
                <a:effectLst/>
                <a:latin typeface="Arial MT"/>
                <a:ea typeface="Arial MT"/>
                <a:cs typeface="Arial MT"/>
              </a:rPr>
              <a:t>been</a:t>
            </a:r>
            <a:r>
              <a:rPr lang="en-US" sz="1100" spc="-10" dirty="0">
                <a:effectLst/>
                <a:latin typeface="Arial MT"/>
                <a:ea typeface="Arial MT"/>
                <a:cs typeface="Arial MT"/>
              </a:rPr>
              <a:t> </a:t>
            </a:r>
            <a:r>
              <a:rPr lang="en-US" sz="1100" dirty="0">
                <a:effectLst/>
                <a:latin typeface="Arial MT"/>
                <a:ea typeface="Arial MT"/>
                <a:cs typeface="Arial MT"/>
              </a:rPr>
              <a:t>selected</a:t>
            </a:r>
            <a:r>
              <a:rPr lang="en-US" sz="1100" spc="-10" dirty="0">
                <a:effectLst/>
                <a:latin typeface="Arial MT"/>
                <a:ea typeface="Arial MT"/>
                <a:cs typeface="Arial MT"/>
              </a:rPr>
              <a:t> </a:t>
            </a:r>
            <a:r>
              <a:rPr lang="en-US" sz="1100" dirty="0">
                <a:effectLst/>
                <a:latin typeface="Arial MT"/>
                <a:ea typeface="Arial MT"/>
                <a:cs typeface="Arial MT"/>
              </a:rPr>
              <a:t>for</a:t>
            </a:r>
            <a:r>
              <a:rPr lang="en-US" sz="1100" spc="-10" dirty="0">
                <a:effectLst/>
                <a:latin typeface="Arial MT"/>
                <a:ea typeface="Arial MT"/>
                <a:cs typeface="Arial MT"/>
              </a:rPr>
              <a:t> </a:t>
            </a:r>
            <a:r>
              <a:rPr lang="en-US" sz="1100" dirty="0">
                <a:effectLst/>
                <a:latin typeface="Arial MT"/>
                <a:ea typeface="Arial MT"/>
                <a:cs typeface="Arial MT"/>
              </a:rPr>
              <a:t>the</a:t>
            </a:r>
            <a:r>
              <a:rPr lang="en-US" sz="1100" spc="-5" dirty="0">
                <a:effectLst/>
                <a:latin typeface="Arial MT"/>
                <a:ea typeface="Arial MT"/>
                <a:cs typeface="Arial MT"/>
              </a:rPr>
              <a:t> </a:t>
            </a:r>
            <a:r>
              <a:rPr lang="en-US" sz="1100" dirty="0">
                <a:effectLst/>
                <a:latin typeface="Arial MT"/>
                <a:ea typeface="Arial MT"/>
                <a:cs typeface="Arial MT"/>
              </a:rPr>
              <a:t>demo-sites</a:t>
            </a:r>
            <a:r>
              <a:rPr lang="en-US" sz="1100" spc="-10" dirty="0">
                <a:effectLst/>
                <a:latin typeface="Arial MT"/>
                <a:ea typeface="Arial MT"/>
                <a:cs typeface="Arial MT"/>
              </a:rPr>
              <a:t> </a:t>
            </a:r>
            <a:r>
              <a:rPr lang="en-US" sz="1100" dirty="0">
                <a:effectLst/>
                <a:latin typeface="Arial MT"/>
                <a:ea typeface="Arial MT"/>
                <a:cs typeface="Arial MT"/>
              </a:rPr>
              <a:t>belong</a:t>
            </a:r>
            <a:r>
              <a:rPr lang="en-US" sz="1100" spc="-10" dirty="0">
                <a:effectLst/>
                <a:latin typeface="Arial MT"/>
                <a:ea typeface="Arial MT"/>
                <a:cs typeface="Arial MT"/>
              </a:rPr>
              <a:t> </a:t>
            </a:r>
            <a:r>
              <a:rPr lang="en-US" sz="1100" dirty="0">
                <a:effectLst/>
                <a:latin typeface="Arial MT"/>
                <a:ea typeface="Arial MT"/>
                <a:cs typeface="Arial MT"/>
              </a:rPr>
              <a:t>to</a:t>
            </a:r>
            <a:r>
              <a:rPr lang="en-US" sz="1100" spc="-10" dirty="0">
                <a:effectLst/>
                <a:latin typeface="Arial MT"/>
                <a:ea typeface="Arial MT"/>
                <a:cs typeface="Arial MT"/>
              </a:rPr>
              <a:t> </a:t>
            </a:r>
            <a:r>
              <a:rPr lang="en-US" sz="1100" dirty="0">
                <a:effectLst/>
                <a:latin typeface="Arial MT"/>
                <a:ea typeface="Arial MT"/>
                <a:cs typeface="Arial MT"/>
              </a:rPr>
              <a:t>the</a:t>
            </a:r>
            <a:r>
              <a:rPr lang="en-US" sz="1100" spc="-5" dirty="0">
                <a:effectLst/>
                <a:latin typeface="Arial MT"/>
                <a:ea typeface="Arial MT"/>
                <a:cs typeface="Arial MT"/>
              </a:rPr>
              <a:t> </a:t>
            </a:r>
            <a:r>
              <a:rPr lang="en-US" sz="1100" dirty="0">
                <a:effectLst/>
                <a:latin typeface="Arial MT"/>
                <a:ea typeface="Arial MT"/>
                <a:cs typeface="Arial MT"/>
              </a:rPr>
              <a:t>categories:</a:t>
            </a:r>
            <a:endParaRPr lang="sv-SE" sz="1100" dirty="0">
              <a:effectLst/>
              <a:latin typeface="Arial MT"/>
              <a:ea typeface="Arial MT"/>
              <a:cs typeface="Arial MT"/>
            </a:endParaRPr>
          </a:p>
          <a:p>
            <a:br>
              <a:rPr lang="en-US" sz="1100" dirty="0">
                <a:effectLst/>
                <a:latin typeface="Arial MT"/>
                <a:ea typeface="Arial MT"/>
                <a:cs typeface="Arial MT"/>
              </a:rPr>
            </a:br>
            <a:r>
              <a:rPr lang="en-US" sz="1450" dirty="0">
                <a:effectLst/>
                <a:latin typeface="Arial MT"/>
                <a:ea typeface="Arial MT"/>
                <a:cs typeface="Arial MT"/>
              </a:rPr>
              <a:t> </a:t>
            </a:r>
            <a:endParaRPr lang="sv-SE" sz="1100" dirty="0">
              <a:effectLst/>
              <a:latin typeface="Arial MT"/>
              <a:ea typeface="Arial MT"/>
              <a:cs typeface="Arial MT"/>
            </a:endParaRPr>
          </a:p>
          <a:p>
            <a:pPr marL="1143000" lvl="2" indent="-228600">
              <a:spcBef>
                <a:spcPts val="500"/>
              </a:spcBef>
              <a:spcAft>
                <a:spcPts val="0"/>
              </a:spcAft>
              <a:buSzPts val="1100"/>
              <a:buFont typeface="Symbol" panose="05050102010706020507" pitchFamily="18" charset="2"/>
              <a:buChar char=""/>
              <a:tabLst>
                <a:tab pos="528955" algn="l"/>
                <a:tab pos="529590" algn="l"/>
              </a:tabLst>
            </a:pPr>
            <a:r>
              <a:rPr lang="en-US" sz="1100" dirty="0">
                <a:effectLst/>
                <a:latin typeface="Arial MT"/>
                <a:ea typeface="Symbol" panose="05050102010706020507" pitchFamily="18" charset="2"/>
                <a:cs typeface="Symbol" panose="05050102010706020507" pitchFamily="18" charset="2"/>
              </a:rPr>
              <a:t>Energy</a:t>
            </a:r>
            <a:r>
              <a:rPr lang="en-US" sz="1100" spc="-10" dirty="0">
                <a:effectLst/>
                <a:latin typeface="Arial MT"/>
                <a:ea typeface="Symbol" panose="05050102010706020507" pitchFamily="18" charset="2"/>
                <a:cs typeface="Symbol" panose="05050102010706020507" pitchFamily="18" charset="2"/>
              </a:rPr>
              <a:t> </a:t>
            </a:r>
            <a:r>
              <a:rPr lang="en-US" sz="1100" dirty="0">
                <a:effectLst/>
                <a:latin typeface="Arial MT"/>
                <a:ea typeface="Symbol" panose="05050102010706020507" pitchFamily="18" charset="2"/>
                <a:cs typeface="Symbol" panose="05050102010706020507" pitchFamily="18" charset="2"/>
              </a:rPr>
              <a:t>use</a:t>
            </a:r>
            <a:r>
              <a:rPr lang="en-US" sz="1100" spc="-15" dirty="0">
                <a:effectLst/>
                <a:latin typeface="Arial MT"/>
                <a:ea typeface="Symbol" panose="05050102010706020507" pitchFamily="18" charset="2"/>
                <a:cs typeface="Symbol" panose="05050102010706020507" pitchFamily="18" charset="2"/>
              </a:rPr>
              <a:t> </a:t>
            </a:r>
            <a:r>
              <a:rPr lang="en-US" sz="1100" dirty="0">
                <a:effectLst/>
                <a:latin typeface="Arial MT"/>
                <a:ea typeface="Symbol" panose="05050102010706020507" pitchFamily="18" charset="2"/>
                <a:cs typeface="Symbol" panose="05050102010706020507" pitchFamily="18" charset="2"/>
              </a:rPr>
              <a:t>(for</a:t>
            </a:r>
            <a:r>
              <a:rPr lang="en-US" sz="1100" spc="-5" dirty="0">
                <a:effectLst/>
                <a:latin typeface="Arial MT"/>
                <a:ea typeface="Symbol" panose="05050102010706020507" pitchFamily="18" charset="2"/>
                <a:cs typeface="Symbol" panose="05050102010706020507" pitchFamily="18" charset="2"/>
              </a:rPr>
              <a:t> </a:t>
            </a:r>
            <a:r>
              <a:rPr lang="en-US" sz="1100" dirty="0">
                <a:effectLst/>
                <a:latin typeface="Arial MT"/>
                <a:ea typeface="Symbol" panose="05050102010706020507" pitchFamily="18" charset="2"/>
                <a:cs typeface="Symbol" panose="05050102010706020507" pitchFamily="18" charset="2"/>
              </a:rPr>
              <a:t>each</a:t>
            </a:r>
            <a:r>
              <a:rPr lang="en-US" sz="1100" spc="-10" dirty="0">
                <a:effectLst/>
                <a:latin typeface="Arial MT"/>
                <a:ea typeface="Symbol" panose="05050102010706020507" pitchFamily="18" charset="2"/>
                <a:cs typeface="Symbol" panose="05050102010706020507" pitchFamily="18" charset="2"/>
              </a:rPr>
              <a:t> </a:t>
            </a:r>
            <a:r>
              <a:rPr lang="en-US" sz="1100" dirty="0">
                <a:effectLst/>
                <a:latin typeface="Arial MT"/>
                <a:ea typeface="Symbol" panose="05050102010706020507" pitchFamily="18" charset="2"/>
                <a:cs typeface="Symbol" panose="05050102010706020507" pitchFamily="18" charset="2"/>
              </a:rPr>
              <a:t>energy</a:t>
            </a:r>
            <a:r>
              <a:rPr lang="en-US" sz="1100" spc="-5" dirty="0">
                <a:effectLst/>
                <a:latin typeface="Arial MT"/>
                <a:ea typeface="Symbol" panose="05050102010706020507" pitchFamily="18" charset="2"/>
                <a:cs typeface="Symbol" panose="05050102010706020507" pitchFamily="18" charset="2"/>
              </a:rPr>
              <a:t> </a:t>
            </a:r>
            <a:r>
              <a:rPr lang="en-US" sz="1100" dirty="0">
                <a:effectLst/>
                <a:latin typeface="Arial MT"/>
                <a:ea typeface="Symbol" panose="05050102010706020507" pitchFamily="18" charset="2"/>
                <a:cs typeface="Symbol" panose="05050102010706020507" pitchFamily="18" charset="2"/>
              </a:rPr>
              <a:t>carrier).</a:t>
            </a:r>
            <a:endParaRPr lang="sv-SE" sz="1100" dirty="0">
              <a:effectLst/>
              <a:latin typeface="Arial MT"/>
              <a:ea typeface="Symbol" panose="05050102010706020507" pitchFamily="18" charset="2"/>
              <a:cs typeface="Symbol" panose="05050102010706020507" pitchFamily="18" charset="2"/>
            </a:endParaRPr>
          </a:p>
          <a:p>
            <a:pPr>
              <a:spcBef>
                <a:spcPts val="10"/>
              </a:spcBef>
            </a:pPr>
            <a:r>
              <a:rPr lang="en-US" sz="1300" dirty="0">
                <a:effectLst/>
                <a:latin typeface="Arial MT"/>
                <a:ea typeface="Arial MT"/>
                <a:cs typeface="Arial MT"/>
              </a:rPr>
              <a:t> </a:t>
            </a:r>
            <a:endParaRPr lang="sv-SE" sz="1100" dirty="0">
              <a:effectLst/>
              <a:latin typeface="Arial MT"/>
              <a:ea typeface="Arial MT"/>
              <a:cs typeface="Arial MT"/>
            </a:endParaRPr>
          </a:p>
          <a:p>
            <a:pPr marL="1143000" lvl="2" indent="-228600">
              <a:spcBef>
                <a:spcPts val="5"/>
              </a:spcBef>
              <a:spcAft>
                <a:spcPts val="0"/>
              </a:spcAft>
              <a:buSzPts val="1100"/>
              <a:buFont typeface="Symbol" panose="05050102010706020507" pitchFamily="18" charset="2"/>
              <a:buChar char=""/>
              <a:tabLst>
                <a:tab pos="528955" algn="l"/>
                <a:tab pos="529590" algn="l"/>
              </a:tabLst>
            </a:pPr>
            <a:r>
              <a:rPr lang="en-US" sz="1100" dirty="0">
                <a:effectLst/>
                <a:latin typeface="Arial MT"/>
                <a:ea typeface="Symbol" panose="05050102010706020507" pitchFamily="18" charset="2"/>
                <a:cs typeface="Symbol" panose="05050102010706020507" pitchFamily="18" charset="2"/>
              </a:rPr>
              <a:t>Use</a:t>
            </a:r>
            <a:r>
              <a:rPr lang="en-US" sz="1100" spc="-10" dirty="0">
                <a:effectLst/>
                <a:latin typeface="Arial MT"/>
                <a:ea typeface="Symbol" panose="05050102010706020507" pitchFamily="18" charset="2"/>
                <a:cs typeface="Symbol" panose="05050102010706020507" pitchFamily="18" charset="2"/>
              </a:rPr>
              <a:t> </a:t>
            </a:r>
            <a:r>
              <a:rPr lang="en-US" sz="1100" dirty="0">
                <a:effectLst/>
                <a:latin typeface="Arial MT"/>
                <a:ea typeface="Symbol" panose="05050102010706020507" pitchFamily="18" charset="2"/>
                <a:cs typeface="Symbol" panose="05050102010706020507" pitchFamily="18" charset="2"/>
              </a:rPr>
              <a:t>of</a:t>
            </a:r>
            <a:r>
              <a:rPr lang="en-US" sz="1100" spc="-5" dirty="0">
                <a:effectLst/>
                <a:latin typeface="Arial MT"/>
                <a:ea typeface="Symbol" panose="05050102010706020507" pitchFamily="18" charset="2"/>
                <a:cs typeface="Symbol" panose="05050102010706020507" pitchFamily="18" charset="2"/>
              </a:rPr>
              <a:t> </a:t>
            </a:r>
            <a:r>
              <a:rPr lang="en-US" sz="1100" dirty="0">
                <a:effectLst/>
                <a:latin typeface="Arial MT"/>
                <a:ea typeface="Symbol" panose="05050102010706020507" pitchFamily="18" charset="2"/>
                <a:cs typeface="Symbol" panose="05050102010706020507" pitchFamily="18" charset="2"/>
              </a:rPr>
              <a:t>raw</a:t>
            </a:r>
            <a:r>
              <a:rPr lang="en-US" sz="1100" spc="-5" dirty="0">
                <a:effectLst/>
                <a:latin typeface="Arial MT"/>
                <a:ea typeface="Symbol" panose="05050102010706020507" pitchFamily="18" charset="2"/>
                <a:cs typeface="Symbol" panose="05050102010706020507" pitchFamily="18" charset="2"/>
              </a:rPr>
              <a:t> </a:t>
            </a:r>
            <a:r>
              <a:rPr lang="en-US" sz="1100" dirty="0">
                <a:effectLst/>
                <a:latin typeface="Arial MT"/>
                <a:ea typeface="Symbol" panose="05050102010706020507" pitchFamily="18" charset="2"/>
                <a:cs typeface="Symbol" panose="05050102010706020507" pitchFamily="18" charset="2"/>
              </a:rPr>
              <a:t>materials</a:t>
            </a:r>
            <a:r>
              <a:rPr lang="en-US" sz="1100" spc="-10" dirty="0">
                <a:effectLst/>
                <a:latin typeface="Arial MT"/>
                <a:ea typeface="Symbol" panose="05050102010706020507" pitchFamily="18" charset="2"/>
                <a:cs typeface="Symbol" panose="05050102010706020507" pitchFamily="18" charset="2"/>
              </a:rPr>
              <a:t> </a:t>
            </a:r>
            <a:r>
              <a:rPr lang="en-US" sz="1100" dirty="0">
                <a:effectLst/>
                <a:latin typeface="Arial MT"/>
                <a:ea typeface="Symbol" panose="05050102010706020507" pitchFamily="18" charset="2"/>
                <a:cs typeface="Symbol" panose="05050102010706020507" pitchFamily="18" charset="2"/>
              </a:rPr>
              <a:t>(for</a:t>
            </a:r>
            <a:r>
              <a:rPr lang="en-US" sz="1100" spc="-5" dirty="0">
                <a:effectLst/>
                <a:latin typeface="Arial MT"/>
                <a:ea typeface="Symbol" panose="05050102010706020507" pitchFamily="18" charset="2"/>
                <a:cs typeface="Symbol" panose="05050102010706020507" pitchFamily="18" charset="2"/>
              </a:rPr>
              <a:t> </a:t>
            </a:r>
            <a:r>
              <a:rPr lang="en-US" sz="1100" dirty="0">
                <a:effectLst/>
                <a:latin typeface="Arial MT"/>
                <a:ea typeface="Symbol" panose="05050102010706020507" pitchFamily="18" charset="2"/>
                <a:cs typeface="Symbol" panose="05050102010706020507" pitchFamily="18" charset="2"/>
              </a:rPr>
              <a:t>each</a:t>
            </a:r>
            <a:r>
              <a:rPr lang="en-US" sz="1100" spc="-5" dirty="0">
                <a:effectLst/>
                <a:latin typeface="Arial MT"/>
                <a:ea typeface="Symbol" panose="05050102010706020507" pitchFamily="18" charset="2"/>
                <a:cs typeface="Symbol" panose="05050102010706020507" pitchFamily="18" charset="2"/>
              </a:rPr>
              <a:t> </a:t>
            </a:r>
            <a:r>
              <a:rPr lang="en-US" sz="1100" dirty="0">
                <a:effectLst/>
                <a:latin typeface="Arial MT"/>
                <a:ea typeface="Symbol" panose="05050102010706020507" pitchFamily="18" charset="2"/>
                <a:cs typeface="Symbol" panose="05050102010706020507" pitchFamily="18" charset="2"/>
              </a:rPr>
              <a:t>raw</a:t>
            </a:r>
            <a:r>
              <a:rPr lang="en-US" sz="1100" spc="-10" dirty="0">
                <a:effectLst/>
                <a:latin typeface="Arial MT"/>
                <a:ea typeface="Symbol" panose="05050102010706020507" pitchFamily="18" charset="2"/>
                <a:cs typeface="Symbol" panose="05050102010706020507" pitchFamily="18" charset="2"/>
              </a:rPr>
              <a:t> </a:t>
            </a:r>
            <a:r>
              <a:rPr lang="en-US" sz="1100" dirty="0">
                <a:effectLst/>
                <a:latin typeface="Arial MT"/>
                <a:ea typeface="Symbol" panose="05050102010706020507" pitchFamily="18" charset="2"/>
                <a:cs typeface="Symbol" panose="05050102010706020507" pitchFamily="18" charset="2"/>
              </a:rPr>
              <a:t>material).</a:t>
            </a:r>
            <a:endParaRPr lang="sv-SE" sz="1100" dirty="0">
              <a:effectLst/>
              <a:latin typeface="Arial MT"/>
              <a:ea typeface="Symbol" panose="05050102010706020507" pitchFamily="18" charset="2"/>
              <a:cs typeface="Symbol" panose="05050102010706020507" pitchFamily="18" charset="2"/>
            </a:endParaRPr>
          </a:p>
          <a:p>
            <a:pPr>
              <a:spcBef>
                <a:spcPts val="10"/>
              </a:spcBef>
            </a:pPr>
            <a:r>
              <a:rPr lang="en-US" sz="1300" dirty="0">
                <a:effectLst/>
                <a:latin typeface="Arial MT"/>
                <a:ea typeface="Arial MT"/>
                <a:cs typeface="Arial MT"/>
              </a:rPr>
              <a:t> </a:t>
            </a:r>
            <a:endParaRPr lang="sv-SE" sz="1100" dirty="0">
              <a:effectLst/>
              <a:latin typeface="Arial MT"/>
              <a:ea typeface="Arial MT"/>
              <a:cs typeface="Arial MT"/>
            </a:endParaRPr>
          </a:p>
          <a:p>
            <a:pPr marL="1143000" lvl="2" indent="-228600">
              <a:buSzPts val="1100"/>
              <a:buFont typeface="Symbol" panose="05050102010706020507" pitchFamily="18" charset="2"/>
              <a:buChar char=""/>
              <a:tabLst>
                <a:tab pos="528955" algn="l"/>
                <a:tab pos="529590" algn="l"/>
              </a:tabLst>
            </a:pPr>
            <a:r>
              <a:rPr lang="en-US" sz="1100" dirty="0">
                <a:effectLst/>
                <a:latin typeface="Arial MT"/>
                <a:ea typeface="Symbol" panose="05050102010706020507" pitchFamily="18" charset="2"/>
                <a:cs typeface="Symbol" panose="05050102010706020507" pitchFamily="18" charset="2"/>
              </a:rPr>
              <a:t>Waste</a:t>
            </a:r>
            <a:r>
              <a:rPr lang="en-US" sz="1100" spc="-10" dirty="0">
                <a:effectLst/>
                <a:latin typeface="Arial MT"/>
                <a:ea typeface="Symbol" panose="05050102010706020507" pitchFamily="18" charset="2"/>
                <a:cs typeface="Symbol" panose="05050102010706020507" pitchFamily="18" charset="2"/>
              </a:rPr>
              <a:t> </a:t>
            </a:r>
            <a:r>
              <a:rPr lang="en-US" sz="1100" dirty="0">
                <a:effectLst/>
                <a:latin typeface="Arial MT"/>
                <a:ea typeface="Symbol" panose="05050102010706020507" pitchFamily="18" charset="2"/>
                <a:cs typeface="Symbol" panose="05050102010706020507" pitchFamily="18" charset="2"/>
              </a:rPr>
              <a:t>disposal.</a:t>
            </a:r>
            <a:endParaRPr lang="sv-SE" sz="1100" dirty="0">
              <a:effectLst/>
              <a:latin typeface="Arial MT"/>
              <a:ea typeface="Symbol" panose="05050102010706020507" pitchFamily="18" charset="2"/>
              <a:cs typeface="Symbol" panose="05050102010706020507" pitchFamily="18" charset="2"/>
            </a:endParaRPr>
          </a:p>
          <a:p>
            <a:pPr>
              <a:spcBef>
                <a:spcPts val="15"/>
              </a:spcBef>
            </a:pPr>
            <a:r>
              <a:rPr lang="en-US" sz="1300" dirty="0">
                <a:effectLst/>
                <a:latin typeface="Arial MT"/>
                <a:ea typeface="Arial MT"/>
                <a:cs typeface="Arial MT"/>
              </a:rPr>
              <a:t> </a:t>
            </a:r>
            <a:endParaRPr lang="sv-SE" sz="1100" dirty="0">
              <a:effectLst/>
              <a:latin typeface="Arial MT"/>
              <a:ea typeface="Arial MT"/>
              <a:cs typeface="Arial MT"/>
            </a:endParaRPr>
          </a:p>
          <a:p>
            <a:pPr marL="1143000" lvl="2" indent="-228600">
              <a:buSzPts val="1100"/>
              <a:buFont typeface="Symbol" panose="05050102010706020507" pitchFamily="18" charset="2"/>
              <a:buChar char=""/>
              <a:tabLst>
                <a:tab pos="528955" algn="l"/>
                <a:tab pos="529590" algn="l"/>
              </a:tabLst>
            </a:pPr>
            <a:r>
              <a:rPr lang="en-US" sz="1100" dirty="0">
                <a:effectLst/>
                <a:latin typeface="Arial MT"/>
                <a:ea typeface="Symbol" panose="05050102010706020507" pitchFamily="18" charset="2"/>
                <a:cs typeface="Symbol" panose="05050102010706020507" pitchFamily="18" charset="2"/>
              </a:rPr>
              <a:t>Water</a:t>
            </a:r>
            <a:r>
              <a:rPr lang="en-US" sz="1100" spc="-15" dirty="0">
                <a:effectLst/>
                <a:latin typeface="Arial MT"/>
                <a:ea typeface="Symbol" panose="05050102010706020507" pitchFamily="18" charset="2"/>
                <a:cs typeface="Symbol" panose="05050102010706020507" pitchFamily="18" charset="2"/>
              </a:rPr>
              <a:t> </a:t>
            </a:r>
            <a:r>
              <a:rPr lang="en-US" sz="1100" dirty="0">
                <a:effectLst/>
                <a:latin typeface="Arial MT"/>
                <a:ea typeface="Symbol" panose="05050102010706020507" pitchFamily="18" charset="2"/>
                <a:cs typeface="Symbol" panose="05050102010706020507" pitchFamily="18" charset="2"/>
              </a:rPr>
              <a:t>consumption.</a:t>
            </a:r>
            <a:endParaRPr lang="sv-SE" sz="1100" dirty="0">
              <a:effectLst/>
              <a:latin typeface="Arial MT"/>
              <a:ea typeface="Symbol" panose="05050102010706020507" pitchFamily="18" charset="2"/>
              <a:cs typeface="Symbol" panose="05050102010706020507" pitchFamily="18" charset="2"/>
            </a:endParaRPr>
          </a:p>
          <a:p>
            <a:pPr>
              <a:spcBef>
                <a:spcPts val="5"/>
              </a:spcBef>
            </a:pPr>
            <a:r>
              <a:rPr lang="en-US" sz="1300" dirty="0">
                <a:effectLst/>
                <a:latin typeface="Arial MT"/>
                <a:ea typeface="Arial MT"/>
                <a:cs typeface="Arial MT"/>
              </a:rPr>
              <a:t> </a:t>
            </a:r>
            <a:endParaRPr lang="sv-SE" sz="1100" dirty="0">
              <a:effectLst/>
              <a:latin typeface="Arial MT"/>
              <a:ea typeface="Arial MT"/>
              <a:cs typeface="Arial MT"/>
            </a:endParaRPr>
          </a:p>
          <a:p>
            <a:pPr marL="1143000" lvl="2" indent="-228600">
              <a:spcBef>
                <a:spcPts val="5"/>
              </a:spcBef>
              <a:spcAft>
                <a:spcPts val="0"/>
              </a:spcAft>
              <a:buSzPts val="1100"/>
              <a:buFont typeface="Symbol" panose="05050102010706020507" pitchFamily="18" charset="2"/>
              <a:buChar char=""/>
              <a:tabLst>
                <a:tab pos="528955" algn="l"/>
                <a:tab pos="529590" algn="l"/>
              </a:tabLst>
            </a:pPr>
            <a:r>
              <a:rPr lang="en-US" sz="1100" dirty="0">
                <a:effectLst/>
                <a:latin typeface="Arial MT"/>
                <a:ea typeface="Symbol" panose="05050102010706020507" pitchFamily="18" charset="2"/>
                <a:cs typeface="Symbol" panose="05050102010706020507" pitchFamily="18" charset="2"/>
              </a:rPr>
              <a:t>Water</a:t>
            </a:r>
            <a:r>
              <a:rPr lang="en-US" sz="1100" spc="-10" dirty="0">
                <a:effectLst/>
                <a:latin typeface="Arial MT"/>
                <a:ea typeface="Symbol" panose="05050102010706020507" pitchFamily="18" charset="2"/>
                <a:cs typeface="Symbol" panose="05050102010706020507" pitchFamily="18" charset="2"/>
              </a:rPr>
              <a:t> </a:t>
            </a:r>
            <a:r>
              <a:rPr lang="en-US" sz="1100" dirty="0">
                <a:effectLst/>
                <a:latin typeface="Arial MT"/>
                <a:ea typeface="Symbol" panose="05050102010706020507" pitchFamily="18" charset="2"/>
                <a:cs typeface="Symbol" panose="05050102010706020507" pitchFamily="18" charset="2"/>
              </a:rPr>
              <a:t>discharge.</a:t>
            </a:r>
            <a:endParaRPr lang="sv-SE" sz="1100" dirty="0">
              <a:effectLst/>
              <a:latin typeface="Arial MT"/>
              <a:ea typeface="Symbol" panose="05050102010706020507" pitchFamily="18" charset="2"/>
              <a:cs typeface="Symbol" panose="05050102010706020507" pitchFamily="18" charset="2"/>
            </a:endParaRPr>
          </a:p>
          <a:p>
            <a:pPr>
              <a:spcBef>
                <a:spcPts val="10"/>
              </a:spcBef>
            </a:pPr>
            <a:r>
              <a:rPr lang="en-US" sz="1300" dirty="0">
                <a:effectLst/>
                <a:latin typeface="Arial MT"/>
                <a:ea typeface="Arial MT"/>
                <a:cs typeface="Arial MT"/>
              </a:rPr>
              <a:t> </a:t>
            </a:r>
            <a:endParaRPr lang="sv-SE" sz="1100" dirty="0">
              <a:effectLst/>
              <a:latin typeface="Arial MT"/>
              <a:ea typeface="Arial MT"/>
              <a:cs typeface="Arial MT"/>
            </a:endParaRPr>
          </a:p>
          <a:p>
            <a:pPr marL="1143000" lvl="2" indent="-228600">
              <a:buSzPts val="1100"/>
              <a:buFont typeface="Symbol" panose="05050102010706020507" pitchFamily="18" charset="2"/>
              <a:buChar char=""/>
              <a:tabLst>
                <a:tab pos="528955" algn="l"/>
                <a:tab pos="529590" algn="l"/>
              </a:tabLst>
            </a:pPr>
            <a:r>
              <a:rPr lang="en-US" sz="1100" dirty="0">
                <a:effectLst/>
                <a:latin typeface="Arial MT"/>
                <a:ea typeface="Symbol" panose="05050102010706020507" pitchFamily="18" charset="2"/>
                <a:cs typeface="Symbol" panose="05050102010706020507" pitchFamily="18" charset="2"/>
              </a:rPr>
              <a:t>Emissions</a:t>
            </a:r>
            <a:r>
              <a:rPr lang="en-US" sz="1100" spc="-15" dirty="0">
                <a:effectLst/>
                <a:latin typeface="Arial MT"/>
                <a:ea typeface="Symbol" panose="05050102010706020507" pitchFamily="18" charset="2"/>
                <a:cs typeface="Symbol" panose="05050102010706020507" pitchFamily="18" charset="2"/>
              </a:rPr>
              <a:t> </a:t>
            </a:r>
            <a:r>
              <a:rPr lang="en-US" sz="1100" dirty="0">
                <a:effectLst/>
                <a:latin typeface="Arial MT"/>
                <a:ea typeface="Symbol" panose="05050102010706020507" pitchFamily="18" charset="2"/>
                <a:cs typeface="Symbol" panose="05050102010706020507" pitchFamily="18" charset="2"/>
              </a:rPr>
              <a:t>to</a:t>
            </a:r>
            <a:r>
              <a:rPr lang="en-US" sz="1100" spc="-15" dirty="0">
                <a:effectLst/>
                <a:latin typeface="Arial MT"/>
                <a:ea typeface="Symbol" panose="05050102010706020507" pitchFamily="18" charset="2"/>
                <a:cs typeface="Symbol" panose="05050102010706020507" pitchFamily="18" charset="2"/>
              </a:rPr>
              <a:t> </a:t>
            </a:r>
            <a:r>
              <a:rPr lang="en-US" sz="1100" dirty="0">
                <a:effectLst/>
                <a:latin typeface="Arial MT"/>
                <a:ea typeface="Symbol" panose="05050102010706020507" pitchFamily="18" charset="2"/>
                <a:cs typeface="Symbol" panose="05050102010706020507" pitchFamily="18" charset="2"/>
              </a:rPr>
              <a:t>water.</a:t>
            </a:r>
            <a:endParaRPr lang="sv-SE" sz="1100" dirty="0">
              <a:effectLst/>
              <a:latin typeface="Arial MT"/>
              <a:ea typeface="Symbol" panose="05050102010706020507" pitchFamily="18" charset="2"/>
              <a:cs typeface="Symbol" panose="05050102010706020507" pitchFamily="18" charset="2"/>
            </a:endParaRPr>
          </a:p>
          <a:p>
            <a:pPr>
              <a:spcBef>
                <a:spcPts val="15"/>
              </a:spcBef>
            </a:pPr>
            <a:r>
              <a:rPr lang="en-US" sz="1300" dirty="0">
                <a:effectLst/>
                <a:latin typeface="Arial MT"/>
                <a:ea typeface="Arial MT"/>
                <a:cs typeface="Arial MT"/>
              </a:rPr>
              <a:t> </a:t>
            </a:r>
            <a:endParaRPr lang="sv-SE" sz="1100" dirty="0">
              <a:effectLst/>
              <a:latin typeface="Arial MT"/>
              <a:ea typeface="Arial MT"/>
              <a:cs typeface="Arial MT"/>
            </a:endParaRPr>
          </a:p>
          <a:p>
            <a:pPr marL="1143000" lvl="2" indent="-228600">
              <a:buSzPts val="1100"/>
              <a:buFont typeface="Symbol" panose="05050102010706020507" pitchFamily="18" charset="2"/>
              <a:buChar char=""/>
              <a:tabLst>
                <a:tab pos="528955" algn="l"/>
                <a:tab pos="529590" algn="l"/>
              </a:tabLst>
            </a:pPr>
            <a:r>
              <a:rPr lang="en-US" sz="1100" dirty="0">
                <a:effectLst/>
                <a:latin typeface="Arial MT"/>
                <a:ea typeface="Symbol" panose="05050102010706020507" pitchFamily="18" charset="2"/>
                <a:cs typeface="Symbol" panose="05050102010706020507" pitchFamily="18" charset="2"/>
              </a:rPr>
              <a:t>CO</a:t>
            </a:r>
            <a:r>
              <a:rPr lang="en-US" sz="1100" baseline="-25000" dirty="0">
                <a:effectLst/>
                <a:latin typeface="Arial MT"/>
                <a:ea typeface="Symbol" panose="05050102010706020507" pitchFamily="18" charset="2"/>
                <a:cs typeface="Symbol" panose="05050102010706020507" pitchFamily="18" charset="2"/>
              </a:rPr>
              <a:t>2</a:t>
            </a:r>
            <a:r>
              <a:rPr lang="en-US" sz="1100" spc="-15" dirty="0">
                <a:effectLst/>
                <a:latin typeface="Arial MT"/>
                <a:ea typeface="Symbol" panose="05050102010706020507" pitchFamily="18" charset="2"/>
                <a:cs typeface="Symbol" panose="05050102010706020507" pitchFamily="18" charset="2"/>
              </a:rPr>
              <a:t> </a:t>
            </a:r>
            <a:r>
              <a:rPr lang="en-US" sz="1100" dirty="0">
                <a:effectLst/>
                <a:latin typeface="Arial MT"/>
                <a:ea typeface="Symbol" panose="05050102010706020507" pitchFamily="18" charset="2"/>
                <a:cs typeface="Symbol" panose="05050102010706020507" pitchFamily="18" charset="2"/>
              </a:rPr>
              <a:t>emissions.</a:t>
            </a:r>
            <a:endParaRPr lang="sv-SE" sz="1100" dirty="0">
              <a:effectLst/>
              <a:latin typeface="Arial MT"/>
              <a:ea typeface="Symbol" panose="05050102010706020507" pitchFamily="18" charset="2"/>
              <a:cs typeface="Symbol" panose="05050102010706020507" pitchFamily="18" charset="2"/>
            </a:endParaRPr>
          </a:p>
          <a:p>
            <a:pPr>
              <a:spcBef>
                <a:spcPts val="10"/>
              </a:spcBef>
            </a:pPr>
            <a:r>
              <a:rPr lang="en-US" sz="1300" dirty="0">
                <a:effectLst/>
                <a:latin typeface="Arial MT"/>
                <a:ea typeface="Arial MT"/>
                <a:cs typeface="Arial MT"/>
              </a:rPr>
              <a:t> </a:t>
            </a:r>
            <a:endParaRPr lang="sv-SE" sz="1100" dirty="0">
              <a:effectLst/>
              <a:latin typeface="Arial MT"/>
              <a:ea typeface="Arial MT"/>
              <a:cs typeface="Arial MT"/>
            </a:endParaRPr>
          </a:p>
          <a:p>
            <a:pPr marL="1143000" lvl="2" indent="-228600">
              <a:spcBef>
                <a:spcPts val="5"/>
              </a:spcBef>
              <a:spcAft>
                <a:spcPts val="0"/>
              </a:spcAft>
              <a:buSzPts val="1100"/>
              <a:buFont typeface="Symbol" panose="05050102010706020507" pitchFamily="18" charset="2"/>
              <a:buChar char=""/>
              <a:tabLst>
                <a:tab pos="528955" algn="l"/>
                <a:tab pos="529590" algn="l"/>
              </a:tabLst>
            </a:pPr>
            <a:r>
              <a:rPr lang="en-US" sz="1100" dirty="0">
                <a:effectLst/>
                <a:latin typeface="Arial MT"/>
                <a:ea typeface="Symbol" panose="05050102010706020507" pitchFamily="18" charset="2"/>
                <a:cs typeface="Symbol" panose="05050102010706020507" pitchFamily="18" charset="2"/>
              </a:rPr>
              <a:t>Other</a:t>
            </a:r>
            <a:r>
              <a:rPr lang="en-US" sz="1100" spc="-15" dirty="0">
                <a:effectLst/>
                <a:latin typeface="Arial MT"/>
                <a:ea typeface="Symbol" panose="05050102010706020507" pitchFamily="18" charset="2"/>
                <a:cs typeface="Symbol" panose="05050102010706020507" pitchFamily="18" charset="2"/>
              </a:rPr>
              <a:t> </a:t>
            </a:r>
            <a:r>
              <a:rPr lang="en-US" sz="1100" dirty="0">
                <a:effectLst/>
                <a:latin typeface="Arial MT"/>
                <a:ea typeface="Symbol" panose="05050102010706020507" pitchFamily="18" charset="2"/>
                <a:cs typeface="Symbol" panose="05050102010706020507" pitchFamily="18" charset="2"/>
              </a:rPr>
              <a:t>GHG</a:t>
            </a:r>
            <a:r>
              <a:rPr lang="en-US" sz="1100" spc="-15" dirty="0">
                <a:effectLst/>
                <a:latin typeface="Arial MT"/>
                <a:ea typeface="Symbol" panose="05050102010706020507" pitchFamily="18" charset="2"/>
                <a:cs typeface="Symbol" panose="05050102010706020507" pitchFamily="18" charset="2"/>
              </a:rPr>
              <a:t> </a:t>
            </a:r>
            <a:r>
              <a:rPr lang="en-US" sz="1100" dirty="0">
                <a:effectLst/>
                <a:latin typeface="Arial MT"/>
                <a:ea typeface="Symbol" panose="05050102010706020507" pitchFamily="18" charset="2"/>
                <a:cs typeface="Symbol" panose="05050102010706020507" pitchFamily="18" charset="2"/>
              </a:rPr>
              <a:t>emissions.</a:t>
            </a:r>
            <a:endParaRPr lang="sv-SE" sz="1100" dirty="0">
              <a:effectLst/>
              <a:latin typeface="Arial MT"/>
              <a:ea typeface="Symbol" panose="05050102010706020507" pitchFamily="18" charset="2"/>
              <a:cs typeface="Symbol" panose="05050102010706020507" pitchFamily="18" charset="2"/>
            </a:endParaRPr>
          </a:p>
          <a:p>
            <a:pPr>
              <a:spcBef>
                <a:spcPts val="10"/>
              </a:spcBef>
            </a:pPr>
            <a:r>
              <a:rPr lang="en-US" sz="1300" dirty="0">
                <a:effectLst/>
                <a:latin typeface="Arial MT"/>
                <a:ea typeface="Arial MT"/>
                <a:cs typeface="Arial MT"/>
              </a:rPr>
              <a:t> </a:t>
            </a:r>
            <a:endParaRPr lang="sv-SE" sz="1100" dirty="0">
              <a:effectLst/>
              <a:latin typeface="Arial MT"/>
              <a:ea typeface="Arial MT"/>
              <a:cs typeface="Arial MT"/>
            </a:endParaRPr>
          </a:p>
          <a:p>
            <a:pPr marL="1143000" lvl="2" indent="-228600">
              <a:buSzPts val="1100"/>
              <a:buFont typeface="Symbol" panose="05050102010706020507" pitchFamily="18" charset="2"/>
              <a:buChar char=""/>
              <a:tabLst>
                <a:tab pos="528955" algn="l"/>
                <a:tab pos="529590" algn="l"/>
              </a:tabLst>
            </a:pPr>
            <a:r>
              <a:rPr lang="en-US" sz="1100" dirty="0">
                <a:effectLst/>
                <a:latin typeface="Arial MT"/>
                <a:ea typeface="Symbol" panose="05050102010706020507" pitchFamily="18" charset="2"/>
                <a:cs typeface="Symbol" panose="05050102010706020507" pitchFamily="18" charset="2"/>
              </a:rPr>
              <a:t>Other</a:t>
            </a:r>
            <a:r>
              <a:rPr lang="en-US" sz="1100" spc="-10" dirty="0">
                <a:effectLst/>
                <a:latin typeface="Arial MT"/>
                <a:ea typeface="Symbol" panose="05050102010706020507" pitchFamily="18" charset="2"/>
                <a:cs typeface="Symbol" panose="05050102010706020507" pitchFamily="18" charset="2"/>
              </a:rPr>
              <a:t> </a:t>
            </a:r>
            <a:r>
              <a:rPr lang="en-US" sz="1100" dirty="0">
                <a:effectLst/>
                <a:latin typeface="Arial MT"/>
                <a:ea typeface="Symbol" panose="05050102010706020507" pitchFamily="18" charset="2"/>
                <a:cs typeface="Symbol" panose="05050102010706020507" pitchFamily="18" charset="2"/>
              </a:rPr>
              <a:t>emissions</a:t>
            </a:r>
            <a:r>
              <a:rPr lang="en-US" sz="1100" spc="-10" dirty="0">
                <a:effectLst/>
                <a:latin typeface="Arial MT"/>
                <a:ea typeface="Symbol" panose="05050102010706020507" pitchFamily="18" charset="2"/>
                <a:cs typeface="Symbol" panose="05050102010706020507" pitchFamily="18" charset="2"/>
              </a:rPr>
              <a:t> </a:t>
            </a:r>
            <a:r>
              <a:rPr lang="en-US" sz="1100" dirty="0">
                <a:effectLst/>
                <a:latin typeface="Arial MT"/>
                <a:ea typeface="Symbol" panose="05050102010706020507" pitchFamily="18" charset="2"/>
                <a:cs typeface="Symbol" panose="05050102010706020507" pitchFamily="18" charset="2"/>
              </a:rPr>
              <a:t>to</a:t>
            </a:r>
            <a:r>
              <a:rPr lang="en-US" sz="1100" spc="-10" dirty="0">
                <a:effectLst/>
                <a:latin typeface="Arial MT"/>
                <a:ea typeface="Symbol" panose="05050102010706020507" pitchFamily="18" charset="2"/>
                <a:cs typeface="Symbol" panose="05050102010706020507" pitchFamily="18" charset="2"/>
              </a:rPr>
              <a:t> </a:t>
            </a:r>
            <a:r>
              <a:rPr lang="en-US" sz="1100" dirty="0">
                <a:effectLst/>
                <a:latin typeface="Arial MT"/>
                <a:ea typeface="Symbol" panose="05050102010706020507" pitchFamily="18" charset="2"/>
                <a:cs typeface="Symbol" panose="05050102010706020507" pitchFamily="18" charset="2"/>
              </a:rPr>
              <a:t>air.</a:t>
            </a:r>
            <a:endParaRPr lang="sv-SE" sz="1100" dirty="0">
              <a:effectLst/>
              <a:latin typeface="Arial MT"/>
              <a:ea typeface="Symbol" panose="05050102010706020507" pitchFamily="18" charset="2"/>
              <a:cs typeface="Symbol" panose="05050102010706020507" pitchFamily="18" charset="2"/>
            </a:endParaRPr>
          </a:p>
          <a:p>
            <a:pPr>
              <a:spcBef>
                <a:spcPts val="15"/>
              </a:spcBef>
            </a:pPr>
            <a:r>
              <a:rPr lang="en-US" sz="1300" dirty="0">
                <a:effectLst/>
                <a:latin typeface="Arial MT"/>
                <a:ea typeface="Arial MT"/>
                <a:cs typeface="Arial MT"/>
              </a:rPr>
              <a:t> </a:t>
            </a:r>
            <a:endParaRPr lang="sv-SE" sz="1100" dirty="0">
              <a:effectLst/>
              <a:latin typeface="Arial MT"/>
              <a:ea typeface="Arial MT"/>
              <a:cs typeface="Arial MT"/>
            </a:endParaRPr>
          </a:p>
          <a:p>
            <a:pPr marL="72390" algn="just"/>
            <a:r>
              <a:rPr lang="en-US" sz="1100" dirty="0">
                <a:effectLst/>
                <a:latin typeface="Arial MT"/>
                <a:ea typeface="Arial MT"/>
                <a:cs typeface="Arial MT"/>
              </a:rPr>
              <a:t>The</a:t>
            </a:r>
            <a:r>
              <a:rPr lang="en-US" sz="1100" spc="-10" dirty="0">
                <a:effectLst/>
                <a:latin typeface="Arial MT"/>
                <a:ea typeface="Arial MT"/>
                <a:cs typeface="Arial MT"/>
              </a:rPr>
              <a:t> </a:t>
            </a:r>
            <a:r>
              <a:rPr lang="en-US" sz="1100" dirty="0">
                <a:effectLst/>
                <a:latin typeface="Arial MT"/>
                <a:ea typeface="Arial MT"/>
                <a:cs typeface="Arial MT"/>
              </a:rPr>
              <a:t>KPAs</a:t>
            </a:r>
            <a:r>
              <a:rPr lang="en-US" sz="1100" spc="-10" dirty="0">
                <a:effectLst/>
                <a:latin typeface="Arial MT"/>
                <a:ea typeface="Arial MT"/>
                <a:cs typeface="Arial MT"/>
              </a:rPr>
              <a:t> </a:t>
            </a:r>
            <a:r>
              <a:rPr lang="en-US" sz="1100" dirty="0">
                <a:effectLst/>
                <a:latin typeface="Arial MT"/>
                <a:ea typeface="Arial MT"/>
                <a:cs typeface="Arial MT"/>
              </a:rPr>
              <a:t>which</a:t>
            </a:r>
            <a:r>
              <a:rPr lang="en-US" sz="1100" spc="-5" dirty="0">
                <a:effectLst/>
                <a:latin typeface="Arial MT"/>
                <a:ea typeface="Arial MT"/>
                <a:cs typeface="Arial MT"/>
              </a:rPr>
              <a:t> </a:t>
            </a:r>
            <a:r>
              <a:rPr lang="en-US" sz="1100" dirty="0">
                <a:effectLst/>
                <a:latin typeface="Arial MT"/>
                <a:ea typeface="Arial MT"/>
                <a:cs typeface="Arial MT"/>
              </a:rPr>
              <a:t>have</a:t>
            </a:r>
            <a:r>
              <a:rPr lang="en-US" sz="1100" spc="-10" dirty="0">
                <a:effectLst/>
                <a:latin typeface="Arial MT"/>
                <a:ea typeface="Arial MT"/>
                <a:cs typeface="Arial MT"/>
              </a:rPr>
              <a:t> </a:t>
            </a:r>
            <a:r>
              <a:rPr lang="en-US" sz="1100" dirty="0">
                <a:effectLst/>
                <a:latin typeface="Arial MT"/>
                <a:ea typeface="Arial MT"/>
                <a:cs typeface="Arial MT"/>
              </a:rPr>
              <a:t>been</a:t>
            </a:r>
            <a:r>
              <a:rPr lang="en-US" sz="1100" spc="-10" dirty="0">
                <a:effectLst/>
                <a:latin typeface="Arial MT"/>
                <a:ea typeface="Arial MT"/>
                <a:cs typeface="Arial MT"/>
              </a:rPr>
              <a:t> </a:t>
            </a:r>
            <a:r>
              <a:rPr lang="en-US" sz="1100" dirty="0">
                <a:effectLst/>
                <a:latin typeface="Arial MT"/>
                <a:ea typeface="Arial MT"/>
                <a:cs typeface="Arial MT"/>
              </a:rPr>
              <a:t>selected</a:t>
            </a:r>
            <a:r>
              <a:rPr lang="en-US" sz="1100" spc="-5" dirty="0">
                <a:effectLst/>
                <a:latin typeface="Arial MT"/>
                <a:ea typeface="Arial MT"/>
                <a:cs typeface="Arial MT"/>
              </a:rPr>
              <a:t> </a:t>
            </a:r>
            <a:r>
              <a:rPr lang="en-US" sz="1100" dirty="0">
                <a:effectLst/>
                <a:latin typeface="Arial MT"/>
                <a:ea typeface="Arial MT"/>
                <a:cs typeface="Arial MT"/>
              </a:rPr>
              <a:t>are</a:t>
            </a:r>
            <a:r>
              <a:rPr lang="en-US" sz="1100" spc="-10" dirty="0">
                <a:effectLst/>
                <a:latin typeface="Arial MT"/>
                <a:ea typeface="Arial MT"/>
                <a:cs typeface="Arial MT"/>
              </a:rPr>
              <a:t> </a:t>
            </a:r>
            <a:r>
              <a:rPr lang="en-US" sz="1100" dirty="0">
                <a:effectLst/>
                <a:latin typeface="Arial MT"/>
                <a:ea typeface="Arial MT"/>
                <a:cs typeface="Arial MT"/>
              </a:rPr>
              <a:t>within</a:t>
            </a:r>
            <a:r>
              <a:rPr lang="en-US" sz="1100" spc="-15" dirty="0">
                <a:effectLst/>
                <a:latin typeface="Arial MT"/>
                <a:ea typeface="Arial MT"/>
                <a:cs typeface="Arial MT"/>
              </a:rPr>
              <a:t> </a:t>
            </a:r>
            <a:r>
              <a:rPr lang="en-US" sz="1100" dirty="0">
                <a:effectLst/>
                <a:latin typeface="Arial MT"/>
                <a:ea typeface="Arial MT"/>
                <a:cs typeface="Arial MT"/>
              </a:rPr>
              <a:t>the</a:t>
            </a:r>
            <a:r>
              <a:rPr lang="en-US" sz="1100" spc="-5" dirty="0">
                <a:effectLst/>
                <a:latin typeface="Arial MT"/>
                <a:ea typeface="Arial MT"/>
                <a:cs typeface="Arial MT"/>
              </a:rPr>
              <a:t> </a:t>
            </a:r>
            <a:r>
              <a:rPr lang="en-US" sz="1100" dirty="0">
                <a:effectLst/>
                <a:latin typeface="Arial MT"/>
                <a:ea typeface="Arial MT"/>
                <a:cs typeface="Arial MT"/>
              </a:rPr>
              <a:t>categories:</a:t>
            </a:r>
            <a:endParaRPr lang="sv-SE" sz="1100" dirty="0">
              <a:effectLst/>
              <a:latin typeface="Arial MT"/>
              <a:ea typeface="Arial MT"/>
              <a:cs typeface="Arial MT"/>
            </a:endParaRPr>
          </a:p>
          <a:p>
            <a:pPr>
              <a:spcBef>
                <a:spcPts val="20"/>
              </a:spcBef>
            </a:pPr>
            <a:r>
              <a:rPr lang="en-US" sz="1300" dirty="0">
                <a:effectLst/>
                <a:latin typeface="Arial MT"/>
                <a:ea typeface="Arial MT"/>
                <a:cs typeface="Arial MT"/>
              </a:rPr>
              <a:t> </a:t>
            </a:r>
            <a:endParaRPr lang="sv-SE" sz="1100" dirty="0">
              <a:effectLst/>
              <a:latin typeface="Arial MT"/>
              <a:ea typeface="Arial MT"/>
              <a:cs typeface="Arial MT"/>
            </a:endParaRPr>
          </a:p>
          <a:p>
            <a:pPr marL="1143000" lvl="2" indent="-228600">
              <a:buSzPts val="1100"/>
              <a:buFont typeface="Symbol" panose="05050102010706020507" pitchFamily="18" charset="2"/>
              <a:buChar char=""/>
              <a:tabLst>
                <a:tab pos="528955" algn="l"/>
                <a:tab pos="529590" algn="l"/>
              </a:tabLst>
            </a:pPr>
            <a:r>
              <a:rPr lang="en-US" sz="1100" dirty="0">
                <a:effectLst/>
                <a:latin typeface="Arial MT"/>
                <a:ea typeface="Symbol" panose="05050102010706020507" pitchFamily="18" charset="2"/>
                <a:cs typeface="Symbol" panose="05050102010706020507" pitchFamily="18" charset="2"/>
              </a:rPr>
              <a:t>Productivity.</a:t>
            </a:r>
            <a:endParaRPr lang="sv-SE" sz="1100" dirty="0">
              <a:effectLst/>
              <a:latin typeface="Arial MT"/>
              <a:ea typeface="Symbol" panose="05050102010706020507" pitchFamily="18" charset="2"/>
              <a:cs typeface="Symbol" panose="05050102010706020507" pitchFamily="18" charset="2"/>
            </a:endParaRPr>
          </a:p>
          <a:p>
            <a:pPr>
              <a:spcBef>
                <a:spcPts val="10"/>
              </a:spcBef>
            </a:pPr>
            <a:r>
              <a:rPr lang="en-US" sz="1300" dirty="0">
                <a:effectLst/>
                <a:latin typeface="Arial MT"/>
                <a:ea typeface="Arial MT"/>
                <a:cs typeface="Arial MT"/>
              </a:rPr>
              <a:t> </a:t>
            </a:r>
            <a:endParaRPr lang="sv-SE" sz="1100" dirty="0">
              <a:effectLst/>
              <a:latin typeface="Arial MT"/>
              <a:ea typeface="Arial MT"/>
              <a:cs typeface="Arial MT"/>
            </a:endParaRPr>
          </a:p>
          <a:p>
            <a:pPr marL="1143000" lvl="2" indent="-228600">
              <a:buSzPts val="1100"/>
              <a:buFont typeface="Symbol" panose="05050102010706020507" pitchFamily="18" charset="2"/>
              <a:buChar char=""/>
              <a:tabLst>
                <a:tab pos="528955" algn="l"/>
                <a:tab pos="529590" algn="l"/>
              </a:tabLst>
            </a:pPr>
            <a:r>
              <a:rPr lang="en-US" sz="1100" dirty="0">
                <a:effectLst/>
                <a:latin typeface="Arial MT"/>
                <a:ea typeface="Symbol" panose="05050102010706020507" pitchFamily="18" charset="2"/>
                <a:cs typeface="Symbol" panose="05050102010706020507" pitchFamily="18" charset="2"/>
              </a:rPr>
              <a:t>Quality.</a:t>
            </a:r>
            <a:endParaRPr lang="sv-SE" sz="1100" dirty="0">
              <a:effectLst/>
              <a:latin typeface="Arial MT"/>
              <a:ea typeface="Symbol" panose="05050102010706020507" pitchFamily="18" charset="2"/>
              <a:cs typeface="Symbol" panose="05050102010706020507" pitchFamily="18" charset="2"/>
            </a:endParaRPr>
          </a:p>
          <a:p>
            <a:pPr>
              <a:spcBef>
                <a:spcPts val="15"/>
              </a:spcBef>
            </a:pPr>
            <a:r>
              <a:rPr lang="en-US" sz="1300" dirty="0">
                <a:effectLst/>
                <a:latin typeface="Arial MT"/>
                <a:ea typeface="Arial MT"/>
                <a:cs typeface="Arial MT"/>
              </a:rPr>
              <a:t> </a:t>
            </a:r>
            <a:endParaRPr lang="sv-SE" sz="1100" dirty="0">
              <a:effectLst/>
              <a:latin typeface="Arial MT"/>
              <a:ea typeface="Arial MT"/>
              <a:cs typeface="Arial MT"/>
            </a:endParaRPr>
          </a:p>
          <a:p>
            <a:pPr marL="1143000" lvl="2" indent="-228600">
              <a:buSzPts val="1100"/>
              <a:buFont typeface="Symbol" panose="05050102010706020507" pitchFamily="18" charset="2"/>
              <a:buChar char=""/>
              <a:tabLst>
                <a:tab pos="528955" algn="l"/>
                <a:tab pos="529590" algn="l"/>
              </a:tabLst>
            </a:pPr>
            <a:r>
              <a:rPr lang="en-US" sz="1100" dirty="0">
                <a:effectLst/>
                <a:latin typeface="Arial MT"/>
                <a:ea typeface="Symbol" panose="05050102010706020507" pitchFamily="18" charset="2"/>
                <a:cs typeface="Symbol" panose="05050102010706020507" pitchFamily="18" charset="2"/>
              </a:rPr>
              <a:t>Safety.</a:t>
            </a:r>
            <a:endParaRPr lang="sv-SE" sz="1100" dirty="0">
              <a:effectLst/>
              <a:latin typeface="Arial MT"/>
              <a:ea typeface="Symbol" panose="05050102010706020507" pitchFamily="18" charset="2"/>
              <a:cs typeface="Symbol" panose="05050102010706020507" pitchFamily="18" charset="2"/>
            </a:endParaRPr>
          </a:p>
          <a:p>
            <a:pPr>
              <a:spcBef>
                <a:spcPts val="15"/>
              </a:spcBef>
            </a:pPr>
            <a:r>
              <a:rPr lang="en-US" sz="1300" dirty="0">
                <a:effectLst/>
                <a:latin typeface="Arial MT"/>
                <a:ea typeface="Arial MT"/>
                <a:cs typeface="Arial MT"/>
              </a:rPr>
              <a:t> </a:t>
            </a:r>
            <a:endParaRPr lang="sv-SE" sz="1100" dirty="0">
              <a:effectLst/>
              <a:latin typeface="Arial MT"/>
              <a:ea typeface="Arial MT"/>
              <a:cs typeface="Arial MT"/>
            </a:endParaRPr>
          </a:p>
          <a:p>
            <a:pPr marL="1143000" lvl="2" indent="-228600">
              <a:buSzPts val="1100"/>
              <a:buFont typeface="Symbol" panose="05050102010706020507" pitchFamily="18" charset="2"/>
              <a:buChar char=""/>
              <a:tabLst>
                <a:tab pos="528955" algn="l"/>
                <a:tab pos="529590" algn="l"/>
              </a:tabLst>
            </a:pPr>
            <a:r>
              <a:rPr lang="en-US" sz="1100" dirty="0">
                <a:effectLst/>
                <a:latin typeface="Arial MT"/>
                <a:ea typeface="Symbol" panose="05050102010706020507" pitchFamily="18" charset="2"/>
                <a:cs typeface="Symbol" panose="05050102010706020507" pitchFamily="18" charset="2"/>
              </a:rPr>
              <a:t>Costs.</a:t>
            </a:r>
            <a:endParaRPr lang="sv-SE" sz="1100" dirty="0">
              <a:effectLst/>
              <a:latin typeface="Arial MT"/>
              <a:ea typeface="Symbol" panose="05050102010706020507" pitchFamily="18" charset="2"/>
              <a:cs typeface="Symbol" panose="05050102010706020507" pitchFamily="18" charset="2"/>
            </a:endParaRPr>
          </a:p>
          <a:p>
            <a:pPr>
              <a:spcBef>
                <a:spcPts val="10"/>
              </a:spcBef>
            </a:pPr>
            <a:r>
              <a:rPr lang="en-US" sz="1300" dirty="0">
                <a:effectLst/>
                <a:latin typeface="Arial MT"/>
                <a:ea typeface="Arial MT"/>
                <a:cs typeface="Arial MT"/>
              </a:rPr>
              <a:t> </a:t>
            </a:r>
            <a:endParaRPr lang="sv-SE" sz="1100" dirty="0">
              <a:effectLst/>
              <a:latin typeface="Arial MT"/>
              <a:ea typeface="Arial MT"/>
              <a:cs typeface="Arial MT"/>
            </a:endParaRPr>
          </a:p>
          <a:p>
            <a:pPr marL="1143000" lvl="2" indent="-228600">
              <a:spcBef>
                <a:spcPts val="5"/>
              </a:spcBef>
              <a:spcAft>
                <a:spcPts val="0"/>
              </a:spcAft>
              <a:buSzPts val="1100"/>
              <a:buFont typeface="Symbol" panose="05050102010706020507" pitchFamily="18" charset="2"/>
              <a:buChar char=""/>
              <a:tabLst>
                <a:tab pos="528955" algn="l"/>
                <a:tab pos="529590" algn="l"/>
              </a:tabLst>
            </a:pPr>
            <a:r>
              <a:rPr lang="en-US" sz="1100" dirty="0">
                <a:effectLst/>
                <a:latin typeface="Arial MT"/>
                <a:ea typeface="Symbol" panose="05050102010706020507" pitchFamily="18" charset="2"/>
                <a:cs typeface="Symbol" panose="05050102010706020507" pitchFamily="18" charset="2"/>
              </a:rPr>
              <a:t>Reject</a:t>
            </a:r>
            <a:r>
              <a:rPr lang="en-US" sz="1100" spc="-10" dirty="0">
                <a:effectLst/>
                <a:latin typeface="Arial MT"/>
                <a:ea typeface="Symbol" panose="05050102010706020507" pitchFamily="18" charset="2"/>
                <a:cs typeface="Symbol" panose="05050102010706020507" pitchFamily="18" charset="2"/>
              </a:rPr>
              <a:t> </a:t>
            </a:r>
            <a:r>
              <a:rPr lang="en-US" sz="1100" dirty="0">
                <a:effectLst/>
                <a:latin typeface="Arial MT"/>
                <a:ea typeface="Symbol" panose="05050102010706020507" pitchFamily="18" charset="2"/>
                <a:cs typeface="Symbol" panose="05050102010706020507" pitchFamily="18" charset="2"/>
              </a:rPr>
              <a:t>ratio.</a:t>
            </a:r>
            <a:endParaRPr lang="sv-SE" sz="1100" dirty="0">
              <a:effectLst/>
              <a:latin typeface="Arial MT"/>
              <a:ea typeface="Symbol" panose="05050102010706020507" pitchFamily="18" charset="2"/>
              <a:cs typeface="Symbol" panose="05050102010706020507" pitchFamily="18" charset="2"/>
            </a:endParaRPr>
          </a:p>
          <a:p>
            <a:pPr>
              <a:spcBef>
                <a:spcPts val="10"/>
              </a:spcBef>
            </a:pPr>
            <a:r>
              <a:rPr lang="en-US" sz="1300" dirty="0">
                <a:effectLst/>
                <a:latin typeface="Arial MT"/>
                <a:ea typeface="Arial MT"/>
                <a:cs typeface="Arial MT"/>
              </a:rPr>
              <a:t> </a:t>
            </a:r>
            <a:endParaRPr lang="sv-SE" sz="1100" dirty="0">
              <a:effectLst/>
              <a:latin typeface="Arial MT"/>
              <a:ea typeface="Arial MT"/>
              <a:cs typeface="Arial MT"/>
            </a:endParaRPr>
          </a:p>
          <a:p>
            <a:pPr marL="1143000" lvl="2" indent="-228600">
              <a:buSzPts val="1100"/>
              <a:buFont typeface="Symbol" panose="05050102010706020507" pitchFamily="18" charset="2"/>
              <a:buChar char=""/>
              <a:tabLst>
                <a:tab pos="528955" algn="l"/>
                <a:tab pos="529590" algn="l"/>
              </a:tabLst>
            </a:pPr>
            <a:r>
              <a:rPr lang="en-US" sz="1100" dirty="0">
                <a:effectLst/>
                <a:latin typeface="Arial MT"/>
                <a:ea typeface="Symbol" panose="05050102010706020507" pitchFamily="18" charset="2"/>
                <a:cs typeface="Symbol" panose="05050102010706020507" pitchFamily="18" charset="2"/>
              </a:rPr>
              <a:t>Downtime,</a:t>
            </a:r>
            <a:r>
              <a:rPr lang="en-US" sz="1100" spc="-15" dirty="0">
                <a:effectLst/>
                <a:latin typeface="Arial MT"/>
                <a:ea typeface="Symbol" panose="05050102010706020507" pitchFamily="18" charset="2"/>
                <a:cs typeface="Symbol" panose="05050102010706020507" pitchFamily="18" charset="2"/>
              </a:rPr>
              <a:t> </a:t>
            </a:r>
            <a:r>
              <a:rPr lang="en-US" sz="1100" dirty="0">
                <a:effectLst/>
                <a:latin typeface="Arial MT"/>
                <a:ea typeface="Symbol" panose="05050102010706020507" pitchFamily="18" charset="2"/>
                <a:cs typeface="Symbol" panose="05050102010706020507" pitchFamily="18" charset="2"/>
              </a:rPr>
              <a:t>planned</a:t>
            </a:r>
            <a:r>
              <a:rPr lang="en-US" sz="1100" spc="-10" dirty="0">
                <a:effectLst/>
                <a:latin typeface="Arial MT"/>
                <a:ea typeface="Symbol" panose="05050102010706020507" pitchFamily="18" charset="2"/>
                <a:cs typeface="Symbol" panose="05050102010706020507" pitchFamily="18" charset="2"/>
              </a:rPr>
              <a:t> </a:t>
            </a:r>
            <a:r>
              <a:rPr lang="en-US" sz="1100" dirty="0">
                <a:effectLst/>
                <a:latin typeface="Arial MT"/>
                <a:ea typeface="Symbol" panose="05050102010706020507" pitchFamily="18" charset="2"/>
                <a:cs typeface="Symbol" panose="05050102010706020507" pitchFamily="18" charset="2"/>
              </a:rPr>
              <a:t>and</a:t>
            </a:r>
            <a:r>
              <a:rPr lang="en-US" sz="1100" spc="-15" dirty="0">
                <a:effectLst/>
                <a:latin typeface="Arial MT"/>
                <a:ea typeface="Symbol" panose="05050102010706020507" pitchFamily="18" charset="2"/>
                <a:cs typeface="Symbol" panose="05050102010706020507" pitchFamily="18" charset="2"/>
              </a:rPr>
              <a:t> </a:t>
            </a:r>
            <a:r>
              <a:rPr lang="en-US" sz="1100" dirty="0">
                <a:effectLst/>
                <a:latin typeface="Arial MT"/>
                <a:ea typeface="Symbol" panose="05050102010706020507" pitchFamily="18" charset="2"/>
                <a:cs typeface="Symbol" panose="05050102010706020507" pitchFamily="18" charset="2"/>
              </a:rPr>
              <a:t>unplanned.</a:t>
            </a:r>
            <a:endParaRPr lang="sv-SE" sz="1100" dirty="0">
              <a:effectLst/>
              <a:latin typeface="Arial MT"/>
              <a:ea typeface="Symbol" panose="05050102010706020507" pitchFamily="18" charset="2"/>
              <a:cs typeface="Symbol" panose="05050102010706020507" pitchFamily="18" charset="2"/>
            </a:endParaRPr>
          </a:p>
          <a:p>
            <a:pPr>
              <a:spcBef>
                <a:spcPts val="15"/>
              </a:spcBef>
            </a:pPr>
            <a:r>
              <a:rPr lang="en-US" sz="1300" dirty="0">
                <a:effectLst/>
                <a:latin typeface="Arial MT"/>
                <a:ea typeface="Arial MT"/>
                <a:cs typeface="Arial MT"/>
              </a:rPr>
              <a:t> </a:t>
            </a:r>
            <a:endParaRPr lang="sv-SE" sz="1100" dirty="0">
              <a:effectLst/>
              <a:latin typeface="Arial MT"/>
              <a:ea typeface="Arial MT"/>
              <a:cs typeface="Arial MT"/>
            </a:endParaRPr>
          </a:p>
          <a:p>
            <a:pPr marL="72390" marR="210185" algn="just">
              <a:lnSpc>
                <a:spcPct val="125000"/>
              </a:lnSpc>
              <a:spcAft>
                <a:spcPts val="0"/>
              </a:spcAft>
            </a:pPr>
            <a:r>
              <a:rPr lang="en-US" sz="1100" dirty="0">
                <a:effectLst/>
                <a:latin typeface="Arial MT"/>
                <a:ea typeface="Arial MT"/>
                <a:cs typeface="Arial MT"/>
              </a:rPr>
              <a:t>Safety, quality, reject ratio and downtime are not expected to be affected by the RETROFEED</a:t>
            </a:r>
            <a:r>
              <a:rPr lang="en-US" sz="1100" spc="5" dirty="0">
                <a:effectLst/>
                <a:latin typeface="Arial MT"/>
                <a:ea typeface="Arial MT"/>
                <a:cs typeface="Arial MT"/>
              </a:rPr>
              <a:t> </a:t>
            </a:r>
            <a:r>
              <a:rPr lang="en-US" sz="1100" dirty="0">
                <a:effectLst/>
                <a:latin typeface="Arial MT"/>
                <a:ea typeface="Arial MT"/>
                <a:cs typeface="Arial MT"/>
              </a:rPr>
              <a:t>project. Nevertheless, it is important to make sure that deviations do not occur as a result of</a:t>
            </a:r>
            <a:r>
              <a:rPr lang="en-US" sz="1100" spc="5" dirty="0">
                <a:effectLst/>
                <a:latin typeface="Arial MT"/>
                <a:ea typeface="Arial MT"/>
                <a:cs typeface="Arial MT"/>
              </a:rPr>
              <a:t> </a:t>
            </a:r>
            <a:r>
              <a:rPr lang="en-US" sz="1100" dirty="0">
                <a:effectLst/>
                <a:latin typeface="Arial MT"/>
                <a:ea typeface="Arial MT"/>
                <a:cs typeface="Arial MT"/>
              </a:rPr>
              <a:t>RETROFEED</a:t>
            </a:r>
            <a:r>
              <a:rPr lang="en-US" sz="1100" spc="-5" dirty="0">
                <a:effectLst/>
                <a:latin typeface="Arial MT"/>
                <a:ea typeface="Arial MT"/>
                <a:cs typeface="Arial MT"/>
              </a:rPr>
              <a:t> </a:t>
            </a:r>
            <a:r>
              <a:rPr lang="en-US" sz="1100" dirty="0">
                <a:effectLst/>
                <a:latin typeface="Arial MT"/>
                <a:ea typeface="Arial MT"/>
                <a:cs typeface="Arial MT"/>
              </a:rPr>
              <a:t>modifications.</a:t>
            </a:r>
            <a:endParaRPr lang="sv-SE" sz="1100" dirty="0">
              <a:effectLst/>
              <a:latin typeface="Arial MT"/>
              <a:ea typeface="Arial MT"/>
              <a:cs typeface="Arial MT"/>
            </a:endParaRPr>
          </a:p>
          <a:p>
            <a:pPr>
              <a:spcBef>
                <a:spcPts val="55"/>
              </a:spcBef>
            </a:pPr>
            <a:endParaRPr lang="sv-SE" sz="1800" dirty="0">
              <a:effectLst/>
              <a:latin typeface="Arial MT"/>
              <a:ea typeface="Arial MT"/>
              <a:cs typeface="Arial MT"/>
            </a:endParaRPr>
          </a:p>
          <a:p>
            <a:endParaRPr lang="sv-SE" dirty="0"/>
          </a:p>
        </p:txBody>
      </p:sp>
      <p:sp>
        <p:nvSpPr>
          <p:cNvPr id="4" name="Slide Number Placeholder 3"/>
          <p:cNvSpPr>
            <a:spLocks noGrp="1"/>
          </p:cNvSpPr>
          <p:nvPr>
            <p:ph type="sldNum" sz="quarter" idx="5"/>
          </p:nvPr>
        </p:nvSpPr>
        <p:spPr/>
        <p:txBody>
          <a:bodyPr/>
          <a:lstStyle/>
          <a:p>
            <a:fld id="{F84DB91F-1AD8-437C-8866-3636784D0854}" type="slidenum">
              <a:rPr lang="en-GB" smtClean="0"/>
              <a:t>72</a:t>
            </a:fld>
            <a:endParaRPr lang="en-GB"/>
          </a:p>
        </p:txBody>
      </p:sp>
    </p:spTree>
    <p:extLst>
      <p:ext uri="{BB962C8B-B14F-4D97-AF65-F5344CB8AC3E}">
        <p14:creationId xmlns:p14="http://schemas.microsoft.com/office/powerpoint/2010/main" val="3074418757"/>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en-US" sz="1200" b="0" kern="1200">
                <a:solidFill>
                  <a:srgbClr val="FFFFFF"/>
                </a:solidFill>
                <a:latin typeface="+mj-lt"/>
                <a:ea typeface="+mj-ea"/>
                <a:cs typeface="+mj-cs"/>
              </a:rPr>
              <a:t>Expected Impacts in RETROFEED in terms of some of the selected KRIs and KPA. </a:t>
            </a:r>
            <a:endParaRPr lang="sv-SE" b="0"/>
          </a:p>
        </p:txBody>
      </p:sp>
      <p:sp>
        <p:nvSpPr>
          <p:cNvPr id="4" name="Platshållare för bildnummer 3"/>
          <p:cNvSpPr>
            <a:spLocks noGrp="1"/>
          </p:cNvSpPr>
          <p:nvPr>
            <p:ph type="sldNum" sz="quarter" idx="5"/>
          </p:nvPr>
        </p:nvSpPr>
        <p:spPr/>
        <p:txBody>
          <a:bodyPr/>
          <a:lstStyle/>
          <a:p>
            <a:fld id="{F84DB91F-1AD8-437C-8866-3636784D0854}" type="slidenum">
              <a:rPr lang="en-GB" smtClean="0"/>
              <a:t>73</a:t>
            </a:fld>
            <a:endParaRPr lang="en-GB"/>
          </a:p>
        </p:txBody>
      </p:sp>
    </p:spTree>
    <p:extLst>
      <p:ext uri="{BB962C8B-B14F-4D97-AF65-F5344CB8AC3E}">
        <p14:creationId xmlns:p14="http://schemas.microsoft.com/office/powerpoint/2010/main" val="3169220704"/>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84DB91F-1AD8-437C-8866-3636784D0854}" type="slidenum">
              <a:rPr lang="en-GB" smtClean="0"/>
              <a:t>74</a:t>
            </a:fld>
            <a:endParaRPr lang="en-GB"/>
          </a:p>
        </p:txBody>
      </p:sp>
    </p:spTree>
    <p:extLst>
      <p:ext uri="{BB962C8B-B14F-4D97-AF65-F5344CB8AC3E}">
        <p14:creationId xmlns:p14="http://schemas.microsoft.com/office/powerpoint/2010/main" val="3878138479"/>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GEO feel free to change the graphics of this slide</a:t>
            </a:r>
          </a:p>
        </p:txBody>
      </p:sp>
      <p:sp>
        <p:nvSpPr>
          <p:cNvPr id="4" name="Slide Number Placeholder 3"/>
          <p:cNvSpPr>
            <a:spLocks noGrp="1"/>
          </p:cNvSpPr>
          <p:nvPr>
            <p:ph type="sldNum" sz="quarter" idx="5"/>
          </p:nvPr>
        </p:nvSpPr>
        <p:spPr/>
        <p:txBody>
          <a:bodyPr/>
          <a:lstStyle/>
          <a:p>
            <a:fld id="{F84DB91F-1AD8-437C-8866-3636784D0854}" type="slidenum">
              <a:rPr lang="en-GB" smtClean="0"/>
              <a:t>75</a:t>
            </a:fld>
            <a:endParaRPr lang="en-GB"/>
          </a:p>
        </p:txBody>
      </p:sp>
    </p:spTree>
    <p:extLst>
      <p:ext uri="{BB962C8B-B14F-4D97-AF65-F5344CB8AC3E}">
        <p14:creationId xmlns:p14="http://schemas.microsoft.com/office/powerpoint/2010/main" val="1489495105"/>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F84DB91F-1AD8-437C-8866-3636784D0854}" type="slidenum">
              <a:rPr lang="en-GB" smtClean="0"/>
              <a:t>76</a:t>
            </a:fld>
            <a:endParaRPr lang="en-GB"/>
          </a:p>
        </p:txBody>
      </p:sp>
    </p:spTree>
    <p:extLst>
      <p:ext uri="{BB962C8B-B14F-4D97-AF65-F5344CB8AC3E}">
        <p14:creationId xmlns:p14="http://schemas.microsoft.com/office/powerpoint/2010/main" val="16727060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b="0" i="0" u="none" strike="noStrike" baseline="0">
                <a:solidFill>
                  <a:srgbClr val="000000"/>
                </a:solidFill>
                <a:latin typeface="Arial" panose="020B0604020202020204" pitchFamily="34" charset="0"/>
              </a:rPr>
              <a:t>ETS: https://climate.ec.europa.eu/eu-action/eu-emissions-trading-system-eu-ets_en</a:t>
            </a:r>
          </a:p>
          <a:p>
            <a:endParaRPr lang="en-US" sz="1800" b="0" i="0" u="none" strike="noStrike" baseline="0">
              <a:solidFill>
                <a:srgbClr val="000000"/>
              </a:solidFill>
              <a:latin typeface="Arial" panose="020B0604020202020204" pitchFamily="34" charset="0"/>
            </a:endParaRPr>
          </a:p>
          <a:p>
            <a:endParaRPr lang="sv-S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4DB91F-1AD8-437C-8866-3636784D085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85068270"/>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dirty="0"/>
              <a:t>In </a:t>
            </a:r>
            <a:r>
              <a:rPr lang="sv-SE" dirty="0" err="1"/>
              <a:t>chapter</a:t>
            </a:r>
            <a:r>
              <a:rPr lang="sv-SE" dirty="0"/>
              <a:t> 4.1. </a:t>
            </a:r>
            <a:r>
              <a:rPr lang="sv-SE" dirty="0" err="1"/>
              <a:t>we</a:t>
            </a:r>
            <a:r>
              <a:rPr lang="sv-SE" dirty="0"/>
              <a:t> </a:t>
            </a:r>
            <a:r>
              <a:rPr lang="sv-SE" dirty="0" err="1"/>
              <a:t>will</a:t>
            </a:r>
            <a:r>
              <a:rPr lang="sv-SE" dirty="0"/>
              <a:t> go </a:t>
            </a:r>
            <a:r>
              <a:rPr lang="sv-SE" dirty="0" err="1"/>
              <a:t>through</a:t>
            </a:r>
            <a:r>
              <a:rPr lang="sv-SE" dirty="0"/>
              <a:t> </a:t>
            </a:r>
            <a:r>
              <a:rPr lang="sv-SE" dirty="0" err="1"/>
              <a:t>what</a:t>
            </a:r>
            <a:r>
              <a:rPr lang="sv-SE" dirty="0"/>
              <a:t> digital </a:t>
            </a:r>
            <a:r>
              <a:rPr lang="sv-SE" dirty="0" err="1"/>
              <a:t>readiness</a:t>
            </a:r>
            <a:r>
              <a:rPr lang="sv-SE" dirty="0"/>
              <a:t> </a:t>
            </a:r>
            <a:r>
              <a:rPr lang="sv-SE" dirty="0" err="1"/>
              <a:t>level</a:t>
            </a:r>
            <a:r>
              <a:rPr lang="sv-SE" dirty="0"/>
              <a:t> </a:t>
            </a:r>
            <a:r>
              <a:rPr lang="sv-SE" dirty="0" err="1"/>
              <a:t>means</a:t>
            </a:r>
            <a:r>
              <a:rPr lang="sv-SE" dirty="0"/>
              <a:t>, and </a:t>
            </a:r>
            <a:r>
              <a:rPr lang="sv-SE" dirty="0" err="1"/>
              <a:t>why</a:t>
            </a:r>
            <a:r>
              <a:rPr lang="sv-SE" dirty="0"/>
              <a:t> it is </a:t>
            </a:r>
            <a:r>
              <a:rPr lang="sv-SE" dirty="0" err="1"/>
              <a:t>done</a:t>
            </a:r>
            <a:r>
              <a:rPr lang="sv-SE" dirty="0"/>
              <a:t>. </a:t>
            </a:r>
          </a:p>
          <a:p>
            <a:pPr marL="0" marR="0" lvl="0" indent="0" algn="l" defTabSz="914400" rtl="0" eaLnBrk="1" fontAlgn="auto" latinLnBrk="0" hangingPunct="1">
              <a:lnSpc>
                <a:spcPct val="100000"/>
              </a:lnSpc>
              <a:spcBef>
                <a:spcPts val="0"/>
              </a:spcBef>
              <a:spcAft>
                <a:spcPts val="0"/>
              </a:spcAft>
              <a:buClrTx/>
              <a:buSzTx/>
              <a:buFontTx/>
              <a:buNone/>
              <a:tabLst/>
              <a:defRPr/>
            </a:pPr>
            <a:r>
              <a:rPr lang="sv-SE" dirty="0"/>
              <a:t>In </a:t>
            </a:r>
            <a:r>
              <a:rPr lang="sv-SE" dirty="0" err="1"/>
              <a:t>chapter</a:t>
            </a:r>
            <a:r>
              <a:rPr lang="sv-SE" dirty="0"/>
              <a:t> 4.2 </a:t>
            </a:r>
            <a:r>
              <a:rPr lang="sv-SE" dirty="0" err="1"/>
              <a:t>you</a:t>
            </a:r>
            <a:r>
              <a:rPr lang="sv-SE" dirty="0"/>
              <a:t> </a:t>
            </a:r>
            <a:r>
              <a:rPr lang="sv-SE" dirty="0" err="1"/>
              <a:t>will</a:t>
            </a:r>
            <a:r>
              <a:rPr lang="sv-SE" dirty="0"/>
              <a:t> </a:t>
            </a:r>
            <a:r>
              <a:rPr lang="sv-SE" dirty="0" err="1"/>
              <a:t>learn</a:t>
            </a:r>
            <a:r>
              <a:rPr lang="sv-SE" dirty="0"/>
              <a:t> </a:t>
            </a:r>
            <a:r>
              <a:rPr lang="sv-SE" dirty="0" err="1"/>
              <a:t>about</a:t>
            </a:r>
            <a:r>
              <a:rPr lang="sv-SE" dirty="0"/>
              <a:t> digital </a:t>
            </a:r>
            <a:r>
              <a:rPr lang="sv-SE" dirty="0" err="1"/>
              <a:t>twins</a:t>
            </a:r>
            <a:r>
              <a:rPr lang="sv-SE" dirty="0"/>
              <a:t> and the </a:t>
            </a:r>
            <a:r>
              <a:rPr lang="sv-SE" dirty="0" err="1"/>
              <a:t>basics</a:t>
            </a:r>
            <a:r>
              <a:rPr lang="sv-SE" dirty="0"/>
              <a:t> to </a:t>
            </a:r>
            <a:r>
              <a:rPr lang="sv-SE" dirty="0" err="1"/>
              <a:t>create</a:t>
            </a:r>
            <a:r>
              <a:rPr lang="sv-SE" dirty="0"/>
              <a:t> </a:t>
            </a:r>
            <a:r>
              <a:rPr lang="sv-SE" dirty="0" err="1"/>
              <a:t>one</a:t>
            </a:r>
            <a:r>
              <a:rPr lang="sv-SE" dirty="0"/>
              <a:t>. Digital </a:t>
            </a:r>
            <a:r>
              <a:rPr lang="sv-SE" dirty="0" err="1"/>
              <a:t>twins</a:t>
            </a:r>
            <a:r>
              <a:rPr lang="sv-SE" dirty="0"/>
              <a:t> </a:t>
            </a:r>
            <a:r>
              <a:rPr lang="sv-SE" dirty="0" err="1"/>
              <a:t>are</a:t>
            </a:r>
            <a:r>
              <a:rPr lang="sv-SE" dirty="0"/>
              <a:t> </a:t>
            </a:r>
            <a:r>
              <a:rPr lang="sv-SE" dirty="0" err="1"/>
              <a:t>integrated</a:t>
            </a:r>
            <a:r>
              <a:rPr lang="sv-SE" dirty="0"/>
              <a:t> </a:t>
            </a:r>
            <a:r>
              <a:rPr lang="sv-SE" dirty="0" err="1"/>
              <a:t>into</a:t>
            </a:r>
            <a:r>
              <a:rPr lang="sv-SE" dirty="0"/>
              <a:t> a decision support system </a:t>
            </a:r>
            <a:r>
              <a:rPr lang="sv-SE" dirty="0" err="1"/>
              <a:t>when</a:t>
            </a:r>
            <a:r>
              <a:rPr lang="sv-SE" dirty="0"/>
              <a:t> </a:t>
            </a:r>
            <a:r>
              <a:rPr lang="sv-SE" dirty="0" err="1"/>
              <a:t>implementing</a:t>
            </a:r>
            <a:r>
              <a:rPr lang="sv-SE" dirty="0"/>
              <a:t> the </a:t>
            </a:r>
            <a:r>
              <a:rPr lang="sv-SE" dirty="0" err="1"/>
              <a:t>retrofeed</a:t>
            </a:r>
            <a:r>
              <a:rPr lang="sv-SE" dirty="0"/>
              <a:t> solution. </a:t>
            </a:r>
          </a:p>
          <a:p>
            <a:pPr marL="0" marR="0" lvl="0" indent="0" algn="l" defTabSz="914400" rtl="0" eaLnBrk="1" fontAlgn="auto" latinLnBrk="0" hangingPunct="1">
              <a:lnSpc>
                <a:spcPct val="100000"/>
              </a:lnSpc>
              <a:spcBef>
                <a:spcPts val="0"/>
              </a:spcBef>
              <a:spcAft>
                <a:spcPts val="0"/>
              </a:spcAft>
              <a:buClrTx/>
              <a:buSzTx/>
              <a:buFontTx/>
              <a:buNone/>
              <a:tabLst/>
              <a:defRPr/>
            </a:pPr>
            <a:r>
              <a:rPr lang="sv-SE" dirty="0"/>
              <a:t>In </a:t>
            </a:r>
            <a:r>
              <a:rPr lang="sv-SE" dirty="0" err="1"/>
              <a:t>chapter</a:t>
            </a:r>
            <a:r>
              <a:rPr lang="sv-SE" dirty="0"/>
              <a:t> 4.3 an </a:t>
            </a:r>
            <a:r>
              <a:rPr lang="sv-SE" dirty="0" err="1"/>
              <a:t>example</a:t>
            </a:r>
            <a:r>
              <a:rPr lang="sv-SE" dirty="0"/>
              <a:t> </a:t>
            </a:r>
            <a:r>
              <a:rPr lang="sv-SE" dirty="0" err="1"/>
              <a:t>of</a:t>
            </a:r>
            <a:r>
              <a:rPr lang="sv-SE" dirty="0"/>
              <a:t> digital </a:t>
            </a:r>
            <a:r>
              <a:rPr lang="sv-SE" dirty="0" err="1"/>
              <a:t>twin</a:t>
            </a:r>
            <a:r>
              <a:rPr lang="sv-SE" dirty="0"/>
              <a:t> for the </a:t>
            </a:r>
            <a:r>
              <a:rPr lang="sv-SE" dirty="0" err="1"/>
              <a:t>agrochemical</a:t>
            </a:r>
            <a:r>
              <a:rPr lang="sv-SE" dirty="0"/>
              <a:t> </a:t>
            </a:r>
            <a:r>
              <a:rPr lang="sv-SE" dirty="0" err="1"/>
              <a:t>sector</a:t>
            </a:r>
            <a:r>
              <a:rPr lang="sv-SE" dirty="0"/>
              <a:t> is </a:t>
            </a:r>
            <a:r>
              <a:rPr lang="sv-SE" dirty="0" err="1"/>
              <a:t>presented</a:t>
            </a:r>
            <a:r>
              <a:rPr lang="sv-SE" dirty="0"/>
              <a:t>.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i="0" dirty="0">
              <a:solidFill>
                <a:srgbClr val="333333"/>
              </a:solidFill>
              <a:effectLst/>
              <a:latin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i="0" dirty="0">
              <a:solidFill>
                <a:srgbClr val="333333"/>
              </a:solidFill>
              <a:effectLst/>
              <a:latin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i="0" dirty="0">
              <a:solidFill>
                <a:srgbClr val="333333"/>
              </a:solidFill>
              <a:effectLst/>
              <a:latin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0" dirty="0">
                <a:solidFill>
                  <a:srgbClr val="333333"/>
                </a:solidFill>
                <a:effectLst/>
                <a:latin typeface="Arial" panose="020B0604020202020204" pitchFamily="34" charset="0"/>
              </a:rPr>
              <a:t>Nina notes, erase later: </a:t>
            </a:r>
          </a:p>
          <a:p>
            <a:pPr marL="0" indent="0">
              <a:buFont typeface="Arial" panose="020B0604020202020204" pitchFamily="34" charset="0"/>
              <a:buNone/>
            </a:pPr>
            <a:endParaRPr lang="en-US" sz="1200" b="0" i="0" dirty="0">
              <a:solidFill>
                <a:srgbClr val="333333"/>
              </a:solidFill>
              <a:effectLst/>
              <a:latin typeface="Arial" panose="020B0604020202020204" pitchFamily="34" charset="0"/>
            </a:endParaRPr>
          </a:p>
          <a:p>
            <a:pPr marL="0" indent="0">
              <a:buFont typeface="Arial" panose="020B0604020202020204" pitchFamily="34" charset="0"/>
              <a:buNone/>
            </a:pPr>
            <a:r>
              <a:rPr lang="en-US" sz="1200" b="0" i="0" dirty="0">
                <a:solidFill>
                  <a:srgbClr val="333333"/>
                </a:solidFill>
                <a:effectLst/>
                <a:latin typeface="Arial" panose="020B0604020202020204" pitchFamily="34" charset="0"/>
              </a:rPr>
              <a:t>Concrete actions.. </a:t>
            </a:r>
          </a:p>
          <a:p>
            <a:pPr marL="1028700" lvl="1" indent="-571500">
              <a:lnSpc>
                <a:spcPct val="150000"/>
              </a:lnSpc>
              <a:buFont typeface="Arial" panose="020B0604020202020204" pitchFamily="34" charset="0"/>
              <a:buChar char="•"/>
            </a:pPr>
            <a:r>
              <a:rPr lang="en-AU" sz="1200" kern="100" dirty="0">
                <a:solidFill>
                  <a:srgbClr val="404040"/>
                </a:solidFill>
                <a:effectLst/>
                <a:latin typeface="Arial (body)"/>
                <a:ea typeface="Noto Sans CJK SC"/>
                <a:cs typeface="Lohit Devanagari"/>
              </a:rPr>
              <a:t>Development</a:t>
            </a:r>
            <a:r>
              <a:rPr lang="sv-SE" sz="1200" kern="100" dirty="0">
                <a:solidFill>
                  <a:srgbClr val="404040"/>
                </a:solidFill>
                <a:effectLst/>
                <a:latin typeface="Arial (body)"/>
                <a:ea typeface="Noto Sans CJK SC"/>
                <a:cs typeface="Lohit Devanagari"/>
              </a:rPr>
              <a:t> </a:t>
            </a:r>
            <a:r>
              <a:rPr lang="sv-SE" sz="1200" kern="100" dirty="0" err="1">
                <a:solidFill>
                  <a:srgbClr val="404040"/>
                </a:solidFill>
                <a:effectLst/>
                <a:latin typeface="Arial (body)"/>
                <a:ea typeface="Noto Sans CJK SC"/>
                <a:cs typeface="Lohit Devanagari"/>
              </a:rPr>
              <a:t>of</a:t>
            </a:r>
            <a:r>
              <a:rPr lang="sv-SE" sz="1200" kern="100" dirty="0">
                <a:solidFill>
                  <a:srgbClr val="404040"/>
                </a:solidFill>
                <a:effectLst/>
                <a:latin typeface="Arial (body)"/>
                <a:ea typeface="Noto Sans CJK SC"/>
                <a:cs typeface="Lohit Devanagari"/>
              </a:rPr>
              <a:t> </a:t>
            </a:r>
            <a:r>
              <a:rPr lang="sv-SE" sz="1200" b="1" kern="100" dirty="0">
                <a:solidFill>
                  <a:srgbClr val="404040"/>
                </a:solidFill>
                <a:effectLst/>
                <a:latin typeface="Arial (body)"/>
                <a:ea typeface="Noto Sans CJK SC"/>
                <a:cs typeface="Lohit Devanagari"/>
              </a:rPr>
              <a:t>digital </a:t>
            </a:r>
            <a:r>
              <a:rPr lang="sv-SE" sz="1200" b="1" kern="100" dirty="0" err="1">
                <a:solidFill>
                  <a:srgbClr val="404040"/>
                </a:solidFill>
                <a:effectLst/>
                <a:latin typeface="Arial (body)"/>
                <a:ea typeface="Noto Sans CJK SC"/>
                <a:cs typeface="Lohit Devanagari"/>
              </a:rPr>
              <a:t>twins</a:t>
            </a:r>
            <a:r>
              <a:rPr lang="sv-SE" sz="1200" b="1" kern="100" dirty="0">
                <a:solidFill>
                  <a:srgbClr val="404040"/>
                </a:solidFill>
                <a:effectLst/>
                <a:latin typeface="Arial (body)"/>
                <a:ea typeface="Noto Sans CJK SC"/>
                <a:cs typeface="Lohit Devanagari"/>
              </a:rPr>
              <a:t> </a:t>
            </a:r>
            <a:r>
              <a:rPr lang="sv-SE" sz="1200" kern="100" dirty="0" err="1">
                <a:solidFill>
                  <a:srgbClr val="404040"/>
                </a:solidFill>
                <a:effectLst/>
                <a:latin typeface="Arial (body)"/>
                <a:ea typeface="Noto Sans CJK SC"/>
                <a:cs typeface="Lohit Devanagari"/>
              </a:rPr>
              <a:t>of</a:t>
            </a:r>
            <a:r>
              <a:rPr lang="sv-SE" sz="1200" kern="100" dirty="0">
                <a:solidFill>
                  <a:srgbClr val="404040"/>
                </a:solidFill>
                <a:effectLst/>
                <a:latin typeface="Arial (body)"/>
                <a:ea typeface="Noto Sans CJK SC"/>
                <a:cs typeface="Lohit Devanagari"/>
              </a:rPr>
              <a:t> the </a:t>
            </a:r>
            <a:r>
              <a:rPr lang="sv-SE" sz="1200" kern="100" dirty="0" err="1">
                <a:solidFill>
                  <a:srgbClr val="404040"/>
                </a:solidFill>
                <a:effectLst/>
                <a:latin typeface="Arial (body)"/>
                <a:ea typeface="Noto Sans CJK SC"/>
                <a:cs typeface="Lohit Devanagari"/>
              </a:rPr>
              <a:t>core</a:t>
            </a:r>
            <a:r>
              <a:rPr lang="sv-SE" sz="1200" kern="100" dirty="0">
                <a:solidFill>
                  <a:srgbClr val="404040"/>
                </a:solidFill>
                <a:effectLst/>
                <a:latin typeface="Arial (body)"/>
                <a:ea typeface="Noto Sans CJK SC"/>
                <a:cs typeface="Lohit Devanagari"/>
              </a:rPr>
              <a:t> process to be </a:t>
            </a:r>
            <a:r>
              <a:rPr lang="en-GB" sz="1200" kern="100" dirty="0">
                <a:solidFill>
                  <a:srgbClr val="404040"/>
                </a:solidFill>
                <a:effectLst/>
                <a:latin typeface="Arial (body)"/>
                <a:ea typeface="Noto Sans CJK SC"/>
                <a:cs typeface="Lohit Devanagari"/>
              </a:rPr>
              <a:t>retrofitted.</a:t>
            </a:r>
          </a:p>
          <a:p>
            <a:pPr marL="1028700" lvl="1" indent="-571500">
              <a:lnSpc>
                <a:spcPct val="150000"/>
              </a:lnSpc>
              <a:buFont typeface="Arial" panose="020B0604020202020204" pitchFamily="34" charset="0"/>
              <a:buChar char="•"/>
            </a:pPr>
            <a:r>
              <a:rPr lang="en-GB" sz="1200" kern="100" dirty="0">
                <a:solidFill>
                  <a:srgbClr val="404040"/>
                </a:solidFill>
                <a:latin typeface="Arial (body)"/>
                <a:ea typeface="Noto Sans CJK SC"/>
                <a:cs typeface="Lohit Devanagari"/>
              </a:rPr>
              <a:t>Implement circular economy by introducing by-products and waste streams as </a:t>
            </a:r>
            <a:r>
              <a:rPr lang="en-GB" sz="1200" b="1" kern="100" dirty="0">
                <a:solidFill>
                  <a:srgbClr val="404040"/>
                </a:solidFill>
                <a:latin typeface="Arial (body)"/>
                <a:ea typeface="Noto Sans CJK SC"/>
                <a:cs typeface="Lohit Devanagari"/>
              </a:rPr>
              <a:t>alternative feedstock.</a:t>
            </a:r>
          </a:p>
          <a:p>
            <a:pPr marL="1028700" lvl="1" indent="-571500">
              <a:lnSpc>
                <a:spcPct val="150000"/>
              </a:lnSpc>
              <a:buFont typeface="Arial" panose="020B0604020202020204" pitchFamily="34" charset="0"/>
              <a:buChar char="•"/>
            </a:pPr>
            <a:r>
              <a:rPr lang="en-US" sz="1200" b="1" kern="100" dirty="0">
                <a:solidFill>
                  <a:srgbClr val="404040"/>
                </a:solidFill>
                <a:latin typeface="Arial (body)"/>
                <a:ea typeface="Noto Sans CJK SC"/>
                <a:cs typeface="Lohit Devanagari"/>
              </a:rPr>
              <a:t>A</a:t>
            </a:r>
            <a:r>
              <a:rPr lang="en-US" sz="1200" b="1" kern="100" dirty="0">
                <a:solidFill>
                  <a:srgbClr val="404040"/>
                </a:solidFill>
                <a:effectLst/>
                <a:latin typeface="Arial (body)"/>
                <a:ea typeface="Noto Sans CJK SC"/>
                <a:cs typeface="Lohit Devanagari"/>
              </a:rPr>
              <a:t>dapt equipment </a:t>
            </a:r>
            <a:r>
              <a:rPr lang="en-US" sz="1200" kern="100" dirty="0">
                <a:solidFill>
                  <a:srgbClr val="404040"/>
                </a:solidFill>
                <a:effectLst/>
                <a:latin typeface="Arial (body)"/>
                <a:ea typeface="Noto Sans CJK SC"/>
                <a:cs typeface="Lohit Devanagari"/>
              </a:rPr>
              <a:t>for the provision and use of bio-based and recycled feedstock whether as fuel or raw material, thus replacing traditional feedstock</a:t>
            </a:r>
            <a:r>
              <a:rPr lang="sv-SE" sz="1200" kern="100" dirty="0">
                <a:solidFill>
                  <a:srgbClr val="404040"/>
                </a:solidFill>
                <a:effectLst/>
                <a:latin typeface="Arial (body)"/>
                <a:ea typeface="Noto Sans CJK SC"/>
                <a:cs typeface="Lohit Devanagari"/>
              </a:rPr>
              <a:t>.</a:t>
            </a:r>
          </a:p>
          <a:p>
            <a:pPr marL="1028700" lvl="1" indent="-571500">
              <a:lnSpc>
                <a:spcPct val="150000"/>
              </a:lnSpc>
              <a:buFont typeface="Arial" panose="020B0604020202020204" pitchFamily="34" charset="0"/>
              <a:buChar char="•"/>
            </a:pPr>
            <a:r>
              <a:rPr lang="sv-SE" sz="1200" kern="100" dirty="0" err="1">
                <a:solidFill>
                  <a:srgbClr val="404040"/>
                </a:solidFill>
                <a:latin typeface="Arial (body)"/>
                <a:ea typeface="Noto Sans CJK SC"/>
                <a:cs typeface="Lohit Devanagari"/>
              </a:rPr>
              <a:t>Improve</a:t>
            </a:r>
            <a:r>
              <a:rPr lang="sv-SE" sz="1200" kern="100" dirty="0">
                <a:solidFill>
                  <a:srgbClr val="404040"/>
                </a:solidFill>
                <a:latin typeface="Arial (body)"/>
                <a:ea typeface="Noto Sans CJK SC"/>
                <a:cs typeface="Lohit Devanagari"/>
              </a:rPr>
              <a:t> the</a:t>
            </a:r>
            <a:r>
              <a:rPr lang="sv-SE" sz="1200" b="1" kern="100" dirty="0">
                <a:solidFill>
                  <a:srgbClr val="404040"/>
                </a:solidFill>
                <a:latin typeface="Arial (body)"/>
                <a:ea typeface="Noto Sans CJK SC"/>
                <a:cs typeface="Lohit Devanagari"/>
              </a:rPr>
              <a:t> </a:t>
            </a:r>
            <a:r>
              <a:rPr lang="sv-SE" sz="1200" b="1" kern="100" dirty="0" err="1">
                <a:solidFill>
                  <a:srgbClr val="404040"/>
                </a:solidFill>
                <a:latin typeface="Arial (body)"/>
                <a:ea typeface="Noto Sans CJK SC"/>
                <a:cs typeface="Lohit Devanagari"/>
              </a:rPr>
              <a:t>control</a:t>
            </a:r>
            <a:r>
              <a:rPr lang="sv-SE" sz="1200" b="1" kern="100" dirty="0">
                <a:solidFill>
                  <a:srgbClr val="404040"/>
                </a:solidFill>
                <a:latin typeface="Arial (body)"/>
                <a:ea typeface="Noto Sans CJK SC"/>
                <a:cs typeface="Lohit Devanagari"/>
              </a:rPr>
              <a:t> system </a:t>
            </a:r>
            <a:r>
              <a:rPr lang="sv-SE" sz="1200" kern="100" dirty="0" err="1">
                <a:solidFill>
                  <a:srgbClr val="404040"/>
                </a:solidFill>
                <a:latin typeface="Arial (body)"/>
                <a:ea typeface="Noto Sans CJK SC"/>
                <a:cs typeface="Lohit Devanagari"/>
              </a:rPr>
              <a:t>of</a:t>
            </a:r>
            <a:r>
              <a:rPr lang="sv-SE" sz="1200" kern="100" dirty="0">
                <a:solidFill>
                  <a:srgbClr val="404040"/>
                </a:solidFill>
                <a:latin typeface="Arial (body)"/>
                <a:ea typeface="Noto Sans CJK SC"/>
                <a:cs typeface="Lohit Devanagari"/>
              </a:rPr>
              <a:t> the </a:t>
            </a:r>
            <a:r>
              <a:rPr lang="sv-SE" sz="1200" kern="100" dirty="0" err="1">
                <a:solidFill>
                  <a:srgbClr val="404040"/>
                </a:solidFill>
                <a:latin typeface="Arial (body)"/>
                <a:ea typeface="Noto Sans CJK SC"/>
                <a:cs typeface="Lohit Devanagari"/>
              </a:rPr>
              <a:t>retrofitted</a:t>
            </a:r>
            <a:r>
              <a:rPr lang="sv-SE" sz="1200" kern="100" dirty="0">
                <a:solidFill>
                  <a:srgbClr val="404040"/>
                </a:solidFill>
                <a:latin typeface="Arial (body)"/>
                <a:ea typeface="Noto Sans CJK SC"/>
                <a:cs typeface="Lohit Devanagari"/>
              </a:rPr>
              <a:t> </a:t>
            </a:r>
            <a:r>
              <a:rPr lang="sv-SE" sz="1200" kern="100" dirty="0" err="1">
                <a:solidFill>
                  <a:srgbClr val="404040"/>
                </a:solidFill>
                <a:latin typeface="Arial (body)"/>
                <a:ea typeface="Noto Sans CJK SC"/>
                <a:cs typeface="Lohit Devanagari"/>
              </a:rPr>
              <a:t>processess</a:t>
            </a:r>
            <a:r>
              <a:rPr lang="sv-SE" sz="1200" kern="100" dirty="0">
                <a:solidFill>
                  <a:srgbClr val="404040"/>
                </a:solidFill>
                <a:latin typeface="Arial (body)"/>
                <a:ea typeface="Noto Sans CJK SC"/>
                <a:cs typeface="Lohit Devanagari"/>
              </a:rPr>
              <a:t>.</a:t>
            </a:r>
          </a:p>
          <a:p>
            <a:pPr marL="1028700" lvl="1" indent="-571500">
              <a:lnSpc>
                <a:spcPct val="150000"/>
              </a:lnSpc>
              <a:buFont typeface="Arial" panose="020B0604020202020204" pitchFamily="34" charset="0"/>
              <a:buChar char="•"/>
            </a:pPr>
            <a:r>
              <a:rPr lang="en-US" sz="1200" kern="100" dirty="0">
                <a:solidFill>
                  <a:srgbClr val="404040"/>
                </a:solidFill>
                <a:latin typeface="Arial (body)"/>
                <a:ea typeface="Noto Sans CJK SC"/>
                <a:cs typeface="Lohit Devanagari"/>
              </a:rPr>
              <a:t>Develop a </a:t>
            </a:r>
            <a:r>
              <a:rPr lang="en-US" sz="1200" b="1" kern="100" dirty="0">
                <a:solidFill>
                  <a:srgbClr val="404040"/>
                </a:solidFill>
                <a:latin typeface="Arial (body)"/>
                <a:ea typeface="Noto Sans CJK SC"/>
                <a:cs typeface="Lohit Devanagari"/>
              </a:rPr>
              <a:t>Decision Support System</a:t>
            </a:r>
            <a:r>
              <a:rPr lang="en-US" sz="1200" kern="100" dirty="0">
                <a:solidFill>
                  <a:srgbClr val="404040"/>
                </a:solidFill>
                <a:latin typeface="Arial (body)"/>
                <a:ea typeface="Noto Sans CJK SC"/>
                <a:cs typeface="Lohit Devanagari"/>
              </a:rPr>
              <a:t> for assessing the best retrofitting options and operation plan of the improved processes. </a:t>
            </a:r>
          </a:p>
          <a:p>
            <a:pPr marL="0" indent="0">
              <a:buFont typeface="Arial" panose="020B0604020202020204" pitchFamily="34" charset="0"/>
              <a:buNone/>
            </a:pPr>
            <a:endParaRPr lang="en-US" sz="1200" b="0" i="0" dirty="0">
              <a:solidFill>
                <a:srgbClr val="333333"/>
              </a:solidFill>
              <a:effectLst/>
              <a:latin typeface="Arial" panose="020B0604020202020204" pitchFamily="34" charset="0"/>
            </a:endParaRPr>
          </a:p>
          <a:p>
            <a:pPr marL="0" indent="0">
              <a:buFont typeface="Arial" panose="020B0604020202020204" pitchFamily="34" charset="0"/>
              <a:buNone/>
            </a:pPr>
            <a:r>
              <a:rPr lang="en-US" sz="1200" b="1" i="0" dirty="0">
                <a:solidFill>
                  <a:srgbClr val="333333"/>
                </a:solidFill>
                <a:effectLst/>
                <a:latin typeface="Arial" panose="020B0604020202020204" pitchFamily="34" charset="0"/>
              </a:rPr>
              <a:t>Is it possible to draw a flowchart of the steps to do the retrofitting/</a:t>
            </a:r>
            <a:r>
              <a:rPr lang="en-US" sz="1200" b="1" i="0" dirty="0" err="1">
                <a:solidFill>
                  <a:srgbClr val="333333"/>
                </a:solidFill>
                <a:effectLst/>
                <a:latin typeface="Arial" panose="020B0604020202020204" pitchFamily="34" charset="0"/>
              </a:rPr>
              <a:t>retrofeed</a:t>
            </a:r>
            <a:r>
              <a:rPr lang="en-US" sz="1200" b="1" i="0" dirty="0">
                <a:solidFill>
                  <a:srgbClr val="333333"/>
                </a:solidFill>
                <a:effectLst/>
                <a:latin typeface="Arial" panose="020B0604020202020204" pitchFamily="34" charset="0"/>
              </a:rPr>
              <a:t>? /Nina</a:t>
            </a:r>
          </a:p>
          <a:p>
            <a:pPr marL="0" indent="0">
              <a:buFont typeface="Arial" panose="020B0604020202020204" pitchFamily="34" charset="0"/>
              <a:buNone/>
            </a:pPr>
            <a:endParaRPr lang="en-US" sz="1200" b="0" i="0" dirty="0">
              <a:solidFill>
                <a:srgbClr val="333333"/>
              </a:solidFill>
              <a:effectLst/>
              <a:latin typeface="Arial" panose="020B0604020202020204" pitchFamily="34" charset="0"/>
            </a:endParaRPr>
          </a:p>
          <a:p>
            <a:pPr marL="457200" indent="-457200">
              <a:buFont typeface="Arial" panose="020B0604020202020204" pitchFamily="34" charset="0"/>
              <a:buChar char="•"/>
            </a:pPr>
            <a:r>
              <a:rPr lang="en-US" sz="1200" b="0" i="0" dirty="0">
                <a:solidFill>
                  <a:srgbClr val="333333"/>
                </a:solidFill>
                <a:effectLst/>
                <a:latin typeface="Arial" panose="020B0604020202020204" pitchFamily="34" charset="0"/>
              </a:rPr>
              <a:t>What are the latest developments in digital twins for industrial processes?</a:t>
            </a:r>
          </a:p>
          <a:p>
            <a:pPr marL="457200" indent="-457200">
              <a:buFont typeface="Arial" panose="020B0604020202020204" pitchFamily="34" charset="0"/>
              <a:buChar char="•"/>
            </a:pPr>
            <a:r>
              <a:rPr lang="en-US" sz="1200" dirty="0">
                <a:solidFill>
                  <a:srgbClr val="333333"/>
                </a:solidFill>
                <a:latin typeface="Arial" panose="020B0604020202020204" pitchFamily="34" charset="0"/>
              </a:rPr>
              <a:t>How can a digital Decision Support System be used to </a:t>
            </a:r>
            <a:r>
              <a:rPr lang="sv-SE" sz="1200" dirty="0">
                <a:solidFill>
                  <a:srgbClr val="333333"/>
                </a:solidFill>
                <a:latin typeface="Arial" panose="020B0604020202020204" pitchFamily="34" charset="0"/>
              </a:rPr>
              <a:t>monitor, </a:t>
            </a:r>
            <a:r>
              <a:rPr lang="sv-SE" sz="1200" dirty="0" err="1">
                <a:solidFill>
                  <a:srgbClr val="333333"/>
                </a:solidFill>
                <a:latin typeface="Arial" panose="020B0604020202020204" pitchFamily="34" charset="0"/>
              </a:rPr>
              <a:t>analyze</a:t>
            </a:r>
            <a:r>
              <a:rPr lang="sv-SE" sz="1200" dirty="0">
                <a:solidFill>
                  <a:srgbClr val="333333"/>
                </a:solidFill>
                <a:latin typeface="Arial" panose="020B0604020202020204" pitchFamily="34" charset="0"/>
              </a:rPr>
              <a:t> and </a:t>
            </a:r>
            <a:r>
              <a:rPr lang="sv-SE" sz="1200" dirty="0" err="1">
                <a:solidFill>
                  <a:srgbClr val="333333"/>
                </a:solidFill>
                <a:latin typeface="Arial" panose="020B0604020202020204" pitchFamily="34" charset="0"/>
              </a:rPr>
              <a:t>simulate</a:t>
            </a:r>
            <a:r>
              <a:rPr lang="sv-SE" sz="1200" dirty="0">
                <a:solidFill>
                  <a:srgbClr val="333333"/>
                </a:solidFill>
                <a:latin typeface="Arial" panose="020B0604020202020204" pitchFamily="34" charset="0"/>
              </a:rPr>
              <a:t> </a:t>
            </a:r>
            <a:r>
              <a:rPr lang="en-US" sz="1200" dirty="0">
                <a:solidFill>
                  <a:srgbClr val="333333"/>
                </a:solidFill>
                <a:latin typeface="Arial" panose="020B0604020202020204" pitchFamily="34" charset="0"/>
              </a:rPr>
              <a:t>the potential impact of retrofitting solutions?</a:t>
            </a: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dirty="0">
                <a:effectLst/>
                <a:latin typeface="Arial (Textkörper (komplexe Sch"/>
                <a:ea typeface="SimSun" panose="02010600030101010101" pitchFamily="2" charset="-122"/>
                <a:cs typeface="Arial" panose="020B0604020202020204" pitchFamily="34" charset="0"/>
              </a:rPr>
              <a:t>To provide knowledge on methods for </a:t>
            </a:r>
            <a:r>
              <a:rPr lang="en-US" sz="1200" b="0" i="0" dirty="0">
                <a:solidFill>
                  <a:srgbClr val="000000"/>
                </a:solidFill>
                <a:effectLst/>
                <a:latin typeface="Arial" panose="020B0604020202020204" pitchFamily="34" charset="0"/>
              </a:rPr>
              <a:t>assessing the best retrofitting options to achieve a high impact over the whole production chain, for example Decision Support System and Life Cycle Analysis.</a:t>
            </a:r>
            <a:endParaRPr lang="en-US" sz="1200" dirty="0">
              <a:solidFill>
                <a:srgbClr val="333333"/>
              </a:solidFill>
              <a:latin typeface="Arial" panose="020B0604020202020204" pitchFamily="34" charset="0"/>
            </a:endParaRPr>
          </a:p>
          <a:p>
            <a:endParaRPr lang="sv-SE" dirty="0"/>
          </a:p>
          <a:p>
            <a:endParaRPr lang="sv-SE" dirty="0"/>
          </a:p>
          <a:p>
            <a:r>
              <a:rPr lang="sv-SE" dirty="0"/>
              <a:t>Introtext: </a:t>
            </a:r>
          </a:p>
        </p:txBody>
      </p:sp>
      <p:sp>
        <p:nvSpPr>
          <p:cNvPr id="4" name="Platshållare för bildnummer 3"/>
          <p:cNvSpPr>
            <a:spLocks noGrp="1"/>
          </p:cNvSpPr>
          <p:nvPr>
            <p:ph type="sldNum" sz="quarter" idx="5"/>
          </p:nvPr>
        </p:nvSpPr>
        <p:spPr/>
        <p:txBody>
          <a:bodyPr/>
          <a:lstStyle/>
          <a:p>
            <a:fld id="{F84DB91F-1AD8-437C-8866-3636784D0854}" type="slidenum">
              <a:rPr lang="en-GB" smtClean="0"/>
              <a:t>78</a:t>
            </a:fld>
            <a:endParaRPr lang="en-GB"/>
          </a:p>
        </p:txBody>
      </p:sp>
    </p:spTree>
    <p:extLst>
      <p:ext uri="{BB962C8B-B14F-4D97-AF65-F5344CB8AC3E}">
        <p14:creationId xmlns:p14="http://schemas.microsoft.com/office/powerpoint/2010/main" val="1432997742"/>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dirty="0"/>
              <a:t>In </a:t>
            </a:r>
            <a:r>
              <a:rPr lang="sv-SE" dirty="0" err="1"/>
              <a:t>chapter</a:t>
            </a:r>
            <a:r>
              <a:rPr lang="sv-SE" dirty="0"/>
              <a:t> 4.1. </a:t>
            </a:r>
            <a:r>
              <a:rPr lang="sv-SE" dirty="0" err="1"/>
              <a:t>we</a:t>
            </a:r>
            <a:r>
              <a:rPr lang="sv-SE" dirty="0"/>
              <a:t> </a:t>
            </a:r>
            <a:r>
              <a:rPr lang="sv-SE" dirty="0" err="1"/>
              <a:t>will</a:t>
            </a:r>
            <a:r>
              <a:rPr lang="sv-SE" dirty="0"/>
              <a:t> go </a:t>
            </a:r>
            <a:r>
              <a:rPr lang="sv-SE" dirty="0" err="1"/>
              <a:t>through</a:t>
            </a:r>
            <a:r>
              <a:rPr lang="sv-SE" dirty="0"/>
              <a:t> </a:t>
            </a:r>
            <a:r>
              <a:rPr lang="sv-SE" dirty="0" err="1"/>
              <a:t>what</a:t>
            </a:r>
            <a:r>
              <a:rPr lang="sv-SE" dirty="0"/>
              <a:t> digital </a:t>
            </a:r>
            <a:r>
              <a:rPr lang="sv-SE" dirty="0" err="1"/>
              <a:t>readiness</a:t>
            </a:r>
            <a:r>
              <a:rPr lang="sv-SE" dirty="0"/>
              <a:t> </a:t>
            </a:r>
            <a:r>
              <a:rPr lang="sv-SE" dirty="0" err="1"/>
              <a:t>level</a:t>
            </a:r>
            <a:r>
              <a:rPr lang="sv-SE" dirty="0"/>
              <a:t> </a:t>
            </a:r>
            <a:r>
              <a:rPr lang="sv-SE" dirty="0" err="1"/>
              <a:t>means</a:t>
            </a:r>
            <a:r>
              <a:rPr lang="sv-SE" dirty="0"/>
              <a:t>, and </a:t>
            </a:r>
            <a:r>
              <a:rPr lang="sv-SE" dirty="0" err="1"/>
              <a:t>why</a:t>
            </a:r>
            <a:r>
              <a:rPr lang="sv-SE" dirty="0"/>
              <a:t> it is </a:t>
            </a:r>
            <a:r>
              <a:rPr lang="sv-SE" dirty="0" err="1"/>
              <a:t>done</a:t>
            </a:r>
            <a:r>
              <a:rPr lang="sv-SE" dirty="0"/>
              <a:t>. </a:t>
            </a:r>
          </a:p>
          <a:p>
            <a:pPr marL="0" marR="0" lvl="0" indent="0" algn="l" defTabSz="914400" rtl="0" eaLnBrk="1" fontAlgn="auto" latinLnBrk="0" hangingPunct="1">
              <a:lnSpc>
                <a:spcPct val="100000"/>
              </a:lnSpc>
              <a:spcBef>
                <a:spcPts val="0"/>
              </a:spcBef>
              <a:spcAft>
                <a:spcPts val="0"/>
              </a:spcAft>
              <a:buClrTx/>
              <a:buSzTx/>
              <a:buFontTx/>
              <a:buNone/>
              <a:tabLst/>
              <a:defRPr/>
            </a:pPr>
            <a:r>
              <a:rPr lang="sv-SE" dirty="0"/>
              <a:t>In </a:t>
            </a:r>
            <a:r>
              <a:rPr lang="sv-SE" dirty="0" err="1"/>
              <a:t>chapter</a:t>
            </a:r>
            <a:r>
              <a:rPr lang="sv-SE" dirty="0"/>
              <a:t> 4.2 </a:t>
            </a:r>
            <a:r>
              <a:rPr lang="sv-SE" dirty="0" err="1"/>
              <a:t>you</a:t>
            </a:r>
            <a:r>
              <a:rPr lang="sv-SE" dirty="0"/>
              <a:t> </a:t>
            </a:r>
            <a:r>
              <a:rPr lang="sv-SE" dirty="0" err="1"/>
              <a:t>will</a:t>
            </a:r>
            <a:r>
              <a:rPr lang="sv-SE" dirty="0"/>
              <a:t> </a:t>
            </a:r>
            <a:r>
              <a:rPr lang="sv-SE" dirty="0" err="1"/>
              <a:t>learn</a:t>
            </a:r>
            <a:r>
              <a:rPr lang="sv-SE" dirty="0"/>
              <a:t> </a:t>
            </a:r>
            <a:r>
              <a:rPr lang="sv-SE" dirty="0" err="1"/>
              <a:t>about</a:t>
            </a:r>
            <a:r>
              <a:rPr lang="sv-SE" dirty="0"/>
              <a:t> digital </a:t>
            </a:r>
            <a:r>
              <a:rPr lang="sv-SE" dirty="0" err="1"/>
              <a:t>twins</a:t>
            </a:r>
            <a:r>
              <a:rPr lang="sv-SE" dirty="0"/>
              <a:t> and the </a:t>
            </a:r>
            <a:r>
              <a:rPr lang="sv-SE" dirty="0" err="1"/>
              <a:t>basics</a:t>
            </a:r>
            <a:r>
              <a:rPr lang="sv-SE" dirty="0"/>
              <a:t> to </a:t>
            </a:r>
            <a:r>
              <a:rPr lang="sv-SE" dirty="0" err="1"/>
              <a:t>create</a:t>
            </a:r>
            <a:r>
              <a:rPr lang="sv-SE" dirty="0"/>
              <a:t> </a:t>
            </a:r>
            <a:r>
              <a:rPr lang="sv-SE" dirty="0" err="1"/>
              <a:t>one</a:t>
            </a:r>
            <a:r>
              <a:rPr lang="sv-SE" dirty="0"/>
              <a:t>. Digital </a:t>
            </a:r>
            <a:r>
              <a:rPr lang="sv-SE" dirty="0" err="1"/>
              <a:t>twins</a:t>
            </a:r>
            <a:r>
              <a:rPr lang="sv-SE" dirty="0"/>
              <a:t> </a:t>
            </a:r>
            <a:r>
              <a:rPr lang="sv-SE" dirty="0" err="1"/>
              <a:t>are</a:t>
            </a:r>
            <a:r>
              <a:rPr lang="sv-SE" dirty="0"/>
              <a:t> </a:t>
            </a:r>
            <a:r>
              <a:rPr lang="sv-SE" dirty="0" err="1"/>
              <a:t>integrated</a:t>
            </a:r>
            <a:r>
              <a:rPr lang="sv-SE" dirty="0"/>
              <a:t> </a:t>
            </a:r>
            <a:r>
              <a:rPr lang="sv-SE" dirty="0" err="1"/>
              <a:t>into</a:t>
            </a:r>
            <a:r>
              <a:rPr lang="sv-SE" dirty="0"/>
              <a:t> a decision support system </a:t>
            </a:r>
            <a:r>
              <a:rPr lang="sv-SE" dirty="0" err="1"/>
              <a:t>when</a:t>
            </a:r>
            <a:r>
              <a:rPr lang="sv-SE" dirty="0"/>
              <a:t> </a:t>
            </a:r>
            <a:r>
              <a:rPr lang="sv-SE" dirty="0" err="1"/>
              <a:t>implementing</a:t>
            </a:r>
            <a:r>
              <a:rPr lang="sv-SE" dirty="0"/>
              <a:t> the </a:t>
            </a:r>
            <a:r>
              <a:rPr lang="sv-SE" dirty="0" err="1"/>
              <a:t>retrofeed</a:t>
            </a:r>
            <a:r>
              <a:rPr lang="sv-SE" dirty="0"/>
              <a:t> solution. </a:t>
            </a:r>
          </a:p>
          <a:p>
            <a:pPr marL="0" marR="0" lvl="0" indent="0" algn="l" defTabSz="914400" rtl="0" eaLnBrk="1" fontAlgn="auto" latinLnBrk="0" hangingPunct="1">
              <a:lnSpc>
                <a:spcPct val="100000"/>
              </a:lnSpc>
              <a:spcBef>
                <a:spcPts val="0"/>
              </a:spcBef>
              <a:spcAft>
                <a:spcPts val="0"/>
              </a:spcAft>
              <a:buClrTx/>
              <a:buSzTx/>
              <a:buFontTx/>
              <a:buNone/>
              <a:tabLst/>
              <a:defRPr/>
            </a:pPr>
            <a:r>
              <a:rPr lang="sv-SE" dirty="0"/>
              <a:t>In </a:t>
            </a:r>
            <a:r>
              <a:rPr lang="sv-SE" dirty="0" err="1"/>
              <a:t>chapter</a:t>
            </a:r>
            <a:r>
              <a:rPr lang="sv-SE" dirty="0"/>
              <a:t> 4.3 an </a:t>
            </a:r>
            <a:r>
              <a:rPr lang="sv-SE" dirty="0" err="1"/>
              <a:t>example</a:t>
            </a:r>
            <a:r>
              <a:rPr lang="sv-SE" dirty="0"/>
              <a:t> </a:t>
            </a:r>
            <a:r>
              <a:rPr lang="sv-SE" dirty="0" err="1"/>
              <a:t>of</a:t>
            </a:r>
            <a:r>
              <a:rPr lang="sv-SE" dirty="0"/>
              <a:t> digital </a:t>
            </a:r>
            <a:r>
              <a:rPr lang="sv-SE" dirty="0" err="1"/>
              <a:t>twin</a:t>
            </a:r>
            <a:r>
              <a:rPr lang="sv-SE" dirty="0"/>
              <a:t> for the </a:t>
            </a:r>
            <a:r>
              <a:rPr lang="sv-SE" dirty="0" err="1"/>
              <a:t>agrochemical</a:t>
            </a:r>
            <a:r>
              <a:rPr lang="sv-SE" dirty="0"/>
              <a:t> </a:t>
            </a:r>
            <a:r>
              <a:rPr lang="sv-SE" dirty="0" err="1"/>
              <a:t>sector</a:t>
            </a:r>
            <a:r>
              <a:rPr lang="sv-SE" dirty="0"/>
              <a:t> is </a:t>
            </a:r>
            <a:r>
              <a:rPr lang="sv-SE" dirty="0" err="1"/>
              <a:t>presented</a:t>
            </a:r>
            <a:r>
              <a:rPr lang="sv-SE" dirty="0"/>
              <a:t>.  </a:t>
            </a:r>
          </a:p>
          <a:p>
            <a:endParaRPr lang="sv-S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4DB91F-1AD8-437C-8866-3636784D085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8391688"/>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a:t>The </a:t>
            </a:r>
            <a:r>
              <a:rPr lang="sv-SE" err="1"/>
              <a:t>first</a:t>
            </a:r>
            <a:r>
              <a:rPr lang="sv-SE"/>
              <a:t> step to check </a:t>
            </a:r>
            <a:r>
              <a:rPr lang="sv-SE" err="1"/>
              <a:t>whether</a:t>
            </a:r>
            <a:r>
              <a:rPr lang="sv-SE"/>
              <a:t> the plant is </a:t>
            </a:r>
            <a:r>
              <a:rPr lang="sv-SE" err="1"/>
              <a:t>able</a:t>
            </a:r>
            <a:r>
              <a:rPr lang="sv-SE"/>
              <a:t> to </a:t>
            </a:r>
            <a:r>
              <a:rPr lang="sv-SE" err="1"/>
              <a:t>implement</a:t>
            </a:r>
            <a:r>
              <a:rPr lang="sv-SE"/>
              <a:t> </a:t>
            </a:r>
            <a:r>
              <a:rPr lang="sv-SE" err="1"/>
              <a:t>retrofeed</a:t>
            </a:r>
            <a:r>
              <a:rPr lang="sv-SE"/>
              <a:t> solutions is to check the digital </a:t>
            </a:r>
            <a:r>
              <a:rPr lang="sv-SE" err="1"/>
              <a:t>readiness</a:t>
            </a:r>
            <a:r>
              <a:rPr lang="sv-SE"/>
              <a:t> </a:t>
            </a:r>
            <a:r>
              <a:rPr lang="sv-SE" err="1"/>
              <a:t>level</a:t>
            </a:r>
            <a:r>
              <a:rPr lang="sv-SE"/>
              <a:t> </a:t>
            </a:r>
            <a:r>
              <a:rPr lang="sv-SE" err="1"/>
              <a:t>which</a:t>
            </a:r>
            <a:r>
              <a:rPr lang="sv-SE"/>
              <a:t> is </a:t>
            </a:r>
            <a:r>
              <a:rPr lang="sv-SE" err="1"/>
              <a:t>defined</a:t>
            </a:r>
            <a:r>
              <a:rPr lang="sv-SE"/>
              <a:t> and </a:t>
            </a:r>
            <a:r>
              <a:rPr lang="sv-SE" err="1"/>
              <a:t>described</a:t>
            </a:r>
            <a:r>
              <a:rPr lang="sv-SE"/>
              <a:t> in </a:t>
            </a:r>
            <a:r>
              <a:rPr lang="sv-SE" err="1"/>
              <a:t>this</a:t>
            </a:r>
            <a:r>
              <a:rPr lang="sv-SE"/>
              <a:t> </a:t>
            </a:r>
            <a:r>
              <a:rPr lang="sv-SE" err="1"/>
              <a:t>chapter</a:t>
            </a:r>
            <a:r>
              <a:rPr lang="sv-SE"/>
              <a:t>.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4DB91F-1AD8-437C-8866-3636784D085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0947477"/>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b="0" i="0" u="none" strike="noStrike" baseline="0" dirty="0">
                <a:solidFill>
                  <a:srgbClr val="000000"/>
                </a:solidFill>
                <a:latin typeface="Arial" panose="020B0604020202020204" pitchFamily="34" charset="0"/>
              </a:rPr>
              <a:t>European resource- and energy-intensive industries aiming to replicate RETROFEED solutions need to be “RETROFEED-Ready” to avoid process disruptions or unplanned product quality variations. This requires the use of an advanced monitoring and control system and a Decision </a:t>
            </a:r>
            <a:r>
              <a:rPr lang="en-US" sz="1800" b="0" i="0" u="none" strike="noStrike" baseline="0" dirty="0" err="1">
                <a:solidFill>
                  <a:srgbClr val="000000"/>
                </a:solidFill>
                <a:latin typeface="Arial" panose="020B0604020202020204" pitchFamily="34" charset="0"/>
              </a:rPr>
              <a:t>Suport</a:t>
            </a:r>
            <a:r>
              <a:rPr lang="en-US" sz="1800" b="0" i="0" u="none" strike="noStrike" baseline="0" dirty="0">
                <a:solidFill>
                  <a:srgbClr val="000000"/>
                </a:solidFill>
                <a:latin typeface="Arial" panose="020B0604020202020204" pitchFamily="34" charset="0"/>
              </a:rPr>
              <a:t> System (DSS) which also includes the ability to collect certain information (data capture, ….) as well as skilled staff to use such systems. </a:t>
            </a:r>
          </a:p>
          <a:p>
            <a:endParaRPr lang="en-US" sz="1800" b="0" i="0" u="none" strike="noStrike" baseline="0" dirty="0">
              <a:solidFill>
                <a:srgbClr val="000000"/>
              </a:solidFill>
              <a:latin typeface="Arial" panose="020B0604020202020204" pitchFamily="34" charset="0"/>
            </a:endParaRPr>
          </a:p>
          <a:p>
            <a:r>
              <a:rPr lang="en-US" sz="1800" b="0" i="0" u="none" strike="noStrike" baseline="0" dirty="0">
                <a:solidFill>
                  <a:srgbClr val="000000"/>
                </a:solidFill>
                <a:latin typeface="Arial" panose="020B0604020202020204" pitchFamily="34" charset="0"/>
              </a:rPr>
              <a:t>The digital maturity level shows great variations not only between sectors but also within ranging from industry 1.0 to industry 4.0 with the latter using advanced optimization and analytical tools as required for RETROFEED solutions. </a:t>
            </a:r>
          </a:p>
          <a:p>
            <a:endParaRPr lang="en-US" sz="1800" b="0" i="0" u="none" strike="noStrike" baseline="0" dirty="0">
              <a:solidFill>
                <a:srgbClr val="000000"/>
              </a:solidFill>
              <a:latin typeface="Arial" panose="020B0604020202020204" pitchFamily="34" charset="0"/>
            </a:endParaRPr>
          </a:p>
          <a:p>
            <a:r>
              <a:rPr lang="en-US" sz="1800" b="0" i="0" u="none" strike="noStrike" baseline="0" dirty="0">
                <a:solidFill>
                  <a:srgbClr val="000000"/>
                </a:solidFill>
                <a:latin typeface="Arial" panose="020B0604020202020204" pitchFamily="34" charset="0"/>
              </a:rPr>
              <a:t>The intention behind outlining a RETROFEED Digital Readiness Level (hereinafter RF-DRL) is to leverage the well-known and accepted readiness level concept for the RETROFEED replication methodology and for engagement activities with stakeholders being able to: </a:t>
            </a:r>
          </a:p>
          <a:p>
            <a:r>
              <a:rPr lang="en-US" sz="1800" b="0" i="0" u="none" strike="noStrike" baseline="0" dirty="0">
                <a:solidFill>
                  <a:srgbClr val="000000"/>
                </a:solidFill>
                <a:latin typeface="Arial" panose="020B0604020202020204" pitchFamily="34" charset="0"/>
              </a:rPr>
              <a:t>a) deliver a first quick indication of possible gaps between the current state-of-play of a company and the requirements for implementing retrofitting solutions as proposed and tested by RETROFEED project, and </a:t>
            </a:r>
          </a:p>
          <a:p>
            <a:r>
              <a:rPr lang="en-US" sz="1800" b="0" i="0" u="none" strike="noStrike" baseline="0" dirty="0">
                <a:solidFill>
                  <a:srgbClr val="000000"/>
                </a:solidFill>
                <a:latin typeface="Arial" panose="020B0604020202020204" pitchFamily="34" charset="0"/>
              </a:rPr>
              <a:t>b) at the same time highlight the steps to be taken to be ready to replicate RETROFEED solutions. </a:t>
            </a:r>
          </a:p>
          <a:p>
            <a:endParaRPr lang="en-US" sz="1800" b="0" i="0" u="none" strike="noStrike" baseline="0" dirty="0">
              <a:solidFill>
                <a:srgbClr val="000000"/>
              </a:solidFill>
              <a:latin typeface="Arial" panose="020B0604020202020204" pitchFamily="34" charset="0"/>
            </a:endParaRPr>
          </a:p>
          <a:p>
            <a:endParaRPr lang="en-US" sz="1800" b="0" i="0" u="none" strike="noStrike" baseline="0" dirty="0">
              <a:solidFill>
                <a:srgbClr val="000000"/>
              </a:solidFill>
              <a:latin typeface="Arial" panose="020B0604020202020204" pitchFamily="34" charset="0"/>
            </a:endParaRPr>
          </a:p>
          <a:p>
            <a:endParaRPr lang="en-US" sz="1800" b="0" i="0" u="none" strike="noStrike" baseline="0" dirty="0">
              <a:solidFill>
                <a:srgbClr val="000000"/>
              </a:solidFill>
              <a:latin typeface="Arial" panose="020B0604020202020204" pitchFamily="34" charset="0"/>
            </a:endParaRPr>
          </a:p>
          <a:p>
            <a:endParaRPr lang="sv-S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4DB91F-1AD8-437C-8866-3636784D085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72765672"/>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a:t>Digital </a:t>
            </a:r>
            <a:r>
              <a:rPr lang="sv-SE" dirty="0" err="1"/>
              <a:t>readiness</a:t>
            </a:r>
            <a:r>
              <a:rPr lang="sv-SE" dirty="0"/>
              <a:t> </a:t>
            </a:r>
            <a:r>
              <a:rPr lang="sv-SE" dirty="0" err="1"/>
              <a:t>level</a:t>
            </a:r>
            <a:r>
              <a:rPr lang="sv-SE" dirty="0"/>
              <a:t> – DRL 3 is </a:t>
            </a:r>
            <a:r>
              <a:rPr lang="sv-SE" dirty="0" err="1"/>
              <a:t>needed</a:t>
            </a:r>
            <a:r>
              <a:rPr lang="sv-SE" dirty="0"/>
              <a:t> for </a:t>
            </a:r>
            <a:r>
              <a:rPr lang="sv-SE" dirty="0" err="1"/>
              <a:t>retrofit</a:t>
            </a:r>
            <a:r>
              <a:rPr lang="sv-SE" dirty="0"/>
              <a:t> solutions. </a:t>
            </a:r>
          </a:p>
          <a:p>
            <a:r>
              <a:rPr lang="sv-SE" dirty="0"/>
              <a:t>If the plant for </a:t>
            </a:r>
            <a:r>
              <a:rPr lang="sv-SE" dirty="0" err="1"/>
              <a:t>example</a:t>
            </a:r>
            <a:r>
              <a:rPr lang="sv-SE" dirty="0"/>
              <a:t> is </a:t>
            </a:r>
            <a:r>
              <a:rPr lang="sv-SE" dirty="0" err="1"/>
              <a:t>assessed</a:t>
            </a:r>
            <a:r>
              <a:rPr lang="sv-SE" dirty="0"/>
              <a:t> to be </a:t>
            </a:r>
            <a:r>
              <a:rPr lang="sv-SE" dirty="0" err="1"/>
              <a:t>experienced</a:t>
            </a:r>
            <a:r>
              <a:rPr lang="sv-SE" dirty="0"/>
              <a:t> a step by step digital </a:t>
            </a:r>
            <a:r>
              <a:rPr lang="sv-SE" dirty="0" err="1"/>
              <a:t>readiness</a:t>
            </a:r>
            <a:r>
              <a:rPr lang="sv-SE" dirty="0"/>
              <a:t> </a:t>
            </a:r>
            <a:r>
              <a:rPr lang="sv-SE" dirty="0" err="1"/>
              <a:t>development</a:t>
            </a:r>
            <a:r>
              <a:rPr lang="sv-SE" dirty="0"/>
              <a:t> plan is </a:t>
            </a:r>
            <a:r>
              <a:rPr lang="sv-SE" dirty="0" err="1"/>
              <a:t>needed</a:t>
            </a:r>
            <a:r>
              <a:rPr lang="sv-SE" dirty="0"/>
              <a:t>. </a:t>
            </a:r>
          </a:p>
          <a:p>
            <a:endParaRPr lang="sv-SE"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ea typeface="Calibri" panose="020F0502020204030204" pitchFamily="34" charset="0"/>
              </a:rPr>
              <a:t>The RF-DRL is a deviation from the known concept of a DRL which in itself is a deviation from the TRL concept. Using the RF-DRL should give you enough clarity what steps would be needed to be able to replicate a RF solution. In case the gap is big, that has a direct impact on cost (high investment needed = negative impact on business case) and risk (system failure due to lack of skills and experience). </a:t>
            </a:r>
            <a:endParaRPr lang="sv-SE" sz="1800" dirty="0">
              <a:effectLst/>
              <a:latin typeface="Calibri" panose="020F0502020204030204" pitchFamily="34" charset="0"/>
              <a:ea typeface="Calibri" panose="020F0502020204030204" pitchFamily="34" charset="0"/>
            </a:endParaRPr>
          </a:p>
          <a:p>
            <a:endParaRPr lang="sv-S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4DB91F-1AD8-437C-8866-3636784D085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43966030"/>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1800" b="0" i="0" u="none" strike="noStrike" baseline="0">
                <a:solidFill>
                  <a:srgbClr val="000000"/>
                </a:solidFill>
                <a:latin typeface="Arial" panose="020B0604020202020204" pitchFamily="34" charset="0"/>
              </a:rPr>
              <a:t>Interpretation of the levels:</a:t>
            </a:r>
          </a:p>
          <a:p>
            <a:pPr marL="342900" indent="-342900">
              <a:buAutoNum type="arabicParenR"/>
            </a:pPr>
            <a:r>
              <a:rPr lang="en-US" sz="1800" b="0" i="0" u="none" strike="noStrike" baseline="0">
                <a:solidFill>
                  <a:srgbClr val="000000"/>
                </a:solidFill>
                <a:latin typeface="Arial" panose="020B0604020202020204" pitchFamily="34" charset="0"/>
              </a:rPr>
              <a:t>Major digital enhancements are needed on all dimensions. That does not only require high investments in digital infrastructure, but likely also in skill development of staff as well as a review and redesign of entire operations. The investment need to move from RF-DRL 1 to 3 is likely so high, that the RETROFEED business case appears economically unattractive. However, a company could decide on replicating a RETROFEED solution using its implementation as a driver and supporting use-case for the implementation of an overall digital development strategy </a:t>
            </a:r>
          </a:p>
          <a:p>
            <a:pPr marL="228600" indent="-228600">
              <a:buAutoNum type="arabicParenR"/>
            </a:pPr>
            <a:endParaRPr lang="en-US" sz="1800" b="0" i="0" u="none" strike="noStrike" baseline="0">
              <a:solidFill>
                <a:srgbClr val="000000"/>
              </a:solidFill>
              <a:latin typeface="Arial" panose="020B0604020202020204" pitchFamily="34" charset="0"/>
            </a:endParaRPr>
          </a:p>
          <a:p>
            <a:pPr marL="228600" indent="-228600">
              <a:buAutoNum type="arabicParenR"/>
            </a:pPr>
            <a:r>
              <a:rPr lang="en-US" sz="1800" b="0" i="0" u="none" strike="noStrike" baseline="0">
                <a:solidFill>
                  <a:srgbClr val="000000"/>
                </a:solidFill>
                <a:latin typeface="Arial" panose="020B0604020202020204" pitchFamily="34" charset="0"/>
              </a:rPr>
              <a:t>Digital enhancements are needed. However, a RF-DRL 2 means that progress has been made on all dimensions already, not only on the digital infrastructure side, but also on processes and skill level. Learnings generated through the use of tools and data should have reassured the </a:t>
            </a:r>
            <a:r>
              <a:rPr lang="en-US" sz="1800" b="0" i="0" u="none" strike="noStrike" baseline="0" err="1">
                <a:solidFill>
                  <a:srgbClr val="000000"/>
                </a:solidFill>
                <a:latin typeface="Arial" panose="020B0604020202020204" pitchFamily="34" charset="0"/>
              </a:rPr>
              <a:t>organisation</a:t>
            </a:r>
            <a:r>
              <a:rPr lang="en-US" sz="1800" b="0" i="0" u="none" strike="noStrike" baseline="0">
                <a:solidFill>
                  <a:srgbClr val="000000"/>
                </a:solidFill>
                <a:latin typeface="Arial" panose="020B0604020202020204" pitchFamily="34" charset="0"/>
              </a:rPr>
              <a:t> of the benefits of moving towards a digital factory and built trust in the benefits and capability to further progress on digital development. Replication of RETROFEED solutions could act as a lighthouse project within the </a:t>
            </a:r>
            <a:r>
              <a:rPr lang="en-US" sz="1800" b="0" i="0" u="none" strike="noStrike" baseline="0" err="1">
                <a:solidFill>
                  <a:srgbClr val="000000"/>
                </a:solidFill>
                <a:latin typeface="Arial" panose="020B0604020202020204" pitchFamily="34" charset="0"/>
              </a:rPr>
              <a:t>organisation</a:t>
            </a:r>
            <a:r>
              <a:rPr lang="en-US" sz="1800" b="0" i="0" u="none" strike="noStrike" baseline="0">
                <a:solidFill>
                  <a:srgbClr val="000000"/>
                </a:solidFill>
                <a:latin typeface="Arial" panose="020B0604020202020204" pitchFamily="34" charset="0"/>
              </a:rPr>
              <a:t>. Investment needs might differ on individual dimensions and a positive business case is possible even for a RETROFEED solution alone. </a:t>
            </a:r>
            <a:endParaRPr lang="sv-S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4DB91F-1AD8-437C-8866-3636784D085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31150548"/>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a:t>3) </a:t>
            </a:r>
            <a:r>
              <a:rPr lang="en-US" sz="1800" b="0" i="0" u="none" strike="noStrike" baseline="0">
                <a:solidFill>
                  <a:srgbClr val="000000"/>
                </a:solidFill>
                <a:latin typeface="Arial" panose="020B0604020202020204" pitchFamily="34" charset="0"/>
              </a:rPr>
              <a:t>In principle, the company or plant is digitally mature enough on all dimensions to replicate a RETROFEED solution. Investment needs should be limited and ideally a RETROFEED solution should be implementable as another use-case leveraging an already existing digital foundation with a high likelihood of a positive business case. Time to implement should be short. </a:t>
            </a:r>
          </a:p>
          <a:p>
            <a:endParaRPr lang="en-US" sz="1800" b="0" i="0" u="none" strike="noStrike" baseline="0">
              <a:solidFill>
                <a:srgbClr val="000000"/>
              </a:solidFill>
              <a:latin typeface="Arial" panose="020B0604020202020204" pitchFamily="34" charset="0"/>
            </a:endParaRPr>
          </a:p>
          <a:p>
            <a:r>
              <a:rPr lang="en-US" sz="1800" b="0" i="0" u="none" strike="noStrike" baseline="0">
                <a:solidFill>
                  <a:srgbClr val="000000"/>
                </a:solidFill>
                <a:latin typeface="Arial" panose="020B0604020202020204" pitchFamily="34" charset="0"/>
              </a:rPr>
              <a:t>The outcome of the RF-DRL assessment can be used in two ways: as a starting point providing guidance for the steps to be taken towards becoming “RETROFEED Ready” and as an input to the RETROFEED decision matrix as a tool of the RETROFEED replication methodology to assess the tactical and strategic relevance of a RETROFEED solution towards increasing the competitiveness of an REII factory.</a:t>
            </a:r>
            <a:endParaRPr lang="en-US" sz="1800" b="0" i="0" u="none" strike="noStrike" baseline="0">
              <a:solidFill>
                <a:srgbClr val="000000"/>
              </a:solidFill>
              <a:highlight>
                <a:srgbClr val="FFFF00"/>
              </a:highlight>
              <a:latin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4DB91F-1AD8-437C-8866-3636784D085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29360250"/>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4DB91F-1AD8-437C-8866-3636784D085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9874062"/>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fld id="{F84DB91F-1AD8-437C-8866-3636784D0854}" type="slidenum">
              <a:rPr lang="en-GB" smtClean="0"/>
              <a:t>86</a:t>
            </a:fld>
            <a:endParaRPr lang="en-GB"/>
          </a:p>
        </p:txBody>
      </p:sp>
    </p:spTree>
    <p:extLst>
      <p:ext uri="{BB962C8B-B14F-4D97-AF65-F5344CB8AC3E}">
        <p14:creationId xmlns:p14="http://schemas.microsoft.com/office/powerpoint/2010/main" val="4262303557"/>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a:t>A DSS </a:t>
            </a:r>
            <a:r>
              <a:rPr lang="sv-SE" dirty="0" err="1"/>
              <a:t>based</a:t>
            </a:r>
            <a:r>
              <a:rPr lang="sv-SE" dirty="0"/>
              <a:t> on digital </a:t>
            </a:r>
            <a:r>
              <a:rPr lang="sv-SE" dirty="0" err="1"/>
              <a:t>twins</a:t>
            </a:r>
            <a:r>
              <a:rPr lang="sv-SE" dirty="0"/>
              <a:t> </a:t>
            </a:r>
            <a:r>
              <a:rPr lang="sv-SE" dirty="0" err="1"/>
              <a:t>are</a:t>
            </a:r>
            <a:r>
              <a:rPr lang="sv-SE" dirty="0"/>
              <a:t> </a:t>
            </a:r>
            <a:r>
              <a:rPr lang="sv-SE" dirty="0" err="1"/>
              <a:t>used</a:t>
            </a:r>
            <a:r>
              <a:rPr lang="sv-SE" dirty="0"/>
              <a:t> to </a:t>
            </a:r>
          </a:p>
          <a:p>
            <a:endParaRPr lang="sv-SE" dirty="0"/>
          </a:p>
          <a:p>
            <a:r>
              <a:rPr lang="sv-SE" dirty="0"/>
              <a:t>Digital </a:t>
            </a:r>
            <a:r>
              <a:rPr lang="sv-SE" dirty="0" err="1"/>
              <a:t>twins</a:t>
            </a:r>
            <a:r>
              <a:rPr lang="sv-SE" dirty="0"/>
              <a:t>: </a:t>
            </a:r>
            <a:r>
              <a:rPr lang="en-US" sz="1200" dirty="0" err="1">
                <a:solidFill>
                  <a:srgbClr val="404040"/>
                </a:solidFill>
                <a:effectLst/>
                <a:latin typeface="Liberation Serif"/>
                <a:ea typeface="Noto Sans CJK SC"/>
                <a:cs typeface="Arial" panose="020B0604020202020204" pitchFamily="34" charset="0"/>
              </a:rPr>
              <a:t>characterise</a:t>
            </a:r>
            <a:r>
              <a:rPr lang="en-US" sz="1200" dirty="0">
                <a:solidFill>
                  <a:srgbClr val="404040"/>
                </a:solidFill>
                <a:effectLst/>
                <a:latin typeface="Liberation Serif"/>
                <a:ea typeface="Noto Sans CJK SC"/>
                <a:cs typeface="Arial" panose="020B0604020202020204" pitchFamily="34" charset="0"/>
              </a:rPr>
              <a:t> the </a:t>
            </a:r>
            <a:r>
              <a:rPr lang="en-US" sz="1200" dirty="0" err="1">
                <a:solidFill>
                  <a:srgbClr val="404040"/>
                </a:solidFill>
                <a:effectLst/>
                <a:latin typeface="Liberation Serif"/>
                <a:ea typeface="Noto Sans CJK SC"/>
                <a:cs typeface="Arial" panose="020B0604020202020204" pitchFamily="34" charset="0"/>
              </a:rPr>
              <a:t>behaviour</a:t>
            </a:r>
            <a:r>
              <a:rPr lang="en-US" sz="1200" dirty="0">
                <a:solidFill>
                  <a:srgbClr val="404040"/>
                </a:solidFill>
                <a:effectLst/>
                <a:latin typeface="Liberation Serif"/>
                <a:ea typeface="Noto Sans CJK SC"/>
                <a:cs typeface="Arial" panose="020B0604020202020204" pitchFamily="34" charset="0"/>
              </a:rPr>
              <a:t> of this equipment and their interaction with upstream and downstream processes, as well as to analyze the impact of several retrofitting scenarios and the modification of the process conditions without affecting the product quality. This is complemented by installing monitoring sensors that provide information to the digital twin</a:t>
            </a:r>
          </a:p>
          <a:p>
            <a:r>
              <a:rPr lang="en-US" sz="1200" dirty="0">
                <a:solidFill>
                  <a:srgbClr val="404040"/>
                </a:solidFill>
                <a:effectLst/>
                <a:latin typeface="Liberation Serif"/>
                <a:cs typeface="Arial" panose="020B0604020202020204" pitchFamily="34" charset="0"/>
              </a:rPr>
              <a:t>DSS: </a:t>
            </a:r>
          </a:p>
          <a:p>
            <a:endParaRPr lang="en-US" sz="1200" dirty="0">
              <a:solidFill>
                <a:srgbClr val="404040"/>
              </a:solidFill>
              <a:effectLst/>
              <a:latin typeface="Liberation Serif"/>
              <a:cs typeface="Arial" panose="020B0604020202020204" pitchFamily="34" charset="0"/>
            </a:endParaRPr>
          </a:p>
          <a:p>
            <a:pPr marL="228600" indent="-228600">
              <a:buAutoNum type="arabicParenR"/>
            </a:pPr>
            <a:r>
              <a:rPr lang="en-US" sz="1200" dirty="0">
                <a:solidFill>
                  <a:srgbClr val="404040"/>
                </a:solidFill>
                <a:effectLst/>
                <a:latin typeface="Liberation Serif"/>
                <a:ea typeface="Noto Sans CJK SC"/>
                <a:cs typeface="Arial" panose="020B0604020202020204" pitchFamily="34" charset="0"/>
              </a:rPr>
              <a:t>pre-diagnose inefficiencies and bottlenecks in terms of resource and energy efficiency and to simulate several retrofitting scenarios in order to select the most suitable investment from a technical and economic perspective; and </a:t>
            </a:r>
          </a:p>
          <a:p>
            <a:pPr marL="228600" indent="-228600">
              <a:buAutoNum type="arabicParenR"/>
            </a:pPr>
            <a:r>
              <a:rPr lang="en-US" sz="1200" dirty="0">
                <a:solidFill>
                  <a:srgbClr val="404040"/>
                </a:solidFill>
                <a:effectLst/>
                <a:latin typeface="Liberation Serif"/>
                <a:ea typeface="Noto Sans CJK SC"/>
                <a:cs typeface="Arial" panose="020B0604020202020204" pitchFamily="34" charset="0"/>
              </a:rPr>
              <a:t>support to plant operation once the retrofitting actions have implemented, facilitating the decision-making for alternative raw materials purchasing and utilization and the modification of the process conditions accordingly. </a:t>
            </a:r>
            <a:endParaRPr lang="sv-SE" dirty="0"/>
          </a:p>
          <a:p>
            <a:endParaRPr lang="sv-S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4DB91F-1AD8-437C-8866-3636784D085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13643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b="0" i="0" u="none" strike="noStrike" baseline="0">
                <a:solidFill>
                  <a:srgbClr val="000000"/>
                </a:solidFill>
                <a:latin typeface="Arial" panose="020B0604020202020204" pitchFamily="34" charset="0"/>
              </a:rPr>
              <a:t>ETS: https://climate.ec.europa.eu/eu-action/eu-emissions-trading-system-eu-ets_en</a:t>
            </a:r>
          </a:p>
          <a:p>
            <a:endParaRPr lang="en-US" sz="1800" b="0" i="0" u="none" strike="noStrike" baseline="0">
              <a:solidFill>
                <a:srgbClr val="000000"/>
              </a:solidFill>
              <a:latin typeface="Arial" panose="020B0604020202020204" pitchFamily="34" charset="0"/>
            </a:endParaRPr>
          </a:p>
          <a:p>
            <a:endParaRPr lang="sv-S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4DB91F-1AD8-437C-8866-3636784D085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15351395"/>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4DB91F-1AD8-437C-8866-3636784D085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3648261"/>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718820" marR="713105" lvl="0" indent="0" algn="just" defTabSz="914400" rtl="0" eaLnBrk="1" fontAlgn="auto" latinLnBrk="0" hangingPunct="1">
              <a:lnSpc>
                <a:spcPct val="125000"/>
              </a:lnSpc>
              <a:spcBef>
                <a:spcPts val="0"/>
              </a:spcBef>
              <a:spcAft>
                <a:spcPts val="0"/>
              </a:spcAft>
              <a:buClrTx/>
              <a:buSzTx/>
              <a:buFontTx/>
              <a:buNone/>
              <a:tabLst/>
              <a:defRPr/>
            </a:pPr>
            <a:r>
              <a:rPr lang="en-US" sz="1200">
                <a:effectLst/>
                <a:latin typeface="Arial MT"/>
                <a:ea typeface="Arial MT"/>
                <a:cs typeface="Arial MT"/>
              </a:rPr>
              <a:t>In this context, a simulation model is intended as a digital representation of a real system by means</a:t>
            </a:r>
            <a:r>
              <a:rPr lang="en-US" sz="1200" spc="-295">
                <a:effectLst/>
                <a:latin typeface="Arial MT"/>
                <a:ea typeface="Arial MT"/>
                <a:cs typeface="Arial MT"/>
              </a:rPr>
              <a:t> </a:t>
            </a:r>
            <a:r>
              <a:rPr lang="en-US" sz="1200">
                <a:effectLst/>
                <a:latin typeface="Arial MT"/>
                <a:ea typeface="Arial MT"/>
                <a:cs typeface="Arial MT"/>
              </a:rPr>
              <a:t>of</a:t>
            </a:r>
            <a:r>
              <a:rPr lang="en-US" sz="1200" spc="5">
                <a:effectLst/>
                <a:latin typeface="Arial MT"/>
                <a:ea typeface="Arial MT"/>
                <a:cs typeface="Arial MT"/>
              </a:rPr>
              <a:t> </a:t>
            </a:r>
            <a:r>
              <a:rPr lang="en-US" sz="1200">
                <a:effectLst/>
                <a:latin typeface="Arial MT"/>
                <a:ea typeface="Arial MT"/>
                <a:cs typeface="Arial MT"/>
              </a:rPr>
              <a:t>appropriate</a:t>
            </a:r>
            <a:r>
              <a:rPr lang="en-US" sz="1200" spc="5">
                <a:effectLst/>
                <a:latin typeface="Arial MT"/>
                <a:ea typeface="Arial MT"/>
                <a:cs typeface="Arial MT"/>
              </a:rPr>
              <a:t> </a:t>
            </a:r>
            <a:r>
              <a:rPr lang="en-US" sz="1200">
                <a:effectLst/>
                <a:latin typeface="Arial MT"/>
                <a:ea typeface="Arial MT"/>
                <a:cs typeface="Arial MT"/>
              </a:rPr>
              <a:t>algorithms</a:t>
            </a:r>
            <a:r>
              <a:rPr lang="en-US" sz="1200" spc="5">
                <a:effectLst/>
                <a:latin typeface="Arial MT"/>
                <a:ea typeface="Arial MT"/>
                <a:cs typeface="Arial MT"/>
              </a:rPr>
              <a:t> </a:t>
            </a:r>
            <a:r>
              <a:rPr lang="en-US" sz="1200">
                <a:effectLst/>
                <a:latin typeface="Arial MT"/>
                <a:ea typeface="Arial MT"/>
                <a:cs typeface="Arial MT"/>
              </a:rPr>
              <a:t>or</a:t>
            </a:r>
            <a:r>
              <a:rPr lang="en-US" sz="1200" spc="5">
                <a:effectLst/>
                <a:latin typeface="Arial MT"/>
                <a:ea typeface="Arial MT"/>
                <a:cs typeface="Arial MT"/>
              </a:rPr>
              <a:t> </a:t>
            </a:r>
            <a:r>
              <a:rPr lang="en-US" sz="1200">
                <a:effectLst/>
                <a:latin typeface="Arial MT"/>
                <a:ea typeface="Arial MT"/>
                <a:cs typeface="Arial MT"/>
              </a:rPr>
              <a:t>equations</a:t>
            </a:r>
            <a:r>
              <a:rPr lang="en-US" sz="1200" spc="5">
                <a:effectLst/>
                <a:latin typeface="Arial MT"/>
                <a:ea typeface="Arial MT"/>
                <a:cs typeface="Arial MT"/>
              </a:rPr>
              <a:t> </a:t>
            </a:r>
            <a:r>
              <a:rPr lang="en-US" sz="1200">
                <a:effectLst/>
                <a:latin typeface="Arial MT"/>
                <a:ea typeface="Arial MT"/>
                <a:cs typeface="Arial MT"/>
              </a:rPr>
              <a:t>aimed</a:t>
            </a:r>
            <a:r>
              <a:rPr lang="en-US" sz="1200" spc="5">
                <a:effectLst/>
                <a:latin typeface="Arial MT"/>
                <a:ea typeface="Arial MT"/>
                <a:cs typeface="Arial MT"/>
              </a:rPr>
              <a:t> </a:t>
            </a:r>
            <a:r>
              <a:rPr lang="en-US" sz="1200">
                <a:effectLst/>
                <a:latin typeface="Arial MT"/>
                <a:ea typeface="Arial MT"/>
                <a:cs typeface="Arial MT"/>
              </a:rPr>
              <a:t>at</a:t>
            </a:r>
            <a:r>
              <a:rPr lang="en-US" sz="1200" spc="5">
                <a:effectLst/>
                <a:latin typeface="Arial MT"/>
                <a:ea typeface="Arial MT"/>
                <a:cs typeface="Arial MT"/>
              </a:rPr>
              <a:t> </a:t>
            </a:r>
            <a:r>
              <a:rPr lang="en-US" sz="1200">
                <a:effectLst/>
                <a:latin typeface="Arial MT"/>
                <a:ea typeface="Arial MT"/>
                <a:cs typeface="Arial MT"/>
              </a:rPr>
              <a:t>characterizing</a:t>
            </a:r>
            <a:r>
              <a:rPr lang="en-US" sz="1200" spc="5">
                <a:effectLst/>
                <a:latin typeface="Arial MT"/>
                <a:ea typeface="Arial MT"/>
                <a:cs typeface="Arial MT"/>
              </a:rPr>
              <a:t> </a:t>
            </a:r>
            <a:r>
              <a:rPr lang="en-US" sz="1200">
                <a:effectLst/>
                <a:latin typeface="Arial MT"/>
                <a:ea typeface="Arial MT"/>
                <a:cs typeface="Arial MT"/>
              </a:rPr>
              <a:t>some</a:t>
            </a:r>
            <a:r>
              <a:rPr lang="en-US" sz="1200" spc="5">
                <a:effectLst/>
                <a:latin typeface="Arial MT"/>
                <a:ea typeface="Arial MT"/>
                <a:cs typeface="Arial MT"/>
              </a:rPr>
              <a:t> </a:t>
            </a:r>
            <a:r>
              <a:rPr lang="en-US" sz="1200">
                <a:effectLst/>
                <a:latin typeface="Arial MT"/>
                <a:ea typeface="Arial MT"/>
                <a:cs typeface="Arial MT"/>
              </a:rPr>
              <a:t>specific</a:t>
            </a:r>
            <a:r>
              <a:rPr lang="en-US" sz="1200" spc="5">
                <a:effectLst/>
                <a:latin typeface="Arial MT"/>
                <a:ea typeface="Arial MT"/>
                <a:cs typeface="Arial MT"/>
              </a:rPr>
              <a:t> </a:t>
            </a:r>
            <a:r>
              <a:rPr lang="en-US" sz="1200">
                <a:effectLst/>
                <a:latin typeface="Arial MT"/>
                <a:ea typeface="Arial MT"/>
                <a:cs typeface="Arial MT"/>
              </a:rPr>
              <a:t>features</a:t>
            </a:r>
            <a:r>
              <a:rPr lang="en-US" sz="1200" spc="5">
                <a:effectLst/>
                <a:latin typeface="Arial MT"/>
                <a:ea typeface="Arial MT"/>
                <a:cs typeface="Arial MT"/>
              </a:rPr>
              <a:t> </a:t>
            </a:r>
            <a:r>
              <a:rPr lang="en-US" sz="1200">
                <a:effectLst/>
                <a:latin typeface="Arial MT"/>
                <a:ea typeface="Arial MT"/>
                <a:cs typeface="Arial MT"/>
              </a:rPr>
              <a:t>of</a:t>
            </a:r>
            <a:r>
              <a:rPr lang="en-US" sz="1200" spc="5">
                <a:effectLst/>
                <a:latin typeface="Arial MT"/>
                <a:ea typeface="Arial MT"/>
                <a:cs typeface="Arial MT"/>
              </a:rPr>
              <a:t> </a:t>
            </a:r>
            <a:r>
              <a:rPr lang="en-US" sz="1200">
                <a:effectLst/>
                <a:latin typeface="Arial MT"/>
                <a:ea typeface="Arial MT"/>
                <a:cs typeface="Arial MT"/>
              </a:rPr>
              <a:t>its</a:t>
            </a:r>
            <a:r>
              <a:rPr lang="en-US" sz="1200" spc="5">
                <a:effectLst/>
                <a:latin typeface="Arial MT"/>
                <a:ea typeface="Arial MT"/>
                <a:cs typeface="Arial MT"/>
              </a:rPr>
              <a:t> </a:t>
            </a:r>
            <a:r>
              <a:rPr lang="en-US" sz="1200">
                <a:effectLst/>
                <a:latin typeface="Arial MT"/>
                <a:ea typeface="Arial MT"/>
                <a:cs typeface="Arial MT"/>
              </a:rPr>
              <a:t>functioning</a:t>
            </a:r>
            <a:r>
              <a:rPr lang="en-US" sz="1200" spc="-45">
                <a:effectLst/>
                <a:latin typeface="Arial MT"/>
                <a:ea typeface="Arial MT"/>
                <a:cs typeface="Arial MT"/>
              </a:rPr>
              <a:t> (</a:t>
            </a:r>
            <a:r>
              <a:rPr lang="en-US" sz="1200">
                <a:effectLst/>
                <a:latin typeface="Arial MT"/>
                <a:ea typeface="Arial MT"/>
                <a:cs typeface="Arial MT"/>
              </a:rPr>
              <a:t>G.</a:t>
            </a:r>
            <a:r>
              <a:rPr lang="en-US" sz="1200" spc="-20">
                <a:effectLst/>
                <a:latin typeface="Arial MT"/>
                <a:ea typeface="Arial MT"/>
                <a:cs typeface="Arial MT"/>
              </a:rPr>
              <a:t> </a:t>
            </a:r>
            <a:r>
              <a:rPr lang="en-US" sz="1200">
                <a:effectLst/>
                <a:latin typeface="Arial MT"/>
                <a:ea typeface="Arial MT"/>
                <a:cs typeface="Arial MT"/>
              </a:rPr>
              <a:t>Dubois,</a:t>
            </a:r>
            <a:r>
              <a:rPr lang="en-US" sz="1200" spc="-15">
                <a:effectLst/>
                <a:latin typeface="Arial MT"/>
                <a:ea typeface="Arial MT"/>
                <a:cs typeface="Arial MT"/>
              </a:rPr>
              <a:t> </a:t>
            </a:r>
            <a:r>
              <a:rPr lang="en-US" sz="1200">
                <a:effectLst/>
                <a:latin typeface="Arial MT"/>
                <a:ea typeface="Arial MT"/>
                <a:cs typeface="Arial MT"/>
              </a:rPr>
              <a:t>Modelling</a:t>
            </a:r>
            <a:r>
              <a:rPr lang="en-US" sz="1200" spc="-10">
                <a:effectLst/>
                <a:latin typeface="Arial MT"/>
                <a:ea typeface="Arial MT"/>
                <a:cs typeface="Arial MT"/>
              </a:rPr>
              <a:t> </a:t>
            </a:r>
            <a:r>
              <a:rPr lang="en-US" sz="1200">
                <a:effectLst/>
                <a:latin typeface="Arial MT"/>
                <a:ea typeface="Arial MT"/>
                <a:cs typeface="Arial MT"/>
              </a:rPr>
              <a:t>and</a:t>
            </a:r>
            <a:r>
              <a:rPr lang="en-US" sz="1200" spc="-30">
                <a:effectLst/>
                <a:latin typeface="Arial MT"/>
                <a:ea typeface="Arial MT"/>
                <a:cs typeface="Arial MT"/>
              </a:rPr>
              <a:t> </a:t>
            </a:r>
            <a:r>
              <a:rPr lang="en-US" sz="1200">
                <a:effectLst/>
                <a:latin typeface="Arial MT"/>
                <a:ea typeface="Arial MT"/>
                <a:cs typeface="Arial MT"/>
              </a:rPr>
              <a:t>Simulation:</a:t>
            </a:r>
            <a:r>
              <a:rPr lang="en-US" sz="1200" spc="-15">
                <a:effectLst/>
                <a:latin typeface="Arial MT"/>
                <a:ea typeface="Arial MT"/>
                <a:cs typeface="Arial MT"/>
              </a:rPr>
              <a:t> </a:t>
            </a:r>
            <a:r>
              <a:rPr lang="en-US" sz="1200">
                <a:effectLst/>
                <a:latin typeface="Arial MT"/>
                <a:ea typeface="Arial MT"/>
                <a:cs typeface="Arial MT"/>
              </a:rPr>
              <a:t>Challenges</a:t>
            </a:r>
            <a:r>
              <a:rPr lang="en-US" sz="1200" spc="-45">
                <a:effectLst/>
                <a:latin typeface="Arial MT"/>
                <a:ea typeface="Arial MT"/>
                <a:cs typeface="Arial MT"/>
              </a:rPr>
              <a:t> </a:t>
            </a:r>
            <a:r>
              <a:rPr lang="en-US" sz="1200">
                <a:effectLst/>
                <a:latin typeface="Arial MT"/>
                <a:ea typeface="Arial MT"/>
                <a:cs typeface="Arial MT"/>
              </a:rPr>
              <a:t>and</a:t>
            </a:r>
            <a:r>
              <a:rPr lang="en-US" sz="1200" spc="-10">
                <a:effectLst/>
                <a:latin typeface="Arial MT"/>
                <a:ea typeface="Arial MT"/>
                <a:cs typeface="Arial MT"/>
              </a:rPr>
              <a:t> </a:t>
            </a:r>
            <a:r>
              <a:rPr lang="en-US" sz="1200">
                <a:effectLst/>
                <a:latin typeface="Arial MT"/>
                <a:ea typeface="Arial MT"/>
                <a:cs typeface="Arial MT"/>
              </a:rPr>
              <a:t>Best</a:t>
            </a:r>
            <a:r>
              <a:rPr lang="en-US" sz="1200" spc="-40">
                <a:effectLst/>
                <a:latin typeface="Arial MT"/>
                <a:ea typeface="Arial MT"/>
                <a:cs typeface="Arial MT"/>
              </a:rPr>
              <a:t> </a:t>
            </a:r>
            <a:r>
              <a:rPr lang="en-US" sz="1200">
                <a:effectLst/>
                <a:latin typeface="Arial MT"/>
                <a:ea typeface="Arial MT"/>
                <a:cs typeface="Arial MT"/>
              </a:rPr>
              <a:t>Practices</a:t>
            </a:r>
            <a:r>
              <a:rPr lang="en-US" sz="1200" spc="-20">
                <a:effectLst/>
                <a:latin typeface="Arial MT"/>
                <a:ea typeface="Arial MT"/>
                <a:cs typeface="Arial MT"/>
              </a:rPr>
              <a:t> </a:t>
            </a:r>
            <a:r>
              <a:rPr lang="en-US" sz="1200">
                <a:effectLst/>
                <a:latin typeface="Arial MT"/>
                <a:ea typeface="Arial MT"/>
                <a:cs typeface="Arial MT"/>
              </a:rPr>
              <a:t>for</a:t>
            </a:r>
            <a:r>
              <a:rPr lang="en-US" sz="1200" spc="-25">
                <a:effectLst/>
                <a:latin typeface="Arial MT"/>
                <a:ea typeface="Arial MT"/>
                <a:cs typeface="Arial MT"/>
              </a:rPr>
              <a:t> </a:t>
            </a:r>
            <a:r>
              <a:rPr lang="en-US" sz="1200">
                <a:effectLst/>
                <a:latin typeface="Arial MT"/>
                <a:ea typeface="Arial MT"/>
                <a:cs typeface="Arial MT"/>
              </a:rPr>
              <a:t>Industry,</a:t>
            </a:r>
            <a:r>
              <a:rPr lang="en-US" sz="1200" spc="-15">
                <a:effectLst/>
                <a:latin typeface="Arial MT"/>
                <a:ea typeface="Arial MT"/>
                <a:cs typeface="Arial MT"/>
              </a:rPr>
              <a:t> </a:t>
            </a:r>
            <a:r>
              <a:rPr lang="en-US" sz="1200">
                <a:effectLst/>
                <a:latin typeface="Arial MT"/>
                <a:ea typeface="Arial MT"/>
                <a:cs typeface="Arial MT"/>
              </a:rPr>
              <a:t>CRC</a:t>
            </a:r>
            <a:r>
              <a:rPr lang="en-US" sz="1200" spc="-25">
                <a:effectLst/>
                <a:latin typeface="Arial MT"/>
                <a:ea typeface="Arial MT"/>
                <a:cs typeface="Arial MT"/>
              </a:rPr>
              <a:t> </a:t>
            </a:r>
            <a:r>
              <a:rPr lang="en-US" sz="1200">
                <a:effectLst/>
                <a:latin typeface="Arial MT"/>
                <a:ea typeface="Arial MT"/>
                <a:cs typeface="Arial MT"/>
              </a:rPr>
              <a:t>Press,</a:t>
            </a:r>
            <a:r>
              <a:rPr lang="en-US" sz="1200" spc="-290">
                <a:effectLst/>
                <a:latin typeface="Arial MT"/>
                <a:ea typeface="Arial MT"/>
                <a:cs typeface="Arial MT"/>
              </a:rPr>
              <a:t> </a:t>
            </a:r>
            <a:r>
              <a:rPr lang="en-US" sz="1200">
                <a:effectLst/>
                <a:latin typeface="Arial MT"/>
                <a:ea typeface="Arial MT"/>
                <a:cs typeface="Arial MT"/>
              </a:rPr>
              <a:t>2018.</a:t>
            </a:r>
            <a:r>
              <a:rPr lang="en-US" sz="1200" spc="-45">
                <a:effectLst/>
                <a:latin typeface="Arial MT"/>
                <a:ea typeface="Arial MT"/>
                <a:cs typeface="Arial MT"/>
              </a:rPr>
              <a:t>)</a:t>
            </a:r>
            <a:r>
              <a:rPr lang="en-US" sz="1200">
                <a:effectLst/>
                <a:latin typeface="Arial MT"/>
                <a:ea typeface="Arial MT"/>
                <a:cs typeface="Arial MT"/>
              </a:rPr>
              <a:t>.</a:t>
            </a:r>
            <a:r>
              <a:rPr lang="en-US" sz="1200" spc="-20">
                <a:effectLst/>
                <a:latin typeface="Arial MT"/>
                <a:ea typeface="Arial MT"/>
                <a:cs typeface="Arial MT"/>
              </a:rPr>
              <a:t> </a:t>
            </a:r>
            <a:r>
              <a:rPr lang="en-US" sz="1200">
                <a:effectLst/>
                <a:latin typeface="Arial MT"/>
                <a:ea typeface="Arial MT"/>
                <a:cs typeface="Arial MT"/>
              </a:rPr>
              <a:t>Specifically,</a:t>
            </a:r>
            <a:r>
              <a:rPr lang="en-US" sz="1200" spc="-25">
                <a:effectLst/>
                <a:latin typeface="Arial MT"/>
                <a:ea typeface="Arial MT"/>
                <a:cs typeface="Arial MT"/>
              </a:rPr>
              <a:t> </a:t>
            </a:r>
            <a:r>
              <a:rPr lang="en-US" sz="1200">
                <a:effectLst/>
                <a:latin typeface="Arial MT"/>
                <a:ea typeface="Arial MT"/>
                <a:cs typeface="Arial MT"/>
              </a:rPr>
              <a:t>a</a:t>
            </a:r>
            <a:r>
              <a:rPr lang="en-US" sz="1200" spc="-40">
                <a:effectLst/>
                <a:latin typeface="Arial MT"/>
                <a:ea typeface="Arial MT"/>
                <a:cs typeface="Arial MT"/>
              </a:rPr>
              <a:t> </a:t>
            </a:r>
            <a:r>
              <a:rPr lang="en-US" sz="1200">
                <a:effectLst/>
                <a:latin typeface="Arial MT"/>
                <a:ea typeface="Arial MT"/>
                <a:cs typeface="Arial MT"/>
              </a:rPr>
              <a:t>model</a:t>
            </a:r>
            <a:r>
              <a:rPr lang="en-US" sz="1200" spc="-30">
                <a:effectLst/>
                <a:latin typeface="Arial MT"/>
                <a:ea typeface="Arial MT"/>
                <a:cs typeface="Arial MT"/>
              </a:rPr>
              <a:t> </a:t>
            </a:r>
            <a:r>
              <a:rPr lang="en-US" sz="1200">
                <a:effectLst/>
                <a:latin typeface="Arial MT"/>
                <a:ea typeface="Arial MT"/>
                <a:cs typeface="Arial MT"/>
              </a:rPr>
              <a:t>is</a:t>
            </a:r>
            <a:r>
              <a:rPr lang="en-US" sz="1200" spc="-55">
                <a:effectLst/>
                <a:latin typeface="Arial MT"/>
                <a:ea typeface="Arial MT"/>
                <a:cs typeface="Arial MT"/>
              </a:rPr>
              <a:t> </a:t>
            </a:r>
            <a:r>
              <a:rPr lang="en-US" sz="1200">
                <a:effectLst/>
                <a:latin typeface="Arial MT"/>
                <a:ea typeface="Arial MT"/>
                <a:cs typeface="Arial MT"/>
              </a:rPr>
              <a:t>meant</a:t>
            </a:r>
            <a:r>
              <a:rPr lang="en-US" sz="1200" spc="-20">
                <a:effectLst/>
                <a:latin typeface="Arial MT"/>
                <a:ea typeface="Arial MT"/>
                <a:cs typeface="Arial MT"/>
              </a:rPr>
              <a:t> </a:t>
            </a:r>
            <a:r>
              <a:rPr lang="en-US" sz="1200">
                <a:effectLst/>
                <a:latin typeface="Arial MT"/>
                <a:ea typeface="Arial MT"/>
                <a:cs typeface="Arial MT"/>
              </a:rPr>
              <a:t>to</a:t>
            </a:r>
            <a:r>
              <a:rPr lang="en-US" sz="1200" spc="-45">
                <a:effectLst/>
                <a:latin typeface="Arial MT"/>
                <a:ea typeface="Arial MT"/>
                <a:cs typeface="Arial MT"/>
              </a:rPr>
              <a:t> </a:t>
            </a:r>
            <a:r>
              <a:rPr lang="en-US" sz="1200">
                <a:effectLst/>
                <a:latin typeface="Arial MT"/>
                <a:ea typeface="Arial MT"/>
                <a:cs typeface="Arial MT"/>
              </a:rPr>
              <a:t>establish</a:t>
            </a:r>
            <a:r>
              <a:rPr lang="en-US" sz="1200" spc="-15">
                <a:effectLst/>
                <a:latin typeface="Arial MT"/>
                <a:ea typeface="Arial MT"/>
                <a:cs typeface="Arial MT"/>
              </a:rPr>
              <a:t> </a:t>
            </a:r>
            <a:r>
              <a:rPr lang="en-US" sz="1200">
                <a:effectLst/>
                <a:latin typeface="Arial MT"/>
                <a:ea typeface="Arial MT"/>
                <a:cs typeface="Arial MT"/>
              </a:rPr>
              <a:t>a</a:t>
            </a:r>
            <a:r>
              <a:rPr lang="en-US" sz="1200" spc="-40">
                <a:effectLst/>
                <a:latin typeface="Arial MT"/>
                <a:ea typeface="Arial MT"/>
                <a:cs typeface="Arial MT"/>
              </a:rPr>
              <a:t> </a:t>
            </a:r>
            <a:r>
              <a:rPr lang="en-US" sz="1200">
                <a:effectLst/>
                <a:latin typeface="Arial MT"/>
                <a:ea typeface="Arial MT"/>
                <a:cs typeface="Arial MT"/>
              </a:rPr>
              <a:t>meaningful</a:t>
            </a:r>
            <a:r>
              <a:rPr lang="en-US" sz="1200" spc="-35">
                <a:effectLst/>
                <a:latin typeface="Arial MT"/>
                <a:ea typeface="Arial MT"/>
                <a:cs typeface="Arial MT"/>
              </a:rPr>
              <a:t> </a:t>
            </a:r>
            <a:r>
              <a:rPr lang="en-US" sz="1200">
                <a:effectLst/>
                <a:latin typeface="Arial MT"/>
                <a:ea typeface="Arial MT"/>
                <a:cs typeface="Arial MT"/>
              </a:rPr>
              <a:t>relation</a:t>
            </a:r>
            <a:r>
              <a:rPr lang="en-US" sz="1200" spc="-40">
                <a:effectLst/>
                <a:latin typeface="Arial MT"/>
                <a:ea typeface="Arial MT"/>
                <a:cs typeface="Arial MT"/>
              </a:rPr>
              <a:t> </a:t>
            </a:r>
            <a:r>
              <a:rPr lang="en-US" sz="1200">
                <a:effectLst/>
                <a:latin typeface="Arial MT"/>
                <a:ea typeface="Arial MT"/>
                <a:cs typeface="Arial MT"/>
              </a:rPr>
              <a:t>between</a:t>
            </a:r>
            <a:r>
              <a:rPr lang="en-US" sz="1200" spc="-20">
                <a:effectLst/>
                <a:latin typeface="Arial MT"/>
                <a:ea typeface="Arial MT"/>
                <a:cs typeface="Arial MT"/>
              </a:rPr>
              <a:t> </a:t>
            </a:r>
            <a:r>
              <a:rPr lang="en-US" sz="1200">
                <a:effectLst/>
                <a:latin typeface="Arial MT"/>
                <a:ea typeface="Arial MT"/>
                <a:cs typeface="Arial MT"/>
              </a:rPr>
              <a:t>a</a:t>
            </a:r>
            <a:r>
              <a:rPr lang="en-US" sz="1200" spc="-40">
                <a:effectLst/>
                <a:latin typeface="Arial MT"/>
                <a:ea typeface="Arial MT"/>
                <a:cs typeface="Arial MT"/>
              </a:rPr>
              <a:t> </a:t>
            </a:r>
            <a:r>
              <a:rPr lang="en-US" sz="1200">
                <a:effectLst/>
                <a:latin typeface="Arial MT"/>
                <a:ea typeface="Arial MT"/>
                <a:cs typeface="Arial MT"/>
              </a:rPr>
              <a:t>given</a:t>
            </a:r>
            <a:r>
              <a:rPr lang="en-US" sz="1200" spc="-15">
                <a:effectLst/>
                <a:latin typeface="Arial MT"/>
                <a:ea typeface="Arial MT"/>
                <a:cs typeface="Arial MT"/>
              </a:rPr>
              <a:t> </a:t>
            </a:r>
            <a:r>
              <a:rPr lang="en-US" sz="1200">
                <a:effectLst/>
                <a:latin typeface="Arial MT"/>
                <a:ea typeface="Arial MT"/>
                <a:cs typeface="Arial MT"/>
              </a:rPr>
              <a:t>set</a:t>
            </a:r>
            <a:r>
              <a:rPr lang="en-US" sz="1200" spc="5">
                <a:effectLst/>
                <a:latin typeface="Arial MT"/>
                <a:ea typeface="Arial MT"/>
                <a:cs typeface="Arial MT"/>
              </a:rPr>
              <a:t> </a:t>
            </a:r>
            <a:r>
              <a:rPr lang="en-US" sz="1200">
                <a:effectLst/>
                <a:latin typeface="Arial MT"/>
                <a:ea typeface="Arial MT"/>
                <a:cs typeface="Arial MT"/>
              </a:rPr>
              <a:t>of</a:t>
            </a:r>
            <a:r>
              <a:rPr lang="en-US" sz="1200" spc="45">
                <a:effectLst/>
                <a:latin typeface="Arial MT"/>
                <a:ea typeface="Arial MT"/>
                <a:cs typeface="Arial MT"/>
              </a:rPr>
              <a:t> </a:t>
            </a:r>
            <a:r>
              <a:rPr lang="en-US" sz="1200">
                <a:effectLst/>
                <a:latin typeface="Arial MT"/>
                <a:ea typeface="Arial MT"/>
                <a:cs typeface="Arial MT"/>
              </a:rPr>
              <a:t>input</a:t>
            </a:r>
            <a:r>
              <a:rPr lang="en-US" sz="1200" spc="30">
                <a:effectLst/>
                <a:latin typeface="Arial MT"/>
                <a:ea typeface="Arial MT"/>
                <a:cs typeface="Arial MT"/>
              </a:rPr>
              <a:t> </a:t>
            </a:r>
            <a:r>
              <a:rPr lang="en-US" sz="1200">
                <a:effectLst/>
                <a:latin typeface="Arial MT"/>
                <a:ea typeface="Arial MT"/>
                <a:cs typeface="Arial MT"/>
              </a:rPr>
              <a:t>and</a:t>
            </a:r>
            <a:r>
              <a:rPr lang="en-US" sz="1200" spc="35">
                <a:effectLst/>
                <a:latin typeface="Arial MT"/>
                <a:ea typeface="Arial MT"/>
                <a:cs typeface="Arial MT"/>
              </a:rPr>
              <a:t> </a:t>
            </a:r>
            <a:r>
              <a:rPr lang="en-US" sz="1200">
                <a:effectLst/>
                <a:latin typeface="Arial MT"/>
                <a:ea typeface="Arial MT"/>
                <a:cs typeface="Arial MT"/>
              </a:rPr>
              <a:t>output</a:t>
            </a:r>
            <a:r>
              <a:rPr lang="en-US" sz="1200" spc="25">
                <a:effectLst/>
                <a:latin typeface="Arial MT"/>
                <a:ea typeface="Arial MT"/>
                <a:cs typeface="Arial MT"/>
              </a:rPr>
              <a:t> </a:t>
            </a:r>
            <a:r>
              <a:rPr lang="en-US" sz="1200">
                <a:effectLst/>
                <a:latin typeface="Arial MT"/>
                <a:ea typeface="Arial MT"/>
                <a:cs typeface="Arial MT"/>
              </a:rPr>
              <a:t>signals.</a:t>
            </a:r>
            <a:r>
              <a:rPr lang="en-US" sz="1200" spc="30">
                <a:effectLst/>
                <a:latin typeface="Arial MT"/>
                <a:ea typeface="Arial MT"/>
                <a:cs typeface="Arial MT"/>
              </a:rPr>
              <a:t> </a:t>
            </a:r>
            <a:r>
              <a:rPr lang="en-US" sz="1200">
                <a:effectLst/>
                <a:latin typeface="Arial MT"/>
                <a:ea typeface="Arial MT"/>
                <a:cs typeface="Arial MT"/>
              </a:rPr>
              <a:t>With</a:t>
            </a:r>
            <a:r>
              <a:rPr lang="en-US" sz="1200" spc="30">
                <a:effectLst/>
                <a:latin typeface="Arial MT"/>
                <a:ea typeface="Arial MT"/>
                <a:cs typeface="Arial MT"/>
              </a:rPr>
              <a:t> </a:t>
            </a:r>
            <a:r>
              <a:rPr lang="en-US" sz="1200">
                <a:effectLst/>
                <a:latin typeface="Arial MT"/>
                <a:ea typeface="Arial MT"/>
                <a:cs typeface="Arial MT"/>
              </a:rPr>
              <a:t>reference</a:t>
            </a:r>
            <a:r>
              <a:rPr lang="en-US" sz="1200" spc="30">
                <a:effectLst/>
                <a:latin typeface="Arial MT"/>
                <a:ea typeface="Arial MT"/>
                <a:cs typeface="Arial MT"/>
              </a:rPr>
              <a:t> </a:t>
            </a:r>
            <a:r>
              <a:rPr lang="en-US" sz="1200">
                <a:effectLst/>
                <a:latin typeface="Arial MT"/>
                <a:ea typeface="Arial MT"/>
                <a:cs typeface="Arial MT"/>
              </a:rPr>
              <a:t>to</a:t>
            </a:r>
            <a:r>
              <a:rPr lang="en-US" sz="1200" spc="35">
                <a:effectLst/>
                <a:latin typeface="Arial MT"/>
                <a:ea typeface="Arial MT"/>
                <a:cs typeface="Arial MT"/>
              </a:rPr>
              <a:t> </a:t>
            </a:r>
            <a:r>
              <a:rPr lang="en-US" sz="1200" u="none" strike="noStrike">
                <a:effectLst/>
                <a:latin typeface="Arial MT"/>
                <a:ea typeface="Arial MT"/>
                <a:cs typeface="Arial MT"/>
                <a:hlinkClick r:id="rId3"/>
              </a:rPr>
              <a:t>Figure</a:t>
            </a:r>
            <a:r>
              <a:rPr lang="en-US" sz="1200">
                <a:effectLst/>
                <a:latin typeface="Arial MT"/>
                <a:ea typeface="Arial MT"/>
                <a:cs typeface="Arial MT"/>
              </a:rPr>
              <a:t>,</a:t>
            </a:r>
            <a:r>
              <a:rPr lang="en-US" sz="1200" spc="30">
                <a:effectLst/>
                <a:latin typeface="Arial MT"/>
                <a:ea typeface="Arial MT"/>
                <a:cs typeface="Arial MT"/>
              </a:rPr>
              <a:t> </a:t>
            </a:r>
            <a:r>
              <a:rPr lang="en-US" sz="1200">
                <a:effectLst/>
                <a:latin typeface="Arial MT"/>
                <a:ea typeface="Arial MT"/>
                <a:cs typeface="Arial MT"/>
              </a:rPr>
              <a:t>given</a:t>
            </a:r>
            <a:r>
              <a:rPr lang="en-US" sz="1200" spc="35">
                <a:effectLst/>
                <a:latin typeface="Arial MT"/>
                <a:ea typeface="Arial MT"/>
                <a:cs typeface="Arial MT"/>
              </a:rPr>
              <a:t> </a:t>
            </a:r>
            <a:r>
              <a:rPr lang="en-US" sz="1200">
                <a:effectLst/>
                <a:latin typeface="Arial MT"/>
                <a:ea typeface="Arial MT"/>
                <a:cs typeface="Arial MT"/>
              </a:rPr>
              <a:t>a</a:t>
            </a:r>
            <a:r>
              <a:rPr lang="en-US" sz="1200" spc="30">
                <a:effectLst/>
                <a:latin typeface="Arial MT"/>
                <a:ea typeface="Arial MT"/>
                <a:cs typeface="Arial MT"/>
              </a:rPr>
              <a:t> </a:t>
            </a:r>
            <a:r>
              <a:rPr lang="en-US" sz="1200">
                <a:effectLst/>
                <a:latin typeface="Arial MT"/>
                <a:ea typeface="Arial MT"/>
                <a:cs typeface="Arial MT"/>
              </a:rPr>
              <a:t>set</a:t>
            </a:r>
            <a:r>
              <a:rPr lang="en-US" sz="1200" spc="5">
                <a:effectLst/>
                <a:latin typeface="Arial MT"/>
                <a:ea typeface="Arial MT"/>
                <a:cs typeface="Arial MT"/>
              </a:rPr>
              <a:t> </a:t>
            </a:r>
            <a:r>
              <a:rPr lang="en-US" sz="1200">
                <a:effectLst/>
                <a:latin typeface="Arial MT"/>
                <a:ea typeface="Arial MT"/>
                <a:cs typeface="Arial MT"/>
              </a:rPr>
              <a:t>of</a:t>
            </a:r>
            <a:r>
              <a:rPr lang="en-US" sz="1200" spc="50">
                <a:effectLst/>
                <a:latin typeface="Arial MT"/>
                <a:ea typeface="Arial MT"/>
                <a:cs typeface="Arial MT"/>
              </a:rPr>
              <a:t> </a:t>
            </a:r>
            <a:r>
              <a:rPr lang="en-US" sz="1200">
                <a:effectLst/>
                <a:latin typeface="Arial MT"/>
                <a:ea typeface="Arial MT"/>
                <a:cs typeface="Arial MT"/>
              </a:rPr>
              <a:t>input</a:t>
            </a:r>
            <a:r>
              <a:rPr lang="en-US" sz="1200" spc="30">
                <a:effectLst/>
                <a:latin typeface="Arial MT"/>
                <a:ea typeface="Arial MT"/>
                <a:cs typeface="Arial MT"/>
              </a:rPr>
              <a:t> </a:t>
            </a:r>
            <a:r>
              <a:rPr lang="en-US" sz="1200">
                <a:effectLst/>
                <a:latin typeface="Arial MT"/>
                <a:ea typeface="Arial MT"/>
                <a:cs typeface="Arial MT"/>
              </a:rPr>
              <a:t>data</a:t>
            </a:r>
            <a:r>
              <a:rPr lang="en-US" sz="1200" spc="10">
                <a:effectLst/>
                <a:latin typeface="Arial MT"/>
                <a:ea typeface="Arial MT"/>
                <a:cs typeface="Arial MT"/>
              </a:rPr>
              <a:t> </a:t>
            </a:r>
            <a:r>
              <a:rPr lang="en-US" sz="1200">
                <a:effectLst/>
                <a:latin typeface="Cambria Math" panose="02040503050406030204" pitchFamily="18" charset="0"/>
                <a:ea typeface="Cambria Math" panose="02040503050406030204" pitchFamily="18" charset="0"/>
                <a:cs typeface="Arial MT"/>
              </a:rPr>
              <a:t>𝑢</a:t>
            </a:r>
            <a:r>
              <a:rPr lang="en-US" sz="1200" spc="125">
                <a:effectLst/>
                <a:latin typeface="Cambria Math" panose="02040503050406030204" pitchFamily="18" charset="0"/>
                <a:ea typeface="Cambria Math" panose="02040503050406030204" pitchFamily="18" charset="0"/>
                <a:cs typeface="Arial MT"/>
              </a:rPr>
              <a:t> </a:t>
            </a:r>
            <a:r>
              <a:rPr lang="en-US" sz="1200">
                <a:effectLst/>
                <a:latin typeface="Arial MT"/>
                <a:ea typeface="Arial MT"/>
                <a:cs typeface="Arial MT"/>
              </a:rPr>
              <a:t>and</a:t>
            </a:r>
            <a:r>
              <a:rPr lang="en-US" sz="1200" spc="30">
                <a:effectLst/>
                <a:latin typeface="Arial MT"/>
                <a:ea typeface="Arial MT"/>
                <a:cs typeface="Arial MT"/>
              </a:rPr>
              <a:t> </a:t>
            </a:r>
            <a:r>
              <a:rPr lang="en-US" sz="1200">
                <a:effectLst/>
                <a:latin typeface="Arial MT"/>
                <a:ea typeface="Arial MT"/>
                <a:cs typeface="Arial MT"/>
              </a:rPr>
              <a:t>parameters </a:t>
            </a:r>
            <a:r>
              <a:rPr lang="en-US" sz="1200">
                <a:effectLst/>
                <a:latin typeface="Cambria Math" panose="02040503050406030204" pitchFamily="18" charset="0"/>
                <a:ea typeface="Cambria Math" panose="02040503050406030204" pitchFamily="18" charset="0"/>
                <a:cs typeface="Arial MT"/>
              </a:rPr>
              <a:t>𝑝</a:t>
            </a:r>
            <a:r>
              <a:rPr lang="en-US" sz="1200">
                <a:effectLst/>
                <a:latin typeface="Arial MT"/>
                <a:ea typeface="Arial MT"/>
                <a:cs typeface="Arial MT"/>
              </a:rPr>
              <a:t>, a model outputs a set of data </a:t>
            </a:r>
            <a:r>
              <a:rPr lang="en-US" sz="1200">
                <a:effectLst/>
                <a:latin typeface="Cambria Math" panose="02040503050406030204" pitchFamily="18" charset="0"/>
                <a:ea typeface="Cambria Math" panose="02040503050406030204" pitchFamily="18" charset="0"/>
                <a:cs typeface="Arial MT"/>
              </a:rPr>
              <a:t>𝑦</a:t>
            </a:r>
            <a:r>
              <a:rPr lang="en-US" sz="1200">
                <a:effectLst/>
                <a:latin typeface="Arial MT"/>
                <a:ea typeface="Arial MT"/>
                <a:cs typeface="Arial MT"/>
              </a:rPr>
              <a:t>. The output values </a:t>
            </a:r>
            <a:r>
              <a:rPr lang="en-US" sz="1200">
                <a:effectLst/>
                <a:latin typeface="Cambria Math" panose="02040503050406030204" pitchFamily="18" charset="0"/>
                <a:ea typeface="Cambria Math" panose="02040503050406030204" pitchFamily="18" charset="0"/>
                <a:cs typeface="Arial MT"/>
              </a:rPr>
              <a:t>𝑦 </a:t>
            </a:r>
            <a:r>
              <a:rPr lang="en-US" sz="1200">
                <a:effectLst/>
                <a:latin typeface="Arial MT"/>
                <a:ea typeface="Arial MT"/>
                <a:cs typeface="Arial MT"/>
              </a:rPr>
              <a:t>computed by the model should resemble as</a:t>
            </a:r>
            <a:r>
              <a:rPr lang="en-US" sz="1200" spc="-295">
                <a:effectLst/>
                <a:latin typeface="Arial MT"/>
                <a:ea typeface="Arial MT"/>
                <a:cs typeface="Arial MT"/>
              </a:rPr>
              <a:t> </a:t>
            </a:r>
            <a:r>
              <a:rPr lang="en-US" sz="1200">
                <a:effectLst/>
                <a:latin typeface="Arial MT"/>
                <a:ea typeface="Arial MT"/>
                <a:cs typeface="Arial MT"/>
              </a:rPr>
              <a:t>closely as possible the values that the corresponding physical quantities assume when the real</a:t>
            </a:r>
            <a:r>
              <a:rPr lang="en-US" sz="1200" spc="5">
                <a:effectLst/>
                <a:latin typeface="Arial MT"/>
                <a:ea typeface="Arial MT"/>
                <a:cs typeface="Arial MT"/>
              </a:rPr>
              <a:t> </a:t>
            </a:r>
            <a:r>
              <a:rPr lang="en-US" sz="1200">
                <a:effectLst/>
                <a:latin typeface="Arial MT"/>
                <a:ea typeface="Arial MT"/>
                <a:cs typeface="Arial MT"/>
              </a:rPr>
              <a:t>system</a:t>
            </a:r>
            <a:r>
              <a:rPr lang="en-US" sz="1200" spc="-10">
                <a:effectLst/>
                <a:latin typeface="Arial MT"/>
                <a:ea typeface="Arial MT"/>
                <a:cs typeface="Arial MT"/>
              </a:rPr>
              <a:t> </a:t>
            </a:r>
            <a:r>
              <a:rPr lang="en-US" sz="1200">
                <a:effectLst/>
                <a:latin typeface="Arial MT"/>
                <a:ea typeface="Arial MT"/>
                <a:cs typeface="Arial MT"/>
              </a:rPr>
              <a:t>undergoes</a:t>
            </a:r>
            <a:r>
              <a:rPr lang="en-US" sz="1200" spc="5">
                <a:effectLst/>
                <a:latin typeface="Arial MT"/>
                <a:ea typeface="Arial MT"/>
                <a:cs typeface="Arial MT"/>
              </a:rPr>
              <a:t> </a:t>
            </a:r>
            <a:r>
              <a:rPr lang="en-US" sz="1200">
                <a:effectLst/>
                <a:latin typeface="Arial MT"/>
                <a:ea typeface="Arial MT"/>
                <a:cs typeface="Arial MT"/>
              </a:rPr>
              <a:t>the</a:t>
            </a:r>
            <a:r>
              <a:rPr lang="en-US" sz="1200" spc="15">
                <a:effectLst/>
                <a:latin typeface="Arial MT"/>
                <a:ea typeface="Arial MT"/>
                <a:cs typeface="Arial MT"/>
              </a:rPr>
              <a:t> </a:t>
            </a:r>
            <a:r>
              <a:rPr lang="en-US" sz="1200">
                <a:effectLst/>
                <a:latin typeface="Arial MT"/>
                <a:ea typeface="Arial MT"/>
                <a:cs typeface="Arial MT"/>
              </a:rPr>
              <a:t>same</a:t>
            </a:r>
            <a:r>
              <a:rPr lang="en-US" sz="1200" spc="-10">
                <a:effectLst/>
                <a:latin typeface="Arial MT"/>
                <a:ea typeface="Arial MT"/>
                <a:cs typeface="Arial MT"/>
              </a:rPr>
              <a:t> </a:t>
            </a:r>
            <a:r>
              <a:rPr lang="en-US" sz="1200">
                <a:effectLst/>
                <a:latin typeface="Arial MT"/>
                <a:ea typeface="Arial MT"/>
                <a:cs typeface="Arial MT"/>
              </a:rPr>
              <a:t>conditions</a:t>
            </a:r>
            <a:r>
              <a:rPr lang="en-US" sz="1200" spc="-20">
                <a:effectLst/>
                <a:latin typeface="Arial MT"/>
                <a:ea typeface="Arial MT"/>
                <a:cs typeface="Arial MT"/>
              </a:rPr>
              <a:t>. </a:t>
            </a:r>
            <a:r>
              <a:rPr lang="en-US" sz="1200">
                <a:effectLst/>
                <a:latin typeface="Arial MT"/>
                <a:ea typeface="Arial MT"/>
                <a:cs typeface="Arial MT"/>
              </a:rPr>
              <a:t>The development of a digital model consists therefore in implementing computationally a set of</a:t>
            </a:r>
            <a:r>
              <a:rPr lang="en-US" sz="1200" spc="5">
                <a:effectLst/>
                <a:latin typeface="Arial MT"/>
                <a:ea typeface="Arial MT"/>
                <a:cs typeface="Arial MT"/>
              </a:rPr>
              <a:t> </a:t>
            </a:r>
            <a:r>
              <a:rPr lang="en-US" sz="1200">
                <a:effectLst/>
                <a:latin typeface="Arial MT"/>
                <a:ea typeface="Arial MT"/>
                <a:cs typeface="Arial MT"/>
              </a:rPr>
              <a:t>equations of the form </a:t>
            </a:r>
            <a:r>
              <a:rPr lang="en-US" sz="1200">
                <a:effectLst/>
                <a:latin typeface="Cambria Math" panose="02040503050406030204" pitchFamily="18" charset="0"/>
                <a:ea typeface="Cambria Math" panose="02040503050406030204" pitchFamily="18" charset="0"/>
                <a:cs typeface="Arial MT"/>
              </a:rPr>
              <a:t>𝑦 = 𝑓𝑓(𝑢, 𝑝) </a:t>
            </a:r>
            <a:r>
              <a:rPr lang="en-US" sz="1200">
                <a:effectLst/>
                <a:latin typeface="Arial MT"/>
                <a:ea typeface="Arial MT"/>
                <a:cs typeface="Arial MT"/>
              </a:rPr>
              <a:t>that mimic the </a:t>
            </a:r>
            <a:r>
              <a:rPr lang="en-US" sz="1200" err="1">
                <a:effectLst/>
                <a:latin typeface="Arial MT"/>
                <a:ea typeface="Arial MT"/>
                <a:cs typeface="Arial MT"/>
              </a:rPr>
              <a:t>behaviour</a:t>
            </a:r>
            <a:r>
              <a:rPr lang="en-US" sz="1200">
                <a:effectLst/>
                <a:latin typeface="Arial MT"/>
                <a:ea typeface="Arial MT"/>
                <a:cs typeface="Arial MT"/>
              </a:rPr>
              <a:t> of the real system. </a:t>
            </a:r>
            <a:endParaRPr lang="sv-SE"/>
          </a:p>
          <a:p>
            <a:pPr marL="718820" marR="713105" algn="just">
              <a:lnSpc>
                <a:spcPct val="125000"/>
              </a:lnSpc>
              <a:spcAft>
                <a:spcPts val="0"/>
              </a:spcAft>
            </a:pPr>
            <a:endParaRPr lang="sv-S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4DB91F-1AD8-437C-8866-3636784D085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6339512"/>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718820" marR="713105" algn="just">
              <a:lnSpc>
                <a:spcPct val="125000"/>
              </a:lnSpc>
              <a:spcAft>
                <a:spcPts val="0"/>
              </a:spcAft>
            </a:pPr>
            <a:endParaRPr lang="sv-S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4DB91F-1AD8-437C-8866-3636784D085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53156752"/>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718820" marR="713105" lvl="0" indent="0" algn="just" defTabSz="914400" rtl="0" eaLnBrk="1" fontAlgn="auto" latinLnBrk="0" hangingPunct="1">
              <a:lnSpc>
                <a:spcPct val="125000"/>
              </a:lnSpc>
              <a:spcBef>
                <a:spcPts val="0"/>
              </a:spcBef>
              <a:spcAft>
                <a:spcPts val="0"/>
              </a:spcAft>
              <a:buClrTx/>
              <a:buSzTx/>
              <a:buFontTx/>
              <a:buNone/>
              <a:tabLst/>
              <a:defRPr/>
            </a:pPr>
            <a:r>
              <a:rPr lang="en-US" sz="1800">
                <a:effectLst/>
                <a:latin typeface="Arial MT"/>
                <a:ea typeface="Arial MT"/>
                <a:cs typeface="Arial MT"/>
              </a:rPr>
              <a:t>The boundaries of such analysis, and hence the processes to be represented (up to a</a:t>
            </a:r>
            <a:r>
              <a:rPr lang="en-US" sz="1800" spc="5">
                <a:effectLst/>
                <a:latin typeface="Arial MT"/>
                <a:ea typeface="Arial MT"/>
                <a:cs typeface="Arial MT"/>
              </a:rPr>
              <a:t> </a:t>
            </a:r>
            <a:r>
              <a:rPr lang="en-US" sz="1800">
                <a:effectLst/>
                <a:latin typeface="Arial MT"/>
                <a:ea typeface="Arial MT"/>
                <a:cs typeface="Arial MT"/>
              </a:rPr>
              <a:t>given level of accuracy) in a digital form, depend on the decisions that the DSS (</a:t>
            </a:r>
            <a:r>
              <a:rPr lang="en-US" sz="1800">
                <a:solidFill>
                  <a:srgbClr val="3E3E3E"/>
                </a:solidFill>
                <a:effectLst/>
                <a:latin typeface="Arial MT"/>
                <a:ea typeface="Arial MT"/>
                <a:cs typeface="Arial MT"/>
              </a:rPr>
              <a:t>Decision</a:t>
            </a:r>
            <a:r>
              <a:rPr lang="en-US" sz="1800" spc="-15">
                <a:solidFill>
                  <a:srgbClr val="3E3E3E"/>
                </a:solidFill>
                <a:effectLst/>
                <a:latin typeface="Arial MT"/>
                <a:ea typeface="Arial MT"/>
                <a:cs typeface="Arial MT"/>
              </a:rPr>
              <a:t> </a:t>
            </a:r>
            <a:r>
              <a:rPr lang="en-US" sz="1800">
                <a:solidFill>
                  <a:srgbClr val="3E3E3E"/>
                </a:solidFill>
                <a:effectLst/>
                <a:latin typeface="Arial MT"/>
                <a:ea typeface="Arial MT"/>
                <a:cs typeface="Arial MT"/>
              </a:rPr>
              <a:t>Support</a:t>
            </a:r>
            <a:r>
              <a:rPr lang="en-US" sz="1800" spc="-15">
                <a:solidFill>
                  <a:srgbClr val="3E3E3E"/>
                </a:solidFill>
                <a:effectLst/>
                <a:latin typeface="Arial MT"/>
                <a:ea typeface="Arial MT"/>
                <a:cs typeface="Arial MT"/>
              </a:rPr>
              <a:t> </a:t>
            </a:r>
            <a:r>
              <a:rPr lang="en-US" sz="1800">
                <a:solidFill>
                  <a:srgbClr val="3E3E3E"/>
                </a:solidFill>
                <a:effectLst/>
                <a:latin typeface="Arial MT"/>
                <a:ea typeface="Arial MT"/>
                <a:cs typeface="Arial MT"/>
              </a:rPr>
              <a:t>System</a:t>
            </a:r>
            <a:r>
              <a:rPr lang="en-US" sz="1800">
                <a:effectLst/>
                <a:latin typeface="Arial MT"/>
                <a:ea typeface="Arial MT"/>
                <a:cs typeface="Arial MT"/>
              </a:rPr>
              <a:t>) is supposed to aid</a:t>
            </a:r>
            <a:r>
              <a:rPr lang="en-US" sz="1800" spc="5">
                <a:effectLst/>
                <a:latin typeface="Arial MT"/>
                <a:ea typeface="Arial MT"/>
                <a:cs typeface="Arial MT"/>
              </a:rPr>
              <a:t> </a:t>
            </a:r>
            <a:r>
              <a:rPr lang="en-US" sz="1800">
                <a:effectLst/>
                <a:latin typeface="Arial MT"/>
                <a:ea typeface="Arial MT"/>
                <a:cs typeface="Arial MT"/>
              </a:rPr>
              <a:t>the end-users in making. Indeed, to the aim of supporting decisions, the DSS will need to elaborate</a:t>
            </a:r>
            <a:r>
              <a:rPr lang="en-US" sz="1800" spc="-295">
                <a:effectLst/>
                <a:latin typeface="Arial MT"/>
                <a:ea typeface="Arial MT"/>
                <a:cs typeface="Arial MT"/>
              </a:rPr>
              <a:t> </a:t>
            </a:r>
            <a:r>
              <a:rPr lang="en-US" sz="1800">
                <a:effectLst/>
                <a:latin typeface="Arial MT"/>
                <a:ea typeface="Arial MT"/>
                <a:cs typeface="Arial MT"/>
              </a:rPr>
              <a:t>a certain amount of information, among which that related to the functioning of processes will be</a:t>
            </a:r>
            <a:r>
              <a:rPr lang="en-US" sz="1800" spc="5">
                <a:effectLst/>
                <a:latin typeface="Arial MT"/>
                <a:ea typeface="Arial MT"/>
                <a:cs typeface="Arial MT"/>
              </a:rPr>
              <a:t> </a:t>
            </a:r>
            <a:r>
              <a:rPr lang="en-US" sz="1800">
                <a:effectLst/>
                <a:latin typeface="Arial MT"/>
                <a:ea typeface="Arial MT"/>
                <a:cs typeface="Arial MT"/>
              </a:rPr>
              <a:t>supplied</a:t>
            </a:r>
            <a:r>
              <a:rPr lang="en-US" sz="1800" spc="-15">
                <a:effectLst/>
                <a:latin typeface="Arial MT"/>
                <a:ea typeface="Arial MT"/>
                <a:cs typeface="Arial MT"/>
              </a:rPr>
              <a:t> </a:t>
            </a:r>
            <a:r>
              <a:rPr lang="en-US" sz="1800">
                <a:effectLst/>
                <a:latin typeface="Arial MT"/>
                <a:ea typeface="Arial MT"/>
                <a:cs typeface="Arial MT"/>
              </a:rPr>
              <a:t>by</a:t>
            </a:r>
            <a:r>
              <a:rPr lang="en-US" sz="1800" spc="-20">
                <a:effectLst/>
                <a:latin typeface="Arial MT"/>
                <a:ea typeface="Arial MT"/>
                <a:cs typeface="Arial MT"/>
              </a:rPr>
              <a:t> </a:t>
            </a:r>
            <a:r>
              <a:rPr lang="en-US" sz="1800">
                <a:effectLst/>
                <a:latin typeface="Arial MT"/>
                <a:ea typeface="Arial MT"/>
                <a:cs typeface="Arial MT"/>
              </a:rPr>
              <a:t>the</a:t>
            </a:r>
            <a:r>
              <a:rPr lang="en-US" sz="1800" spc="15">
                <a:effectLst/>
                <a:latin typeface="Arial MT"/>
                <a:ea typeface="Arial MT"/>
                <a:cs typeface="Arial MT"/>
              </a:rPr>
              <a:t> </a:t>
            </a:r>
            <a:r>
              <a:rPr lang="en-US" sz="1800">
                <a:effectLst/>
                <a:latin typeface="Arial MT"/>
                <a:ea typeface="Arial MT"/>
                <a:cs typeface="Arial MT"/>
              </a:rPr>
              <a:t>corresponding</a:t>
            </a:r>
            <a:r>
              <a:rPr lang="en-US" sz="1800" spc="15">
                <a:effectLst/>
                <a:latin typeface="Arial MT"/>
                <a:ea typeface="Arial MT"/>
                <a:cs typeface="Arial MT"/>
              </a:rPr>
              <a:t> </a:t>
            </a:r>
            <a:r>
              <a:rPr lang="en-US" sz="1800">
                <a:effectLst/>
                <a:latin typeface="Arial MT"/>
                <a:ea typeface="Arial MT"/>
                <a:cs typeface="Arial MT"/>
              </a:rPr>
              <a:t>digital</a:t>
            </a:r>
            <a:r>
              <a:rPr lang="en-US" sz="1800" spc="-25">
                <a:effectLst/>
                <a:latin typeface="Arial MT"/>
                <a:ea typeface="Arial MT"/>
                <a:cs typeface="Arial MT"/>
              </a:rPr>
              <a:t> </a:t>
            </a:r>
            <a:r>
              <a:rPr lang="en-US" sz="1800">
                <a:effectLst/>
                <a:latin typeface="Arial MT"/>
                <a:ea typeface="Arial MT"/>
                <a:cs typeface="Arial MT"/>
              </a:rPr>
              <a:t>models. The</a:t>
            </a:r>
            <a:r>
              <a:rPr lang="en-US" sz="1800" spc="-70">
                <a:effectLst/>
                <a:latin typeface="Arial MT"/>
                <a:ea typeface="Arial MT"/>
                <a:cs typeface="Arial MT"/>
              </a:rPr>
              <a:t> </a:t>
            </a:r>
            <a:r>
              <a:rPr lang="en-US" sz="1800">
                <a:effectLst/>
                <a:latin typeface="Arial MT"/>
                <a:ea typeface="Arial MT"/>
                <a:cs typeface="Arial MT"/>
              </a:rPr>
              <a:t>processes</a:t>
            </a:r>
            <a:r>
              <a:rPr lang="en-US" sz="1800" spc="-295">
                <a:effectLst/>
                <a:latin typeface="Arial MT"/>
                <a:ea typeface="Arial MT"/>
                <a:cs typeface="Arial MT"/>
              </a:rPr>
              <a:t> </a:t>
            </a:r>
            <a:r>
              <a:rPr lang="en-US" sz="1800">
                <a:effectLst/>
                <a:latin typeface="Arial MT"/>
                <a:ea typeface="Arial MT"/>
                <a:cs typeface="Arial MT"/>
              </a:rPr>
              <a:t>that need to be modelled are those that have an impact: on the key resource indicators (KRI) and </a:t>
            </a:r>
            <a:r>
              <a:rPr lang="en-US" sz="1800">
                <a:latin typeface="Arial MT"/>
                <a:ea typeface="Arial MT"/>
                <a:cs typeface="Arial MT"/>
              </a:rPr>
              <a:t>on the </a:t>
            </a:r>
            <a:r>
              <a:rPr lang="en-US" sz="1800">
                <a:effectLst/>
                <a:latin typeface="Arial MT"/>
                <a:ea typeface="Arial MT"/>
                <a:cs typeface="Arial MT"/>
              </a:rPr>
              <a:t>key performance attributes (KPA)</a:t>
            </a:r>
          </a:p>
          <a:p>
            <a:pPr marL="718820" marR="713105" lvl="0" indent="0" algn="just" defTabSz="914400" rtl="0" eaLnBrk="1" fontAlgn="auto" latinLnBrk="0" hangingPunct="1">
              <a:lnSpc>
                <a:spcPct val="125000"/>
              </a:lnSpc>
              <a:spcBef>
                <a:spcPts val="0"/>
              </a:spcBef>
              <a:spcAft>
                <a:spcPts val="0"/>
              </a:spcAft>
              <a:buClrTx/>
              <a:buSzTx/>
              <a:buFontTx/>
              <a:buNone/>
              <a:tabLst/>
              <a:defRPr/>
            </a:pPr>
            <a:endParaRPr lang="en-US" sz="1800">
              <a:effectLst/>
              <a:latin typeface="Arial MT"/>
              <a:ea typeface="Symbol" panose="05050102010706020507" pitchFamily="18" charset="2"/>
              <a:cs typeface="Symbol" panose="05050102010706020507" pitchFamily="18" charset="2"/>
            </a:endParaRPr>
          </a:p>
          <a:p>
            <a:pPr marL="718820" marR="713105" lvl="0" indent="0" algn="just" defTabSz="914400" rtl="0" eaLnBrk="1" fontAlgn="auto" latinLnBrk="0" hangingPunct="1">
              <a:lnSpc>
                <a:spcPct val="125000"/>
              </a:lnSpc>
              <a:spcBef>
                <a:spcPts val="0"/>
              </a:spcBef>
              <a:spcAft>
                <a:spcPts val="0"/>
              </a:spcAft>
              <a:buClrTx/>
              <a:buSzTx/>
              <a:buFontTx/>
              <a:buNone/>
              <a:tabLst/>
              <a:defRPr/>
            </a:pPr>
            <a:endParaRPr lang="sv-SE" sz="1800">
              <a:effectLst/>
              <a:latin typeface="Arial MT"/>
              <a:ea typeface="Arial MT"/>
              <a:cs typeface="Arial MT"/>
            </a:endParaRPr>
          </a:p>
          <a:p>
            <a:pPr marL="718820" marR="713105" algn="just">
              <a:lnSpc>
                <a:spcPct val="125000"/>
              </a:lnSpc>
              <a:spcAft>
                <a:spcPts val="0"/>
              </a:spcAft>
            </a:pPr>
            <a:endParaRPr lang="sv-S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4DB91F-1AD8-437C-8866-3636784D085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2227308"/>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a:t>@geo: </a:t>
            </a:r>
            <a:r>
              <a:rPr lang="sv-SE" err="1"/>
              <a:t>Notice</a:t>
            </a:r>
            <a:r>
              <a:rPr lang="sv-SE"/>
              <a:t> the </a:t>
            </a:r>
            <a:r>
              <a:rPr lang="sv-SE" err="1"/>
              <a:t>hyperlinks</a:t>
            </a:r>
            <a:r>
              <a:rPr lang="sv-SE"/>
              <a:t> on the logos</a:t>
            </a:r>
          </a:p>
        </p:txBody>
      </p:sp>
      <p:sp>
        <p:nvSpPr>
          <p:cNvPr id="4" name="Slide Number Placeholder 3"/>
          <p:cNvSpPr>
            <a:spLocks noGrp="1"/>
          </p:cNvSpPr>
          <p:nvPr>
            <p:ph type="sldNum" sz="quarter" idx="5"/>
          </p:nvPr>
        </p:nvSpPr>
        <p:spPr/>
        <p:txBody>
          <a:bodyPr/>
          <a:lstStyle/>
          <a:p>
            <a:fld id="{F84DB91F-1AD8-437C-8866-3636784D0854}" type="slidenum">
              <a:rPr lang="en-GB" smtClean="0"/>
              <a:t>92</a:t>
            </a:fld>
            <a:endParaRPr lang="en-GB"/>
          </a:p>
        </p:txBody>
      </p:sp>
    </p:spTree>
    <p:extLst>
      <p:ext uri="{BB962C8B-B14F-4D97-AF65-F5344CB8AC3E}">
        <p14:creationId xmlns:p14="http://schemas.microsoft.com/office/powerpoint/2010/main" val="2002416034"/>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715645" lvl="2" indent="457200" algn="just">
              <a:lnSpc>
                <a:spcPct val="100000"/>
              </a:lnSpc>
              <a:spcAft>
                <a:spcPts val="0"/>
              </a:spcAft>
              <a:buSzPts val="1100"/>
              <a:buFont typeface="Symbol" panose="05050102010706020507" pitchFamily="18" charset="2"/>
              <a:buNone/>
              <a:tabLst>
                <a:tab pos="1173480" algn="l"/>
              </a:tabLst>
            </a:pPr>
            <a:r>
              <a:rPr lang="en-US" sz="1100" dirty="0">
                <a:effectLst/>
                <a:latin typeface="Arial MT"/>
                <a:ea typeface="Symbol" panose="05050102010706020507" pitchFamily="18" charset="2"/>
                <a:cs typeface="Symbol" panose="05050102010706020507" pitchFamily="18" charset="2"/>
              </a:rPr>
              <a:t>The RETROFEED project at SECIL demo-site will focus on the clinkering</a:t>
            </a:r>
            <a:r>
              <a:rPr lang="en-US" sz="1100" spc="5" dirty="0">
                <a:effectLst/>
                <a:latin typeface="Arial MT"/>
                <a:ea typeface="Symbol" panose="05050102010706020507" pitchFamily="18" charset="2"/>
                <a:cs typeface="Symbol" panose="05050102010706020507" pitchFamily="18" charset="2"/>
              </a:rPr>
              <a:t> </a:t>
            </a:r>
            <a:r>
              <a:rPr lang="en-US" sz="1100" spc="-5" dirty="0">
                <a:effectLst/>
                <a:latin typeface="Arial MT"/>
                <a:ea typeface="Symbol" panose="05050102010706020507" pitchFamily="18" charset="2"/>
                <a:cs typeface="Symbol" panose="05050102010706020507" pitchFamily="18" charset="2"/>
              </a:rPr>
              <a:t>process,</a:t>
            </a:r>
            <a:r>
              <a:rPr lang="en-US" sz="1100" spc="-40" dirty="0">
                <a:effectLst/>
                <a:latin typeface="Arial MT"/>
                <a:ea typeface="Symbol" panose="05050102010706020507" pitchFamily="18" charset="2"/>
                <a:cs typeface="Symbol" panose="05050102010706020507" pitchFamily="18" charset="2"/>
              </a:rPr>
              <a:t> </a:t>
            </a:r>
            <a:r>
              <a:rPr lang="en-US" sz="1100" spc="-5" dirty="0">
                <a:effectLst/>
                <a:latin typeface="Arial MT"/>
                <a:ea typeface="Symbol" panose="05050102010706020507" pitchFamily="18" charset="2"/>
                <a:cs typeface="Symbol" panose="05050102010706020507" pitchFamily="18" charset="2"/>
              </a:rPr>
              <a:t>sketched</a:t>
            </a:r>
            <a:r>
              <a:rPr lang="en-US" sz="1100" spc="-35" dirty="0">
                <a:effectLst/>
                <a:latin typeface="Arial MT"/>
                <a:ea typeface="Symbol" panose="05050102010706020507" pitchFamily="18" charset="2"/>
                <a:cs typeface="Symbol" panose="05050102010706020507" pitchFamily="18" charset="2"/>
              </a:rPr>
              <a:t> </a:t>
            </a:r>
            <a:r>
              <a:rPr lang="en-US" sz="1100" spc="-5" dirty="0">
                <a:effectLst/>
                <a:latin typeface="Arial MT"/>
                <a:ea typeface="Symbol" panose="05050102010706020507" pitchFamily="18" charset="2"/>
                <a:cs typeface="Symbol" panose="05050102010706020507" pitchFamily="18" charset="2"/>
              </a:rPr>
              <a:t>in</a:t>
            </a:r>
            <a:r>
              <a:rPr lang="en-US" sz="1100" spc="-35" dirty="0">
                <a:effectLst/>
                <a:latin typeface="Arial MT"/>
                <a:ea typeface="Symbol" panose="05050102010706020507" pitchFamily="18" charset="2"/>
                <a:cs typeface="Symbol" panose="05050102010706020507" pitchFamily="18" charset="2"/>
              </a:rPr>
              <a:t> </a:t>
            </a:r>
            <a:r>
              <a:rPr lang="en-US" sz="1100" u="none" strike="noStrike" spc="-5" dirty="0">
                <a:effectLst/>
                <a:latin typeface="Arial MT"/>
                <a:ea typeface="Symbol" panose="05050102010706020507" pitchFamily="18" charset="2"/>
                <a:cs typeface="Symbol" panose="05050102010706020507" pitchFamily="18" charset="2"/>
                <a:hlinkClick r:id="rId3"/>
              </a:rPr>
              <a:t>Figure</a:t>
            </a:r>
            <a:r>
              <a:rPr lang="en-US" sz="1100" spc="-5" dirty="0">
                <a:effectLst/>
                <a:latin typeface="Arial MT"/>
                <a:ea typeface="Symbol" panose="05050102010706020507" pitchFamily="18" charset="2"/>
                <a:cs typeface="Symbol" panose="05050102010706020507" pitchFamily="18" charset="2"/>
              </a:rPr>
              <a:t>,</a:t>
            </a:r>
            <a:r>
              <a:rPr lang="en-US" sz="1100" spc="-60" dirty="0">
                <a:effectLst/>
                <a:latin typeface="Arial MT"/>
                <a:ea typeface="Symbol" panose="05050102010706020507" pitchFamily="18" charset="2"/>
                <a:cs typeface="Symbol" panose="05050102010706020507" pitchFamily="18" charset="2"/>
              </a:rPr>
              <a:t> </a:t>
            </a:r>
            <a:r>
              <a:rPr lang="en-US" sz="1100" spc="-5" dirty="0">
                <a:effectLst/>
                <a:latin typeface="Arial MT"/>
                <a:ea typeface="Symbol" panose="05050102010706020507" pitchFamily="18" charset="2"/>
                <a:cs typeface="Symbol" panose="05050102010706020507" pitchFamily="18" charset="2"/>
              </a:rPr>
              <a:t>and</a:t>
            </a:r>
            <a:r>
              <a:rPr lang="en-US" sz="1100" spc="-60" dirty="0">
                <a:effectLst/>
                <a:latin typeface="Arial MT"/>
                <a:ea typeface="Symbol" panose="05050102010706020507" pitchFamily="18" charset="2"/>
                <a:cs typeface="Symbol" panose="05050102010706020507" pitchFamily="18" charset="2"/>
              </a:rPr>
              <a:t> </a:t>
            </a:r>
            <a:r>
              <a:rPr lang="en-US" sz="1100" spc="-5" dirty="0">
                <a:effectLst/>
                <a:latin typeface="Arial MT"/>
                <a:ea typeface="Symbol" panose="05050102010706020507" pitchFamily="18" charset="2"/>
                <a:cs typeface="Symbol" panose="05050102010706020507" pitchFamily="18" charset="2"/>
              </a:rPr>
              <a:t>will</a:t>
            </a:r>
            <a:r>
              <a:rPr lang="en-US" sz="1100" spc="-50" dirty="0">
                <a:effectLst/>
                <a:latin typeface="Arial MT"/>
                <a:ea typeface="Symbol" panose="05050102010706020507" pitchFamily="18" charset="2"/>
                <a:cs typeface="Symbol" panose="05050102010706020507" pitchFamily="18" charset="2"/>
              </a:rPr>
              <a:t> </a:t>
            </a:r>
            <a:r>
              <a:rPr lang="en-US" sz="1100" spc="-5" dirty="0">
                <a:effectLst/>
                <a:latin typeface="Arial MT"/>
                <a:ea typeface="Symbol" panose="05050102010706020507" pitchFamily="18" charset="2"/>
                <a:cs typeface="Symbol" panose="05050102010706020507" pitchFamily="18" charset="2"/>
              </a:rPr>
              <a:t>be</a:t>
            </a:r>
            <a:r>
              <a:rPr lang="en-US" sz="1100" spc="-60" dirty="0">
                <a:effectLst/>
                <a:latin typeface="Arial MT"/>
                <a:ea typeface="Symbol" panose="05050102010706020507" pitchFamily="18" charset="2"/>
                <a:cs typeface="Symbol" panose="05050102010706020507" pitchFamily="18" charset="2"/>
              </a:rPr>
              <a:t> </a:t>
            </a:r>
            <a:r>
              <a:rPr lang="en-US" sz="1100" spc="-5" dirty="0">
                <a:effectLst/>
                <a:latin typeface="Arial MT"/>
                <a:ea typeface="Symbol" panose="05050102010706020507" pitchFamily="18" charset="2"/>
                <a:cs typeface="Symbol" panose="05050102010706020507" pitchFamily="18" charset="2"/>
              </a:rPr>
              <a:t>aimed</a:t>
            </a:r>
            <a:r>
              <a:rPr lang="en-US" sz="1100" spc="-60" dirty="0">
                <a:effectLst/>
                <a:latin typeface="Arial MT"/>
                <a:ea typeface="Symbol" panose="05050102010706020507" pitchFamily="18" charset="2"/>
                <a:cs typeface="Symbol" panose="05050102010706020507" pitchFamily="18" charset="2"/>
              </a:rPr>
              <a:t> </a:t>
            </a:r>
            <a:r>
              <a:rPr lang="en-US" sz="1100" dirty="0">
                <a:effectLst/>
                <a:latin typeface="Arial MT"/>
                <a:ea typeface="Symbol" panose="05050102010706020507" pitchFamily="18" charset="2"/>
                <a:cs typeface="Symbol" panose="05050102010706020507" pitchFamily="18" charset="2"/>
              </a:rPr>
              <a:t>at</a:t>
            </a:r>
            <a:r>
              <a:rPr lang="en-US" sz="1100" spc="-80" dirty="0">
                <a:effectLst/>
                <a:latin typeface="Arial MT"/>
                <a:ea typeface="Symbol" panose="05050102010706020507" pitchFamily="18" charset="2"/>
                <a:cs typeface="Symbol" panose="05050102010706020507" pitchFamily="18" charset="2"/>
              </a:rPr>
              <a:t> </a:t>
            </a:r>
            <a:r>
              <a:rPr lang="en-US" sz="1100" dirty="0">
                <a:effectLst/>
                <a:latin typeface="Arial MT"/>
                <a:ea typeface="Symbol" panose="05050102010706020507" pitchFamily="18" charset="2"/>
                <a:cs typeface="Symbol" panose="05050102010706020507" pitchFamily="18" charset="2"/>
              </a:rPr>
              <a:t>reducing</a:t>
            </a:r>
            <a:r>
              <a:rPr lang="en-US" sz="1100" spc="-60" dirty="0">
                <a:effectLst/>
                <a:latin typeface="Arial MT"/>
                <a:ea typeface="Symbol" panose="05050102010706020507" pitchFamily="18" charset="2"/>
                <a:cs typeface="Symbol" panose="05050102010706020507" pitchFamily="18" charset="2"/>
              </a:rPr>
              <a:t> </a:t>
            </a:r>
            <a:r>
              <a:rPr lang="en-US" sz="1100" dirty="0">
                <a:effectLst/>
                <a:latin typeface="Arial MT"/>
                <a:ea typeface="Symbol" panose="05050102010706020507" pitchFamily="18" charset="2"/>
                <a:cs typeface="Symbol" panose="05050102010706020507" pitchFamily="18" charset="2"/>
              </a:rPr>
              <a:t>the</a:t>
            </a:r>
            <a:r>
              <a:rPr lang="en-US" sz="1100" spc="-35" dirty="0">
                <a:effectLst/>
                <a:latin typeface="Arial MT"/>
                <a:ea typeface="Symbol" panose="05050102010706020507" pitchFamily="18" charset="2"/>
                <a:cs typeface="Symbol" panose="05050102010706020507" pitchFamily="18" charset="2"/>
              </a:rPr>
              <a:t> </a:t>
            </a:r>
            <a:r>
              <a:rPr lang="en-US" sz="1100" dirty="0">
                <a:effectLst/>
                <a:latin typeface="Arial MT"/>
                <a:ea typeface="Symbol" panose="05050102010706020507" pitchFamily="18" charset="2"/>
                <a:cs typeface="Symbol" panose="05050102010706020507" pitchFamily="18" charset="2"/>
              </a:rPr>
              <a:t>CO</a:t>
            </a:r>
            <a:r>
              <a:rPr lang="en-US" sz="700" dirty="0">
                <a:effectLst/>
                <a:latin typeface="Arial MT"/>
                <a:ea typeface="Symbol" panose="05050102010706020507" pitchFamily="18" charset="2"/>
                <a:cs typeface="Symbol" panose="05050102010706020507" pitchFamily="18" charset="2"/>
              </a:rPr>
              <a:t>2</a:t>
            </a:r>
            <a:r>
              <a:rPr lang="en-US" sz="700" spc="65" dirty="0">
                <a:effectLst/>
                <a:latin typeface="Arial MT"/>
                <a:ea typeface="Symbol" panose="05050102010706020507" pitchFamily="18" charset="2"/>
                <a:cs typeface="Symbol" panose="05050102010706020507" pitchFamily="18" charset="2"/>
              </a:rPr>
              <a:t> </a:t>
            </a:r>
            <a:r>
              <a:rPr lang="en-US" sz="1100" dirty="0">
                <a:effectLst/>
                <a:latin typeface="Arial MT"/>
                <a:ea typeface="Symbol" panose="05050102010706020507" pitchFamily="18" charset="2"/>
                <a:cs typeface="Symbol" panose="05050102010706020507" pitchFamily="18" charset="2"/>
              </a:rPr>
              <a:t>emissions</a:t>
            </a:r>
            <a:r>
              <a:rPr lang="en-US" sz="1100" spc="-70" dirty="0">
                <a:effectLst/>
                <a:latin typeface="Arial MT"/>
                <a:ea typeface="Symbol" panose="05050102010706020507" pitchFamily="18" charset="2"/>
                <a:cs typeface="Symbol" panose="05050102010706020507" pitchFamily="18" charset="2"/>
              </a:rPr>
              <a:t> </a:t>
            </a:r>
            <a:r>
              <a:rPr lang="en-US" sz="1100" dirty="0">
                <a:effectLst/>
                <a:latin typeface="Arial MT"/>
                <a:ea typeface="Symbol" panose="05050102010706020507" pitchFamily="18" charset="2"/>
                <a:cs typeface="Symbol" panose="05050102010706020507" pitchFamily="18" charset="2"/>
              </a:rPr>
              <a:t>by</a:t>
            </a:r>
            <a:r>
              <a:rPr lang="en-US" sz="1100" spc="-40" dirty="0">
                <a:effectLst/>
                <a:latin typeface="Arial MT"/>
                <a:ea typeface="Symbol" panose="05050102010706020507" pitchFamily="18" charset="2"/>
                <a:cs typeface="Symbol" panose="05050102010706020507" pitchFamily="18" charset="2"/>
              </a:rPr>
              <a:t> </a:t>
            </a:r>
            <a:r>
              <a:rPr lang="en-US" sz="1100" dirty="0">
                <a:effectLst/>
                <a:latin typeface="Arial MT"/>
                <a:ea typeface="Symbol" panose="05050102010706020507" pitchFamily="18" charset="2"/>
                <a:cs typeface="Symbol" panose="05050102010706020507" pitchFamily="18" charset="2"/>
              </a:rPr>
              <a:t>increasing </a:t>
            </a:r>
            <a:r>
              <a:rPr lang="en-US" sz="1100" dirty="0">
                <a:effectLst/>
                <a:latin typeface="Arial MT"/>
                <a:ea typeface="Arial MT"/>
                <a:cs typeface="Arial MT"/>
              </a:rPr>
              <a:t>the percentage of bio-based feedstock (such as RDF) in the fuel mix consumed by the main</a:t>
            </a:r>
            <a:r>
              <a:rPr lang="en-US" sz="1100" spc="-295" dirty="0">
                <a:effectLst/>
                <a:latin typeface="Arial MT"/>
                <a:ea typeface="Arial MT"/>
                <a:cs typeface="Arial MT"/>
              </a:rPr>
              <a:t> </a:t>
            </a:r>
            <a:r>
              <a:rPr lang="en-US" sz="1100" dirty="0">
                <a:effectLst/>
                <a:latin typeface="Arial MT"/>
                <a:ea typeface="Arial MT"/>
                <a:cs typeface="Arial MT"/>
              </a:rPr>
              <a:t>burner</a:t>
            </a:r>
            <a:r>
              <a:rPr lang="en-US" sz="1100" spc="-10" dirty="0">
                <a:effectLst/>
                <a:latin typeface="Arial MT"/>
                <a:ea typeface="Arial MT"/>
                <a:cs typeface="Arial MT"/>
              </a:rPr>
              <a:t> </a:t>
            </a:r>
            <a:r>
              <a:rPr lang="en-US" sz="1100" dirty="0">
                <a:effectLst/>
                <a:latin typeface="Arial MT"/>
                <a:ea typeface="Arial MT"/>
                <a:cs typeface="Arial MT"/>
              </a:rPr>
              <a:t>of</a:t>
            </a:r>
            <a:r>
              <a:rPr lang="en-US" sz="1100" spc="10" dirty="0">
                <a:effectLst/>
                <a:latin typeface="Arial MT"/>
                <a:ea typeface="Arial MT"/>
                <a:cs typeface="Arial MT"/>
              </a:rPr>
              <a:t> </a:t>
            </a:r>
            <a:r>
              <a:rPr lang="en-US" sz="1100" dirty="0">
                <a:effectLst/>
                <a:latin typeface="Arial MT"/>
                <a:ea typeface="Arial MT"/>
                <a:cs typeface="Arial MT"/>
              </a:rPr>
              <a:t>the</a:t>
            </a:r>
            <a:r>
              <a:rPr lang="en-US" sz="1100" spc="15" dirty="0">
                <a:effectLst/>
                <a:latin typeface="Arial MT"/>
                <a:ea typeface="Arial MT"/>
                <a:cs typeface="Arial MT"/>
              </a:rPr>
              <a:t> </a:t>
            </a:r>
            <a:r>
              <a:rPr lang="en-US" sz="1100" dirty="0">
                <a:effectLst/>
                <a:latin typeface="Arial MT"/>
                <a:ea typeface="Arial MT"/>
                <a:cs typeface="Arial MT"/>
              </a:rPr>
              <a:t>rotary</a:t>
            </a:r>
            <a:r>
              <a:rPr lang="en-US" sz="1100" spc="-20" dirty="0">
                <a:effectLst/>
                <a:latin typeface="Arial MT"/>
                <a:ea typeface="Arial MT"/>
                <a:cs typeface="Arial MT"/>
              </a:rPr>
              <a:t> </a:t>
            </a:r>
            <a:r>
              <a:rPr lang="en-US" sz="1100" dirty="0">
                <a:effectLst/>
                <a:latin typeface="Arial MT"/>
                <a:ea typeface="Arial MT"/>
                <a:cs typeface="Arial MT"/>
              </a:rPr>
              <a:t>kiln. </a:t>
            </a:r>
          </a:p>
          <a:p>
            <a:pPr marL="0" marR="715645" lvl="2" indent="457200" algn="just">
              <a:lnSpc>
                <a:spcPct val="100000"/>
              </a:lnSpc>
              <a:spcAft>
                <a:spcPts val="0"/>
              </a:spcAft>
              <a:buSzPts val="1100"/>
              <a:buFont typeface="Symbol" panose="05050102010706020507" pitchFamily="18" charset="2"/>
              <a:buNone/>
              <a:tabLst>
                <a:tab pos="1173480" algn="l"/>
              </a:tabLst>
            </a:pPr>
            <a:r>
              <a:rPr lang="en-US" sz="1800" dirty="0">
                <a:effectLst/>
                <a:latin typeface="Arial MT"/>
                <a:ea typeface="Arial MT"/>
                <a:cs typeface="Arial MT"/>
              </a:rPr>
              <a:t>In this case, the DSS should provide indications on the best fuel mix to be employed and on</a:t>
            </a:r>
            <a:r>
              <a:rPr lang="en-US" sz="1800" spc="-295" dirty="0">
                <a:effectLst/>
                <a:latin typeface="Arial MT"/>
                <a:ea typeface="Arial MT"/>
                <a:cs typeface="Arial MT"/>
              </a:rPr>
              <a:t> </a:t>
            </a:r>
            <a:r>
              <a:rPr lang="en-US" sz="1800" dirty="0">
                <a:effectLst/>
                <a:latin typeface="Arial MT"/>
                <a:ea typeface="Arial MT"/>
                <a:cs typeface="Arial MT"/>
              </a:rPr>
              <a:t>the regulation of some process parameters, such as the Brown gas and cooling air injection</a:t>
            </a:r>
            <a:r>
              <a:rPr lang="en-US" sz="1800" spc="-295" dirty="0">
                <a:effectLst/>
                <a:latin typeface="Arial MT"/>
                <a:ea typeface="Arial MT"/>
                <a:cs typeface="Arial MT"/>
              </a:rPr>
              <a:t> </a:t>
            </a:r>
            <a:r>
              <a:rPr lang="en-US" sz="1800" dirty="0">
                <a:effectLst/>
                <a:latin typeface="Arial MT"/>
                <a:ea typeface="Arial MT"/>
                <a:cs typeface="Arial MT"/>
              </a:rPr>
              <a:t>rate, to </a:t>
            </a:r>
            <a:r>
              <a:rPr lang="en-US" sz="1800" dirty="0" err="1">
                <a:effectLst/>
                <a:latin typeface="Arial MT"/>
                <a:ea typeface="Arial MT"/>
                <a:cs typeface="Arial MT"/>
              </a:rPr>
              <a:t>favour</a:t>
            </a:r>
            <a:r>
              <a:rPr lang="en-US" sz="1800" dirty="0">
                <a:effectLst/>
                <a:latin typeface="Arial MT"/>
                <a:ea typeface="Arial MT"/>
                <a:cs typeface="Arial MT"/>
              </a:rPr>
              <a:t> the increase of bio-based feedstock, without compromising the quality of the</a:t>
            </a:r>
            <a:r>
              <a:rPr lang="en-US" sz="1800" spc="5" dirty="0">
                <a:effectLst/>
                <a:latin typeface="Arial MT"/>
                <a:ea typeface="Arial MT"/>
                <a:cs typeface="Arial MT"/>
              </a:rPr>
              <a:t> </a:t>
            </a:r>
            <a:r>
              <a:rPr lang="en-US" sz="1800" dirty="0">
                <a:effectLst/>
                <a:latin typeface="Arial MT"/>
                <a:ea typeface="Arial MT"/>
                <a:cs typeface="Arial MT"/>
              </a:rPr>
              <a:t>final</a:t>
            </a:r>
            <a:r>
              <a:rPr lang="en-US" sz="1800" spc="-25" dirty="0">
                <a:effectLst/>
                <a:latin typeface="Arial MT"/>
                <a:ea typeface="Arial MT"/>
                <a:cs typeface="Arial MT"/>
              </a:rPr>
              <a:t> </a:t>
            </a:r>
            <a:r>
              <a:rPr lang="en-US" sz="1800" dirty="0">
                <a:effectLst/>
                <a:latin typeface="Arial MT"/>
                <a:ea typeface="Arial MT"/>
                <a:cs typeface="Arial MT"/>
              </a:rPr>
              <a:t>product.</a:t>
            </a:r>
          </a:p>
          <a:p>
            <a:pPr marL="0" marR="715645" lvl="2" indent="457200" algn="just">
              <a:lnSpc>
                <a:spcPct val="100000"/>
              </a:lnSpc>
              <a:spcAft>
                <a:spcPts val="0"/>
              </a:spcAft>
              <a:buSzPts val="1100"/>
              <a:buFont typeface="Symbol" panose="05050102010706020507" pitchFamily="18" charset="2"/>
              <a:buNone/>
              <a:tabLst>
                <a:tab pos="1173480" algn="l"/>
              </a:tabLst>
            </a:pPr>
            <a:endParaRPr lang="en-US" sz="1800" dirty="0">
              <a:effectLst/>
              <a:latin typeface="Arial MT"/>
              <a:ea typeface="Arial MT"/>
              <a:cs typeface="Arial MT"/>
            </a:endParaRPr>
          </a:p>
          <a:p>
            <a:pPr marL="0" marR="715645" lvl="2" indent="457200" algn="just">
              <a:lnSpc>
                <a:spcPct val="100000"/>
              </a:lnSpc>
              <a:spcAft>
                <a:spcPts val="0"/>
              </a:spcAft>
              <a:buSzPts val="1100"/>
              <a:buFont typeface="Symbol" panose="05050102010706020507" pitchFamily="18" charset="2"/>
              <a:buNone/>
              <a:tabLst>
                <a:tab pos="1173480" algn="l"/>
              </a:tabLst>
            </a:pPr>
            <a:r>
              <a:rPr lang="en-US" sz="1800" dirty="0">
                <a:effectLst/>
                <a:latin typeface="Arial MT"/>
                <a:ea typeface="Arial MT"/>
                <a:cs typeface="Arial MT"/>
              </a:rPr>
              <a:t>The core process, i.e. the rotary kiln, will be modelled by the DT, consisting in a CFD model</a:t>
            </a:r>
            <a:r>
              <a:rPr lang="en-US" sz="1800" spc="-295" dirty="0">
                <a:effectLst/>
                <a:latin typeface="Arial MT"/>
                <a:ea typeface="Arial MT"/>
                <a:cs typeface="Arial MT"/>
              </a:rPr>
              <a:t> </a:t>
            </a:r>
            <a:r>
              <a:rPr lang="en-US" sz="1800" dirty="0">
                <a:effectLst/>
                <a:latin typeface="Arial MT"/>
                <a:ea typeface="Arial MT"/>
                <a:cs typeface="Arial MT"/>
              </a:rPr>
              <a:t>of the combustion, including the effects of the multi-fuel burner. Upstream of the core</a:t>
            </a:r>
            <a:r>
              <a:rPr lang="en-US" sz="1800" spc="5" dirty="0">
                <a:effectLst/>
                <a:latin typeface="Arial MT"/>
                <a:ea typeface="Arial MT"/>
                <a:cs typeface="Arial MT"/>
              </a:rPr>
              <a:t> </a:t>
            </a:r>
            <a:r>
              <a:rPr lang="en-US" sz="1800" dirty="0">
                <a:effectLst/>
                <a:latin typeface="Arial MT"/>
                <a:ea typeface="Arial MT"/>
                <a:cs typeface="Arial MT"/>
              </a:rPr>
              <a:t>process, the cyclone pre-heaters, where the raw material is heated up before entering the</a:t>
            </a:r>
            <a:r>
              <a:rPr lang="en-US" sz="1800" spc="5" dirty="0">
                <a:effectLst/>
                <a:latin typeface="Arial MT"/>
                <a:ea typeface="Arial MT"/>
                <a:cs typeface="Arial MT"/>
              </a:rPr>
              <a:t> </a:t>
            </a:r>
            <a:r>
              <a:rPr lang="en-US" sz="1800" dirty="0">
                <a:effectLst/>
                <a:latin typeface="Arial MT"/>
                <a:ea typeface="Arial MT"/>
                <a:cs typeface="Arial MT"/>
              </a:rPr>
              <a:t>kiln, affect the emission of pollutants, whereas downstream, the cooling process has an</a:t>
            </a:r>
            <a:r>
              <a:rPr lang="en-US" sz="1800" spc="5" dirty="0">
                <a:effectLst/>
                <a:latin typeface="Arial MT"/>
                <a:ea typeface="Arial MT"/>
                <a:cs typeface="Arial MT"/>
              </a:rPr>
              <a:t> </a:t>
            </a:r>
            <a:r>
              <a:rPr lang="en-US" sz="1800" dirty="0">
                <a:effectLst/>
                <a:latin typeface="Arial MT"/>
                <a:ea typeface="Arial MT"/>
                <a:cs typeface="Arial MT"/>
              </a:rPr>
              <a:t>impact</a:t>
            </a:r>
            <a:r>
              <a:rPr lang="en-US" sz="1800" spc="-25" dirty="0">
                <a:effectLst/>
                <a:latin typeface="Arial MT"/>
                <a:ea typeface="Arial MT"/>
                <a:cs typeface="Arial MT"/>
              </a:rPr>
              <a:t> </a:t>
            </a:r>
            <a:r>
              <a:rPr lang="en-US" sz="1800" dirty="0">
                <a:effectLst/>
                <a:latin typeface="Arial MT"/>
                <a:ea typeface="Arial MT"/>
                <a:cs typeface="Arial MT"/>
              </a:rPr>
              <a:t>on</a:t>
            </a:r>
            <a:r>
              <a:rPr lang="en-US" sz="1800" spc="-15" dirty="0">
                <a:effectLst/>
                <a:latin typeface="Arial MT"/>
                <a:ea typeface="Arial MT"/>
                <a:cs typeface="Arial MT"/>
              </a:rPr>
              <a:t> </a:t>
            </a:r>
            <a:r>
              <a:rPr lang="en-US" sz="1800" dirty="0">
                <a:effectLst/>
                <a:latin typeface="Arial MT"/>
                <a:ea typeface="Arial MT"/>
                <a:cs typeface="Arial MT"/>
              </a:rPr>
              <a:t>the</a:t>
            </a:r>
            <a:r>
              <a:rPr lang="en-US" sz="1800" spc="-20" dirty="0">
                <a:effectLst/>
                <a:latin typeface="Arial MT"/>
                <a:ea typeface="Arial MT"/>
                <a:cs typeface="Arial MT"/>
              </a:rPr>
              <a:t> </a:t>
            </a:r>
            <a:r>
              <a:rPr lang="en-US" sz="1800" dirty="0">
                <a:effectLst/>
                <a:latin typeface="Arial MT"/>
                <a:ea typeface="Arial MT"/>
                <a:cs typeface="Arial MT"/>
              </a:rPr>
              <a:t>quality of the</a:t>
            </a:r>
            <a:r>
              <a:rPr lang="en-US" sz="1800" spc="5" dirty="0">
                <a:effectLst/>
                <a:latin typeface="Arial MT"/>
                <a:ea typeface="Arial MT"/>
                <a:cs typeface="Arial MT"/>
              </a:rPr>
              <a:t> </a:t>
            </a:r>
            <a:r>
              <a:rPr lang="en-US" sz="1800" dirty="0">
                <a:effectLst/>
                <a:latin typeface="Arial MT"/>
                <a:ea typeface="Arial MT"/>
                <a:cs typeface="Arial MT"/>
              </a:rPr>
              <a:t>clinker</a:t>
            </a:r>
            <a:r>
              <a:rPr lang="en-US" sz="1800" spc="-35" dirty="0">
                <a:effectLst/>
                <a:latin typeface="Arial MT"/>
                <a:ea typeface="Arial MT"/>
                <a:cs typeface="Arial MT"/>
              </a:rPr>
              <a:t> </a:t>
            </a:r>
            <a:r>
              <a:rPr lang="en-US" sz="1800" dirty="0">
                <a:effectLst/>
                <a:latin typeface="Arial MT"/>
                <a:ea typeface="Arial MT"/>
                <a:cs typeface="Arial MT"/>
              </a:rPr>
              <a:t>produced.</a:t>
            </a:r>
            <a:r>
              <a:rPr lang="en-US" sz="1800" spc="-25" dirty="0">
                <a:effectLst/>
                <a:latin typeface="Arial MT"/>
                <a:ea typeface="Arial MT"/>
                <a:cs typeface="Arial MT"/>
              </a:rPr>
              <a:t> </a:t>
            </a:r>
            <a:r>
              <a:rPr lang="en-US" sz="1800" dirty="0">
                <a:effectLst/>
                <a:latin typeface="Arial MT"/>
                <a:ea typeface="Arial MT"/>
                <a:cs typeface="Arial MT"/>
              </a:rPr>
              <a:t>The</a:t>
            </a:r>
            <a:r>
              <a:rPr lang="en-US" sz="1800" spc="-15" dirty="0">
                <a:effectLst/>
                <a:latin typeface="Arial MT"/>
                <a:ea typeface="Arial MT"/>
                <a:cs typeface="Arial MT"/>
              </a:rPr>
              <a:t> </a:t>
            </a:r>
            <a:r>
              <a:rPr lang="en-US" sz="1800" dirty="0">
                <a:effectLst/>
                <a:latin typeface="Arial MT"/>
                <a:ea typeface="Arial MT"/>
                <a:cs typeface="Arial MT"/>
              </a:rPr>
              <a:t>quality</a:t>
            </a:r>
            <a:r>
              <a:rPr lang="en-US" sz="1800" spc="-5" dirty="0">
                <a:effectLst/>
                <a:latin typeface="Arial MT"/>
                <a:ea typeface="Arial MT"/>
                <a:cs typeface="Arial MT"/>
              </a:rPr>
              <a:t> </a:t>
            </a:r>
            <a:r>
              <a:rPr lang="en-US" sz="1800" dirty="0">
                <a:effectLst/>
                <a:latin typeface="Arial MT"/>
                <a:ea typeface="Arial MT"/>
                <a:cs typeface="Arial MT"/>
              </a:rPr>
              <a:t>of</a:t>
            </a:r>
            <a:r>
              <a:rPr lang="en-US" sz="1800" spc="5" dirty="0">
                <a:effectLst/>
                <a:latin typeface="Arial MT"/>
                <a:ea typeface="Arial MT"/>
                <a:cs typeface="Arial MT"/>
              </a:rPr>
              <a:t> </a:t>
            </a:r>
            <a:r>
              <a:rPr lang="en-US" sz="1800" dirty="0">
                <a:effectLst/>
                <a:latin typeface="Arial MT"/>
                <a:ea typeface="Arial MT"/>
                <a:cs typeface="Arial MT"/>
              </a:rPr>
              <a:t>the</a:t>
            </a:r>
            <a:r>
              <a:rPr lang="en-US" sz="1800" spc="-20" dirty="0">
                <a:effectLst/>
                <a:latin typeface="Arial MT"/>
                <a:ea typeface="Arial MT"/>
                <a:cs typeface="Arial MT"/>
              </a:rPr>
              <a:t> </a:t>
            </a:r>
            <a:r>
              <a:rPr lang="en-US" sz="1800" dirty="0">
                <a:effectLst/>
                <a:latin typeface="Arial MT"/>
                <a:ea typeface="Arial MT"/>
                <a:cs typeface="Arial MT"/>
              </a:rPr>
              <a:t>product</a:t>
            </a:r>
            <a:r>
              <a:rPr lang="en-US" sz="1800" spc="-20" dirty="0">
                <a:effectLst/>
                <a:latin typeface="Arial MT"/>
                <a:ea typeface="Arial MT"/>
                <a:cs typeface="Arial MT"/>
              </a:rPr>
              <a:t> </a:t>
            </a:r>
            <a:r>
              <a:rPr lang="en-US" sz="1800" dirty="0">
                <a:effectLst/>
                <a:latin typeface="Arial MT"/>
                <a:ea typeface="Arial MT"/>
                <a:cs typeface="Arial MT"/>
              </a:rPr>
              <a:t>is</a:t>
            </a:r>
            <a:r>
              <a:rPr lang="en-US" sz="1800" spc="-5" dirty="0">
                <a:effectLst/>
                <a:latin typeface="Arial MT"/>
                <a:ea typeface="Arial MT"/>
                <a:cs typeface="Arial MT"/>
              </a:rPr>
              <a:t> </a:t>
            </a:r>
            <a:r>
              <a:rPr lang="en-US" sz="1800" dirty="0">
                <a:effectLst/>
                <a:latin typeface="Arial MT"/>
                <a:ea typeface="Arial MT"/>
                <a:cs typeface="Arial MT"/>
              </a:rPr>
              <a:t>currently checked </a:t>
            </a:r>
            <a:r>
              <a:rPr lang="en-US" sz="1800" spc="-5" dirty="0">
                <a:effectLst/>
                <a:latin typeface="Arial MT"/>
                <a:ea typeface="Arial MT"/>
                <a:cs typeface="Arial MT"/>
              </a:rPr>
              <a:t>by</a:t>
            </a:r>
            <a:r>
              <a:rPr lang="en-US" sz="1800" spc="-45" dirty="0">
                <a:effectLst/>
                <a:latin typeface="Arial MT"/>
                <a:ea typeface="Arial MT"/>
                <a:cs typeface="Arial MT"/>
              </a:rPr>
              <a:t> </a:t>
            </a:r>
            <a:r>
              <a:rPr lang="en-US" sz="1800" spc="-5" dirty="0">
                <a:effectLst/>
                <a:latin typeface="Arial MT"/>
                <a:ea typeface="Arial MT"/>
                <a:cs typeface="Arial MT"/>
              </a:rPr>
              <a:t>laboratory</a:t>
            </a:r>
            <a:r>
              <a:rPr lang="en-US" sz="1800" spc="-70" dirty="0">
                <a:effectLst/>
                <a:latin typeface="Arial MT"/>
                <a:ea typeface="Arial MT"/>
                <a:cs typeface="Arial MT"/>
              </a:rPr>
              <a:t> </a:t>
            </a:r>
            <a:r>
              <a:rPr lang="en-US" sz="1800" spc="-5" dirty="0">
                <a:effectLst/>
                <a:latin typeface="Arial MT"/>
                <a:ea typeface="Arial MT"/>
                <a:cs typeface="Arial MT"/>
              </a:rPr>
              <a:t>analysis</a:t>
            </a:r>
            <a:r>
              <a:rPr lang="en-US" sz="1800" spc="-45" dirty="0">
                <a:effectLst/>
                <a:latin typeface="Arial MT"/>
                <a:ea typeface="Arial MT"/>
                <a:cs typeface="Arial MT"/>
              </a:rPr>
              <a:t> </a:t>
            </a:r>
            <a:r>
              <a:rPr lang="en-US" sz="1800" spc="-5" dirty="0">
                <a:effectLst/>
                <a:latin typeface="Arial MT"/>
                <a:ea typeface="Arial MT"/>
                <a:cs typeface="Arial MT"/>
              </a:rPr>
              <a:t>(XRD,</a:t>
            </a:r>
            <a:r>
              <a:rPr lang="en-US" sz="1800" spc="-65" dirty="0">
                <a:effectLst/>
                <a:latin typeface="Arial MT"/>
                <a:ea typeface="Arial MT"/>
                <a:cs typeface="Arial MT"/>
              </a:rPr>
              <a:t> </a:t>
            </a:r>
            <a:r>
              <a:rPr lang="en-US" sz="1800" dirty="0">
                <a:effectLst/>
                <a:latin typeface="Arial MT"/>
                <a:ea typeface="Arial MT"/>
                <a:cs typeface="Arial MT"/>
              </a:rPr>
              <a:t>XRF)</a:t>
            </a:r>
            <a:r>
              <a:rPr lang="en-US" sz="1800" spc="-50" dirty="0">
                <a:effectLst/>
                <a:latin typeface="Arial MT"/>
                <a:ea typeface="Arial MT"/>
                <a:cs typeface="Arial MT"/>
              </a:rPr>
              <a:t> </a:t>
            </a:r>
            <a:r>
              <a:rPr lang="en-US" sz="1800" dirty="0">
                <a:effectLst/>
                <a:latin typeface="Arial MT"/>
                <a:ea typeface="Arial MT"/>
                <a:cs typeface="Arial MT"/>
              </a:rPr>
              <a:t>carried</a:t>
            </a:r>
            <a:r>
              <a:rPr lang="en-US" sz="1800" spc="-60" dirty="0">
                <a:effectLst/>
                <a:latin typeface="Arial MT"/>
                <a:ea typeface="Arial MT"/>
                <a:cs typeface="Arial MT"/>
              </a:rPr>
              <a:t> </a:t>
            </a:r>
            <a:r>
              <a:rPr lang="en-US" sz="1800" dirty="0">
                <a:effectLst/>
                <a:latin typeface="Arial MT"/>
                <a:ea typeface="Arial MT"/>
                <a:cs typeface="Arial MT"/>
              </a:rPr>
              <a:t>out</a:t>
            </a:r>
            <a:r>
              <a:rPr lang="en-US" sz="1800" spc="-40" dirty="0">
                <a:effectLst/>
                <a:latin typeface="Arial MT"/>
                <a:ea typeface="Arial MT"/>
                <a:cs typeface="Arial MT"/>
              </a:rPr>
              <a:t> </a:t>
            </a:r>
            <a:r>
              <a:rPr lang="en-US" sz="1800" dirty="0">
                <a:effectLst/>
                <a:latin typeface="Arial MT"/>
                <a:ea typeface="Arial MT"/>
                <a:cs typeface="Arial MT"/>
              </a:rPr>
              <a:t>on</a:t>
            </a:r>
            <a:r>
              <a:rPr lang="en-US" sz="1800" spc="-35" dirty="0">
                <a:effectLst/>
                <a:latin typeface="Arial MT"/>
                <a:ea typeface="Arial MT"/>
                <a:cs typeface="Arial MT"/>
              </a:rPr>
              <a:t> </a:t>
            </a:r>
            <a:r>
              <a:rPr lang="en-US" sz="1800" dirty="0">
                <a:effectLst/>
                <a:latin typeface="Arial MT"/>
                <a:ea typeface="Arial MT"/>
                <a:cs typeface="Arial MT"/>
              </a:rPr>
              <a:t>samples</a:t>
            </a:r>
            <a:r>
              <a:rPr lang="en-US" sz="1800" spc="-70" dirty="0">
                <a:effectLst/>
                <a:latin typeface="Arial MT"/>
                <a:ea typeface="Arial MT"/>
                <a:cs typeface="Arial MT"/>
              </a:rPr>
              <a:t> </a:t>
            </a:r>
            <a:r>
              <a:rPr lang="en-US" sz="1800" dirty="0">
                <a:effectLst/>
                <a:latin typeface="Arial MT"/>
                <a:ea typeface="Arial MT"/>
                <a:cs typeface="Arial MT"/>
              </a:rPr>
              <a:t>collected</a:t>
            </a:r>
            <a:r>
              <a:rPr lang="en-US" sz="1800" spc="-35" dirty="0">
                <a:effectLst/>
                <a:latin typeface="Arial MT"/>
                <a:ea typeface="Arial MT"/>
                <a:cs typeface="Arial MT"/>
              </a:rPr>
              <a:t> </a:t>
            </a:r>
            <a:r>
              <a:rPr lang="en-US" sz="1800" dirty="0">
                <a:effectLst/>
                <a:latin typeface="Arial MT"/>
                <a:ea typeface="Arial MT"/>
                <a:cs typeface="Arial MT"/>
              </a:rPr>
              <a:t>after</a:t>
            </a:r>
            <a:r>
              <a:rPr lang="en-US" sz="1800" spc="-50" dirty="0">
                <a:effectLst/>
                <a:latin typeface="Arial MT"/>
                <a:ea typeface="Arial MT"/>
                <a:cs typeface="Arial MT"/>
              </a:rPr>
              <a:t> </a:t>
            </a:r>
            <a:r>
              <a:rPr lang="en-US" sz="1800" dirty="0">
                <a:effectLst/>
                <a:latin typeface="Arial MT"/>
                <a:ea typeface="Arial MT"/>
                <a:cs typeface="Arial MT"/>
              </a:rPr>
              <a:t>the</a:t>
            </a:r>
            <a:r>
              <a:rPr lang="en-US" sz="1800" spc="-60" dirty="0">
                <a:effectLst/>
                <a:latin typeface="Arial MT"/>
                <a:ea typeface="Arial MT"/>
                <a:cs typeface="Arial MT"/>
              </a:rPr>
              <a:t> </a:t>
            </a:r>
            <a:r>
              <a:rPr lang="en-US" sz="1800" dirty="0">
                <a:effectLst/>
                <a:latin typeface="Arial MT"/>
                <a:ea typeface="Arial MT"/>
                <a:cs typeface="Arial MT"/>
              </a:rPr>
              <a:t>cooling</a:t>
            </a:r>
            <a:r>
              <a:rPr lang="en-US" sz="1800" spc="-60" dirty="0">
                <a:effectLst/>
                <a:latin typeface="Arial MT"/>
                <a:ea typeface="Arial MT"/>
                <a:cs typeface="Arial MT"/>
              </a:rPr>
              <a:t> </a:t>
            </a:r>
            <a:r>
              <a:rPr lang="en-US" sz="1800" dirty="0">
                <a:effectLst/>
                <a:latin typeface="Arial MT"/>
                <a:ea typeface="Arial MT"/>
                <a:cs typeface="Arial MT"/>
              </a:rPr>
              <a:t>process</a:t>
            </a:r>
            <a:r>
              <a:rPr lang="en-US" sz="1800" spc="-295" dirty="0">
                <a:effectLst/>
                <a:latin typeface="Arial MT"/>
                <a:ea typeface="Arial MT"/>
                <a:cs typeface="Arial MT"/>
              </a:rPr>
              <a:t> </a:t>
            </a:r>
            <a:r>
              <a:rPr lang="en-US" sz="1800" dirty="0">
                <a:effectLst/>
                <a:latin typeface="Arial MT"/>
                <a:ea typeface="Arial MT"/>
                <a:cs typeface="Arial MT"/>
              </a:rPr>
              <a:t>for</a:t>
            </a:r>
            <a:r>
              <a:rPr lang="en-US" sz="1800" spc="-65" dirty="0">
                <a:effectLst/>
                <a:latin typeface="Arial MT"/>
                <a:ea typeface="Arial MT"/>
                <a:cs typeface="Arial MT"/>
              </a:rPr>
              <a:t> </a:t>
            </a:r>
            <a:r>
              <a:rPr lang="en-US" sz="1800" dirty="0">
                <a:effectLst/>
                <a:latin typeface="Arial MT"/>
                <a:ea typeface="Arial MT"/>
                <a:cs typeface="Arial MT"/>
              </a:rPr>
              <a:t>each</a:t>
            </a:r>
            <a:r>
              <a:rPr lang="en-US" sz="1800" spc="-45" dirty="0">
                <a:effectLst/>
                <a:latin typeface="Arial MT"/>
                <a:ea typeface="Arial MT"/>
                <a:cs typeface="Arial MT"/>
              </a:rPr>
              <a:t> </a:t>
            </a:r>
            <a:r>
              <a:rPr lang="en-US" sz="1800" dirty="0">
                <a:effectLst/>
                <a:latin typeface="Arial MT"/>
                <a:ea typeface="Arial MT"/>
                <a:cs typeface="Arial MT"/>
              </a:rPr>
              <a:t>batch</a:t>
            </a:r>
            <a:r>
              <a:rPr lang="en-US" sz="1800" spc="-40" dirty="0">
                <a:effectLst/>
                <a:latin typeface="Arial MT"/>
                <a:ea typeface="Arial MT"/>
                <a:cs typeface="Arial MT"/>
              </a:rPr>
              <a:t> </a:t>
            </a:r>
            <a:r>
              <a:rPr lang="en-US" sz="1800" dirty="0">
                <a:effectLst/>
                <a:latin typeface="Arial MT"/>
                <a:ea typeface="Arial MT"/>
                <a:cs typeface="Arial MT"/>
              </a:rPr>
              <a:t>every</a:t>
            </a:r>
            <a:r>
              <a:rPr lang="en-US" sz="1800" spc="-55" dirty="0">
                <a:effectLst/>
                <a:latin typeface="Arial MT"/>
                <a:ea typeface="Arial MT"/>
                <a:cs typeface="Arial MT"/>
              </a:rPr>
              <a:t> </a:t>
            </a:r>
            <a:r>
              <a:rPr lang="en-US" sz="1800" dirty="0">
                <a:effectLst/>
                <a:latin typeface="Arial MT"/>
                <a:ea typeface="Arial MT"/>
                <a:cs typeface="Arial MT"/>
              </a:rPr>
              <a:t>two</a:t>
            </a:r>
            <a:r>
              <a:rPr lang="en-US" sz="1800" spc="-45" dirty="0">
                <a:effectLst/>
                <a:latin typeface="Arial MT"/>
                <a:ea typeface="Arial MT"/>
                <a:cs typeface="Arial MT"/>
              </a:rPr>
              <a:t> </a:t>
            </a:r>
            <a:r>
              <a:rPr lang="en-US" sz="1800" dirty="0">
                <a:effectLst/>
                <a:latin typeface="Arial MT"/>
                <a:ea typeface="Arial MT"/>
                <a:cs typeface="Arial MT"/>
              </a:rPr>
              <a:t>hours.</a:t>
            </a:r>
            <a:r>
              <a:rPr lang="en-US" sz="1800" spc="-55" dirty="0">
                <a:effectLst/>
                <a:latin typeface="Arial MT"/>
                <a:ea typeface="Arial MT"/>
                <a:cs typeface="Arial MT"/>
              </a:rPr>
              <a:t> </a:t>
            </a:r>
            <a:r>
              <a:rPr lang="en-US" sz="1800" dirty="0">
                <a:effectLst/>
                <a:latin typeface="Arial MT"/>
                <a:ea typeface="Arial MT"/>
                <a:cs typeface="Arial MT"/>
              </a:rPr>
              <a:t>Within the RETROFEED project, a new monitoring system based on multispectral image</a:t>
            </a:r>
            <a:r>
              <a:rPr lang="en-US" sz="1800" spc="5" dirty="0">
                <a:effectLst/>
                <a:latin typeface="Arial MT"/>
                <a:ea typeface="Arial MT"/>
                <a:cs typeface="Arial MT"/>
              </a:rPr>
              <a:t> </a:t>
            </a:r>
            <a:r>
              <a:rPr lang="en-US" sz="1800" dirty="0">
                <a:effectLst/>
                <a:latin typeface="Arial MT"/>
                <a:ea typeface="Arial MT"/>
                <a:cs typeface="Arial MT"/>
              </a:rPr>
              <a:t>analysis will also be deployed, to estimate clinker composition, phase distribution and grain</a:t>
            </a:r>
            <a:r>
              <a:rPr lang="en-US" sz="1800" spc="5" dirty="0">
                <a:effectLst/>
                <a:latin typeface="Arial MT"/>
                <a:ea typeface="Arial MT"/>
                <a:cs typeface="Arial MT"/>
              </a:rPr>
              <a:t> </a:t>
            </a:r>
            <a:r>
              <a:rPr lang="en-US" sz="1800" dirty="0">
                <a:effectLst/>
                <a:latin typeface="Arial MT"/>
                <a:ea typeface="Arial MT"/>
                <a:cs typeface="Arial MT"/>
              </a:rPr>
              <a:t>size.</a:t>
            </a:r>
            <a:r>
              <a:rPr lang="en-US" sz="1800" spc="-50" dirty="0">
                <a:effectLst/>
                <a:latin typeface="Arial MT"/>
                <a:ea typeface="Arial MT"/>
                <a:cs typeface="Arial MT"/>
              </a:rPr>
              <a:t> </a:t>
            </a:r>
            <a:r>
              <a:rPr lang="en-US" sz="1800" dirty="0">
                <a:effectLst/>
                <a:latin typeface="Arial MT"/>
                <a:ea typeface="Arial MT"/>
                <a:cs typeface="Arial MT"/>
              </a:rPr>
              <a:t>Since</a:t>
            </a:r>
            <a:r>
              <a:rPr lang="en-US" sz="1800" spc="-20" dirty="0">
                <a:effectLst/>
                <a:latin typeface="Arial MT"/>
                <a:ea typeface="Arial MT"/>
                <a:cs typeface="Arial MT"/>
              </a:rPr>
              <a:t> </a:t>
            </a:r>
            <a:r>
              <a:rPr lang="en-US" sz="1800" dirty="0">
                <a:effectLst/>
                <a:latin typeface="Arial MT"/>
                <a:ea typeface="Arial MT"/>
                <a:cs typeface="Arial MT"/>
              </a:rPr>
              <a:t>the</a:t>
            </a:r>
            <a:r>
              <a:rPr lang="en-US" sz="1800" spc="-40" dirty="0">
                <a:effectLst/>
                <a:latin typeface="Arial MT"/>
                <a:ea typeface="Arial MT"/>
                <a:cs typeface="Arial MT"/>
              </a:rPr>
              <a:t> </a:t>
            </a:r>
            <a:r>
              <a:rPr lang="en-US" sz="1800" dirty="0">
                <a:effectLst/>
                <a:latin typeface="Arial MT"/>
                <a:ea typeface="Arial MT"/>
                <a:cs typeface="Arial MT"/>
              </a:rPr>
              <a:t>aforementioned</a:t>
            </a:r>
            <a:r>
              <a:rPr lang="en-US" sz="1800" spc="-45" dirty="0">
                <a:effectLst/>
                <a:latin typeface="Arial MT"/>
                <a:ea typeface="Arial MT"/>
                <a:cs typeface="Arial MT"/>
              </a:rPr>
              <a:t> </a:t>
            </a:r>
            <a:r>
              <a:rPr lang="en-US" sz="1800" dirty="0">
                <a:effectLst/>
                <a:latin typeface="Arial MT"/>
                <a:ea typeface="Arial MT"/>
                <a:cs typeface="Arial MT"/>
              </a:rPr>
              <a:t>effects</a:t>
            </a:r>
            <a:r>
              <a:rPr lang="en-US" sz="1800" spc="-50" dirty="0">
                <a:effectLst/>
                <a:latin typeface="Arial MT"/>
                <a:ea typeface="Arial MT"/>
                <a:cs typeface="Arial MT"/>
              </a:rPr>
              <a:t> </a:t>
            </a:r>
            <a:r>
              <a:rPr lang="en-US" sz="1800" dirty="0">
                <a:effectLst/>
                <a:latin typeface="Arial MT"/>
                <a:ea typeface="Arial MT"/>
                <a:cs typeface="Arial MT"/>
              </a:rPr>
              <a:t>are</a:t>
            </a:r>
            <a:r>
              <a:rPr lang="en-US" sz="1800" spc="-20" dirty="0">
                <a:effectLst/>
                <a:latin typeface="Arial MT"/>
                <a:ea typeface="Arial MT"/>
                <a:cs typeface="Arial MT"/>
              </a:rPr>
              <a:t> </a:t>
            </a:r>
            <a:r>
              <a:rPr lang="en-US" sz="1800" dirty="0">
                <a:effectLst/>
                <a:latin typeface="Arial MT"/>
                <a:ea typeface="Arial MT"/>
                <a:cs typeface="Arial MT"/>
              </a:rPr>
              <a:t>relevant</a:t>
            </a:r>
            <a:r>
              <a:rPr lang="en-US" sz="1800" spc="-25" dirty="0">
                <a:effectLst/>
                <a:latin typeface="Arial MT"/>
                <a:ea typeface="Arial MT"/>
                <a:cs typeface="Arial MT"/>
              </a:rPr>
              <a:t> </a:t>
            </a:r>
            <a:r>
              <a:rPr lang="en-US" sz="1800" dirty="0">
                <a:effectLst/>
                <a:latin typeface="Arial MT"/>
                <a:ea typeface="Arial MT"/>
                <a:cs typeface="Arial MT"/>
              </a:rPr>
              <a:t>to</a:t>
            </a:r>
            <a:r>
              <a:rPr lang="en-US" sz="1800" spc="-40" dirty="0">
                <a:effectLst/>
                <a:latin typeface="Arial MT"/>
                <a:ea typeface="Arial MT"/>
                <a:cs typeface="Arial MT"/>
              </a:rPr>
              <a:t> </a:t>
            </a:r>
            <a:r>
              <a:rPr lang="en-US" sz="1800" dirty="0">
                <a:effectLst/>
                <a:latin typeface="Arial MT"/>
                <a:ea typeface="Arial MT"/>
                <a:cs typeface="Arial MT"/>
              </a:rPr>
              <a:t>the</a:t>
            </a:r>
            <a:r>
              <a:rPr lang="en-US" sz="1800" spc="-45" dirty="0">
                <a:effectLst/>
                <a:latin typeface="Arial MT"/>
                <a:ea typeface="Arial MT"/>
                <a:cs typeface="Arial MT"/>
              </a:rPr>
              <a:t> </a:t>
            </a:r>
            <a:r>
              <a:rPr lang="en-US" sz="1800" dirty="0">
                <a:effectLst/>
                <a:latin typeface="Arial MT"/>
                <a:ea typeface="Arial MT"/>
                <a:cs typeface="Arial MT"/>
              </a:rPr>
              <a:t>analysis</a:t>
            </a:r>
            <a:r>
              <a:rPr lang="en-US" sz="1800" spc="-55" dirty="0">
                <a:effectLst/>
                <a:latin typeface="Arial MT"/>
                <a:ea typeface="Arial MT"/>
                <a:cs typeface="Arial MT"/>
              </a:rPr>
              <a:t> </a:t>
            </a:r>
            <a:r>
              <a:rPr lang="en-US" sz="1800" dirty="0">
                <a:effectLst/>
                <a:latin typeface="Arial MT"/>
                <a:ea typeface="Arial MT"/>
                <a:cs typeface="Arial MT"/>
              </a:rPr>
              <a:t>of</a:t>
            </a:r>
            <a:r>
              <a:rPr lang="en-US" sz="1800" spc="-45" dirty="0">
                <a:effectLst/>
                <a:latin typeface="Arial MT"/>
                <a:ea typeface="Arial MT"/>
                <a:cs typeface="Arial MT"/>
              </a:rPr>
              <a:t> </a:t>
            </a:r>
            <a:r>
              <a:rPr lang="en-US" sz="1800" dirty="0">
                <a:effectLst/>
                <a:latin typeface="Arial MT"/>
                <a:ea typeface="Arial MT"/>
                <a:cs typeface="Arial MT"/>
              </a:rPr>
              <a:t>the</a:t>
            </a:r>
            <a:r>
              <a:rPr lang="en-US" sz="1800" spc="-20" dirty="0">
                <a:effectLst/>
                <a:latin typeface="Arial MT"/>
                <a:ea typeface="Arial MT"/>
                <a:cs typeface="Arial MT"/>
              </a:rPr>
              <a:t> </a:t>
            </a:r>
            <a:r>
              <a:rPr lang="en-US" sz="1800" dirty="0">
                <a:effectLst/>
                <a:latin typeface="Arial MT"/>
                <a:ea typeface="Arial MT"/>
                <a:cs typeface="Arial MT"/>
              </a:rPr>
              <a:t>DSS,</a:t>
            </a:r>
            <a:r>
              <a:rPr lang="en-US" sz="1800" spc="-45" dirty="0">
                <a:effectLst/>
                <a:latin typeface="Arial MT"/>
                <a:ea typeface="Arial MT"/>
                <a:cs typeface="Arial MT"/>
              </a:rPr>
              <a:t> </a:t>
            </a:r>
            <a:r>
              <a:rPr lang="en-US" sz="1800" dirty="0">
                <a:effectLst/>
                <a:latin typeface="Arial MT"/>
                <a:ea typeface="Arial MT"/>
                <a:cs typeface="Arial MT"/>
              </a:rPr>
              <a:t>those</a:t>
            </a:r>
            <a:r>
              <a:rPr lang="en-US" sz="1800" spc="-45" dirty="0">
                <a:effectLst/>
                <a:latin typeface="Arial MT"/>
                <a:ea typeface="Arial MT"/>
                <a:cs typeface="Arial MT"/>
              </a:rPr>
              <a:t> </a:t>
            </a:r>
            <a:r>
              <a:rPr lang="en-US" sz="1800" dirty="0">
                <a:effectLst/>
                <a:latin typeface="Arial MT"/>
                <a:ea typeface="Arial MT"/>
                <a:cs typeface="Arial MT"/>
              </a:rPr>
              <a:t>need</a:t>
            </a:r>
            <a:r>
              <a:rPr lang="en-US" sz="1800" spc="-45" dirty="0">
                <a:effectLst/>
                <a:latin typeface="Arial MT"/>
                <a:ea typeface="Arial MT"/>
                <a:cs typeface="Arial MT"/>
              </a:rPr>
              <a:t> </a:t>
            </a:r>
            <a:r>
              <a:rPr lang="en-US" sz="1800" dirty="0">
                <a:effectLst/>
                <a:latin typeface="Arial MT"/>
                <a:ea typeface="Arial MT"/>
                <a:cs typeface="Arial MT"/>
              </a:rPr>
              <a:t>to</a:t>
            </a:r>
            <a:r>
              <a:rPr lang="en-US" sz="1800" spc="-290" dirty="0">
                <a:effectLst/>
                <a:latin typeface="Arial MT"/>
                <a:ea typeface="Arial MT"/>
                <a:cs typeface="Arial MT"/>
              </a:rPr>
              <a:t> </a:t>
            </a:r>
            <a:r>
              <a:rPr lang="en-US" sz="1800" dirty="0">
                <a:effectLst/>
                <a:latin typeface="Arial MT"/>
                <a:ea typeface="Arial MT"/>
                <a:cs typeface="Arial MT"/>
              </a:rPr>
              <a:t>be modelled, even if in a simplified form. The resulting list of PC models is reported in </a:t>
            </a:r>
            <a:r>
              <a:rPr lang="en-US" sz="1800" u="none" strike="noStrike" dirty="0">
                <a:effectLst/>
                <a:latin typeface="Arial MT"/>
                <a:ea typeface="Arial MT"/>
                <a:cs typeface="Arial MT"/>
                <a:hlinkClick r:id="rId4"/>
              </a:rPr>
              <a:t>Table</a:t>
            </a:r>
            <a:r>
              <a:rPr lang="en-US" sz="1800" spc="-295" dirty="0">
                <a:effectLst/>
                <a:latin typeface="Arial MT"/>
                <a:ea typeface="Arial MT"/>
                <a:cs typeface="Arial MT"/>
              </a:rPr>
              <a:t> </a:t>
            </a:r>
            <a:r>
              <a:rPr lang="en-US" sz="1800" dirty="0">
                <a:effectLst/>
                <a:latin typeface="Arial MT"/>
                <a:ea typeface="Arial MT"/>
                <a:cs typeface="Arial MT"/>
              </a:rPr>
              <a:t>.</a:t>
            </a:r>
          </a:p>
          <a:p>
            <a:pPr marL="0" marR="715645" lvl="2" indent="457200" algn="just">
              <a:lnSpc>
                <a:spcPct val="100000"/>
              </a:lnSpc>
              <a:spcAft>
                <a:spcPts val="0"/>
              </a:spcAft>
              <a:buSzPts val="1100"/>
              <a:buFont typeface="Symbol" panose="05050102010706020507" pitchFamily="18" charset="2"/>
              <a:buNone/>
              <a:tabLst>
                <a:tab pos="1173480" algn="l"/>
              </a:tabLst>
            </a:pPr>
            <a:endParaRPr lang="en-US" sz="1800" dirty="0">
              <a:effectLst/>
              <a:latin typeface="Arial MT"/>
              <a:ea typeface="Arial MT"/>
              <a:cs typeface="Arial MT"/>
            </a:endParaRPr>
          </a:p>
          <a:p>
            <a:pPr marL="0" marR="715645" lvl="2">
              <a:lnSpc>
                <a:spcPct val="100000"/>
              </a:lnSpc>
              <a:spcAft>
                <a:spcPts val="0"/>
              </a:spcAft>
              <a:buSzPts val="1100"/>
              <a:buFont typeface="Symbol" panose="05050102010706020507" pitchFamily="18" charset="2"/>
              <a:buNone/>
              <a:tabLst>
                <a:tab pos="1173480" algn="l"/>
              </a:tabLst>
            </a:pPr>
            <a:r>
              <a:rPr lang="en-US" sz="1800" b="1" dirty="0">
                <a:effectLst/>
                <a:latin typeface="Arial MT"/>
                <a:ea typeface="Arial MT"/>
                <a:cs typeface="Arial MT"/>
              </a:rPr>
              <a:t>1.</a:t>
            </a:r>
            <a:r>
              <a:rPr lang="en-US" sz="1800" dirty="0">
                <a:effectLst/>
                <a:latin typeface="Arial MT"/>
                <a:ea typeface="Arial MT"/>
                <a:cs typeface="Arial MT"/>
              </a:rPr>
              <a:t>The </a:t>
            </a:r>
            <a:r>
              <a:rPr lang="en-US" sz="1800" dirty="0">
                <a:latin typeface="Arial MT"/>
                <a:ea typeface="Arial MT"/>
                <a:cs typeface="Arial MT"/>
              </a:rPr>
              <a:t>digital twin </a:t>
            </a:r>
            <a:r>
              <a:rPr lang="en-US" sz="1800" dirty="0">
                <a:latin typeface="Arial MT"/>
              </a:rPr>
              <a:t>of rotary kiln consists of a one-dimensional balances-based model, fed with accurate combustion information from Computational Fluid Dynamics (CFD) simulations. Cyclone pre-heaters are also modelled to correlate inputs to DSS to inputs to DT. Upstream of the core process, the cyclone pre-heaters, where the raw material is heated up before entering the kiln, affect the emission of pollutants, whereas downstream the clinker outlet composition and temperature are predicted.</a:t>
            </a:r>
          </a:p>
          <a:p>
            <a:pPr marL="0" marR="715645" lvl="2">
              <a:buSzPts val="1100"/>
              <a:tabLst>
                <a:tab pos="1173480" algn="l"/>
              </a:tabLst>
            </a:pPr>
            <a:endParaRPr lang="en-US" sz="1800" dirty="0">
              <a:latin typeface="Arial MT"/>
            </a:endParaRPr>
          </a:p>
          <a:p>
            <a:pPr marL="0" marR="715645" lvl="2">
              <a:buSzPts val="1100"/>
              <a:tabLst>
                <a:tab pos="1173480" algn="l"/>
              </a:tabLst>
            </a:pPr>
            <a:r>
              <a:rPr lang="en-US" sz="1800" b="1" dirty="0">
                <a:latin typeface="Arial MT"/>
                <a:ea typeface="Arial MT"/>
                <a:cs typeface="Arial MT"/>
              </a:rPr>
              <a:t>2</a:t>
            </a:r>
            <a:r>
              <a:rPr lang="en-US" sz="1800" dirty="0">
                <a:latin typeface="Arial MT"/>
                <a:ea typeface="Arial MT"/>
                <a:cs typeface="Arial MT"/>
              </a:rPr>
              <a:t>. </a:t>
            </a:r>
            <a:r>
              <a:rPr lang="en-US" sz="1800" dirty="0">
                <a:effectLst/>
                <a:latin typeface="Arial MT"/>
                <a:ea typeface="Arial MT"/>
                <a:cs typeface="Arial MT"/>
              </a:rPr>
              <a:t>The cooling process has an</a:t>
            </a:r>
            <a:r>
              <a:rPr lang="en-US" sz="1800" spc="5" dirty="0">
                <a:effectLst/>
                <a:latin typeface="Arial MT"/>
                <a:ea typeface="Arial MT"/>
                <a:cs typeface="Arial MT"/>
              </a:rPr>
              <a:t> </a:t>
            </a:r>
            <a:r>
              <a:rPr lang="en-US" sz="1800" dirty="0">
                <a:effectLst/>
                <a:latin typeface="Arial MT"/>
                <a:ea typeface="Arial MT"/>
                <a:cs typeface="Arial MT"/>
              </a:rPr>
              <a:t>impact</a:t>
            </a:r>
            <a:r>
              <a:rPr lang="en-US" sz="1800" spc="-25" dirty="0">
                <a:effectLst/>
                <a:latin typeface="Arial MT"/>
                <a:ea typeface="Arial MT"/>
                <a:cs typeface="Arial MT"/>
              </a:rPr>
              <a:t> </a:t>
            </a:r>
            <a:r>
              <a:rPr lang="en-US" sz="1800" dirty="0">
                <a:effectLst/>
                <a:latin typeface="Arial MT"/>
                <a:ea typeface="Arial MT"/>
                <a:cs typeface="Arial MT"/>
              </a:rPr>
              <a:t>on</a:t>
            </a:r>
            <a:r>
              <a:rPr lang="en-US" sz="1800" spc="-15" dirty="0">
                <a:effectLst/>
                <a:latin typeface="Arial MT"/>
                <a:ea typeface="Arial MT"/>
                <a:cs typeface="Arial MT"/>
              </a:rPr>
              <a:t> </a:t>
            </a:r>
            <a:r>
              <a:rPr lang="en-US" sz="1800" dirty="0">
                <a:effectLst/>
                <a:latin typeface="Arial MT"/>
                <a:ea typeface="Arial MT"/>
                <a:cs typeface="Arial MT"/>
              </a:rPr>
              <a:t>the</a:t>
            </a:r>
            <a:r>
              <a:rPr lang="en-US" sz="1800" spc="-20" dirty="0">
                <a:effectLst/>
                <a:latin typeface="Arial MT"/>
                <a:ea typeface="Arial MT"/>
                <a:cs typeface="Arial MT"/>
              </a:rPr>
              <a:t> </a:t>
            </a:r>
            <a:r>
              <a:rPr lang="en-US" sz="1800" dirty="0">
                <a:effectLst/>
                <a:latin typeface="Arial MT"/>
                <a:ea typeface="Arial MT"/>
                <a:cs typeface="Arial MT"/>
              </a:rPr>
              <a:t>quality of the</a:t>
            </a:r>
            <a:r>
              <a:rPr lang="en-US" sz="1800" spc="5" dirty="0">
                <a:effectLst/>
                <a:latin typeface="Arial MT"/>
                <a:ea typeface="Arial MT"/>
                <a:cs typeface="Arial MT"/>
              </a:rPr>
              <a:t> </a:t>
            </a:r>
            <a:r>
              <a:rPr lang="en-US" sz="1800" dirty="0">
                <a:effectLst/>
                <a:latin typeface="Arial MT"/>
                <a:ea typeface="Arial MT"/>
                <a:cs typeface="Arial MT"/>
              </a:rPr>
              <a:t>clinker</a:t>
            </a:r>
            <a:r>
              <a:rPr lang="en-US" sz="1800" spc="-35" dirty="0">
                <a:effectLst/>
                <a:latin typeface="Arial MT"/>
                <a:ea typeface="Arial MT"/>
                <a:cs typeface="Arial MT"/>
              </a:rPr>
              <a:t> </a:t>
            </a:r>
            <a:r>
              <a:rPr lang="en-US" sz="1800" dirty="0">
                <a:effectLst/>
                <a:latin typeface="Arial MT"/>
                <a:ea typeface="Arial MT"/>
                <a:cs typeface="Arial MT"/>
              </a:rPr>
              <a:t>produced.</a:t>
            </a:r>
          </a:p>
          <a:p>
            <a:pPr marL="0" marR="715645" lvl="2">
              <a:lnSpc>
                <a:spcPct val="100000"/>
              </a:lnSpc>
              <a:spcAft>
                <a:spcPts val="0"/>
              </a:spcAft>
              <a:buSzPts val="1100"/>
              <a:buFont typeface="Symbol" panose="05050102010706020507" pitchFamily="18" charset="2"/>
              <a:buNone/>
              <a:tabLst>
                <a:tab pos="1173480" algn="l"/>
              </a:tabLst>
            </a:pPr>
            <a:endParaRPr lang="en-US" sz="1800" dirty="0">
              <a:effectLst/>
              <a:latin typeface="Arial MT"/>
              <a:ea typeface="Arial MT"/>
              <a:cs typeface="Arial MT"/>
            </a:endParaRPr>
          </a:p>
          <a:p>
            <a:pPr marL="0" marR="715645" lvl="2">
              <a:lnSpc>
                <a:spcPct val="100000"/>
              </a:lnSpc>
              <a:spcAft>
                <a:spcPts val="0"/>
              </a:spcAft>
              <a:buSzPts val="1100"/>
              <a:buFont typeface="Symbol" panose="05050102010706020507" pitchFamily="18" charset="2"/>
              <a:buNone/>
              <a:tabLst>
                <a:tab pos="1173480" algn="l"/>
              </a:tabLst>
            </a:pPr>
            <a:r>
              <a:rPr lang="en-US" sz="1800" b="1" spc="-25" dirty="0">
                <a:latin typeface="Arial MT"/>
                <a:ea typeface="Arial MT"/>
                <a:cs typeface="Arial MT"/>
              </a:rPr>
              <a:t>3.</a:t>
            </a:r>
            <a:r>
              <a:rPr lang="en-US" sz="1800" dirty="0">
                <a:effectLst/>
                <a:latin typeface="Arial MT"/>
                <a:ea typeface="Arial MT"/>
                <a:cs typeface="Arial MT"/>
              </a:rPr>
              <a:t>The</a:t>
            </a:r>
            <a:r>
              <a:rPr lang="en-US" sz="1800" spc="-15" dirty="0">
                <a:effectLst/>
                <a:latin typeface="Arial MT"/>
                <a:ea typeface="Arial MT"/>
                <a:cs typeface="Arial MT"/>
              </a:rPr>
              <a:t> </a:t>
            </a:r>
            <a:r>
              <a:rPr lang="en-US" sz="1800" dirty="0">
                <a:effectLst/>
                <a:latin typeface="Arial MT"/>
                <a:ea typeface="Arial MT"/>
                <a:cs typeface="Arial MT"/>
              </a:rPr>
              <a:t>quality</a:t>
            </a:r>
            <a:r>
              <a:rPr lang="en-US" sz="1800" spc="-5" dirty="0">
                <a:effectLst/>
                <a:latin typeface="Arial MT"/>
                <a:ea typeface="Arial MT"/>
                <a:cs typeface="Arial MT"/>
              </a:rPr>
              <a:t> </a:t>
            </a:r>
            <a:r>
              <a:rPr lang="en-US" sz="1800" dirty="0">
                <a:effectLst/>
                <a:latin typeface="Arial MT"/>
                <a:ea typeface="Arial MT"/>
                <a:cs typeface="Arial MT"/>
              </a:rPr>
              <a:t>of</a:t>
            </a:r>
            <a:r>
              <a:rPr lang="en-US" sz="1800" spc="5" dirty="0">
                <a:effectLst/>
                <a:latin typeface="Arial MT"/>
                <a:ea typeface="Arial MT"/>
                <a:cs typeface="Arial MT"/>
              </a:rPr>
              <a:t> </a:t>
            </a:r>
            <a:r>
              <a:rPr lang="en-US" sz="1800" dirty="0">
                <a:effectLst/>
                <a:latin typeface="Arial MT"/>
                <a:ea typeface="Arial MT"/>
                <a:cs typeface="Arial MT"/>
              </a:rPr>
              <a:t>the</a:t>
            </a:r>
            <a:r>
              <a:rPr lang="en-US" sz="1800" spc="-20" dirty="0">
                <a:effectLst/>
                <a:latin typeface="Arial MT"/>
                <a:ea typeface="Arial MT"/>
                <a:cs typeface="Arial MT"/>
              </a:rPr>
              <a:t> </a:t>
            </a:r>
            <a:r>
              <a:rPr lang="en-US" sz="1800" dirty="0">
                <a:effectLst/>
                <a:latin typeface="Arial MT"/>
                <a:ea typeface="Arial MT"/>
                <a:cs typeface="Arial MT"/>
              </a:rPr>
              <a:t>product</a:t>
            </a:r>
            <a:r>
              <a:rPr lang="en-US" sz="1800" spc="-20" dirty="0">
                <a:effectLst/>
                <a:latin typeface="Arial MT"/>
                <a:ea typeface="Arial MT"/>
                <a:cs typeface="Arial MT"/>
              </a:rPr>
              <a:t> </a:t>
            </a:r>
            <a:r>
              <a:rPr lang="en-US" sz="1800" dirty="0">
                <a:effectLst/>
                <a:latin typeface="Arial MT"/>
                <a:ea typeface="Arial MT"/>
                <a:cs typeface="Arial MT"/>
              </a:rPr>
              <a:t>is</a:t>
            </a:r>
            <a:r>
              <a:rPr lang="en-US" sz="1800" spc="-5" dirty="0">
                <a:effectLst/>
                <a:latin typeface="Arial MT"/>
                <a:ea typeface="Arial MT"/>
                <a:cs typeface="Arial MT"/>
              </a:rPr>
              <a:t> </a:t>
            </a:r>
            <a:r>
              <a:rPr lang="en-US" sz="1800" dirty="0">
                <a:effectLst/>
                <a:latin typeface="Arial MT"/>
                <a:ea typeface="Arial MT"/>
                <a:cs typeface="Arial MT"/>
              </a:rPr>
              <a:t>currently checked </a:t>
            </a:r>
            <a:r>
              <a:rPr lang="en-US" sz="1800" spc="-5" dirty="0">
                <a:effectLst/>
                <a:latin typeface="Arial MT"/>
                <a:ea typeface="Arial MT"/>
                <a:cs typeface="Arial MT"/>
              </a:rPr>
              <a:t>by</a:t>
            </a:r>
            <a:r>
              <a:rPr lang="en-US" sz="1800" spc="-45" dirty="0">
                <a:effectLst/>
                <a:latin typeface="Arial MT"/>
                <a:ea typeface="Arial MT"/>
                <a:cs typeface="Arial MT"/>
              </a:rPr>
              <a:t> </a:t>
            </a:r>
            <a:r>
              <a:rPr lang="en-US" sz="1800" spc="-5" dirty="0">
                <a:effectLst/>
                <a:latin typeface="Arial MT"/>
                <a:ea typeface="Arial MT"/>
                <a:cs typeface="Arial MT"/>
              </a:rPr>
              <a:t>laboratory</a:t>
            </a:r>
            <a:r>
              <a:rPr lang="en-US" sz="1800" spc="-70" dirty="0">
                <a:effectLst/>
                <a:latin typeface="Arial MT"/>
                <a:ea typeface="Arial MT"/>
                <a:cs typeface="Arial MT"/>
              </a:rPr>
              <a:t> </a:t>
            </a:r>
            <a:r>
              <a:rPr lang="en-US" sz="1800" spc="-5" dirty="0">
                <a:effectLst/>
                <a:latin typeface="Arial MT"/>
                <a:ea typeface="Arial MT"/>
                <a:cs typeface="Arial MT"/>
              </a:rPr>
              <a:t>analysis</a:t>
            </a:r>
            <a:r>
              <a:rPr lang="en-US" sz="1800" spc="-50" dirty="0">
                <a:effectLst/>
                <a:latin typeface="Arial MT"/>
                <a:ea typeface="Arial MT"/>
                <a:cs typeface="Arial MT"/>
              </a:rPr>
              <a:t> </a:t>
            </a:r>
            <a:r>
              <a:rPr lang="en-US" sz="1800" dirty="0">
                <a:effectLst/>
                <a:latin typeface="Arial MT"/>
                <a:ea typeface="Arial MT"/>
                <a:cs typeface="Arial MT"/>
              </a:rPr>
              <a:t>carried</a:t>
            </a:r>
            <a:r>
              <a:rPr lang="en-US" sz="1800" spc="-60" dirty="0">
                <a:effectLst/>
                <a:latin typeface="Arial MT"/>
                <a:ea typeface="Arial MT"/>
                <a:cs typeface="Arial MT"/>
              </a:rPr>
              <a:t> </a:t>
            </a:r>
            <a:r>
              <a:rPr lang="en-US" sz="1800" dirty="0">
                <a:effectLst/>
                <a:latin typeface="Arial MT"/>
                <a:ea typeface="Arial MT"/>
                <a:cs typeface="Arial MT"/>
              </a:rPr>
              <a:t>out</a:t>
            </a:r>
            <a:r>
              <a:rPr lang="en-US" sz="1800" spc="-40" dirty="0">
                <a:effectLst/>
                <a:latin typeface="Arial MT"/>
                <a:ea typeface="Arial MT"/>
                <a:cs typeface="Arial MT"/>
              </a:rPr>
              <a:t> </a:t>
            </a:r>
            <a:r>
              <a:rPr lang="en-US" sz="1800" dirty="0">
                <a:effectLst/>
                <a:latin typeface="Arial MT"/>
                <a:ea typeface="Arial MT"/>
                <a:cs typeface="Arial MT"/>
              </a:rPr>
              <a:t>on</a:t>
            </a:r>
            <a:r>
              <a:rPr lang="en-US" sz="1800" spc="-35" dirty="0">
                <a:effectLst/>
                <a:latin typeface="Arial MT"/>
                <a:ea typeface="Arial MT"/>
                <a:cs typeface="Arial MT"/>
              </a:rPr>
              <a:t> </a:t>
            </a:r>
            <a:r>
              <a:rPr lang="en-US" sz="1800" dirty="0">
                <a:effectLst/>
                <a:latin typeface="Arial MT"/>
                <a:ea typeface="Arial MT"/>
                <a:cs typeface="Arial MT"/>
              </a:rPr>
              <a:t>samples</a:t>
            </a:r>
            <a:r>
              <a:rPr lang="en-US" sz="1800" spc="-70" dirty="0">
                <a:effectLst/>
                <a:latin typeface="Arial MT"/>
                <a:ea typeface="Arial MT"/>
                <a:cs typeface="Arial MT"/>
              </a:rPr>
              <a:t> </a:t>
            </a:r>
            <a:r>
              <a:rPr lang="en-US" sz="1800" dirty="0">
                <a:effectLst/>
                <a:latin typeface="Arial MT"/>
                <a:ea typeface="Arial MT"/>
                <a:cs typeface="Arial MT"/>
              </a:rPr>
              <a:t>collected</a:t>
            </a:r>
            <a:r>
              <a:rPr lang="en-US" sz="1800" spc="-35" dirty="0">
                <a:effectLst/>
                <a:latin typeface="Arial MT"/>
                <a:ea typeface="Arial MT"/>
                <a:cs typeface="Arial MT"/>
              </a:rPr>
              <a:t> </a:t>
            </a:r>
            <a:r>
              <a:rPr lang="en-US" sz="1800" dirty="0">
                <a:effectLst/>
                <a:latin typeface="Arial MT"/>
                <a:ea typeface="Arial MT"/>
                <a:cs typeface="Arial MT"/>
              </a:rPr>
              <a:t>after</a:t>
            </a:r>
            <a:r>
              <a:rPr lang="en-US" sz="1800" spc="-50" dirty="0">
                <a:effectLst/>
                <a:latin typeface="Arial MT"/>
                <a:ea typeface="Arial MT"/>
                <a:cs typeface="Arial MT"/>
              </a:rPr>
              <a:t> </a:t>
            </a:r>
            <a:r>
              <a:rPr lang="en-US" sz="1800" dirty="0">
                <a:effectLst/>
                <a:latin typeface="Arial MT"/>
                <a:ea typeface="Arial MT"/>
                <a:cs typeface="Arial MT"/>
              </a:rPr>
              <a:t>the</a:t>
            </a:r>
            <a:r>
              <a:rPr lang="en-US" sz="1800" spc="-60" dirty="0">
                <a:effectLst/>
                <a:latin typeface="Arial MT"/>
                <a:ea typeface="Arial MT"/>
                <a:cs typeface="Arial MT"/>
              </a:rPr>
              <a:t> </a:t>
            </a:r>
            <a:r>
              <a:rPr lang="en-US" sz="1800" dirty="0">
                <a:effectLst/>
                <a:latin typeface="Arial MT"/>
                <a:ea typeface="Arial MT"/>
                <a:cs typeface="Arial MT"/>
              </a:rPr>
              <a:t>cooling</a:t>
            </a:r>
            <a:r>
              <a:rPr lang="en-US" sz="1800" spc="-60" dirty="0">
                <a:effectLst/>
                <a:latin typeface="Arial MT"/>
                <a:ea typeface="Arial MT"/>
                <a:cs typeface="Arial MT"/>
              </a:rPr>
              <a:t> </a:t>
            </a:r>
            <a:r>
              <a:rPr lang="en-US" sz="1800" dirty="0">
                <a:effectLst/>
                <a:latin typeface="Arial MT"/>
                <a:ea typeface="Arial MT"/>
                <a:cs typeface="Arial MT"/>
              </a:rPr>
              <a:t>process</a:t>
            </a:r>
            <a:r>
              <a:rPr lang="en-US" sz="1800" spc="-295" dirty="0">
                <a:effectLst/>
                <a:latin typeface="Arial MT"/>
                <a:ea typeface="Arial MT"/>
                <a:cs typeface="Arial MT"/>
              </a:rPr>
              <a:t> </a:t>
            </a:r>
            <a:r>
              <a:rPr lang="en-US" sz="1800" dirty="0">
                <a:effectLst/>
                <a:latin typeface="Arial MT"/>
                <a:ea typeface="Arial MT"/>
                <a:cs typeface="Arial MT"/>
              </a:rPr>
              <a:t>for</a:t>
            </a:r>
            <a:r>
              <a:rPr lang="en-US" sz="1800" spc="-65" dirty="0">
                <a:effectLst/>
                <a:latin typeface="Arial MT"/>
                <a:ea typeface="Arial MT"/>
                <a:cs typeface="Arial MT"/>
              </a:rPr>
              <a:t> </a:t>
            </a:r>
            <a:r>
              <a:rPr lang="en-US" sz="1800" dirty="0">
                <a:effectLst/>
                <a:latin typeface="Arial MT"/>
                <a:ea typeface="Arial MT"/>
                <a:cs typeface="Arial MT"/>
              </a:rPr>
              <a:t>each</a:t>
            </a:r>
            <a:r>
              <a:rPr lang="en-US" sz="1800" spc="-45" dirty="0">
                <a:effectLst/>
                <a:latin typeface="Arial MT"/>
                <a:ea typeface="Arial MT"/>
                <a:cs typeface="Arial MT"/>
              </a:rPr>
              <a:t> </a:t>
            </a:r>
            <a:r>
              <a:rPr lang="en-US" sz="1800" dirty="0">
                <a:effectLst/>
                <a:latin typeface="Arial MT"/>
                <a:ea typeface="Arial MT"/>
                <a:cs typeface="Arial MT"/>
              </a:rPr>
              <a:t>batch</a:t>
            </a:r>
            <a:r>
              <a:rPr lang="en-US" sz="1800" spc="-40" dirty="0">
                <a:effectLst/>
                <a:latin typeface="Arial MT"/>
                <a:ea typeface="Arial MT"/>
                <a:cs typeface="Arial MT"/>
              </a:rPr>
              <a:t> </a:t>
            </a:r>
            <a:r>
              <a:rPr lang="en-US" sz="1800" dirty="0">
                <a:effectLst/>
                <a:latin typeface="Arial MT"/>
                <a:ea typeface="Arial MT"/>
                <a:cs typeface="Arial MT"/>
              </a:rPr>
              <a:t>every</a:t>
            </a:r>
            <a:r>
              <a:rPr lang="en-US" sz="1800" spc="-55" dirty="0">
                <a:effectLst/>
                <a:latin typeface="Arial MT"/>
                <a:ea typeface="Arial MT"/>
                <a:cs typeface="Arial MT"/>
              </a:rPr>
              <a:t> </a:t>
            </a:r>
            <a:r>
              <a:rPr lang="en-US" sz="1800" dirty="0">
                <a:effectLst/>
                <a:latin typeface="Arial MT"/>
                <a:ea typeface="Arial MT"/>
                <a:cs typeface="Arial MT"/>
              </a:rPr>
              <a:t>two</a:t>
            </a:r>
            <a:r>
              <a:rPr lang="en-US" sz="1800" spc="-45" dirty="0">
                <a:effectLst/>
                <a:latin typeface="Arial MT"/>
                <a:ea typeface="Arial MT"/>
                <a:cs typeface="Arial MT"/>
              </a:rPr>
              <a:t> </a:t>
            </a:r>
            <a:r>
              <a:rPr lang="en-US" sz="1800" dirty="0">
                <a:effectLst/>
                <a:latin typeface="Arial MT"/>
                <a:ea typeface="Arial MT"/>
                <a:cs typeface="Arial MT"/>
              </a:rPr>
              <a:t>hours.</a:t>
            </a:r>
            <a:r>
              <a:rPr lang="en-US" sz="1800" spc="-55" dirty="0">
                <a:effectLst/>
                <a:latin typeface="Arial MT"/>
                <a:ea typeface="Arial MT"/>
                <a:cs typeface="Arial MT"/>
              </a:rPr>
              <a:t> </a:t>
            </a:r>
            <a:r>
              <a:rPr lang="en-US" sz="1800" dirty="0">
                <a:effectLst/>
                <a:latin typeface="Arial MT"/>
                <a:ea typeface="Arial MT"/>
                <a:cs typeface="Arial MT"/>
              </a:rPr>
              <a:t>Within the RETROFEED project, a new monitoring system based on multispectral image</a:t>
            </a:r>
            <a:r>
              <a:rPr lang="en-US" sz="1800" spc="5" dirty="0">
                <a:effectLst/>
                <a:latin typeface="Arial MT"/>
                <a:ea typeface="Arial MT"/>
                <a:cs typeface="Arial MT"/>
              </a:rPr>
              <a:t> </a:t>
            </a:r>
            <a:r>
              <a:rPr lang="en-US" sz="1800" dirty="0">
                <a:effectLst/>
                <a:latin typeface="Arial MT"/>
                <a:ea typeface="Arial MT"/>
                <a:cs typeface="Arial MT"/>
              </a:rPr>
              <a:t>analysis will also be deployed, to estimate clinker composition, phase distribution and grain</a:t>
            </a:r>
            <a:r>
              <a:rPr lang="en-US" sz="1800" spc="5" dirty="0">
                <a:effectLst/>
                <a:latin typeface="Arial MT"/>
                <a:ea typeface="Arial MT"/>
                <a:cs typeface="Arial MT"/>
              </a:rPr>
              <a:t> </a:t>
            </a:r>
            <a:r>
              <a:rPr lang="en-US" sz="1800" dirty="0">
                <a:effectLst/>
                <a:latin typeface="Arial MT"/>
                <a:ea typeface="Arial MT"/>
                <a:cs typeface="Arial MT"/>
              </a:rPr>
              <a:t>size.</a:t>
            </a:r>
            <a:r>
              <a:rPr lang="en-US" sz="1800" spc="-50" dirty="0">
                <a:effectLst/>
                <a:latin typeface="Arial MT"/>
                <a:ea typeface="Arial MT"/>
                <a:cs typeface="Arial MT"/>
              </a:rPr>
              <a:t> </a:t>
            </a:r>
          </a:p>
          <a:p>
            <a:pPr marL="0" marR="715645" lvl="2">
              <a:lnSpc>
                <a:spcPct val="100000"/>
              </a:lnSpc>
              <a:spcAft>
                <a:spcPts val="0"/>
              </a:spcAft>
              <a:buSzPts val="1100"/>
              <a:buFont typeface="Symbol" panose="05050102010706020507" pitchFamily="18" charset="2"/>
              <a:buNone/>
              <a:tabLst>
                <a:tab pos="1173480" algn="l"/>
              </a:tabLst>
            </a:pPr>
            <a:endParaRPr lang="en-US" sz="1800" spc="-50" dirty="0">
              <a:effectLst/>
              <a:latin typeface="Arial MT"/>
              <a:ea typeface="Arial MT"/>
              <a:cs typeface="Arial MT"/>
            </a:endParaRPr>
          </a:p>
          <a:p>
            <a:pPr marL="0" marR="715645" lvl="2">
              <a:buSzPts val="1100"/>
              <a:tabLst>
                <a:tab pos="1173480" algn="l"/>
              </a:tabLst>
            </a:pPr>
            <a:r>
              <a:rPr lang="en-US" sz="1800" b="1" dirty="0">
                <a:latin typeface="Arial MT"/>
              </a:rPr>
              <a:t>Production Chain (PC): </a:t>
            </a:r>
            <a:r>
              <a:rPr lang="en-US" sz="1800" dirty="0">
                <a:latin typeface="Arial MT"/>
              </a:rPr>
              <a:t>Models that represent processes that are upstream or downstream of the core processes are referred to as “production chain” (PC) models.</a:t>
            </a:r>
          </a:p>
          <a:p>
            <a:pPr marL="0" marR="715645" lvl="2" indent="457200" algn="just">
              <a:lnSpc>
                <a:spcPct val="100000"/>
              </a:lnSpc>
              <a:spcAft>
                <a:spcPts val="0"/>
              </a:spcAft>
              <a:buSzPts val="1100"/>
              <a:buFont typeface="Symbol" panose="05050102010706020507" pitchFamily="18" charset="2"/>
              <a:buNone/>
              <a:tabLst>
                <a:tab pos="1173480" algn="l"/>
              </a:tabLst>
            </a:pPr>
            <a:endParaRPr lang="en-US" sz="1800" dirty="0">
              <a:effectLst/>
              <a:latin typeface="Arial MT"/>
              <a:ea typeface="Arial MT"/>
              <a:cs typeface="Arial MT"/>
            </a:endParaRPr>
          </a:p>
          <a:p>
            <a:pPr marL="0" marR="715645" lvl="2" indent="457200" algn="just">
              <a:lnSpc>
                <a:spcPct val="100000"/>
              </a:lnSpc>
              <a:spcAft>
                <a:spcPts val="0"/>
              </a:spcAft>
              <a:buSzPts val="1100"/>
              <a:buFont typeface="Symbol" panose="05050102010706020507" pitchFamily="18" charset="2"/>
              <a:buNone/>
              <a:tabLst>
                <a:tab pos="1173480" algn="l"/>
              </a:tabLst>
            </a:pPr>
            <a:endParaRPr lang="en-US" sz="1800" dirty="0">
              <a:effectLst/>
              <a:latin typeface="Arial MT"/>
              <a:ea typeface="Arial MT"/>
              <a:cs typeface="Arial MT"/>
            </a:endParaRPr>
          </a:p>
          <a:p>
            <a:pPr marL="0" marR="715645" lvl="2" indent="457200" algn="just">
              <a:lnSpc>
                <a:spcPct val="100000"/>
              </a:lnSpc>
              <a:spcAft>
                <a:spcPts val="0"/>
              </a:spcAft>
              <a:buSzPts val="1100"/>
              <a:buFont typeface="Symbol" panose="05050102010706020507" pitchFamily="18" charset="2"/>
              <a:buNone/>
              <a:tabLst>
                <a:tab pos="1173480" algn="l"/>
              </a:tabLst>
            </a:pPr>
            <a:endParaRPr lang="en-US" sz="1800" dirty="0">
              <a:effectLst/>
              <a:latin typeface="Arial MT"/>
              <a:ea typeface="Arial MT"/>
              <a:cs typeface="Arial MT"/>
            </a:endParaRPr>
          </a:p>
          <a:p>
            <a:pPr marL="0" marR="715645" lvl="2" indent="457200" algn="just">
              <a:lnSpc>
                <a:spcPct val="100000"/>
              </a:lnSpc>
              <a:spcAft>
                <a:spcPts val="0"/>
              </a:spcAft>
              <a:buSzPts val="1100"/>
              <a:buFont typeface="Symbol" panose="05050102010706020507" pitchFamily="18" charset="2"/>
              <a:buNone/>
              <a:tabLst>
                <a:tab pos="1173480" algn="l"/>
              </a:tabLst>
            </a:pPr>
            <a:endParaRPr lang="sv-SE" sz="1800" dirty="0">
              <a:effectLst/>
              <a:latin typeface="Arial MT"/>
              <a:ea typeface="Arial MT"/>
              <a:cs typeface="Arial MT"/>
            </a:endParaRPr>
          </a:p>
          <a:p>
            <a:pPr marL="914400" marR="715645" lvl="2" indent="0" algn="just">
              <a:lnSpc>
                <a:spcPct val="123000"/>
              </a:lnSpc>
              <a:spcAft>
                <a:spcPts val="0"/>
              </a:spcAft>
              <a:buSzPts val="1100"/>
              <a:buFont typeface="Symbol" panose="05050102010706020507" pitchFamily="18" charset="2"/>
              <a:buNone/>
              <a:tabLst>
                <a:tab pos="1173480" algn="l"/>
              </a:tabLst>
            </a:pPr>
            <a:endParaRPr lang="sv-SE" sz="1100" dirty="0">
              <a:effectLst/>
              <a:latin typeface="Arial MT"/>
              <a:ea typeface="Arial MT"/>
              <a:cs typeface="Arial MT"/>
            </a:endParaRPr>
          </a:p>
          <a:p>
            <a:endParaRPr lang="sv-S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4DB91F-1AD8-437C-8866-3636784D085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79898058"/>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715645" lvl="2" indent="457200" algn="just">
              <a:lnSpc>
                <a:spcPct val="100000"/>
              </a:lnSpc>
              <a:spcAft>
                <a:spcPts val="0"/>
              </a:spcAft>
              <a:buSzPts val="1100"/>
              <a:buFont typeface="Symbol" panose="05050102010706020507" pitchFamily="18" charset="2"/>
              <a:buNone/>
              <a:tabLst>
                <a:tab pos="1173480" algn="l"/>
              </a:tabLst>
            </a:pPr>
            <a:r>
              <a:rPr lang="en-US" sz="1100">
                <a:effectLst/>
                <a:latin typeface="Arial MT"/>
                <a:ea typeface="Symbol" panose="05050102010706020507" pitchFamily="18" charset="2"/>
                <a:cs typeface="Symbol" panose="05050102010706020507" pitchFamily="18" charset="2"/>
              </a:rPr>
              <a:t>The RETROFEED project at ASAS demo-site will focus on </a:t>
            </a:r>
            <a:r>
              <a:rPr lang="en-US" sz="1800">
                <a:effectLst/>
                <a:latin typeface="Arial MT"/>
                <a:ea typeface="Arial MT"/>
                <a:cs typeface="Arial MT"/>
              </a:rPr>
              <a:t>the</a:t>
            </a:r>
            <a:r>
              <a:rPr lang="en-US" sz="1800" spc="-80">
                <a:effectLst/>
                <a:latin typeface="Arial MT"/>
                <a:ea typeface="Arial MT"/>
                <a:cs typeface="Arial MT"/>
              </a:rPr>
              <a:t> </a:t>
            </a:r>
            <a:r>
              <a:rPr lang="en-US" sz="1800">
                <a:effectLst/>
                <a:latin typeface="Arial MT"/>
                <a:ea typeface="Arial MT"/>
                <a:cs typeface="Arial MT"/>
              </a:rPr>
              <a:t>melting</a:t>
            </a:r>
            <a:r>
              <a:rPr lang="en-US" sz="1800" spc="-60">
                <a:effectLst/>
                <a:latin typeface="Arial MT"/>
                <a:ea typeface="Arial MT"/>
                <a:cs typeface="Arial MT"/>
              </a:rPr>
              <a:t> </a:t>
            </a:r>
            <a:r>
              <a:rPr lang="en-US" sz="1800">
                <a:effectLst/>
                <a:latin typeface="Arial MT"/>
                <a:ea typeface="Arial MT"/>
                <a:cs typeface="Arial MT"/>
              </a:rPr>
              <a:t>process,</a:t>
            </a:r>
            <a:r>
              <a:rPr lang="en-US" sz="1800" spc="-65">
                <a:effectLst/>
                <a:latin typeface="Arial MT"/>
                <a:ea typeface="Arial MT"/>
                <a:cs typeface="Arial MT"/>
              </a:rPr>
              <a:t> </a:t>
            </a:r>
            <a:r>
              <a:rPr lang="en-US" sz="1800">
                <a:effectLst/>
                <a:latin typeface="Arial MT"/>
                <a:ea typeface="Arial MT"/>
                <a:cs typeface="Arial MT"/>
              </a:rPr>
              <a:t>the</a:t>
            </a:r>
            <a:r>
              <a:rPr lang="en-US" sz="1800" spc="-75">
                <a:effectLst/>
                <a:latin typeface="Arial MT"/>
                <a:ea typeface="Arial MT"/>
                <a:cs typeface="Arial MT"/>
              </a:rPr>
              <a:t> </a:t>
            </a:r>
            <a:r>
              <a:rPr lang="en-US" sz="1800">
                <a:effectLst/>
                <a:latin typeface="Arial MT"/>
                <a:ea typeface="Arial MT"/>
                <a:cs typeface="Arial MT"/>
              </a:rPr>
              <a:t>main</a:t>
            </a:r>
            <a:r>
              <a:rPr lang="en-US" sz="1800" spc="-295">
                <a:effectLst/>
                <a:latin typeface="Arial MT"/>
                <a:ea typeface="Arial MT"/>
                <a:cs typeface="Arial MT"/>
              </a:rPr>
              <a:t> </a:t>
            </a:r>
            <a:r>
              <a:rPr lang="en-US" sz="1800">
                <a:effectLst/>
                <a:latin typeface="Arial MT"/>
                <a:ea typeface="Arial MT"/>
                <a:cs typeface="Arial MT"/>
              </a:rPr>
              <a:t>goal being to increase the amount of scrap used as raw material in the melting furnace. To</a:t>
            </a:r>
            <a:r>
              <a:rPr lang="en-US" sz="1800" spc="5">
                <a:effectLst/>
                <a:latin typeface="Arial MT"/>
                <a:ea typeface="Arial MT"/>
                <a:cs typeface="Arial MT"/>
              </a:rPr>
              <a:t> </a:t>
            </a:r>
            <a:r>
              <a:rPr lang="en-US" sz="1800">
                <a:effectLst/>
                <a:latin typeface="Arial MT"/>
                <a:ea typeface="Arial MT"/>
                <a:cs typeface="Arial MT"/>
              </a:rPr>
              <a:t>this</a:t>
            </a:r>
            <a:r>
              <a:rPr lang="en-US" sz="1800" spc="-30">
                <a:effectLst/>
                <a:latin typeface="Arial MT"/>
                <a:ea typeface="Arial MT"/>
                <a:cs typeface="Arial MT"/>
              </a:rPr>
              <a:t> </a:t>
            </a:r>
            <a:r>
              <a:rPr lang="en-US" sz="1800">
                <a:effectLst/>
                <a:latin typeface="Arial MT"/>
                <a:ea typeface="Arial MT"/>
                <a:cs typeface="Arial MT"/>
              </a:rPr>
              <a:t>aim,</a:t>
            </a:r>
            <a:r>
              <a:rPr lang="en-US" sz="1800" spc="-25">
                <a:effectLst/>
                <a:latin typeface="Arial MT"/>
                <a:ea typeface="Arial MT"/>
                <a:cs typeface="Arial MT"/>
              </a:rPr>
              <a:t> </a:t>
            </a:r>
            <a:r>
              <a:rPr lang="en-US" sz="1800">
                <a:effectLst/>
                <a:latin typeface="Arial MT"/>
                <a:ea typeface="Arial MT"/>
                <a:cs typeface="Arial MT"/>
              </a:rPr>
              <a:t>the</a:t>
            </a:r>
            <a:r>
              <a:rPr lang="en-US" sz="1800" spc="-20">
                <a:effectLst/>
                <a:latin typeface="Arial MT"/>
                <a:ea typeface="Arial MT"/>
                <a:cs typeface="Arial MT"/>
              </a:rPr>
              <a:t> </a:t>
            </a:r>
            <a:r>
              <a:rPr lang="en-US" sz="1800">
                <a:effectLst/>
                <a:latin typeface="Arial MT"/>
                <a:ea typeface="Arial MT"/>
                <a:cs typeface="Arial MT"/>
              </a:rPr>
              <a:t>smelter</a:t>
            </a:r>
            <a:r>
              <a:rPr lang="en-US" sz="1800" spc="-35">
                <a:effectLst/>
                <a:latin typeface="Arial MT"/>
                <a:ea typeface="Arial MT"/>
                <a:cs typeface="Arial MT"/>
              </a:rPr>
              <a:t> </a:t>
            </a:r>
            <a:r>
              <a:rPr lang="en-US" sz="1800">
                <a:effectLst/>
                <a:latin typeface="Arial MT"/>
                <a:ea typeface="Arial MT"/>
                <a:cs typeface="Arial MT"/>
              </a:rPr>
              <a:t>will</a:t>
            </a:r>
            <a:r>
              <a:rPr lang="en-US" sz="1800" spc="-10">
                <a:effectLst/>
                <a:latin typeface="Arial MT"/>
                <a:ea typeface="Arial MT"/>
                <a:cs typeface="Arial MT"/>
              </a:rPr>
              <a:t> </a:t>
            </a:r>
            <a:r>
              <a:rPr lang="en-US" sz="1800">
                <a:effectLst/>
                <a:latin typeface="Arial MT"/>
                <a:ea typeface="Arial MT"/>
                <a:cs typeface="Arial MT"/>
              </a:rPr>
              <a:t>be</a:t>
            </a:r>
            <a:r>
              <a:rPr lang="en-US" sz="1800" spc="-15">
                <a:effectLst/>
                <a:latin typeface="Arial MT"/>
                <a:ea typeface="Arial MT"/>
                <a:cs typeface="Arial MT"/>
              </a:rPr>
              <a:t> </a:t>
            </a:r>
            <a:r>
              <a:rPr lang="en-US" sz="1800">
                <a:effectLst/>
                <a:latin typeface="Arial MT"/>
                <a:ea typeface="Arial MT"/>
                <a:cs typeface="Arial MT"/>
              </a:rPr>
              <a:t>retrofitted,</a:t>
            </a:r>
            <a:r>
              <a:rPr lang="en-US" sz="1800" spc="-25">
                <a:effectLst/>
                <a:latin typeface="Arial MT"/>
                <a:ea typeface="Arial MT"/>
                <a:cs typeface="Arial MT"/>
              </a:rPr>
              <a:t> </a:t>
            </a:r>
            <a:r>
              <a:rPr lang="en-US" sz="1800">
                <a:effectLst/>
                <a:latin typeface="Arial MT"/>
                <a:ea typeface="Arial MT"/>
                <a:cs typeface="Arial MT"/>
              </a:rPr>
              <a:t>through</a:t>
            </a:r>
            <a:r>
              <a:rPr lang="en-US" sz="1800" spc="-20">
                <a:effectLst/>
                <a:latin typeface="Arial MT"/>
                <a:ea typeface="Arial MT"/>
                <a:cs typeface="Arial MT"/>
              </a:rPr>
              <a:t> </a:t>
            </a:r>
            <a:r>
              <a:rPr lang="en-US" sz="1800">
                <a:effectLst/>
                <a:latin typeface="Arial MT"/>
                <a:ea typeface="Arial MT"/>
                <a:cs typeface="Arial MT"/>
              </a:rPr>
              <a:t>the</a:t>
            </a:r>
            <a:r>
              <a:rPr lang="en-US" sz="1800" spc="-20">
                <a:effectLst/>
                <a:latin typeface="Arial MT"/>
                <a:ea typeface="Arial MT"/>
                <a:cs typeface="Arial MT"/>
              </a:rPr>
              <a:t> </a:t>
            </a:r>
            <a:r>
              <a:rPr lang="en-US" sz="1800">
                <a:effectLst/>
                <a:latin typeface="Arial MT"/>
                <a:ea typeface="Arial MT"/>
                <a:cs typeface="Arial MT"/>
              </a:rPr>
              <a:t>modification</a:t>
            </a:r>
            <a:r>
              <a:rPr lang="en-US" sz="1800" spc="-45">
                <a:effectLst/>
                <a:latin typeface="Arial MT"/>
                <a:ea typeface="Arial MT"/>
                <a:cs typeface="Arial MT"/>
              </a:rPr>
              <a:t> </a:t>
            </a:r>
            <a:r>
              <a:rPr lang="en-US" sz="1800">
                <a:effectLst/>
                <a:latin typeface="Arial MT"/>
                <a:ea typeface="Arial MT"/>
                <a:cs typeface="Arial MT"/>
              </a:rPr>
              <a:t>of</a:t>
            </a:r>
            <a:r>
              <a:rPr lang="en-US" sz="1800" spc="-20">
                <a:effectLst/>
                <a:latin typeface="Arial MT"/>
                <a:ea typeface="Arial MT"/>
                <a:cs typeface="Arial MT"/>
              </a:rPr>
              <a:t> </a:t>
            </a:r>
            <a:r>
              <a:rPr lang="en-US" sz="1800">
                <a:effectLst/>
                <a:latin typeface="Arial MT"/>
                <a:ea typeface="Arial MT"/>
                <a:cs typeface="Arial MT"/>
              </a:rPr>
              <a:t>the</a:t>
            </a:r>
            <a:r>
              <a:rPr lang="en-US" sz="1800" spc="-20">
                <a:effectLst/>
                <a:latin typeface="Arial MT"/>
                <a:ea typeface="Arial MT"/>
                <a:cs typeface="Arial MT"/>
              </a:rPr>
              <a:t> </a:t>
            </a:r>
            <a:r>
              <a:rPr lang="en-US" sz="1800">
                <a:effectLst/>
                <a:latin typeface="Arial MT"/>
                <a:ea typeface="Arial MT"/>
                <a:cs typeface="Arial MT"/>
              </a:rPr>
              <a:t>burner</a:t>
            </a:r>
            <a:r>
              <a:rPr lang="en-US" sz="1800" spc="-35">
                <a:effectLst/>
                <a:latin typeface="Arial MT"/>
                <a:ea typeface="Arial MT"/>
                <a:cs typeface="Arial MT"/>
              </a:rPr>
              <a:t> </a:t>
            </a:r>
            <a:r>
              <a:rPr lang="en-US" sz="1800">
                <a:effectLst/>
                <a:latin typeface="Arial MT"/>
                <a:ea typeface="Arial MT"/>
                <a:cs typeface="Arial MT"/>
              </a:rPr>
              <a:t>head,</a:t>
            </a:r>
            <a:r>
              <a:rPr lang="en-US" sz="1800" spc="-25">
                <a:effectLst/>
                <a:latin typeface="Arial MT"/>
                <a:ea typeface="Arial MT"/>
                <a:cs typeface="Arial MT"/>
              </a:rPr>
              <a:t> </a:t>
            </a:r>
            <a:r>
              <a:rPr lang="en-US" sz="1800">
                <a:effectLst/>
                <a:latin typeface="Arial MT"/>
                <a:ea typeface="Arial MT"/>
                <a:cs typeface="Arial MT"/>
              </a:rPr>
              <a:t>including</a:t>
            </a:r>
            <a:r>
              <a:rPr lang="en-US" sz="1800" spc="-290">
                <a:effectLst/>
                <a:latin typeface="Arial MT"/>
                <a:ea typeface="Arial MT"/>
                <a:cs typeface="Arial MT"/>
              </a:rPr>
              <a:t> </a:t>
            </a:r>
            <a:r>
              <a:rPr lang="en-US" sz="1800">
                <a:effectLst/>
                <a:latin typeface="Arial MT"/>
                <a:ea typeface="Arial MT"/>
                <a:cs typeface="Arial MT"/>
              </a:rPr>
              <a:t>the installation of a new oxygen injector. Furthermore, a new </a:t>
            </a:r>
            <a:r>
              <a:rPr lang="en-US" sz="1800" err="1">
                <a:effectLst/>
                <a:latin typeface="Arial MT"/>
                <a:ea typeface="Arial MT"/>
                <a:cs typeface="Arial MT"/>
              </a:rPr>
              <a:t>delacquering</a:t>
            </a:r>
            <a:r>
              <a:rPr lang="en-US" sz="1800">
                <a:effectLst/>
                <a:latin typeface="Arial MT"/>
                <a:ea typeface="Arial MT"/>
                <a:cs typeface="Arial MT"/>
              </a:rPr>
              <a:t> system will be</a:t>
            </a:r>
            <a:r>
              <a:rPr lang="en-US" sz="1800" spc="5">
                <a:effectLst/>
                <a:latin typeface="Arial MT"/>
                <a:ea typeface="Arial MT"/>
                <a:cs typeface="Arial MT"/>
              </a:rPr>
              <a:t> </a:t>
            </a:r>
            <a:r>
              <a:rPr lang="en-US" sz="1800">
                <a:effectLst/>
                <a:latin typeface="Arial MT"/>
                <a:ea typeface="Arial MT"/>
                <a:cs typeface="Arial MT"/>
              </a:rPr>
              <a:t>designed and installed. An overview of the resulting smelting process is provided in </a:t>
            </a:r>
            <a:r>
              <a:rPr lang="en-US" sz="1800" u="none" strike="noStrike">
                <a:effectLst/>
                <a:latin typeface="Arial MT"/>
                <a:ea typeface="Arial MT"/>
                <a:cs typeface="Arial MT"/>
                <a:hlinkClick r:id="rId3"/>
              </a:rPr>
              <a:t>Figure</a:t>
            </a:r>
            <a:r>
              <a:rPr lang="en-US" sz="1800" u="none" strike="noStrike">
                <a:effectLst/>
                <a:latin typeface="Arial MT"/>
                <a:ea typeface="Arial MT"/>
                <a:cs typeface="Arial MT"/>
              </a:rPr>
              <a:t>. </a:t>
            </a:r>
            <a:r>
              <a:rPr kumimoji="0" lang="en-US" sz="1800" b="0" i="0" u="none" strike="noStrike" kern="1200" cap="none" spc="0" normalizeH="0" baseline="0" noProof="0">
                <a:ln>
                  <a:noFill/>
                </a:ln>
                <a:solidFill>
                  <a:srgbClr val="3E3E3E"/>
                </a:solidFill>
                <a:effectLst/>
                <a:uLnTx/>
                <a:uFillTx/>
                <a:latin typeface="Arial MT"/>
                <a:ea typeface="Arial MT"/>
                <a:cs typeface="Arial MT"/>
              </a:rPr>
              <a:t>The main processes and variables to be considered in the DSS are shown in red.</a:t>
            </a:r>
          </a:p>
          <a:p>
            <a:pPr marL="0" marR="715645" lvl="2" indent="457200" algn="just">
              <a:lnSpc>
                <a:spcPct val="100000"/>
              </a:lnSpc>
              <a:spcAft>
                <a:spcPts val="0"/>
              </a:spcAft>
              <a:buSzPts val="1100"/>
              <a:buFont typeface="Symbol" panose="05050102010706020507" pitchFamily="18" charset="2"/>
              <a:buNone/>
              <a:tabLst>
                <a:tab pos="1173480" algn="l"/>
              </a:tabLst>
            </a:pPr>
            <a:r>
              <a:rPr lang="en-US" sz="1800" spc="5">
                <a:effectLst/>
                <a:latin typeface="Arial MT"/>
                <a:ea typeface="Arial MT"/>
                <a:cs typeface="Arial MT"/>
              </a:rPr>
              <a:t> </a:t>
            </a:r>
            <a:endParaRPr lang="en-US" sz="1100" b="0">
              <a:effectLst/>
              <a:latin typeface="Arial MT"/>
              <a:ea typeface="+mn-ea"/>
              <a:cs typeface="+mn-cs"/>
            </a:endParaRPr>
          </a:p>
          <a:p>
            <a:pPr marL="228600" marR="715645" lvl="2" indent="-228600" algn="just">
              <a:lnSpc>
                <a:spcPct val="100000"/>
              </a:lnSpc>
              <a:spcAft>
                <a:spcPts val="0"/>
              </a:spcAft>
              <a:buSzPts val="1100"/>
              <a:buFont typeface="Symbol" panose="05050102010706020507" pitchFamily="18" charset="2"/>
              <a:buAutoNum type="arabicPeriod"/>
              <a:tabLst>
                <a:tab pos="1173480" algn="l"/>
              </a:tabLst>
            </a:pPr>
            <a:r>
              <a:rPr lang="en-US" sz="1100">
                <a:effectLst/>
                <a:latin typeface="Arial MT"/>
                <a:ea typeface="Arial MT"/>
                <a:cs typeface="Arial MT"/>
              </a:rPr>
              <a:t>The Decision Support System (DSS) is expected to support the best mixture</a:t>
            </a:r>
            <a:r>
              <a:rPr lang="en-US" sz="1100" spc="5">
                <a:effectLst/>
                <a:latin typeface="Arial MT"/>
                <a:ea typeface="Arial MT"/>
                <a:cs typeface="Arial MT"/>
              </a:rPr>
              <a:t> </a:t>
            </a:r>
            <a:r>
              <a:rPr lang="en-US" sz="1100">
                <a:effectLst/>
                <a:latin typeface="Arial MT"/>
                <a:ea typeface="Arial MT"/>
                <a:cs typeface="Arial MT"/>
              </a:rPr>
              <a:t>of raw materials to be fed to the melting furnace. Raw material management is currently not</a:t>
            </a:r>
            <a:r>
              <a:rPr lang="en-US" sz="1100" spc="-295">
                <a:effectLst/>
                <a:latin typeface="Arial MT"/>
                <a:ea typeface="Arial MT"/>
                <a:cs typeface="Arial MT"/>
              </a:rPr>
              <a:t> </a:t>
            </a:r>
            <a:r>
              <a:rPr lang="en-US" sz="1100">
                <a:effectLst/>
                <a:latin typeface="Arial MT"/>
                <a:ea typeface="Arial MT"/>
                <a:cs typeface="Arial MT"/>
              </a:rPr>
              <a:t>automatized. The</a:t>
            </a:r>
            <a:r>
              <a:rPr lang="en-US" sz="1100" spc="-35">
                <a:effectLst/>
                <a:latin typeface="Arial MT"/>
                <a:ea typeface="Arial MT"/>
                <a:cs typeface="Arial MT"/>
              </a:rPr>
              <a:t> </a:t>
            </a:r>
            <a:r>
              <a:rPr lang="en-US" sz="1100">
                <a:effectLst/>
                <a:latin typeface="Arial MT"/>
                <a:ea typeface="Arial MT"/>
                <a:cs typeface="Arial MT"/>
              </a:rPr>
              <a:t>increased</a:t>
            </a:r>
            <a:r>
              <a:rPr lang="en-US" sz="1100" spc="-60">
                <a:effectLst/>
                <a:latin typeface="Arial MT"/>
                <a:ea typeface="Arial MT"/>
                <a:cs typeface="Arial MT"/>
              </a:rPr>
              <a:t> </a:t>
            </a:r>
            <a:r>
              <a:rPr lang="en-US" sz="1100">
                <a:effectLst/>
                <a:latin typeface="Arial MT"/>
                <a:ea typeface="Arial MT"/>
                <a:cs typeface="Arial MT"/>
              </a:rPr>
              <a:t>amount</a:t>
            </a:r>
            <a:r>
              <a:rPr lang="en-US" sz="1100" spc="-40">
                <a:effectLst/>
                <a:latin typeface="Arial MT"/>
                <a:ea typeface="Arial MT"/>
                <a:cs typeface="Arial MT"/>
              </a:rPr>
              <a:t> </a:t>
            </a:r>
            <a:r>
              <a:rPr lang="en-US" sz="1100">
                <a:effectLst/>
                <a:latin typeface="Arial MT"/>
                <a:ea typeface="Arial MT"/>
                <a:cs typeface="Arial MT"/>
              </a:rPr>
              <a:t>of</a:t>
            </a:r>
            <a:r>
              <a:rPr lang="en-US" sz="1100" spc="-45">
                <a:effectLst/>
                <a:latin typeface="Arial MT"/>
                <a:ea typeface="Arial MT"/>
                <a:cs typeface="Arial MT"/>
              </a:rPr>
              <a:t> </a:t>
            </a:r>
            <a:r>
              <a:rPr lang="en-US" sz="1100">
                <a:effectLst/>
                <a:latin typeface="Arial MT"/>
                <a:ea typeface="Arial MT"/>
                <a:cs typeface="Arial MT"/>
              </a:rPr>
              <a:t>scrap</a:t>
            </a:r>
            <a:r>
              <a:rPr lang="en-US" sz="1100" spc="-60">
                <a:effectLst/>
                <a:latin typeface="Arial MT"/>
                <a:ea typeface="Arial MT"/>
                <a:cs typeface="Arial MT"/>
              </a:rPr>
              <a:t> </a:t>
            </a:r>
            <a:r>
              <a:rPr lang="en-US" sz="1100">
                <a:effectLst/>
                <a:latin typeface="Arial MT"/>
                <a:ea typeface="Arial MT"/>
                <a:cs typeface="Arial MT"/>
              </a:rPr>
              <a:t>used</a:t>
            </a:r>
            <a:r>
              <a:rPr lang="en-US" sz="1100" spc="-35">
                <a:effectLst/>
                <a:latin typeface="Arial MT"/>
                <a:ea typeface="Arial MT"/>
                <a:cs typeface="Arial MT"/>
              </a:rPr>
              <a:t> </a:t>
            </a:r>
            <a:r>
              <a:rPr lang="en-US" sz="1100">
                <a:effectLst/>
                <a:latin typeface="Arial MT"/>
                <a:ea typeface="Arial MT"/>
                <a:cs typeface="Arial MT"/>
              </a:rPr>
              <a:t>as</a:t>
            </a:r>
            <a:r>
              <a:rPr lang="en-US" sz="1100" spc="-70">
                <a:effectLst/>
                <a:latin typeface="Arial MT"/>
                <a:ea typeface="Arial MT"/>
                <a:cs typeface="Arial MT"/>
              </a:rPr>
              <a:t> </a:t>
            </a:r>
            <a:r>
              <a:rPr lang="en-US" sz="1100">
                <a:effectLst/>
                <a:latin typeface="Arial MT"/>
                <a:ea typeface="Arial MT"/>
                <a:cs typeface="Arial MT"/>
              </a:rPr>
              <a:t>raw</a:t>
            </a:r>
            <a:r>
              <a:rPr lang="en-US" sz="1100" spc="-75">
                <a:effectLst/>
                <a:latin typeface="Arial MT"/>
                <a:ea typeface="Arial MT"/>
                <a:cs typeface="Arial MT"/>
              </a:rPr>
              <a:t> </a:t>
            </a:r>
            <a:r>
              <a:rPr lang="en-US" sz="1100">
                <a:effectLst/>
                <a:latin typeface="Arial MT"/>
                <a:ea typeface="Arial MT"/>
                <a:cs typeface="Arial MT"/>
              </a:rPr>
              <a:t>material</a:t>
            </a:r>
            <a:r>
              <a:rPr lang="en-US" sz="1100" spc="-295">
                <a:effectLst/>
                <a:latin typeface="Arial MT"/>
                <a:ea typeface="Arial MT"/>
                <a:cs typeface="Arial MT"/>
              </a:rPr>
              <a:t> </a:t>
            </a:r>
            <a:r>
              <a:rPr lang="en-US" sz="1100">
                <a:effectLst/>
                <a:latin typeface="Arial MT"/>
                <a:ea typeface="Arial MT"/>
                <a:cs typeface="Arial MT"/>
              </a:rPr>
              <a:t>should not determine a decrease in quality of the molten aluminum.</a:t>
            </a:r>
            <a:r>
              <a:rPr lang="en-US" sz="1100" spc="5">
                <a:effectLst/>
                <a:latin typeface="Arial MT"/>
                <a:ea typeface="Arial MT"/>
                <a:cs typeface="Arial MT"/>
              </a:rPr>
              <a:t> </a:t>
            </a:r>
            <a:r>
              <a:rPr lang="en-US" sz="1100">
                <a:latin typeface="Arial MT"/>
                <a:ea typeface="Arial MT"/>
                <a:cs typeface="Arial MT"/>
              </a:rPr>
              <a:t>The Digital Twin (DT) will consist in a Computational Fluid Dynamics (CFD) model of</a:t>
            </a:r>
            <a:r>
              <a:rPr lang="en-US" sz="1100" spc="5">
                <a:latin typeface="Arial MT"/>
                <a:ea typeface="Arial MT"/>
                <a:cs typeface="Arial MT"/>
              </a:rPr>
              <a:t> </a:t>
            </a:r>
            <a:r>
              <a:rPr lang="en-US" sz="1100">
                <a:latin typeface="Arial MT"/>
                <a:ea typeface="Arial MT"/>
                <a:cs typeface="Arial MT"/>
              </a:rPr>
              <a:t>the core process, i.e. the combustion occurring in the melting furnace, and will include the</a:t>
            </a:r>
            <a:r>
              <a:rPr lang="en-US" sz="1100" spc="5">
                <a:latin typeface="Arial MT"/>
                <a:ea typeface="Arial MT"/>
                <a:cs typeface="Arial MT"/>
              </a:rPr>
              <a:t> </a:t>
            </a:r>
            <a:r>
              <a:rPr lang="en-US" sz="1100">
                <a:latin typeface="Arial MT"/>
                <a:ea typeface="Arial MT"/>
                <a:cs typeface="Arial MT"/>
              </a:rPr>
              <a:t>effects of the new oxygen injector.</a:t>
            </a:r>
          </a:p>
          <a:p>
            <a:pPr marL="228600" marR="715645" lvl="2" indent="-228600" algn="just">
              <a:lnSpc>
                <a:spcPct val="100000"/>
              </a:lnSpc>
              <a:spcAft>
                <a:spcPts val="0"/>
              </a:spcAft>
              <a:buSzPts val="1100"/>
              <a:buFont typeface="Symbol" panose="05050102010706020507" pitchFamily="18" charset="2"/>
              <a:buAutoNum type="arabicPeriod"/>
              <a:tabLst>
                <a:tab pos="1173480" algn="l"/>
              </a:tabLst>
            </a:pPr>
            <a:endParaRPr lang="en-US" sz="1100">
              <a:latin typeface="Arial MT"/>
              <a:ea typeface="Arial MT"/>
              <a:cs typeface="Arial MT"/>
            </a:endParaRPr>
          </a:p>
          <a:p>
            <a:pPr marL="228600" marR="715645" lvl="2" indent="-228600" algn="just">
              <a:lnSpc>
                <a:spcPct val="100000"/>
              </a:lnSpc>
              <a:spcAft>
                <a:spcPts val="0"/>
              </a:spcAft>
              <a:buSzPts val="1100"/>
              <a:buFont typeface="Symbol" panose="05050102010706020507" pitchFamily="18" charset="2"/>
              <a:buAutoNum type="arabicPeriod"/>
              <a:tabLst>
                <a:tab pos="1173480" algn="l"/>
              </a:tabLst>
            </a:pPr>
            <a:r>
              <a:rPr lang="en-US" sz="1100">
                <a:effectLst/>
                <a:latin typeface="Arial MT"/>
                <a:ea typeface="Arial MT"/>
                <a:cs typeface="Arial MT"/>
              </a:rPr>
              <a:t>In order to provide the Decision Support System (DSS) with information concerning</a:t>
            </a:r>
            <a:r>
              <a:rPr lang="en-US" sz="1100" spc="5">
                <a:effectLst/>
                <a:latin typeface="Arial MT"/>
                <a:ea typeface="Arial MT"/>
                <a:cs typeface="Arial MT"/>
              </a:rPr>
              <a:t> </a:t>
            </a:r>
            <a:r>
              <a:rPr lang="en-US" sz="1100">
                <a:effectLst/>
                <a:latin typeface="Arial MT"/>
                <a:ea typeface="Arial MT"/>
                <a:cs typeface="Arial MT"/>
              </a:rPr>
              <a:t>the functioning of the </a:t>
            </a:r>
            <a:r>
              <a:rPr lang="en-US" sz="1100" err="1">
                <a:effectLst/>
                <a:latin typeface="Arial MT"/>
                <a:ea typeface="Arial MT"/>
                <a:cs typeface="Arial MT"/>
              </a:rPr>
              <a:t>delacquering</a:t>
            </a:r>
            <a:r>
              <a:rPr lang="en-US" sz="1100">
                <a:effectLst/>
                <a:latin typeface="Arial MT"/>
                <a:ea typeface="Arial MT"/>
                <a:cs typeface="Arial MT"/>
              </a:rPr>
              <a:t> system, the constraints on the selection of raw material,</a:t>
            </a:r>
            <a:r>
              <a:rPr lang="en-US" sz="1100" spc="5">
                <a:effectLst/>
                <a:latin typeface="Arial MT"/>
                <a:ea typeface="Arial MT"/>
                <a:cs typeface="Arial MT"/>
              </a:rPr>
              <a:t> </a:t>
            </a:r>
            <a:r>
              <a:rPr lang="en-US" sz="1100">
                <a:effectLst/>
                <a:latin typeface="Arial MT"/>
                <a:ea typeface="Arial MT"/>
                <a:cs typeface="Arial MT"/>
              </a:rPr>
              <a:t>the level of emissions and the quality of the resulting product, additional Production Chain (PC) models will be</a:t>
            </a:r>
            <a:r>
              <a:rPr lang="en-US" sz="1100" spc="5">
                <a:effectLst/>
                <a:latin typeface="Arial MT"/>
                <a:ea typeface="Arial MT"/>
                <a:cs typeface="Arial MT"/>
              </a:rPr>
              <a:t> </a:t>
            </a:r>
            <a:r>
              <a:rPr lang="en-US" sz="1100">
                <a:effectLst/>
                <a:latin typeface="Arial MT"/>
                <a:ea typeface="Arial MT"/>
                <a:cs typeface="Arial MT"/>
              </a:rPr>
              <a:t>developed.</a:t>
            </a:r>
          </a:p>
          <a:p>
            <a:pPr marL="0" marR="715645" lvl="2" indent="0" algn="just">
              <a:lnSpc>
                <a:spcPct val="100000"/>
              </a:lnSpc>
              <a:spcAft>
                <a:spcPts val="0"/>
              </a:spcAft>
              <a:buSzPts val="1100"/>
              <a:buFont typeface="Symbol" panose="05050102010706020507" pitchFamily="18" charset="2"/>
              <a:buNone/>
              <a:tabLst>
                <a:tab pos="1173480" algn="l"/>
              </a:tabLst>
            </a:pPr>
            <a:endParaRPr lang="en-US" sz="1100" b="1">
              <a:effectLst/>
              <a:latin typeface="Arial MT"/>
              <a:ea typeface="Arial MT"/>
              <a:cs typeface="Arial MT"/>
            </a:endParaRPr>
          </a:p>
          <a:p>
            <a:pPr marL="0" marR="715645" lvl="2" indent="0" algn="just">
              <a:lnSpc>
                <a:spcPct val="100000"/>
              </a:lnSpc>
              <a:spcAft>
                <a:spcPts val="0"/>
              </a:spcAft>
              <a:buSzPts val="1100"/>
              <a:buFont typeface="Symbol" panose="05050102010706020507" pitchFamily="18" charset="2"/>
              <a:buNone/>
              <a:tabLst>
                <a:tab pos="1173480" algn="l"/>
              </a:tabLst>
            </a:pPr>
            <a:r>
              <a:rPr lang="en-US" sz="1100">
                <a:latin typeface="Arial MT"/>
              </a:rPr>
              <a:t>3. The quality of the product is measured in terms of chemical composition and hydrogen level, and it is also significantly influenced by temperature.</a:t>
            </a:r>
          </a:p>
          <a:p>
            <a:pPr marL="0" marR="715645" lvl="2" indent="0" algn="just">
              <a:lnSpc>
                <a:spcPct val="100000"/>
              </a:lnSpc>
              <a:spcAft>
                <a:spcPts val="0"/>
              </a:spcAft>
              <a:buSzPts val="1100"/>
              <a:buFont typeface="Symbol" panose="05050102010706020507" pitchFamily="18" charset="2"/>
              <a:buNone/>
              <a:tabLst>
                <a:tab pos="1173480" algn="l"/>
              </a:tabLst>
            </a:pPr>
            <a:endParaRPr lang="en-US" sz="1100">
              <a:latin typeface="Arial MT"/>
            </a:endParaRPr>
          </a:p>
          <a:p>
            <a:pPr marL="0" marR="715645" lvl="2" indent="457200" algn="just">
              <a:lnSpc>
                <a:spcPct val="100000"/>
              </a:lnSpc>
              <a:spcAft>
                <a:spcPts val="0"/>
              </a:spcAft>
              <a:buSzPts val="1100"/>
              <a:buFont typeface="Symbol" panose="05050102010706020507" pitchFamily="18" charset="2"/>
              <a:buNone/>
              <a:tabLst>
                <a:tab pos="1173480" algn="l"/>
              </a:tabLst>
            </a:pPr>
            <a:r>
              <a:rPr lang="en-US" sz="1100" b="1">
                <a:latin typeface="Arial MT"/>
              </a:rPr>
              <a:t>Production Chain (PC): </a:t>
            </a:r>
            <a:r>
              <a:rPr lang="en-US" sz="1100">
                <a:latin typeface="Arial MT"/>
              </a:rPr>
              <a:t>Models that represent processes that are upstream or downstream of the core processes are referred to as “production chain” (PC) models</a:t>
            </a:r>
          </a:p>
          <a:p>
            <a:pPr marL="0" marR="715645" lvl="2" indent="457200" algn="just">
              <a:lnSpc>
                <a:spcPct val="100000"/>
              </a:lnSpc>
              <a:spcAft>
                <a:spcPts val="0"/>
              </a:spcAft>
              <a:buSzPts val="1100"/>
              <a:buFont typeface="Symbol" panose="05050102010706020507" pitchFamily="18" charset="2"/>
              <a:buNone/>
              <a:tabLst>
                <a:tab pos="1173480" algn="l"/>
              </a:tabLst>
            </a:pPr>
            <a:endParaRPr lang="en-US" sz="1100">
              <a:latin typeface="Arial MT"/>
            </a:endParaRPr>
          </a:p>
          <a:p>
            <a:pPr marL="0" marR="715645" lvl="2" indent="457200" algn="just">
              <a:lnSpc>
                <a:spcPct val="100000"/>
              </a:lnSpc>
              <a:spcAft>
                <a:spcPts val="0"/>
              </a:spcAft>
              <a:buSzPts val="1100"/>
              <a:buFont typeface="Symbol" panose="05050102010706020507" pitchFamily="18" charset="2"/>
              <a:buNone/>
              <a:tabLst>
                <a:tab pos="1173480" algn="l"/>
              </a:tabLst>
            </a:pPr>
            <a:endParaRPr lang="en-US" sz="1100">
              <a:latin typeface="Arial MT"/>
            </a:endParaRPr>
          </a:p>
          <a:p>
            <a:pPr marL="0" marR="715645" lvl="2" indent="457200" algn="just" defTabSz="914400" rtl="0" eaLnBrk="1" fontAlgn="auto" latinLnBrk="0" hangingPunct="1">
              <a:lnSpc>
                <a:spcPct val="100000"/>
              </a:lnSpc>
              <a:spcBef>
                <a:spcPts val="0"/>
              </a:spcBef>
              <a:spcAft>
                <a:spcPts val="0"/>
              </a:spcAft>
              <a:buClrTx/>
              <a:buSzPts val="1100"/>
              <a:buFont typeface="Symbol" panose="05050102010706020507" pitchFamily="18" charset="2"/>
              <a:buNone/>
              <a:tabLst>
                <a:tab pos="1173480" algn="l"/>
              </a:tabLst>
              <a:defRPr/>
            </a:pPr>
            <a:r>
              <a:rPr lang="en-US" sz="1100">
                <a:effectLst/>
                <a:latin typeface="Arial MT"/>
                <a:ea typeface="Arial MT"/>
                <a:cs typeface="Arial MT"/>
              </a:rPr>
              <a:t>In this context, the main decision the DSS is expected to support concerns the best mixture</a:t>
            </a:r>
            <a:r>
              <a:rPr lang="en-US" sz="1100" spc="5">
                <a:effectLst/>
                <a:latin typeface="Arial MT"/>
                <a:ea typeface="Arial MT"/>
                <a:cs typeface="Arial MT"/>
              </a:rPr>
              <a:t> </a:t>
            </a:r>
            <a:r>
              <a:rPr lang="en-US" sz="1100">
                <a:effectLst/>
                <a:latin typeface="Arial MT"/>
                <a:ea typeface="Arial MT"/>
                <a:cs typeface="Arial MT"/>
              </a:rPr>
              <a:t>of raw materials to be fed to the melting furnace. Raw material management is currently not</a:t>
            </a:r>
            <a:r>
              <a:rPr lang="en-US" sz="1100" spc="-295">
                <a:effectLst/>
                <a:latin typeface="Arial MT"/>
                <a:ea typeface="Arial MT"/>
                <a:cs typeface="Arial MT"/>
              </a:rPr>
              <a:t> </a:t>
            </a:r>
            <a:r>
              <a:rPr lang="en-US" sz="1100">
                <a:effectLst/>
                <a:latin typeface="Arial MT"/>
                <a:ea typeface="Arial MT"/>
                <a:cs typeface="Arial MT"/>
              </a:rPr>
              <a:t>automatized. At</a:t>
            </a:r>
            <a:r>
              <a:rPr lang="en-US" sz="1100" spc="-40">
                <a:effectLst/>
                <a:latin typeface="Arial MT"/>
                <a:ea typeface="Arial MT"/>
                <a:cs typeface="Arial MT"/>
              </a:rPr>
              <a:t> </a:t>
            </a:r>
            <a:r>
              <a:rPr lang="en-US" sz="1100">
                <a:effectLst/>
                <a:latin typeface="Arial MT"/>
                <a:ea typeface="Arial MT"/>
                <a:cs typeface="Arial MT"/>
              </a:rPr>
              <a:t>the</a:t>
            </a:r>
            <a:r>
              <a:rPr lang="en-US" sz="1100" spc="-35">
                <a:effectLst/>
                <a:latin typeface="Arial MT"/>
                <a:ea typeface="Arial MT"/>
                <a:cs typeface="Arial MT"/>
              </a:rPr>
              <a:t> </a:t>
            </a:r>
            <a:r>
              <a:rPr lang="en-US" sz="1100">
                <a:effectLst/>
                <a:latin typeface="Arial MT"/>
                <a:ea typeface="Arial MT"/>
                <a:cs typeface="Arial MT"/>
              </a:rPr>
              <a:t>same</a:t>
            </a:r>
            <a:r>
              <a:rPr lang="en-US" sz="1100" spc="-60">
                <a:effectLst/>
                <a:latin typeface="Arial MT"/>
                <a:ea typeface="Arial MT"/>
                <a:cs typeface="Arial MT"/>
              </a:rPr>
              <a:t> </a:t>
            </a:r>
            <a:r>
              <a:rPr lang="en-US" sz="1100">
                <a:effectLst/>
                <a:latin typeface="Arial MT"/>
                <a:ea typeface="Arial MT"/>
                <a:cs typeface="Arial MT"/>
              </a:rPr>
              <a:t>time,</a:t>
            </a:r>
            <a:r>
              <a:rPr lang="en-US" sz="1100" spc="-65">
                <a:effectLst/>
                <a:latin typeface="Arial MT"/>
                <a:ea typeface="Arial MT"/>
                <a:cs typeface="Arial MT"/>
              </a:rPr>
              <a:t> </a:t>
            </a:r>
            <a:r>
              <a:rPr lang="en-US" sz="1100">
                <a:effectLst/>
                <a:latin typeface="Arial MT"/>
                <a:ea typeface="Arial MT"/>
                <a:cs typeface="Arial MT"/>
              </a:rPr>
              <a:t>the</a:t>
            </a:r>
            <a:r>
              <a:rPr lang="en-US" sz="1100" spc="-35">
                <a:effectLst/>
                <a:latin typeface="Arial MT"/>
                <a:ea typeface="Arial MT"/>
                <a:cs typeface="Arial MT"/>
              </a:rPr>
              <a:t> </a:t>
            </a:r>
            <a:r>
              <a:rPr lang="en-US" sz="1100">
                <a:effectLst/>
                <a:latin typeface="Arial MT"/>
                <a:ea typeface="Arial MT"/>
                <a:cs typeface="Arial MT"/>
              </a:rPr>
              <a:t>increased</a:t>
            </a:r>
            <a:r>
              <a:rPr lang="en-US" sz="1100" spc="-60">
                <a:effectLst/>
                <a:latin typeface="Arial MT"/>
                <a:ea typeface="Arial MT"/>
                <a:cs typeface="Arial MT"/>
              </a:rPr>
              <a:t> </a:t>
            </a:r>
            <a:r>
              <a:rPr lang="en-US" sz="1100">
                <a:effectLst/>
                <a:latin typeface="Arial MT"/>
                <a:ea typeface="Arial MT"/>
                <a:cs typeface="Arial MT"/>
              </a:rPr>
              <a:t>amount</a:t>
            </a:r>
            <a:r>
              <a:rPr lang="en-US" sz="1100" spc="-40">
                <a:effectLst/>
                <a:latin typeface="Arial MT"/>
                <a:ea typeface="Arial MT"/>
                <a:cs typeface="Arial MT"/>
              </a:rPr>
              <a:t> </a:t>
            </a:r>
            <a:r>
              <a:rPr lang="en-US" sz="1100">
                <a:effectLst/>
                <a:latin typeface="Arial MT"/>
                <a:ea typeface="Arial MT"/>
                <a:cs typeface="Arial MT"/>
              </a:rPr>
              <a:t>of</a:t>
            </a:r>
            <a:r>
              <a:rPr lang="en-US" sz="1100" spc="-45">
                <a:effectLst/>
                <a:latin typeface="Arial MT"/>
                <a:ea typeface="Arial MT"/>
                <a:cs typeface="Arial MT"/>
              </a:rPr>
              <a:t> </a:t>
            </a:r>
            <a:r>
              <a:rPr lang="en-US" sz="1100">
                <a:effectLst/>
                <a:latin typeface="Arial MT"/>
                <a:ea typeface="Arial MT"/>
                <a:cs typeface="Arial MT"/>
              </a:rPr>
              <a:t>scrap</a:t>
            </a:r>
            <a:r>
              <a:rPr lang="en-US" sz="1100" spc="-60">
                <a:effectLst/>
                <a:latin typeface="Arial MT"/>
                <a:ea typeface="Arial MT"/>
                <a:cs typeface="Arial MT"/>
              </a:rPr>
              <a:t> </a:t>
            </a:r>
            <a:r>
              <a:rPr lang="en-US" sz="1100">
                <a:effectLst/>
                <a:latin typeface="Arial MT"/>
                <a:ea typeface="Arial MT"/>
                <a:cs typeface="Arial MT"/>
              </a:rPr>
              <a:t>used</a:t>
            </a:r>
            <a:r>
              <a:rPr lang="en-US" sz="1100" spc="-35">
                <a:effectLst/>
                <a:latin typeface="Arial MT"/>
                <a:ea typeface="Arial MT"/>
                <a:cs typeface="Arial MT"/>
              </a:rPr>
              <a:t> </a:t>
            </a:r>
            <a:r>
              <a:rPr lang="en-US" sz="1100">
                <a:effectLst/>
                <a:latin typeface="Arial MT"/>
                <a:ea typeface="Arial MT"/>
                <a:cs typeface="Arial MT"/>
              </a:rPr>
              <a:t>as</a:t>
            </a:r>
            <a:r>
              <a:rPr lang="en-US" sz="1100" spc="-70">
                <a:effectLst/>
                <a:latin typeface="Arial MT"/>
                <a:ea typeface="Arial MT"/>
                <a:cs typeface="Arial MT"/>
              </a:rPr>
              <a:t> </a:t>
            </a:r>
            <a:r>
              <a:rPr lang="en-US" sz="1100">
                <a:effectLst/>
                <a:latin typeface="Arial MT"/>
                <a:ea typeface="Arial MT"/>
                <a:cs typeface="Arial MT"/>
              </a:rPr>
              <a:t>raw</a:t>
            </a:r>
            <a:r>
              <a:rPr lang="en-US" sz="1100" spc="-75">
                <a:effectLst/>
                <a:latin typeface="Arial MT"/>
                <a:ea typeface="Arial MT"/>
                <a:cs typeface="Arial MT"/>
              </a:rPr>
              <a:t> </a:t>
            </a:r>
            <a:r>
              <a:rPr lang="en-US" sz="1100">
                <a:effectLst/>
                <a:latin typeface="Arial MT"/>
                <a:ea typeface="Arial MT"/>
                <a:cs typeface="Arial MT"/>
              </a:rPr>
              <a:t>material</a:t>
            </a:r>
            <a:r>
              <a:rPr lang="en-US" sz="1100" spc="-295">
                <a:effectLst/>
                <a:latin typeface="Arial MT"/>
                <a:ea typeface="Arial MT"/>
                <a:cs typeface="Arial MT"/>
              </a:rPr>
              <a:t> </a:t>
            </a:r>
            <a:r>
              <a:rPr lang="en-US" sz="1100">
                <a:effectLst/>
                <a:latin typeface="Arial MT"/>
                <a:ea typeface="Arial MT"/>
                <a:cs typeface="Arial MT"/>
              </a:rPr>
              <a:t>should not determine a decrease in quality of the molten aluminum, which is assessed by</a:t>
            </a:r>
            <a:r>
              <a:rPr lang="en-US" sz="1100" spc="5">
                <a:effectLst/>
                <a:latin typeface="Arial MT"/>
                <a:ea typeface="Arial MT"/>
                <a:cs typeface="Arial MT"/>
              </a:rPr>
              <a:t> </a:t>
            </a:r>
            <a:r>
              <a:rPr lang="en-US" sz="1100" spc="-5">
                <a:effectLst/>
                <a:latin typeface="Arial MT"/>
                <a:ea typeface="Arial MT"/>
                <a:cs typeface="Arial MT"/>
              </a:rPr>
              <a:t>means</a:t>
            </a:r>
            <a:r>
              <a:rPr lang="en-US" sz="1100" spc="-70">
                <a:effectLst/>
                <a:latin typeface="Arial MT"/>
                <a:ea typeface="Arial MT"/>
                <a:cs typeface="Arial MT"/>
              </a:rPr>
              <a:t> </a:t>
            </a:r>
            <a:r>
              <a:rPr lang="en-US" sz="1100" spc="-5">
                <a:effectLst/>
                <a:latin typeface="Arial MT"/>
                <a:ea typeface="Arial MT"/>
                <a:cs typeface="Arial MT"/>
              </a:rPr>
              <a:t>of</a:t>
            </a:r>
            <a:r>
              <a:rPr lang="en-US" sz="1100" spc="-15">
                <a:effectLst/>
                <a:latin typeface="Arial MT"/>
                <a:ea typeface="Arial MT"/>
                <a:cs typeface="Arial MT"/>
              </a:rPr>
              <a:t> </a:t>
            </a:r>
            <a:r>
              <a:rPr lang="en-US" sz="1100" spc="-5">
                <a:effectLst/>
                <a:latin typeface="Arial MT"/>
                <a:ea typeface="Arial MT"/>
                <a:cs typeface="Arial MT"/>
              </a:rPr>
              <a:t>laboratory</a:t>
            </a:r>
            <a:r>
              <a:rPr lang="en-US" sz="1100" spc="-45">
                <a:effectLst/>
                <a:latin typeface="Arial MT"/>
                <a:ea typeface="Arial MT"/>
                <a:cs typeface="Arial MT"/>
              </a:rPr>
              <a:t> </a:t>
            </a:r>
            <a:r>
              <a:rPr lang="en-US" sz="1100" spc="-5">
                <a:effectLst/>
                <a:latin typeface="Arial MT"/>
                <a:ea typeface="Arial MT"/>
                <a:cs typeface="Arial MT"/>
              </a:rPr>
              <a:t>analyses</a:t>
            </a:r>
            <a:r>
              <a:rPr lang="en-US" sz="1100" spc="-45">
                <a:effectLst/>
                <a:latin typeface="Arial MT"/>
                <a:ea typeface="Arial MT"/>
                <a:cs typeface="Arial MT"/>
              </a:rPr>
              <a:t> </a:t>
            </a:r>
            <a:r>
              <a:rPr lang="en-US" sz="1100" spc="-5">
                <a:effectLst/>
                <a:latin typeface="Arial MT"/>
                <a:ea typeface="Arial MT"/>
                <a:cs typeface="Arial MT"/>
              </a:rPr>
              <a:t>carried</a:t>
            </a:r>
            <a:r>
              <a:rPr lang="en-US" sz="1100" spc="-35">
                <a:effectLst/>
                <a:latin typeface="Arial MT"/>
                <a:ea typeface="Arial MT"/>
                <a:cs typeface="Arial MT"/>
              </a:rPr>
              <a:t> </a:t>
            </a:r>
            <a:r>
              <a:rPr lang="en-US" sz="1100">
                <a:effectLst/>
                <a:latin typeface="Arial MT"/>
                <a:ea typeface="Arial MT"/>
                <a:cs typeface="Arial MT"/>
              </a:rPr>
              <a:t>out</a:t>
            </a:r>
            <a:r>
              <a:rPr lang="en-US" sz="1100" spc="-40">
                <a:effectLst/>
                <a:latin typeface="Arial MT"/>
                <a:ea typeface="Arial MT"/>
                <a:cs typeface="Arial MT"/>
              </a:rPr>
              <a:t> </a:t>
            </a:r>
            <a:r>
              <a:rPr lang="en-US" sz="1100">
                <a:effectLst/>
                <a:latin typeface="Arial MT"/>
                <a:ea typeface="Arial MT"/>
                <a:cs typeface="Arial MT"/>
              </a:rPr>
              <a:t>on</a:t>
            </a:r>
            <a:r>
              <a:rPr lang="en-US" sz="1100" spc="-35">
                <a:effectLst/>
                <a:latin typeface="Arial MT"/>
                <a:ea typeface="Arial MT"/>
                <a:cs typeface="Arial MT"/>
              </a:rPr>
              <a:t> </a:t>
            </a:r>
            <a:r>
              <a:rPr lang="en-US" sz="1100">
                <a:effectLst/>
                <a:latin typeface="Arial MT"/>
                <a:ea typeface="Arial MT"/>
                <a:cs typeface="Arial MT"/>
              </a:rPr>
              <a:t>samples</a:t>
            </a:r>
            <a:r>
              <a:rPr lang="en-US" sz="1100" spc="-20">
                <a:effectLst/>
                <a:latin typeface="Arial MT"/>
                <a:ea typeface="Arial MT"/>
                <a:cs typeface="Arial MT"/>
              </a:rPr>
              <a:t> </a:t>
            </a:r>
            <a:r>
              <a:rPr lang="en-US" sz="1100">
                <a:effectLst/>
                <a:latin typeface="Arial MT"/>
                <a:ea typeface="Arial MT"/>
                <a:cs typeface="Arial MT"/>
              </a:rPr>
              <a:t>taken</a:t>
            </a:r>
            <a:r>
              <a:rPr lang="en-US" sz="1100" spc="-35">
                <a:effectLst/>
                <a:latin typeface="Arial MT"/>
                <a:ea typeface="Arial MT"/>
                <a:cs typeface="Arial MT"/>
              </a:rPr>
              <a:t> </a:t>
            </a:r>
            <a:r>
              <a:rPr lang="en-US" sz="1100">
                <a:effectLst/>
                <a:latin typeface="Arial MT"/>
                <a:ea typeface="Arial MT"/>
                <a:cs typeface="Arial MT"/>
              </a:rPr>
              <a:t>at</a:t>
            </a:r>
            <a:r>
              <a:rPr lang="en-US" sz="1100" spc="-40">
                <a:effectLst/>
                <a:latin typeface="Arial MT"/>
                <a:ea typeface="Arial MT"/>
                <a:cs typeface="Arial MT"/>
              </a:rPr>
              <a:t> </a:t>
            </a:r>
            <a:r>
              <a:rPr lang="en-US" sz="1100">
                <a:effectLst/>
                <a:latin typeface="Arial MT"/>
                <a:ea typeface="Arial MT"/>
                <a:cs typeface="Arial MT"/>
              </a:rPr>
              <a:t>the</a:t>
            </a:r>
            <a:r>
              <a:rPr lang="en-US" sz="1100" spc="-35">
                <a:effectLst/>
                <a:latin typeface="Arial MT"/>
                <a:ea typeface="Arial MT"/>
                <a:cs typeface="Arial MT"/>
              </a:rPr>
              <a:t> </a:t>
            </a:r>
            <a:r>
              <a:rPr lang="en-US" sz="1100">
                <a:effectLst/>
                <a:latin typeface="Arial MT"/>
                <a:ea typeface="Arial MT"/>
                <a:cs typeface="Arial MT"/>
              </a:rPr>
              <a:t>exit</a:t>
            </a:r>
            <a:r>
              <a:rPr lang="en-US" sz="1100" spc="-40">
                <a:effectLst/>
                <a:latin typeface="Arial MT"/>
                <a:ea typeface="Arial MT"/>
                <a:cs typeface="Arial MT"/>
              </a:rPr>
              <a:t> </a:t>
            </a:r>
            <a:r>
              <a:rPr lang="en-US" sz="1100">
                <a:effectLst/>
                <a:latin typeface="Arial MT"/>
                <a:ea typeface="Arial MT"/>
                <a:cs typeface="Arial MT"/>
              </a:rPr>
              <a:t>of</a:t>
            </a:r>
            <a:r>
              <a:rPr lang="en-US" sz="1100" spc="-40">
                <a:effectLst/>
                <a:latin typeface="Arial MT"/>
                <a:ea typeface="Arial MT"/>
                <a:cs typeface="Arial MT"/>
              </a:rPr>
              <a:t> </a:t>
            </a:r>
            <a:r>
              <a:rPr lang="en-US" sz="1100">
                <a:effectLst/>
                <a:latin typeface="Arial MT"/>
                <a:ea typeface="Arial MT"/>
                <a:cs typeface="Arial MT"/>
              </a:rPr>
              <a:t>the</a:t>
            </a:r>
            <a:r>
              <a:rPr lang="en-US" sz="1100" spc="-30">
                <a:effectLst/>
                <a:latin typeface="Arial MT"/>
                <a:ea typeface="Arial MT"/>
                <a:cs typeface="Arial MT"/>
              </a:rPr>
              <a:t> </a:t>
            </a:r>
            <a:r>
              <a:rPr lang="en-US" sz="1100">
                <a:effectLst/>
                <a:latin typeface="Arial MT"/>
                <a:ea typeface="Arial MT"/>
                <a:cs typeface="Arial MT"/>
              </a:rPr>
              <a:t>melting</a:t>
            </a:r>
            <a:r>
              <a:rPr lang="en-US" sz="1100" spc="-35">
                <a:effectLst/>
                <a:latin typeface="Arial MT"/>
                <a:ea typeface="Arial MT"/>
                <a:cs typeface="Arial MT"/>
              </a:rPr>
              <a:t> </a:t>
            </a:r>
            <a:r>
              <a:rPr lang="en-US" sz="1100">
                <a:effectLst/>
                <a:latin typeface="Arial MT"/>
                <a:ea typeface="Arial MT"/>
                <a:cs typeface="Arial MT"/>
              </a:rPr>
              <a:t>furnace.</a:t>
            </a:r>
            <a:r>
              <a:rPr lang="en-US" sz="1100" spc="5">
                <a:effectLst/>
                <a:latin typeface="Arial MT"/>
                <a:ea typeface="Arial MT"/>
                <a:cs typeface="Arial MT"/>
              </a:rPr>
              <a:t> </a:t>
            </a:r>
            <a:r>
              <a:rPr lang="en-US" sz="1100">
                <a:effectLst/>
                <a:latin typeface="Arial MT"/>
                <a:ea typeface="Arial MT"/>
                <a:cs typeface="Arial MT"/>
              </a:rPr>
              <a:t>The</a:t>
            </a:r>
            <a:r>
              <a:rPr lang="en-US" sz="1100" spc="-45">
                <a:effectLst/>
                <a:latin typeface="Arial MT"/>
                <a:ea typeface="Arial MT"/>
                <a:cs typeface="Arial MT"/>
              </a:rPr>
              <a:t> </a:t>
            </a:r>
            <a:r>
              <a:rPr lang="en-US" sz="1100">
                <a:effectLst/>
                <a:latin typeface="Arial MT"/>
                <a:ea typeface="Arial MT"/>
                <a:cs typeface="Arial MT"/>
              </a:rPr>
              <a:t>quality</a:t>
            </a:r>
            <a:r>
              <a:rPr lang="en-US" sz="1100" spc="-30">
                <a:effectLst/>
                <a:latin typeface="Arial MT"/>
                <a:ea typeface="Arial MT"/>
                <a:cs typeface="Arial MT"/>
              </a:rPr>
              <a:t> </a:t>
            </a:r>
            <a:r>
              <a:rPr lang="en-US" sz="1100">
                <a:effectLst/>
                <a:latin typeface="Arial MT"/>
                <a:ea typeface="Arial MT"/>
                <a:cs typeface="Arial MT"/>
              </a:rPr>
              <a:t>of</a:t>
            </a:r>
            <a:r>
              <a:rPr lang="en-US" sz="1100" spc="-25">
                <a:effectLst/>
                <a:latin typeface="Arial MT"/>
                <a:ea typeface="Arial MT"/>
                <a:cs typeface="Arial MT"/>
              </a:rPr>
              <a:t> </a:t>
            </a:r>
            <a:r>
              <a:rPr lang="en-US" sz="1100">
                <a:effectLst/>
                <a:latin typeface="Arial MT"/>
                <a:ea typeface="Arial MT"/>
                <a:cs typeface="Arial MT"/>
              </a:rPr>
              <a:t>the</a:t>
            </a:r>
            <a:r>
              <a:rPr lang="en-US" sz="1100" spc="-45">
                <a:effectLst/>
                <a:latin typeface="Arial MT"/>
                <a:ea typeface="Arial MT"/>
                <a:cs typeface="Arial MT"/>
              </a:rPr>
              <a:t> </a:t>
            </a:r>
            <a:r>
              <a:rPr lang="en-US" sz="1100">
                <a:effectLst/>
                <a:latin typeface="Arial MT"/>
                <a:ea typeface="Arial MT"/>
                <a:cs typeface="Arial MT"/>
              </a:rPr>
              <a:t>product</a:t>
            </a:r>
            <a:r>
              <a:rPr lang="en-US" sz="1100" spc="-25">
                <a:effectLst/>
                <a:latin typeface="Arial MT"/>
                <a:ea typeface="Arial MT"/>
                <a:cs typeface="Arial MT"/>
              </a:rPr>
              <a:t> </a:t>
            </a:r>
            <a:r>
              <a:rPr lang="en-US" sz="1100">
                <a:effectLst/>
                <a:latin typeface="Arial MT"/>
                <a:ea typeface="Arial MT"/>
                <a:cs typeface="Arial MT"/>
              </a:rPr>
              <a:t>is</a:t>
            </a:r>
            <a:r>
              <a:rPr lang="en-US" sz="1100" spc="-55">
                <a:effectLst/>
                <a:latin typeface="Arial MT"/>
                <a:ea typeface="Arial MT"/>
                <a:cs typeface="Arial MT"/>
              </a:rPr>
              <a:t> </a:t>
            </a:r>
            <a:r>
              <a:rPr lang="en-US" sz="1100">
                <a:effectLst/>
                <a:latin typeface="Arial MT"/>
                <a:ea typeface="Arial MT"/>
                <a:cs typeface="Arial MT"/>
              </a:rPr>
              <a:t>measured</a:t>
            </a:r>
            <a:r>
              <a:rPr lang="en-US" sz="1100" spc="-20">
                <a:effectLst/>
                <a:latin typeface="Arial MT"/>
                <a:ea typeface="Arial MT"/>
                <a:cs typeface="Arial MT"/>
              </a:rPr>
              <a:t> </a:t>
            </a:r>
            <a:r>
              <a:rPr lang="en-US" sz="1100">
                <a:effectLst/>
                <a:latin typeface="Arial MT"/>
                <a:ea typeface="Arial MT"/>
                <a:cs typeface="Arial MT"/>
              </a:rPr>
              <a:t>in</a:t>
            </a:r>
            <a:r>
              <a:rPr lang="en-US" sz="1100" spc="-45">
                <a:effectLst/>
                <a:latin typeface="Arial MT"/>
                <a:ea typeface="Arial MT"/>
                <a:cs typeface="Arial MT"/>
              </a:rPr>
              <a:t> </a:t>
            </a:r>
            <a:r>
              <a:rPr lang="en-US" sz="1100">
                <a:effectLst/>
                <a:latin typeface="Arial MT"/>
                <a:ea typeface="Arial MT"/>
                <a:cs typeface="Arial MT"/>
              </a:rPr>
              <a:t>terms</a:t>
            </a:r>
            <a:r>
              <a:rPr lang="en-US" sz="1100" spc="-30">
                <a:effectLst/>
                <a:latin typeface="Arial MT"/>
                <a:ea typeface="Arial MT"/>
                <a:cs typeface="Arial MT"/>
              </a:rPr>
              <a:t> </a:t>
            </a:r>
            <a:r>
              <a:rPr lang="en-US" sz="1100">
                <a:effectLst/>
                <a:latin typeface="Arial MT"/>
                <a:ea typeface="Arial MT"/>
                <a:cs typeface="Arial MT"/>
              </a:rPr>
              <a:t>of</a:t>
            </a:r>
            <a:r>
              <a:rPr lang="en-US" sz="1100" spc="-50">
                <a:effectLst/>
                <a:latin typeface="Arial MT"/>
                <a:ea typeface="Arial MT"/>
                <a:cs typeface="Arial MT"/>
              </a:rPr>
              <a:t> </a:t>
            </a:r>
            <a:r>
              <a:rPr lang="en-US" sz="1100">
                <a:effectLst/>
                <a:latin typeface="Arial MT"/>
                <a:ea typeface="Arial MT"/>
                <a:cs typeface="Arial MT"/>
              </a:rPr>
              <a:t>chemical</a:t>
            </a:r>
            <a:r>
              <a:rPr lang="en-US" sz="1100" spc="-30">
                <a:effectLst/>
                <a:latin typeface="Arial MT"/>
                <a:ea typeface="Arial MT"/>
                <a:cs typeface="Arial MT"/>
              </a:rPr>
              <a:t> </a:t>
            </a:r>
            <a:r>
              <a:rPr lang="en-US" sz="1100">
                <a:effectLst/>
                <a:latin typeface="Arial MT"/>
                <a:ea typeface="Arial MT"/>
                <a:cs typeface="Arial MT"/>
              </a:rPr>
              <a:t>composition</a:t>
            </a:r>
            <a:r>
              <a:rPr lang="en-US" sz="1100" spc="-20">
                <a:effectLst/>
                <a:latin typeface="Arial MT"/>
                <a:ea typeface="Arial MT"/>
                <a:cs typeface="Arial MT"/>
              </a:rPr>
              <a:t> </a:t>
            </a:r>
            <a:r>
              <a:rPr lang="en-US" sz="1100">
                <a:effectLst/>
                <a:latin typeface="Arial MT"/>
                <a:ea typeface="Arial MT"/>
                <a:cs typeface="Arial MT"/>
              </a:rPr>
              <a:t>and</a:t>
            </a:r>
            <a:r>
              <a:rPr lang="en-US" sz="1100" spc="-45">
                <a:effectLst/>
                <a:latin typeface="Arial MT"/>
                <a:ea typeface="Arial MT"/>
                <a:cs typeface="Arial MT"/>
              </a:rPr>
              <a:t> </a:t>
            </a:r>
            <a:r>
              <a:rPr lang="en-US" sz="1100">
                <a:effectLst/>
                <a:latin typeface="Arial MT"/>
                <a:ea typeface="Arial MT"/>
                <a:cs typeface="Arial MT"/>
              </a:rPr>
              <a:t>hydrogen</a:t>
            </a:r>
            <a:r>
              <a:rPr lang="en-US" sz="1100" spc="-45">
                <a:effectLst/>
                <a:latin typeface="Arial MT"/>
                <a:ea typeface="Arial MT"/>
                <a:cs typeface="Arial MT"/>
              </a:rPr>
              <a:t> </a:t>
            </a:r>
            <a:r>
              <a:rPr lang="en-US" sz="1100">
                <a:effectLst/>
                <a:latin typeface="Arial MT"/>
                <a:ea typeface="Arial MT"/>
                <a:cs typeface="Arial MT"/>
              </a:rPr>
              <a:t>level,</a:t>
            </a:r>
            <a:r>
              <a:rPr lang="en-US" sz="1100" spc="5">
                <a:effectLst/>
                <a:latin typeface="Arial MT"/>
                <a:ea typeface="Arial MT"/>
                <a:cs typeface="Arial MT"/>
              </a:rPr>
              <a:t> </a:t>
            </a:r>
            <a:r>
              <a:rPr lang="en-US" sz="1100">
                <a:effectLst/>
                <a:latin typeface="Arial MT"/>
                <a:ea typeface="Arial MT"/>
                <a:cs typeface="Arial MT"/>
              </a:rPr>
              <a:t>and it is also significantly influenced by temperature. The DT will consist in a CFD model of</a:t>
            </a:r>
            <a:r>
              <a:rPr lang="en-US" sz="1100" spc="5">
                <a:effectLst/>
                <a:latin typeface="Arial MT"/>
                <a:ea typeface="Arial MT"/>
                <a:cs typeface="Arial MT"/>
              </a:rPr>
              <a:t> </a:t>
            </a:r>
            <a:r>
              <a:rPr lang="en-US" sz="1100">
                <a:effectLst/>
                <a:latin typeface="Arial MT"/>
                <a:ea typeface="Arial MT"/>
                <a:cs typeface="Arial MT"/>
              </a:rPr>
              <a:t>the core process, i.e. the combustion occurring in the melting furnace, and will include the</a:t>
            </a:r>
            <a:r>
              <a:rPr lang="en-US" sz="1100" spc="5">
                <a:effectLst/>
                <a:latin typeface="Arial MT"/>
                <a:ea typeface="Arial MT"/>
                <a:cs typeface="Arial MT"/>
              </a:rPr>
              <a:t> </a:t>
            </a:r>
            <a:r>
              <a:rPr lang="en-US" sz="1100">
                <a:effectLst/>
                <a:latin typeface="Arial MT"/>
                <a:ea typeface="Arial MT"/>
                <a:cs typeface="Arial MT"/>
              </a:rPr>
              <a:t>effects of the new oxygen injector. In order to provide the DSS with information concerning</a:t>
            </a:r>
            <a:r>
              <a:rPr lang="en-US" sz="1100" spc="5">
                <a:effectLst/>
                <a:latin typeface="Arial MT"/>
                <a:ea typeface="Arial MT"/>
                <a:cs typeface="Arial MT"/>
              </a:rPr>
              <a:t> </a:t>
            </a:r>
            <a:r>
              <a:rPr lang="en-US" sz="1100">
                <a:effectLst/>
                <a:latin typeface="Arial MT"/>
                <a:ea typeface="Arial MT"/>
                <a:cs typeface="Arial MT"/>
              </a:rPr>
              <a:t>the functioning of the </a:t>
            </a:r>
            <a:r>
              <a:rPr lang="en-US" sz="1100" err="1">
                <a:effectLst/>
                <a:latin typeface="Arial MT"/>
                <a:ea typeface="Arial MT"/>
                <a:cs typeface="Arial MT"/>
              </a:rPr>
              <a:t>delacquering</a:t>
            </a:r>
            <a:r>
              <a:rPr lang="en-US" sz="1100">
                <a:effectLst/>
                <a:latin typeface="Arial MT"/>
                <a:ea typeface="Arial MT"/>
                <a:cs typeface="Arial MT"/>
              </a:rPr>
              <a:t> system, the constraints on the selection of raw material,</a:t>
            </a:r>
            <a:r>
              <a:rPr lang="en-US" sz="1100" spc="5">
                <a:effectLst/>
                <a:latin typeface="Arial MT"/>
                <a:ea typeface="Arial MT"/>
                <a:cs typeface="Arial MT"/>
              </a:rPr>
              <a:t> </a:t>
            </a:r>
            <a:r>
              <a:rPr lang="en-US" sz="1100">
                <a:effectLst/>
                <a:latin typeface="Arial MT"/>
                <a:ea typeface="Arial MT"/>
                <a:cs typeface="Arial MT"/>
              </a:rPr>
              <a:t>the level of emissions and the quality of the resulting product, additional PC models will be</a:t>
            </a:r>
            <a:r>
              <a:rPr lang="en-US" sz="1100" spc="5">
                <a:effectLst/>
                <a:latin typeface="Arial MT"/>
                <a:ea typeface="Arial MT"/>
                <a:cs typeface="Arial MT"/>
              </a:rPr>
              <a:t> </a:t>
            </a:r>
            <a:r>
              <a:rPr lang="en-US" sz="1100">
                <a:effectLst/>
                <a:latin typeface="Arial MT"/>
                <a:ea typeface="Arial MT"/>
                <a:cs typeface="Arial MT"/>
              </a:rPr>
              <a:t>developed,</a:t>
            </a:r>
            <a:r>
              <a:rPr lang="en-US" sz="1100" spc="5">
                <a:effectLst/>
                <a:latin typeface="Arial MT"/>
                <a:ea typeface="Arial MT"/>
                <a:cs typeface="Arial MT"/>
              </a:rPr>
              <a:t> </a:t>
            </a:r>
            <a:r>
              <a:rPr lang="en-US" sz="1100">
                <a:effectLst/>
                <a:latin typeface="Arial MT"/>
                <a:ea typeface="Arial MT"/>
                <a:cs typeface="Arial MT"/>
              </a:rPr>
              <a:t>that</a:t>
            </a:r>
            <a:r>
              <a:rPr lang="en-US" sz="1100" spc="10">
                <a:effectLst/>
                <a:latin typeface="Arial MT"/>
                <a:ea typeface="Arial MT"/>
                <a:cs typeface="Arial MT"/>
              </a:rPr>
              <a:t> </a:t>
            </a:r>
            <a:r>
              <a:rPr lang="en-US" sz="1100">
                <a:effectLst/>
                <a:latin typeface="Arial MT"/>
                <a:ea typeface="Arial MT"/>
                <a:cs typeface="Arial MT"/>
              </a:rPr>
              <a:t>are</a:t>
            </a:r>
            <a:r>
              <a:rPr lang="en-US" sz="1100" spc="15">
                <a:effectLst/>
                <a:latin typeface="Arial MT"/>
                <a:ea typeface="Arial MT"/>
                <a:cs typeface="Arial MT"/>
              </a:rPr>
              <a:t> </a:t>
            </a:r>
            <a:r>
              <a:rPr lang="en-US" sz="1100">
                <a:effectLst/>
                <a:latin typeface="Arial MT"/>
                <a:ea typeface="Arial MT"/>
                <a:cs typeface="Arial MT"/>
              </a:rPr>
              <a:t>listed</a:t>
            </a:r>
            <a:r>
              <a:rPr lang="en-US" sz="1100" spc="10">
                <a:effectLst/>
                <a:latin typeface="Arial MT"/>
                <a:ea typeface="Arial MT"/>
                <a:cs typeface="Arial MT"/>
              </a:rPr>
              <a:t> </a:t>
            </a:r>
            <a:r>
              <a:rPr lang="en-US" sz="1100">
                <a:effectLst/>
                <a:latin typeface="Arial MT"/>
                <a:ea typeface="Arial MT"/>
                <a:cs typeface="Arial MT"/>
              </a:rPr>
              <a:t>in</a:t>
            </a:r>
            <a:r>
              <a:rPr lang="en-US" sz="1100" spc="15">
                <a:effectLst/>
                <a:latin typeface="Arial MT"/>
                <a:ea typeface="Arial MT"/>
                <a:cs typeface="Arial MT"/>
              </a:rPr>
              <a:t> </a:t>
            </a:r>
            <a:r>
              <a:rPr lang="en-US" sz="1100" u="none" strike="noStrike">
                <a:effectLst/>
                <a:latin typeface="Arial MT"/>
                <a:ea typeface="Arial MT"/>
                <a:cs typeface="Arial MT"/>
              </a:rPr>
              <a:t>Table. </a:t>
            </a:r>
          </a:p>
          <a:p>
            <a:pPr marL="0" marR="715645" lvl="2" indent="457200" algn="just">
              <a:lnSpc>
                <a:spcPct val="100000"/>
              </a:lnSpc>
              <a:spcAft>
                <a:spcPts val="0"/>
              </a:spcAft>
              <a:buSzPts val="1100"/>
              <a:buFont typeface="Symbol" panose="05050102010706020507" pitchFamily="18" charset="2"/>
              <a:buNone/>
              <a:tabLst>
                <a:tab pos="1173480" algn="l"/>
              </a:tabLst>
            </a:pPr>
            <a:endParaRPr lang="en-US" sz="1100">
              <a:latin typeface="Arial MT"/>
            </a:endParaRPr>
          </a:p>
          <a:p>
            <a:pPr marL="0" marR="715645" lvl="2" indent="457200" algn="just" defTabSz="914400" rtl="0" eaLnBrk="1" fontAlgn="auto" latinLnBrk="0" hangingPunct="1">
              <a:lnSpc>
                <a:spcPct val="100000"/>
              </a:lnSpc>
              <a:spcBef>
                <a:spcPts val="0"/>
              </a:spcBef>
              <a:spcAft>
                <a:spcPts val="0"/>
              </a:spcAft>
              <a:buClrTx/>
              <a:buSzPts val="1100"/>
              <a:buFont typeface="Symbol" panose="05050102010706020507" pitchFamily="18" charset="2"/>
              <a:buNone/>
              <a:tabLst>
                <a:tab pos="1173480" algn="l"/>
              </a:tabLst>
              <a:defRPr/>
            </a:pPr>
            <a:endParaRPr lang="en-US" sz="1100">
              <a:latin typeface="Arial MT"/>
            </a:endParaRPr>
          </a:p>
          <a:p>
            <a:pPr marL="0" marR="715645" lvl="2" indent="457200" algn="just">
              <a:lnSpc>
                <a:spcPct val="100000"/>
              </a:lnSpc>
              <a:spcAft>
                <a:spcPts val="0"/>
              </a:spcAft>
              <a:buSzPts val="1100"/>
              <a:buFont typeface="Symbol" panose="05050102010706020507" pitchFamily="18" charset="2"/>
              <a:buNone/>
              <a:tabLst>
                <a:tab pos="1173480" algn="l"/>
              </a:tabLst>
            </a:pPr>
            <a:endParaRPr lang="sv-SE" sz="1100">
              <a:effectLst/>
              <a:latin typeface="Arial MT"/>
              <a:ea typeface="Arial MT"/>
              <a:cs typeface="Arial MT"/>
            </a:endParaRPr>
          </a:p>
          <a:p>
            <a:endParaRPr lang="sv-S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4DB91F-1AD8-437C-8866-3636784D085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26386516"/>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714375" indent="457200" algn="just">
              <a:lnSpc>
                <a:spcPct val="100000"/>
              </a:lnSpc>
              <a:spcBef>
                <a:spcPts val="0"/>
              </a:spcBef>
              <a:spcAft>
                <a:spcPts val="0"/>
              </a:spcAft>
            </a:pPr>
            <a:r>
              <a:rPr lang="en-US" sz="1100">
                <a:effectLst/>
                <a:latin typeface="Arial MT"/>
                <a:ea typeface="Symbol" panose="05050102010706020507" pitchFamily="18" charset="2"/>
                <a:cs typeface="Symbol" panose="05050102010706020507" pitchFamily="18" charset="2"/>
              </a:rPr>
              <a:t>The RETROFEED project at </a:t>
            </a:r>
            <a:r>
              <a:rPr lang="en-US" sz="1100" err="1">
                <a:effectLst/>
                <a:latin typeface="Arial MT"/>
                <a:ea typeface="Arial MT"/>
                <a:cs typeface="Arial MT"/>
              </a:rPr>
              <a:t>Ferriere</a:t>
            </a:r>
            <a:r>
              <a:rPr lang="en-US" sz="1100" spc="-55">
                <a:effectLst/>
                <a:latin typeface="Arial MT"/>
                <a:ea typeface="Arial MT"/>
                <a:cs typeface="Arial MT"/>
              </a:rPr>
              <a:t> </a:t>
            </a:r>
            <a:r>
              <a:rPr lang="en-US" sz="1100">
                <a:effectLst/>
                <a:latin typeface="Arial MT"/>
                <a:ea typeface="Arial MT"/>
                <a:cs typeface="Arial MT"/>
              </a:rPr>
              <a:t>Nord’s</a:t>
            </a:r>
            <a:r>
              <a:rPr lang="en-US" sz="1100" spc="-65">
                <a:effectLst/>
                <a:latin typeface="Arial MT"/>
                <a:ea typeface="Arial MT"/>
                <a:cs typeface="Arial MT"/>
              </a:rPr>
              <a:t> </a:t>
            </a:r>
            <a:r>
              <a:rPr lang="en-US" sz="1100">
                <a:effectLst/>
                <a:latin typeface="Arial MT"/>
                <a:ea typeface="Symbol" panose="05050102010706020507" pitchFamily="18" charset="2"/>
                <a:cs typeface="Symbol" panose="05050102010706020507" pitchFamily="18" charset="2"/>
              </a:rPr>
              <a:t> demo-site will focus on </a:t>
            </a:r>
            <a:r>
              <a:rPr lang="en-US" sz="1800">
                <a:effectLst/>
                <a:latin typeface="Arial MT"/>
                <a:ea typeface="Arial MT"/>
                <a:cs typeface="Arial MT"/>
              </a:rPr>
              <a:t>support</a:t>
            </a:r>
            <a:r>
              <a:rPr lang="en-US" sz="1800" spc="-20">
                <a:effectLst/>
                <a:latin typeface="Arial MT"/>
                <a:ea typeface="Arial MT"/>
                <a:cs typeface="Arial MT"/>
              </a:rPr>
              <a:t> </a:t>
            </a:r>
            <a:r>
              <a:rPr lang="en-US" sz="1800">
                <a:effectLst/>
                <a:latin typeface="Arial MT"/>
                <a:ea typeface="Arial MT"/>
                <a:cs typeface="Arial MT"/>
              </a:rPr>
              <a:t>is</a:t>
            </a:r>
            <a:r>
              <a:rPr lang="en-US" sz="1800" spc="-50">
                <a:effectLst/>
                <a:latin typeface="Arial MT"/>
                <a:ea typeface="Arial MT"/>
                <a:cs typeface="Arial MT"/>
              </a:rPr>
              <a:t> </a:t>
            </a:r>
            <a:r>
              <a:rPr lang="en-US" sz="1800">
                <a:effectLst/>
                <a:latin typeface="Arial MT"/>
                <a:ea typeface="Arial MT"/>
                <a:cs typeface="Arial MT"/>
              </a:rPr>
              <a:t>the</a:t>
            </a:r>
            <a:r>
              <a:rPr lang="en-US" sz="1800" spc="-20">
                <a:effectLst/>
                <a:latin typeface="Arial MT"/>
                <a:ea typeface="Arial MT"/>
                <a:cs typeface="Arial MT"/>
              </a:rPr>
              <a:t> </a:t>
            </a:r>
            <a:r>
              <a:rPr lang="en-US" sz="1800">
                <a:effectLst/>
                <a:latin typeface="Arial MT"/>
                <a:ea typeface="Arial MT"/>
                <a:cs typeface="Arial MT"/>
              </a:rPr>
              <a:t>selection</a:t>
            </a:r>
            <a:r>
              <a:rPr lang="en-US" sz="1800" spc="-40">
                <a:effectLst/>
                <a:latin typeface="Arial MT"/>
                <a:ea typeface="Arial MT"/>
                <a:cs typeface="Arial MT"/>
              </a:rPr>
              <a:t> </a:t>
            </a:r>
            <a:r>
              <a:rPr lang="en-US" sz="1800">
                <a:effectLst/>
                <a:latin typeface="Arial MT"/>
                <a:ea typeface="Arial MT"/>
                <a:cs typeface="Arial MT"/>
              </a:rPr>
              <a:t>of</a:t>
            </a:r>
            <a:r>
              <a:rPr lang="en-US" sz="1800" spc="-20">
                <a:effectLst/>
                <a:latin typeface="Arial MT"/>
                <a:ea typeface="Arial MT"/>
                <a:cs typeface="Arial MT"/>
              </a:rPr>
              <a:t> </a:t>
            </a:r>
            <a:r>
              <a:rPr lang="en-US" sz="1800">
                <a:effectLst/>
                <a:latin typeface="Arial MT"/>
                <a:ea typeface="Arial MT"/>
                <a:cs typeface="Arial MT"/>
              </a:rPr>
              <a:t>the</a:t>
            </a:r>
            <a:r>
              <a:rPr lang="en-US" sz="1800" spc="-45">
                <a:effectLst/>
                <a:latin typeface="Arial MT"/>
                <a:ea typeface="Arial MT"/>
                <a:cs typeface="Arial MT"/>
              </a:rPr>
              <a:t> </a:t>
            </a:r>
            <a:r>
              <a:rPr lang="en-US" sz="1800">
                <a:effectLst/>
                <a:latin typeface="Arial MT"/>
                <a:ea typeface="Arial MT"/>
                <a:cs typeface="Arial MT"/>
              </a:rPr>
              <a:t>best</a:t>
            </a:r>
            <a:r>
              <a:rPr lang="en-US" sz="1800" spc="-20">
                <a:effectLst/>
                <a:latin typeface="Arial MT"/>
                <a:ea typeface="Arial MT"/>
                <a:cs typeface="Arial MT"/>
              </a:rPr>
              <a:t> </a:t>
            </a:r>
            <a:r>
              <a:rPr lang="en-US" sz="1800">
                <a:effectLst/>
                <a:latin typeface="Arial MT"/>
                <a:ea typeface="Arial MT"/>
                <a:cs typeface="Arial MT"/>
              </a:rPr>
              <a:t>fuel</a:t>
            </a:r>
            <a:r>
              <a:rPr lang="en-US" sz="1800" spc="-55">
                <a:effectLst/>
                <a:latin typeface="Arial MT"/>
                <a:ea typeface="Arial MT"/>
                <a:cs typeface="Arial MT"/>
              </a:rPr>
              <a:t> </a:t>
            </a:r>
            <a:r>
              <a:rPr lang="en-US" sz="1800">
                <a:effectLst/>
                <a:latin typeface="Arial MT"/>
                <a:ea typeface="Arial MT"/>
                <a:cs typeface="Arial MT"/>
              </a:rPr>
              <a:t>mix</a:t>
            </a:r>
            <a:r>
              <a:rPr lang="en-US" sz="1800" spc="-50">
                <a:effectLst/>
                <a:latin typeface="Arial MT"/>
                <a:ea typeface="Arial MT"/>
                <a:cs typeface="Arial MT"/>
              </a:rPr>
              <a:t> </a:t>
            </a:r>
            <a:r>
              <a:rPr lang="en-US" sz="1800">
                <a:effectLst/>
                <a:latin typeface="Arial MT"/>
                <a:ea typeface="Arial MT"/>
                <a:cs typeface="Arial MT"/>
              </a:rPr>
              <a:t>to</a:t>
            </a:r>
            <a:r>
              <a:rPr lang="en-US" sz="1800" spc="-295">
                <a:effectLst/>
                <a:latin typeface="Arial MT"/>
                <a:ea typeface="Arial MT"/>
                <a:cs typeface="Arial MT"/>
              </a:rPr>
              <a:t> </a:t>
            </a:r>
            <a:r>
              <a:rPr lang="en-US" sz="1800">
                <a:effectLst/>
                <a:latin typeface="Arial MT"/>
                <a:ea typeface="Arial MT"/>
                <a:cs typeface="Arial MT"/>
              </a:rPr>
              <a:t>be fed to the new burner. Based on the tests done so far, besides significantly reducing the</a:t>
            </a:r>
            <a:r>
              <a:rPr lang="en-US" sz="1800" spc="5">
                <a:effectLst/>
                <a:latin typeface="Arial MT"/>
                <a:ea typeface="Arial MT"/>
                <a:cs typeface="Arial MT"/>
              </a:rPr>
              <a:t> </a:t>
            </a:r>
            <a:r>
              <a:rPr lang="en-US" sz="1800" spc="-5">
                <a:effectLst/>
                <a:latin typeface="Arial MT"/>
                <a:ea typeface="Arial MT"/>
                <a:cs typeface="Arial MT"/>
              </a:rPr>
              <a:t>melting</a:t>
            </a:r>
            <a:r>
              <a:rPr lang="en-US" sz="1800" spc="-70">
                <a:effectLst/>
                <a:latin typeface="Arial MT"/>
                <a:ea typeface="Arial MT"/>
                <a:cs typeface="Arial MT"/>
              </a:rPr>
              <a:t> </a:t>
            </a:r>
            <a:r>
              <a:rPr lang="en-US" sz="1800" spc="-5">
                <a:effectLst/>
                <a:latin typeface="Arial MT"/>
                <a:ea typeface="Arial MT"/>
                <a:cs typeface="Arial MT"/>
              </a:rPr>
              <a:t>costs,</a:t>
            </a:r>
            <a:r>
              <a:rPr lang="en-US" sz="1800" spc="-70">
                <a:effectLst/>
                <a:latin typeface="Arial MT"/>
                <a:ea typeface="Arial MT"/>
                <a:cs typeface="Arial MT"/>
              </a:rPr>
              <a:t> </a:t>
            </a:r>
            <a:r>
              <a:rPr lang="en-US" sz="1800">
                <a:effectLst/>
                <a:latin typeface="Arial MT"/>
                <a:ea typeface="Arial MT"/>
                <a:cs typeface="Arial MT"/>
              </a:rPr>
              <a:t>burning</a:t>
            </a:r>
            <a:r>
              <a:rPr lang="en-US" sz="1800" spc="-65">
                <a:effectLst/>
                <a:latin typeface="Arial MT"/>
                <a:ea typeface="Arial MT"/>
                <a:cs typeface="Arial MT"/>
              </a:rPr>
              <a:t> </a:t>
            </a:r>
            <a:r>
              <a:rPr lang="en-US" sz="1800">
                <a:effectLst/>
                <a:latin typeface="Arial MT"/>
                <a:ea typeface="Arial MT"/>
                <a:cs typeface="Arial MT"/>
              </a:rPr>
              <a:t>alternative</a:t>
            </a:r>
            <a:r>
              <a:rPr lang="en-US" sz="1800" spc="-45">
                <a:effectLst/>
                <a:latin typeface="Arial MT"/>
                <a:ea typeface="Arial MT"/>
                <a:cs typeface="Arial MT"/>
              </a:rPr>
              <a:t> </a:t>
            </a:r>
            <a:r>
              <a:rPr lang="en-US" sz="1800">
                <a:effectLst/>
                <a:latin typeface="Arial MT"/>
                <a:ea typeface="Arial MT"/>
                <a:cs typeface="Arial MT"/>
              </a:rPr>
              <a:t>fuels</a:t>
            </a:r>
            <a:r>
              <a:rPr lang="en-US" sz="1800" spc="-75">
                <a:effectLst/>
                <a:latin typeface="Arial MT"/>
                <a:ea typeface="Arial MT"/>
                <a:cs typeface="Arial MT"/>
              </a:rPr>
              <a:t> </a:t>
            </a:r>
            <a:r>
              <a:rPr lang="en-US" sz="1800">
                <a:effectLst/>
                <a:latin typeface="Arial MT"/>
                <a:ea typeface="Arial MT"/>
                <a:cs typeface="Arial MT"/>
              </a:rPr>
              <a:t>is</a:t>
            </a:r>
            <a:r>
              <a:rPr lang="en-US" sz="1800" spc="-75">
                <a:effectLst/>
                <a:latin typeface="Arial MT"/>
                <a:ea typeface="Arial MT"/>
                <a:cs typeface="Arial MT"/>
              </a:rPr>
              <a:t> </a:t>
            </a:r>
            <a:r>
              <a:rPr lang="en-US" sz="1800">
                <a:effectLst/>
                <a:latin typeface="Arial MT"/>
                <a:ea typeface="Arial MT"/>
                <a:cs typeface="Arial MT"/>
              </a:rPr>
              <a:t>expected</a:t>
            </a:r>
            <a:r>
              <a:rPr lang="en-US" sz="1800" spc="-65">
                <a:effectLst/>
                <a:latin typeface="Arial MT"/>
                <a:ea typeface="Arial MT"/>
                <a:cs typeface="Arial MT"/>
              </a:rPr>
              <a:t> </a:t>
            </a:r>
            <a:r>
              <a:rPr lang="en-US" sz="1800">
                <a:effectLst/>
                <a:latin typeface="Arial MT"/>
                <a:ea typeface="Arial MT"/>
                <a:cs typeface="Arial MT"/>
              </a:rPr>
              <a:t>to</a:t>
            </a:r>
            <a:r>
              <a:rPr lang="en-US" sz="1800" spc="-40">
                <a:effectLst/>
                <a:latin typeface="Arial MT"/>
                <a:ea typeface="Arial MT"/>
                <a:cs typeface="Arial MT"/>
              </a:rPr>
              <a:t> </a:t>
            </a:r>
            <a:r>
              <a:rPr lang="en-US" sz="1800">
                <a:effectLst/>
                <a:latin typeface="Arial MT"/>
                <a:ea typeface="Arial MT"/>
                <a:cs typeface="Arial MT"/>
              </a:rPr>
              <a:t>contribute</a:t>
            </a:r>
            <a:r>
              <a:rPr lang="en-US" sz="1800" spc="-65">
                <a:effectLst/>
                <a:latin typeface="Arial MT"/>
                <a:ea typeface="Arial MT"/>
                <a:cs typeface="Arial MT"/>
              </a:rPr>
              <a:t> </a:t>
            </a:r>
            <a:r>
              <a:rPr lang="en-US" sz="1800">
                <a:effectLst/>
                <a:latin typeface="Arial MT"/>
                <a:ea typeface="Arial MT"/>
                <a:cs typeface="Arial MT"/>
              </a:rPr>
              <a:t>to</a:t>
            </a:r>
            <a:r>
              <a:rPr lang="en-US" sz="1800" spc="-60">
                <a:effectLst/>
                <a:latin typeface="Arial MT"/>
                <a:ea typeface="Arial MT"/>
                <a:cs typeface="Arial MT"/>
              </a:rPr>
              <a:t> </a:t>
            </a:r>
            <a:r>
              <a:rPr lang="en-US" sz="1800">
                <a:effectLst/>
                <a:latin typeface="Arial MT"/>
                <a:ea typeface="Arial MT"/>
                <a:cs typeface="Arial MT"/>
              </a:rPr>
              <a:t>the</a:t>
            </a:r>
            <a:r>
              <a:rPr lang="en-US" sz="1800" spc="-40">
                <a:effectLst/>
                <a:latin typeface="Arial MT"/>
                <a:ea typeface="Arial MT"/>
                <a:cs typeface="Arial MT"/>
              </a:rPr>
              <a:t> </a:t>
            </a:r>
            <a:r>
              <a:rPr lang="en-US" sz="1800">
                <a:effectLst/>
                <a:latin typeface="Arial MT"/>
                <a:ea typeface="Arial MT"/>
                <a:cs typeface="Arial MT"/>
              </a:rPr>
              <a:t>reduction</a:t>
            </a:r>
            <a:r>
              <a:rPr lang="en-US" sz="1800" spc="-70">
                <a:effectLst/>
                <a:latin typeface="Arial MT"/>
                <a:ea typeface="Arial MT"/>
                <a:cs typeface="Arial MT"/>
              </a:rPr>
              <a:t> </a:t>
            </a:r>
            <a:r>
              <a:rPr lang="en-US" sz="1800">
                <a:effectLst/>
                <a:latin typeface="Arial MT"/>
                <a:ea typeface="Arial MT"/>
                <a:cs typeface="Arial MT"/>
              </a:rPr>
              <a:t>of</a:t>
            </a:r>
            <a:r>
              <a:rPr lang="en-US" sz="1800" spc="-65">
                <a:effectLst/>
                <a:latin typeface="Arial MT"/>
                <a:ea typeface="Arial MT"/>
                <a:cs typeface="Arial MT"/>
              </a:rPr>
              <a:t> </a:t>
            </a:r>
            <a:r>
              <a:rPr lang="en-US" sz="1800">
                <a:effectLst/>
                <a:latin typeface="Arial MT"/>
                <a:ea typeface="Arial MT"/>
                <a:cs typeface="Arial MT"/>
              </a:rPr>
              <a:t>fossil-CO2</a:t>
            </a:r>
            <a:r>
              <a:rPr lang="en-US" sz="1800" spc="5">
                <a:effectLst/>
                <a:latin typeface="Arial MT"/>
                <a:ea typeface="Arial MT"/>
                <a:cs typeface="Arial MT"/>
              </a:rPr>
              <a:t> </a:t>
            </a:r>
            <a:r>
              <a:rPr lang="en-US" sz="1800">
                <a:effectLst/>
                <a:latin typeface="Arial MT"/>
                <a:ea typeface="Arial MT"/>
                <a:cs typeface="Arial MT"/>
              </a:rPr>
              <a:t>emissions, as burning biochar is environmentally neutral. However, this change should be</a:t>
            </a:r>
            <a:r>
              <a:rPr lang="en-US" sz="1800" spc="5">
                <a:effectLst/>
                <a:latin typeface="Arial MT"/>
                <a:ea typeface="Arial MT"/>
                <a:cs typeface="Arial MT"/>
              </a:rPr>
              <a:t> </a:t>
            </a:r>
            <a:r>
              <a:rPr lang="en-US" sz="1800">
                <a:effectLst/>
                <a:latin typeface="Arial MT"/>
                <a:ea typeface="Arial MT"/>
                <a:cs typeface="Arial MT"/>
              </a:rPr>
              <a:t>made in such way that productivity or product quality are not affected. </a:t>
            </a:r>
            <a:endParaRPr lang="en-US" sz="1800" b="0">
              <a:effectLst/>
              <a:latin typeface="Arial MT"/>
              <a:ea typeface="Arial MT"/>
              <a:cs typeface="Arial MT"/>
            </a:endParaRPr>
          </a:p>
          <a:p>
            <a:pPr marL="0" marR="714375" indent="457200" algn="just">
              <a:lnSpc>
                <a:spcPct val="100000"/>
              </a:lnSpc>
              <a:spcBef>
                <a:spcPts val="0"/>
              </a:spcBef>
              <a:spcAft>
                <a:spcPts val="0"/>
              </a:spcAft>
            </a:pPr>
            <a:endParaRPr lang="en-US" sz="1800" b="0">
              <a:effectLst/>
              <a:latin typeface="Arial MT"/>
              <a:ea typeface="Arial MT"/>
              <a:cs typeface="Arial MT"/>
            </a:endParaRPr>
          </a:p>
          <a:p>
            <a:pPr marL="0" marR="714375" indent="457200" algn="just">
              <a:lnSpc>
                <a:spcPct val="100000"/>
              </a:lnSpc>
              <a:spcBef>
                <a:spcPts val="0"/>
              </a:spcBef>
              <a:spcAft>
                <a:spcPts val="0"/>
              </a:spcAft>
            </a:pPr>
            <a:r>
              <a:rPr lang="en-US" sz="2800" b="1">
                <a:effectLst/>
                <a:latin typeface="Arial MT"/>
                <a:ea typeface="Arial MT"/>
                <a:cs typeface="Arial MT"/>
              </a:rPr>
              <a:t>1.</a:t>
            </a:r>
            <a:r>
              <a:rPr lang="en-US" sz="2800">
                <a:effectLst/>
                <a:latin typeface="Arial MT"/>
                <a:ea typeface="Arial MT"/>
                <a:cs typeface="Arial MT"/>
              </a:rPr>
              <a:t>The</a:t>
            </a:r>
            <a:r>
              <a:rPr lang="en-US" sz="2800" spc="5">
                <a:effectLst/>
                <a:latin typeface="Arial MT"/>
                <a:ea typeface="Arial MT"/>
                <a:cs typeface="Arial MT"/>
              </a:rPr>
              <a:t> </a:t>
            </a:r>
            <a:r>
              <a:rPr lang="en-US" sz="2800">
                <a:effectLst/>
                <a:latin typeface="Arial MT"/>
                <a:ea typeface="Arial MT"/>
                <a:cs typeface="Arial MT"/>
              </a:rPr>
              <a:t>replacement of</a:t>
            </a:r>
            <a:r>
              <a:rPr lang="en-US" sz="2800" spc="5">
                <a:effectLst/>
                <a:latin typeface="Arial MT"/>
                <a:ea typeface="Arial MT"/>
                <a:cs typeface="Arial MT"/>
              </a:rPr>
              <a:t> </a:t>
            </a:r>
            <a:r>
              <a:rPr lang="en-US" sz="2800">
                <a:effectLst/>
                <a:latin typeface="Arial MT"/>
                <a:ea typeface="Arial MT"/>
                <a:cs typeface="Arial MT"/>
              </a:rPr>
              <a:t>raw materials is aimed at</a:t>
            </a:r>
            <a:r>
              <a:rPr lang="en-US" sz="2800" spc="5">
                <a:effectLst/>
                <a:latin typeface="Arial MT"/>
                <a:ea typeface="Arial MT"/>
                <a:cs typeface="Arial MT"/>
              </a:rPr>
              <a:t> </a:t>
            </a:r>
            <a:r>
              <a:rPr lang="en-US" sz="2800">
                <a:effectLst/>
                <a:latin typeface="Arial MT"/>
                <a:ea typeface="Arial MT"/>
                <a:cs typeface="Arial MT"/>
              </a:rPr>
              <a:t>decarbonizing the process, without compromising its </a:t>
            </a:r>
            <a:r>
              <a:rPr lang="en-US" sz="2800">
                <a:latin typeface="Arial MT"/>
              </a:rPr>
              <a:t>energy efficiency, nor the quality of the product. The selection of scrap is driven by two key factors: the results of the liquid steel analysis carried out on samples of the previous batches and economic considerations. Information concerning these two aspects will be provided to the Decision Support System (DSS) by two different Production Chain (PC) models, i.e. the “quality model” and the “feeding model”, respectively. The DSS will orchestrate such information to select the most suitable mixture of scrap. The Digital Twin (DT) is meant to simulate the reactions occurring in the Electric Arc Furnace (EAF). </a:t>
            </a:r>
          </a:p>
          <a:p>
            <a:pPr marL="0" marR="715645" lvl="2" indent="457200" algn="just">
              <a:lnSpc>
                <a:spcPct val="100000"/>
              </a:lnSpc>
              <a:spcAft>
                <a:spcPts val="0"/>
              </a:spcAft>
              <a:buSzPts val="1100"/>
              <a:buFont typeface="Symbol" panose="05050102010706020507" pitchFamily="18" charset="2"/>
              <a:buNone/>
              <a:tabLst>
                <a:tab pos="1173480" algn="l"/>
              </a:tabLst>
            </a:pPr>
            <a:endParaRPr lang="en-US" sz="2800">
              <a:latin typeface="Arial MT"/>
            </a:endParaRPr>
          </a:p>
          <a:p>
            <a:pPr marR="714375" indent="457200" algn="just"/>
            <a:r>
              <a:rPr lang="sv-SE" sz="2800" b="1">
                <a:latin typeface="Arial MT"/>
              </a:rPr>
              <a:t>2.</a:t>
            </a:r>
            <a:r>
              <a:rPr lang="sv-SE" sz="2800">
                <a:latin typeface="Arial MT"/>
              </a:rPr>
              <a:t> </a:t>
            </a:r>
            <a:r>
              <a:rPr lang="en-US" sz="2800">
                <a:latin typeface="Arial MT"/>
              </a:rPr>
              <a:t>The term “Fuel mix” means anthracite, plastic/biochar/</a:t>
            </a:r>
            <a:r>
              <a:rPr lang="en-US" sz="2800" err="1">
                <a:latin typeface="Arial MT"/>
              </a:rPr>
              <a:t>tyre</a:t>
            </a:r>
            <a:r>
              <a:rPr lang="en-US" sz="2800">
                <a:latin typeface="Arial MT"/>
              </a:rPr>
              <a:t>-grains, LF slag recycle, </a:t>
            </a:r>
            <a:r>
              <a:rPr lang="en-US" sz="2800" err="1">
                <a:latin typeface="Arial MT"/>
              </a:rPr>
              <a:t>CaO</a:t>
            </a:r>
            <a:r>
              <a:rPr lang="en-US" sz="2800">
                <a:latin typeface="Arial MT"/>
              </a:rPr>
              <a:t> injection, and other slagging agents</a:t>
            </a:r>
            <a:endParaRPr lang="sv-SE" sz="2800">
              <a:latin typeface="Arial MT"/>
            </a:endParaRPr>
          </a:p>
          <a:p>
            <a:pPr marL="0" marR="714375" indent="457200" algn="just">
              <a:lnSpc>
                <a:spcPct val="100000"/>
              </a:lnSpc>
              <a:spcBef>
                <a:spcPts val="0"/>
              </a:spcBef>
              <a:spcAft>
                <a:spcPts val="0"/>
              </a:spcAft>
            </a:pPr>
            <a:endParaRPr lang="en-US" sz="1800">
              <a:effectLst/>
              <a:latin typeface="Arial MT"/>
              <a:ea typeface="Arial MT"/>
              <a:cs typeface="Arial MT"/>
            </a:endParaRPr>
          </a:p>
          <a:p>
            <a:pPr marL="0" marR="714375" indent="457200" algn="just">
              <a:lnSpc>
                <a:spcPct val="100000"/>
              </a:lnSpc>
              <a:spcBef>
                <a:spcPts val="0"/>
              </a:spcBef>
              <a:spcAft>
                <a:spcPts val="0"/>
              </a:spcAft>
            </a:pPr>
            <a:endParaRPr lang="en-US" sz="1800">
              <a:effectLst/>
              <a:latin typeface="Arial MT"/>
              <a:ea typeface="Arial MT"/>
              <a:cs typeface="Arial MT"/>
            </a:endParaRPr>
          </a:p>
          <a:p>
            <a:pPr marL="0" marR="714375" lvl="0" indent="457200" algn="just" defTabSz="914400" rtl="0" eaLnBrk="1" fontAlgn="auto" latinLnBrk="0" hangingPunct="1">
              <a:lnSpc>
                <a:spcPct val="100000"/>
              </a:lnSpc>
              <a:spcBef>
                <a:spcPts val="0"/>
              </a:spcBef>
              <a:spcAft>
                <a:spcPts val="0"/>
              </a:spcAft>
              <a:buClrTx/>
              <a:buSzTx/>
              <a:buFontTx/>
              <a:buNone/>
              <a:tabLst/>
              <a:defRPr/>
            </a:pPr>
            <a:r>
              <a:rPr lang="en-US" sz="1800" b="1">
                <a:latin typeface="Arial MT"/>
              </a:rPr>
              <a:t>Production Chain (PC): </a:t>
            </a:r>
            <a:r>
              <a:rPr lang="en-US" sz="1800">
                <a:latin typeface="Arial MT"/>
              </a:rPr>
              <a:t>Models that represent processes that are upstream or downstream of the core processes are referred to as “production chain” (PC) models</a:t>
            </a:r>
          </a:p>
          <a:p>
            <a:pPr marL="0" marR="714375" indent="457200" algn="just">
              <a:lnSpc>
                <a:spcPct val="100000"/>
              </a:lnSpc>
              <a:spcBef>
                <a:spcPts val="0"/>
              </a:spcBef>
              <a:spcAft>
                <a:spcPts val="0"/>
              </a:spcAft>
            </a:pPr>
            <a:endParaRPr lang="en-US" sz="1800">
              <a:effectLst/>
              <a:latin typeface="Arial MT"/>
              <a:ea typeface="Arial MT"/>
              <a:cs typeface="Arial MT"/>
            </a:endParaRPr>
          </a:p>
          <a:p>
            <a:pPr marL="0" marR="714375" indent="457200" algn="just">
              <a:lnSpc>
                <a:spcPct val="100000"/>
              </a:lnSpc>
              <a:spcBef>
                <a:spcPts val="0"/>
              </a:spcBef>
              <a:spcAft>
                <a:spcPts val="0"/>
              </a:spcAft>
            </a:pPr>
            <a:r>
              <a:rPr lang="en-US" sz="1800">
                <a:effectLst/>
                <a:latin typeface="Arial MT"/>
                <a:ea typeface="Arial MT"/>
                <a:cs typeface="Arial MT"/>
              </a:rPr>
              <a:t>The quality of the</a:t>
            </a:r>
            <a:r>
              <a:rPr lang="en-US" sz="1800" spc="5">
                <a:effectLst/>
                <a:latin typeface="Arial MT"/>
                <a:ea typeface="Arial MT"/>
                <a:cs typeface="Arial MT"/>
              </a:rPr>
              <a:t> </a:t>
            </a:r>
            <a:r>
              <a:rPr lang="en-US" sz="1800">
                <a:effectLst/>
                <a:latin typeface="Arial MT"/>
                <a:ea typeface="Arial MT"/>
                <a:cs typeface="Arial MT"/>
              </a:rPr>
              <a:t>product</a:t>
            </a:r>
            <a:r>
              <a:rPr lang="en-US" sz="1800" spc="-30">
                <a:effectLst/>
                <a:latin typeface="Arial MT"/>
                <a:ea typeface="Arial MT"/>
                <a:cs typeface="Arial MT"/>
              </a:rPr>
              <a:t> </a:t>
            </a:r>
            <a:r>
              <a:rPr lang="en-US" sz="1800">
                <a:effectLst/>
                <a:latin typeface="Arial MT"/>
                <a:ea typeface="Arial MT"/>
                <a:cs typeface="Arial MT"/>
              </a:rPr>
              <a:t>is</a:t>
            </a:r>
            <a:r>
              <a:rPr lang="en-US" sz="1800" spc="-30">
                <a:effectLst/>
                <a:latin typeface="Arial MT"/>
                <a:ea typeface="Arial MT"/>
                <a:cs typeface="Arial MT"/>
              </a:rPr>
              <a:t> </a:t>
            </a:r>
            <a:r>
              <a:rPr lang="en-US" sz="1800">
                <a:effectLst/>
                <a:latin typeface="Arial MT"/>
                <a:ea typeface="Arial MT"/>
                <a:cs typeface="Arial MT"/>
              </a:rPr>
              <a:t>currently</a:t>
            </a:r>
            <a:r>
              <a:rPr lang="en-US" sz="1800" spc="-30">
                <a:effectLst/>
                <a:latin typeface="Arial MT"/>
                <a:ea typeface="Arial MT"/>
                <a:cs typeface="Arial MT"/>
              </a:rPr>
              <a:t> </a:t>
            </a:r>
            <a:r>
              <a:rPr lang="en-US" sz="1800">
                <a:effectLst/>
                <a:latin typeface="Arial MT"/>
                <a:ea typeface="Arial MT"/>
                <a:cs typeface="Arial MT"/>
              </a:rPr>
              <a:t>checked</a:t>
            </a:r>
            <a:r>
              <a:rPr lang="en-US" sz="1800" spc="-50">
                <a:effectLst/>
                <a:latin typeface="Arial MT"/>
                <a:ea typeface="Arial MT"/>
                <a:cs typeface="Arial MT"/>
              </a:rPr>
              <a:t> </a:t>
            </a:r>
            <a:r>
              <a:rPr lang="en-US" sz="1800">
                <a:effectLst/>
                <a:latin typeface="Arial MT"/>
                <a:ea typeface="Arial MT"/>
                <a:cs typeface="Arial MT"/>
              </a:rPr>
              <a:t>downstream</a:t>
            </a:r>
            <a:r>
              <a:rPr lang="en-US" sz="1800" spc="-15">
                <a:effectLst/>
                <a:latin typeface="Arial MT"/>
                <a:ea typeface="Arial MT"/>
                <a:cs typeface="Arial MT"/>
              </a:rPr>
              <a:t> </a:t>
            </a:r>
            <a:r>
              <a:rPr lang="en-US" sz="1800">
                <a:effectLst/>
                <a:latin typeface="Arial MT"/>
                <a:ea typeface="Arial MT"/>
                <a:cs typeface="Arial MT"/>
              </a:rPr>
              <a:t>of</a:t>
            </a:r>
            <a:r>
              <a:rPr lang="en-US" sz="1800" spc="-25">
                <a:effectLst/>
                <a:latin typeface="Arial MT"/>
                <a:ea typeface="Arial MT"/>
                <a:cs typeface="Arial MT"/>
              </a:rPr>
              <a:t> </a:t>
            </a:r>
            <a:r>
              <a:rPr lang="en-US" sz="1800">
                <a:effectLst/>
                <a:latin typeface="Arial MT"/>
                <a:ea typeface="Arial MT"/>
                <a:cs typeface="Arial MT"/>
              </a:rPr>
              <a:t>the</a:t>
            </a:r>
            <a:r>
              <a:rPr lang="en-US" sz="1800" spc="-25">
                <a:effectLst/>
                <a:latin typeface="Arial MT"/>
                <a:ea typeface="Arial MT"/>
                <a:cs typeface="Arial MT"/>
              </a:rPr>
              <a:t> </a:t>
            </a:r>
            <a:r>
              <a:rPr lang="en-US" sz="1800">
                <a:effectLst/>
                <a:latin typeface="Arial MT"/>
                <a:ea typeface="Arial MT"/>
                <a:cs typeface="Arial MT"/>
              </a:rPr>
              <a:t>EAF,</a:t>
            </a:r>
            <a:r>
              <a:rPr lang="en-US" sz="1800" spc="-25">
                <a:effectLst/>
                <a:latin typeface="Arial MT"/>
                <a:ea typeface="Arial MT"/>
                <a:cs typeface="Arial MT"/>
              </a:rPr>
              <a:t> </a:t>
            </a:r>
            <a:r>
              <a:rPr lang="en-US" sz="1800">
                <a:effectLst/>
                <a:latin typeface="Arial MT"/>
                <a:ea typeface="Arial MT"/>
                <a:cs typeface="Arial MT"/>
              </a:rPr>
              <a:t>by</a:t>
            </a:r>
            <a:r>
              <a:rPr lang="en-US" sz="1800" spc="-30">
                <a:effectLst/>
                <a:latin typeface="Arial MT"/>
                <a:ea typeface="Arial MT"/>
                <a:cs typeface="Arial MT"/>
              </a:rPr>
              <a:t> </a:t>
            </a:r>
            <a:r>
              <a:rPr lang="en-US" sz="1800">
                <a:effectLst/>
                <a:latin typeface="Arial MT"/>
                <a:ea typeface="Arial MT"/>
                <a:cs typeface="Arial MT"/>
              </a:rPr>
              <a:t>taking</a:t>
            </a:r>
            <a:r>
              <a:rPr lang="en-US" sz="1800" spc="-25">
                <a:effectLst/>
                <a:latin typeface="Arial MT"/>
                <a:ea typeface="Arial MT"/>
                <a:cs typeface="Arial MT"/>
              </a:rPr>
              <a:t> </a:t>
            </a:r>
            <a:r>
              <a:rPr lang="en-US" sz="1800">
                <a:effectLst/>
                <a:latin typeface="Arial MT"/>
                <a:ea typeface="Arial MT"/>
                <a:cs typeface="Arial MT"/>
              </a:rPr>
              <a:t>samples</a:t>
            </a:r>
            <a:r>
              <a:rPr lang="en-US" sz="1800" spc="-30">
                <a:effectLst/>
                <a:latin typeface="Arial MT"/>
                <a:ea typeface="Arial MT"/>
                <a:cs typeface="Arial MT"/>
              </a:rPr>
              <a:t> </a:t>
            </a:r>
            <a:r>
              <a:rPr lang="en-US" sz="1800">
                <a:effectLst/>
                <a:latin typeface="Arial MT"/>
                <a:ea typeface="Arial MT"/>
                <a:cs typeface="Arial MT"/>
              </a:rPr>
              <a:t>from</a:t>
            </a:r>
            <a:r>
              <a:rPr lang="en-US" sz="1800" spc="-40">
                <a:effectLst/>
                <a:latin typeface="Arial MT"/>
                <a:ea typeface="Arial MT"/>
                <a:cs typeface="Arial MT"/>
              </a:rPr>
              <a:t> </a:t>
            </a:r>
            <a:r>
              <a:rPr lang="en-US" sz="1800">
                <a:effectLst/>
                <a:latin typeface="Arial MT"/>
                <a:ea typeface="Arial MT"/>
                <a:cs typeface="Arial MT"/>
              </a:rPr>
              <a:t>the</a:t>
            </a:r>
            <a:r>
              <a:rPr lang="en-US" sz="1800" spc="-20">
                <a:effectLst/>
                <a:latin typeface="Arial MT"/>
                <a:ea typeface="Arial MT"/>
                <a:cs typeface="Arial MT"/>
              </a:rPr>
              <a:t> </a:t>
            </a:r>
            <a:r>
              <a:rPr lang="en-US" sz="1800">
                <a:effectLst/>
                <a:latin typeface="Arial MT"/>
                <a:ea typeface="Arial MT"/>
                <a:cs typeface="Arial MT"/>
              </a:rPr>
              <a:t>LF</a:t>
            </a:r>
            <a:r>
              <a:rPr lang="en-US" sz="1800" spc="-35">
                <a:effectLst/>
                <a:latin typeface="Arial MT"/>
                <a:ea typeface="Arial MT"/>
                <a:cs typeface="Arial MT"/>
              </a:rPr>
              <a:t> </a:t>
            </a:r>
            <a:r>
              <a:rPr lang="en-US" sz="1800">
                <a:effectLst/>
                <a:latin typeface="Arial MT"/>
                <a:ea typeface="Arial MT"/>
                <a:cs typeface="Arial MT"/>
              </a:rPr>
              <a:t>furnace and checking their composition through laboratory analyses. </a:t>
            </a:r>
          </a:p>
          <a:p>
            <a:pPr marL="0" marR="714375" indent="457200" algn="just">
              <a:lnSpc>
                <a:spcPct val="100000"/>
              </a:lnSpc>
              <a:spcBef>
                <a:spcPts val="0"/>
              </a:spcBef>
              <a:spcAft>
                <a:spcPts val="0"/>
              </a:spcAft>
            </a:pPr>
            <a:r>
              <a:rPr lang="en-US" sz="1800">
                <a:effectLst/>
                <a:latin typeface="Arial MT"/>
                <a:ea typeface="Arial MT"/>
                <a:cs typeface="Arial MT"/>
              </a:rPr>
              <a:t>Although the DT considers the composition of the mix of scrap entering the EAF as a</a:t>
            </a:r>
            <a:r>
              <a:rPr lang="en-US" sz="1800" spc="5">
                <a:effectLst/>
                <a:latin typeface="Arial MT"/>
                <a:ea typeface="Arial MT"/>
                <a:cs typeface="Arial MT"/>
              </a:rPr>
              <a:t> </a:t>
            </a:r>
            <a:r>
              <a:rPr lang="en-US" sz="1800">
                <a:effectLst/>
                <a:latin typeface="Arial MT"/>
                <a:ea typeface="Arial MT"/>
                <a:cs typeface="Arial MT"/>
              </a:rPr>
              <a:t>deterministic input, in practice such quantity is significantly affected by uncertainty. This operation might be supported by a ML</a:t>
            </a:r>
            <a:r>
              <a:rPr lang="en-US" sz="1800" spc="5">
                <a:effectLst/>
                <a:latin typeface="Arial MT"/>
                <a:ea typeface="Arial MT"/>
                <a:cs typeface="Arial MT"/>
              </a:rPr>
              <a:t> </a:t>
            </a:r>
            <a:r>
              <a:rPr lang="en-US" sz="1800">
                <a:effectLst/>
                <a:latin typeface="Arial MT"/>
                <a:ea typeface="Arial MT"/>
                <a:cs typeface="Arial MT"/>
              </a:rPr>
              <a:t>model,</a:t>
            </a:r>
            <a:r>
              <a:rPr lang="en-US" sz="1800" spc="-50">
                <a:effectLst/>
                <a:latin typeface="Arial MT"/>
                <a:ea typeface="Arial MT"/>
                <a:cs typeface="Arial MT"/>
              </a:rPr>
              <a:t> </a:t>
            </a:r>
            <a:r>
              <a:rPr lang="en-US" sz="1800">
                <a:effectLst/>
                <a:latin typeface="Arial MT"/>
                <a:ea typeface="Arial MT"/>
                <a:cs typeface="Arial MT"/>
              </a:rPr>
              <a:t>aimed</a:t>
            </a:r>
            <a:r>
              <a:rPr lang="en-US" sz="1800" spc="-20">
                <a:effectLst/>
                <a:latin typeface="Arial MT"/>
                <a:ea typeface="Arial MT"/>
                <a:cs typeface="Arial MT"/>
              </a:rPr>
              <a:t> </a:t>
            </a:r>
            <a:r>
              <a:rPr lang="en-US" sz="1800">
                <a:effectLst/>
                <a:latin typeface="Arial MT"/>
                <a:ea typeface="Arial MT"/>
                <a:cs typeface="Arial MT"/>
              </a:rPr>
              <a:t>at</a:t>
            </a:r>
            <a:r>
              <a:rPr lang="en-US" sz="1800" spc="-25">
                <a:effectLst/>
                <a:latin typeface="Arial MT"/>
                <a:ea typeface="Arial MT"/>
                <a:cs typeface="Arial MT"/>
              </a:rPr>
              <a:t> </a:t>
            </a:r>
            <a:r>
              <a:rPr lang="en-US" sz="1800">
                <a:effectLst/>
                <a:latin typeface="Arial MT"/>
                <a:ea typeface="Arial MT"/>
                <a:cs typeface="Arial MT"/>
              </a:rPr>
              <a:t>correlating</a:t>
            </a:r>
            <a:r>
              <a:rPr lang="en-US" sz="1800" spc="-45">
                <a:effectLst/>
                <a:latin typeface="Arial MT"/>
                <a:ea typeface="Arial MT"/>
                <a:cs typeface="Arial MT"/>
              </a:rPr>
              <a:t> </a:t>
            </a:r>
            <a:r>
              <a:rPr lang="en-US" sz="1800">
                <a:effectLst/>
                <a:latin typeface="Arial MT"/>
                <a:ea typeface="Arial MT"/>
                <a:cs typeface="Arial MT"/>
              </a:rPr>
              <a:t>the</a:t>
            </a:r>
            <a:r>
              <a:rPr lang="en-US" sz="1800" spc="-20">
                <a:effectLst/>
                <a:latin typeface="Arial MT"/>
                <a:ea typeface="Arial MT"/>
                <a:cs typeface="Arial MT"/>
              </a:rPr>
              <a:t> </a:t>
            </a:r>
            <a:r>
              <a:rPr lang="en-US" sz="1800">
                <a:effectLst/>
                <a:latin typeface="Arial MT"/>
                <a:ea typeface="Arial MT"/>
                <a:cs typeface="Arial MT"/>
              </a:rPr>
              <a:t>presence</a:t>
            </a:r>
            <a:r>
              <a:rPr lang="en-US" sz="1800" spc="-20">
                <a:effectLst/>
                <a:latin typeface="Arial MT"/>
                <a:ea typeface="Arial MT"/>
                <a:cs typeface="Arial MT"/>
              </a:rPr>
              <a:t> </a:t>
            </a:r>
            <a:r>
              <a:rPr lang="en-US" sz="1800">
                <a:effectLst/>
                <a:latin typeface="Arial MT"/>
                <a:ea typeface="Arial MT"/>
                <a:cs typeface="Arial MT"/>
              </a:rPr>
              <a:t>of</a:t>
            </a:r>
            <a:r>
              <a:rPr lang="en-US" sz="1800" spc="-25">
                <a:effectLst/>
                <a:latin typeface="Arial MT"/>
                <a:ea typeface="Arial MT"/>
                <a:cs typeface="Arial MT"/>
              </a:rPr>
              <a:t> </a:t>
            </a:r>
            <a:r>
              <a:rPr lang="en-US" sz="1800">
                <a:effectLst/>
                <a:latin typeface="Arial MT"/>
                <a:ea typeface="Arial MT"/>
                <a:cs typeface="Arial MT"/>
              </a:rPr>
              <a:t>copper</a:t>
            </a:r>
            <a:r>
              <a:rPr lang="en-US" sz="1800" spc="-40">
                <a:effectLst/>
                <a:latin typeface="Arial MT"/>
                <a:ea typeface="Arial MT"/>
                <a:cs typeface="Arial MT"/>
              </a:rPr>
              <a:t> </a:t>
            </a:r>
            <a:r>
              <a:rPr lang="en-US" sz="1800">
                <a:effectLst/>
                <a:latin typeface="Arial MT"/>
                <a:ea typeface="Arial MT"/>
                <a:cs typeface="Arial MT"/>
              </a:rPr>
              <a:t>contaminations</a:t>
            </a:r>
            <a:r>
              <a:rPr lang="en-US" sz="1800" spc="-30">
                <a:effectLst/>
                <a:latin typeface="Arial MT"/>
                <a:ea typeface="Arial MT"/>
                <a:cs typeface="Arial MT"/>
              </a:rPr>
              <a:t> </a:t>
            </a:r>
            <a:r>
              <a:rPr lang="en-US" sz="1800">
                <a:effectLst/>
                <a:latin typeface="Arial MT"/>
                <a:ea typeface="Arial MT"/>
                <a:cs typeface="Arial MT"/>
              </a:rPr>
              <a:t>in</a:t>
            </a:r>
            <a:r>
              <a:rPr lang="en-US" sz="1800" spc="-20">
                <a:effectLst/>
                <a:latin typeface="Arial MT"/>
                <a:ea typeface="Arial MT"/>
                <a:cs typeface="Arial MT"/>
              </a:rPr>
              <a:t> </a:t>
            </a:r>
            <a:r>
              <a:rPr lang="en-US" sz="1800">
                <a:effectLst/>
                <a:latin typeface="Arial MT"/>
                <a:ea typeface="Arial MT"/>
                <a:cs typeface="Arial MT"/>
              </a:rPr>
              <a:t>the</a:t>
            </a:r>
            <a:r>
              <a:rPr lang="en-US" sz="1800" spc="-45">
                <a:effectLst/>
                <a:latin typeface="Arial MT"/>
                <a:ea typeface="Arial MT"/>
                <a:cs typeface="Arial MT"/>
              </a:rPr>
              <a:t> </a:t>
            </a:r>
            <a:r>
              <a:rPr lang="en-US" sz="1800">
                <a:effectLst/>
                <a:latin typeface="Arial MT"/>
                <a:ea typeface="Arial MT"/>
                <a:cs typeface="Arial MT"/>
              </a:rPr>
              <a:t>molten</a:t>
            </a:r>
            <a:r>
              <a:rPr lang="en-US" sz="1800" spc="-20">
                <a:effectLst/>
                <a:latin typeface="Arial MT"/>
                <a:ea typeface="Arial MT"/>
                <a:cs typeface="Arial MT"/>
              </a:rPr>
              <a:t> </a:t>
            </a:r>
            <a:r>
              <a:rPr lang="en-US" sz="1800">
                <a:effectLst/>
                <a:latin typeface="Arial MT"/>
                <a:ea typeface="Arial MT"/>
                <a:cs typeface="Arial MT"/>
              </a:rPr>
              <a:t>steel</a:t>
            </a:r>
            <a:r>
              <a:rPr lang="en-US" sz="1800" spc="-35">
                <a:effectLst/>
                <a:latin typeface="Arial MT"/>
                <a:ea typeface="Arial MT"/>
                <a:cs typeface="Arial MT"/>
              </a:rPr>
              <a:t> </a:t>
            </a:r>
            <a:r>
              <a:rPr lang="en-US" sz="1800">
                <a:effectLst/>
                <a:latin typeface="Arial MT"/>
                <a:ea typeface="Arial MT"/>
                <a:cs typeface="Arial MT"/>
              </a:rPr>
              <a:t>to</a:t>
            </a:r>
            <a:r>
              <a:rPr lang="en-US" sz="1800" spc="-45">
                <a:effectLst/>
                <a:latin typeface="Arial MT"/>
                <a:ea typeface="Arial MT"/>
                <a:cs typeface="Arial MT"/>
              </a:rPr>
              <a:t> </a:t>
            </a:r>
            <a:r>
              <a:rPr lang="en-US" sz="1800">
                <a:effectLst/>
                <a:latin typeface="Arial MT"/>
                <a:ea typeface="Arial MT"/>
                <a:cs typeface="Arial MT"/>
              </a:rPr>
              <a:t>the</a:t>
            </a:r>
            <a:r>
              <a:rPr lang="en-US" sz="1800" spc="-295">
                <a:effectLst/>
                <a:latin typeface="Arial MT"/>
                <a:ea typeface="Arial MT"/>
                <a:cs typeface="Arial MT"/>
              </a:rPr>
              <a:t> </a:t>
            </a:r>
            <a:r>
              <a:rPr lang="en-US" sz="1800" spc="-5">
                <a:effectLst/>
                <a:latin typeface="Arial MT"/>
                <a:ea typeface="Arial MT"/>
                <a:cs typeface="Arial MT"/>
              </a:rPr>
              <a:t>scrap</a:t>
            </a:r>
            <a:r>
              <a:rPr lang="en-US" sz="1800" spc="-70">
                <a:effectLst/>
                <a:latin typeface="Arial MT"/>
                <a:ea typeface="Arial MT"/>
                <a:cs typeface="Arial MT"/>
              </a:rPr>
              <a:t> </a:t>
            </a:r>
            <a:r>
              <a:rPr lang="en-US" sz="1800">
                <a:effectLst/>
                <a:latin typeface="Arial MT"/>
                <a:ea typeface="Arial MT"/>
                <a:cs typeface="Arial MT"/>
              </a:rPr>
              <a:t>mix</a:t>
            </a:r>
            <a:r>
              <a:rPr lang="en-US" sz="1800" spc="-75">
                <a:effectLst/>
                <a:latin typeface="Arial MT"/>
                <a:ea typeface="Arial MT"/>
                <a:cs typeface="Arial MT"/>
              </a:rPr>
              <a:t> </a:t>
            </a:r>
            <a:r>
              <a:rPr lang="en-US" sz="1800">
                <a:effectLst/>
                <a:latin typeface="Arial MT"/>
                <a:ea typeface="Arial MT"/>
                <a:cs typeface="Arial MT"/>
              </a:rPr>
              <a:t>that</a:t>
            </a:r>
            <a:r>
              <a:rPr lang="en-US" sz="1800" spc="-50">
                <a:effectLst/>
                <a:latin typeface="Arial MT"/>
                <a:ea typeface="Arial MT"/>
                <a:cs typeface="Arial MT"/>
              </a:rPr>
              <a:t> </a:t>
            </a:r>
            <a:r>
              <a:rPr lang="en-US" sz="1800">
                <a:effectLst/>
                <a:latin typeface="Arial MT"/>
                <a:ea typeface="Arial MT"/>
                <a:cs typeface="Arial MT"/>
              </a:rPr>
              <a:t>is</a:t>
            </a:r>
            <a:r>
              <a:rPr lang="en-US" sz="1800" spc="-75">
                <a:effectLst/>
                <a:latin typeface="Arial MT"/>
                <a:ea typeface="Arial MT"/>
                <a:cs typeface="Arial MT"/>
              </a:rPr>
              <a:t> </a:t>
            </a:r>
            <a:r>
              <a:rPr lang="en-US" sz="1800">
                <a:effectLst/>
                <a:latin typeface="Arial MT"/>
                <a:ea typeface="Arial MT"/>
                <a:cs typeface="Arial MT"/>
              </a:rPr>
              <a:t>fed</a:t>
            </a:r>
            <a:r>
              <a:rPr lang="en-US" sz="1800" spc="-40">
                <a:effectLst/>
                <a:latin typeface="Arial MT"/>
                <a:ea typeface="Arial MT"/>
                <a:cs typeface="Arial MT"/>
              </a:rPr>
              <a:t> </a:t>
            </a:r>
            <a:r>
              <a:rPr lang="en-US" sz="1800">
                <a:effectLst/>
                <a:latin typeface="Arial MT"/>
                <a:ea typeface="Arial MT"/>
                <a:cs typeface="Arial MT"/>
              </a:rPr>
              <a:t>to</a:t>
            </a:r>
            <a:r>
              <a:rPr lang="en-US" sz="1800" spc="-45">
                <a:effectLst/>
                <a:latin typeface="Arial MT"/>
                <a:ea typeface="Arial MT"/>
                <a:cs typeface="Arial MT"/>
              </a:rPr>
              <a:t> </a:t>
            </a:r>
            <a:r>
              <a:rPr lang="en-US" sz="1800">
                <a:effectLst/>
                <a:latin typeface="Arial MT"/>
                <a:ea typeface="Arial MT"/>
                <a:cs typeface="Arial MT"/>
              </a:rPr>
              <a:t>the</a:t>
            </a:r>
            <a:r>
              <a:rPr lang="en-US" sz="1800" spc="-65">
                <a:effectLst/>
                <a:latin typeface="Arial MT"/>
                <a:ea typeface="Arial MT"/>
                <a:cs typeface="Arial MT"/>
              </a:rPr>
              <a:t> </a:t>
            </a:r>
            <a:r>
              <a:rPr lang="en-US" sz="1800">
                <a:effectLst/>
                <a:latin typeface="Arial MT"/>
                <a:ea typeface="Arial MT"/>
                <a:cs typeface="Arial MT"/>
              </a:rPr>
              <a:t>EAF.</a:t>
            </a:r>
            <a:r>
              <a:rPr lang="en-US" sz="1800" spc="-50">
                <a:effectLst/>
                <a:latin typeface="Arial MT"/>
                <a:ea typeface="Arial MT"/>
                <a:cs typeface="Arial MT"/>
              </a:rPr>
              <a:t> </a:t>
            </a:r>
            <a:r>
              <a:rPr lang="en-US" sz="1800">
                <a:effectLst/>
                <a:latin typeface="Arial MT"/>
                <a:ea typeface="Arial MT"/>
                <a:cs typeface="Arial MT"/>
              </a:rPr>
              <a:t>This</a:t>
            </a:r>
            <a:r>
              <a:rPr lang="en-US" sz="1800" spc="-45">
                <a:effectLst/>
                <a:latin typeface="Arial MT"/>
                <a:ea typeface="Arial MT"/>
                <a:cs typeface="Arial MT"/>
              </a:rPr>
              <a:t> </a:t>
            </a:r>
            <a:r>
              <a:rPr lang="en-US" sz="1800">
                <a:effectLst/>
                <a:latin typeface="Arial MT"/>
                <a:ea typeface="Arial MT"/>
                <a:cs typeface="Arial MT"/>
              </a:rPr>
              <a:t>parameter</a:t>
            </a:r>
            <a:r>
              <a:rPr lang="en-US" sz="1800" spc="-55">
                <a:effectLst/>
                <a:latin typeface="Arial MT"/>
                <a:ea typeface="Arial MT"/>
                <a:cs typeface="Arial MT"/>
              </a:rPr>
              <a:t> </a:t>
            </a:r>
            <a:r>
              <a:rPr lang="en-US" sz="1800">
                <a:effectLst/>
                <a:latin typeface="Arial MT"/>
                <a:ea typeface="Arial MT"/>
                <a:cs typeface="Arial MT"/>
              </a:rPr>
              <a:t>is</a:t>
            </a:r>
            <a:r>
              <a:rPr lang="en-US" sz="1800" spc="-75">
                <a:effectLst/>
                <a:latin typeface="Arial MT"/>
                <a:ea typeface="Arial MT"/>
                <a:cs typeface="Arial MT"/>
              </a:rPr>
              <a:t> </a:t>
            </a:r>
            <a:r>
              <a:rPr lang="en-US" sz="1800">
                <a:effectLst/>
                <a:latin typeface="Arial MT"/>
                <a:ea typeface="Arial MT"/>
                <a:cs typeface="Arial MT"/>
              </a:rPr>
              <a:t>indeed</a:t>
            </a:r>
            <a:r>
              <a:rPr lang="en-US" sz="1800" spc="-40">
                <a:effectLst/>
                <a:latin typeface="Arial MT"/>
                <a:ea typeface="Arial MT"/>
                <a:cs typeface="Arial MT"/>
              </a:rPr>
              <a:t> </a:t>
            </a:r>
            <a:r>
              <a:rPr lang="en-US" sz="1800">
                <a:effectLst/>
                <a:latin typeface="Arial MT"/>
                <a:ea typeface="Arial MT"/>
                <a:cs typeface="Arial MT"/>
              </a:rPr>
              <a:t>an</a:t>
            </a:r>
            <a:r>
              <a:rPr lang="en-US" sz="1800" spc="-40">
                <a:effectLst/>
                <a:latin typeface="Arial MT"/>
                <a:ea typeface="Arial MT"/>
                <a:cs typeface="Arial MT"/>
              </a:rPr>
              <a:t> </a:t>
            </a:r>
            <a:r>
              <a:rPr lang="en-US" sz="1800">
                <a:effectLst/>
                <a:latin typeface="Arial MT"/>
                <a:ea typeface="Arial MT"/>
                <a:cs typeface="Arial MT"/>
              </a:rPr>
              <a:t>important</a:t>
            </a:r>
            <a:r>
              <a:rPr lang="en-US" sz="1800" spc="-70">
                <a:effectLst/>
                <a:latin typeface="Arial MT"/>
                <a:ea typeface="Arial MT"/>
                <a:cs typeface="Arial MT"/>
              </a:rPr>
              <a:t> </a:t>
            </a:r>
            <a:r>
              <a:rPr lang="en-US" sz="1800">
                <a:effectLst/>
                <a:latin typeface="Arial MT"/>
                <a:ea typeface="Arial MT"/>
                <a:cs typeface="Arial MT"/>
              </a:rPr>
              <a:t>indicator</a:t>
            </a:r>
            <a:r>
              <a:rPr lang="en-US" sz="1800" spc="-55">
                <a:effectLst/>
                <a:latin typeface="Arial MT"/>
                <a:ea typeface="Arial MT"/>
                <a:cs typeface="Arial MT"/>
              </a:rPr>
              <a:t> </a:t>
            </a:r>
            <a:r>
              <a:rPr lang="en-US" sz="1800">
                <a:effectLst/>
                <a:latin typeface="Arial MT"/>
                <a:ea typeface="Arial MT"/>
                <a:cs typeface="Arial MT"/>
              </a:rPr>
              <a:t>of</a:t>
            </a:r>
            <a:r>
              <a:rPr lang="en-US" sz="1800" spc="-75">
                <a:effectLst/>
                <a:latin typeface="Arial MT"/>
                <a:ea typeface="Arial MT"/>
                <a:cs typeface="Arial MT"/>
              </a:rPr>
              <a:t> </a:t>
            </a:r>
            <a:r>
              <a:rPr lang="en-US" sz="1800">
                <a:effectLst/>
                <a:latin typeface="Arial MT"/>
                <a:ea typeface="Arial MT"/>
                <a:cs typeface="Arial MT"/>
              </a:rPr>
              <a:t>the</a:t>
            </a:r>
            <a:r>
              <a:rPr lang="en-US" sz="1800" spc="-65">
                <a:effectLst/>
                <a:latin typeface="Arial MT"/>
                <a:ea typeface="Arial MT"/>
                <a:cs typeface="Arial MT"/>
              </a:rPr>
              <a:t> </a:t>
            </a:r>
            <a:r>
              <a:rPr lang="en-US" sz="1800">
                <a:effectLst/>
                <a:latin typeface="Arial MT"/>
                <a:ea typeface="Arial MT"/>
                <a:cs typeface="Arial MT"/>
              </a:rPr>
              <a:t>quality</a:t>
            </a:r>
            <a:r>
              <a:rPr lang="en-US" sz="1800" spc="-295">
                <a:effectLst/>
                <a:latin typeface="Arial MT"/>
                <a:ea typeface="Arial MT"/>
                <a:cs typeface="Arial MT"/>
              </a:rPr>
              <a:t> </a:t>
            </a:r>
            <a:r>
              <a:rPr lang="en-US" sz="1800">
                <a:effectLst/>
                <a:latin typeface="Arial MT"/>
                <a:ea typeface="Arial MT"/>
                <a:cs typeface="Arial MT"/>
              </a:rPr>
              <a:t>of</a:t>
            </a:r>
            <a:r>
              <a:rPr lang="en-US" sz="1800" spc="30">
                <a:effectLst/>
                <a:latin typeface="Arial MT"/>
                <a:ea typeface="Arial MT"/>
                <a:cs typeface="Arial MT"/>
              </a:rPr>
              <a:t> </a:t>
            </a:r>
            <a:r>
              <a:rPr lang="en-US" sz="1800">
                <a:effectLst/>
                <a:latin typeface="Arial MT"/>
                <a:ea typeface="Arial MT"/>
                <a:cs typeface="Arial MT"/>
              </a:rPr>
              <a:t>the</a:t>
            </a:r>
            <a:r>
              <a:rPr lang="en-US" sz="1800" spc="35">
                <a:effectLst/>
                <a:latin typeface="Arial MT"/>
                <a:ea typeface="Arial MT"/>
                <a:cs typeface="Arial MT"/>
              </a:rPr>
              <a:t> </a:t>
            </a:r>
            <a:r>
              <a:rPr lang="en-US" sz="1800">
                <a:effectLst/>
                <a:latin typeface="Arial MT"/>
                <a:ea typeface="Arial MT"/>
                <a:cs typeface="Arial MT"/>
              </a:rPr>
              <a:t>product:</a:t>
            </a:r>
            <a:r>
              <a:rPr lang="en-US" sz="1800" spc="45">
                <a:effectLst/>
                <a:latin typeface="Arial MT"/>
                <a:ea typeface="Arial MT"/>
                <a:cs typeface="Arial MT"/>
              </a:rPr>
              <a:t> </a:t>
            </a:r>
            <a:r>
              <a:rPr lang="en-US" sz="1800">
                <a:effectLst/>
                <a:latin typeface="Arial MT"/>
                <a:ea typeface="Arial MT"/>
                <a:cs typeface="Arial MT"/>
              </a:rPr>
              <a:t>if</a:t>
            </a:r>
            <a:r>
              <a:rPr lang="en-US" sz="1800" spc="35">
                <a:effectLst/>
                <a:latin typeface="Arial MT"/>
                <a:ea typeface="Arial MT"/>
                <a:cs typeface="Arial MT"/>
              </a:rPr>
              <a:t> </a:t>
            </a:r>
            <a:r>
              <a:rPr lang="en-US" sz="1800">
                <a:effectLst/>
                <a:latin typeface="Arial MT"/>
                <a:ea typeface="Arial MT"/>
                <a:cs typeface="Arial MT"/>
              </a:rPr>
              <a:t>copper</a:t>
            </a:r>
            <a:r>
              <a:rPr lang="en-US" sz="1800" spc="15">
                <a:effectLst/>
                <a:latin typeface="Arial MT"/>
                <a:ea typeface="Arial MT"/>
                <a:cs typeface="Arial MT"/>
              </a:rPr>
              <a:t> </a:t>
            </a:r>
            <a:r>
              <a:rPr lang="en-US" sz="1800">
                <a:effectLst/>
                <a:latin typeface="Arial MT"/>
                <a:ea typeface="Arial MT"/>
                <a:cs typeface="Arial MT"/>
              </a:rPr>
              <a:t>exceeds a</a:t>
            </a:r>
            <a:r>
              <a:rPr lang="en-US" sz="1800" spc="55">
                <a:effectLst/>
                <a:latin typeface="Arial MT"/>
                <a:ea typeface="Arial MT"/>
                <a:cs typeface="Arial MT"/>
              </a:rPr>
              <a:t> </a:t>
            </a:r>
            <a:r>
              <a:rPr lang="en-US" sz="1800">
                <a:effectLst/>
                <a:latin typeface="Arial MT"/>
                <a:ea typeface="Arial MT"/>
                <a:cs typeface="Arial MT"/>
              </a:rPr>
              <a:t>certain</a:t>
            </a:r>
            <a:r>
              <a:rPr lang="en-US" sz="1800" spc="35">
                <a:effectLst/>
                <a:latin typeface="Arial MT"/>
                <a:ea typeface="Arial MT"/>
                <a:cs typeface="Arial MT"/>
              </a:rPr>
              <a:t> </a:t>
            </a:r>
            <a:r>
              <a:rPr lang="en-US" sz="1800">
                <a:effectLst/>
                <a:latin typeface="Arial MT"/>
                <a:ea typeface="Arial MT"/>
                <a:cs typeface="Arial MT"/>
              </a:rPr>
              <a:t>threshold</a:t>
            </a:r>
            <a:r>
              <a:rPr lang="en-US" sz="1800" spc="35">
                <a:effectLst/>
                <a:latin typeface="Arial MT"/>
                <a:ea typeface="Arial MT"/>
                <a:cs typeface="Arial MT"/>
              </a:rPr>
              <a:t> </a:t>
            </a:r>
            <a:r>
              <a:rPr lang="en-US" sz="1800">
                <a:effectLst/>
                <a:latin typeface="Arial MT"/>
                <a:ea typeface="Arial MT"/>
                <a:cs typeface="Arial MT"/>
              </a:rPr>
              <a:t>percentage,</a:t>
            </a:r>
            <a:r>
              <a:rPr lang="en-US" sz="1800" spc="30">
                <a:effectLst/>
                <a:latin typeface="Arial MT"/>
                <a:ea typeface="Arial MT"/>
                <a:cs typeface="Arial MT"/>
              </a:rPr>
              <a:t> </a:t>
            </a:r>
            <a:r>
              <a:rPr lang="en-US" sz="1800">
                <a:effectLst/>
                <a:latin typeface="Arial MT"/>
                <a:ea typeface="Arial MT"/>
                <a:cs typeface="Arial MT"/>
              </a:rPr>
              <a:t>in</a:t>
            </a:r>
            <a:r>
              <a:rPr lang="en-US" sz="1800" spc="35">
                <a:effectLst/>
                <a:latin typeface="Arial MT"/>
                <a:ea typeface="Arial MT"/>
                <a:cs typeface="Arial MT"/>
              </a:rPr>
              <a:t> </a:t>
            </a:r>
            <a:r>
              <a:rPr lang="en-US" sz="1800">
                <a:effectLst/>
                <a:latin typeface="Arial MT"/>
                <a:ea typeface="Arial MT"/>
                <a:cs typeface="Arial MT"/>
              </a:rPr>
              <a:t>fact,</a:t>
            </a:r>
            <a:r>
              <a:rPr lang="en-US" sz="1800" spc="30">
                <a:effectLst/>
                <a:latin typeface="Arial MT"/>
                <a:ea typeface="Arial MT"/>
                <a:cs typeface="Arial MT"/>
              </a:rPr>
              <a:t> </a:t>
            </a:r>
            <a:r>
              <a:rPr lang="en-US" sz="1800">
                <a:effectLst/>
                <a:latin typeface="Arial MT"/>
                <a:ea typeface="Arial MT"/>
                <a:cs typeface="Arial MT"/>
              </a:rPr>
              <a:t>the</a:t>
            </a:r>
            <a:r>
              <a:rPr lang="en-US" sz="1800" spc="35">
                <a:effectLst/>
                <a:latin typeface="Arial MT"/>
                <a:ea typeface="Arial MT"/>
                <a:cs typeface="Arial MT"/>
              </a:rPr>
              <a:t> </a:t>
            </a:r>
            <a:r>
              <a:rPr lang="en-US" sz="1800">
                <a:effectLst/>
                <a:latin typeface="Arial MT"/>
                <a:ea typeface="Arial MT"/>
                <a:cs typeface="Arial MT"/>
              </a:rPr>
              <a:t>steel</a:t>
            </a:r>
            <a:r>
              <a:rPr lang="en-US" sz="1800" spc="20">
                <a:effectLst/>
                <a:latin typeface="Arial MT"/>
                <a:ea typeface="Arial MT"/>
                <a:cs typeface="Arial MT"/>
              </a:rPr>
              <a:t> </a:t>
            </a:r>
            <a:r>
              <a:rPr lang="en-US" sz="1800">
                <a:effectLst/>
                <a:latin typeface="Arial MT"/>
                <a:ea typeface="Arial MT"/>
                <a:cs typeface="Arial MT"/>
              </a:rPr>
              <a:t>needs</a:t>
            </a:r>
            <a:r>
              <a:rPr lang="en-US" sz="1800" spc="25">
                <a:effectLst/>
                <a:latin typeface="Arial MT"/>
                <a:ea typeface="Arial MT"/>
                <a:cs typeface="Arial MT"/>
              </a:rPr>
              <a:t> </a:t>
            </a:r>
            <a:r>
              <a:rPr lang="en-US" sz="1800">
                <a:effectLst/>
                <a:latin typeface="Arial MT"/>
                <a:ea typeface="Arial MT"/>
                <a:cs typeface="Arial MT"/>
              </a:rPr>
              <a:t>to be declassified. On the other hand, the presence of copper is not directly influenced by the</a:t>
            </a:r>
            <a:r>
              <a:rPr lang="en-US" sz="1800" spc="5">
                <a:effectLst/>
                <a:latin typeface="Arial MT"/>
                <a:ea typeface="Arial MT"/>
                <a:cs typeface="Arial MT"/>
              </a:rPr>
              <a:t> </a:t>
            </a:r>
            <a:r>
              <a:rPr lang="en-US" sz="1800">
                <a:effectLst/>
                <a:latin typeface="Arial MT"/>
                <a:ea typeface="Arial MT"/>
                <a:cs typeface="Arial MT"/>
              </a:rPr>
              <a:t>process</a:t>
            </a:r>
            <a:r>
              <a:rPr lang="en-US" sz="1800" spc="-30">
                <a:effectLst/>
                <a:latin typeface="Arial MT"/>
                <a:ea typeface="Arial MT"/>
                <a:cs typeface="Arial MT"/>
              </a:rPr>
              <a:t> </a:t>
            </a:r>
            <a:r>
              <a:rPr lang="en-US" sz="1800">
                <a:effectLst/>
                <a:latin typeface="Arial MT"/>
                <a:ea typeface="Arial MT"/>
                <a:cs typeface="Arial MT"/>
              </a:rPr>
              <a:t>occurring</a:t>
            </a:r>
            <a:r>
              <a:rPr lang="en-US" sz="1800" spc="5">
                <a:effectLst/>
                <a:latin typeface="Arial MT"/>
                <a:ea typeface="Arial MT"/>
                <a:cs typeface="Arial MT"/>
              </a:rPr>
              <a:t> </a:t>
            </a:r>
            <a:r>
              <a:rPr lang="en-US" sz="1800">
                <a:effectLst/>
                <a:latin typeface="Arial MT"/>
                <a:ea typeface="Arial MT"/>
                <a:cs typeface="Arial MT"/>
              </a:rPr>
              <a:t>in</a:t>
            </a:r>
            <a:r>
              <a:rPr lang="en-US" sz="1800" spc="-15">
                <a:effectLst/>
                <a:latin typeface="Arial MT"/>
                <a:ea typeface="Arial MT"/>
                <a:cs typeface="Arial MT"/>
              </a:rPr>
              <a:t> </a:t>
            </a:r>
            <a:r>
              <a:rPr lang="en-US" sz="1800">
                <a:effectLst/>
                <a:latin typeface="Arial MT"/>
                <a:ea typeface="Arial MT"/>
                <a:cs typeface="Arial MT"/>
              </a:rPr>
              <a:t>the</a:t>
            </a:r>
            <a:r>
              <a:rPr lang="en-US" sz="1800" spc="-20">
                <a:effectLst/>
                <a:latin typeface="Arial MT"/>
                <a:ea typeface="Arial MT"/>
                <a:cs typeface="Arial MT"/>
              </a:rPr>
              <a:t> </a:t>
            </a:r>
            <a:r>
              <a:rPr lang="en-US" sz="1800">
                <a:effectLst/>
                <a:latin typeface="Arial MT"/>
                <a:ea typeface="Arial MT"/>
                <a:cs typeface="Arial MT"/>
              </a:rPr>
              <a:t>EAF,</a:t>
            </a:r>
            <a:r>
              <a:rPr lang="en-US" sz="1800" spc="-20">
                <a:effectLst/>
                <a:latin typeface="Arial MT"/>
                <a:ea typeface="Arial MT"/>
                <a:cs typeface="Arial MT"/>
              </a:rPr>
              <a:t> </a:t>
            </a:r>
            <a:r>
              <a:rPr lang="en-US" sz="1800">
                <a:effectLst/>
                <a:latin typeface="Arial MT"/>
                <a:ea typeface="Arial MT"/>
                <a:cs typeface="Arial MT"/>
              </a:rPr>
              <a:t>but it</a:t>
            </a:r>
            <a:r>
              <a:rPr lang="en-US" sz="1800" spc="-25">
                <a:effectLst/>
                <a:latin typeface="Arial MT"/>
                <a:ea typeface="Arial MT"/>
                <a:cs typeface="Arial MT"/>
              </a:rPr>
              <a:t> </a:t>
            </a:r>
            <a:r>
              <a:rPr lang="en-US" sz="1800">
                <a:effectLst/>
                <a:latin typeface="Arial MT"/>
                <a:ea typeface="Arial MT"/>
                <a:cs typeface="Arial MT"/>
              </a:rPr>
              <a:t>rather</a:t>
            </a:r>
            <a:r>
              <a:rPr lang="en-US" sz="1800" spc="-35">
                <a:effectLst/>
                <a:latin typeface="Arial MT"/>
                <a:ea typeface="Arial MT"/>
                <a:cs typeface="Arial MT"/>
              </a:rPr>
              <a:t> </a:t>
            </a:r>
            <a:r>
              <a:rPr lang="en-US" sz="1800">
                <a:effectLst/>
                <a:latin typeface="Arial MT"/>
                <a:ea typeface="Arial MT"/>
                <a:cs typeface="Arial MT"/>
              </a:rPr>
              <a:t>depends</a:t>
            </a:r>
            <a:r>
              <a:rPr lang="en-US" sz="1800" spc="-5">
                <a:effectLst/>
                <a:latin typeface="Arial MT"/>
                <a:ea typeface="Arial MT"/>
                <a:cs typeface="Arial MT"/>
              </a:rPr>
              <a:t> </a:t>
            </a:r>
            <a:r>
              <a:rPr lang="en-US" sz="1800">
                <a:effectLst/>
                <a:latin typeface="Arial MT"/>
                <a:ea typeface="Arial MT"/>
                <a:cs typeface="Arial MT"/>
              </a:rPr>
              <a:t>on</a:t>
            </a:r>
            <a:r>
              <a:rPr lang="en-US" sz="1800" spc="-15">
                <a:effectLst/>
                <a:latin typeface="Arial MT"/>
                <a:ea typeface="Arial MT"/>
                <a:cs typeface="Arial MT"/>
              </a:rPr>
              <a:t> </a:t>
            </a:r>
            <a:r>
              <a:rPr lang="en-US" sz="1800">
                <a:effectLst/>
                <a:latin typeface="Arial MT"/>
                <a:ea typeface="Arial MT"/>
                <a:cs typeface="Arial MT"/>
              </a:rPr>
              <a:t>the</a:t>
            </a:r>
            <a:r>
              <a:rPr lang="en-US" sz="1800" spc="-20">
                <a:effectLst/>
                <a:latin typeface="Arial MT"/>
                <a:ea typeface="Arial MT"/>
                <a:cs typeface="Arial MT"/>
              </a:rPr>
              <a:t> </a:t>
            </a:r>
            <a:r>
              <a:rPr lang="en-US" sz="1800">
                <a:effectLst/>
                <a:latin typeface="Arial MT"/>
                <a:ea typeface="Arial MT"/>
                <a:cs typeface="Arial MT"/>
              </a:rPr>
              <a:t>presence</a:t>
            </a:r>
            <a:r>
              <a:rPr lang="en-US" sz="1800" spc="-20">
                <a:effectLst/>
                <a:latin typeface="Arial MT"/>
                <a:ea typeface="Arial MT"/>
                <a:cs typeface="Arial MT"/>
              </a:rPr>
              <a:t> </a:t>
            </a:r>
            <a:r>
              <a:rPr lang="en-US" sz="1800">
                <a:effectLst/>
                <a:latin typeface="Arial MT"/>
                <a:ea typeface="Arial MT"/>
                <a:cs typeface="Arial MT"/>
              </a:rPr>
              <a:t>of</a:t>
            </a:r>
            <a:r>
              <a:rPr lang="en-US" sz="1800" spc="5">
                <a:effectLst/>
                <a:latin typeface="Arial MT"/>
                <a:ea typeface="Arial MT"/>
                <a:cs typeface="Arial MT"/>
              </a:rPr>
              <a:t> </a:t>
            </a:r>
            <a:r>
              <a:rPr lang="en-US" sz="1800">
                <a:effectLst/>
                <a:latin typeface="Arial MT"/>
                <a:ea typeface="Arial MT"/>
                <a:cs typeface="Arial MT"/>
              </a:rPr>
              <a:t>copper</a:t>
            </a:r>
            <a:r>
              <a:rPr lang="en-US" sz="1800" spc="-35">
                <a:effectLst/>
                <a:latin typeface="Arial MT"/>
                <a:ea typeface="Arial MT"/>
                <a:cs typeface="Arial MT"/>
              </a:rPr>
              <a:t> </a:t>
            </a:r>
            <a:r>
              <a:rPr lang="en-US" sz="1800">
                <a:effectLst/>
                <a:latin typeface="Arial MT"/>
                <a:ea typeface="Arial MT"/>
                <a:cs typeface="Arial MT"/>
              </a:rPr>
              <a:t>in</a:t>
            </a:r>
            <a:r>
              <a:rPr lang="en-US" sz="1800" spc="-15">
                <a:effectLst/>
                <a:latin typeface="Arial MT"/>
                <a:ea typeface="Arial MT"/>
                <a:cs typeface="Arial MT"/>
              </a:rPr>
              <a:t> </a:t>
            </a:r>
            <a:r>
              <a:rPr lang="en-US" sz="1800">
                <a:effectLst/>
                <a:latin typeface="Arial MT"/>
                <a:ea typeface="Arial MT"/>
                <a:cs typeface="Arial MT"/>
              </a:rPr>
              <a:t>the</a:t>
            </a:r>
            <a:r>
              <a:rPr lang="en-US" sz="1800" spc="-20">
                <a:effectLst/>
                <a:latin typeface="Arial MT"/>
                <a:ea typeface="Arial MT"/>
                <a:cs typeface="Arial MT"/>
              </a:rPr>
              <a:t> </a:t>
            </a:r>
            <a:r>
              <a:rPr lang="en-US" sz="1800">
                <a:effectLst/>
                <a:latin typeface="Arial MT"/>
                <a:ea typeface="Arial MT"/>
                <a:cs typeface="Arial MT"/>
              </a:rPr>
              <a:t>various</a:t>
            </a:r>
            <a:r>
              <a:rPr lang="en-US" sz="1800" spc="-295">
                <a:effectLst/>
                <a:latin typeface="Arial MT"/>
                <a:ea typeface="Arial MT"/>
                <a:cs typeface="Arial MT"/>
              </a:rPr>
              <a:t> </a:t>
            </a:r>
            <a:r>
              <a:rPr lang="en-US" sz="1800">
                <a:effectLst/>
                <a:latin typeface="Arial MT"/>
                <a:ea typeface="Arial MT"/>
                <a:cs typeface="Arial MT"/>
              </a:rPr>
              <a:t>types of scrap, whose composition is hardly known. In order to provide the DSS with</a:t>
            </a:r>
            <a:r>
              <a:rPr lang="en-US" sz="1800" spc="5">
                <a:effectLst/>
                <a:latin typeface="Arial MT"/>
                <a:ea typeface="Arial MT"/>
                <a:cs typeface="Arial MT"/>
              </a:rPr>
              <a:t> </a:t>
            </a:r>
            <a:r>
              <a:rPr lang="en-US" sz="1800">
                <a:effectLst/>
                <a:latin typeface="Arial MT"/>
                <a:ea typeface="Arial MT"/>
                <a:cs typeface="Arial MT"/>
              </a:rPr>
              <a:t>additional information on the functioning of the plant, the PC models listed in </a:t>
            </a:r>
            <a:r>
              <a:rPr lang="en-US" sz="1800" u="none" strike="noStrike">
                <a:effectLst/>
                <a:latin typeface="Arial MT"/>
                <a:ea typeface="Arial MT"/>
                <a:cs typeface="Arial MT"/>
                <a:hlinkClick r:id="rId3"/>
              </a:rPr>
              <a:t>Table </a:t>
            </a:r>
            <a:r>
              <a:rPr lang="en-US" sz="1800">
                <a:effectLst/>
                <a:latin typeface="Arial MT"/>
                <a:ea typeface="Arial MT"/>
                <a:cs typeface="Arial MT"/>
              </a:rPr>
              <a:t>will be</a:t>
            </a:r>
            <a:r>
              <a:rPr lang="en-US" sz="1800" spc="-295">
                <a:effectLst/>
                <a:latin typeface="Arial MT"/>
                <a:ea typeface="Arial MT"/>
                <a:cs typeface="Arial MT"/>
              </a:rPr>
              <a:t> </a:t>
            </a:r>
            <a:r>
              <a:rPr lang="en-US" sz="1800">
                <a:effectLst/>
                <a:latin typeface="Arial MT"/>
                <a:ea typeface="Arial MT"/>
                <a:cs typeface="Arial MT"/>
              </a:rPr>
              <a:t>developed.</a:t>
            </a:r>
          </a:p>
          <a:p>
            <a:pPr marL="0" marR="714375" indent="457200" algn="just">
              <a:lnSpc>
                <a:spcPct val="100000"/>
              </a:lnSpc>
              <a:spcBef>
                <a:spcPts val="0"/>
              </a:spcBef>
              <a:spcAft>
                <a:spcPts val="0"/>
              </a:spcAft>
            </a:pPr>
            <a:endParaRPr lang="en-US" sz="1800">
              <a:effectLst/>
              <a:latin typeface="Arial MT"/>
              <a:ea typeface="Arial MT"/>
              <a:cs typeface="Arial MT"/>
            </a:endParaRPr>
          </a:p>
          <a:p>
            <a:pPr marL="0" marR="714375" indent="457200" algn="just">
              <a:lnSpc>
                <a:spcPct val="100000"/>
              </a:lnSpc>
              <a:spcBef>
                <a:spcPts val="0"/>
              </a:spcBef>
              <a:spcAft>
                <a:spcPts val="0"/>
              </a:spcAft>
            </a:pPr>
            <a:endParaRPr lang="en-US" sz="1800">
              <a:effectLst/>
              <a:latin typeface="Arial MT"/>
            </a:endParaRPr>
          </a:p>
          <a:p>
            <a:pPr marL="0" marR="714375" indent="457200" algn="just">
              <a:lnSpc>
                <a:spcPct val="100000"/>
              </a:lnSpc>
              <a:spcBef>
                <a:spcPts val="0"/>
              </a:spcBef>
              <a:spcAft>
                <a:spcPts val="0"/>
              </a:spcAft>
            </a:pPr>
            <a:endParaRPr lang="en-US" sz="1800">
              <a:effectLst/>
              <a:latin typeface="Arial MT"/>
            </a:endParaRPr>
          </a:p>
          <a:p>
            <a:pPr marL="0" marR="714375" indent="457200" algn="just">
              <a:lnSpc>
                <a:spcPct val="100000"/>
              </a:lnSpc>
              <a:spcBef>
                <a:spcPts val="0"/>
              </a:spcBef>
              <a:spcAft>
                <a:spcPts val="0"/>
              </a:spcAft>
            </a:pPr>
            <a:endParaRPr lang="sv-S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4DB91F-1AD8-437C-8866-3636784D085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4194353"/>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714375" indent="457200" algn="just">
              <a:lnSpc>
                <a:spcPct val="100000"/>
              </a:lnSpc>
              <a:spcBef>
                <a:spcPts val="0"/>
              </a:spcBef>
              <a:spcAft>
                <a:spcPts val="0"/>
              </a:spcAft>
            </a:pPr>
            <a:r>
              <a:rPr lang="en-US" sz="1100" dirty="0">
                <a:effectLst/>
                <a:latin typeface="Arial MT"/>
                <a:ea typeface="Symbol" panose="05050102010706020507" pitchFamily="18" charset="2"/>
                <a:cs typeface="Symbol" panose="05050102010706020507" pitchFamily="18" charset="2"/>
              </a:rPr>
              <a:t>The RETROFEED project at </a:t>
            </a:r>
            <a:r>
              <a:rPr lang="en-US" sz="1800" dirty="0">
                <a:effectLst/>
                <a:latin typeface="Arial MT"/>
                <a:ea typeface="Arial MT"/>
                <a:cs typeface="Arial MT"/>
              </a:rPr>
              <a:t>TENARIS</a:t>
            </a:r>
            <a:r>
              <a:rPr lang="en-US" sz="1800" spc="-50" dirty="0">
                <a:effectLst/>
                <a:latin typeface="Arial MT"/>
                <a:ea typeface="Arial MT"/>
                <a:cs typeface="Arial MT"/>
              </a:rPr>
              <a:t> </a:t>
            </a:r>
            <a:r>
              <a:rPr lang="en-US" sz="1800" dirty="0">
                <a:effectLst/>
                <a:latin typeface="Arial MT"/>
                <a:ea typeface="Arial MT"/>
                <a:cs typeface="Arial MT"/>
              </a:rPr>
              <a:t>SILCOTUB</a:t>
            </a:r>
            <a:r>
              <a:rPr lang="en-US" sz="1800" spc="-25" dirty="0">
                <a:effectLst/>
                <a:latin typeface="Arial MT"/>
                <a:ea typeface="Arial MT"/>
                <a:cs typeface="Arial MT"/>
              </a:rPr>
              <a:t> </a:t>
            </a:r>
            <a:r>
              <a:rPr lang="en-US" sz="1100" dirty="0">
                <a:effectLst/>
                <a:latin typeface="Arial MT"/>
                <a:ea typeface="Symbol" panose="05050102010706020507" pitchFamily="18" charset="2"/>
                <a:cs typeface="Symbol" panose="05050102010706020507" pitchFamily="18" charset="2"/>
              </a:rPr>
              <a:t>demo-site will focus on </a:t>
            </a:r>
            <a:r>
              <a:rPr lang="en-US" sz="1800" spc="-5" dirty="0">
                <a:effectLst/>
                <a:latin typeface="Arial MT"/>
                <a:ea typeface="Arial MT"/>
                <a:cs typeface="Arial MT"/>
              </a:rPr>
              <a:t>the</a:t>
            </a:r>
            <a:r>
              <a:rPr lang="en-US" sz="1800" spc="-35" dirty="0">
                <a:effectLst/>
                <a:latin typeface="Arial MT"/>
                <a:ea typeface="Arial MT"/>
                <a:cs typeface="Arial MT"/>
              </a:rPr>
              <a:t> </a:t>
            </a:r>
            <a:r>
              <a:rPr lang="en-US" sz="1800" spc="-5" dirty="0">
                <a:effectLst/>
                <a:latin typeface="Arial MT"/>
                <a:ea typeface="Arial MT"/>
                <a:cs typeface="Arial MT"/>
              </a:rPr>
              <a:t>EAF,</a:t>
            </a:r>
            <a:r>
              <a:rPr lang="en-US" sz="1800" spc="-40" dirty="0">
                <a:effectLst/>
                <a:latin typeface="Arial MT"/>
                <a:ea typeface="Arial MT"/>
                <a:cs typeface="Arial MT"/>
              </a:rPr>
              <a:t> </a:t>
            </a:r>
            <a:r>
              <a:rPr lang="en-US" sz="1800" spc="-5" dirty="0">
                <a:effectLst/>
                <a:latin typeface="Arial MT"/>
                <a:ea typeface="Arial MT"/>
                <a:cs typeface="Arial MT"/>
              </a:rPr>
              <a:t>which</a:t>
            </a:r>
            <a:r>
              <a:rPr lang="en-US" sz="1800" spc="-35" dirty="0">
                <a:effectLst/>
                <a:latin typeface="Arial MT"/>
                <a:ea typeface="Arial MT"/>
                <a:cs typeface="Arial MT"/>
              </a:rPr>
              <a:t> </a:t>
            </a:r>
            <a:r>
              <a:rPr lang="en-US" sz="1800" spc="-5" dirty="0">
                <a:effectLst/>
                <a:latin typeface="Arial MT"/>
                <a:ea typeface="Arial MT"/>
                <a:cs typeface="Arial MT"/>
              </a:rPr>
              <a:t>will</a:t>
            </a:r>
            <a:r>
              <a:rPr lang="en-US" sz="1800" spc="-75" dirty="0">
                <a:effectLst/>
                <a:latin typeface="Arial MT"/>
                <a:ea typeface="Arial MT"/>
                <a:cs typeface="Arial MT"/>
              </a:rPr>
              <a:t> </a:t>
            </a:r>
            <a:r>
              <a:rPr lang="en-US" sz="1800" spc="-5" dirty="0">
                <a:effectLst/>
                <a:latin typeface="Arial MT"/>
                <a:ea typeface="Arial MT"/>
                <a:cs typeface="Arial MT"/>
              </a:rPr>
              <a:t>be</a:t>
            </a:r>
            <a:r>
              <a:rPr lang="en-US" sz="1800" spc="-35" dirty="0">
                <a:effectLst/>
                <a:latin typeface="Arial MT"/>
                <a:ea typeface="Arial MT"/>
                <a:cs typeface="Arial MT"/>
              </a:rPr>
              <a:t> </a:t>
            </a:r>
            <a:r>
              <a:rPr lang="en-US" sz="1800" spc="-5" dirty="0">
                <a:effectLst/>
                <a:latin typeface="Arial MT"/>
                <a:ea typeface="Arial MT"/>
                <a:cs typeface="Arial MT"/>
              </a:rPr>
              <a:t>retrofitted</a:t>
            </a:r>
            <a:r>
              <a:rPr lang="en-US" sz="1800" spc="-25" dirty="0">
                <a:effectLst/>
                <a:latin typeface="Arial MT"/>
                <a:ea typeface="Arial MT"/>
                <a:cs typeface="Arial MT"/>
              </a:rPr>
              <a:t> </a:t>
            </a:r>
            <a:r>
              <a:rPr lang="en-US" sz="1800" dirty="0">
                <a:effectLst/>
                <a:latin typeface="Arial MT"/>
                <a:ea typeface="Arial MT"/>
                <a:cs typeface="Arial MT"/>
              </a:rPr>
              <a:t>in</a:t>
            </a:r>
            <a:r>
              <a:rPr lang="en-US" sz="1800" spc="-60" dirty="0">
                <a:effectLst/>
                <a:latin typeface="Arial MT"/>
                <a:ea typeface="Arial MT"/>
                <a:cs typeface="Arial MT"/>
              </a:rPr>
              <a:t> </a:t>
            </a:r>
            <a:r>
              <a:rPr lang="en-US" sz="1800" dirty="0">
                <a:effectLst/>
                <a:latin typeface="Arial MT"/>
                <a:ea typeface="Arial MT"/>
                <a:cs typeface="Arial MT"/>
              </a:rPr>
              <a:t>such</a:t>
            </a:r>
            <a:r>
              <a:rPr lang="en-US" sz="1800" spc="-60" dirty="0">
                <a:effectLst/>
                <a:latin typeface="Arial MT"/>
                <a:ea typeface="Arial MT"/>
                <a:cs typeface="Arial MT"/>
              </a:rPr>
              <a:t> </a:t>
            </a:r>
            <a:r>
              <a:rPr lang="en-US" sz="1800" dirty="0">
                <a:effectLst/>
                <a:latin typeface="Arial MT"/>
                <a:ea typeface="Arial MT"/>
                <a:cs typeface="Arial MT"/>
              </a:rPr>
              <a:t>a</a:t>
            </a:r>
            <a:r>
              <a:rPr lang="en-US" sz="1800" spc="-35" dirty="0">
                <a:effectLst/>
                <a:latin typeface="Arial MT"/>
                <a:ea typeface="Arial MT"/>
                <a:cs typeface="Arial MT"/>
              </a:rPr>
              <a:t> </a:t>
            </a:r>
            <a:r>
              <a:rPr lang="en-US" sz="1800" dirty="0">
                <a:effectLst/>
                <a:latin typeface="Arial MT"/>
                <a:ea typeface="Arial MT"/>
                <a:cs typeface="Arial MT"/>
              </a:rPr>
              <a:t>way</a:t>
            </a:r>
            <a:r>
              <a:rPr lang="en-US" sz="1800" spc="-70" dirty="0">
                <a:effectLst/>
                <a:latin typeface="Arial MT"/>
                <a:ea typeface="Arial MT"/>
                <a:cs typeface="Arial MT"/>
              </a:rPr>
              <a:t> </a:t>
            </a:r>
            <a:r>
              <a:rPr lang="en-US" sz="1800" dirty="0">
                <a:effectLst/>
                <a:latin typeface="Arial MT"/>
                <a:ea typeface="Arial MT"/>
                <a:cs typeface="Arial MT"/>
              </a:rPr>
              <a:t>to</a:t>
            </a:r>
            <a:r>
              <a:rPr lang="en-US" sz="1800" spc="-30" dirty="0">
                <a:effectLst/>
                <a:latin typeface="Arial MT"/>
                <a:ea typeface="Arial MT"/>
                <a:cs typeface="Arial MT"/>
              </a:rPr>
              <a:t> </a:t>
            </a:r>
            <a:r>
              <a:rPr lang="en-US" sz="1800" dirty="0">
                <a:effectLst/>
                <a:latin typeface="Arial MT"/>
                <a:ea typeface="Arial MT"/>
                <a:cs typeface="Arial MT"/>
              </a:rPr>
              <a:t>allow</a:t>
            </a:r>
            <a:r>
              <a:rPr lang="en-US" sz="1800" spc="-75" dirty="0">
                <a:effectLst/>
                <a:latin typeface="Arial MT"/>
                <a:ea typeface="Arial MT"/>
                <a:cs typeface="Arial MT"/>
              </a:rPr>
              <a:t> </a:t>
            </a:r>
            <a:r>
              <a:rPr lang="en-US" sz="1800" dirty="0">
                <a:effectLst/>
                <a:latin typeface="Arial MT"/>
                <a:ea typeface="Arial MT"/>
                <a:cs typeface="Arial MT"/>
              </a:rPr>
              <a:t>the</a:t>
            </a:r>
            <a:r>
              <a:rPr lang="en-US" sz="1800" spc="-60" dirty="0">
                <a:effectLst/>
                <a:latin typeface="Arial MT"/>
                <a:ea typeface="Arial MT"/>
                <a:cs typeface="Arial MT"/>
              </a:rPr>
              <a:t> </a:t>
            </a:r>
            <a:r>
              <a:rPr lang="en-US" sz="1800" dirty="0">
                <a:effectLst/>
                <a:latin typeface="Arial MT"/>
                <a:ea typeface="Arial MT"/>
                <a:cs typeface="Arial MT"/>
              </a:rPr>
              <a:t>use</a:t>
            </a:r>
            <a:r>
              <a:rPr lang="en-US" sz="1800" spc="-55" dirty="0">
                <a:effectLst/>
                <a:latin typeface="Arial MT"/>
                <a:ea typeface="Arial MT"/>
                <a:cs typeface="Arial MT"/>
              </a:rPr>
              <a:t> </a:t>
            </a:r>
            <a:r>
              <a:rPr lang="en-US" sz="1800" dirty="0">
                <a:effectLst/>
                <a:latin typeface="Arial MT"/>
                <a:ea typeface="Arial MT"/>
                <a:cs typeface="Arial MT"/>
              </a:rPr>
              <a:t>of</a:t>
            </a:r>
            <a:r>
              <a:rPr lang="en-US" sz="1800" spc="-65" dirty="0">
                <a:effectLst/>
                <a:latin typeface="Arial MT"/>
                <a:ea typeface="Arial MT"/>
                <a:cs typeface="Arial MT"/>
              </a:rPr>
              <a:t> </a:t>
            </a:r>
            <a:r>
              <a:rPr lang="en-US" sz="1800" dirty="0">
                <a:effectLst/>
                <a:latin typeface="Arial MT"/>
                <a:ea typeface="Arial MT"/>
                <a:cs typeface="Arial MT"/>
              </a:rPr>
              <a:t>industrial</a:t>
            </a:r>
            <a:r>
              <a:rPr lang="en-US" sz="1800" spc="-75" dirty="0">
                <a:effectLst/>
                <a:latin typeface="Arial MT"/>
                <a:ea typeface="Arial MT"/>
                <a:cs typeface="Arial MT"/>
              </a:rPr>
              <a:t> </a:t>
            </a:r>
            <a:r>
              <a:rPr lang="en-US" sz="1800" dirty="0">
                <a:effectLst/>
                <a:latin typeface="Arial MT"/>
                <a:ea typeface="Arial MT"/>
                <a:cs typeface="Arial MT"/>
              </a:rPr>
              <a:t>residues,</a:t>
            </a:r>
            <a:r>
              <a:rPr lang="en-US" sz="1800" spc="-40" dirty="0">
                <a:effectLst/>
                <a:latin typeface="Arial MT"/>
                <a:ea typeface="Arial MT"/>
                <a:cs typeface="Arial MT"/>
              </a:rPr>
              <a:t> </a:t>
            </a:r>
            <a:r>
              <a:rPr lang="en-US" sz="1800" dirty="0">
                <a:effectLst/>
                <a:latin typeface="Arial MT"/>
                <a:ea typeface="Arial MT"/>
                <a:cs typeface="Arial MT"/>
              </a:rPr>
              <a:t>such</a:t>
            </a:r>
            <a:r>
              <a:rPr lang="en-US" sz="1800" spc="-295" dirty="0">
                <a:effectLst/>
                <a:latin typeface="Arial MT"/>
                <a:ea typeface="Arial MT"/>
                <a:cs typeface="Arial MT"/>
              </a:rPr>
              <a:t> </a:t>
            </a:r>
            <a:r>
              <a:rPr lang="en-US" sz="1800" dirty="0">
                <a:effectLst/>
                <a:latin typeface="Arial MT"/>
                <a:ea typeface="Arial MT"/>
                <a:cs typeface="Arial MT"/>
              </a:rPr>
              <a:t>as rubber and plastics, to replace coal and natural gas as carbon and chemical energy</a:t>
            </a:r>
            <a:r>
              <a:rPr lang="en-US" sz="1800" spc="5" dirty="0">
                <a:effectLst/>
                <a:latin typeface="Arial MT"/>
                <a:ea typeface="Arial MT"/>
                <a:cs typeface="Arial MT"/>
              </a:rPr>
              <a:t> </a:t>
            </a:r>
            <a:r>
              <a:rPr lang="en-US" sz="1800" dirty="0">
                <a:effectLst/>
                <a:latin typeface="Arial MT"/>
                <a:ea typeface="Arial MT"/>
                <a:cs typeface="Arial MT"/>
              </a:rPr>
              <a:t>sources. In this case, the main decision to be supported by the DSS is the selection of the raw</a:t>
            </a:r>
            <a:r>
              <a:rPr lang="en-US" sz="1800" spc="5" dirty="0">
                <a:effectLst/>
                <a:latin typeface="Arial MT"/>
                <a:ea typeface="Arial MT"/>
                <a:cs typeface="Arial MT"/>
              </a:rPr>
              <a:t> </a:t>
            </a:r>
            <a:r>
              <a:rPr lang="en-US" sz="1800" dirty="0">
                <a:effectLst/>
                <a:latin typeface="Arial MT"/>
                <a:ea typeface="Arial MT"/>
                <a:cs typeface="Arial MT"/>
              </a:rPr>
              <a:t>materials to be introduced</a:t>
            </a:r>
            <a:r>
              <a:rPr lang="en-US" sz="1800" spc="5" dirty="0">
                <a:effectLst/>
                <a:latin typeface="Arial MT"/>
                <a:ea typeface="Arial MT"/>
                <a:cs typeface="Arial MT"/>
              </a:rPr>
              <a:t> </a:t>
            </a:r>
            <a:r>
              <a:rPr lang="en-US" sz="1800" dirty="0">
                <a:effectLst/>
                <a:latin typeface="Arial MT"/>
                <a:ea typeface="Arial MT"/>
                <a:cs typeface="Arial MT"/>
              </a:rPr>
              <a:t>in</a:t>
            </a:r>
            <a:r>
              <a:rPr lang="en-US" sz="1800" spc="5" dirty="0">
                <a:effectLst/>
                <a:latin typeface="Arial MT"/>
                <a:ea typeface="Arial MT"/>
                <a:cs typeface="Arial MT"/>
              </a:rPr>
              <a:t> </a:t>
            </a:r>
            <a:r>
              <a:rPr lang="en-US" sz="1800" dirty="0">
                <a:effectLst/>
                <a:latin typeface="Arial MT"/>
                <a:ea typeface="Arial MT"/>
                <a:cs typeface="Arial MT"/>
              </a:rPr>
              <a:t>the EAF. The</a:t>
            </a:r>
            <a:r>
              <a:rPr lang="en-US" sz="1800" spc="5" dirty="0">
                <a:effectLst/>
                <a:latin typeface="Arial MT"/>
                <a:ea typeface="Arial MT"/>
                <a:cs typeface="Arial MT"/>
              </a:rPr>
              <a:t> </a:t>
            </a:r>
            <a:r>
              <a:rPr lang="en-US" sz="1800" dirty="0">
                <a:effectLst/>
                <a:latin typeface="Arial MT"/>
                <a:ea typeface="Arial MT"/>
                <a:cs typeface="Arial MT"/>
              </a:rPr>
              <a:t>replacement of</a:t>
            </a:r>
            <a:r>
              <a:rPr lang="en-US" sz="1800" spc="5" dirty="0">
                <a:effectLst/>
                <a:latin typeface="Arial MT"/>
                <a:ea typeface="Arial MT"/>
                <a:cs typeface="Arial MT"/>
              </a:rPr>
              <a:t> </a:t>
            </a:r>
            <a:r>
              <a:rPr lang="en-US" sz="1800" dirty="0">
                <a:effectLst/>
                <a:latin typeface="Arial MT"/>
                <a:ea typeface="Arial MT"/>
                <a:cs typeface="Arial MT"/>
              </a:rPr>
              <a:t>raw materials is aimed at</a:t>
            </a:r>
            <a:r>
              <a:rPr lang="en-US" sz="1800" spc="5" dirty="0">
                <a:effectLst/>
                <a:latin typeface="Arial MT"/>
                <a:ea typeface="Arial MT"/>
                <a:cs typeface="Arial MT"/>
              </a:rPr>
              <a:t> </a:t>
            </a:r>
            <a:r>
              <a:rPr lang="en-US" sz="1800" dirty="0">
                <a:effectLst/>
                <a:latin typeface="Arial MT"/>
                <a:ea typeface="Arial MT"/>
                <a:cs typeface="Arial MT"/>
              </a:rPr>
              <a:t>decarbonizing the process, without compromising its energy efficiency, nor the quality of the</a:t>
            </a:r>
            <a:r>
              <a:rPr lang="en-US" sz="1800" spc="-295" dirty="0">
                <a:effectLst/>
                <a:latin typeface="Arial MT"/>
                <a:ea typeface="Arial MT"/>
                <a:cs typeface="Arial MT"/>
              </a:rPr>
              <a:t> </a:t>
            </a:r>
            <a:r>
              <a:rPr lang="en-US" sz="1800" dirty="0">
                <a:effectLst/>
                <a:latin typeface="Arial MT"/>
                <a:ea typeface="Arial MT"/>
                <a:cs typeface="Arial MT"/>
              </a:rPr>
              <a:t>product.</a:t>
            </a:r>
            <a:r>
              <a:rPr lang="en-US" sz="1800" spc="15" dirty="0">
                <a:effectLst/>
                <a:latin typeface="Arial MT"/>
                <a:ea typeface="Arial MT"/>
                <a:cs typeface="Arial MT"/>
              </a:rPr>
              <a:t> </a:t>
            </a:r>
            <a:r>
              <a:rPr lang="en-US" sz="1800" dirty="0">
                <a:effectLst/>
                <a:latin typeface="Arial MT"/>
                <a:ea typeface="Arial MT"/>
                <a:cs typeface="Arial MT"/>
              </a:rPr>
              <a:t>The</a:t>
            </a:r>
            <a:r>
              <a:rPr lang="en-US" sz="1800" spc="45" dirty="0">
                <a:effectLst/>
                <a:latin typeface="Arial MT"/>
                <a:ea typeface="Arial MT"/>
                <a:cs typeface="Arial MT"/>
              </a:rPr>
              <a:t> </a:t>
            </a:r>
            <a:r>
              <a:rPr lang="en-US" sz="1800" dirty="0">
                <a:effectLst/>
                <a:latin typeface="Arial MT"/>
                <a:ea typeface="Arial MT"/>
                <a:cs typeface="Arial MT"/>
              </a:rPr>
              <a:t>selected</a:t>
            </a:r>
            <a:r>
              <a:rPr lang="en-US" sz="1800" spc="45" dirty="0">
                <a:effectLst/>
                <a:latin typeface="Arial MT"/>
                <a:ea typeface="Arial MT"/>
                <a:cs typeface="Arial MT"/>
              </a:rPr>
              <a:t> </a:t>
            </a:r>
            <a:r>
              <a:rPr lang="en-US" sz="1800" dirty="0">
                <a:effectLst/>
                <a:latin typeface="Arial MT"/>
                <a:ea typeface="Arial MT"/>
                <a:cs typeface="Arial MT"/>
              </a:rPr>
              <a:t>scrap</a:t>
            </a:r>
            <a:r>
              <a:rPr lang="en-US" sz="1800" spc="40" dirty="0">
                <a:effectLst/>
                <a:latin typeface="Arial MT"/>
                <a:ea typeface="Arial MT"/>
                <a:cs typeface="Arial MT"/>
              </a:rPr>
              <a:t> </a:t>
            </a:r>
            <a:r>
              <a:rPr lang="en-US" sz="1800" dirty="0">
                <a:effectLst/>
                <a:latin typeface="Arial MT"/>
                <a:ea typeface="Arial MT"/>
                <a:cs typeface="Arial MT"/>
              </a:rPr>
              <a:t>should</a:t>
            </a:r>
            <a:r>
              <a:rPr lang="en-US" sz="1800" spc="25" dirty="0">
                <a:effectLst/>
                <a:latin typeface="Arial MT"/>
                <a:ea typeface="Arial MT"/>
                <a:cs typeface="Arial MT"/>
              </a:rPr>
              <a:t> </a:t>
            </a:r>
            <a:r>
              <a:rPr lang="en-US" sz="1800" dirty="0">
                <a:effectLst/>
                <a:latin typeface="Arial MT"/>
                <a:ea typeface="Arial MT"/>
                <a:cs typeface="Arial MT"/>
              </a:rPr>
              <a:t>also</a:t>
            </a:r>
            <a:r>
              <a:rPr lang="en-US" sz="1800" spc="25" dirty="0">
                <a:effectLst/>
                <a:latin typeface="Arial MT"/>
                <a:ea typeface="Arial MT"/>
                <a:cs typeface="Arial MT"/>
              </a:rPr>
              <a:t> </a:t>
            </a:r>
            <a:r>
              <a:rPr lang="en-US" sz="1800" dirty="0">
                <a:effectLst/>
                <a:latin typeface="Arial MT"/>
                <a:ea typeface="Arial MT"/>
                <a:cs typeface="Arial MT"/>
              </a:rPr>
              <a:t>satisfy</a:t>
            </a:r>
            <a:r>
              <a:rPr lang="en-US" sz="1800" spc="30" dirty="0">
                <a:effectLst/>
                <a:latin typeface="Arial MT"/>
                <a:ea typeface="Arial MT"/>
                <a:cs typeface="Arial MT"/>
              </a:rPr>
              <a:t> </a:t>
            </a:r>
            <a:r>
              <a:rPr lang="en-US" sz="1800" dirty="0">
                <a:effectLst/>
                <a:latin typeface="Arial MT"/>
                <a:ea typeface="Arial MT"/>
                <a:cs typeface="Arial MT"/>
              </a:rPr>
              <a:t>additional</a:t>
            </a:r>
            <a:r>
              <a:rPr lang="en-US" sz="1800" spc="30" dirty="0">
                <a:effectLst/>
                <a:latin typeface="Arial MT"/>
                <a:ea typeface="Arial MT"/>
                <a:cs typeface="Arial MT"/>
              </a:rPr>
              <a:t> </a:t>
            </a:r>
            <a:r>
              <a:rPr lang="en-US" sz="1800" dirty="0">
                <a:effectLst/>
                <a:latin typeface="Arial MT"/>
                <a:ea typeface="Arial MT"/>
                <a:cs typeface="Arial MT"/>
              </a:rPr>
              <a:t>requirements</a:t>
            </a:r>
            <a:r>
              <a:rPr lang="en-US" sz="1800" spc="35" dirty="0">
                <a:effectLst/>
                <a:latin typeface="Arial MT"/>
                <a:ea typeface="Arial MT"/>
                <a:cs typeface="Arial MT"/>
              </a:rPr>
              <a:t> </a:t>
            </a:r>
            <a:r>
              <a:rPr lang="en-US" sz="1800" dirty="0">
                <a:effectLst/>
                <a:latin typeface="Arial MT"/>
                <a:ea typeface="Arial MT"/>
                <a:cs typeface="Arial MT"/>
              </a:rPr>
              <a:t>concerning</a:t>
            </a:r>
            <a:r>
              <a:rPr lang="en-US" sz="1800" spc="25" dirty="0">
                <a:effectLst/>
                <a:latin typeface="Arial MT"/>
                <a:ea typeface="Arial MT"/>
                <a:cs typeface="Arial MT"/>
              </a:rPr>
              <a:t> </a:t>
            </a:r>
            <a:r>
              <a:rPr lang="en-US" sz="1800" dirty="0">
                <a:effectLst/>
                <a:latin typeface="Arial MT"/>
                <a:ea typeface="Arial MT"/>
                <a:cs typeface="Arial MT"/>
              </a:rPr>
              <a:t>density. </a:t>
            </a:r>
            <a:r>
              <a:rPr lang="en-US" sz="1800" dirty="0">
                <a:solidFill>
                  <a:srgbClr val="3E3E3E"/>
                </a:solidFill>
                <a:effectLst/>
                <a:latin typeface="Times New Roman" panose="02020603050405020304" pitchFamily="18" charset="0"/>
                <a:ea typeface="Arial MT"/>
                <a:cs typeface="Arial MT"/>
              </a:rPr>
              <a:t>The</a:t>
            </a:r>
            <a:r>
              <a:rPr lang="en-US" sz="1800" spc="-35" dirty="0">
                <a:solidFill>
                  <a:srgbClr val="3E3E3E"/>
                </a:solidFill>
                <a:effectLst/>
                <a:latin typeface="Times New Roman" panose="02020603050405020304" pitchFamily="18" charset="0"/>
                <a:ea typeface="Arial MT"/>
                <a:cs typeface="Arial MT"/>
              </a:rPr>
              <a:t> </a:t>
            </a:r>
            <a:r>
              <a:rPr lang="en-US" sz="1800" dirty="0">
                <a:solidFill>
                  <a:srgbClr val="3E3E3E"/>
                </a:solidFill>
                <a:effectLst/>
                <a:latin typeface="Times New Roman" panose="02020603050405020304" pitchFamily="18" charset="0"/>
                <a:ea typeface="Arial MT"/>
                <a:cs typeface="Arial MT"/>
              </a:rPr>
              <a:t>selection</a:t>
            </a:r>
            <a:r>
              <a:rPr lang="en-US" sz="1800" spc="-45" dirty="0">
                <a:solidFill>
                  <a:srgbClr val="3E3E3E"/>
                </a:solidFill>
                <a:effectLst/>
                <a:latin typeface="Times New Roman" panose="02020603050405020304" pitchFamily="18" charset="0"/>
                <a:ea typeface="Arial MT"/>
                <a:cs typeface="Arial MT"/>
              </a:rPr>
              <a:t> </a:t>
            </a:r>
            <a:r>
              <a:rPr lang="en-US" sz="1800" dirty="0">
                <a:solidFill>
                  <a:srgbClr val="3E3E3E"/>
                </a:solidFill>
                <a:effectLst/>
                <a:latin typeface="Times New Roman" panose="02020603050405020304" pitchFamily="18" charset="0"/>
                <a:ea typeface="Arial MT"/>
                <a:cs typeface="Arial MT"/>
              </a:rPr>
              <a:t>of</a:t>
            </a:r>
            <a:r>
              <a:rPr lang="en-US" sz="1800" spc="-20" dirty="0">
                <a:solidFill>
                  <a:srgbClr val="3E3E3E"/>
                </a:solidFill>
                <a:effectLst/>
                <a:latin typeface="Times New Roman" panose="02020603050405020304" pitchFamily="18" charset="0"/>
                <a:ea typeface="Arial MT"/>
                <a:cs typeface="Arial MT"/>
              </a:rPr>
              <a:t> </a:t>
            </a:r>
            <a:r>
              <a:rPr lang="en-US" sz="1800" dirty="0">
                <a:solidFill>
                  <a:srgbClr val="3E3E3E"/>
                </a:solidFill>
                <a:effectLst/>
                <a:latin typeface="Times New Roman" panose="02020603050405020304" pitchFamily="18" charset="0"/>
                <a:ea typeface="Arial MT"/>
                <a:cs typeface="Arial MT"/>
              </a:rPr>
              <a:t>scrap</a:t>
            </a:r>
            <a:r>
              <a:rPr lang="en-US" sz="1800" spc="-40" dirty="0">
                <a:solidFill>
                  <a:srgbClr val="3E3E3E"/>
                </a:solidFill>
                <a:effectLst/>
                <a:latin typeface="Times New Roman" panose="02020603050405020304" pitchFamily="18" charset="0"/>
                <a:ea typeface="Arial MT"/>
                <a:cs typeface="Arial MT"/>
              </a:rPr>
              <a:t> </a:t>
            </a:r>
            <a:r>
              <a:rPr lang="en-US" sz="1800" dirty="0">
                <a:solidFill>
                  <a:srgbClr val="3E3E3E"/>
                </a:solidFill>
                <a:effectLst/>
                <a:latin typeface="Times New Roman" panose="02020603050405020304" pitchFamily="18" charset="0"/>
                <a:ea typeface="Arial MT"/>
                <a:cs typeface="Arial MT"/>
              </a:rPr>
              <a:t>is</a:t>
            </a:r>
            <a:r>
              <a:rPr lang="en-US" sz="1800" spc="-55" dirty="0">
                <a:solidFill>
                  <a:srgbClr val="3E3E3E"/>
                </a:solidFill>
                <a:effectLst/>
                <a:latin typeface="Times New Roman" panose="02020603050405020304" pitchFamily="18" charset="0"/>
                <a:ea typeface="Arial MT"/>
                <a:cs typeface="Arial MT"/>
              </a:rPr>
              <a:t> </a:t>
            </a:r>
            <a:r>
              <a:rPr lang="en-US" sz="1800" dirty="0">
                <a:solidFill>
                  <a:srgbClr val="3E3E3E"/>
                </a:solidFill>
                <a:effectLst/>
                <a:latin typeface="Times New Roman" panose="02020603050405020304" pitchFamily="18" charset="0"/>
                <a:ea typeface="Arial MT"/>
                <a:cs typeface="Arial MT"/>
              </a:rPr>
              <a:t>driven</a:t>
            </a:r>
            <a:r>
              <a:rPr lang="en-US" sz="1800" spc="-40" dirty="0">
                <a:solidFill>
                  <a:srgbClr val="3E3E3E"/>
                </a:solidFill>
                <a:effectLst/>
                <a:latin typeface="Times New Roman" panose="02020603050405020304" pitchFamily="18" charset="0"/>
                <a:ea typeface="Arial MT"/>
                <a:cs typeface="Arial MT"/>
              </a:rPr>
              <a:t> </a:t>
            </a:r>
            <a:r>
              <a:rPr lang="en-US" sz="1800" dirty="0">
                <a:solidFill>
                  <a:srgbClr val="3E3E3E"/>
                </a:solidFill>
                <a:effectLst/>
                <a:latin typeface="Times New Roman" panose="02020603050405020304" pitchFamily="18" charset="0"/>
                <a:ea typeface="Arial MT"/>
                <a:cs typeface="Arial MT"/>
              </a:rPr>
              <a:t>by</a:t>
            </a:r>
            <a:r>
              <a:rPr lang="en-US" sz="1800" spc="-40" dirty="0">
                <a:solidFill>
                  <a:srgbClr val="3E3E3E"/>
                </a:solidFill>
                <a:effectLst/>
                <a:latin typeface="Times New Roman" panose="02020603050405020304" pitchFamily="18" charset="0"/>
                <a:ea typeface="Arial MT"/>
                <a:cs typeface="Arial MT"/>
              </a:rPr>
              <a:t> </a:t>
            </a:r>
            <a:r>
              <a:rPr lang="en-US" sz="1800" dirty="0">
                <a:solidFill>
                  <a:srgbClr val="3E3E3E"/>
                </a:solidFill>
                <a:effectLst/>
                <a:latin typeface="Times New Roman" panose="02020603050405020304" pitchFamily="18" charset="0"/>
                <a:ea typeface="Arial MT"/>
                <a:cs typeface="Arial MT"/>
              </a:rPr>
              <a:t>two</a:t>
            </a:r>
            <a:r>
              <a:rPr lang="en-US" sz="1800" spc="-45" dirty="0">
                <a:solidFill>
                  <a:srgbClr val="3E3E3E"/>
                </a:solidFill>
                <a:effectLst/>
                <a:latin typeface="Times New Roman" panose="02020603050405020304" pitchFamily="18" charset="0"/>
                <a:ea typeface="Arial MT"/>
                <a:cs typeface="Arial MT"/>
              </a:rPr>
              <a:t> </a:t>
            </a:r>
            <a:r>
              <a:rPr lang="en-US" sz="1800" dirty="0">
                <a:solidFill>
                  <a:srgbClr val="3E3E3E"/>
                </a:solidFill>
                <a:effectLst/>
                <a:latin typeface="Times New Roman" panose="02020603050405020304" pitchFamily="18" charset="0"/>
                <a:ea typeface="Arial MT"/>
                <a:cs typeface="Arial MT"/>
              </a:rPr>
              <a:t>key</a:t>
            </a:r>
            <a:r>
              <a:rPr lang="en-US" sz="1800" spc="-20" dirty="0">
                <a:solidFill>
                  <a:srgbClr val="3E3E3E"/>
                </a:solidFill>
                <a:effectLst/>
                <a:latin typeface="Times New Roman" panose="02020603050405020304" pitchFamily="18" charset="0"/>
                <a:ea typeface="Arial MT"/>
                <a:cs typeface="Arial MT"/>
              </a:rPr>
              <a:t> </a:t>
            </a:r>
            <a:r>
              <a:rPr lang="en-US" sz="1800" dirty="0">
                <a:solidFill>
                  <a:srgbClr val="3E3E3E"/>
                </a:solidFill>
                <a:effectLst/>
                <a:latin typeface="Times New Roman" panose="02020603050405020304" pitchFamily="18" charset="0"/>
                <a:ea typeface="Arial MT"/>
                <a:cs typeface="Arial MT"/>
              </a:rPr>
              <a:t>factors:</a:t>
            </a:r>
            <a:r>
              <a:rPr lang="en-US" sz="1800" spc="-40" dirty="0">
                <a:solidFill>
                  <a:srgbClr val="3E3E3E"/>
                </a:solidFill>
                <a:effectLst/>
                <a:latin typeface="Times New Roman" panose="02020603050405020304" pitchFamily="18" charset="0"/>
                <a:ea typeface="Arial MT"/>
                <a:cs typeface="Arial MT"/>
              </a:rPr>
              <a:t> </a:t>
            </a:r>
            <a:r>
              <a:rPr lang="en-US" sz="1800" dirty="0">
                <a:solidFill>
                  <a:srgbClr val="3E3E3E"/>
                </a:solidFill>
                <a:effectLst/>
                <a:latin typeface="Times New Roman" panose="02020603050405020304" pitchFamily="18" charset="0"/>
                <a:ea typeface="Arial MT"/>
                <a:cs typeface="Arial MT"/>
              </a:rPr>
              <a:t>namely,</a:t>
            </a:r>
            <a:r>
              <a:rPr lang="en-US" sz="1800" spc="-30" dirty="0">
                <a:solidFill>
                  <a:srgbClr val="3E3E3E"/>
                </a:solidFill>
                <a:effectLst/>
                <a:latin typeface="Times New Roman" panose="02020603050405020304" pitchFamily="18" charset="0"/>
                <a:ea typeface="Arial MT"/>
                <a:cs typeface="Arial MT"/>
              </a:rPr>
              <a:t> </a:t>
            </a:r>
            <a:r>
              <a:rPr lang="en-US" sz="1800" dirty="0">
                <a:solidFill>
                  <a:srgbClr val="3E3E3E"/>
                </a:solidFill>
                <a:effectLst/>
                <a:latin typeface="Times New Roman" panose="02020603050405020304" pitchFamily="18" charset="0"/>
                <a:ea typeface="Arial MT"/>
                <a:cs typeface="Arial MT"/>
              </a:rPr>
              <a:t>the</a:t>
            </a:r>
            <a:r>
              <a:rPr lang="en-US" sz="1800" spc="-15" dirty="0">
                <a:solidFill>
                  <a:srgbClr val="3E3E3E"/>
                </a:solidFill>
                <a:effectLst/>
                <a:latin typeface="Times New Roman" panose="02020603050405020304" pitchFamily="18" charset="0"/>
                <a:ea typeface="Arial MT"/>
                <a:cs typeface="Arial MT"/>
              </a:rPr>
              <a:t> </a:t>
            </a:r>
            <a:r>
              <a:rPr lang="en-US" sz="1800" dirty="0">
                <a:solidFill>
                  <a:srgbClr val="3E3E3E"/>
                </a:solidFill>
                <a:effectLst/>
                <a:latin typeface="Times New Roman" panose="02020603050405020304" pitchFamily="18" charset="0"/>
                <a:ea typeface="Arial MT"/>
                <a:cs typeface="Arial MT"/>
              </a:rPr>
              <a:t>results</a:t>
            </a:r>
            <a:r>
              <a:rPr lang="en-US" sz="1800" spc="-25" dirty="0">
                <a:solidFill>
                  <a:srgbClr val="3E3E3E"/>
                </a:solidFill>
                <a:effectLst/>
                <a:latin typeface="Times New Roman" panose="02020603050405020304" pitchFamily="18" charset="0"/>
                <a:ea typeface="Arial MT"/>
                <a:cs typeface="Arial MT"/>
              </a:rPr>
              <a:t> </a:t>
            </a:r>
            <a:r>
              <a:rPr lang="en-US" sz="1800" dirty="0">
                <a:solidFill>
                  <a:srgbClr val="3E3E3E"/>
                </a:solidFill>
                <a:effectLst/>
                <a:latin typeface="Times New Roman" panose="02020603050405020304" pitchFamily="18" charset="0"/>
                <a:ea typeface="Arial MT"/>
                <a:cs typeface="Arial MT"/>
              </a:rPr>
              <a:t>of</a:t>
            </a:r>
            <a:r>
              <a:rPr lang="en-US" sz="1800" spc="-40" dirty="0">
                <a:solidFill>
                  <a:srgbClr val="3E3E3E"/>
                </a:solidFill>
                <a:effectLst/>
                <a:latin typeface="Times New Roman" panose="02020603050405020304" pitchFamily="18" charset="0"/>
                <a:ea typeface="Arial MT"/>
                <a:cs typeface="Arial MT"/>
              </a:rPr>
              <a:t> </a:t>
            </a:r>
            <a:r>
              <a:rPr lang="en-US" sz="1800" dirty="0">
                <a:solidFill>
                  <a:srgbClr val="3E3E3E"/>
                </a:solidFill>
                <a:effectLst/>
                <a:latin typeface="Times New Roman" panose="02020603050405020304" pitchFamily="18" charset="0"/>
                <a:ea typeface="Arial MT"/>
                <a:cs typeface="Arial MT"/>
              </a:rPr>
              <a:t>the</a:t>
            </a:r>
            <a:r>
              <a:rPr lang="en-US" sz="1800" spc="-40" dirty="0">
                <a:solidFill>
                  <a:srgbClr val="3E3E3E"/>
                </a:solidFill>
                <a:effectLst/>
                <a:latin typeface="Times New Roman" panose="02020603050405020304" pitchFamily="18" charset="0"/>
                <a:ea typeface="Arial MT"/>
                <a:cs typeface="Arial MT"/>
              </a:rPr>
              <a:t> </a:t>
            </a:r>
            <a:r>
              <a:rPr lang="en-US" sz="1800" dirty="0">
                <a:solidFill>
                  <a:srgbClr val="3E3E3E"/>
                </a:solidFill>
                <a:effectLst/>
                <a:latin typeface="Times New Roman" panose="02020603050405020304" pitchFamily="18" charset="0"/>
                <a:ea typeface="Arial MT"/>
                <a:cs typeface="Arial MT"/>
              </a:rPr>
              <a:t>liquid</a:t>
            </a:r>
            <a:r>
              <a:rPr lang="en-US" sz="1800" spc="-40" dirty="0">
                <a:solidFill>
                  <a:srgbClr val="3E3E3E"/>
                </a:solidFill>
                <a:effectLst/>
                <a:latin typeface="Times New Roman" panose="02020603050405020304" pitchFamily="18" charset="0"/>
                <a:ea typeface="Arial MT"/>
                <a:cs typeface="Arial MT"/>
              </a:rPr>
              <a:t> </a:t>
            </a:r>
            <a:r>
              <a:rPr lang="en-US" sz="1800" dirty="0">
                <a:solidFill>
                  <a:srgbClr val="3E3E3E"/>
                </a:solidFill>
                <a:effectLst/>
                <a:latin typeface="Times New Roman" panose="02020603050405020304" pitchFamily="18" charset="0"/>
                <a:ea typeface="Arial MT"/>
                <a:cs typeface="Arial MT"/>
              </a:rPr>
              <a:t>steel</a:t>
            </a:r>
            <a:r>
              <a:rPr lang="en-US" sz="1800" spc="-35" dirty="0">
                <a:solidFill>
                  <a:srgbClr val="3E3E3E"/>
                </a:solidFill>
                <a:effectLst/>
                <a:latin typeface="Times New Roman" panose="02020603050405020304" pitchFamily="18" charset="0"/>
                <a:ea typeface="Arial MT"/>
                <a:cs typeface="Arial MT"/>
              </a:rPr>
              <a:t> </a:t>
            </a:r>
            <a:r>
              <a:rPr lang="en-US" sz="1800" dirty="0">
                <a:solidFill>
                  <a:srgbClr val="3E3E3E"/>
                </a:solidFill>
                <a:effectLst/>
                <a:latin typeface="Times New Roman" panose="02020603050405020304" pitchFamily="18" charset="0"/>
                <a:ea typeface="Arial MT"/>
                <a:cs typeface="Arial MT"/>
              </a:rPr>
              <a:t>analysis</a:t>
            </a:r>
            <a:r>
              <a:rPr lang="en-US" sz="1800" spc="-55" dirty="0">
                <a:solidFill>
                  <a:srgbClr val="3E3E3E"/>
                </a:solidFill>
                <a:effectLst/>
                <a:latin typeface="Times New Roman" panose="02020603050405020304" pitchFamily="18" charset="0"/>
                <a:ea typeface="Arial MT"/>
                <a:cs typeface="Arial MT"/>
              </a:rPr>
              <a:t> </a:t>
            </a:r>
            <a:r>
              <a:rPr lang="en-US" sz="1800" dirty="0">
                <a:solidFill>
                  <a:srgbClr val="3E3E3E"/>
                </a:solidFill>
                <a:effectLst/>
                <a:latin typeface="Times New Roman" panose="02020603050405020304" pitchFamily="18" charset="0"/>
                <a:ea typeface="Arial MT"/>
                <a:cs typeface="Arial MT"/>
              </a:rPr>
              <a:t>carried</a:t>
            </a:r>
            <a:r>
              <a:rPr lang="en-US" sz="1800" spc="-40" dirty="0">
                <a:solidFill>
                  <a:srgbClr val="3E3E3E"/>
                </a:solidFill>
                <a:effectLst/>
                <a:latin typeface="Times New Roman" panose="02020603050405020304" pitchFamily="18" charset="0"/>
                <a:ea typeface="Arial MT"/>
                <a:cs typeface="Arial MT"/>
              </a:rPr>
              <a:t> </a:t>
            </a:r>
            <a:r>
              <a:rPr lang="en-US" sz="1800" dirty="0">
                <a:solidFill>
                  <a:srgbClr val="3E3E3E"/>
                </a:solidFill>
                <a:effectLst/>
                <a:latin typeface="Times New Roman" panose="02020603050405020304" pitchFamily="18" charset="0"/>
                <a:ea typeface="Arial MT"/>
                <a:cs typeface="Arial MT"/>
              </a:rPr>
              <a:t>out</a:t>
            </a:r>
            <a:r>
              <a:rPr lang="en-US" sz="1800" spc="-35" dirty="0">
                <a:solidFill>
                  <a:srgbClr val="3E3E3E"/>
                </a:solidFill>
                <a:effectLst/>
                <a:latin typeface="Times New Roman" panose="02020603050405020304" pitchFamily="18" charset="0"/>
                <a:ea typeface="Arial MT"/>
                <a:cs typeface="Arial MT"/>
              </a:rPr>
              <a:t> </a:t>
            </a:r>
            <a:r>
              <a:rPr lang="en-US" sz="1800" dirty="0">
                <a:solidFill>
                  <a:srgbClr val="3E3E3E"/>
                </a:solidFill>
                <a:effectLst/>
                <a:latin typeface="Times New Roman" panose="02020603050405020304" pitchFamily="18" charset="0"/>
                <a:ea typeface="Arial MT"/>
                <a:cs typeface="Arial MT"/>
              </a:rPr>
              <a:t>on</a:t>
            </a:r>
            <a:r>
              <a:rPr lang="en-US" sz="1800" spc="-45" dirty="0">
                <a:solidFill>
                  <a:srgbClr val="3E3E3E"/>
                </a:solidFill>
                <a:effectLst/>
                <a:latin typeface="Times New Roman" panose="02020603050405020304" pitchFamily="18" charset="0"/>
                <a:ea typeface="Arial MT"/>
                <a:cs typeface="Arial MT"/>
              </a:rPr>
              <a:t> </a:t>
            </a:r>
            <a:r>
              <a:rPr lang="en-US" sz="1800" dirty="0">
                <a:solidFill>
                  <a:srgbClr val="3E3E3E"/>
                </a:solidFill>
                <a:effectLst/>
                <a:latin typeface="Times New Roman" panose="02020603050405020304" pitchFamily="18" charset="0"/>
                <a:ea typeface="Arial MT"/>
                <a:cs typeface="Arial MT"/>
              </a:rPr>
              <a:t>samples</a:t>
            </a:r>
            <a:r>
              <a:rPr lang="en-US" sz="1800" spc="5" dirty="0">
                <a:solidFill>
                  <a:srgbClr val="3E3E3E"/>
                </a:solidFill>
                <a:effectLst/>
                <a:latin typeface="Times New Roman" panose="02020603050405020304" pitchFamily="18" charset="0"/>
                <a:ea typeface="Arial MT"/>
                <a:cs typeface="Arial MT"/>
              </a:rPr>
              <a:t> </a:t>
            </a:r>
            <a:r>
              <a:rPr lang="en-US" sz="1800" dirty="0">
                <a:solidFill>
                  <a:srgbClr val="3E3E3E"/>
                </a:solidFill>
                <a:effectLst/>
                <a:latin typeface="Times New Roman" panose="02020603050405020304" pitchFamily="18" charset="0"/>
                <a:ea typeface="Arial MT"/>
                <a:cs typeface="Arial MT"/>
              </a:rPr>
              <a:t>of the previous batches and economic considerations. Information</a:t>
            </a:r>
            <a:r>
              <a:rPr lang="en-US" sz="1800" spc="5" dirty="0">
                <a:solidFill>
                  <a:srgbClr val="3E3E3E"/>
                </a:solidFill>
                <a:effectLst/>
                <a:latin typeface="Times New Roman" panose="02020603050405020304" pitchFamily="18" charset="0"/>
                <a:ea typeface="Arial MT"/>
                <a:cs typeface="Arial MT"/>
              </a:rPr>
              <a:t> </a:t>
            </a:r>
            <a:r>
              <a:rPr lang="en-US" sz="1800" dirty="0">
                <a:solidFill>
                  <a:srgbClr val="3E3E3E"/>
                </a:solidFill>
                <a:effectLst/>
                <a:latin typeface="Times New Roman" panose="02020603050405020304" pitchFamily="18" charset="0"/>
                <a:ea typeface="Arial MT"/>
                <a:cs typeface="Arial MT"/>
              </a:rPr>
              <a:t>concerning these two aspects will be provided to the DSS by two different PC models, i.e. the “quality model” and the</a:t>
            </a:r>
            <a:r>
              <a:rPr lang="en-US" sz="1800" spc="5" dirty="0">
                <a:solidFill>
                  <a:srgbClr val="3E3E3E"/>
                </a:solidFill>
                <a:effectLst/>
                <a:latin typeface="Times New Roman" panose="02020603050405020304" pitchFamily="18" charset="0"/>
                <a:ea typeface="Arial MT"/>
                <a:cs typeface="Arial MT"/>
              </a:rPr>
              <a:t> </a:t>
            </a:r>
            <a:r>
              <a:rPr lang="en-US" sz="1800" dirty="0">
                <a:solidFill>
                  <a:srgbClr val="3E3E3E"/>
                </a:solidFill>
                <a:effectLst/>
                <a:latin typeface="Times New Roman" panose="02020603050405020304" pitchFamily="18" charset="0"/>
                <a:ea typeface="Arial MT"/>
                <a:cs typeface="Arial MT"/>
              </a:rPr>
              <a:t>“feeding</a:t>
            </a:r>
            <a:r>
              <a:rPr lang="en-US" sz="1800" spc="-20" dirty="0">
                <a:solidFill>
                  <a:srgbClr val="3E3E3E"/>
                </a:solidFill>
                <a:effectLst/>
                <a:latin typeface="Times New Roman" panose="02020603050405020304" pitchFamily="18" charset="0"/>
                <a:ea typeface="Arial MT"/>
                <a:cs typeface="Arial MT"/>
              </a:rPr>
              <a:t> </a:t>
            </a:r>
            <a:r>
              <a:rPr lang="en-US" sz="1800" dirty="0">
                <a:solidFill>
                  <a:srgbClr val="3E3E3E"/>
                </a:solidFill>
                <a:effectLst/>
                <a:latin typeface="Times New Roman" panose="02020603050405020304" pitchFamily="18" charset="0"/>
                <a:ea typeface="Arial MT"/>
                <a:cs typeface="Arial MT"/>
              </a:rPr>
              <a:t>model”,</a:t>
            </a:r>
            <a:r>
              <a:rPr lang="en-US" sz="1800" spc="-10" dirty="0">
                <a:solidFill>
                  <a:srgbClr val="3E3E3E"/>
                </a:solidFill>
                <a:effectLst/>
                <a:latin typeface="Times New Roman" panose="02020603050405020304" pitchFamily="18" charset="0"/>
                <a:ea typeface="Arial MT"/>
                <a:cs typeface="Arial MT"/>
              </a:rPr>
              <a:t> </a:t>
            </a:r>
            <a:r>
              <a:rPr lang="en-US" sz="1800" dirty="0">
                <a:solidFill>
                  <a:srgbClr val="3E3E3E"/>
                </a:solidFill>
                <a:effectLst/>
                <a:latin typeface="Times New Roman" panose="02020603050405020304" pitchFamily="18" charset="0"/>
                <a:ea typeface="Arial MT"/>
                <a:cs typeface="Arial MT"/>
              </a:rPr>
              <a:t>respectively.</a:t>
            </a:r>
            <a:r>
              <a:rPr lang="en-US" sz="1800" spc="-30" dirty="0">
                <a:solidFill>
                  <a:srgbClr val="3E3E3E"/>
                </a:solidFill>
                <a:effectLst/>
                <a:latin typeface="Times New Roman" panose="02020603050405020304" pitchFamily="18" charset="0"/>
                <a:ea typeface="Arial MT"/>
                <a:cs typeface="Arial MT"/>
              </a:rPr>
              <a:t> </a:t>
            </a:r>
            <a:r>
              <a:rPr lang="en-US" sz="1800" dirty="0">
                <a:solidFill>
                  <a:srgbClr val="3E3E3E"/>
                </a:solidFill>
                <a:effectLst/>
                <a:latin typeface="Times New Roman" panose="02020603050405020304" pitchFamily="18" charset="0"/>
                <a:ea typeface="Arial MT"/>
                <a:cs typeface="Arial MT"/>
              </a:rPr>
              <a:t>The</a:t>
            </a:r>
            <a:r>
              <a:rPr lang="en-US" sz="1800" spc="-15" dirty="0">
                <a:solidFill>
                  <a:srgbClr val="3E3E3E"/>
                </a:solidFill>
                <a:effectLst/>
                <a:latin typeface="Times New Roman" panose="02020603050405020304" pitchFamily="18" charset="0"/>
                <a:ea typeface="Arial MT"/>
                <a:cs typeface="Arial MT"/>
              </a:rPr>
              <a:t> </a:t>
            </a:r>
            <a:r>
              <a:rPr lang="en-US" sz="1800" dirty="0">
                <a:solidFill>
                  <a:srgbClr val="3E3E3E"/>
                </a:solidFill>
                <a:effectLst/>
                <a:latin typeface="Times New Roman" panose="02020603050405020304" pitchFamily="18" charset="0"/>
                <a:ea typeface="Arial MT"/>
                <a:cs typeface="Arial MT"/>
              </a:rPr>
              <a:t>DSS</a:t>
            </a:r>
            <a:r>
              <a:rPr lang="en-US" sz="1800" spc="-5" dirty="0">
                <a:solidFill>
                  <a:srgbClr val="3E3E3E"/>
                </a:solidFill>
                <a:effectLst/>
                <a:latin typeface="Times New Roman" panose="02020603050405020304" pitchFamily="18" charset="0"/>
                <a:ea typeface="Arial MT"/>
                <a:cs typeface="Arial MT"/>
              </a:rPr>
              <a:t> </a:t>
            </a:r>
            <a:r>
              <a:rPr lang="en-US" sz="1800" dirty="0">
                <a:solidFill>
                  <a:srgbClr val="3E3E3E"/>
                </a:solidFill>
                <a:effectLst/>
                <a:latin typeface="Times New Roman" panose="02020603050405020304" pitchFamily="18" charset="0"/>
                <a:ea typeface="Arial MT"/>
                <a:cs typeface="Arial MT"/>
              </a:rPr>
              <a:t>will</a:t>
            </a:r>
            <a:r>
              <a:rPr lang="en-US" sz="1800" spc="-10" dirty="0">
                <a:solidFill>
                  <a:srgbClr val="3E3E3E"/>
                </a:solidFill>
                <a:effectLst/>
                <a:latin typeface="Times New Roman" panose="02020603050405020304" pitchFamily="18" charset="0"/>
                <a:ea typeface="Arial MT"/>
                <a:cs typeface="Arial MT"/>
              </a:rPr>
              <a:t> </a:t>
            </a:r>
            <a:r>
              <a:rPr lang="en-US" sz="1800" dirty="0">
                <a:solidFill>
                  <a:srgbClr val="3E3E3E"/>
                </a:solidFill>
                <a:effectLst/>
                <a:latin typeface="Times New Roman" panose="02020603050405020304" pitchFamily="18" charset="0"/>
                <a:ea typeface="Arial MT"/>
                <a:cs typeface="Arial MT"/>
              </a:rPr>
              <a:t>orchestrate</a:t>
            </a:r>
            <a:r>
              <a:rPr lang="en-US" sz="1800" spc="-15" dirty="0">
                <a:solidFill>
                  <a:srgbClr val="3E3E3E"/>
                </a:solidFill>
                <a:effectLst/>
                <a:latin typeface="Times New Roman" panose="02020603050405020304" pitchFamily="18" charset="0"/>
                <a:ea typeface="Arial MT"/>
                <a:cs typeface="Arial MT"/>
              </a:rPr>
              <a:t> </a:t>
            </a:r>
            <a:r>
              <a:rPr lang="en-US" sz="1800" dirty="0">
                <a:solidFill>
                  <a:srgbClr val="3E3E3E"/>
                </a:solidFill>
                <a:effectLst/>
                <a:latin typeface="Times New Roman" panose="02020603050405020304" pitchFamily="18" charset="0"/>
                <a:ea typeface="Arial MT"/>
                <a:cs typeface="Arial MT"/>
              </a:rPr>
              <a:t>such</a:t>
            </a:r>
            <a:r>
              <a:rPr lang="en-US" sz="1800" spc="-20" dirty="0">
                <a:solidFill>
                  <a:srgbClr val="3E3E3E"/>
                </a:solidFill>
                <a:effectLst/>
                <a:latin typeface="Times New Roman" panose="02020603050405020304" pitchFamily="18" charset="0"/>
                <a:ea typeface="Arial MT"/>
                <a:cs typeface="Arial MT"/>
              </a:rPr>
              <a:t> </a:t>
            </a:r>
            <a:r>
              <a:rPr lang="en-US" sz="1800" dirty="0">
                <a:solidFill>
                  <a:srgbClr val="3E3E3E"/>
                </a:solidFill>
                <a:effectLst/>
                <a:latin typeface="Times New Roman" panose="02020603050405020304" pitchFamily="18" charset="0"/>
                <a:ea typeface="Arial MT"/>
                <a:cs typeface="Arial MT"/>
              </a:rPr>
              <a:t>information</a:t>
            </a:r>
            <a:r>
              <a:rPr lang="en-US" sz="1800" spc="-15" dirty="0">
                <a:solidFill>
                  <a:srgbClr val="3E3E3E"/>
                </a:solidFill>
                <a:effectLst/>
                <a:latin typeface="Times New Roman" panose="02020603050405020304" pitchFamily="18" charset="0"/>
                <a:ea typeface="Arial MT"/>
                <a:cs typeface="Arial MT"/>
              </a:rPr>
              <a:t> </a:t>
            </a:r>
            <a:r>
              <a:rPr lang="en-US" sz="1800" dirty="0">
                <a:solidFill>
                  <a:srgbClr val="3E3E3E"/>
                </a:solidFill>
                <a:effectLst/>
                <a:latin typeface="Times New Roman" panose="02020603050405020304" pitchFamily="18" charset="0"/>
                <a:ea typeface="Arial MT"/>
                <a:cs typeface="Arial MT"/>
              </a:rPr>
              <a:t>to</a:t>
            </a:r>
            <a:r>
              <a:rPr lang="en-US" sz="1800" spc="-20" dirty="0">
                <a:solidFill>
                  <a:srgbClr val="3E3E3E"/>
                </a:solidFill>
                <a:effectLst/>
                <a:latin typeface="Times New Roman" panose="02020603050405020304" pitchFamily="18" charset="0"/>
                <a:ea typeface="Arial MT"/>
                <a:cs typeface="Arial MT"/>
              </a:rPr>
              <a:t> </a:t>
            </a:r>
            <a:r>
              <a:rPr lang="en-US" sz="1800" dirty="0">
                <a:solidFill>
                  <a:srgbClr val="3E3E3E"/>
                </a:solidFill>
                <a:effectLst/>
                <a:latin typeface="Times New Roman" panose="02020603050405020304" pitchFamily="18" charset="0"/>
                <a:ea typeface="Arial MT"/>
                <a:cs typeface="Arial MT"/>
              </a:rPr>
              <a:t>select</a:t>
            </a:r>
            <a:r>
              <a:rPr lang="en-US" sz="1800" spc="-15" dirty="0">
                <a:solidFill>
                  <a:srgbClr val="3E3E3E"/>
                </a:solidFill>
                <a:effectLst/>
                <a:latin typeface="Times New Roman" panose="02020603050405020304" pitchFamily="18" charset="0"/>
                <a:ea typeface="Arial MT"/>
                <a:cs typeface="Arial MT"/>
              </a:rPr>
              <a:t> </a:t>
            </a:r>
            <a:r>
              <a:rPr lang="en-US" sz="1800" dirty="0">
                <a:solidFill>
                  <a:srgbClr val="3E3E3E"/>
                </a:solidFill>
                <a:effectLst/>
                <a:latin typeface="Times New Roman" panose="02020603050405020304" pitchFamily="18" charset="0"/>
                <a:ea typeface="Arial MT"/>
                <a:cs typeface="Arial MT"/>
              </a:rPr>
              <a:t>the</a:t>
            </a:r>
            <a:r>
              <a:rPr lang="en-US" sz="1800" spc="-10" dirty="0">
                <a:solidFill>
                  <a:srgbClr val="3E3E3E"/>
                </a:solidFill>
                <a:effectLst/>
                <a:latin typeface="Times New Roman" panose="02020603050405020304" pitchFamily="18" charset="0"/>
                <a:ea typeface="Arial MT"/>
                <a:cs typeface="Arial MT"/>
              </a:rPr>
              <a:t> </a:t>
            </a:r>
            <a:r>
              <a:rPr lang="en-US" sz="1800" dirty="0">
                <a:solidFill>
                  <a:srgbClr val="3E3E3E"/>
                </a:solidFill>
                <a:effectLst/>
                <a:latin typeface="Times New Roman" panose="02020603050405020304" pitchFamily="18" charset="0"/>
                <a:ea typeface="Arial MT"/>
                <a:cs typeface="Arial MT"/>
              </a:rPr>
              <a:t>most</a:t>
            </a:r>
            <a:r>
              <a:rPr lang="en-US" sz="1800" spc="-15" dirty="0">
                <a:solidFill>
                  <a:srgbClr val="3E3E3E"/>
                </a:solidFill>
                <a:effectLst/>
                <a:latin typeface="Times New Roman" panose="02020603050405020304" pitchFamily="18" charset="0"/>
                <a:ea typeface="Arial MT"/>
                <a:cs typeface="Arial MT"/>
              </a:rPr>
              <a:t> </a:t>
            </a:r>
            <a:r>
              <a:rPr lang="en-US" sz="1800" dirty="0">
                <a:solidFill>
                  <a:srgbClr val="3E3E3E"/>
                </a:solidFill>
                <a:effectLst/>
                <a:latin typeface="Times New Roman" panose="02020603050405020304" pitchFamily="18" charset="0"/>
                <a:ea typeface="Arial MT"/>
                <a:cs typeface="Arial MT"/>
              </a:rPr>
              <a:t>suitable</a:t>
            </a:r>
            <a:r>
              <a:rPr lang="en-US" sz="1800" spc="-15" dirty="0">
                <a:solidFill>
                  <a:srgbClr val="3E3E3E"/>
                </a:solidFill>
                <a:effectLst/>
                <a:latin typeface="Times New Roman" panose="02020603050405020304" pitchFamily="18" charset="0"/>
                <a:ea typeface="Arial MT"/>
                <a:cs typeface="Arial MT"/>
              </a:rPr>
              <a:t> </a:t>
            </a:r>
            <a:r>
              <a:rPr lang="en-US" sz="1800" dirty="0">
                <a:solidFill>
                  <a:srgbClr val="3E3E3E"/>
                </a:solidFill>
                <a:effectLst/>
                <a:latin typeface="Times New Roman" panose="02020603050405020304" pitchFamily="18" charset="0"/>
                <a:ea typeface="Arial MT"/>
                <a:cs typeface="Arial MT"/>
              </a:rPr>
              <a:t>mixture</a:t>
            </a:r>
            <a:r>
              <a:rPr lang="en-US" sz="1800" spc="-10" dirty="0">
                <a:solidFill>
                  <a:srgbClr val="3E3E3E"/>
                </a:solidFill>
                <a:effectLst/>
                <a:latin typeface="Times New Roman" panose="02020603050405020304" pitchFamily="18" charset="0"/>
                <a:ea typeface="Arial MT"/>
                <a:cs typeface="Arial MT"/>
              </a:rPr>
              <a:t> </a:t>
            </a:r>
            <a:r>
              <a:rPr lang="en-US" sz="1800" dirty="0">
                <a:solidFill>
                  <a:srgbClr val="3E3E3E"/>
                </a:solidFill>
                <a:effectLst/>
                <a:latin typeface="Times New Roman" panose="02020603050405020304" pitchFamily="18" charset="0"/>
                <a:ea typeface="Arial MT"/>
                <a:cs typeface="Arial MT"/>
              </a:rPr>
              <a:t>of</a:t>
            </a:r>
            <a:r>
              <a:rPr lang="en-US" sz="1800" spc="-20" dirty="0">
                <a:solidFill>
                  <a:srgbClr val="3E3E3E"/>
                </a:solidFill>
                <a:effectLst/>
                <a:latin typeface="Times New Roman" panose="02020603050405020304" pitchFamily="18" charset="0"/>
                <a:ea typeface="Arial MT"/>
                <a:cs typeface="Arial MT"/>
              </a:rPr>
              <a:t> </a:t>
            </a:r>
            <a:r>
              <a:rPr lang="en-US" sz="1800" dirty="0">
                <a:solidFill>
                  <a:srgbClr val="3E3E3E"/>
                </a:solidFill>
                <a:effectLst/>
                <a:latin typeface="Times New Roman" panose="02020603050405020304" pitchFamily="18" charset="0"/>
                <a:ea typeface="Arial MT"/>
                <a:cs typeface="Arial MT"/>
              </a:rPr>
              <a:t>scrap. </a:t>
            </a:r>
            <a:r>
              <a:rPr lang="en-US" sz="1800" dirty="0">
                <a:effectLst/>
                <a:latin typeface="Arial MT"/>
                <a:ea typeface="Arial MT"/>
                <a:cs typeface="Arial MT"/>
              </a:rPr>
              <a:t>The</a:t>
            </a:r>
            <a:r>
              <a:rPr lang="en-US" sz="1800" spc="-20" dirty="0">
                <a:effectLst/>
                <a:latin typeface="Arial MT"/>
                <a:ea typeface="Arial MT"/>
                <a:cs typeface="Arial MT"/>
              </a:rPr>
              <a:t> </a:t>
            </a:r>
            <a:r>
              <a:rPr lang="en-US" sz="1800" dirty="0">
                <a:effectLst/>
                <a:latin typeface="Arial MT"/>
                <a:ea typeface="Arial MT"/>
                <a:cs typeface="Arial MT"/>
              </a:rPr>
              <a:t>DT</a:t>
            </a:r>
            <a:r>
              <a:rPr lang="en-US" sz="1800" spc="-30" dirty="0">
                <a:effectLst/>
                <a:latin typeface="Arial MT"/>
                <a:ea typeface="Arial MT"/>
                <a:cs typeface="Arial MT"/>
              </a:rPr>
              <a:t> </a:t>
            </a:r>
            <a:r>
              <a:rPr lang="en-US" sz="1800" dirty="0">
                <a:effectLst/>
                <a:latin typeface="Arial MT"/>
                <a:ea typeface="Arial MT"/>
                <a:cs typeface="Arial MT"/>
              </a:rPr>
              <a:t>is</a:t>
            </a:r>
            <a:r>
              <a:rPr lang="en-US" sz="1800" spc="-30" dirty="0">
                <a:effectLst/>
                <a:latin typeface="Arial MT"/>
                <a:ea typeface="Arial MT"/>
                <a:cs typeface="Arial MT"/>
              </a:rPr>
              <a:t> </a:t>
            </a:r>
            <a:r>
              <a:rPr lang="en-US" sz="1800" dirty="0">
                <a:effectLst/>
                <a:latin typeface="Arial MT"/>
                <a:ea typeface="Arial MT"/>
                <a:cs typeface="Arial MT"/>
              </a:rPr>
              <a:t>meant</a:t>
            </a:r>
            <a:r>
              <a:rPr lang="en-US" sz="1800" spc="-20" dirty="0">
                <a:effectLst/>
                <a:latin typeface="Arial MT"/>
                <a:ea typeface="Arial MT"/>
                <a:cs typeface="Arial MT"/>
              </a:rPr>
              <a:t> </a:t>
            </a:r>
            <a:r>
              <a:rPr lang="en-US" sz="1800" dirty="0">
                <a:effectLst/>
                <a:latin typeface="Arial MT"/>
                <a:ea typeface="Arial MT"/>
                <a:cs typeface="Arial MT"/>
              </a:rPr>
              <a:t>to</a:t>
            </a:r>
            <a:r>
              <a:rPr lang="en-US" sz="1800" spc="-20" dirty="0">
                <a:effectLst/>
                <a:latin typeface="Arial MT"/>
                <a:ea typeface="Arial MT"/>
                <a:cs typeface="Arial MT"/>
              </a:rPr>
              <a:t> </a:t>
            </a:r>
            <a:r>
              <a:rPr lang="en-US" sz="1800" dirty="0">
                <a:effectLst/>
                <a:latin typeface="Arial MT"/>
                <a:ea typeface="Arial MT"/>
                <a:cs typeface="Arial MT"/>
              </a:rPr>
              <a:t>simulate</a:t>
            </a:r>
            <a:r>
              <a:rPr lang="en-US" sz="1800" spc="-20" dirty="0">
                <a:effectLst/>
                <a:latin typeface="Arial MT"/>
                <a:ea typeface="Arial MT"/>
                <a:cs typeface="Arial MT"/>
              </a:rPr>
              <a:t> </a:t>
            </a:r>
            <a:r>
              <a:rPr lang="en-US" sz="1800" dirty="0">
                <a:effectLst/>
                <a:latin typeface="Arial MT"/>
                <a:ea typeface="Arial MT"/>
                <a:cs typeface="Arial MT"/>
              </a:rPr>
              <a:t>the</a:t>
            </a:r>
            <a:r>
              <a:rPr lang="en-US" sz="1800" spc="-20" dirty="0">
                <a:effectLst/>
                <a:latin typeface="Arial MT"/>
                <a:ea typeface="Arial MT"/>
                <a:cs typeface="Arial MT"/>
              </a:rPr>
              <a:t> </a:t>
            </a:r>
            <a:r>
              <a:rPr lang="en-US" sz="1800" dirty="0">
                <a:effectLst/>
                <a:latin typeface="Arial MT"/>
                <a:ea typeface="Arial MT"/>
                <a:cs typeface="Arial MT"/>
              </a:rPr>
              <a:t>reactions</a:t>
            </a:r>
            <a:r>
              <a:rPr lang="en-US" sz="1800" spc="-30" dirty="0">
                <a:effectLst/>
                <a:latin typeface="Arial MT"/>
                <a:ea typeface="Arial MT"/>
                <a:cs typeface="Arial MT"/>
              </a:rPr>
              <a:t> </a:t>
            </a:r>
            <a:r>
              <a:rPr lang="en-US" sz="1800" dirty="0">
                <a:effectLst/>
                <a:latin typeface="Arial MT"/>
                <a:ea typeface="Arial MT"/>
                <a:cs typeface="Arial MT"/>
              </a:rPr>
              <a:t>occurring</a:t>
            </a:r>
            <a:r>
              <a:rPr lang="en-US" sz="1800" spc="-20" dirty="0">
                <a:effectLst/>
                <a:latin typeface="Arial MT"/>
                <a:ea typeface="Arial MT"/>
                <a:cs typeface="Arial MT"/>
              </a:rPr>
              <a:t> </a:t>
            </a:r>
            <a:r>
              <a:rPr lang="en-US" sz="1800" dirty="0">
                <a:effectLst/>
                <a:latin typeface="Arial MT"/>
                <a:ea typeface="Arial MT"/>
                <a:cs typeface="Arial MT"/>
              </a:rPr>
              <a:t>in</a:t>
            </a:r>
            <a:r>
              <a:rPr lang="en-US" sz="1800" spc="-15" dirty="0">
                <a:effectLst/>
                <a:latin typeface="Arial MT"/>
                <a:ea typeface="Arial MT"/>
                <a:cs typeface="Arial MT"/>
              </a:rPr>
              <a:t> </a:t>
            </a:r>
            <a:r>
              <a:rPr lang="en-US" sz="1800" dirty="0">
                <a:effectLst/>
                <a:latin typeface="Arial MT"/>
                <a:ea typeface="Arial MT"/>
                <a:cs typeface="Arial MT"/>
              </a:rPr>
              <a:t>the</a:t>
            </a:r>
            <a:r>
              <a:rPr lang="en-US" sz="1800" spc="-20" dirty="0">
                <a:effectLst/>
                <a:latin typeface="Arial MT"/>
                <a:ea typeface="Arial MT"/>
                <a:cs typeface="Arial MT"/>
              </a:rPr>
              <a:t> </a:t>
            </a:r>
            <a:r>
              <a:rPr lang="en-US" sz="1800" dirty="0">
                <a:effectLst/>
                <a:latin typeface="Arial MT"/>
                <a:ea typeface="Arial MT"/>
                <a:cs typeface="Arial MT"/>
              </a:rPr>
              <a:t>EAF. The quality of the product is assessed by </a:t>
            </a:r>
            <a:r>
              <a:rPr lang="en-US" sz="1800" dirty="0" err="1">
                <a:effectLst/>
                <a:latin typeface="Arial MT"/>
                <a:ea typeface="Arial MT"/>
                <a:cs typeface="Arial MT"/>
              </a:rPr>
              <a:t>analysing</a:t>
            </a:r>
            <a:r>
              <a:rPr lang="en-US" sz="1800" spc="5" dirty="0">
                <a:effectLst/>
                <a:latin typeface="Arial MT"/>
                <a:ea typeface="Arial MT"/>
                <a:cs typeface="Arial MT"/>
              </a:rPr>
              <a:t> </a:t>
            </a:r>
            <a:r>
              <a:rPr lang="en-US" sz="1800" dirty="0">
                <a:effectLst/>
                <a:latin typeface="Arial MT"/>
                <a:ea typeface="Arial MT"/>
                <a:cs typeface="Arial MT"/>
              </a:rPr>
              <a:t>samples of liquid steel taken from the EAF. Samples are collected once per heat, before the</a:t>
            </a:r>
            <a:r>
              <a:rPr lang="en-US" sz="1800" spc="-295" dirty="0">
                <a:effectLst/>
                <a:latin typeface="Arial MT"/>
                <a:ea typeface="Arial MT"/>
                <a:cs typeface="Arial MT"/>
              </a:rPr>
              <a:t> </a:t>
            </a:r>
            <a:r>
              <a:rPr lang="en-US" sz="1800" dirty="0">
                <a:effectLst/>
                <a:latin typeface="Arial MT"/>
                <a:ea typeface="Arial MT"/>
                <a:cs typeface="Arial MT"/>
              </a:rPr>
              <a:t>tapping</a:t>
            </a:r>
            <a:r>
              <a:rPr lang="en-US" sz="1800" spc="-50" dirty="0">
                <a:effectLst/>
                <a:latin typeface="Arial MT"/>
                <a:ea typeface="Arial MT"/>
                <a:cs typeface="Arial MT"/>
              </a:rPr>
              <a:t> </a:t>
            </a:r>
            <a:r>
              <a:rPr lang="en-US" sz="1800" dirty="0">
                <a:effectLst/>
                <a:latin typeface="Arial MT"/>
                <a:ea typeface="Arial MT"/>
                <a:cs typeface="Arial MT"/>
              </a:rPr>
              <a:t>operation.</a:t>
            </a:r>
            <a:r>
              <a:rPr lang="en-US" sz="1800" spc="-55" dirty="0">
                <a:effectLst/>
                <a:latin typeface="Arial MT"/>
                <a:ea typeface="Arial MT"/>
                <a:cs typeface="Arial MT"/>
              </a:rPr>
              <a:t> </a:t>
            </a:r>
            <a:r>
              <a:rPr lang="en-US" sz="1800" dirty="0">
                <a:effectLst/>
                <a:latin typeface="Arial MT"/>
                <a:ea typeface="Arial MT"/>
                <a:cs typeface="Arial MT"/>
              </a:rPr>
              <a:t>Although</a:t>
            </a:r>
            <a:r>
              <a:rPr lang="en-US" sz="1800" spc="-50" dirty="0">
                <a:effectLst/>
                <a:latin typeface="Arial MT"/>
                <a:ea typeface="Arial MT"/>
                <a:cs typeface="Arial MT"/>
              </a:rPr>
              <a:t> </a:t>
            </a:r>
            <a:r>
              <a:rPr lang="en-US" sz="1800" dirty="0">
                <a:effectLst/>
                <a:latin typeface="Arial MT"/>
                <a:ea typeface="Arial MT"/>
                <a:cs typeface="Arial MT"/>
              </a:rPr>
              <a:t>the</a:t>
            </a:r>
            <a:r>
              <a:rPr lang="en-US" sz="1800" spc="-45" dirty="0">
                <a:effectLst/>
                <a:latin typeface="Arial MT"/>
                <a:ea typeface="Arial MT"/>
                <a:cs typeface="Arial MT"/>
              </a:rPr>
              <a:t> </a:t>
            </a:r>
            <a:r>
              <a:rPr lang="en-US" sz="1800" dirty="0">
                <a:effectLst/>
                <a:latin typeface="Arial MT"/>
                <a:ea typeface="Arial MT"/>
                <a:cs typeface="Arial MT"/>
              </a:rPr>
              <a:t>laboratory</a:t>
            </a:r>
            <a:r>
              <a:rPr lang="en-US" sz="1800" spc="-60" dirty="0">
                <a:effectLst/>
                <a:latin typeface="Arial MT"/>
                <a:ea typeface="Arial MT"/>
                <a:cs typeface="Arial MT"/>
              </a:rPr>
              <a:t> </a:t>
            </a:r>
            <a:r>
              <a:rPr lang="en-US" sz="1800" dirty="0">
                <a:effectLst/>
                <a:latin typeface="Arial MT"/>
                <a:ea typeface="Arial MT"/>
                <a:cs typeface="Arial MT"/>
              </a:rPr>
              <a:t>analysis</a:t>
            </a:r>
            <a:r>
              <a:rPr lang="en-US" sz="1800" spc="-35" dirty="0">
                <a:effectLst/>
                <a:latin typeface="Arial MT"/>
                <a:ea typeface="Arial MT"/>
                <a:cs typeface="Arial MT"/>
              </a:rPr>
              <a:t> </a:t>
            </a:r>
            <a:r>
              <a:rPr lang="en-US" sz="1800" dirty="0">
                <a:effectLst/>
                <a:latin typeface="Arial MT"/>
                <a:ea typeface="Arial MT"/>
                <a:cs typeface="Arial MT"/>
              </a:rPr>
              <a:t>is</a:t>
            </a:r>
            <a:r>
              <a:rPr lang="en-US" sz="1800" spc="-60" dirty="0">
                <a:effectLst/>
                <a:latin typeface="Arial MT"/>
                <a:ea typeface="Arial MT"/>
                <a:cs typeface="Arial MT"/>
              </a:rPr>
              <a:t> </a:t>
            </a:r>
            <a:r>
              <a:rPr lang="en-US" sz="1800" dirty="0">
                <a:effectLst/>
                <a:latin typeface="Arial MT"/>
                <a:ea typeface="Arial MT"/>
                <a:cs typeface="Arial MT"/>
              </a:rPr>
              <a:t>manual,</a:t>
            </a:r>
            <a:r>
              <a:rPr lang="en-US" sz="1800" spc="-50" dirty="0">
                <a:effectLst/>
                <a:latin typeface="Arial MT"/>
                <a:ea typeface="Arial MT"/>
                <a:cs typeface="Arial MT"/>
              </a:rPr>
              <a:t> </a:t>
            </a:r>
            <a:r>
              <a:rPr lang="en-US" sz="1800" dirty="0">
                <a:effectLst/>
                <a:latin typeface="Arial MT"/>
                <a:ea typeface="Arial MT"/>
                <a:cs typeface="Arial MT"/>
              </a:rPr>
              <a:t>results</a:t>
            </a:r>
            <a:r>
              <a:rPr lang="en-US" sz="1800" spc="-60" dirty="0">
                <a:effectLst/>
                <a:latin typeface="Arial MT"/>
                <a:ea typeface="Arial MT"/>
                <a:cs typeface="Arial MT"/>
              </a:rPr>
              <a:t> </a:t>
            </a:r>
            <a:r>
              <a:rPr lang="en-US" sz="1800" dirty="0">
                <a:effectLst/>
                <a:latin typeface="Arial MT"/>
                <a:ea typeface="Arial MT"/>
                <a:cs typeface="Arial MT"/>
              </a:rPr>
              <a:t>are</a:t>
            </a:r>
            <a:r>
              <a:rPr lang="en-US" sz="1800" spc="-50" dirty="0">
                <a:effectLst/>
                <a:latin typeface="Arial MT"/>
                <a:ea typeface="Arial MT"/>
                <a:cs typeface="Arial MT"/>
              </a:rPr>
              <a:t> </a:t>
            </a:r>
            <a:r>
              <a:rPr lang="en-US" sz="1800" dirty="0">
                <a:effectLst/>
                <a:latin typeface="Arial MT"/>
                <a:ea typeface="Arial MT"/>
                <a:cs typeface="Arial MT"/>
              </a:rPr>
              <a:t>available</a:t>
            </a:r>
            <a:r>
              <a:rPr lang="en-US" sz="1800" spc="-70" dirty="0">
                <a:effectLst/>
                <a:latin typeface="Arial MT"/>
                <a:ea typeface="Arial MT"/>
                <a:cs typeface="Arial MT"/>
              </a:rPr>
              <a:t> </a:t>
            </a:r>
            <a:r>
              <a:rPr lang="en-US" sz="1800" dirty="0">
                <a:effectLst/>
                <a:latin typeface="Arial MT"/>
                <a:ea typeface="Arial MT"/>
                <a:cs typeface="Arial MT"/>
              </a:rPr>
              <a:t>after</a:t>
            </a:r>
            <a:r>
              <a:rPr lang="en-US" sz="1800" spc="-65" dirty="0">
                <a:effectLst/>
                <a:latin typeface="Arial MT"/>
                <a:ea typeface="Arial MT"/>
                <a:cs typeface="Arial MT"/>
              </a:rPr>
              <a:t> </a:t>
            </a:r>
            <a:r>
              <a:rPr lang="en-US" sz="1800" dirty="0">
                <a:effectLst/>
                <a:latin typeface="Arial MT"/>
                <a:ea typeface="Arial MT"/>
                <a:cs typeface="Arial MT"/>
              </a:rPr>
              <a:t>only</a:t>
            </a:r>
            <a:r>
              <a:rPr lang="en-US" sz="1800" spc="-295" dirty="0">
                <a:effectLst/>
                <a:latin typeface="Arial MT"/>
                <a:ea typeface="Arial MT"/>
                <a:cs typeface="Arial MT"/>
              </a:rPr>
              <a:t> </a:t>
            </a:r>
            <a:r>
              <a:rPr lang="en-US" sz="1800" dirty="0">
                <a:effectLst/>
                <a:latin typeface="Arial MT"/>
                <a:ea typeface="Arial MT"/>
                <a:cs typeface="Arial MT"/>
              </a:rPr>
              <a:t>approximately 5 minutes. The uncertainty on the chemical composition of scrap affects the</a:t>
            </a:r>
            <a:r>
              <a:rPr lang="en-US" sz="1800" spc="5" dirty="0">
                <a:effectLst/>
                <a:latin typeface="Arial MT"/>
                <a:ea typeface="Arial MT"/>
                <a:cs typeface="Arial MT"/>
              </a:rPr>
              <a:t> </a:t>
            </a:r>
            <a:r>
              <a:rPr lang="en-US" sz="1800" dirty="0">
                <a:effectLst/>
                <a:latin typeface="Arial MT"/>
                <a:ea typeface="Arial MT"/>
                <a:cs typeface="Arial MT"/>
              </a:rPr>
              <a:t>results quite significantly. </a:t>
            </a:r>
          </a:p>
          <a:p>
            <a:pPr marL="0" marR="714375" indent="457200" algn="just">
              <a:lnSpc>
                <a:spcPct val="100000"/>
              </a:lnSpc>
              <a:spcBef>
                <a:spcPts val="0"/>
              </a:spcBef>
              <a:spcAft>
                <a:spcPts val="0"/>
              </a:spcAft>
            </a:pPr>
            <a:r>
              <a:rPr lang="en-US" sz="1800" dirty="0">
                <a:effectLst/>
                <a:latin typeface="Arial MT"/>
                <a:ea typeface="Arial MT"/>
                <a:cs typeface="Arial MT"/>
              </a:rPr>
              <a:t>Developing</a:t>
            </a:r>
            <a:r>
              <a:rPr lang="en-US" sz="1800" spc="-20" dirty="0">
                <a:effectLst/>
                <a:latin typeface="Arial MT"/>
                <a:ea typeface="Arial MT"/>
                <a:cs typeface="Arial MT"/>
              </a:rPr>
              <a:t> </a:t>
            </a:r>
            <a:r>
              <a:rPr lang="en-US" sz="1800" dirty="0">
                <a:effectLst/>
                <a:latin typeface="Arial MT"/>
                <a:ea typeface="Arial MT"/>
                <a:cs typeface="Arial MT"/>
              </a:rPr>
              <a:t>a</a:t>
            </a:r>
            <a:r>
              <a:rPr lang="en-US" sz="1800" spc="-45" dirty="0">
                <a:effectLst/>
                <a:latin typeface="Arial MT"/>
                <a:ea typeface="Arial MT"/>
                <a:cs typeface="Arial MT"/>
              </a:rPr>
              <a:t> </a:t>
            </a:r>
            <a:r>
              <a:rPr lang="en-US" sz="1800" dirty="0">
                <a:effectLst/>
                <a:latin typeface="Arial MT"/>
                <a:ea typeface="Arial MT"/>
                <a:cs typeface="Arial MT"/>
              </a:rPr>
              <a:t>model</a:t>
            </a:r>
            <a:r>
              <a:rPr lang="en-US" sz="1800" spc="-30" dirty="0">
                <a:effectLst/>
                <a:latin typeface="Arial MT"/>
                <a:ea typeface="Arial MT"/>
                <a:cs typeface="Arial MT"/>
              </a:rPr>
              <a:t> </a:t>
            </a:r>
            <a:r>
              <a:rPr lang="en-US" sz="1800" dirty="0">
                <a:effectLst/>
                <a:latin typeface="Arial MT"/>
                <a:ea typeface="Arial MT"/>
                <a:cs typeface="Arial MT"/>
              </a:rPr>
              <a:t>that</a:t>
            </a:r>
            <a:r>
              <a:rPr lang="en-US" sz="1800" spc="-25" dirty="0">
                <a:effectLst/>
                <a:latin typeface="Arial MT"/>
                <a:ea typeface="Arial MT"/>
                <a:cs typeface="Arial MT"/>
              </a:rPr>
              <a:t> </a:t>
            </a:r>
            <a:r>
              <a:rPr lang="en-US" sz="1800" dirty="0">
                <a:effectLst/>
                <a:latin typeface="Arial MT"/>
                <a:ea typeface="Arial MT"/>
                <a:cs typeface="Arial MT"/>
              </a:rPr>
              <a:t>correlates</a:t>
            </a:r>
            <a:r>
              <a:rPr lang="en-US" sz="1800" spc="-30" dirty="0">
                <a:effectLst/>
                <a:latin typeface="Arial MT"/>
                <a:ea typeface="Arial MT"/>
                <a:cs typeface="Arial MT"/>
              </a:rPr>
              <a:t> </a:t>
            </a:r>
            <a:r>
              <a:rPr lang="en-US" sz="1800" dirty="0">
                <a:effectLst/>
                <a:latin typeface="Arial MT"/>
                <a:ea typeface="Arial MT"/>
                <a:cs typeface="Arial MT"/>
              </a:rPr>
              <a:t>such</a:t>
            </a:r>
            <a:r>
              <a:rPr lang="en-US" sz="1800" spc="-15" dirty="0">
                <a:effectLst/>
                <a:latin typeface="Arial MT"/>
                <a:ea typeface="Arial MT"/>
                <a:cs typeface="Arial MT"/>
              </a:rPr>
              <a:t> </a:t>
            </a:r>
            <a:r>
              <a:rPr lang="en-US" sz="1800" dirty="0">
                <a:effectLst/>
                <a:latin typeface="Arial MT"/>
                <a:ea typeface="Arial MT"/>
                <a:cs typeface="Arial MT"/>
              </a:rPr>
              <a:t>composition</a:t>
            </a:r>
            <a:r>
              <a:rPr lang="en-US" sz="1800" spc="-20" dirty="0">
                <a:effectLst/>
                <a:latin typeface="Arial MT"/>
                <a:ea typeface="Arial MT"/>
                <a:cs typeface="Arial MT"/>
              </a:rPr>
              <a:t> </a:t>
            </a:r>
            <a:r>
              <a:rPr lang="en-US" sz="1800" dirty="0">
                <a:effectLst/>
                <a:latin typeface="Arial MT"/>
                <a:ea typeface="Arial MT"/>
                <a:cs typeface="Arial MT"/>
              </a:rPr>
              <a:t>(at</a:t>
            </a:r>
            <a:r>
              <a:rPr lang="en-US" sz="1800" spc="-25" dirty="0">
                <a:effectLst/>
                <a:latin typeface="Arial MT"/>
                <a:ea typeface="Arial MT"/>
                <a:cs typeface="Arial MT"/>
              </a:rPr>
              <a:t> </a:t>
            </a:r>
            <a:r>
              <a:rPr lang="en-US" sz="1800" dirty="0">
                <a:effectLst/>
                <a:latin typeface="Arial MT"/>
                <a:ea typeface="Arial MT"/>
                <a:cs typeface="Arial MT"/>
              </a:rPr>
              <a:t>the</a:t>
            </a:r>
            <a:r>
              <a:rPr lang="en-US" sz="1800" spc="-40" dirty="0">
                <a:effectLst/>
                <a:latin typeface="Arial MT"/>
                <a:ea typeface="Arial MT"/>
                <a:cs typeface="Arial MT"/>
              </a:rPr>
              <a:t> </a:t>
            </a:r>
            <a:r>
              <a:rPr lang="en-US" sz="1800" dirty="0">
                <a:effectLst/>
                <a:latin typeface="Arial MT"/>
                <a:ea typeface="Arial MT"/>
                <a:cs typeface="Arial MT"/>
              </a:rPr>
              <a:t>EAF</a:t>
            </a:r>
            <a:r>
              <a:rPr lang="en-US" sz="1800" spc="-30" dirty="0">
                <a:effectLst/>
                <a:latin typeface="Arial MT"/>
                <a:ea typeface="Arial MT"/>
                <a:cs typeface="Arial MT"/>
              </a:rPr>
              <a:t> </a:t>
            </a:r>
            <a:r>
              <a:rPr lang="en-US" sz="1800" dirty="0">
                <a:effectLst/>
                <a:latin typeface="Arial MT"/>
                <a:ea typeface="Arial MT"/>
                <a:cs typeface="Arial MT"/>
              </a:rPr>
              <a:t>output)</a:t>
            </a:r>
            <a:r>
              <a:rPr lang="en-US" sz="1800" spc="-35" dirty="0">
                <a:effectLst/>
                <a:latin typeface="Arial MT"/>
                <a:ea typeface="Arial MT"/>
                <a:cs typeface="Arial MT"/>
              </a:rPr>
              <a:t> </a:t>
            </a:r>
            <a:r>
              <a:rPr lang="en-US" sz="1800" dirty="0">
                <a:effectLst/>
                <a:latin typeface="Arial MT"/>
                <a:ea typeface="Arial MT"/>
                <a:cs typeface="Arial MT"/>
              </a:rPr>
              <a:t>to</a:t>
            </a:r>
            <a:r>
              <a:rPr lang="en-US" sz="1800" spc="-15" dirty="0">
                <a:effectLst/>
                <a:latin typeface="Arial MT"/>
                <a:ea typeface="Arial MT"/>
                <a:cs typeface="Arial MT"/>
              </a:rPr>
              <a:t> </a:t>
            </a:r>
            <a:r>
              <a:rPr lang="en-US" sz="1800" dirty="0">
                <a:effectLst/>
                <a:latin typeface="Arial MT"/>
                <a:ea typeface="Arial MT"/>
                <a:cs typeface="Arial MT"/>
              </a:rPr>
              <a:t>the</a:t>
            </a:r>
            <a:r>
              <a:rPr lang="en-US" sz="1800" spc="5" dirty="0">
                <a:effectLst/>
                <a:latin typeface="Arial MT"/>
                <a:ea typeface="Arial MT"/>
                <a:cs typeface="Arial MT"/>
              </a:rPr>
              <a:t> </a:t>
            </a:r>
            <a:r>
              <a:rPr lang="en-US" sz="1800" dirty="0">
                <a:effectLst/>
                <a:latin typeface="Arial MT"/>
                <a:ea typeface="Arial MT"/>
                <a:cs typeface="Arial MT"/>
              </a:rPr>
              <a:t>raw</a:t>
            </a:r>
            <a:r>
              <a:rPr lang="en-US" sz="1800" spc="-35" dirty="0">
                <a:effectLst/>
                <a:latin typeface="Arial MT"/>
                <a:ea typeface="Arial MT"/>
                <a:cs typeface="Arial MT"/>
              </a:rPr>
              <a:t> </a:t>
            </a:r>
            <a:r>
              <a:rPr lang="en-US" sz="1800" dirty="0">
                <a:effectLst/>
                <a:latin typeface="Arial MT"/>
                <a:ea typeface="Arial MT"/>
                <a:cs typeface="Arial MT"/>
              </a:rPr>
              <a:t>material</a:t>
            </a:r>
            <a:r>
              <a:rPr lang="en-US" sz="1800" spc="-290" dirty="0">
                <a:effectLst/>
                <a:latin typeface="Arial MT"/>
                <a:ea typeface="Arial MT"/>
                <a:cs typeface="Arial MT"/>
              </a:rPr>
              <a:t> </a:t>
            </a:r>
            <a:r>
              <a:rPr lang="en-US" sz="1800" dirty="0">
                <a:effectLst/>
                <a:latin typeface="Arial MT"/>
                <a:ea typeface="Arial MT"/>
                <a:cs typeface="Arial MT"/>
              </a:rPr>
              <a:t>composition, the combustion temperature and other relevant parameters might be useful to</a:t>
            </a:r>
            <a:r>
              <a:rPr lang="en-US" sz="1800" spc="5" dirty="0">
                <a:effectLst/>
                <a:latin typeface="Arial MT"/>
                <a:ea typeface="Arial MT"/>
                <a:cs typeface="Arial MT"/>
              </a:rPr>
              <a:t> </a:t>
            </a:r>
            <a:r>
              <a:rPr lang="en-US" sz="1800" dirty="0">
                <a:effectLst/>
                <a:latin typeface="Arial MT"/>
                <a:ea typeface="Arial MT"/>
                <a:cs typeface="Arial MT"/>
              </a:rPr>
              <a:t>have an indication on the amount of pollutants produced when using the alternative raw</a:t>
            </a:r>
            <a:r>
              <a:rPr lang="en-US" sz="1800" spc="5" dirty="0">
                <a:effectLst/>
                <a:latin typeface="Arial MT"/>
                <a:ea typeface="Arial MT"/>
                <a:cs typeface="Arial MT"/>
              </a:rPr>
              <a:t> </a:t>
            </a:r>
            <a:r>
              <a:rPr lang="en-US" sz="1800" dirty="0">
                <a:effectLst/>
                <a:latin typeface="Arial MT"/>
                <a:ea typeface="Arial MT"/>
                <a:cs typeface="Arial MT"/>
              </a:rPr>
              <a:t>materials.</a:t>
            </a:r>
            <a:r>
              <a:rPr lang="en-US" sz="1800" spc="-55" dirty="0">
                <a:effectLst/>
                <a:latin typeface="Arial MT"/>
                <a:ea typeface="Arial MT"/>
                <a:cs typeface="Arial MT"/>
              </a:rPr>
              <a:t> </a:t>
            </a:r>
            <a:r>
              <a:rPr lang="en-US" sz="1800" dirty="0">
                <a:effectLst/>
                <a:latin typeface="Arial MT"/>
                <a:ea typeface="Arial MT"/>
                <a:cs typeface="Arial MT"/>
              </a:rPr>
              <a:t>In</a:t>
            </a:r>
            <a:r>
              <a:rPr lang="en-US" sz="1800" spc="-45" dirty="0">
                <a:effectLst/>
                <a:latin typeface="Arial MT"/>
                <a:ea typeface="Arial MT"/>
                <a:cs typeface="Arial MT"/>
              </a:rPr>
              <a:t> </a:t>
            </a:r>
            <a:r>
              <a:rPr lang="en-US" sz="1800" dirty="0">
                <a:effectLst/>
                <a:latin typeface="Arial MT"/>
                <a:ea typeface="Arial MT"/>
                <a:cs typeface="Arial MT"/>
              </a:rPr>
              <a:t>order</a:t>
            </a:r>
            <a:r>
              <a:rPr lang="en-US" sz="1800" spc="-45" dirty="0">
                <a:effectLst/>
                <a:latin typeface="Arial MT"/>
                <a:ea typeface="Arial MT"/>
                <a:cs typeface="Arial MT"/>
              </a:rPr>
              <a:t> </a:t>
            </a:r>
            <a:r>
              <a:rPr lang="en-US" sz="1800" dirty="0">
                <a:effectLst/>
                <a:latin typeface="Arial MT"/>
                <a:ea typeface="Arial MT"/>
                <a:cs typeface="Arial MT"/>
              </a:rPr>
              <a:t>to</a:t>
            </a:r>
            <a:r>
              <a:rPr lang="en-US" sz="1800" spc="-25" dirty="0">
                <a:effectLst/>
                <a:latin typeface="Arial MT"/>
                <a:ea typeface="Arial MT"/>
                <a:cs typeface="Arial MT"/>
              </a:rPr>
              <a:t> </a:t>
            </a:r>
            <a:r>
              <a:rPr lang="en-US" sz="1800" dirty="0">
                <a:effectLst/>
                <a:latin typeface="Arial MT"/>
                <a:ea typeface="Arial MT"/>
                <a:cs typeface="Arial MT"/>
              </a:rPr>
              <a:t>provide</a:t>
            </a:r>
            <a:r>
              <a:rPr lang="en-US" sz="1800" spc="-20" dirty="0">
                <a:effectLst/>
                <a:latin typeface="Arial MT"/>
                <a:ea typeface="Arial MT"/>
                <a:cs typeface="Arial MT"/>
              </a:rPr>
              <a:t> </a:t>
            </a:r>
            <a:r>
              <a:rPr lang="en-US" sz="1800" dirty="0">
                <a:effectLst/>
                <a:latin typeface="Arial MT"/>
                <a:ea typeface="Arial MT"/>
                <a:cs typeface="Arial MT"/>
              </a:rPr>
              <a:t>the</a:t>
            </a:r>
            <a:r>
              <a:rPr lang="en-US" sz="1800" spc="-25" dirty="0">
                <a:effectLst/>
                <a:latin typeface="Arial MT"/>
                <a:ea typeface="Arial MT"/>
                <a:cs typeface="Arial MT"/>
              </a:rPr>
              <a:t> </a:t>
            </a:r>
            <a:r>
              <a:rPr lang="en-US" sz="1800" dirty="0">
                <a:effectLst/>
                <a:latin typeface="Arial MT"/>
                <a:ea typeface="Arial MT"/>
                <a:cs typeface="Arial MT"/>
              </a:rPr>
              <a:t>DSS</a:t>
            </a:r>
            <a:r>
              <a:rPr lang="en-US" sz="1800" spc="-25" dirty="0">
                <a:effectLst/>
                <a:latin typeface="Arial MT"/>
                <a:ea typeface="Arial MT"/>
                <a:cs typeface="Arial MT"/>
              </a:rPr>
              <a:t> </a:t>
            </a:r>
            <a:r>
              <a:rPr lang="en-US" sz="1800" dirty="0">
                <a:effectLst/>
                <a:latin typeface="Arial MT"/>
                <a:ea typeface="Arial MT"/>
                <a:cs typeface="Arial MT"/>
              </a:rPr>
              <a:t>with</a:t>
            </a:r>
            <a:r>
              <a:rPr lang="en-US" sz="1800" spc="-45" dirty="0">
                <a:effectLst/>
                <a:latin typeface="Arial MT"/>
                <a:ea typeface="Arial MT"/>
                <a:cs typeface="Arial MT"/>
              </a:rPr>
              <a:t> </a:t>
            </a:r>
            <a:r>
              <a:rPr lang="en-US" sz="1800" dirty="0">
                <a:effectLst/>
                <a:latin typeface="Arial MT"/>
                <a:ea typeface="Arial MT"/>
                <a:cs typeface="Arial MT"/>
              </a:rPr>
              <a:t>additional</a:t>
            </a:r>
            <a:r>
              <a:rPr lang="en-US" sz="1800" spc="-40" dirty="0">
                <a:effectLst/>
                <a:latin typeface="Arial MT"/>
                <a:ea typeface="Arial MT"/>
                <a:cs typeface="Arial MT"/>
              </a:rPr>
              <a:t> </a:t>
            </a:r>
            <a:r>
              <a:rPr lang="en-US" sz="1800" dirty="0">
                <a:effectLst/>
                <a:latin typeface="Arial MT"/>
                <a:ea typeface="Arial MT"/>
                <a:cs typeface="Arial MT"/>
              </a:rPr>
              <a:t>information</a:t>
            </a:r>
            <a:r>
              <a:rPr lang="en-US" sz="1800" spc="-25" dirty="0">
                <a:effectLst/>
                <a:latin typeface="Arial MT"/>
                <a:ea typeface="Arial MT"/>
                <a:cs typeface="Arial MT"/>
              </a:rPr>
              <a:t> </a:t>
            </a:r>
            <a:r>
              <a:rPr lang="en-US" sz="1800" dirty="0">
                <a:effectLst/>
                <a:latin typeface="Arial MT"/>
                <a:ea typeface="Arial MT"/>
                <a:cs typeface="Arial MT"/>
              </a:rPr>
              <a:t>concerning</a:t>
            </a:r>
            <a:r>
              <a:rPr lang="en-US" sz="1800" spc="-20" dirty="0">
                <a:effectLst/>
                <a:latin typeface="Arial MT"/>
                <a:ea typeface="Arial MT"/>
                <a:cs typeface="Arial MT"/>
              </a:rPr>
              <a:t> </a:t>
            </a:r>
            <a:r>
              <a:rPr lang="en-US" sz="1800" dirty="0">
                <a:effectLst/>
                <a:latin typeface="Arial MT"/>
                <a:ea typeface="Arial MT"/>
                <a:cs typeface="Arial MT"/>
              </a:rPr>
              <a:t>the</a:t>
            </a:r>
            <a:r>
              <a:rPr lang="en-US" sz="1800" spc="-25" dirty="0">
                <a:effectLst/>
                <a:latin typeface="Arial MT"/>
                <a:ea typeface="Arial MT"/>
                <a:cs typeface="Arial MT"/>
              </a:rPr>
              <a:t> </a:t>
            </a:r>
            <a:r>
              <a:rPr lang="en-US" sz="1800" dirty="0">
                <a:effectLst/>
                <a:latin typeface="Arial MT"/>
                <a:ea typeface="Arial MT"/>
                <a:cs typeface="Arial MT"/>
              </a:rPr>
              <a:t>selection</a:t>
            </a:r>
            <a:r>
              <a:rPr lang="en-US" sz="1800" spc="-45" dirty="0">
                <a:effectLst/>
                <a:latin typeface="Arial MT"/>
                <a:ea typeface="Arial MT"/>
                <a:cs typeface="Arial MT"/>
              </a:rPr>
              <a:t> </a:t>
            </a:r>
            <a:r>
              <a:rPr lang="en-US" sz="1800" dirty="0">
                <a:effectLst/>
                <a:latin typeface="Arial MT"/>
                <a:ea typeface="Arial MT"/>
                <a:cs typeface="Arial MT"/>
              </a:rPr>
              <a:t>of</a:t>
            </a:r>
            <a:r>
              <a:rPr lang="en-US" sz="1800" spc="-295" dirty="0">
                <a:effectLst/>
                <a:latin typeface="Arial MT"/>
                <a:ea typeface="Arial MT"/>
                <a:cs typeface="Arial MT"/>
              </a:rPr>
              <a:t> </a:t>
            </a:r>
            <a:r>
              <a:rPr lang="en-US" sz="1800" dirty="0">
                <a:effectLst/>
                <a:latin typeface="Arial MT"/>
                <a:ea typeface="Arial MT"/>
                <a:cs typeface="Arial MT"/>
              </a:rPr>
              <a:t>raw</a:t>
            </a:r>
            <a:r>
              <a:rPr lang="en-US" sz="1800" spc="-55" dirty="0">
                <a:effectLst/>
                <a:latin typeface="Arial MT"/>
                <a:ea typeface="Arial MT"/>
                <a:cs typeface="Arial MT"/>
              </a:rPr>
              <a:t> </a:t>
            </a:r>
            <a:r>
              <a:rPr lang="en-US" sz="1800" dirty="0">
                <a:effectLst/>
                <a:latin typeface="Arial MT"/>
                <a:ea typeface="Arial MT"/>
                <a:cs typeface="Arial MT"/>
              </a:rPr>
              <a:t>material</a:t>
            </a:r>
            <a:r>
              <a:rPr lang="en-US" sz="1800" spc="-55" dirty="0">
                <a:effectLst/>
                <a:latin typeface="Arial MT"/>
                <a:ea typeface="Arial MT"/>
                <a:cs typeface="Arial MT"/>
              </a:rPr>
              <a:t> </a:t>
            </a:r>
            <a:r>
              <a:rPr lang="en-US" sz="1800" dirty="0">
                <a:effectLst/>
                <a:latin typeface="Arial MT"/>
                <a:ea typeface="Arial MT"/>
                <a:cs typeface="Arial MT"/>
              </a:rPr>
              <a:t>and</a:t>
            </a:r>
            <a:r>
              <a:rPr lang="en-US" sz="1800" spc="-60" dirty="0">
                <a:effectLst/>
                <a:latin typeface="Arial MT"/>
                <a:ea typeface="Arial MT"/>
                <a:cs typeface="Arial MT"/>
              </a:rPr>
              <a:t> </a:t>
            </a:r>
            <a:r>
              <a:rPr lang="en-US" sz="1800" dirty="0">
                <a:effectLst/>
                <a:latin typeface="Arial MT"/>
                <a:ea typeface="Arial MT"/>
                <a:cs typeface="Arial MT"/>
              </a:rPr>
              <a:t>energy</a:t>
            </a:r>
            <a:r>
              <a:rPr lang="en-US" sz="1800" spc="-50" dirty="0">
                <a:effectLst/>
                <a:latin typeface="Arial MT"/>
                <a:ea typeface="Arial MT"/>
                <a:cs typeface="Arial MT"/>
              </a:rPr>
              <a:t> </a:t>
            </a:r>
            <a:r>
              <a:rPr lang="en-US" sz="1800" dirty="0">
                <a:effectLst/>
                <a:latin typeface="Arial MT"/>
                <a:ea typeface="Arial MT"/>
                <a:cs typeface="Arial MT"/>
              </a:rPr>
              <a:t>sources,</a:t>
            </a:r>
            <a:r>
              <a:rPr lang="en-US" sz="1800" spc="-40" dirty="0">
                <a:effectLst/>
                <a:latin typeface="Arial MT"/>
                <a:ea typeface="Arial MT"/>
                <a:cs typeface="Arial MT"/>
              </a:rPr>
              <a:t> </a:t>
            </a:r>
            <a:r>
              <a:rPr lang="en-US" sz="1800" dirty="0">
                <a:effectLst/>
                <a:latin typeface="Arial MT"/>
                <a:ea typeface="Arial MT"/>
                <a:cs typeface="Arial MT"/>
              </a:rPr>
              <a:t>as</a:t>
            </a:r>
            <a:r>
              <a:rPr lang="en-US" sz="1800" spc="-50" dirty="0">
                <a:effectLst/>
                <a:latin typeface="Arial MT"/>
                <a:ea typeface="Arial MT"/>
                <a:cs typeface="Arial MT"/>
              </a:rPr>
              <a:t> </a:t>
            </a:r>
            <a:r>
              <a:rPr lang="en-US" sz="1800" dirty="0">
                <a:effectLst/>
                <a:latin typeface="Arial MT"/>
                <a:ea typeface="Arial MT"/>
                <a:cs typeface="Arial MT"/>
              </a:rPr>
              <a:t>well</a:t>
            </a:r>
            <a:r>
              <a:rPr lang="en-US" sz="1800" spc="-55" dirty="0">
                <a:effectLst/>
                <a:latin typeface="Arial MT"/>
                <a:ea typeface="Arial MT"/>
                <a:cs typeface="Arial MT"/>
              </a:rPr>
              <a:t> </a:t>
            </a:r>
            <a:r>
              <a:rPr lang="en-US" sz="1800" dirty="0">
                <a:effectLst/>
                <a:latin typeface="Arial MT"/>
                <a:ea typeface="Arial MT"/>
                <a:cs typeface="Arial MT"/>
              </a:rPr>
              <a:t>as</a:t>
            </a:r>
            <a:r>
              <a:rPr lang="en-US" sz="1800" spc="-45" dirty="0">
                <a:effectLst/>
                <a:latin typeface="Arial MT"/>
                <a:ea typeface="Arial MT"/>
                <a:cs typeface="Arial MT"/>
              </a:rPr>
              <a:t> </a:t>
            </a:r>
            <a:r>
              <a:rPr lang="en-US" sz="1800" dirty="0">
                <a:effectLst/>
                <a:latin typeface="Arial MT"/>
                <a:ea typeface="Arial MT"/>
                <a:cs typeface="Arial MT"/>
              </a:rPr>
              <a:t>the</a:t>
            </a:r>
            <a:r>
              <a:rPr lang="en-US" sz="1800" spc="-40" dirty="0">
                <a:effectLst/>
                <a:latin typeface="Arial MT"/>
                <a:ea typeface="Arial MT"/>
                <a:cs typeface="Arial MT"/>
              </a:rPr>
              <a:t> </a:t>
            </a:r>
            <a:r>
              <a:rPr lang="en-US" sz="1800" dirty="0">
                <a:effectLst/>
                <a:latin typeface="Arial MT"/>
                <a:ea typeface="Arial MT"/>
                <a:cs typeface="Arial MT"/>
              </a:rPr>
              <a:t>emissions,</a:t>
            </a:r>
            <a:r>
              <a:rPr lang="en-US" sz="1800" spc="-40" dirty="0">
                <a:effectLst/>
                <a:latin typeface="Arial MT"/>
                <a:ea typeface="Arial MT"/>
                <a:cs typeface="Arial MT"/>
              </a:rPr>
              <a:t> </a:t>
            </a:r>
            <a:r>
              <a:rPr lang="en-US" sz="1800" dirty="0">
                <a:effectLst/>
                <a:latin typeface="Arial MT"/>
                <a:ea typeface="Arial MT"/>
                <a:cs typeface="Arial MT"/>
              </a:rPr>
              <a:t>some</a:t>
            </a:r>
            <a:r>
              <a:rPr lang="en-US" sz="1800" spc="-40" dirty="0">
                <a:effectLst/>
                <a:latin typeface="Arial MT"/>
                <a:ea typeface="Arial MT"/>
                <a:cs typeface="Arial MT"/>
              </a:rPr>
              <a:t> </a:t>
            </a:r>
            <a:r>
              <a:rPr lang="en-US" sz="1800" dirty="0">
                <a:effectLst/>
                <a:latin typeface="Arial MT"/>
                <a:ea typeface="Arial MT"/>
                <a:cs typeface="Arial MT"/>
              </a:rPr>
              <a:t>additional</a:t>
            </a:r>
            <a:r>
              <a:rPr lang="en-US" sz="1800" spc="-55" dirty="0">
                <a:effectLst/>
                <a:latin typeface="Arial MT"/>
                <a:ea typeface="Arial MT"/>
                <a:cs typeface="Arial MT"/>
              </a:rPr>
              <a:t> </a:t>
            </a:r>
            <a:r>
              <a:rPr lang="en-US" sz="1800" dirty="0">
                <a:effectLst/>
                <a:latin typeface="Arial MT"/>
                <a:ea typeface="Arial MT"/>
                <a:cs typeface="Arial MT"/>
              </a:rPr>
              <a:t>PC</a:t>
            </a:r>
            <a:r>
              <a:rPr lang="en-US" sz="1800" spc="-50" dirty="0">
                <a:effectLst/>
                <a:latin typeface="Arial MT"/>
                <a:ea typeface="Arial MT"/>
                <a:cs typeface="Arial MT"/>
              </a:rPr>
              <a:t> </a:t>
            </a:r>
            <a:r>
              <a:rPr lang="en-US" sz="1800" dirty="0">
                <a:effectLst/>
                <a:latin typeface="Arial MT"/>
                <a:ea typeface="Arial MT"/>
                <a:cs typeface="Arial MT"/>
              </a:rPr>
              <a:t>models</a:t>
            </a:r>
            <a:r>
              <a:rPr lang="en-US" sz="1800" spc="-50" dirty="0">
                <a:effectLst/>
                <a:latin typeface="Arial MT"/>
                <a:ea typeface="Arial MT"/>
                <a:cs typeface="Arial MT"/>
              </a:rPr>
              <a:t> </a:t>
            </a:r>
            <a:r>
              <a:rPr lang="en-US" sz="1800" dirty="0">
                <a:effectLst/>
                <a:latin typeface="Arial MT"/>
                <a:ea typeface="Arial MT"/>
                <a:cs typeface="Arial MT"/>
              </a:rPr>
              <a:t>have</a:t>
            </a:r>
            <a:r>
              <a:rPr lang="en-US" sz="1800" spc="-295" dirty="0">
                <a:effectLst/>
                <a:latin typeface="Arial MT"/>
                <a:ea typeface="Arial MT"/>
                <a:cs typeface="Arial MT"/>
              </a:rPr>
              <a:t> </a:t>
            </a:r>
            <a:r>
              <a:rPr lang="en-US" sz="1800" dirty="0">
                <a:effectLst/>
                <a:latin typeface="Arial MT"/>
                <a:ea typeface="Arial MT"/>
                <a:cs typeface="Arial MT"/>
              </a:rPr>
              <a:t>been</a:t>
            </a:r>
            <a:r>
              <a:rPr lang="en-US" sz="1800" spc="-15" dirty="0">
                <a:effectLst/>
                <a:latin typeface="Arial MT"/>
                <a:ea typeface="Arial MT"/>
                <a:cs typeface="Arial MT"/>
              </a:rPr>
              <a:t> </a:t>
            </a:r>
            <a:r>
              <a:rPr lang="en-US" sz="1800" dirty="0">
                <a:effectLst/>
                <a:latin typeface="Arial MT"/>
                <a:ea typeface="Arial MT"/>
                <a:cs typeface="Arial MT"/>
              </a:rPr>
              <a:t>envisaged,</a:t>
            </a:r>
            <a:r>
              <a:rPr lang="en-US" sz="1800" spc="10" dirty="0">
                <a:effectLst/>
                <a:latin typeface="Arial MT"/>
                <a:ea typeface="Arial MT"/>
                <a:cs typeface="Arial MT"/>
              </a:rPr>
              <a:t> </a:t>
            </a:r>
            <a:r>
              <a:rPr lang="en-US" sz="1800" dirty="0">
                <a:effectLst/>
                <a:latin typeface="Arial MT"/>
                <a:ea typeface="Arial MT"/>
                <a:cs typeface="Arial MT"/>
              </a:rPr>
              <a:t>that</a:t>
            </a:r>
            <a:r>
              <a:rPr lang="en-US" sz="1800" spc="-15" dirty="0">
                <a:effectLst/>
                <a:latin typeface="Arial MT"/>
                <a:ea typeface="Arial MT"/>
                <a:cs typeface="Arial MT"/>
              </a:rPr>
              <a:t> </a:t>
            </a:r>
            <a:r>
              <a:rPr lang="en-US" sz="1800" dirty="0">
                <a:effectLst/>
                <a:latin typeface="Arial MT"/>
                <a:ea typeface="Arial MT"/>
                <a:cs typeface="Arial MT"/>
              </a:rPr>
              <a:t>are</a:t>
            </a:r>
            <a:r>
              <a:rPr lang="en-US" sz="1800" spc="15" dirty="0">
                <a:effectLst/>
                <a:latin typeface="Arial MT"/>
                <a:ea typeface="Arial MT"/>
                <a:cs typeface="Arial MT"/>
              </a:rPr>
              <a:t> </a:t>
            </a:r>
            <a:r>
              <a:rPr lang="en-US" sz="1800" dirty="0">
                <a:effectLst/>
                <a:latin typeface="Arial MT"/>
                <a:ea typeface="Arial MT"/>
                <a:cs typeface="Arial MT"/>
              </a:rPr>
              <a:t>listed</a:t>
            </a:r>
            <a:r>
              <a:rPr lang="en-US" sz="1800" spc="10" dirty="0">
                <a:effectLst/>
                <a:latin typeface="Arial MT"/>
                <a:ea typeface="Arial MT"/>
                <a:cs typeface="Arial MT"/>
              </a:rPr>
              <a:t> </a:t>
            </a:r>
            <a:r>
              <a:rPr lang="en-US" sz="1800" dirty="0">
                <a:effectLst/>
                <a:latin typeface="Arial MT"/>
                <a:ea typeface="Arial MT"/>
                <a:cs typeface="Arial MT"/>
              </a:rPr>
              <a:t>in</a:t>
            </a:r>
            <a:r>
              <a:rPr lang="en-US" sz="1800" spc="-10" dirty="0">
                <a:effectLst/>
                <a:latin typeface="Arial MT"/>
                <a:ea typeface="Arial MT"/>
                <a:cs typeface="Arial MT"/>
              </a:rPr>
              <a:t> </a:t>
            </a:r>
            <a:r>
              <a:rPr lang="en-US" sz="1800" u="none" strike="noStrike" dirty="0">
                <a:effectLst/>
                <a:latin typeface="Arial MT"/>
                <a:ea typeface="Arial MT"/>
                <a:cs typeface="Arial MT"/>
              </a:rPr>
              <a:t>Table. </a:t>
            </a:r>
          </a:p>
          <a:p>
            <a:pPr marL="0" marR="714375" indent="457200" algn="just">
              <a:lnSpc>
                <a:spcPct val="100000"/>
              </a:lnSpc>
              <a:spcBef>
                <a:spcPts val="0"/>
              </a:spcBef>
              <a:spcAft>
                <a:spcPts val="0"/>
              </a:spcAft>
            </a:pPr>
            <a:endParaRPr lang="en-US" sz="1800" u="none" strike="noStrike" dirty="0">
              <a:effectLst/>
              <a:latin typeface="Arial MT"/>
            </a:endParaRPr>
          </a:p>
          <a:p>
            <a:pPr marL="0" marR="715645" lvl="2" indent="457200" algn="just">
              <a:lnSpc>
                <a:spcPct val="100000"/>
              </a:lnSpc>
              <a:spcAft>
                <a:spcPts val="0"/>
              </a:spcAft>
              <a:buSzPts val="1100"/>
              <a:buFont typeface="Symbol" panose="05050102010706020507" pitchFamily="18" charset="2"/>
              <a:buNone/>
              <a:tabLst>
                <a:tab pos="1173480" algn="l"/>
              </a:tabLst>
            </a:pPr>
            <a:r>
              <a:rPr lang="en-US" sz="2800" b="1" dirty="0">
                <a:effectLst/>
                <a:latin typeface="Arial MT"/>
                <a:ea typeface="Arial MT"/>
                <a:cs typeface="Arial MT"/>
              </a:rPr>
              <a:t>1.</a:t>
            </a:r>
            <a:r>
              <a:rPr lang="en-US" sz="2800" dirty="0">
                <a:effectLst/>
                <a:latin typeface="Arial MT"/>
                <a:ea typeface="Arial MT"/>
                <a:cs typeface="Arial MT"/>
              </a:rPr>
              <a:t>The</a:t>
            </a:r>
            <a:r>
              <a:rPr lang="en-US" sz="2800" spc="5" dirty="0">
                <a:effectLst/>
                <a:latin typeface="Arial MT"/>
                <a:ea typeface="Arial MT"/>
                <a:cs typeface="Arial MT"/>
              </a:rPr>
              <a:t> </a:t>
            </a:r>
            <a:r>
              <a:rPr lang="en-US" sz="2800" dirty="0">
                <a:effectLst/>
                <a:latin typeface="Arial MT"/>
                <a:ea typeface="Arial MT"/>
                <a:cs typeface="Arial MT"/>
              </a:rPr>
              <a:t>replacement of</a:t>
            </a:r>
            <a:r>
              <a:rPr lang="en-US" sz="2800" spc="5" dirty="0">
                <a:effectLst/>
                <a:latin typeface="Arial MT"/>
                <a:ea typeface="Arial MT"/>
                <a:cs typeface="Arial MT"/>
              </a:rPr>
              <a:t> </a:t>
            </a:r>
            <a:r>
              <a:rPr lang="en-US" sz="2800" dirty="0">
                <a:effectLst/>
                <a:latin typeface="Arial MT"/>
                <a:ea typeface="Arial MT"/>
                <a:cs typeface="Arial MT"/>
              </a:rPr>
              <a:t>raw materials is aimed at</a:t>
            </a:r>
            <a:r>
              <a:rPr lang="en-US" sz="2800" spc="5" dirty="0">
                <a:effectLst/>
                <a:latin typeface="Arial MT"/>
                <a:ea typeface="Arial MT"/>
                <a:cs typeface="Arial MT"/>
              </a:rPr>
              <a:t> </a:t>
            </a:r>
            <a:r>
              <a:rPr lang="en-US" sz="2800" dirty="0">
                <a:effectLst/>
                <a:latin typeface="Arial MT"/>
                <a:ea typeface="Arial MT"/>
                <a:cs typeface="Arial MT"/>
              </a:rPr>
              <a:t>decarbonizing the process, without compromising its </a:t>
            </a:r>
            <a:r>
              <a:rPr lang="en-US" sz="2800" dirty="0">
                <a:latin typeface="Arial MT"/>
              </a:rPr>
              <a:t>energy efficiency, nor the quality of the product. The selection of scrap is driven by two key factors: the results of the liquid steel analysis carried out on samples of the previous batches and economic considerations. Information concerning these two aspects will be provided to the Decision Support System (DSS) by two different Production Chain (PC) models, i.e. the “quality model” and the “feeding model”, respectively. The DSS will orchestrate such information to select the most suitable mixture of scrap. The Digital Twin (DT) is meant to simulate the reactions occurring in the Electric Arc Furnace (EAF). </a:t>
            </a:r>
          </a:p>
          <a:p>
            <a:pPr marL="0" marR="715645" lvl="2" indent="457200" algn="just">
              <a:lnSpc>
                <a:spcPct val="100000"/>
              </a:lnSpc>
              <a:spcAft>
                <a:spcPts val="0"/>
              </a:spcAft>
              <a:buSzPts val="1100"/>
              <a:buFont typeface="Symbol" panose="05050102010706020507" pitchFamily="18" charset="2"/>
              <a:buNone/>
              <a:tabLst>
                <a:tab pos="1173480" algn="l"/>
              </a:tabLst>
            </a:pPr>
            <a:endParaRPr lang="en-US" sz="2800" dirty="0">
              <a:latin typeface="Arial MT"/>
            </a:endParaRPr>
          </a:p>
          <a:p>
            <a:pPr marR="714375" indent="457200" algn="just"/>
            <a:r>
              <a:rPr lang="en-US" sz="2800" b="1" dirty="0">
                <a:latin typeface="Arial MT"/>
              </a:rPr>
              <a:t>Production Chain (PC): </a:t>
            </a:r>
            <a:r>
              <a:rPr lang="en-US" sz="2800" dirty="0">
                <a:latin typeface="Arial MT"/>
              </a:rPr>
              <a:t>Models that represent processes that are upstream or downstream of the core processes are referred to as “production chain” (PC) models</a:t>
            </a:r>
          </a:p>
          <a:p>
            <a:pPr marL="0" marR="714375" indent="457200" algn="just">
              <a:lnSpc>
                <a:spcPct val="100000"/>
              </a:lnSpc>
              <a:spcBef>
                <a:spcPts val="0"/>
              </a:spcBef>
              <a:spcAft>
                <a:spcPts val="0"/>
              </a:spcAft>
            </a:pPr>
            <a:endParaRPr lang="sv-S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4DB91F-1AD8-437C-8866-3636784D085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8758108"/>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710565" indent="228600">
              <a:lnSpc>
                <a:spcPct val="100000"/>
              </a:lnSpc>
              <a:spcAft>
                <a:spcPts val="0"/>
              </a:spcAft>
            </a:pPr>
            <a:r>
              <a:rPr lang="en-US" sz="1100">
                <a:effectLst/>
                <a:latin typeface="Arial MT"/>
                <a:ea typeface="Symbol" panose="05050102010706020507" pitchFamily="18" charset="2"/>
                <a:cs typeface="Symbol" panose="05050102010706020507" pitchFamily="18" charset="2"/>
              </a:rPr>
              <a:t>The RETROFEED project at </a:t>
            </a:r>
            <a:r>
              <a:rPr lang="en-US" sz="1100" kern="1200">
                <a:solidFill>
                  <a:schemeClr val="tx1"/>
                </a:solidFill>
                <a:effectLst/>
                <a:latin typeface="Arial MT"/>
                <a:ea typeface="Arial MT"/>
                <a:cs typeface="Arial MT"/>
              </a:rPr>
              <a:t>FERTIBERIA</a:t>
            </a:r>
            <a:r>
              <a:rPr lang="en-US" sz="1800" i="1">
                <a:solidFill>
                  <a:srgbClr val="3E3E3E"/>
                </a:solidFill>
                <a:effectLst/>
                <a:latin typeface="Times New Roman" panose="02020603050405020304" pitchFamily="18" charset="0"/>
                <a:ea typeface="Arial MT"/>
                <a:cs typeface="Arial MT"/>
              </a:rPr>
              <a:t> </a:t>
            </a:r>
            <a:r>
              <a:rPr lang="en-US" sz="1100">
                <a:effectLst/>
                <a:latin typeface="Arial MT"/>
                <a:ea typeface="Symbol" panose="05050102010706020507" pitchFamily="18" charset="2"/>
                <a:cs typeface="Symbol" panose="05050102010706020507" pitchFamily="18" charset="2"/>
              </a:rPr>
              <a:t>demo-site will focus on the </a:t>
            </a:r>
            <a:r>
              <a:rPr lang="en-US" sz="1800">
                <a:effectLst/>
                <a:latin typeface="Arial MT"/>
                <a:ea typeface="Arial MT"/>
                <a:cs typeface="Arial MT"/>
              </a:rPr>
              <a:t>operation</a:t>
            </a:r>
            <a:r>
              <a:rPr lang="en-US" sz="1800" spc="-20">
                <a:effectLst/>
                <a:latin typeface="Arial MT"/>
                <a:ea typeface="Arial MT"/>
                <a:cs typeface="Arial MT"/>
              </a:rPr>
              <a:t> </a:t>
            </a:r>
            <a:r>
              <a:rPr lang="en-US" sz="1800">
                <a:effectLst/>
                <a:latin typeface="Arial MT"/>
                <a:ea typeface="Arial MT"/>
                <a:cs typeface="Arial MT"/>
              </a:rPr>
              <a:t>with</a:t>
            </a:r>
            <a:r>
              <a:rPr lang="en-US" sz="1800" spc="-15">
                <a:effectLst/>
                <a:latin typeface="Arial MT"/>
                <a:ea typeface="Arial MT"/>
                <a:cs typeface="Arial MT"/>
              </a:rPr>
              <a:t> </a:t>
            </a:r>
            <a:r>
              <a:rPr lang="en-US" sz="1800">
                <a:effectLst/>
                <a:latin typeface="Arial MT"/>
                <a:ea typeface="Arial MT"/>
                <a:cs typeface="Arial MT"/>
              </a:rPr>
              <a:t>increasingly </a:t>
            </a:r>
            <a:r>
              <a:rPr lang="en-US" sz="1800" spc="-295">
                <a:effectLst/>
                <a:latin typeface="Arial MT"/>
                <a:ea typeface="Arial MT"/>
                <a:cs typeface="Arial MT"/>
              </a:rPr>
              <a:t> </a:t>
            </a:r>
            <a:r>
              <a:rPr lang="en-US" sz="1800">
                <a:effectLst/>
                <a:latin typeface="Arial MT"/>
                <a:ea typeface="Arial MT"/>
                <a:cs typeface="Arial MT"/>
              </a:rPr>
              <a:t>variable</a:t>
            </a:r>
            <a:r>
              <a:rPr lang="en-US" sz="1800" spc="265">
                <a:effectLst/>
                <a:latin typeface="Arial MT"/>
                <a:ea typeface="Arial MT"/>
                <a:cs typeface="Arial MT"/>
              </a:rPr>
              <a:t> </a:t>
            </a:r>
            <a:r>
              <a:rPr lang="en-US" sz="1800">
                <a:effectLst/>
                <a:latin typeface="Arial MT"/>
                <a:ea typeface="Arial MT"/>
                <a:cs typeface="Arial MT"/>
              </a:rPr>
              <a:t>sources</a:t>
            </a:r>
            <a:r>
              <a:rPr lang="en-US" sz="1800" spc="255">
                <a:effectLst/>
                <a:latin typeface="Arial MT"/>
                <a:ea typeface="Arial MT"/>
                <a:cs typeface="Arial MT"/>
              </a:rPr>
              <a:t> </a:t>
            </a:r>
            <a:r>
              <a:rPr lang="en-US" sz="1800">
                <a:effectLst/>
                <a:latin typeface="Arial MT"/>
                <a:ea typeface="Arial MT"/>
                <a:cs typeface="Arial MT"/>
              </a:rPr>
              <a:t>of phosphorus:</a:t>
            </a:r>
            <a:r>
              <a:rPr lang="en-US" sz="1800" spc="235">
                <a:effectLst/>
                <a:latin typeface="Arial MT"/>
                <a:ea typeface="Arial MT"/>
                <a:cs typeface="Arial MT"/>
              </a:rPr>
              <a:t> </a:t>
            </a:r>
            <a:r>
              <a:rPr lang="en-US" sz="1800">
                <a:effectLst/>
                <a:latin typeface="Arial MT"/>
                <a:ea typeface="Arial MT"/>
                <a:cs typeface="Arial MT"/>
              </a:rPr>
              <a:t>ashes</a:t>
            </a:r>
            <a:r>
              <a:rPr lang="en-US" sz="1800" spc="230">
                <a:effectLst/>
                <a:latin typeface="Arial MT"/>
                <a:ea typeface="Arial MT"/>
                <a:cs typeface="Arial MT"/>
              </a:rPr>
              <a:t> </a:t>
            </a:r>
            <a:r>
              <a:rPr lang="en-US" sz="1800">
                <a:effectLst/>
                <a:latin typeface="Arial MT"/>
                <a:ea typeface="Arial MT"/>
                <a:cs typeface="Arial MT"/>
              </a:rPr>
              <a:t>and</a:t>
            </a:r>
            <a:r>
              <a:rPr lang="en-US" sz="1800" spc="240">
                <a:effectLst/>
                <a:latin typeface="Arial MT"/>
                <a:ea typeface="Arial MT"/>
                <a:cs typeface="Arial MT"/>
              </a:rPr>
              <a:t> </a:t>
            </a:r>
            <a:r>
              <a:rPr lang="en-US" sz="1800">
                <a:effectLst/>
                <a:latin typeface="Arial MT"/>
                <a:ea typeface="Arial MT"/>
                <a:cs typeface="Arial MT"/>
              </a:rPr>
              <a:t>struvite.</a:t>
            </a:r>
            <a:r>
              <a:rPr lang="en-US" sz="1800" spc="235">
                <a:effectLst/>
                <a:latin typeface="Arial MT"/>
                <a:ea typeface="Arial MT"/>
                <a:cs typeface="Arial MT"/>
              </a:rPr>
              <a:t> </a:t>
            </a:r>
            <a:r>
              <a:rPr lang="en-US" sz="1800">
                <a:effectLst/>
                <a:latin typeface="Arial MT"/>
                <a:ea typeface="Arial MT"/>
                <a:cs typeface="Arial MT"/>
              </a:rPr>
              <a:t>The</a:t>
            </a:r>
            <a:r>
              <a:rPr lang="en-US" sz="1800" spc="245">
                <a:effectLst/>
                <a:latin typeface="Arial MT"/>
                <a:ea typeface="Arial MT"/>
                <a:cs typeface="Arial MT"/>
              </a:rPr>
              <a:t> </a:t>
            </a:r>
            <a:r>
              <a:rPr lang="en-US" sz="1800">
                <a:effectLst/>
                <a:latin typeface="Arial MT"/>
                <a:ea typeface="Arial MT"/>
                <a:cs typeface="Arial MT"/>
              </a:rPr>
              <a:t>usage</a:t>
            </a:r>
            <a:r>
              <a:rPr lang="en-US" sz="1800" spc="265">
                <a:effectLst/>
                <a:latin typeface="Arial MT"/>
                <a:ea typeface="Arial MT"/>
                <a:cs typeface="Arial MT"/>
              </a:rPr>
              <a:t> </a:t>
            </a:r>
            <a:r>
              <a:rPr lang="en-US" sz="1800">
                <a:effectLst/>
                <a:latin typeface="Arial MT"/>
                <a:ea typeface="Arial MT"/>
                <a:cs typeface="Arial MT"/>
              </a:rPr>
              <a:t>of</a:t>
            </a:r>
            <a:r>
              <a:rPr lang="en-US" sz="1800" spc="235">
                <a:effectLst/>
                <a:latin typeface="Arial MT"/>
                <a:ea typeface="Arial MT"/>
                <a:cs typeface="Arial MT"/>
              </a:rPr>
              <a:t> </a:t>
            </a:r>
            <a:r>
              <a:rPr lang="en-US" sz="1800">
                <a:effectLst/>
                <a:latin typeface="Arial MT"/>
                <a:ea typeface="Arial MT"/>
                <a:cs typeface="Arial MT"/>
              </a:rPr>
              <a:t>ashes</a:t>
            </a:r>
            <a:r>
              <a:rPr lang="en-US" sz="1800" spc="255">
                <a:effectLst/>
                <a:latin typeface="Arial MT"/>
                <a:ea typeface="Arial MT"/>
                <a:cs typeface="Arial MT"/>
              </a:rPr>
              <a:t> </a:t>
            </a:r>
            <a:r>
              <a:rPr lang="en-US" sz="1800">
                <a:effectLst/>
                <a:latin typeface="Arial MT"/>
                <a:ea typeface="Arial MT"/>
                <a:cs typeface="Arial MT"/>
              </a:rPr>
              <a:t>in</a:t>
            </a:r>
            <a:r>
              <a:rPr lang="en-US" sz="1800" spc="260">
                <a:effectLst/>
                <a:latin typeface="Arial MT"/>
                <a:ea typeface="Arial MT"/>
                <a:cs typeface="Arial MT"/>
              </a:rPr>
              <a:t> </a:t>
            </a:r>
            <a:r>
              <a:rPr lang="en-US" sz="1800">
                <a:effectLst/>
                <a:latin typeface="Arial MT"/>
                <a:ea typeface="Arial MT"/>
                <a:cs typeface="Arial MT"/>
              </a:rPr>
              <a:t>which</a:t>
            </a:r>
            <a:r>
              <a:rPr lang="en-US" sz="1800" spc="240">
                <a:effectLst/>
                <a:latin typeface="Arial MT"/>
                <a:ea typeface="Arial MT"/>
                <a:cs typeface="Arial MT"/>
              </a:rPr>
              <a:t> </a:t>
            </a:r>
            <a:r>
              <a:rPr lang="en-US" sz="1800">
                <a:effectLst/>
                <a:latin typeface="Arial MT"/>
                <a:ea typeface="Arial MT"/>
                <a:cs typeface="Arial MT"/>
              </a:rPr>
              <a:t>the phosphates</a:t>
            </a:r>
            <a:r>
              <a:rPr lang="en-US" sz="1800" spc="180">
                <a:effectLst/>
                <a:latin typeface="Arial MT"/>
                <a:ea typeface="Arial MT"/>
                <a:cs typeface="Arial MT"/>
              </a:rPr>
              <a:t> </a:t>
            </a:r>
            <a:r>
              <a:rPr lang="en-US" sz="1800">
                <a:effectLst/>
                <a:latin typeface="Arial MT"/>
                <a:ea typeface="Arial MT"/>
                <a:cs typeface="Arial MT"/>
              </a:rPr>
              <a:t>are</a:t>
            </a:r>
            <a:r>
              <a:rPr lang="en-US" sz="1800" spc="190">
                <a:effectLst/>
                <a:latin typeface="Arial MT"/>
                <a:ea typeface="Arial MT"/>
                <a:cs typeface="Arial MT"/>
              </a:rPr>
              <a:t> </a:t>
            </a:r>
            <a:r>
              <a:rPr lang="en-US" sz="1800">
                <a:effectLst/>
                <a:latin typeface="Arial MT"/>
                <a:ea typeface="Arial MT"/>
                <a:cs typeface="Arial MT"/>
              </a:rPr>
              <a:t>in</a:t>
            </a:r>
            <a:r>
              <a:rPr lang="en-US" sz="1800" spc="190">
                <a:effectLst/>
                <a:latin typeface="Arial MT"/>
                <a:ea typeface="Arial MT"/>
                <a:cs typeface="Arial MT"/>
              </a:rPr>
              <a:t> </a:t>
            </a:r>
            <a:r>
              <a:rPr lang="en-US" sz="1800">
                <a:effectLst/>
                <a:latin typeface="Arial MT"/>
                <a:ea typeface="Arial MT"/>
                <a:cs typeface="Arial MT"/>
              </a:rPr>
              <a:t>insoluble</a:t>
            </a:r>
            <a:r>
              <a:rPr lang="en-US" sz="1800" spc="190">
                <a:effectLst/>
                <a:latin typeface="Arial MT"/>
                <a:ea typeface="Arial MT"/>
                <a:cs typeface="Arial MT"/>
              </a:rPr>
              <a:t> </a:t>
            </a:r>
            <a:r>
              <a:rPr lang="en-US" sz="1800">
                <a:effectLst/>
                <a:latin typeface="Arial MT"/>
                <a:ea typeface="Arial MT"/>
                <a:cs typeface="Arial MT"/>
              </a:rPr>
              <a:t>form</a:t>
            </a:r>
            <a:r>
              <a:rPr lang="en-US" sz="1800" spc="195">
                <a:effectLst/>
                <a:latin typeface="Arial MT"/>
                <a:ea typeface="Arial MT"/>
                <a:cs typeface="Arial MT"/>
              </a:rPr>
              <a:t> </a:t>
            </a:r>
            <a:r>
              <a:rPr lang="en-US" sz="1800">
                <a:effectLst/>
                <a:latin typeface="Arial MT"/>
                <a:ea typeface="Arial MT"/>
                <a:cs typeface="Arial MT"/>
              </a:rPr>
              <a:t>poses</a:t>
            </a:r>
            <a:r>
              <a:rPr lang="en-US" sz="1800" spc="185">
                <a:effectLst/>
                <a:latin typeface="Arial MT"/>
                <a:ea typeface="Arial MT"/>
                <a:cs typeface="Arial MT"/>
              </a:rPr>
              <a:t> </a:t>
            </a:r>
            <a:r>
              <a:rPr lang="en-US" sz="1800">
                <a:effectLst/>
                <a:latin typeface="Arial MT"/>
                <a:ea typeface="Arial MT"/>
                <a:cs typeface="Arial MT"/>
              </a:rPr>
              <a:t>a</a:t>
            </a:r>
            <a:r>
              <a:rPr lang="en-US" sz="1800" spc="170">
                <a:effectLst/>
                <a:latin typeface="Arial MT"/>
                <a:ea typeface="Arial MT"/>
                <a:cs typeface="Arial MT"/>
              </a:rPr>
              <a:t> </a:t>
            </a:r>
            <a:r>
              <a:rPr lang="en-US" sz="1800">
                <a:effectLst/>
                <a:latin typeface="Arial MT"/>
                <a:ea typeface="Arial MT"/>
                <a:cs typeface="Arial MT"/>
              </a:rPr>
              <a:t>problem:</a:t>
            </a:r>
            <a:r>
              <a:rPr lang="en-US" sz="1800" spc="210">
                <a:effectLst/>
                <a:latin typeface="Arial MT"/>
                <a:ea typeface="Arial MT"/>
                <a:cs typeface="Arial MT"/>
              </a:rPr>
              <a:t> </a:t>
            </a:r>
            <a:r>
              <a:rPr lang="en-US" sz="1800">
                <a:effectLst/>
                <a:latin typeface="Arial MT"/>
                <a:ea typeface="Arial MT"/>
                <a:cs typeface="Arial MT"/>
              </a:rPr>
              <a:t>to</a:t>
            </a:r>
            <a:r>
              <a:rPr lang="en-US" sz="1800" spc="190">
                <a:effectLst/>
                <a:latin typeface="Arial MT"/>
                <a:ea typeface="Arial MT"/>
                <a:cs typeface="Arial MT"/>
              </a:rPr>
              <a:t> </a:t>
            </a:r>
            <a:r>
              <a:rPr lang="en-US" sz="1800">
                <a:effectLst/>
                <a:latin typeface="Arial MT"/>
                <a:ea typeface="Arial MT"/>
                <a:cs typeface="Arial MT"/>
              </a:rPr>
              <a:t>be</a:t>
            </a:r>
            <a:r>
              <a:rPr lang="en-US" sz="1800" spc="215">
                <a:effectLst/>
                <a:latin typeface="Arial MT"/>
                <a:ea typeface="Arial MT"/>
                <a:cs typeface="Arial MT"/>
              </a:rPr>
              <a:t> </a:t>
            </a:r>
            <a:r>
              <a:rPr lang="en-US" sz="1800">
                <a:effectLst/>
                <a:latin typeface="Arial MT"/>
                <a:ea typeface="Arial MT"/>
                <a:cs typeface="Arial MT"/>
              </a:rPr>
              <a:t>incorporated</a:t>
            </a:r>
            <a:r>
              <a:rPr lang="en-US" sz="1800" spc="190">
                <a:effectLst/>
                <a:latin typeface="Arial MT"/>
                <a:ea typeface="Arial MT"/>
                <a:cs typeface="Arial MT"/>
              </a:rPr>
              <a:t> </a:t>
            </a:r>
            <a:r>
              <a:rPr lang="en-US" sz="1800">
                <a:effectLst/>
                <a:latin typeface="Arial MT"/>
                <a:ea typeface="Arial MT"/>
                <a:cs typeface="Arial MT"/>
              </a:rPr>
              <a:t>into</a:t>
            </a:r>
            <a:r>
              <a:rPr lang="en-US" sz="1800" spc="190">
                <a:effectLst/>
                <a:latin typeface="Arial MT"/>
                <a:ea typeface="Arial MT"/>
                <a:cs typeface="Arial MT"/>
              </a:rPr>
              <a:t> </a:t>
            </a:r>
            <a:r>
              <a:rPr lang="en-US" sz="1800">
                <a:effectLst/>
                <a:latin typeface="Arial MT"/>
                <a:ea typeface="Arial MT"/>
                <a:cs typeface="Arial MT"/>
              </a:rPr>
              <a:t>the</a:t>
            </a:r>
            <a:r>
              <a:rPr lang="en-US" sz="1800" spc="190">
                <a:effectLst/>
                <a:latin typeface="Arial MT"/>
                <a:ea typeface="Arial MT"/>
                <a:cs typeface="Arial MT"/>
              </a:rPr>
              <a:t> </a:t>
            </a:r>
            <a:r>
              <a:rPr lang="en-US" sz="1800">
                <a:effectLst/>
                <a:latin typeface="Arial MT"/>
                <a:ea typeface="Arial MT"/>
                <a:cs typeface="Arial MT"/>
              </a:rPr>
              <a:t>fertilizer granules,</a:t>
            </a:r>
            <a:r>
              <a:rPr lang="en-US" sz="1800" spc="-50">
                <a:effectLst/>
                <a:latin typeface="Arial MT"/>
                <a:ea typeface="Arial MT"/>
                <a:cs typeface="Arial MT"/>
              </a:rPr>
              <a:t> </a:t>
            </a:r>
            <a:r>
              <a:rPr lang="en-US" sz="1800">
                <a:effectLst/>
                <a:latin typeface="Arial MT"/>
                <a:ea typeface="Arial MT"/>
                <a:cs typeface="Arial MT"/>
              </a:rPr>
              <a:t>phosphates</a:t>
            </a:r>
            <a:r>
              <a:rPr lang="en-US" sz="1800" spc="-30">
                <a:effectLst/>
                <a:latin typeface="Arial MT"/>
                <a:ea typeface="Arial MT"/>
                <a:cs typeface="Arial MT"/>
              </a:rPr>
              <a:t> </a:t>
            </a:r>
            <a:r>
              <a:rPr lang="en-US" sz="1800">
                <a:effectLst/>
                <a:latin typeface="Arial MT"/>
                <a:ea typeface="Arial MT"/>
                <a:cs typeface="Arial MT"/>
              </a:rPr>
              <a:t>need</a:t>
            </a:r>
            <a:r>
              <a:rPr lang="en-US" sz="1800" spc="-25">
                <a:effectLst/>
                <a:latin typeface="Arial MT"/>
                <a:ea typeface="Arial MT"/>
                <a:cs typeface="Arial MT"/>
              </a:rPr>
              <a:t> </a:t>
            </a:r>
            <a:r>
              <a:rPr lang="en-US" sz="1800">
                <a:effectLst/>
                <a:latin typeface="Arial MT"/>
                <a:ea typeface="Arial MT"/>
                <a:cs typeface="Arial MT"/>
              </a:rPr>
              <a:t>to</a:t>
            </a:r>
            <a:r>
              <a:rPr lang="en-US" sz="1800" spc="-45">
                <a:effectLst/>
                <a:latin typeface="Arial MT"/>
                <a:ea typeface="Arial MT"/>
                <a:cs typeface="Arial MT"/>
              </a:rPr>
              <a:t> </a:t>
            </a:r>
            <a:r>
              <a:rPr lang="en-US" sz="1800">
                <a:effectLst/>
                <a:latin typeface="Arial MT"/>
                <a:ea typeface="Arial MT"/>
                <a:cs typeface="Arial MT"/>
              </a:rPr>
              <a:t>be</a:t>
            </a:r>
            <a:r>
              <a:rPr lang="en-US" sz="1800" spc="-45">
                <a:effectLst/>
                <a:latin typeface="Arial MT"/>
                <a:ea typeface="Arial MT"/>
                <a:cs typeface="Arial MT"/>
              </a:rPr>
              <a:t> </a:t>
            </a:r>
            <a:r>
              <a:rPr lang="en-US" sz="1800">
                <a:effectLst/>
                <a:latin typeface="Arial MT"/>
                <a:ea typeface="Arial MT"/>
                <a:cs typeface="Arial MT"/>
              </a:rPr>
              <a:t>solubilized,</a:t>
            </a:r>
            <a:r>
              <a:rPr lang="en-US" sz="1800" spc="-25">
                <a:effectLst/>
                <a:latin typeface="Arial MT"/>
                <a:ea typeface="Arial MT"/>
                <a:cs typeface="Arial MT"/>
              </a:rPr>
              <a:t> </a:t>
            </a:r>
            <a:r>
              <a:rPr lang="en-US" sz="1800">
                <a:effectLst/>
                <a:latin typeface="Arial MT"/>
                <a:ea typeface="Arial MT"/>
                <a:cs typeface="Arial MT"/>
              </a:rPr>
              <a:t>which</a:t>
            </a:r>
            <a:r>
              <a:rPr lang="en-US" sz="1800" spc="-20">
                <a:effectLst/>
                <a:latin typeface="Arial MT"/>
                <a:ea typeface="Arial MT"/>
                <a:cs typeface="Arial MT"/>
              </a:rPr>
              <a:t> </a:t>
            </a:r>
            <a:r>
              <a:rPr lang="en-US" sz="1800">
                <a:effectLst/>
                <a:latin typeface="Arial MT"/>
                <a:ea typeface="Arial MT"/>
                <a:cs typeface="Arial MT"/>
              </a:rPr>
              <a:t>requires</a:t>
            </a:r>
            <a:r>
              <a:rPr lang="en-US" sz="1800" spc="-30">
                <a:effectLst/>
                <a:latin typeface="Arial MT"/>
                <a:ea typeface="Arial MT"/>
                <a:cs typeface="Arial MT"/>
              </a:rPr>
              <a:t> </a:t>
            </a:r>
            <a:r>
              <a:rPr lang="en-US" sz="1800">
                <a:effectLst/>
                <a:latin typeface="Arial MT"/>
                <a:ea typeface="Arial MT"/>
                <a:cs typeface="Arial MT"/>
              </a:rPr>
              <a:t>a</a:t>
            </a:r>
            <a:r>
              <a:rPr lang="en-US" sz="1800" spc="-45">
                <a:effectLst/>
                <a:latin typeface="Arial MT"/>
                <a:ea typeface="Arial MT"/>
                <a:cs typeface="Arial MT"/>
              </a:rPr>
              <a:t> </a:t>
            </a:r>
            <a:r>
              <a:rPr lang="en-US" sz="1800">
                <a:effectLst/>
                <a:latin typeface="Arial MT"/>
                <a:ea typeface="Arial MT"/>
                <a:cs typeface="Arial MT"/>
              </a:rPr>
              <a:t>significant</a:t>
            </a:r>
            <a:r>
              <a:rPr lang="en-US" sz="1800" spc="-25">
                <a:effectLst/>
                <a:latin typeface="Arial MT"/>
                <a:ea typeface="Arial MT"/>
                <a:cs typeface="Arial MT"/>
              </a:rPr>
              <a:t> </a:t>
            </a:r>
            <a:r>
              <a:rPr lang="en-US" sz="1800">
                <a:effectLst/>
                <a:latin typeface="Arial MT"/>
                <a:ea typeface="Arial MT"/>
                <a:cs typeface="Arial MT"/>
              </a:rPr>
              <a:t>amount</a:t>
            </a:r>
            <a:r>
              <a:rPr lang="en-US" sz="1800" spc="-25">
                <a:effectLst/>
                <a:latin typeface="Arial MT"/>
                <a:ea typeface="Arial MT"/>
                <a:cs typeface="Arial MT"/>
              </a:rPr>
              <a:t> </a:t>
            </a:r>
            <a:r>
              <a:rPr lang="en-US" sz="1800">
                <a:effectLst/>
                <a:latin typeface="Arial MT"/>
                <a:ea typeface="Arial MT"/>
                <a:cs typeface="Arial MT"/>
              </a:rPr>
              <a:t>of</a:t>
            </a:r>
            <a:r>
              <a:rPr lang="en-US" sz="1800" spc="-25">
                <a:effectLst/>
                <a:latin typeface="Arial MT"/>
                <a:ea typeface="Arial MT"/>
                <a:cs typeface="Arial MT"/>
              </a:rPr>
              <a:t> </a:t>
            </a:r>
            <a:r>
              <a:rPr lang="en-US" sz="1800">
                <a:effectLst/>
                <a:latin typeface="Arial MT"/>
                <a:ea typeface="Arial MT"/>
                <a:cs typeface="Arial MT"/>
              </a:rPr>
              <a:t>heat.</a:t>
            </a:r>
            <a:r>
              <a:rPr lang="en-US" sz="1800" spc="-25">
                <a:effectLst/>
                <a:latin typeface="Arial MT"/>
                <a:ea typeface="Arial MT"/>
                <a:cs typeface="Arial MT"/>
              </a:rPr>
              <a:t> </a:t>
            </a:r>
            <a:r>
              <a:rPr lang="en-US" sz="1800">
                <a:effectLst/>
                <a:latin typeface="Arial MT"/>
                <a:ea typeface="Arial MT"/>
                <a:cs typeface="Arial MT"/>
              </a:rPr>
              <a:t>To</a:t>
            </a:r>
            <a:r>
              <a:rPr lang="en-US" sz="1800" spc="-295">
                <a:effectLst/>
                <a:latin typeface="Arial MT"/>
                <a:ea typeface="Arial MT"/>
                <a:cs typeface="Arial MT"/>
              </a:rPr>
              <a:t>  </a:t>
            </a:r>
            <a:r>
              <a:rPr lang="en-US" sz="1800">
                <a:effectLst/>
                <a:latin typeface="Arial MT"/>
                <a:ea typeface="Arial MT"/>
                <a:cs typeface="Arial MT"/>
              </a:rPr>
              <a:t>this aim, the tubular reactor, that supplies heat to the reaction occurring in the granulator by</a:t>
            </a:r>
            <a:r>
              <a:rPr lang="en-US" sz="1800" spc="-295">
                <a:effectLst/>
                <a:latin typeface="Arial MT"/>
                <a:ea typeface="Arial MT"/>
                <a:cs typeface="Arial MT"/>
              </a:rPr>
              <a:t> </a:t>
            </a:r>
            <a:r>
              <a:rPr lang="en-US" sz="1800" spc="-5">
                <a:effectLst/>
                <a:latin typeface="Arial MT"/>
                <a:ea typeface="Arial MT"/>
                <a:cs typeface="Arial MT"/>
              </a:rPr>
              <a:t>reacting</a:t>
            </a:r>
            <a:r>
              <a:rPr lang="en-US" sz="1800" spc="-70">
                <a:effectLst/>
                <a:latin typeface="Arial MT"/>
                <a:ea typeface="Arial MT"/>
                <a:cs typeface="Arial MT"/>
              </a:rPr>
              <a:t> </a:t>
            </a:r>
            <a:r>
              <a:rPr lang="en-US" sz="1800" spc="-5">
                <a:effectLst/>
                <a:latin typeface="Arial MT"/>
                <a:ea typeface="Arial MT"/>
                <a:cs typeface="Arial MT"/>
              </a:rPr>
              <a:t>ammonia</a:t>
            </a:r>
            <a:r>
              <a:rPr lang="en-US" sz="1800" spc="-40">
                <a:effectLst/>
                <a:latin typeface="Arial MT"/>
                <a:ea typeface="Arial MT"/>
                <a:cs typeface="Arial MT"/>
              </a:rPr>
              <a:t> </a:t>
            </a:r>
            <a:r>
              <a:rPr lang="en-US" sz="1800" spc="-5">
                <a:effectLst/>
                <a:latin typeface="Arial MT"/>
                <a:ea typeface="Arial MT"/>
                <a:cs typeface="Arial MT"/>
              </a:rPr>
              <a:t>with</a:t>
            </a:r>
            <a:r>
              <a:rPr lang="en-US" sz="1800" spc="-65">
                <a:effectLst/>
                <a:latin typeface="Arial MT"/>
                <a:ea typeface="Arial MT"/>
                <a:cs typeface="Arial MT"/>
              </a:rPr>
              <a:t> </a:t>
            </a:r>
            <a:r>
              <a:rPr lang="en-US" sz="1800">
                <a:effectLst/>
                <a:latin typeface="Arial MT"/>
                <a:ea typeface="Arial MT"/>
                <a:cs typeface="Arial MT"/>
              </a:rPr>
              <a:t>phosphoric</a:t>
            </a:r>
            <a:r>
              <a:rPr lang="en-US" sz="1800" spc="-50">
                <a:effectLst/>
                <a:latin typeface="Arial MT"/>
                <a:ea typeface="Arial MT"/>
                <a:cs typeface="Arial MT"/>
              </a:rPr>
              <a:t> </a:t>
            </a:r>
            <a:r>
              <a:rPr lang="en-US" sz="1800">
                <a:effectLst/>
                <a:latin typeface="Arial MT"/>
                <a:ea typeface="Arial MT"/>
                <a:cs typeface="Arial MT"/>
              </a:rPr>
              <a:t>acid,</a:t>
            </a:r>
            <a:r>
              <a:rPr lang="en-US" sz="1800" spc="-50">
                <a:effectLst/>
                <a:latin typeface="Arial MT"/>
                <a:ea typeface="Arial MT"/>
                <a:cs typeface="Arial MT"/>
              </a:rPr>
              <a:t> </a:t>
            </a:r>
            <a:r>
              <a:rPr lang="en-US" sz="1800">
                <a:effectLst/>
                <a:latin typeface="Arial MT"/>
                <a:ea typeface="Arial MT"/>
                <a:cs typeface="Arial MT"/>
              </a:rPr>
              <a:t>will</a:t>
            </a:r>
            <a:r>
              <a:rPr lang="en-US" sz="1800" spc="-55">
                <a:effectLst/>
                <a:latin typeface="Arial MT"/>
                <a:ea typeface="Arial MT"/>
                <a:cs typeface="Arial MT"/>
              </a:rPr>
              <a:t> </a:t>
            </a:r>
            <a:r>
              <a:rPr lang="en-US" sz="1800">
                <a:effectLst/>
                <a:latin typeface="Arial MT"/>
                <a:ea typeface="Arial MT"/>
                <a:cs typeface="Arial MT"/>
              </a:rPr>
              <a:t>be</a:t>
            </a:r>
            <a:r>
              <a:rPr lang="en-US" sz="1800" spc="-65">
                <a:effectLst/>
                <a:latin typeface="Arial MT"/>
                <a:ea typeface="Arial MT"/>
                <a:cs typeface="Arial MT"/>
              </a:rPr>
              <a:t> </a:t>
            </a:r>
            <a:r>
              <a:rPr lang="en-US" sz="1800">
                <a:effectLst/>
                <a:latin typeface="Arial MT"/>
                <a:ea typeface="Arial MT"/>
                <a:cs typeface="Arial MT"/>
              </a:rPr>
              <a:t>substituted</a:t>
            </a:r>
            <a:r>
              <a:rPr lang="en-US" sz="1800" spc="-65">
                <a:effectLst/>
                <a:latin typeface="Arial MT"/>
                <a:ea typeface="Arial MT"/>
                <a:cs typeface="Arial MT"/>
              </a:rPr>
              <a:t> </a:t>
            </a:r>
            <a:r>
              <a:rPr lang="en-US" sz="1800">
                <a:effectLst/>
                <a:latin typeface="Arial MT"/>
                <a:ea typeface="Arial MT"/>
                <a:cs typeface="Arial MT"/>
              </a:rPr>
              <a:t>by</a:t>
            </a:r>
            <a:r>
              <a:rPr lang="en-US" sz="1800" spc="-75">
                <a:effectLst/>
                <a:latin typeface="Arial MT"/>
                <a:ea typeface="Arial MT"/>
                <a:cs typeface="Arial MT"/>
              </a:rPr>
              <a:t> </a:t>
            </a:r>
            <a:r>
              <a:rPr lang="en-US" sz="1800">
                <a:effectLst/>
                <a:latin typeface="Arial MT"/>
                <a:ea typeface="Arial MT"/>
                <a:cs typeface="Arial MT"/>
              </a:rPr>
              <a:t>a</a:t>
            </a:r>
            <a:r>
              <a:rPr lang="en-US" sz="1800" spc="-45">
                <a:effectLst/>
                <a:latin typeface="Arial MT"/>
                <a:ea typeface="Arial MT"/>
                <a:cs typeface="Arial MT"/>
              </a:rPr>
              <a:t> </a:t>
            </a:r>
            <a:r>
              <a:rPr lang="en-US" sz="1800">
                <a:effectLst/>
                <a:latin typeface="Arial MT"/>
                <a:ea typeface="Arial MT"/>
                <a:cs typeface="Arial MT"/>
              </a:rPr>
              <a:t>new</a:t>
            </a:r>
            <a:r>
              <a:rPr lang="en-US" sz="1800" spc="-55">
                <a:effectLst/>
                <a:latin typeface="Arial MT"/>
                <a:ea typeface="Arial MT"/>
                <a:cs typeface="Arial MT"/>
              </a:rPr>
              <a:t> </a:t>
            </a:r>
            <a:r>
              <a:rPr lang="en-US" sz="1800">
                <a:effectLst/>
                <a:latin typeface="Arial MT"/>
                <a:ea typeface="Arial MT"/>
                <a:cs typeface="Arial MT"/>
              </a:rPr>
              <a:t>reactor,</a:t>
            </a:r>
            <a:r>
              <a:rPr lang="en-US" sz="1800" spc="-45">
                <a:effectLst/>
                <a:latin typeface="Arial MT"/>
                <a:ea typeface="Arial MT"/>
                <a:cs typeface="Arial MT"/>
              </a:rPr>
              <a:t> </a:t>
            </a:r>
            <a:r>
              <a:rPr lang="en-US" sz="1800">
                <a:effectLst/>
                <a:latin typeface="Arial MT"/>
                <a:ea typeface="Arial MT"/>
                <a:cs typeface="Arial MT"/>
              </a:rPr>
              <a:t>where</a:t>
            </a:r>
            <a:r>
              <a:rPr lang="en-US" sz="1800" spc="-70">
                <a:effectLst/>
                <a:latin typeface="Arial MT"/>
                <a:ea typeface="Arial MT"/>
                <a:cs typeface="Arial MT"/>
              </a:rPr>
              <a:t> </a:t>
            </a:r>
            <a:r>
              <a:rPr lang="en-US" sz="1800">
                <a:effectLst/>
                <a:latin typeface="Arial MT"/>
                <a:ea typeface="Arial MT"/>
                <a:cs typeface="Arial MT"/>
              </a:rPr>
              <a:t>ammonia</a:t>
            </a:r>
            <a:r>
              <a:rPr lang="en-US" sz="1800" spc="5">
                <a:effectLst/>
                <a:latin typeface="Arial MT"/>
                <a:ea typeface="Arial MT"/>
                <a:cs typeface="Arial MT"/>
              </a:rPr>
              <a:t> </a:t>
            </a:r>
            <a:r>
              <a:rPr lang="en-US" sz="1800">
                <a:effectLst/>
                <a:latin typeface="Arial MT"/>
                <a:ea typeface="Arial MT"/>
                <a:cs typeface="Arial MT"/>
              </a:rPr>
              <a:t>will be reacted with concentrated </a:t>
            </a:r>
            <a:r>
              <a:rPr lang="en-US" sz="1800" err="1">
                <a:effectLst/>
                <a:latin typeface="Arial MT"/>
                <a:ea typeface="Arial MT"/>
                <a:cs typeface="Arial MT"/>
              </a:rPr>
              <a:t>sulphuric</a:t>
            </a:r>
            <a:r>
              <a:rPr lang="en-US" sz="1800">
                <a:effectLst/>
                <a:latin typeface="Arial MT"/>
                <a:ea typeface="Arial MT"/>
                <a:cs typeface="Arial MT"/>
              </a:rPr>
              <a:t> acid instead, giving rise to a highly exothermic</a:t>
            </a:r>
            <a:r>
              <a:rPr lang="en-US" sz="1800" spc="5">
                <a:effectLst/>
                <a:latin typeface="Arial MT"/>
                <a:ea typeface="Arial MT"/>
                <a:cs typeface="Arial MT"/>
              </a:rPr>
              <a:t> </a:t>
            </a:r>
            <a:r>
              <a:rPr lang="en-US" sz="1800">
                <a:effectLst/>
                <a:latin typeface="Arial MT"/>
                <a:ea typeface="Arial MT"/>
                <a:cs typeface="Arial MT"/>
              </a:rPr>
              <a:t>reaction. The new tubular reactor will be implemented in a pilot plant to run preliminary trials</a:t>
            </a:r>
            <a:r>
              <a:rPr lang="en-US" sz="1800" spc="-295">
                <a:effectLst/>
                <a:latin typeface="Arial MT"/>
                <a:ea typeface="Arial MT"/>
                <a:cs typeface="Arial MT"/>
              </a:rPr>
              <a:t> </a:t>
            </a:r>
            <a:r>
              <a:rPr lang="en-US" sz="1800">
                <a:effectLst/>
                <a:latin typeface="Arial MT"/>
                <a:ea typeface="Arial MT"/>
                <a:cs typeface="Arial MT"/>
              </a:rPr>
              <a:t>on</a:t>
            </a:r>
            <a:r>
              <a:rPr lang="en-US" sz="1800" spc="195">
                <a:effectLst/>
                <a:latin typeface="Arial MT"/>
                <a:ea typeface="Arial MT"/>
                <a:cs typeface="Arial MT"/>
              </a:rPr>
              <a:t> </a:t>
            </a:r>
            <a:r>
              <a:rPr lang="en-US" sz="1800">
                <a:effectLst/>
                <a:latin typeface="Arial MT"/>
                <a:ea typeface="Arial MT"/>
                <a:cs typeface="Arial MT"/>
              </a:rPr>
              <a:t>its</a:t>
            </a:r>
            <a:r>
              <a:rPr lang="en-US" sz="1800" spc="160">
                <a:effectLst/>
                <a:latin typeface="Arial MT"/>
                <a:ea typeface="Arial MT"/>
                <a:cs typeface="Arial MT"/>
              </a:rPr>
              <a:t> </a:t>
            </a:r>
            <a:r>
              <a:rPr lang="en-US" sz="1800">
                <a:effectLst/>
                <a:latin typeface="Arial MT"/>
                <a:ea typeface="Arial MT"/>
                <a:cs typeface="Arial MT"/>
              </a:rPr>
              <a:t>operation</a:t>
            </a:r>
            <a:r>
              <a:rPr lang="en-US" sz="1800" spc="175">
                <a:effectLst/>
                <a:latin typeface="Arial MT"/>
                <a:ea typeface="Arial MT"/>
                <a:cs typeface="Arial MT"/>
              </a:rPr>
              <a:t> </a:t>
            </a:r>
            <a:r>
              <a:rPr lang="en-US" sz="1800">
                <a:effectLst/>
                <a:latin typeface="Arial MT"/>
                <a:ea typeface="Arial MT"/>
                <a:cs typeface="Arial MT"/>
              </a:rPr>
              <a:t>and</a:t>
            </a:r>
            <a:r>
              <a:rPr lang="en-US" sz="1800" spc="170">
                <a:effectLst/>
                <a:latin typeface="Arial MT"/>
                <a:ea typeface="Arial MT"/>
                <a:cs typeface="Arial MT"/>
              </a:rPr>
              <a:t> </a:t>
            </a:r>
            <a:r>
              <a:rPr lang="en-US" sz="1800">
                <a:effectLst/>
                <a:latin typeface="Arial MT"/>
                <a:ea typeface="Arial MT"/>
                <a:cs typeface="Arial MT"/>
              </a:rPr>
              <a:t>modelled</a:t>
            </a:r>
            <a:r>
              <a:rPr lang="en-US" sz="1800" spc="170">
                <a:effectLst/>
                <a:latin typeface="Arial MT"/>
                <a:ea typeface="Arial MT"/>
                <a:cs typeface="Arial MT"/>
              </a:rPr>
              <a:t> </a:t>
            </a:r>
            <a:r>
              <a:rPr lang="en-US" sz="1800">
                <a:effectLst/>
                <a:latin typeface="Arial MT"/>
                <a:ea typeface="Arial MT"/>
                <a:cs typeface="Arial MT"/>
              </a:rPr>
              <a:t>by</a:t>
            </a:r>
            <a:r>
              <a:rPr lang="en-US" sz="1800" spc="165">
                <a:effectLst/>
                <a:latin typeface="Arial MT"/>
                <a:ea typeface="Arial MT"/>
                <a:cs typeface="Arial MT"/>
              </a:rPr>
              <a:t> </a:t>
            </a:r>
            <a:r>
              <a:rPr lang="en-US" sz="1800">
                <a:effectLst/>
                <a:latin typeface="Arial MT"/>
                <a:ea typeface="Arial MT"/>
                <a:cs typeface="Arial MT"/>
              </a:rPr>
              <a:t>the</a:t>
            </a:r>
            <a:r>
              <a:rPr lang="en-US" sz="1800" spc="170">
                <a:effectLst/>
                <a:latin typeface="Arial MT"/>
                <a:ea typeface="Arial MT"/>
                <a:cs typeface="Arial MT"/>
              </a:rPr>
              <a:t> </a:t>
            </a:r>
            <a:r>
              <a:rPr lang="en-US" sz="1800">
                <a:effectLst/>
                <a:latin typeface="Arial MT"/>
                <a:ea typeface="Arial MT"/>
                <a:cs typeface="Arial MT"/>
              </a:rPr>
              <a:t>DT</a:t>
            </a:r>
            <a:r>
              <a:rPr lang="en-US" sz="1800" spc="190">
                <a:effectLst/>
                <a:latin typeface="Arial MT"/>
                <a:ea typeface="Arial MT"/>
                <a:cs typeface="Arial MT"/>
              </a:rPr>
              <a:t> </a:t>
            </a:r>
            <a:r>
              <a:rPr lang="en-US" sz="1800">
                <a:effectLst/>
                <a:latin typeface="Arial MT"/>
                <a:ea typeface="Arial MT"/>
                <a:cs typeface="Arial MT"/>
              </a:rPr>
              <a:t>at</a:t>
            </a:r>
            <a:r>
              <a:rPr lang="en-US" sz="1800" spc="165">
                <a:effectLst/>
                <a:latin typeface="Arial MT"/>
                <a:ea typeface="Arial MT"/>
                <a:cs typeface="Arial MT"/>
              </a:rPr>
              <a:t> </a:t>
            </a:r>
            <a:r>
              <a:rPr lang="en-US" sz="1800">
                <a:effectLst/>
                <a:latin typeface="Arial MT"/>
                <a:ea typeface="Arial MT"/>
                <a:cs typeface="Arial MT"/>
              </a:rPr>
              <a:t>both</a:t>
            </a:r>
            <a:r>
              <a:rPr lang="en-US" sz="1800" spc="195">
                <a:effectLst/>
                <a:latin typeface="Arial MT"/>
                <a:ea typeface="Arial MT"/>
                <a:cs typeface="Arial MT"/>
              </a:rPr>
              <a:t> </a:t>
            </a:r>
            <a:r>
              <a:rPr lang="en-US" sz="1800">
                <a:effectLst/>
                <a:latin typeface="Arial MT"/>
                <a:ea typeface="Arial MT"/>
                <a:cs typeface="Arial MT"/>
              </a:rPr>
              <a:t>pilot</a:t>
            </a:r>
            <a:r>
              <a:rPr lang="en-US" sz="1800" spc="170">
                <a:effectLst/>
                <a:latin typeface="Arial MT"/>
                <a:ea typeface="Arial MT"/>
                <a:cs typeface="Arial MT"/>
              </a:rPr>
              <a:t> </a:t>
            </a:r>
            <a:r>
              <a:rPr lang="en-US" sz="1800">
                <a:effectLst/>
                <a:latin typeface="Arial MT"/>
                <a:ea typeface="Arial MT"/>
                <a:cs typeface="Arial MT"/>
              </a:rPr>
              <a:t>and</a:t>
            </a:r>
            <a:r>
              <a:rPr lang="en-US" sz="1800" spc="170">
                <a:effectLst/>
                <a:latin typeface="Arial MT"/>
                <a:ea typeface="Arial MT"/>
                <a:cs typeface="Arial MT"/>
              </a:rPr>
              <a:t> </a:t>
            </a:r>
            <a:r>
              <a:rPr lang="en-US" sz="1800">
                <a:effectLst/>
                <a:latin typeface="Arial MT"/>
                <a:ea typeface="Arial MT"/>
                <a:cs typeface="Arial MT"/>
              </a:rPr>
              <a:t>full</a:t>
            </a:r>
            <a:r>
              <a:rPr lang="en-US" sz="1800" spc="185">
                <a:effectLst/>
                <a:latin typeface="Arial MT"/>
                <a:ea typeface="Arial MT"/>
                <a:cs typeface="Arial MT"/>
              </a:rPr>
              <a:t> </a:t>
            </a:r>
            <a:r>
              <a:rPr lang="en-US" sz="1800">
                <a:effectLst/>
                <a:latin typeface="Arial MT"/>
                <a:ea typeface="Arial MT"/>
                <a:cs typeface="Arial MT"/>
              </a:rPr>
              <a:t>scale. </a:t>
            </a:r>
          </a:p>
          <a:p>
            <a:pPr marL="0" marR="710565" indent="228600">
              <a:lnSpc>
                <a:spcPct val="100000"/>
              </a:lnSpc>
              <a:spcAft>
                <a:spcPts val="0"/>
              </a:spcAft>
            </a:pPr>
            <a:endParaRPr lang="en-US" sz="1800">
              <a:effectLst/>
              <a:latin typeface="Arial MT"/>
              <a:ea typeface="Arial MT"/>
              <a:cs typeface="Arial MT"/>
            </a:endParaRPr>
          </a:p>
          <a:p>
            <a:pPr marL="0" marR="710565" indent="228600">
              <a:lnSpc>
                <a:spcPct val="100000"/>
              </a:lnSpc>
              <a:spcAft>
                <a:spcPts val="0"/>
              </a:spcAft>
            </a:pPr>
            <a:r>
              <a:rPr lang="en-US" sz="1800">
                <a:effectLst/>
                <a:latin typeface="Arial MT"/>
                <a:ea typeface="Arial MT"/>
                <a:cs typeface="Arial MT"/>
              </a:rPr>
              <a:t>The DSS should give indications on deviations from the nominal</a:t>
            </a:r>
            <a:r>
              <a:rPr lang="en-US" sz="1800" spc="5">
                <a:effectLst/>
                <a:latin typeface="Arial MT"/>
                <a:ea typeface="Arial MT"/>
                <a:cs typeface="Arial MT"/>
              </a:rPr>
              <a:t> </a:t>
            </a:r>
            <a:r>
              <a:rPr lang="en-US" sz="1800">
                <a:effectLst/>
                <a:latin typeface="Arial MT"/>
                <a:ea typeface="Arial MT"/>
                <a:cs typeface="Arial MT"/>
              </a:rPr>
              <a:t>operating conditions in the pug mill, granulator and drier, based on the mix of materials fed</a:t>
            </a:r>
            <a:r>
              <a:rPr lang="en-US" sz="1800" spc="5">
                <a:effectLst/>
                <a:latin typeface="Arial MT"/>
                <a:ea typeface="Arial MT"/>
                <a:cs typeface="Arial MT"/>
              </a:rPr>
              <a:t> </a:t>
            </a:r>
            <a:r>
              <a:rPr lang="en-US" sz="1800">
                <a:effectLst/>
                <a:latin typeface="Arial MT"/>
                <a:ea typeface="Arial MT"/>
                <a:cs typeface="Arial MT"/>
              </a:rPr>
              <a:t>to the line, so as to warn the operators in case something goes wrong, such that they can</a:t>
            </a:r>
            <a:r>
              <a:rPr lang="en-US" sz="1800" spc="5">
                <a:effectLst/>
                <a:latin typeface="Arial MT"/>
                <a:ea typeface="Arial MT"/>
                <a:cs typeface="Arial MT"/>
              </a:rPr>
              <a:t> </a:t>
            </a:r>
            <a:r>
              <a:rPr lang="en-US" sz="1800">
                <a:effectLst/>
                <a:latin typeface="Arial MT"/>
                <a:ea typeface="Arial MT"/>
                <a:cs typeface="Arial MT"/>
              </a:rPr>
              <a:t>intervene before the material reaches the end of the production line. However, in order to</a:t>
            </a:r>
            <a:r>
              <a:rPr lang="en-US" sz="1800" spc="5">
                <a:effectLst/>
                <a:latin typeface="Arial MT"/>
                <a:ea typeface="Arial MT"/>
                <a:cs typeface="Arial MT"/>
              </a:rPr>
              <a:t> </a:t>
            </a:r>
            <a:r>
              <a:rPr lang="en-US" sz="1800">
                <a:effectLst/>
                <a:latin typeface="Arial MT"/>
                <a:ea typeface="Arial MT"/>
                <a:cs typeface="Arial MT"/>
              </a:rPr>
              <a:t>offer such feature, the DSS needs to rely on predictions of the deviations from the normal</a:t>
            </a:r>
            <a:r>
              <a:rPr lang="en-US" sz="1800" spc="5">
                <a:effectLst/>
                <a:latin typeface="Arial MT"/>
                <a:ea typeface="Arial MT"/>
                <a:cs typeface="Arial MT"/>
              </a:rPr>
              <a:t> </a:t>
            </a:r>
            <a:r>
              <a:rPr lang="en-US" sz="1800">
                <a:effectLst/>
                <a:latin typeface="Arial MT"/>
                <a:ea typeface="Arial MT"/>
                <a:cs typeface="Arial MT"/>
              </a:rPr>
              <a:t>operating</a:t>
            </a:r>
            <a:r>
              <a:rPr lang="en-US" sz="1800" spc="-20">
                <a:effectLst/>
                <a:latin typeface="Arial MT"/>
                <a:ea typeface="Arial MT"/>
                <a:cs typeface="Arial MT"/>
              </a:rPr>
              <a:t> </a:t>
            </a:r>
            <a:r>
              <a:rPr lang="en-US" sz="1800">
                <a:effectLst/>
                <a:latin typeface="Arial MT"/>
                <a:ea typeface="Arial MT"/>
                <a:cs typeface="Arial MT"/>
              </a:rPr>
              <a:t>conditions,</a:t>
            </a:r>
            <a:r>
              <a:rPr lang="en-US" sz="1800" spc="-20">
                <a:effectLst/>
                <a:latin typeface="Arial MT"/>
                <a:ea typeface="Arial MT"/>
                <a:cs typeface="Arial MT"/>
              </a:rPr>
              <a:t> </a:t>
            </a:r>
            <a:r>
              <a:rPr lang="en-US" sz="1800">
                <a:effectLst/>
                <a:latin typeface="Arial MT"/>
                <a:ea typeface="Arial MT"/>
                <a:cs typeface="Arial MT"/>
              </a:rPr>
              <a:t>which</a:t>
            </a:r>
            <a:r>
              <a:rPr lang="en-US" sz="1800" spc="-20">
                <a:effectLst/>
                <a:latin typeface="Arial MT"/>
                <a:ea typeface="Arial MT"/>
                <a:cs typeface="Arial MT"/>
              </a:rPr>
              <a:t> </a:t>
            </a:r>
            <a:r>
              <a:rPr lang="en-US" sz="1800">
                <a:effectLst/>
                <a:latin typeface="Arial MT"/>
                <a:ea typeface="Arial MT"/>
                <a:cs typeface="Arial MT"/>
              </a:rPr>
              <a:t>cannot</a:t>
            </a:r>
            <a:r>
              <a:rPr lang="en-US" sz="1800" spc="-20">
                <a:effectLst/>
                <a:latin typeface="Arial MT"/>
                <a:ea typeface="Arial MT"/>
                <a:cs typeface="Arial MT"/>
              </a:rPr>
              <a:t> </a:t>
            </a:r>
            <a:r>
              <a:rPr lang="en-US" sz="1800">
                <a:effectLst/>
                <a:latin typeface="Arial MT"/>
                <a:ea typeface="Arial MT"/>
                <a:cs typeface="Arial MT"/>
              </a:rPr>
              <a:t>be</a:t>
            </a:r>
            <a:r>
              <a:rPr lang="en-US" sz="1800" spc="-20">
                <a:effectLst/>
                <a:latin typeface="Arial MT"/>
                <a:ea typeface="Arial MT"/>
                <a:cs typeface="Arial MT"/>
              </a:rPr>
              <a:t> </a:t>
            </a:r>
            <a:r>
              <a:rPr lang="en-US" sz="1800">
                <a:effectLst/>
                <a:latin typeface="Arial MT"/>
                <a:ea typeface="Arial MT"/>
                <a:cs typeface="Arial MT"/>
              </a:rPr>
              <a:t>provided</a:t>
            </a:r>
            <a:r>
              <a:rPr lang="en-US" sz="1800" spc="-40">
                <a:effectLst/>
                <a:latin typeface="Arial MT"/>
                <a:ea typeface="Arial MT"/>
                <a:cs typeface="Arial MT"/>
              </a:rPr>
              <a:t> </a:t>
            </a:r>
            <a:r>
              <a:rPr lang="en-US" sz="1800">
                <a:effectLst/>
                <a:latin typeface="Arial MT"/>
                <a:ea typeface="Arial MT"/>
                <a:cs typeface="Arial MT"/>
              </a:rPr>
              <a:t>by</a:t>
            </a:r>
            <a:r>
              <a:rPr lang="en-US" sz="1800" spc="-25">
                <a:effectLst/>
                <a:latin typeface="Arial MT"/>
                <a:ea typeface="Arial MT"/>
                <a:cs typeface="Arial MT"/>
              </a:rPr>
              <a:t> </a:t>
            </a:r>
            <a:r>
              <a:rPr lang="en-US" sz="1800">
                <a:effectLst/>
                <a:latin typeface="Arial MT"/>
                <a:ea typeface="Arial MT"/>
                <a:cs typeface="Arial MT"/>
              </a:rPr>
              <a:t>the</a:t>
            </a:r>
            <a:r>
              <a:rPr lang="en-US" sz="1800" spc="-20">
                <a:effectLst/>
                <a:latin typeface="Arial MT"/>
                <a:ea typeface="Arial MT"/>
                <a:cs typeface="Arial MT"/>
              </a:rPr>
              <a:t> </a:t>
            </a:r>
            <a:r>
              <a:rPr lang="en-US" sz="1800">
                <a:effectLst/>
                <a:latin typeface="Arial MT"/>
                <a:ea typeface="Arial MT"/>
                <a:cs typeface="Arial MT"/>
              </a:rPr>
              <a:t>DT,</a:t>
            </a:r>
            <a:r>
              <a:rPr lang="en-US" sz="1800" spc="-20">
                <a:effectLst/>
                <a:latin typeface="Arial MT"/>
                <a:ea typeface="Arial MT"/>
                <a:cs typeface="Arial MT"/>
              </a:rPr>
              <a:t> </a:t>
            </a:r>
            <a:r>
              <a:rPr lang="en-US" sz="1800">
                <a:effectLst/>
                <a:latin typeface="Arial MT"/>
                <a:ea typeface="Arial MT"/>
                <a:cs typeface="Arial MT"/>
              </a:rPr>
              <a:t>that</a:t>
            </a:r>
            <a:r>
              <a:rPr lang="en-US" sz="1800" spc="-25">
                <a:effectLst/>
                <a:latin typeface="Arial MT"/>
                <a:ea typeface="Arial MT"/>
                <a:cs typeface="Arial MT"/>
              </a:rPr>
              <a:t> </a:t>
            </a:r>
            <a:r>
              <a:rPr lang="en-US" sz="1800">
                <a:effectLst/>
                <a:latin typeface="Arial MT"/>
                <a:ea typeface="Arial MT"/>
                <a:cs typeface="Arial MT"/>
              </a:rPr>
              <a:t>only simulates</a:t>
            </a:r>
            <a:r>
              <a:rPr lang="en-US" sz="1800" spc="-5">
                <a:effectLst/>
                <a:latin typeface="Arial MT"/>
                <a:ea typeface="Arial MT"/>
                <a:cs typeface="Arial MT"/>
              </a:rPr>
              <a:t> </a:t>
            </a:r>
            <a:r>
              <a:rPr lang="en-US" sz="1800">
                <a:effectLst/>
                <a:latin typeface="Arial MT"/>
                <a:ea typeface="Arial MT"/>
                <a:cs typeface="Arial MT"/>
              </a:rPr>
              <a:t>the</a:t>
            </a:r>
            <a:r>
              <a:rPr lang="en-US" sz="1800" spc="-40">
                <a:effectLst/>
                <a:latin typeface="Arial MT"/>
                <a:ea typeface="Arial MT"/>
                <a:cs typeface="Arial MT"/>
              </a:rPr>
              <a:t> </a:t>
            </a:r>
            <a:r>
              <a:rPr lang="en-US" sz="1800" err="1">
                <a:effectLst/>
                <a:latin typeface="Arial MT"/>
                <a:ea typeface="Arial MT"/>
                <a:cs typeface="Arial MT"/>
              </a:rPr>
              <a:t>behaviour</a:t>
            </a:r>
            <a:r>
              <a:rPr lang="en-US" sz="1800" spc="-295">
                <a:effectLst/>
                <a:latin typeface="Arial MT"/>
                <a:ea typeface="Arial MT"/>
                <a:cs typeface="Arial MT"/>
              </a:rPr>
              <a:t> </a:t>
            </a:r>
            <a:r>
              <a:rPr lang="en-US" sz="1800">
                <a:effectLst/>
                <a:latin typeface="Arial MT"/>
                <a:ea typeface="Arial MT"/>
                <a:cs typeface="Arial MT"/>
              </a:rPr>
              <a:t>of the tubular reactor. To this aim, an additional PC model has been envisaged to be</a:t>
            </a:r>
            <a:r>
              <a:rPr lang="en-US" sz="1800" spc="5">
                <a:effectLst/>
                <a:latin typeface="Arial MT"/>
                <a:ea typeface="Arial MT"/>
                <a:cs typeface="Arial MT"/>
              </a:rPr>
              <a:t> </a:t>
            </a:r>
            <a:r>
              <a:rPr lang="en-US" sz="1800">
                <a:effectLst/>
                <a:latin typeface="Arial MT"/>
                <a:ea typeface="Arial MT"/>
                <a:cs typeface="Arial MT"/>
              </a:rPr>
              <a:t>integrated</a:t>
            </a:r>
            <a:r>
              <a:rPr lang="en-US" sz="1800" spc="10">
                <a:effectLst/>
                <a:latin typeface="Arial MT"/>
                <a:ea typeface="Arial MT"/>
                <a:cs typeface="Arial MT"/>
              </a:rPr>
              <a:t> </a:t>
            </a:r>
            <a:r>
              <a:rPr lang="en-US" sz="1800">
                <a:effectLst/>
                <a:latin typeface="Arial MT"/>
                <a:ea typeface="Arial MT"/>
                <a:cs typeface="Arial MT"/>
              </a:rPr>
              <a:t>in</a:t>
            </a:r>
            <a:r>
              <a:rPr lang="en-US" sz="1800" spc="15">
                <a:effectLst/>
                <a:latin typeface="Arial MT"/>
                <a:ea typeface="Arial MT"/>
                <a:cs typeface="Arial MT"/>
              </a:rPr>
              <a:t> </a:t>
            </a:r>
            <a:r>
              <a:rPr lang="en-US" sz="1800">
                <a:effectLst/>
                <a:latin typeface="Arial MT"/>
                <a:ea typeface="Arial MT"/>
                <a:cs typeface="Arial MT"/>
              </a:rPr>
              <a:t>the</a:t>
            </a:r>
            <a:r>
              <a:rPr lang="en-US" sz="1800" spc="-10">
                <a:effectLst/>
                <a:latin typeface="Arial MT"/>
                <a:ea typeface="Arial MT"/>
                <a:cs typeface="Arial MT"/>
              </a:rPr>
              <a:t> </a:t>
            </a:r>
            <a:r>
              <a:rPr lang="en-US" sz="1800">
                <a:effectLst/>
                <a:latin typeface="Arial MT"/>
                <a:ea typeface="Arial MT"/>
                <a:cs typeface="Arial MT"/>
              </a:rPr>
              <a:t>DSS,</a:t>
            </a:r>
            <a:r>
              <a:rPr lang="en-US" sz="1800" spc="5">
                <a:effectLst/>
                <a:latin typeface="Arial MT"/>
                <a:ea typeface="Arial MT"/>
                <a:cs typeface="Arial MT"/>
              </a:rPr>
              <a:t> </a:t>
            </a:r>
            <a:r>
              <a:rPr lang="en-US" sz="1800">
                <a:effectLst/>
                <a:latin typeface="Arial MT"/>
                <a:ea typeface="Arial MT"/>
                <a:cs typeface="Arial MT"/>
              </a:rPr>
              <a:t>illustrated</a:t>
            </a:r>
            <a:r>
              <a:rPr lang="en-US" sz="1800" spc="15">
                <a:effectLst/>
                <a:latin typeface="Arial MT"/>
                <a:ea typeface="Arial MT"/>
                <a:cs typeface="Arial MT"/>
              </a:rPr>
              <a:t> </a:t>
            </a:r>
            <a:r>
              <a:rPr lang="en-US" sz="1800">
                <a:effectLst/>
                <a:latin typeface="Arial MT"/>
                <a:ea typeface="Arial MT"/>
                <a:cs typeface="Arial MT"/>
              </a:rPr>
              <a:t>in</a:t>
            </a:r>
            <a:r>
              <a:rPr lang="en-US" sz="1800" spc="-10">
                <a:effectLst/>
                <a:latin typeface="Arial MT"/>
                <a:ea typeface="Arial MT"/>
                <a:cs typeface="Arial MT"/>
              </a:rPr>
              <a:t> </a:t>
            </a:r>
            <a:r>
              <a:rPr lang="en-US" sz="1800" u="none" strike="noStrike">
                <a:effectLst/>
                <a:latin typeface="Arial MT"/>
                <a:ea typeface="Arial MT"/>
                <a:cs typeface="Arial MT"/>
              </a:rPr>
              <a:t>Table. </a:t>
            </a:r>
          </a:p>
          <a:p>
            <a:pPr marL="0" marR="710565" indent="228600">
              <a:lnSpc>
                <a:spcPct val="100000"/>
              </a:lnSpc>
              <a:spcAft>
                <a:spcPts val="0"/>
              </a:spcAft>
            </a:pPr>
            <a:endParaRPr lang="en-US" sz="1800" u="none" strike="noStrike">
              <a:effectLst/>
              <a:latin typeface="Arial MT"/>
            </a:endParaRPr>
          </a:p>
          <a:p>
            <a:pPr marL="0" marR="710565" lvl="0" indent="228600" algn="l" defTabSz="914400" rtl="0" eaLnBrk="1" fontAlgn="auto" latinLnBrk="0" hangingPunct="1">
              <a:lnSpc>
                <a:spcPct val="100000"/>
              </a:lnSpc>
              <a:spcBef>
                <a:spcPts val="0"/>
              </a:spcBef>
              <a:spcAft>
                <a:spcPts val="0"/>
              </a:spcAft>
              <a:buClrTx/>
              <a:buSzTx/>
              <a:buFontTx/>
              <a:buNone/>
              <a:tabLst/>
              <a:defRPr/>
            </a:pPr>
            <a:r>
              <a:rPr lang="en-US" sz="1800" b="1">
                <a:latin typeface="Arial MT"/>
              </a:rPr>
              <a:t>Production Chain (PC)</a:t>
            </a:r>
            <a:r>
              <a:rPr lang="en-US" sz="1800">
                <a:latin typeface="Arial MT"/>
              </a:rPr>
              <a:t>: Models that represent processes that are upstream or downstream of the core processes are referred to as “production chain” (PC) models</a:t>
            </a:r>
          </a:p>
          <a:p>
            <a:pPr marL="0" marR="710565" indent="228600">
              <a:lnSpc>
                <a:spcPct val="100000"/>
              </a:lnSpc>
              <a:spcAft>
                <a:spcPts val="0"/>
              </a:spcAft>
            </a:pPr>
            <a:endParaRPr lang="en-US" sz="1800" u="none" strike="noStrike">
              <a:effectLst/>
              <a:latin typeface="Arial MT"/>
            </a:endParaRPr>
          </a:p>
          <a:p>
            <a:pPr marL="0" marR="710565" indent="228600">
              <a:lnSpc>
                <a:spcPct val="100000"/>
              </a:lnSpc>
              <a:spcAft>
                <a:spcPts val="0"/>
              </a:spcAft>
            </a:pPr>
            <a:endParaRPr lang="sv-S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4DB91F-1AD8-437C-8866-3636784D085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05977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a:t>Info from:</a:t>
            </a:r>
          </a:p>
          <a:p>
            <a:r>
              <a:rPr lang="sv-SE"/>
              <a:t>1.2 - https://energy.ec.europa.eu/topics/energy-efficiency/energy-efficiency-targets-directive-and-rules/energy-efficiency-directive_en</a:t>
            </a:r>
          </a:p>
          <a:p>
            <a:r>
              <a:rPr lang="sv-SE"/>
              <a:t>1.3 - https://commission.europa.eu/strategy-and-policy/priorities-2019-2024/european-green-deal/industry-and-green-deal_en</a:t>
            </a:r>
          </a:p>
          <a:p>
            <a:r>
              <a:rPr lang="sv-SE"/>
              <a:t>https://ec.europa.eu/commission/presscorner/detail/en/ip_22_2238</a:t>
            </a:r>
          </a:p>
          <a:p>
            <a:r>
              <a:rPr lang="sv-SE"/>
              <a:t>1.4 - https://ec.europa.eu/environment/resource_efficiency/targets_indicators/ongoing/index_en.htm</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4DB91F-1AD8-437C-8866-3636784D085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90480633"/>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710565" indent="228600">
              <a:lnSpc>
                <a:spcPct val="133000"/>
              </a:lnSpc>
              <a:spcAft>
                <a:spcPts val="0"/>
              </a:spcAft>
            </a:pP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4DB91F-1AD8-437C-8866-3636784D085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3767630"/>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710565" indent="228600">
              <a:lnSpc>
                <a:spcPct val="133000"/>
              </a:lnSpc>
              <a:spcAft>
                <a:spcPts val="0"/>
              </a:spcAft>
            </a:pPr>
            <a:r>
              <a:rPr lang="en-US" sz="1800" dirty="0">
                <a:effectLst/>
                <a:latin typeface="Arial MT"/>
                <a:ea typeface="Arial MT"/>
                <a:cs typeface="Arial MT"/>
              </a:rPr>
              <a:t>The digital models developed within the RETROFEED project will eventually be integrated in the</a:t>
            </a:r>
            <a:r>
              <a:rPr lang="en-US" sz="1800" spc="5" dirty="0">
                <a:effectLst/>
                <a:latin typeface="Arial MT"/>
                <a:ea typeface="Arial MT"/>
                <a:cs typeface="Arial MT"/>
              </a:rPr>
              <a:t> </a:t>
            </a:r>
            <a:r>
              <a:rPr lang="en-US" sz="1800" dirty="0">
                <a:effectLst/>
                <a:latin typeface="Arial MT"/>
                <a:ea typeface="Arial MT"/>
                <a:cs typeface="Arial MT"/>
              </a:rPr>
              <a:t>DSS architecture. </a:t>
            </a:r>
            <a:r>
              <a:rPr lang="en-US" sz="1800" u="none" strike="noStrike" dirty="0">
                <a:effectLst/>
                <a:latin typeface="Arial MT"/>
                <a:ea typeface="Arial MT"/>
                <a:cs typeface="Arial MT"/>
                <a:hlinkClick r:id="rId3"/>
              </a:rPr>
              <a:t>Figure</a:t>
            </a:r>
            <a:r>
              <a:rPr lang="en-US" sz="1800" u="none" strike="noStrike" dirty="0">
                <a:effectLst/>
                <a:latin typeface="Arial MT"/>
                <a:ea typeface="Arial MT"/>
                <a:cs typeface="Arial MT"/>
              </a:rPr>
              <a:t> </a:t>
            </a:r>
            <a:r>
              <a:rPr lang="en-US" sz="1800" dirty="0">
                <a:effectLst/>
                <a:latin typeface="Arial MT"/>
                <a:ea typeface="Arial MT"/>
                <a:cs typeface="Arial MT"/>
              </a:rPr>
              <a:t>shows </a:t>
            </a:r>
            <a:r>
              <a:rPr lang="en-US" sz="1800" spc="-290" dirty="0">
                <a:effectLst/>
                <a:latin typeface="Arial MT"/>
                <a:ea typeface="Arial MT"/>
                <a:cs typeface="Arial MT"/>
              </a:rPr>
              <a:t> </a:t>
            </a:r>
            <a:r>
              <a:rPr lang="en-US" sz="1800" dirty="0">
                <a:effectLst/>
                <a:latin typeface="Arial MT"/>
                <a:ea typeface="Arial MT"/>
                <a:cs typeface="Arial MT"/>
              </a:rPr>
              <a:t>a detail of the DSS main diagram, illustrating schematically where the models are located and how</a:t>
            </a:r>
            <a:r>
              <a:rPr lang="en-US" sz="1800" spc="5" dirty="0">
                <a:effectLst/>
                <a:latin typeface="Arial MT"/>
                <a:ea typeface="Arial MT"/>
                <a:cs typeface="Arial MT"/>
              </a:rPr>
              <a:t> </a:t>
            </a:r>
            <a:r>
              <a:rPr lang="en-US" sz="1800" dirty="0">
                <a:effectLst/>
                <a:latin typeface="Arial MT"/>
                <a:ea typeface="Arial MT"/>
                <a:cs typeface="Arial MT"/>
              </a:rPr>
              <a:t>they interact with the DSS (the </a:t>
            </a:r>
            <a:r>
              <a:rPr lang="en-US" sz="1800" dirty="0" err="1">
                <a:effectLst/>
                <a:latin typeface="Arial MT"/>
                <a:ea typeface="Arial MT"/>
                <a:cs typeface="Arial MT"/>
              </a:rPr>
              <a:t>Retrofeed</a:t>
            </a:r>
            <a:r>
              <a:rPr lang="en-US" sz="1800" dirty="0">
                <a:effectLst/>
                <a:latin typeface="Arial MT"/>
                <a:ea typeface="Arial MT"/>
                <a:cs typeface="Arial MT"/>
              </a:rPr>
              <a:t> tool). Specifically, the models will be located on a dedicated server, separate</a:t>
            </a:r>
            <a:r>
              <a:rPr lang="en-US" sz="1800" spc="5" dirty="0">
                <a:effectLst/>
                <a:latin typeface="Arial MT"/>
                <a:ea typeface="Arial MT"/>
                <a:cs typeface="Arial MT"/>
              </a:rPr>
              <a:t> </a:t>
            </a:r>
            <a:r>
              <a:rPr lang="en-US" sz="1800" dirty="0">
                <a:effectLst/>
                <a:latin typeface="Arial MT"/>
                <a:ea typeface="Arial MT"/>
                <a:cs typeface="Arial MT"/>
              </a:rPr>
              <a:t>from</a:t>
            </a:r>
            <a:r>
              <a:rPr lang="en-US" sz="1800" spc="-10" dirty="0">
                <a:effectLst/>
                <a:latin typeface="Arial MT"/>
                <a:ea typeface="Arial MT"/>
                <a:cs typeface="Arial MT"/>
              </a:rPr>
              <a:t> </a:t>
            </a:r>
            <a:r>
              <a:rPr lang="en-US" sz="1800" dirty="0">
                <a:effectLst/>
                <a:latin typeface="Arial MT"/>
                <a:ea typeface="Arial MT"/>
                <a:cs typeface="Arial MT"/>
              </a:rPr>
              <a:t>the</a:t>
            </a:r>
            <a:r>
              <a:rPr lang="en-US" sz="1800" spc="15" dirty="0">
                <a:effectLst/>
                <a:latin typeface="Arial MT"/>
                <a:ea typeface="Arial MT"/>
                <a:cs typeface="Arial MT"/>
              </a:rPr>
              <a:t> </a:t>
            </a:r>
            <a:r>
              <a:rPr lang="en-US" sz="1800" dirty="0">
                <a:effectLst/>
                <a:latin typeface="Arial MT"/>
                <a:ea typeface="Arial MT"/>
                <a:cs typeface="Arial MT"/>
              </a:rPr>
              <a:t>server</a:t>
            </a:r>
            <a:r>
              <a:rPr lang="en-US" sz="1800" spc="-10" dirty="0">
                <a:effectLst/>
                <a:latin typeface="Arial MT"/>
                <a:ea typeface="Arial MT"/>
                <a:cs typeface="Arial MT"/>
              </a:rPr>
              <a:t> </a:t>
            </a:r>
            <a:r>
              <a:rPr lang="en-US" sz="1800" dirty="0">
                <a:effectLst/>
                <a:latin typeface="Arial MT"/>
                <a:ea typeface="Arial MT"/>
                <a:cs typeface="Arial MT"/>
              </a:rPr>
              <a:t>that</a:t>
            </a:r>
            <a:r>
              <a:rPr lang="en-US" sz="1800" spc="10" dirty="0">
                <a:effectLst/>
                <a:latin typeface="Arial MT"/>
                <a:ea typeface="Arial MT"/>
                <a:cs typeface="Arial MT"/>
              </a:rPr>
              <a:t> </a:t>
            </a:r>
            <a:r>
              <a:rPr lang="en-US" sz="1800" dirty="0">
                <a:effectLst/>
                <a:latin typeface="Arial MT"/>
                <a:ea typeface="Arial MT"/>
                <a:cs typeface="Arial MT"/>
              </a:rPr>
              <a:t>will host</a:t>
            </a:r>
            <a:r>
              <a:rPr lang="en-US" sz="1800" spc="-20" dirty="0">
                <a:effectLst/>
                <a:latin typeface="Arial MT"/>
                <a:ea typeface="Arial MT"/>
                <a:cs typeface="Arial MT"/>
              </a:rPr>
              <a:t> </a:t>
            </a:r>
            <a:r>
              <a:rPr lang="en-US" sz="1800" dirty="0">
                <a:effectLst/>
                <a:latin typeface="Arial MT"/>
                <a:ea typeface="Arial MT"/>
                <a:cs typeface="Arial MT"/>
              </a:rPr>
              <a:t>the</a:t>
            </a:r>
            <a:r>
              <a:rPr lang="en-US" sz="1800" spc="15" dirty="0">
                <a:effectLst/>
                <a:latin typeface="Arial MT"/>
                <a:ea typeface="Arial MT"/>
                <a:cs typeface="Arial MT"/>
              </a:rPr>
              <a:t> </a:t>
            </a:r>
            <a:r>
              <a:rPr lang="en-US" sz="1800" dirty="0">
                <a:effectLst/>
                <a:latin typeface="Arial MT"/>
                <a:ea typeface="Arial MT"/>
                <a:cs typeface="Arial MT"/>
              </a:rPr>
              <a:t>DSS.</a:t>
            </a:r>
          </a:p>
          <a:p>
            <a:pPr marL="0" marR="710565" indent="228600">
              <a:lnSpc>
                <a:spcPct val="133000"/>
              </a:lnSpc>
              <a:spcAft>
                <a:spcPts val="0"/>
              </a:spcAft>
            </a:pPr>
            <a:r>
              <a:rPr lang="en-US" sz="1800" dirty="0">
                <a:effectLst/>
                <a:latin typeface="Arial MT"/>
              </a:rPr>
              <a:t>ML = Machine learning </a:t>
            </a: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4DB91F-1AD8-437C-8866-3636784D085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9189160"/>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cs typeface="Arial" panose="020B0604020202020204" pitchFamily="34" charset="0"/>
              </a:rPr>
              <a:t>In the following part of the course, you will learn how a digital twin was developed for a demo-site in the agrochemical sector within the RETROFEED Project.</a:t>
            </a:r>
          </a:p>
          <a:p>
            <a:endParaRPr lang="en-US" sz="1200">
              <a:cs typeface="Arial" panose="020B0604020202020204" pitchFamily="34" charset="0"/>
            </a:endParaRPr>
          </a:p>
          <a:p>
            <a:endParaRPr lang="sv-S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4DB91F-1AD8-437C-8866-3636784D085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2715730"/>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err="1"/>
              <a:t>Accuracy</a:t>
            </a:r>
            <a:r>
              <a:rPr lang="sv-SE"/>
              <a:t>? </a:t>
            </a:r>
            <a:r>
              <a:rPr lang="sv-SE" err="1"/>
              <a:t>Reliability</a:t>
            </a:r>
            <a:r>
              <a:rPr lang="sv-SE"/>
              <a: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4DB91F-1AD8-437C-8866-3636784D085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89119521"/>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err="1"/>
              <a:t>We</a:t>
            </a:r>
            <a:r>
              <a:rPr lang="sv-SE"/>
              <a:t> </a:t>
            </a:r>
            <a:r>
              <a:rPr lang="sv-SE" err="1"/>
              <a:t>describe</a:t>
            </a:r>
            <a:r>
              <a:rPr lang="sv-SE"/>
              <a:t> an </a:t>
            </a:r>
            <a:r>
              <a:rPr lang="sv-SE" err="1"/>
              <a:t>example</a:t>
            </a:r>
            <a:r>
              <a:rPr lang="sv-SE"/>
              <a:t> from </a:t>
            </a:r>
            <a:r>
              <a:rPr lang="sv-SE" err="1"/>
              <a:t>Fertiberia</a:t>
            </a:r>
            <a:r>
              <a:rPr lang="sv-SE"/>
              <a:t> (</a:t>
            </a:r>
            <a:r>
              <a:rPr lang="sv-SE" err="1"/>
              <a:t>agrochemical</a:t>
            </a:r>
            <a:r>
              <a:rPr lang="sv-SE"/>
              <a:t> </a:t>
            </a:r>
            <a:r>
              <a:rPr lang="sv-SE" err="1"/>
              <a:t>sector</a:t>
            </a:r>
            <a:r>
              <a:rPr lang="sv-SE"/>
              <a:t>; demo-site in RETROFEED </a:t>
            </a:r>
            <a:r>
              <a:rPr lang="sv-SE" err="1"/>
              <a:t>project</a:t>
            </a:r>
            <a:r>
              <a:rPr lang="sv-SE"/>
              <a:t>) on </a:t>
            </a:r>
            <a:r>
              <a:rPr lang="sv-SE" err="1"/>
              <a:t>how</a:t>
            </a:r>
            <a:r>
              <a:rPr lang="sv-SE"/>
              <a:t> to </a:t>
            </a:r>
            <a:r>
              <a:rPr lang="sv-SE" err="1"/>
              <a:t>develop</a:t>
            </a:r>
            <a:r>
              <a:rPr lang="sv-SE"/>
              <a:t> a digital </a:t>
            </a:r>
            <a:r>
              <a:rPr lang="sv-SE" err="1"/>
              <a:t>twin</a:t>
            </a:r>
            <a:r>
              <a:rPr lang="sv-SE"/>
              <a:t>. </a:t>
            </a:r>
          </a:p>
          <a:p>
            <a:endParaRPr lang="sv-SE" sz="1200" b="1" u="sng"/>
          </a:p>
          <a:p>
            <a:r>
              <a:rPr lang="sv-SE" sz="1200" b="1" u="sng" err="1"/>
              <a:t>Reduced</a:t>
            </a:r>
            <a:r>
              <a:rPr lang="sv-SE" sz="1200" b="1" u="sng"/>
              <a:t> order </a:t>
            </a:r>
            <a:r>
              <a:rPr lang="sv-SE" sz="1200" b="1" u="sng" err="1"/>
              <a:t>model</a:t>
            </a:r>
            <a:r>
              <a:rPr lang="sv-SE" sz="1200" b="1" u="sng"/>
              <a:t> (ROM)</a:t>
            </a:r>
          </a:p>
          <a:p>
            <a:r>
              <a:rPr lang="en-US" sz="1200"/>
              <a:t>The Reduced Order Model (ROM) is built from the simulations run with the CFD-model under different scenarios. It can be thought of as a complex interpolation scheme between the desired input values and the outputs obtained from the simulations run with those inputs. Once the ROM is obtained, new scenarios can be calculated in real time. </a:t>
            </a:r>
          </a:p>
          <a:p>
            <a:endParaRPr lang="en-US" sz="1200"/>
          </a:p>
          <a:p>
            <a:r>
              <a:rPr lang="en-US" sz="1200" b="1" err="1"/>
              <a:t>Fertiberia’s</a:t>
            </a:r>
            <a:r>
              <a:rPr lang="en-US" sz="1200" b="1"/>
              <a:t> core process Digital Twin</a:t>
            </a:r>
          </a:p>
          <a:p>
            <a:r>
              <a:rPr lang="en-US" sz="1200"/>
              <a:t>The Digital Twin of </a:t>
            </a:r>
            <a:r>
              <a:rPr lang="en-US" sz="1200" err="1"/>
              <a:t>Fertiberia</a:t>
            </a:r>
            <a:r>
              <a:rPr lang="en-US" sz="1200"/>
              <a:t> core process is in the form of a ROM, in a functional mock-up unit (</a:t>
            </a:r>
            <a:r>
              <a:rPr lang="en-US" sz="1200" err="1"/>
              <a:t>fmu</a:t>
            </a:r>
            <a:r>
              <a:rPr lang="en-US" sz="1200"/>
              <a:t>) format.</a:t>
            </a:r>
          </a:p>
          <a:p>
            <a:endParaRPr lang="en-US" sz="1200"/>
          </a:p>
          <a:p>
            <a:r>
              <a:rPr lang="sv-SE" sz="1200" b="1" err="1"/>
              <a:t>Why</a:t>
            </a:r>
            <a:r>
              <a:rPr lang="sv-SE" sz="1200" b="1"/>
              <a:t> is a ROM </a:t>
            </a:r>
            <a:r>
              <a:rPr lang="sv-SE" sz="1200" b="1" err="1"/>
              <a:t>needed</a:t>
            </a:r>
            <a:r>
              <a:rPr lang="sv-SE" sz="1200" b="1"/>
              <a: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CFD has the disadvantage that it requires a license and can take hours to DAYS to converge. Not useful for day-to-day decisions or for control purposes. Therefore, a simplified, faster mathematical model is needed. This is ROM.</a:t>
            </a:r>
          </a:p>
          <a:p>
            <a:endParaRPr lang="en-US" sz="1200"/>
          </a:p>
          <a:p>
            <a:r>
              <a:rPr lang="en-US" sz="1200" b="1" u="sng"/>
              <a:t>Computational Fluid Dynamics (CFD)</a:t>
            </a:r>
          </a:p>
          <a:p>
            <a:r>
              <a:rPr lang="en-US" sz="1200"/>
              <a:t>Computational fluid dynamics (CFD) is a branch of fluid dynamics where simulations and analysis are performed in computer-aided design (CAD) software to calculate the flow of fluids in a certain system. CFD can for example be used to simulate the mixing of chemicals in a pipe, the reaction throughout a reactor or the turbulence in a turbulent flow.</a:t>
            </a:r>
            <a:endParaRPr lang="sv-SE" sz="1200"/>
          </a:p>
          <a:p>
            <a:endParaRPr lang="sv-SE"/>
          </a:p>
          <a:p>
            <a:endParaRPr lang="en-US" b="0" i="0">
              <a:effectLst/>
              <a:latin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4DB91F-1AD8-437C-8866-3636784D085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0930405"/>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b="1" u="sng"/>
              <a:t>Digital Twin (DT) and </a:t>
            </a:r>
            <a:r>
              <a:rPr lang="sv-SE" b="1" u="sng" err="1"/>
              <a:t>Reduced</a:t>
            </a:r>
            <a:r>
              <a:rPr lang="sv-SE" b="1" u="sng"/>
              <a:t> order </a:t>
            </a:r>
            <a:r>
              <a:rPr lang="sv-SE" b="1" u="sng" err="1"/>
              <a:t>model</a:t>
            </a:r>
            <a:r>
              <a:rPr lang="sv-SE" b="1" u="sng"/>
              <a:t> (ROM)</a:t>
            </a:r>
          </a:p>
          <a:p>
            <a:pPr marL="171450" indent="-171450">
              <a:buFont typeface="Arial" panose="020B0604020202020204" pitchFamily="34" charset="0"/>
              <a:buChar char="•"/>
            </a:pPr>
            <a:r>
              <a:rPr lang="sv-SE" err="1"/>
              <a:t>Explanation</a:t>
            </a:r>
            <a:r>
              <a:rPr lang="sv-SE"/>
              <a:t> </a:t>
            </a:r>
            <a:r>
              <a:rPr lang="sv-SE" err="1"/>
              <a:t>of</a:t>
            </a:r>
            <a:r>
              <a:rPr lang="sv-SE"/>
              <a:t> the DT: t</a:t>
            </a:r>
            <a:r>
              <a:rPr lang="en-US" b="0" i="0">
                <a:effectLst/>
                <a:latin typeface="Arial" panose="020B0604020202020204" pitchFamily="34" charset="0"/>
              </a:rPr>
              <a:t>he strategy to build the ROM consists in running CFD simulations in many different scenarios representing different operations of the reactor, relating to different recipes.</a:t>
            </a:r>
          </a:p>
          <a:p>
            <a:pPr marL="171450" indent="-171450">
              <a:buFont typeface="Arial" panose="020B0604020202020204" pitchFamily="34" charset="0"/>
              <a:buChar char="•"/>
            </a:pPr>
            <a:r>
              <a:rPr lang="en-US" b="0" i="0">
                <a:effectLst/>
                <a:latin typeface="Arial" panose="020B0604020202020204" pitchFamily="34" charset="0"/>
              </a:rPr>
              <a:t>The results of such simulations are used to produce a mathematical representation of the CFD model with reduces complexity. </a:t>
            </a:r>
          </a:p>
          <a:p>
            <a:pPr marL="171450" indent="-171450">
              <a:buFont typeface="Arial" panose="020B0604020202020204" pitchFamily="34" charset="0"/>
              <a:buChar char="•"/>
            </a:pPr>
            <a:r>
              <a:rPr lang="en-US" b="0" i="0">
                <a:effectLst/>
                <a:latin typeface="Arial" panose="020B0604020202020204" pitchFamily="34" charset="0"/>
              </a:rPr>
              <a:t>The advantage of the ROM is that it can be used to simulate new scenarios in real time, instead of hours or days necessary to run a CFD simulation.</a:t>
            </a:r>
          </a:p>
          <a:p>
            <a:pPr marL="171450" indent="-171450">
              <a:buFont typeface="Arial" panose="020B0604020202020204" pitchFamily="34" charset="0"/>
              <a:buChar char="•"/>
            </a:pPr>
            <a:r>
              <a:rPr lang="en-US" b="0" i="0">
                <a:effectLst/>
                <a:latin typeface="Arial" panose="020B0604020202020204" pitchFamily="34" charset="0"/>
              </a:rPr>
              <a:t>The ROM can be exported using standard libraries to a format usable by control environments. In this way it will be integrated in the decision support system (DSS), allowing the user to run simulations in real time of new scenarios an assess their suitability before implementing them.</a:t>
            </a:r>
          </a:p>
          <a:p>
            <a:endParaRPr lang="en-US" b="0" i="0">
              <a:effectLst/>
              <a:latin typeface="Arial" panose="020B0604020202020204" pitchFamily="34" charset="0"/>
            </a:endParaRPr>
          </a:p>
          <a:p>
            <a:r>
              <a:rPr lang="en-US" sz="1200" b="1" u="sng"/>
              <a:t>Computational Fluid Dynamics (CFD)</a:t>
            </a:r>
          </a:p>
          <a:p>
            <a:r>
              <a:rPr lang="en-US" sz="1200"/>
              <a:t>Computational fluid dynamics (CFD) is a branch of fluid dynamics where simulations and analysis are performed in computer-aided design (CAD) software to calculate the flow of fluids in a certain system. CFD can for example be used to simulate the mixing of chemicals in a pipe, the reaction throughout a reactor or the turbulence in a turbulent flow.</a:t>
            </a:r>
            <a:endParaRPr lang="sv-SE" sz="1200"/>
          </a:p>
          <a:p>
            <a:endParaRPr lang="sv-SE" i="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4DB91F-1AD8-437C-8866-3636784D085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6295718"/>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4DB91F-1AD8-437C-8866-3636784D085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49229091"/>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i="0">
                <a:solidFill>
                  <a:srgbClr val="000000"/>
                </a:solidFill>
                <a:latin typeface="Arial" panose="020B0604020202020204" pitchFamily="34" charset="0"/>
              </a:rPr>
              <a:t>A geometric model of the reactor is built (left imag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i="0">
                <a:solidFill>
                  <a:srgbClr val="000000"/>
                </a:solidFill>
                <a:latin typeface="Arial" panose="020B0604020202020204" pitchFamily="34" charset="0"/>
              </a:rPr>
              <a:t>Thereafter, a mesh is applied to the geometric model in order to divide it into a finite number of volumes (right imag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i="0">
                <a:solidFill>
                  <a:srgbClr val="000000"/>
                </a:solidFill>
                <a:latin typeface="Arial" panose="020B0604020202020204" pitchFamily="34" charset="0"/>
              </a:rPr>
              <a:t>The equations that are solved in the simulation will be numerically solved in each volume in order to obtain a final solution.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i="0">
                <a:solidFill>
                  <a:srgbClr val="000000"/>
                </a:solidFill>
                <a:latin typeface="Arial" panose="020B0604020202020204" pitchFamily="34" charset="0"/>
              </a:rPr>
              <a:t>The physics inside the reactor could in this way be modelled in </a:t>
            </a:r>
            <a:r>
              <a:rPr lang="en-US" sz="1200" b="1" i="0">
                <a:solidFill>
                  <a:srgbClr val="000000"/>
                </a:solidFill>
                <a:latin typeface="Arial" panose="020B0604020202020204" pitchFamily="34" charset="0"/>
              </a:rPr>
              <a:t>Ansys Fluent</a:t>
            </a:r>
            <a:r>
              <a:rPr lang="en-US" sz="1200" i="0">
                <a:solidFill>
                  <a:srgbClr val="000000"/>
                </a:solidFill>
                <a:latin typeface="Arial" panose="020B0604020202020204" pitchFamily="34" charset="0"/>
              </a:rPr>
              <a:t>.</a:t>
            </a:r>
            <a:endParaRPr lang="en-US" sz="1200" b="0" i="0" u="none" strike="noStrike" baseline="0">
              <a:solidFill>
                <a:srgbClr val="000000"/>
              </a:solidFill>
              <a:latin typeface="Arial" panose="020B0604020202020204" pitchFamily="34" charset="0"/>
            </a:endParaRPr>
          </a:p>
          <a:p>
            <a:endParaRPr lang="sv-SE" sz="1200" b="1"/>
          </a:p>
          <a:p>
            <a:r>
              <a:rPr lang="sv-SE" sz="1200" b="1" err="1"/>
              <a:t>Comment</a:t>
            </a:r>
            <a:r>
              <a:rPr lang="sv-SE" sz="1200" b="1"/>
              <a:t> to </a:t>
            </a:r>
            <a:r>
              <a:rPr lang="sv-SE" sz="1200" b="1" err="1"/>
              <a:t>Geometric</a:t>
            </a:r>
            <a:r>
              <a:rPr lang="sv-SE" sz="1200" b="1"/>
              <a:t> </a:t>
            </a:r>
            <a:r>
              <a:rPr lang="sv-SE" sz="1200" b="1" err="1"/>
              <a:t>model</a:t>
            </a:r>
            <a:r>
              <a:rPr lang="sv-SE" sz="1200" b="1"/>
              <a:t> (</a:t>
            </a:r>
            <a:r>
              <a:rPr lang="sv-SE" sz="1200" b="1" err="1"/>
              <a:t>left</a:t>
            </a:r>
            <a:r>
              <a:rPr lang="sv-SE" sz="1200" b="1"/>
              <a:t> image): </a:t>
            </a:r>
            <a:r>
              <a:rPr lang="sv-SE" sz="1200" b="1" err="1"/>
              <a:t>Modelling</a:t>
            </a:r>
            <a:r>
              <a:rPr lang="sv-SE" sz="1200" b="1"/>
              <a:t> </a:t>
            </a:r>
            <a:r>
              <a:rPr lang="sv-SE" sz="1200" b="1" err="1"/>
              <a:t>half</a:t>
            </a:r>
            <a:r>
              <a:rPr lang="sv-SE" sz="1200" b="1"/>
              <a:t> the </a:t>
            </a:r>
            <a:r>
              <a:rPr lang="sv-SE" sz="1200" b="1" err="1"/>
              <a:t>reactor</a:t>
            </a:r>
            <a:endParaRPr lang="sv-SE" sz="1200" b="1"/>
          </a:p>
          <a:p>
            <a:r>
              <a:rPr lang="sv-SE" sz="1200" err="1"/>
              <a:t>Modelling</a:t>
            </a:r>
            <a:r>
              <a:rPr lang="sv-SE" sz="1200"/>
              <a:t> </a:t>
            </a:r>
            <a:r>
              <a:rPr lang="sv-SE" sz="1200" err="1"/>
              <a:t>half</a:t>
            </a:r>
            <a:r>
              <a:rPr lang="sv-SE" sz="1200"/>
              <a:t> the </a:t>
            </a:r>
            <a:r>
              <a:rPr lang="sv-SE" sz="1200" err="1"/>
              <a:t>reactor</a:t>
            </a:r>
            <a:r>
              <a:rPr lang="sv-SE" sz="1200"/>
              <a:t> </a:t>
            </a:r>
            <a:r>
              <a:rPr lang="sv-SE" sz="1200" err="1"/>
              <a:t>reduces</a:t>
            </a:r>
            <a:r>
              <a:rPr lang="sv-SE" sz="1200"/>
              <a:t> the </a:t>
            </a:r>
            <a:r>
              <a:rPr lang="sv-SE" sz="1200" err="1"/>
              <a:t>number</a:t>
            </a:r>
            <a:r>
              <a:rPr lang="sv-SE" sz="1200"/>
              <a:t> </a:t>
            </a:r>
            <a:r>
              <a:rPr lang="sv-SE" sz="1200" err="1"/>
              <a:t>of</a:t>
            </a:r>
            <a:r>
              <a:rPr lang="sv-SE" sz="1200"/>
              <a:t> elements </a:t>
            </a:r>
            <a:r>
              <a:rPr lang="sv-SE" sz="1200" err="1"/>
              <a:t>needed</a:t>
            </a:r>
            <a:r>
              <a:rPr lang="sv-SE" sz="1200"/>
              <a:t> to </a:t>
            </a:r>
            <a:r>
              <a:rPr lang="sv-SE" sz="1200" err="1"/>
              <a:t>obtain</a:t>
            </a:r>
            <a:r>
              <a:rPr lang="sv-SE" sz="1200"/>
              <a:t> </a:t>
            </a:r>
            <a:r>
              <a:rPr lang="sv-SE" sz="1200" err="1"/>
              <a:t>accurate</a:t>
            </a:r>
            <a:r>
              <a:rPr lang="sv-SE" sz="1200"/>
              <a:t> </a:t>
            </a:r>
            <a:r>
              <a:rPr lang="sv-SE" sz="1200" err="1"/>
              <a:t>results</a:t>
            </a:r>
            <a:r>
              <a:rPr lang="sv-SE" sz="1200"/>
              <a:t>. </a:t>
            </a:r>
            <a:r>
              <a:rPr lang="sv-SE" sz="1200" err="1"/>
              <a:t>Therefore</a:t>
            </a:r>
            <a:r>
              <a:rPr lang="sv-SE" sz="1200"/>
              <a:t>, the </a:t>
            </a:r>
            <a:r>
              <a:rPr lang="sv-SE" sz="1200" err="1"/>
              <a:t>computational</a:t>
            </a:r>
            <a:r>
              <a:rPr lang="sv-SE" sz="1200"/>
              <a:t> </a:t>
            </a:r>
            <a:r>
              <a:rPr lang="sv-SE" sz="1200" err="1"/>
              <a:t>cost</a:t>
            </a:r>
            <a:r>
              <a:rPr lang="sv-SE" sz="1200"/>
              <a:t> </a:t>
            </a:r>
            <a:r>
              <a:rPr lang="sv-SE" sz="1200" err="1"/>
              <a:t>of</a:t>
            </a:r>
            <a:r>
              <a:rPr lang="sv-SE" sz="1200"/>
              <a:t> the simulation is </a:t>
            </a:r>
            <a:r>
              <a:rPr lang="sv-SE" sz="1200" err="1"/>
              <a:t>reduced</a:t>
            </a:r>
            <a:r>
              <a:rPr lang="sv-SE" sz="1200"/>
              <a:t>.</a:t>
            </a:r>
          </a:p>
          <a:p>
            <a:endParaRPr lang="sv-SE"/>
          </a:p>
          <a:p>
            <a:r>
              <a:rPr lang="sv-SE" sz="1200" b="1" err="1"/>
              <a:t>About</a:t>
            </a:r>
            <a:r>
              <a:rPr lang="sv-SE" sz="1200" b="1"/>
              <a:t> </a:t>
            </a:r>
            <a:r>
              <a:rPr lang="sv-SE" sz="1200" b="1" err="1"/>
              <a:t>Ansys</a:t>
            </a:r>
            <a:r>
              <a:rPr lang="sv-SE" sz="1200" b="1"/>
              <a:t> </a:t>
            </a:r>
            <a:r>
              <a:rPr lang="sv-SE" sz="1200" b="1" err="1"/>
              <a:t>Fluent</a:t>
            </a:r>
            <a:endParaRPr lang="sv-SE" sz="1200" b="1"/>
          </a:p>
          <a:p>
            <a:pPr algn="l"/>
            <a:r>
              <a:rPr lang="en-US" sz="1200" b="0" i="0">
                <a:solidFill>
                  <a:srgbClr val="202122"/>
                </a:solidFill>
                <a:effectLst/>
                <a:latin typeface="Arial" panose="020B0604020202020204" pitchFamily="34" charset="0"/>
              </a:rPr>
              <a:t>Ansys Fluent is a Computational </a:t>
            </a:r>
            <a:r>
              <a:rPr lang="en-US" sz="1200">
                <a:solidFill>
                  <a:srgbClr val="202122"/>
                </a:solidFill>
                <a:latin typeface="Arial" panose="020B0604020202020204" pitchFamily="34" charset="0"/>
              </a:rPr>
              <a:t>F</a:t>
            </a:r>
            <a:r>
              <a:rPr lang="en-US" sz="1200" b="0" i="0">
                <a:solidFill>
                  <a:srgbClr val="202122"/>
                </a:solidFill>
                <a:effectLst/>
                <a:latin typeface="Arial" panose="020B0604020202020204" pitchFamily="34" charset="0"/>
              </a:rPr>
              <a:t>luid </a:t>
            </a:r>
            <a:r>
              <a:rPr lang="en-US" sz="1200">
                <a:solidFill>
                  <a:srgbClr val="202122"/>
                </a:solidFill>
                <a:latin typeface="Arial" panose="020B0604020202020204" pitchFamily="34" charset="0"/>
              </a:rPr>
              <a:t>D</a:t>
            </a:r>
            <a:r>
              <a:rPr lang="en-US" sz="1200" b="0" i="0">
                <a:solidFill>
                  <a:srgbClr val="202122"/>
                </a:solidFill>
                <a:effectLst/>
                <a:latin typeface="Arial" panose="020B0604020202020204" pitchFamily="34" charset="0"/>
              </a:rPr>
              <a:t>ynamics (CFD) software used to model fluid flow, heat and mass transfer, chemical reactions, and more. </a:t>
            </a:r>
          </a:p>
          <a:p>
            <a:pPr algn="l"/>
            <a:r>
              <a:rPr lang="en-US" sz="1200" b="0" i="0">
                <a:solidFill>
                  <a:srgbClr val="202122"/>
                </a:solidFill>
                <a:effectLst/>
                <a:latin typeface="Arial" panose="020B0604020202020204" pitchFamily="34" charset="0"/>
              </a:rPr>
              <a:t>For example, Ansys Fluent may simulate a combustion process in a reactor to analyze the variations in concentrations and temperatures.</a:t>
            </a:r>
          </a:p>
          <a:p>
            <a:pPr algn="l"/>
            <a:endParaRPr lang="en-US" sz="1200" b="0" i="0">
              <a:solidFill>
                <a:srgbClr val="202122"/>
              </a:solidFill>
              <a:effectLst/>
              <a:latin typeface="Arial" panose="020B0604020202020204" pitchFamily="34" charset="0"/>
            </a:endParaRPr>
          </a:p>
          <a:p>
            <a:pPr algn="l"/>
            <a:endParaRPr lang="sv-SE" sz="1200"/>
          </a:p>
          <a:p>
            <a:endParaRPr lang="sv-SE"/>
          </a:p>
        </p:txBody>
      </p:sp>
      <p:sp>
        <p:nvSpPr>
          <p:cNvPr id="4" name="Slide Number Placeholder 3"/>
          <p:cNvSpPr>
            <a:spLocks noGrp="1"/>
          </p:cNvSpPr>
          <p:nvPr>
            <p:ph type="sldNum" sz="quarter" idx="5"/>
          </p:nvPr>
        </p:nvSpPr>
        <p:spPr/>
        <p:txBody>
          <a:bodyPr/>
          <a:lstStyle/>
          <a:p>
            <a:fld id="{F84DB91F-1AD8-437C-8866-3636784D0854}" type="slidenum">
              <a:rPr lang="en-GB" smtClean="0"/>
              <a:t>105</a:t>
            </a:fld>
            <a:endParaRPr lang="en-GB"/>
          </a:p>
        </p:txBody>
      </p:sp>
    </p:spTree>
    <p:extLst>
      <p:ext uri="{BB962C8B-B14F-4D97-AF65-F5344CB8AC3E}">
        <p14:creationId xmlns:p14="http://schemas.microsoft.com/office/powerpoint/2010/main" val="4054997246"/>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sv-SE" i="0" err="1"/>
              <a:t>Since</a:t>
            </a:r>
            <a:r>
              <a:rPr lang="sv-SE" i="0"/>
              <a:t> the </a:t>
            </a:r>
            <a:r>
              <a:rPr lang="sv-SE" i="0" err="1"/>
              <a:t>mixture</a:t>
            </a:r>
            <a:r>
              <a:rPr lang="sv-SE" i="0"/>
              <a:t> </a:t>
            </a:r>
            <a:r>
              <a:rPr lang="sv-SE" i="0" err="1"/>
              <a:t>of</a:t>
            </a:r>
            <a:r>
              <a:rPr lang="sv-SE" i="0"/>
              <a:t> the </a:t>
            </a:r>
            <a:r>
              <a:rPr lang="sv-SE" i="0" err="1"/>
              <a:t>reactants</a:t>
            </a:r>
            <a:r>
              <a:rPr lang="sv-SE" i="0"/>
              <a:t> </a:t>
            </a:r>
            <a:r>
              <a:rPr lang="sv-SE" i="0" err="1"/>
              <a:t>have</a:t>
            </a:r>
            <a:r>
              <a:rPr lang="sv-SE" i="0"/>
              <a:t> a strong </a:t>
            </a:r>
            <a:r>
              <a:rPr lang="sv-SE" i="0" err="1"/>
              <a:t>influence</a:t>
            </a:r>
            <a:r>
              <a:rPr lang="sv-SE" i="0"/>
              <a:t> on </a:t>
            </a:r>
            <a:r>
              <a:rPr lang="sv-SE" i="0" err="1"/>
              <a:t>product</a:t>
            </a:r>
            <a:r>
              <a:rPr lang="sv-SE" i="0"/>
              <a:t> formation and </a:t>
            </a:r>
            <a:r>
              <a:rPr lang="sv-SE" i="0" err="1"/>
              <a:t>reactor</a:t>
            </a:r>
            <a:r>
              <a:rPr lang="sv-SE" i="0"/>
              <a:t> </a:t>
            </a:r>
            <a:r>
              <a:rPr lang="sv-SE" i="0" err="1"/>
              <a:t>temperature</a:t>
            </a:r>
            <a:r>
              <a:rPr lang="sv-SE" i="0"/>
              <a:t>, it is </a:t>
            </a:r>
            <a:r>
              <a:rPr lang="sv-SE" i="0" err="1"/>
              <a:t>important</a:t>
            </a:r>
            <a:r>
              <a:rPr lang="sv-SE" i="0"/>
              <a:t> </a:t>
            </a:r>
            <a:r>
              <a:rPr lang="sv-SE" i="0" err="1"/>
              <a:t>that</a:t>
            </a:r>
            <a:r>
              <a:rPr lang="sv-SE" i="0"/>
              <a:t> the </a:t>
            </a:r>
            <a:r>
              <a:rPr lang="sv-SE" i="0" err="1"/>
              <a:t>model</a:t>
            </a:r>
            <a:r>
              <a:rPr lang="sv-SE" i="0"/>
              <a:t> </a:t>
            </a:r>
            <a:r>
              <a:rPr lang="sv-SE" i="0" err="1"/>
              <a:t>accounts</a:t>
            </a:r>
            <a:r>
              <a:rPr lang="sv-SE" i="0"/>
              <a:t> for the </a:t>
            </a:r>
            <a:r>
              <a:rPr lang="sv-SE" i="0" err="1"/>
              <a:t>mixing</a:t>
            </a:r>
            <a:r>
              <a:rPr lang="sv-SE" i="0"/>
              <a: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i="0" err="1"/>
              <a:t>Mixing</a:t>
            </a:r>
            <a:r>
              <a:rPr lang="sv-SE" i="0"/>
              <a:t> </a:t>
            </a:r>
            <a:r>
              <a:rPr lang="sv-SE" i="0" err="1"/>
              <a:t>of</a:t>
            </a:r>
            <a:r>
              <a:rPr lang="sv-SE" i="0"/>
              <a:t> the </a:t>
            </a:r>
            <a:r>
              <a:rPr lang="sv-SE" i="0" err="1"/>
              <a:t>reactants</a:t>
            </a:r>
            <a:r>
              <a:rPr lang="sv-SE" i="0"/>
              <a:t> in the </a:t>
            </a:r>
            <a:r>
              <a:rPr lang="sv-SE" i="0" err="1"/>
              <a:t>reactors</a:t>
            </a:r>
            <a:r>
              <a:rPr lang="sv-SE" i="0"/>
              <a:t> is </a:t>
            </a:r>
            <a:r>
              <a:rPr lang="sv-SE" i="0" err="1"/>
              <a:t>facilitated</a:t>
            </a:r>
            <a:r>
              <a:rPr lang="sv-SE" i="0"/>
              <a:t> by </a:t>
            </a:r>
            <a:r>
              <a:rPr lang="sv-SE" i="0" err="1"/>
              <a:t>turbulence</a:t>
            </a:r>
            <a:r>
              <a:rPr lang="sv-SE" i="0"/>
              <a:t>.</a:t>
            </a:r>
          </a:p>
          <a:p>
            <a:pPr marL="171450" indent="-171450">
              <a:buFont typeface="Arial" panose="020B0604020202020204" pitchFamily="34" charset="0"/>
              <a:buChar char="•"/>
            </a:pPr>
            <a:r>
              <a:rPr lang="sv-SE" i="0"/>
              <a:t>The </a:t>
            </a:r>
            <a:r>
              <a:rPr lang="sv-SE" i="0" err="1"/>
              <a:t>selection</a:t>
            </a:r>
            <a:r>
              <a:rPr lang="sv-SE" i="0"/>
              <a:t> </a:t>
            </a:r>
            <a:r>
              <a:rPr lang="sv-SE" i="0" err="1"/>
              <a:t>of</a:t>
            </a:r>
            <a:r>
              <a:rPr lang="sv-SE" i="0"/>
              <a:t> a </a:t>
            </a:r>
            <a:r>
              <a:rPr lang="sv-SE" i="0" err="1"/>
              <a:t>suitable</a:t>
            </a:r>
            <a:r>
              <a:rPr lang="sv-SE" i="0"/>
              <a:t> </a:t>
            </a:r>
            <a:r>
              <a:rPr lang="sv-SE" i="0" err="1"/>
              <a:t>turbulence</a:t>
            </a:r>
            <a:r>
              <a:rPr lang="sv-SE" i="0"/>
              <a:t> </a:t>
            </a:r>
            <a:r>
              <a:rPr lang="sv-SE" i="0" err="1"/>
              <a:t>model</a:t>
            </a:r>
            <a:r>
              <a:rPr lang="sv-SE" i="0"/>
              <a:t> is </a:t>
            </a:r>
            <a:r>
              <a:rPr lang="sv-SE" i="0" err="1"/>
              <a:t>therefore</a:t>
            </a:r>
            <a:r>
              <a:rPr lang="sv-SE" i="0"/>
              <a:t> </a:t>
            </a:r>
            <a:r>
              <a:rPr lang="sv-SE" i="0" err="1"/>
              <a:t>important</a:t>
            </a:r>
            <a:r>
              <a:rPr lang="sv-SE" i="0"/>
              <a:t> in order to </a:t>
            </a:r>
            <a:r>
              <a:rPr lang="sv-SE" i="0" err="1"/>
              <a:t>obtain</a:t>
            </a:r>
            <a:r>
              <a:rPr lang="sv-SE" i="0"/>
              <a:t> </a:t>
            </a:r>
            <a:r>
              <a:rPr lang="sv-SE" i="0" err="1"/>
              <a:t>accurate</a:t>
            </a:r>
            <a:r>
              <a:rPr lang="sv-SE" i="0"/>
              <a:t> </a:t>
            </a:r>
            <a:r>
              <a:rPr lang="sv-SE" i="0" err="1"/>
              <a:t>results</a:t>
            </a:r>
            <a:r>
              <a:rPr lang="sv-SE" i="0"/>
              <a:t> from the simulation.</a:t>
            </a:r>
          </a:p>
          <a:p>
            <a:pPr marL="171450" indent="-171450">
              <a:buFont typeface="Arial" panose="020B0604020202020204" pitchFamily="34" charset="0"/>
              <a:buChar char="•"/>
            </a:pPr>
            <a:r>
              <a:rPr lang="sv-SE" sz="1200">
                <a:cs typeface="Arial" panose="020B0604020202020204" pitchFamily="34" charset="0"/>
              </a:rPr>
              <a:t>A </a:t>
            </a:r>
            <a:r>
              <a:rPr lang="sv-SE" sz="1200" err="1">
                <a:cs typeface="Arial" panose="020B0604020202020204" pitchFamily="34" charset="0"/>
              </a:rPr>
              <a:t>turbulence</a:t>
            </a:r>
            <a:r>
              <a:rPr lang="sv-SE" sz="1200">
                <a:cs typeface="Arial" panose="020B0604020202020204" pitchFamily="34" charset="0"/>
              </a:rPr>
              <a:t> </a:t>
            </a:r>
            <a:r>
              <a:rPr lang="sv-SE" sz="1200" err="1">
                <a:cs typeface="Arial" panose="020B0604020202020204" pitchFamily="34" charset="0"/>
              </a:rPr>
              <a:t>model</a:t>
            </a:r>
            <a:r>
              <a:rPr lang="sv-SE" sz="1200">
                <a:cs typeface="Arial" panose="020B0604020202020204" pitchFamily="34" charset="0"/>
              </a:rPr>
              <a:t> is a </a:t>
            </a:r>
            <a:r>
              <a:rPr lang="sv-SE" sz="1200" err="1">
                <a:cs typeface="Arial" panose="020B0604020202020204" pitchFamily="34" charset="0"/>
              </a:rPr>
              <a:t>mathematical</a:t>
            </a:r>
            <a:r>
              <a:rPr lang="sv-SE" sz="1200">
                <a:cs typeface="Arial" panose="020B0604020202020204" pitchFamily="34" charset="0"/>
              </a:rPr>
              <a:t> </a:t>
            </a:r>
            <a:r>
              <a:rPr lang="sv-SE" sz="1200" err="1">
                <a:cs typeface="Arial" panose="020B0604020202020204" pitchFamily="34" charset="0"/>
              </a:rPr>
              <a:t>model</a:t>
            </a:r>
            <a:r>
              <a:rPr lang="sv-SE" sz="1200">
                <a:cs typeface="Arial" panose="020B0604020202020204" pitchFamily="34" charset="0"/>
              </a:rPr>
              <a:t> </a:t>
            </a:r>
            <a:r>
              <a:rPr lang="sv-SE" sz="1200" err="1">
                <a:cs typeface="Arial" panose="020B0604020202020204" pitchFamily="34" charset="0"/>
              </a:rPr>
              <a:t>used</a:t>
            </a:r>
            <a:r>
              <a:rPr lang="sv-SE" sz="1200">
                <a:cs typeface="Arial" panose="020B0604020202020204" pitchFamily="34" charset="0"/>
              </a:rPr>
              <a:t> to </a:t>
            </a:r>
            <a:r>
              <a:rPr lang="sv-SE" sz="1200" err="1">
                <a:cs typeface="Arial" panose="020B0604020202020204" pitchFamily="34" charset="0"/>
              </a:rPr>
              <a:t>include</a:t>
            </a:r>
            <a:r>
              <a:rPr lang="sv-SE" sz="1200">
                <a:cs typeface="Arial" panose="020B0604020202020204" pitchFamily="34" charset="0"/>
              </a:rPr>
              <a:t> the </a:t>
            </a:r>
            <a:r>
              <a:rPr lang="sv-SE" sz="1200" b="1" err="1">
                <a:cs typeface="Arial" panose="020B0604020202020204" pitchFamily="34" charset="0"/>
              </a:rPr>
              <a:t>effects</a:t>
            </a:r>
            <a:r>
              <a:rPr lang="sv-SE" sz="1200" b="1">
                <a:cs typeface="Arial" panose="020B0604020202020204" pitchFamily="34" charset="0"/>
              </a:rPr>
              <a:t> </a:t>
            </a:r>
            <a:r>
              <a:rPr lang="sv-SE" sz="1200" b="1" err="1">
                <a:cs typeface="Arial" panose="020B0604020202020204" pitchFamily="34" charset="0"/>
              </a:rPr>
              <a:t>of</a:t>
            </a:r>
            <a:r>
              <a:rPr lang="sv-SE" sz="1200" b="1">
                <a:cs typeface="Arial" panose="020B0604020202020204" pitchFamily="34" charset="0"/>
              </a:rPr>
              <a:t> </a:t>
            </a:r>
            <a:r>
              <a:rPr lang="sv-SE" sz="1200" b="1" err="1">
                <a:cs typeface="Arial" panose="020B0604020202020204" pitchFamily="34" charset="0"/>
              </a:rPr>
              <a:t>turbulence</a:t>
            </a:r>
            <a:r>
              <a:rPr lang="sv-SE" sz="1200">
                <a:cs typeface="Arial" panose="020B0604020202020204" pitchFamily="34" charset="0"/>
              </a:rPr>
              <a:t> in the CFD simulation.</a:t>
            </a:r>
          </a:p>
          <a:p>
            <a:pPr marL="171450" indent="-171450">
              <a:buFont typeface="Arial" panose="020B0604020202020204" pitchFamily="34" charset="0"/>
              <a:buChar char="•"/>
            </a:pPr>
            <a:endParaRPr lang="sv-SE" i="0"/>
          </a:p>
        </p:txBody>
      </p:sp>
      <p:sp>
        <p:nvSpPr>
          <p:cNvPr id="4" name="Slide Number Placeholder 3"/>
          <p:cNvSpPr>
            <a:spLocks noGrp="1"/>
          </p:cNvSpPr>
          <p:nvPr>
            <p:ph type="sldNum" sz="quarter" idx="5"/>
          </p:nvPr>
        </p:nvSpPr>
        <p:spPr/>
        <p:txBody>
          <a:bodyPr/>
          <a:lstStyle/>
          <a:p>
            <a:fld id="{F84DB91F-1AD8-437C-8866-3636784D0854}" type="slidenum">
              <a:rPr lang="en-GB" smtClean="0"/>
              <a:t>106</a:t>
            </a:fld>
            <a:endParaRPr lang="en-GB"/>
          </a:p>
        </p:txBody>
      </p:sp>
    </p:spTree>
    <p:extLst>
      <p:ext uri="{BB962C8B-B14F-4D97-AF65-F5344CB8AC3E}">
        <p14:creationId xmlns:p14="http://schemas.microsoft.com/office/powerpoint/2010/main" val="881630844"/>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200">
                <a:cs typeface="Arial" panose="020B0604020202020204" pitchFamily="34" charset="0"/>
              </a:rPr>
              <a:t>A </a:t>
            </a:r>
            <a:r>
              <a:rPr lang="sv-SE" sz="1200" err="1">
                <a:cs typeface="Arial" panose="020B0604020202020204" pitchFamily="34" charset="0"/>
              </a:rPr>
              <a:t>turbulence</a:t>
            </a:r>
            <a:r>
              <a:rPr lang="sv-SE" sz="1200">
                <a:cs typeface="Arial" panose="020B0604020202020204" pitchFamily="34" charset="0"/>
              </a:rPr>
              <a:t> </a:t>
            </a:r>
            <a:r>
              <a:rPr lang="sv-SE" sz="1200" err="1">
                <a:cs typeface="Arial" panose="020B0604020202020204" pitchFamily="34" charset="0"/>
              </a:rPr>
              <a:t>model</a:t>
            </a:r>
            <a:r>
              <a:rPr lang="sv-SE" sz="1200">
                <a:cs typeface="Arial" panose="020B0604020202020204" pitchFamily="34" charset="0"/>
              </a:rPr>
              <a:t> is a </a:t>
            </a:r>
            <a:r>
              <a:rPr lang="sv-SE" sz="1200" err="1">
                <a:cs typeface="Arial" panose="020B0604020202020204" pitchFamily="34" charset="0"/>
              </a:rPr>
              <a:t>mathematical</a:t>
            </a:r>
            <a:r>
              <a:rPr lang="sv-SE" sz="1200">
                <a:cs typeface="Arial" panose="020B0604020202020204" pitchFamily="34" charset="0"/>
              </a:rPr>
              <a:t> </a:t>
            </a:r>
            <a:r>
              <a:rPr lang="sv-SE" sz="1200" err="1">
                <a:cs typeface="Arial" panose="020B0604020202020204" pitchFamily="34" charset="0"/>
              </a:rPr>
              <a:t>model</a:t>
            </a:r>
            <a:r>
              <a:rPr lang="sv-SE" sz="1200">
                <a:cs typeface="Arial" panose="020B0604020202020204" pitchFamily="34" charset="0"/>
              </a:rPr>
              <a:t> </a:t>
            </a:r>
            <a:r>
              <a:rPr lang="sv-SE" sz="1200" err="1">
                <a:cs typeface="Arial" panose="020B0604020202020204" pitchFamily="34" charset="0"/>
              </a:rPr>
              <a:t>used</a:t>
            </a:r>
            <a:r>
              <a:rPr lang="sv-SE" sz="1200">
                <a:cs typeface="Arial" panose="020B0604020202020204" pitchFamily="34" charset="0"/>
              </a:rPr>
              <a:t> to </a:t>
            </a:r>
            <a:r>
              <a:rPr lang="sv-SE" sz="1200" err="1">
                <a:cs typeface="Arial" panose="020B0604020202020204" pitchFamily="34" charset="0"/>
              </a:rPr>
              <a:t>include</a:t>
            </a:r>
            <a:r>
              <a:rPr lang="sv-SE" sz="1200">
                <a:cs typeface="Arial" panose="020B0604020202020204" pitchFamily="34" charset="0"/>
              </a:rPr>
              <a:t> the </a:t>
            </a:r>
            <a:r>
              <a:rPr lang="sv-SE" sz="1200" b="1" err="1">
                <a:cs typeface="Arial" panose="020B0604020202020204" pitchFamily="34" charset="0"/>
              </a:rPr>
              <a:t>effects</a:t>
            </a:r>
            <a:r>
              <a:rPr lang="sv-SE" sz="1200" b="1">
                <a:cs typeface="Arial" panose="020B0604020202020204" pitchFamily="34" charset="0"/>
              </a:rPr>
              <a:t> </a:t>
            </a:r>
            <a:r>
              <a:rPr lang="sv-SE" sz="1200" b="1" err="1">
                <a:cs typeface="Arial" panose="020B0604020202020204" pitchFamily="34" charset="0"/>
              </a:rPr>
              <a:t>of</a:t>
            </a:r>
            <a:r>
              <a:rPr lang="sv-SE" sz="1200" b="1">
                <a:cs typeface="Arial" panose="020B0604020202020204" pitchFamily="34" charset="0"/>
              </a:rPr>
              <a:t> </a:t>
            </a:r>
            <a:r>
              <a:rPr lang="sv-SE" sz="1200" b="1" err="1">
                <a:cs typeface="Arial" panose="020B0604020202020204" pitchFamily="34" charset="0"/>
              </a:rPr>
              <a:t>turbulence</a:t>
            </a:r>
            <a:r>
              <a:rPr lang="sv-SE" sz="1200">
                <a:cs typeface="Arial" panose="020B0604020202020204" pitchFamily="34" charset="0"/>
              </a:rPr>
              <a:t> in the CFD simulation. </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1200" err="1">
                <a:cs typeface="Arial" panose="020B0604020202020204" pitchFamily="34" charset="0"/>
              </a:rPr>
              <a:t>There</a:t>
            </a:r>
            <a:r>
              <a:rPr lang="sv-SE" sz="1200">
                <a:cs typeface="Arial" panose="020B0604020202020204" pitchFamily="34" charset="0"/>
              </a:rPr>
              <a:t> </a:t>
            </a:r>
            <a:r>
              <a:rPr lang="sv-SE" sz="1200" err="1">
                <a:cs typeface="Arial" panose="020B0604020202020204" pitchFamily="34" charset="0"/>
              </a:rPr>
              <a:t>are</a:t>
            </a:r>
            <a:r>
              <a:rPr lang="sv-SE" sz="1200">
                <a:cs typeface="Arial" panose="020B0604020202020204" pitchFamily="34" charset="0"/>
              </a:rPr>
              <a:t> </a:t>
            </a:r>
            <a:r>
              <a:rPr lang="sv-SE" sz="1200" err="1">
                <a:cs typeface="Arial" panose="020B0604020202020204" pitchFamily="34" charset="0"/>
              </a:rPr>
              <a:t>several</a:t>
            </a:r>
            <a:r>
              <a:rPr lang="sv-SE" sz="1200">
                <a:cs typeface="Arial" panose="020B0604020202020204" pitchFamily="34" charset="0"/>
              </a:rPr>
              <a:t> </a:t>
            </a:r>
            <a:r>
              <a:rPr lang="sv-SE" sz="1200" err="1">
                <a:cs typeface="Arial" panose="020B0604020202020204" pitchFamily="34" charset="0"/>
              </a:rPr>
              <a:t>types</a:t>
            </a:r>
            <a:r>
              <a:rPr lang="sv-SE" sz="1200">
                <a:cs typeface="Arial" panose="020B0604020202020204" pitchFamily="34" charset="0"/>
              </a:rPr>
              <a:t> </a:t>
            </a:r>
            <a:r>
              <a:rPr lang="sv-SE" sz="1200" err="1">
                <a:cs typeface="Arial" panose="020B0604020202020204" pitchFamily="34" charset="0"/>
              </a:rPr>
              <a:t>of</a:t>
            </a:r>
            <a:r>
              <a:rPr lang="sv-SE" sz="1200">
                <a:cs typeface="Arial" panose="020B0604020202020204" pitchFamily="34" charset="0"/>
              </a:rPr>
              <a:t> </a:t>
            </a:r>
            <a:r>
              <a:rPr lang="sv-SE" sz="1200" err="1">
                <a:cs typeface="Arial" panose="020B0604020202020204" pitchFamily="34" charset="0"/>
              </a:rPr>
              <a:t>turbulence</a:t>
            </a:r>
            <a:r>
              <a:rPr lang="sv-SE" sz="1200">
                <a:cs typeface="Arial" panose="020B0604020202020204" pitchFamily="34" charset="0"/>
              </a:rPr>
              <a:t> </a:t>
            </a:r>
            <a:r>
              <a:rPr lang="sv-SE" sz="1200" err="1">
                <a:cs typeface="Arial" panose="020B0604020202020204" pitchFamily="34" charset="0"/>
              </a:rPr>
              <a:t>models</a:t>
            </a:r>
            <a:r>
              <a:rPr lang="sv-SE" sz="1200">
                <a:cs typeface="Arial" panose="020B0604020202020204" pitchFamily="34" charset="0"/>
              </a:rPr>
              <a:t>. The </a:t>
            </a:r>
            <a:r>
              <a:rPr lang="sv-SE" sz="1200" err="1">
                <a:cs typeface="Arial" panose="020B0604020202020204" pitchFamily="34" charset="0"/>
              </a:rPr>
              <a:t>two</a:t>
            </a:r>
            <a:r>
              <a:rPr lang="sv-SE" sz="1200">
                <a:cs typeface="Arial" panose="020B0604020202020204" pitchFamily="34" charset="0"/>
              </a:rPr>
              <a:t> different </a:t>
            </a:r>
            <a:r>
              <a:rPr lang="sv-SE" sz="1200" err="1">
                <a:cs typeface="Arial" panose="020B0604020202020204" pitchFamily="34" charset="0"/>
              </a:rPr>
              <a:t>types</a:t>
            </a:r>
            <a:r>
              <a:rPr lang="sv-SE" sz="1200">
                <a:cs typeface="Arial" panose="020B0604020202020204" pitchFamily="34" charset="0"/>
              </a:rPr>
              <a:t> </a:t>
            </a:r>
            <a:r>
              <a:rPr lang="sv-SE" sz="1200" err="1">
                <a:cs typeface="Arial" panose="020B0604020202020204" pitchFamily="34" charset="0"/>
              </a:rPr>
              <a:t>of</a:t>
            </a:r>
            <a:r>
              <a:rPr lang="sv-SE" sz="1200">
                <a:cs typeface="Arial" panose="020B0604020202020204" pitchFamily="34" charset="0"/>
              </a:rPr>
              <a:t> </a:t>
            </a:r>
            <a:r>
              <a:rPr lang="sv-SE" sz="1200" err="1">
                <a:cs typeface="Arial" panose="020B0604020202020204" pitchFamily="34" charset="0"/>
              </a:rPr>
              <a:t>models</a:t>
            </a:r>
            <a:r>
              <a:rPr lang="sv-SE" sz="1200">
                <a:cs typeface="Arial" panose="020B0604020202020204" pitchFamily="34" charset="0"/>
              </a:rPr>
              <a:t> </a:t>
            </a:r>
            <a:r>
              <a:rPr lang="sv-SE" sz="1200" err="1">
                <a:cs typeface="Arial" panose="020B0604020202020204" pitchFamily="34" charset="0"/>
              </a:rPr>
              <a:t>used</a:t>
            </a:r>
            <a:r>
              <a:rPr lang="sv-SE" sz="1200">
                <a:cs typeface="Arial" panose="020B0604020202020204" pitchFamily="34" charset="0"/>
              </a:rPr>
              <a:t> in </a:t>
            </a:r>
            <a:r>
              <a:rPr lang="sv-SE" sz="1200" err="1">
                <a:cs typeface="Arial" panose="020B0604020202020204" pitchFamily="34" charset="0"/>
              </a:rPr>
              <a:t>this</a:t>
            </a:r>
            <a:r>
              <a:rPr lang="sv-SE" sz="1200">
                <a:cs typeface="Arial" panose="020B0604020202020204" pitchFamily="34" charset="0"/>
              </a:rPr>
              <a:t> </a:t>
            </a:r>
            <a:r>
              <a:rPr lang="sv-SE" sz="1200" err="1">
                <a:cs typeface="Arial" panose="020B0604020202020204" pitchFamily="34" charset="0"/>
              </a:rPr>
              <a:t>study</a:t>
            </a:r>
            <a:r>
              <a:rPr lang="sv-SE" sz="1200">
                <a:cs typeface="Arial" panose="020B0604020202020204" pitchFamily="34" charset="0"/>
              </a:rPr>
              <a:t> </a:t>
            </a:r>
            <a:r>
              <a:rPr lang="sv-SE" sz="1200" err="1">
                <a:cs typeface="Arial" panose="020B0604020202020204" pitchFamily="34" charset="0"/>
              </a:rPr>
              <a:t>was</a:t>
            </a:r>
            <a:r>
              <a:rPr lang="sv-SE" sz="1200">
                <a:cs typeface="Arial" panose="020B0604020202020204" pitchFamily="34" charset="0"/>
              </a:rPr>
              <a:t> </a:t>
            </a:r>
            <a:r>
              <a:rPr lang="sv-SE" sz="1200" b="1">
                <a:cs typeface="Arial" panose="020B0604020202020204" pitchFamily="34" charset="0"/>
              </a:rPr>
              <a:t>LES and RANS </a:t>
            </a:r>
            <a:r>
              <a:rPr lang="sv-SE" sz="1200" b="1" err="1">
                <a:cs typeface="Arial" panose="020B0604020202020204" pitchFamily="34" charset="0"/>
              </a:rPr>
              <a:t>turbulence</a:t>
            </a:r>
            <a:r>
              <a:rPr lang="sv-SE" sz="1200" b="1">
                <a:cs typeface="Arial" panose="020B0604020202020204" pitchFamily="34" charset="0"/>
              </a:rPr>
              <a:t> </a:t>
            </a:r>
            <a:r>
              <a:rPr lang="sv-SE" sz="1200" err="1">
                <a:cs typeface="Arial" panose="020B0604020202020204" pitchFamily="34" charset="0"/>
              </a:rPr>
              <a:t>models</a:t>
            </a:r>
            <a:r>
              <a:rPr lang="sv-SE" sz="1200">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1200">
                <a:cs typeface="Arial" panose="020B0604020202020204" pitchFamily="34" charset="0"/>
              </a:rPr>
              <a:t>A </a:t>
            </a:r>
            <a:r>
              <a:rPr lang="sv-SE" sz="1200" err="1">
                <a:cs typeface="Arial" panose="020B0604020202020204" pitchFamily="34" charset="0"/>
              </a:rPr>
              <a:t>comparison</a:t>
            </a:r>
            <a:r>
              <a:rPr lang="sv-SE" sz="1200">
                <a:cs typeface="Arial" panose="020B0604020202020204" pitchFamily="34" charset="0"/>
              </a:rPr>
              <a:t> </a:t>
            </a:r>
            <a:r>
              <a:rPr lang="sv-SE" sz="1200" err="1">
                <a:cs typeface="Arial" panose="020B0604020202020204" pitchFamily="34" charset="0"/>
              </a:rPr>
              <a:t>of</a:t>
            </a:r>
            <a:r>
              <a:rPr lang="sv-SE" sz="1200">
                <a:cs typeface="Arial" panose="020B0604020202020204" pitchFamily="34" charset="0"/>
              </a:rPr>
              <a:t> the </a:t>
            </a:r>
            <a:r>
              <a:rPr lang="sv-SE" sz="1200" err="1">
                <a:cs typeface="Arial" panose="020B0604020202020204" pitchFamily="34" charset="0"/>
              </a:rPr>
              <a:t>methods</a:t>
            </a:r>
            <a:r>
              <a:rPr lang="sv-SE" sz="1200">
                <a:cs typeface="Arial" panose="020B0604020202020204" pitchFamily="34" charset="0"/>
              </a:rPr>
              <a:t> </a:t>
            </a:r>
            <a:r>
              <a:rPr lang="sv-SE" sz="1200" err="1">
                <a:cs typeface="Arial" panose="020B0604020202020204" pitchFamily="34" charset="0"/>
              </a:rPr>
              <a:t>can</a:t>
            </a:r>
            <a:r>
              <a:rPr lang="sv-SE" sz="1200">
                <a:cs typeface="Arial" panose="020B0604020202020204" pitchFamily="34" charset="0"/>
              </a:rPr>
              <a:t> be </a:t>
            </a:r>
            <a:r>
              <a:rPr lang="sv-SE" sz="1200" err="1">
                <a:cs typeface="Arial" panose="020B0604020202020204" pitchFamily="34" charset="0"/>
              </a:rPr>
              <a:t>seen</a:t>
            </a:r>
            <a:r>
              <a:rPr lang="sv-SE" sz="1200">
                <a:cs typeface="Arial" panose="020B0604020202020204" pitchFamily="34" charset="0"/>
              </a:rPr>
              <a:t> in the table. </a:t>
            </a:r>
          </a:p>
        </p:txBody>
      </p:sp>
      <p:sp>
        <p:nvSpPr>
          <p:cNvPr id="4" name="Slide Number Placeholder 3"/>
          <p:cNvSpPr>
            <a:spLocks noGrp="1"/>
          </p:cNvSpPr>
          <p:nvPr>
            <p:ph type="sldNum" sz="quarter" idx="5"/>
          </p:nvPr>
        </p:nvSpPr>
        <p:spPr/>
        <p:txBody>
          <a:bodyPr/>
          <a:lstStyle/>
          <a:p>
            <a:fld id="{F84DB91F-1AD8-437C-8866-3636784D0854}" type="slidenum">
              <a:rPr lang="en-GB" smtClean="0"/>
              <a:t>107</a:t>
            </a:fld>
            <a:endParaRPr lang="en-GB"/>
          </a:p>
        </p:txBody>
      </p:sp>
    </p:spTree>
    <p:extLst>
      <p:ext uri="{BB962C8B-B14F-4D97-AF65-F5344CB8AC3E}">
        <p14:creationId xmlns:p14="http://schemas.microsoft.com/office/powerpoint/2010/main" val="322793898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10/3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0/3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0/3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0/3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10/3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pPr/>
              <a:t>10/31/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10/31/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pPr/>
              <a:t>10/31/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10/31/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0/31/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0/31/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D8BD707-D9CF-40AE-B4C6-C98DA3205C09}" type="datetimeFigureOut">
              <a:rPr lang="en-US" smtClean="0"/>
              <a:pPr/>
              <a:t>10/31/2023</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6F15528-21DE-4FAA-801E-634DDDAF4B2B}"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7.xml"/><Relationship Id="rId5" Type="http://schemas.openxmlformats.org/officeDocument/2006/relationships/image" Target="../media/image3.jpeg"/><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8" Type="http://schemas.openxmlformats.org/officeDocument/2006/relationships/diagramQuickStyle" Target="../diagrams/quickStyle1.xml"/><Relationship Id="rId13" Type="http://schemas.openxmlformats.org/officeDocument/2006/relationships/diagramQuickStyle" Target="../diagrams/quickStyle2.xml"/><Relationship Id="rId3" Type="http://schemas.openxmlformats.org/officeDocument/2006/relationships/image" Target="../media/image4.png"/><Relationship Id="rId7" Type="http://schemas.openxmlformats.org/officeDocument/2006/relationships/diagramLayout" Target="../diagrams/layout1.xml"/><Relationship Id="rId12" Type="http://schemas.openxmlformats.org/officeDocument/2006/relationships/diagramLayout" Target="../diagrams/layout2.xml"/><Relationship Id="rId2" Type="http://schemas.openxmlformats.org/officeDocument/2006/relationships/notesSlide" Target="../notesSlides/notesSlide10.xml"/><Relationship Id="rId1" Type="http://schemas.openxmlformats.org/officeDocument/2006/relationships/slideLayout" Target="../slideLayouts/slideLayout1.xml"/><Relationship Id="rId6" Type="http://schemas.openxmlformats.org/officeDocument/2006/relationships/diagramData" Target="../diagrams/data1.xml"/><Relationship Id="rId11" Type="http://schemas.openxmlformats.org/officeDocument/2006/relationships/diagramData" Target="../diagrams/data2.xml"/><Relationship Id="rId5" Type="http://schemas.openxmlformats.org/officeDocument/2006/relationships/image" Target="../media/image5.png"/><Relationship Id="rId15" Type="http://schemas.microsoft.com/office/2007/relationships/diagramDrawing" Target="../diagrams/drawing2.xml"/><Relationship Id="rId10" Type="http://schemas.microsoft.com/office/2007/relationships/diagramDrawing" Target="../diagrams/drawing1.xml"/><Relationship Id="rId4" Type="http://schemas.openxmlformats.org/officeDocument/2006/relationships/image" Target="../media/image2.png"/><Relationship Id="rId9" Type="http://schemas.openxmlformats.org/officeDocument/2006/relationships/diagramColors" Target="../diagrams/colors1.xml"/><Relationship Id="rId14" Type="http://schemas.openxmlformats.org/officeDocument/2006/relationships/diagramColors" Target="../diagrams/colors2.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6.xml"/></Relationships>
</file>

<file path=ppt/slides/_rels/slide10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93.xml"/><Relationship Id="rId1" Type="http://schemas.openxmlformats.org/officeDocument/2006/relationships/slideLayout" Target="../slideLayouts/slideLayout7.xml"/><Relationship Id="rId6" Type="http://schemas.openxmlformats.org/officeDocument/2006/relationships/image" Target="../media/image86.jpeg"/><Relationship Id="rId5" Type="http://schemas.openxmlformats.org/officeDocument/2006/relationships/image" Target="../media/image5.png"/><Relationship Id="rId4" Type="http://schemas.openxmlformats.org/officeDocument/2006/relationships/image" Target="../media/image2.png"/></Relationships>
</file>

<file path=ppt/slides/_rels/slide102.xml.rels><?xml version="1.0" encoding="UTF-8" standalone="yes"?>
<Relationships xmlns="http://schemas.openxmlformats.org/package/2006/relationships"><Relationship Id="rId8" Type="http://schemas.openxmlformats.org/officeDocument/2006/relationships/diagramLayout" Target="../diagrams/layout3.xml"/><Relationship Id="rId3" Type="http://schemas.openxmlformats.org/officeDocument/2006/relationships/image" Target="../media/image83.png"/><Relationship Id="rId7" Type="http://schemas.openxmlformats.org/officeDocument/2006/relationships/diagramData" Target="../diagrams/data3.xml"/><Relationship Id="rId2" Type="http://schemas.openxmlformats.org/officeDocument/2006/relationships/notesSlide" Target="../notesSlides/notesSlide94.xml"/><Relationship Id="rId1" Type="http://schemas.openxmlformats.org/officeDocument/2006/relationships/slideLayout" Target="../slideLayouts/slideLayout7.xml"/><Relationship Id="rId6" Type="http://schemas.openxmlformats.org/officeDocument/2006/relationships/image" Target="../media/image5.png"/><Relationship Id="rId11" Type="http://schemas.microsoft.com/office/2007/relationships/diagramDrawing" Target="../diagrams/drawing3.xml"/><Relationship Id="rId5" Type="http://schemas.openxmlformats.org/officeDocument/2006/relationships/image" Target="../media/image2.png"/><Relationship Id="rId10" Type="http://schemas.openxmlformats.org/officeDocument/2006/relationships/diagramColors" Target="../diagrams/colors3.xml"/><Relationship Id="rId4" Type="http://schemas.openxmlformats.org/officeDocument/2006/relationships/image" Target="../media/image4.png"/><Relationship Id="rId9" Type="http://schemas.openxmlformats.org/officeDocument/2006/relationships/diagramQuickStyle" Target="../diagrams/quickStyle3.xml"/></Relationships>
</file>

<file path=ppt/slides/_rels/slide103.xml.rels><?xml version="1.0" encoding="UTF-8" standalone="yes"?>
<Relationships xmlns="http://schemas.openxmlformats.org/package/2006/relationships"><Relationship Id="rId8" Type="http://schemas.openxmlformats.org/officeDocument/2006/relationships/diagramLayout" Target="../diagrams/layout4.xml"/><Relationship Id="rId3" Type="http://schemas.openxmlformats.org/officeDocument/2006/relationships/image" Target="../media/image83.png"/><Relationship Id="rId7" Type="http://schemas.openxmlformats.org/officeDocument/2006/relationships/diagramData" Target="../diagrams/data4.xml"/><Relationship Id="rId2" Type="http://schemas.openxmlformats.org/officeDocument/2006/relationships/notesSlide" Target="../notesSlides/notesSlide95.xml"/><Relationship Id="rId1" Type="http://schemas.openxmlformats.org/officeDocument/2006/relationships/slideLayout" Target="../slideLayouts/slideLayout7.xml"/><Relationship Id="rId6" Type="http://schemas.openxmlformats.org/officeDocument/2006/relationships/image" Target="../media/image5.png"/><Relationship Id="rId11" Type="http://schemas.microsoft.com/office/2007/relationships/diagramDrawing" Target="../diagrams/drawing4.xml"/><Relationship Id="rId5" Type="http://schemas.openxmlformats.org/officeDocument/2006/relationships/image" Target="../media/image2.png"/><Relationship Id="rId10" Type="http://schemas.openxmlformats.org/officeDocument/2006/relationships/diagramColors" Target="../diagrams/colors4.xml"/><Relationship Id="rId4" Type="http://schemas.openxmlformats.org/officeDocument/2006/relationships/image" Target="../media/image4.png"/><Relationship Id="rId9" Type="http://schemas.openxmlformats.org/officeDocument/2006/relationships/diagramQuickStyle" Target="../diagrams/quickStyle4.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6.xml"/></Relationships>
</file>

<file path=ppt/slides/_rels/slide105.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image" Target="../media/image83.png"/><Relationship Id="rId7" Type="http://schemas.openxmlformats.org/officeDocument/2006/relationships/image" Target="../media/image87.png"/><Relationship Id="rId2" Type="http://schemas.openxmlformats.org/officeDocument/2006/relationships/notesSlide" Target="../notesSlides/notesSlide97.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image" Target="../media/image2.png"/><Relationship Id="rId4" Type="http://schemas.openxmlformats.org/officeDocument/2006/relationships/image" Target="../media/image4.png"/></Relationships>
</file>

<file path=ppt/slides/_rels/slide106.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90.png"/><Relationship Id="rId2" Type="http://schemas.openxmlformats.org/officeDocument/2006/relationships/notesSlide" Target="../notesSlides/notesSlide98.xml"/><Relationship Id="rId1" Type="http://schemas.openxmlformats.org/officeDocument/2006/relationships/slideLayout" Target="../slideLayouts/slideLayout7.xml"/><Relationship Id="rId6" Type="http://schemas.openxmlformats.org/officeDocument/2006/relationships/image" Target="../media/image89.png"/><Relationship Id="rId5" Type="http://schemas.openxmlformats.org/officeDocument/2006/relationships/image" Target="../media/image5.png"/><Relationship Id="rId4" Type="http://schemas.openxmlformats.org/officeDocument/2006/relationships/image" Target="../media/image2.png"/></Relationships>
</file>

<file path=ppt/slides/_rels/slide10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99.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image" Target="../media/image2.png"/></Relationships>
</file>

<file path=ppt/slides/_rels/slide10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00.xml"/><Relationship Id="rId1" Type="http://schemas.openxmlformats.org/officeDocument/2006/relationships/slideLayout" Target="../slideLayouts/slideLayout7.xml"/><Relationship Id="rId6" Type="http://schemas.openxmlformats.org/officeDocument/2006/relationships/image" Target="../media/image91.png"/><Relationship Id="rId5" Type="http://schemas.openxmlformats.org/officeDocument/2006/relationships/image" Target="../media/image5.png"/><Relationship Id="rId4" Type="http://schemas.openxmlformats.org/officeDocument/2006/relationships/image" Target="../media/image2.png"/></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101.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1.xml"/><Relationship Id="rId1" Type="http://schemas.openxmlformats.org/officeDocument/2006/relationships/slideLayout" Target="../slideLayouts/slideLayout1.xml"/><Relationship Id="rId5" Type="http://schemas.openxmlformats.org/officeDocument/2006/relationships/image" Target="../media/image5.png"/><Relationship Id="rId4" Type="http://schemas.openxmlformats.org/officeDocument/2006/relationships/image" Target="../media/image2.png"/></Relationships>
</file>

<file path=ppt/slides/_rels/slide1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02.xml"/><Relationship Id="rId1" Type="http://schemas.openxmlformats.org/officeDocument/2006/relationships/slideLayout" Target="../slideLayouts/slideLayout2.xml"/><Relationship Id="rId6" Type="http://schemas.openxmlformats.org/officeDocument/2006/relationships/image" Target="../media/image83.png"/><Relationship Id="rId5" Type="http://schemas.openxmlformats.org/officeDocument/2006/relationships/image" Target="../media/image5.png"/><Relationship Id="rId4" Type="http://schemas.openxmlformats.org/officeDocument/2006/relationships/image" Target="../media/image4.png"/></Relationships>
</file>

<file path=ppt/slides/_rels/slide111.xml.rels><?xml version="1.0" encoding="UTF-8" standalone="yes"?>
<Relationships xmlns="http://schemas.openxmlformats.org/package/2006/relationships"><Relationship Id="rId3" Type="http://schemas.openxmlformats.org/officeDocument/2006/relationships/image" Target="../media/image92.png"/><Relationship Id="rId7" Type="http://schemas.openxmlformats.org/officeDocument/2006/relationships/image" Target="../media/image5.png"/><Relationship Id="rId2" Type="http://schemas.openxmlformats.org/officeDocument/2006/relationships/notesSlide" Target="../notesSlides/notesSlide103.xml"/><Relationship Id="rId1" Type="http://schemas.openxmlformats.org/officeDocument/2006/relationships/slideLayout" Target="../slideLayouts/slideLayout7.xml"/><Relationship Id="rId6" Type="http://schemas.openxmlformats.org/officeDocument/2006/relationships/image" Target="../media/image2.png"/><Relationship Id="rId5" Type="http://schemas.openxmlformats.org/officeDocument/2006/relationships/image" Target="../media/image4.png"/><Relationship Id="rId4" Type="http://schemas.openxmlformats.org/officeDocument/2006/relationships/image" Target="../media/image83.png"/></Relationships>
</file>

<file path=ppt/slides/_rels/slide112.xml.rels><?xml version="1.0" encoding="UTF-8" standalone="yes"?>
<Relationships xmlns="http://schemas.openxmlformats.org/package/2006/relationships"><Relationship Id="rId3" Type="http://schemas.openxmlformats.org/officeDocument/2006/relationships/image" Target="../media/image83.png"/><Relationship Id="rId7" Type="http://schemas.openxmlformats.org/officeDocument/2006/relationships/image" Target="../media/image93.png"/><Relationship Id="rId2" Type="http://schemas.openxmlformats.org/officeDocument/2006/relationships/notesSlide" Target="../notesSlides/notesSlide104.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image" Target="../media/image2.png"/><Relationship Id="rId4" Type="http://schemas.openxmlformats.org/officeDocument/2006/relationships/image" Target="../media/image4.png"/></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105.xml"/><Relationship Id="rId1" Type="http://schemas.openxmlformats.org/officeDocument/2006/relationships/slideLayout" Target="../slideLayouts/slideLayout6.xml"/></Relationships>
</file>

<file path=ppt/slides/_rels/slide114.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06.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image" Target="../media/image2.png"/><Relationship Id="rId4" Type="http://schemas.openxmlformats.org/officeDocument/2006/relationships/image" Target="../media/image4.png"/></Relationships>
</file>

<file path=ppt/slides/_rels/slide1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0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image" Target="../media/image2.png"/></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08.xml"/><Relationship Id="rId1" Type="http://schemas.openxmlformats.org/officeDocument/2006/relationships/slideLayout" Target="../slideLayouts/slideLayout1.xml"/><Relationship Id="rId6" Type="http://schemas.openxmlformats.org/officeDocument/2006/relationships/image" Target="../media/image94.jpeg"/><Relationship Id="rId5" Type="http://schemas.openxmlformats.org/officeDocument/2006/relationships/image" Target="../media/image5.png"/><Relationship Id="rId4" Type="http://schemas.openxmlformats.org/officeDocument/2006/relationships/image" Target="../media/image2.png"/></Relationships>
</file>

<file path=ppt/slides/_rels/slide119.xml.rels><?xml version="1.0" encoding="UTF-8" standalone="yes"?>
<Relationships xmlns="http://schemas.openxmlformats.org/package/2006/relationships"><Relationship Id="rId8" Type="http://schemas.openxmlformats.org/officeDocument/2006/relationships/diagramQuickStyle" Target="../diagrams/quickStyle5.xml"/><Relationship Id="rId3" Type="http://schemas.openxmlformats.org/officeDocument/2006/relationships/image" Target="../media/image5.png"/><Relationship Id="rId7" Type="http://schemas.openxmlformats.org/officeDocument/2006/relationships/diagramLayout" Target="../diagrams/layout5.xml"/><Relationship Id="rId2" Type="http://schemas.openxmlformats.org/officeDocument/2006/relationships/notesSlide" Target="../notesSlides/notesSlide109.xml"/><Relationship Id="rId1" Type="http://schemas.openxmlformats.org/officeDocument/2006/relationships/slideLayout" Target="../slideLayouts/slideLayout2.xml"/><Relationship Id="rId6" Type="http://schemas.openxmlformats.org/officeDocument/2006/relationships/diagramData" Target="../diagrams/data5.xml"/><Relationship Id="rId5" Type="http://schemas.openxmlformats.org/officeDocument/2006/relationships/image" Target="../media/image4.png"/><Relationship Id="rId10" Type="http://schemas.microsoft.com/office/2007/relationships/diagramDrawing" Target="../diagrams/drawing5.xml"/><Relationship Id="rId4" Type="http://schemas.openxmlformats.org/officeDocument/2006/relationships/image" Target="../media/image2.png"/><Relationship Id="rId9" Type="http://schemas.openxmlformats.org/officeDocument/2006/relationships/diagramColors" Target="../diagrams/colors5.xml"/></Relationships>
</file>

<file path=ppt/slides/_rels/slide12.xml.rels><?xml version="1.0" encoding="UTF-8" standalone="yes"?>
<Relationships xmlns="http://schemas.openxmlformats.org/package/2006/relationships"><Relationship Id="rId3" Type="http://schemas.microsoft.com/office/2018/10/relationships/comments" Target="../comments/modernComment_1382_A2AF1C3D.xml"/><Relationship Id="rId2" Type="http://schemas.openxmlformats.org/officeDocument/2006/relationships/notesSlide" Target="../notesSlides/notesSlide12.xml"/><Relationship Id="rId1" Type="http://schemas.openxmlformats.org/officeDocument/2006/relationships/slideLayout" Target="../slideLayouts/slideLayout1.xml"/><Relationship Id="rId6" Type="http://schemas.openxmlformats.org/officeDocument/2006/relationships/image" Target="../media/image5.png"/><Relationship Id="rId5" Type="http://schemas.openxmlformats.org/officeDocument/2006/relationships/image" Target="../media/image2.png"/><Relationship Id="rId4" Type="http://schemas.openxmlformats.org/officeDocument/2006/relationships/image" Target="../media/image4.png"/></Relationships>
</file>

<file path=ppt/slides/_rels/slide120.xml.rels><?xml version="1.0" encoding="UTF-8" standalone="yes"?>
<Relationships xmlns="http://schemas.openxmlformats.org/package/2006/relationships"><Relationship Id="rId2" Type="http://schemas.openxmlformats.org/officeDocument/2006/relationships/notesSlide" Target="../notesSlides/notesSlide110.xml"/><Relationship Id="rId1" Type="http://schemas.openxmlformats.org/officeDocument/2006/relationships/slideLayout" Target="../slideLayouts/slideLayout6.xml"/></Relationships>
</file>

<file path=ppt/slides/_rels/slide1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11.xml"/><Relationship Id="rId1" Type="http://schemas.openxmlformats.org/officeDocument/2006/relationships/slideLayout" Target="../slideLayouts/slideLayout6.xml"/><Relationship Id="rId5" Type="http://schemas.openxmlformats.org/officeDocument/2006/relationships/image" Target="../media/image2.png"/><Relationship Id="rId4" Type="http://schemas.openxmlformats.org/officeDocument/2006/relationships/image" Target="../media/image5.png"/></Relationships>
</file>

<file path=ppt/slides/_rels/slide122.xml.rels><?xml version="1.0" encoding="UTF-8" standalone="yes"?>
<Relationships xmlns="http://schemas.openxmlformats.org/package/2006/relationships"><Relationship Id="rId3" Type="http://schemas.openxmlformats.org/officeDocument/2006/relationships/notesSlide" Target="../notesSlides/notesSlide112.xml"/><Relationship Id="rId7" Type="http://schemas.openxmlformats.org/officeDocument/2006/relationships/image" Target="../media/image2.png"/><Relationship Id="rId2" Type="http://schemas.openxmlformats.org/officeDocument/2006/relationships/slideLayout" Target="../slideLayouts/slideLayout6.xml"/><Relationship Id="rId1" Type="http://schemas.openxmlformats.org/officeDocument/2006/relationships/tags" Target="../tags/tag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98.jpeg"/></Relationships>
</file>

<file path=ppt/slides/_rels/slide123.xml.rels><?xml version="1.0" encoding="UTF-8" standalone="yes"?>
<Relationships xmlns="http://schemas.openxmlformats.org/package/2006/relationships"><Relationship Id="rId8" Type="http://schemas.openxmlformats.org/officeDocument/2006/relationships/diagramLayout" Target="../diagrams/layout6.xml"/><Relationship Id="rId3" Type="http://schemas.openxmlformats.org/officeDocument/2006/relationships/image" Target="../media/image94.jpeg"/><Relationship Id="rId7" Type="http://schemas.openxmlformats.org/officeDocument/2006/relationships/diagramData" Target="../diagrams/data6.xml"/><Relationship Id="rId2" Type="http://schemas.openxmlformats.org/officeDocument/2006/relationships/notesSlide" Target="../notesSlides/notesSlide113.xml"/><Relationship Id="rId1" Type="http://schemas.openxmlformats.org/officeDocument/2006/relationships/slideLayout" Target="../slideLayouts/slideLayout7.xml"/><Relationship Id="rId6" Type="http://schemas.openxmlformats.org/officeDocument/2006/relationships/image" Target="../media/image4.png"/><Relationship Id="rId11" Type="http://schemas.microsoft.com/office/2007/relationships/diagramDrawing" Target="../diagrams/drawing6.xml"/><Relationship Id="rId5" Type="http://schemas.openxmlformats.org/officeDocument/2006/relationships/image" Target="../media/image2.png"/><Relationship Id="rId10" Type="http://schemas.openxmlformats.org/officeDocument/2006/relationships/diagramColors" Target="../diagrams/colors6.xml"/><Relationship Id="rId4" Type="http://schemas.openxmlformats.org/officeDocument/2006/relationships/image" Target="../media/image5.png"/><Relationship Id="rId9" Type="http://schemas.openxmlformats.org/officeDocument/2006/relationships/diagramQuickStyle" Target="../diagrams/quickStyle6.xml"/></Relationships>
</file>

<file path=ppt/slides/_rels/slide1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14.xml"/><Relationship Id="rId1" Type="http://schemas.openxmlformats.org/officeDocument/2006/relationships/slideLayout" Target="../slideLayouts/slideLayout2.xml"/><Relationship Id="rId6" Type="http://schemas.openxmlformats.org/officeDocument/2006/relationships/image" Target="../media/image99.png"/><Relationship Id="rId5" Type="http://schemas.openxmlformats.org/officeDocument/2006/relationships/image" Target="../media/image5.png"/><Relationship Id="rId4" Type="http://schemas.openxmlformats.org/officeDocument/2006/relationships/image" Target="../media/image4.png"/></Relationships>
</file>

<file path=ppt/slides/_rels/slide125.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hyperlink" Target="https://www.iso.org/standard/37456.html" TargetMode="External"/><Relationship Id="rId7" Type="http://schemas.openxmlformats.org/officeDocument/2006/relationships/image" Target="../media/image2.png"/><Relationship Id="rId2" Type="http://schemas.openxmlformats.org/officeDocument/2006/relationships/notesSlide" Target="../notesSlides/notesSlide115.xml"/><Relationship Id="rId1" Type="http://schemas.openxmlformats.org/officeDocument/2006/relationships/slideLayout" Target="../slideLayouts/slideLayout2.xml"/><Relationship Id="rId6" Type="http://schemas.openxmlformats.org/officeDocument/2006/relationships/image" Target="../media/image5.png"/><Relationship Id="rId5" Type="http://schemas.openxmlformats.org/officeDocument/2006/relationships/image" Target="../media/image100.png"/><Relationship Id="rId4" Type="http://schemas.openxmlformats.org/officeDocument/2006/relationships/hyperlink" Target="https://www.iso.org/standard/38498.html" TargetMode="External"/></Relationships>
</file>

<file path=ppt/slides/_rels/slide1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16.xml"/><Relationship Id="rId1" Type="http://schemas.openxmlformats.org/officeDocument/2006/relationships/slideLayout" Target="../slideLayouts/slideLayout2.xml"/><Relationship Id="rId5" Type="http://schemas.openxmlformats.org/officeDocument/2006/relationships/image" Target="../media/image4.png"/><Relationship Id="rId4" Type="http://schemas.openxmlformats.org/officeDocument/2006/relationships/image" Target="../media/image2.png"/></Relationships>
</file>

<file path=ppt/slides/_rels/slide12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17.xml"/><Relationship Id="rId1" Type="http://schemas.openxmlformats.org/officeDocument/2006/relationships/slideLayout" Target="../slideLayouts/slideLayout2.xml"/><Relationship Id="rId5" Type="http://schemas.openxmlformats.org/officeDocument/2006/relationships/image" Target="../media/image4.png"/><Relationship Id="rId4" Type="http://schemas.openxmlformats.org/officeDocument/2006/relationships/image" Target="../media/image2.png"/></Relationships>
</file>

<file path=ppt/slides/_rels/slide12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18.xml"/><Relationship Id="rId1" Type="http://schemas.openxmlformats.org/officeDocument/2006/relationships/slideLayout" Target="../slideLayouts/slideLayout2.xml"/><Relationship Id="rId5" Type="http://schemas.openxmlformats.org/officeDocument/2006/relationships/image" Target="../media/image4.png"/><Relationship Id="rId4" Type="http://schemas.openxmlformats.org/officeDocument/2006/relationships/image" Target="../media/image2.png"/></Relationships>
</file>

<file path=ppt/slides/_rels/slide12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19.xml"/><Relationship Id="rId1" Type="http://schemas.openxmlformats.org/officeDocument/2006/relationships/slideLayout" Target="../slideLayouts/slideLayout2.xml"/><Relationship Id="rId5" Type="http://schemas.openxmlformats.org/officeDocument/2006/relationships/image" Target="../media/image4.png"/><Relationship Id="rId4" Type="http://schemas.openxmlformats.org/officeDocument/2006/relationships/image" Target="../media/image2.png"/></Relationships>
</file>

<file path=ppt/slides/_rels/slide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3.xml"/><Relationship Id="rId1" Type="http://schemas.openxmlformats.org/officeDocument/2006/relationships/slideLayout" Target="../slideLayouts/slideLayout1.xml"/><Relationship Id="rId5" Type="http://schemas.openxmlformats.org/officeDocument/2006/relationships/image" Target="../media/image5.png"/><Relationship Id="rId4" Type="http://schemas.openxmlformats.org/officeDocument/2006/relationships/image" Target="../media/image2.png"/></Relationships>
</file>

<file path=ppt/slides/_rels/slide130.xml.rels><?xml version="1.0" encoding="UTF-8" standalone="yes"?>
<Relationships xmlns="http://schemas.openxmlformats.org/package/2006/relationships"><Relationship Id="rId8" Type="http://schemas.openxmlformats.org/officeDocument/2006/relationships/diagramQuickStyle" Target="../diagrams/quickStyle7.xml"/><Relationship Id="rId3" Type="http://schemas.openxmlformats.org/officeDocument/2006/relationships/image" Target="../media/image5.png"/><Relationship Id="rId7" Type="http://schemas.openxmlformats.org/officeDocument/2006/relationships/diagramLayout" Target="../diagrams/layout7.xml"/><Relationship Id="rId2" Type="http://schemas.openxmlformats.org/officeDocument/2006/relationships/notesSlide" Target="../notesSlides/notesSlide120.xml"/><Relationship Id="rId1" Type="http://schemas.openxmlformats.org/officeDocument/2006/relationships/slideLayout" Target="../slideLayouts/slideLayout2.xml"/><Relationship Id="rId6" Type="http://schemas.openxmlformats.org/officeDocument/2006/relationships/diagramData" Target="../diagrams/data7.xml"/><Relationship Id="rId5" Type="http://schemas.openxmlformats.org/officeDocument/2006/relationships/image" Target="../media/image4.png"/><Relationship Id="rId10" Type="http://schemas.microsoft.com/office/2007/relationships/diagramDrawing" Target="../diagrams/drawing7.xml"/><Relationship Id="rId4" Type="http://schemas.openxmlformats.org/officeDocument/2006/relationships/image" Target="../media/image2.png"/><Relationship Id="rId9" Type="http://schemas.openxmlformats.org/officeDocument/2006/relationships/diagramColors" Target="../diagrams/colors7.xml"/></Relationships>
</file>

<file path=ppt/slides/_rels/slide13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21.xml"/><Relationship Id="rId1" Type="http://schemas.openxmlformats.org/officeDocument/2006/relationships/slideLayout" Target="../slideLayouts/slideLayout2.xml"/><Relationship Id="rId5" Type="http://schemas.openxmlformats.org/officeDocument/2006/relationships/image" Target="../media/image4.png"/><Relationship Id="rId4" Type="http://schemas.openxmlformats.org/officeDocument/2006/relationships/image" Target="../media/image2.png"/></Relationships>
</file>

<file path=ppt/slides/_rels/slide132.xml.rels><?xml version="1.0" encoding="UTF-8" standalone="yes"?>
<Relationships xmlns="http://schemas.openxmlformats.org/package/2006/relationships"><Relationship Id="rId8" Type="http://schemas.openxmlformats.org/officeDocument/2006/relationships/diagramQuickStyle" Target="../diagrams/quickStyle8.xml"/><Relationship Id="rId3" Type="http://schemas.openxmlformats.org/officeDocument/2006/relationships/image" Target="../media/image5.png"/><Relationship Id="rId7" Type="http://schemas.openxmlformats.org/officeDocument/2006/relationships/diagramLayout" Target="../diagrams/layout8.xml"/><Relationship Id="rId2" Type="http://schemas.openxmlformats.org/officeDocument/2006/relationships/notesSlide" Target="../notesSlides/notesSlide122.xml"/><Relationship Id="rId1" Type="http://schemas.openxmlformats.org/officeDocument/2006/relationships/slideLayout" Target="../slideLayouts/slideLayout6.xml"/><Relationship Id="rId6" Type="http://schemas.openxmlformats.org/officeDocument/2006/relationships/diagramData" Target="../diagrams/data8.xml"/><Relationship Id="rId5" Type="http://schemas.openxmlformats.org/officeDocument/2006/relationships/image" Target="../media/image4.png"/><Relationship Id="rId10" Type="http://schemas.microsoft.com/office/2007/relationships/diagramDrawing" Target="../diagrams/drawing8.xml"/><Relationship Id="rId4" Type="http://schemas.openxmlformats.org/officeDocument/2006/relationships/image" Target="../media/image2.png"/><Relationship Id="rId9" Type="http://schemas.openxmlformats.org/officeDocument/2006/relationships/diagramColors" Target="../diagrams/colors8.xml"/></Relationships>
</file>

<file path=ppt/slides/_rels/slide13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2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image" Target="../media/image2.png"/></Relationships>
</file>

<file path=ppt/slides/_rels/slide1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24.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image" Target="../media/image2.png"/></Relationships>
</file>

<file path=ppt/slides/_rels/slide13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2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image" Target="../media/image2.png"/></Relationships>
</file>

<file path=ppt/slides/_rels/slide136.xml.rels><?xml version="1.0" encoding="UTF-8" standalone="yes"?>
<Relationships xmlns="http://schemas.openxmlformats.org/package/2006/relationships"><Relationship Id="rId8" Type="http://schemas.openxmlformats.org/officeDocument/2006/relationships/image" Target="../media/image101.png"/><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126.xml"/><Relationship Id="rId1" Type="http://schemas.openxmlformats.org/officeDocument/2006/relationships/slideLayout" Target="../slideLayouts/slideLayout6.xml"/><Relationship Id="rId6" Type="http://schemas.openxmlformats.org/officeDocument/2006/relationships/diagramColors" Target="../diagrams/colors9.xml"/><Relationship Id="rId11" Type="http://schemas.openxmlformats.org/officeDocument/2006/relationships/image" Target="../media/image4.png"/><Relationship Id="rId5" Type="http://schemas.openxmlformats.org/officeDocument/2006/relationships/diagramQuickStyle" Target="../diagrams/quickStyle9.xml"/><Relationship Id="rId10" Type="http://schemas.openxmlformats.org/officeDocument/2006/relationships/image" Target="../media/image2.png"/><Relationship Id="rId4" Type="http://schemas.openxmlformats.org/officeDocument/2006/relationships/diagramLayout" Target="../diagrams/layout9.xml"/><Relationship Id="rId9" Type="http://schemas.openxmlformats.org/officeDocument/2006/relationships/image" Target="../media/image5.png"/></Relationships>
</file>

<file path=ppt/slides/_rels/slide13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27.xml"/><Relationship Id="rId1" Type="http://schemas.openxmlformats.org/officeDocument/2006/relationships/slideLayout" Target="../slideLayouts/slideLayout2.xml"/><Relationship Id="rId5" Type="http://schemas.openxmlformats.org/officeDocument/2006/relationships/image" Target="../media/image4.png"/><Relationship Id="rId4" Type="http://schemas.openxmlformats.org/officeDocument/2006/relationships/image" Target="../media/image2.png"/></Relationships>
</file>

<file path=ppt/slides/_rels/slide13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28.xml"/><Relationship Id="rId1" Type="http://schemas.openxmlformats.org/officeDocument/2006/relationships/slideLayout" Target="../slideLayouts/slideLayout2.xml"/><Relationship Id="rId5" Type="http://schemas.openxmlformats.org/officeDocument/2006/relationships/image" Target="../media/image4.png"/><Relationship Id="rId4" Type="http://schemas.openxmlformats.org/officeDocument/2006/relationships/image" Target="../media/image2.png"/></Relationships>
</file>

<file path=ppt/slides/_rels/slide13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29.xml"/><Relationship Id="rId1" Type="http://schemas.openxmlformats.org/officeDocument/2006/relationships/slideLayout" Target="../slideLayouts/slideLayout2.xml"/><Relationship Id="rId5" Type="http://schemas.openxmlformats.org/officeDocument/2006/relationships/image" Target="../media/image2.png"/><Relationship Id="rId4" Type="http://schemas.openxmlformats.org/officeDocument/2006/relationships/image" Target="../media/image5.png"/></Relationships>
</file>

<file path=ppt/slides/_rels/slide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4.xml"/><Relationship Id="rId1" Type="http://schemas.openxmlformats.org/officeDocument/2006/relationships/slideLayout" Target="../slideLayouts/slideLayout1.xml"/><Relationship Id="rId5" Type="http://schemas.openxmlformats.org/officeDocument/2006/relationships/image" Target="../media/image5.png"/><Relationship Id="rId4" Type="http://schemas.openxmlformats.org/officeDocument/2006/relationships/image" Target="../media/image2.png"/></Relationships>
</file>

<file path=ppt/slides/_rels/slide140.xml.rels><?xml version="1.0" encoding="UTF-8" standalone="yes"?>
<Relationships xmlns="http://schemas.openxmlformats.org/package/2006/relationships"><Relationship Id="rId8" Type="http://schemas.openxmlformats.org/officeDocument/2006/relationships/image" Target="../media/image104.jpeg"/><Relationship Id="rId3" Type="http://schemas.openxmlformats.org/officeDocument/2006/relationships/image" Target="../media/image5.png"/><Relationship Id="rId7" Type="http://schemas.openxmlformats.org/officeDocument/2006/relationships/image" Target="../media/image103.jpeg"/><Relationship Id="rId2" Type="http://schemas.openxmlformats.org/officeDocument/2006/relationships/notesSlide" Target="../notesSlides/notesSlide130.xml"/><Relationship Id="rId1" Type="http://schemas.openxmlformats.org/officeDocument/2006/relationships/slideLayout" Target="../slideLayouts/slideLayout2.xml"/><Relationship Id="rId6" Type="http://schemas.openxmlformats.org/officeDocument/2006/relationships/image" Target="../media/image102.jpeg"/><Relationship Id="rId5" Type="http://schemas.openxmlformats.org/officeDocument/2006/relationships/image" Target="../media/image4.png"/><Relationship Id="rId4" Type="http://schemas.openxmlformats.org/officeDocument/2006/relationships/image" Target="../media/image2.png"/></Relationships>
</file>

<file path=ppt/slides/_rels/slide141.xml.rels><?xml version="1.0" encoding="UTF-8" standalone="yes"?>
<Relationships xmlns="http://schemas.openxmlformats.org/package/2006/relationships"><Relationship Id="rId2" Type="http://schemas.openxmlformats.org/officeDocument/2006/relationships/notesSlide" Target="../notesSlides/notesSlide131.xml"/><Relationship Id="rId1" Type="http://schemas.openxmlformats.org/officeDocument/2006/relationships/slideLayout" Target="../slideLayouts/slideLayout6.xml"/></Relationships>
</file>

<file path=ppt/slides/_rels/slide142.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106.svg"/><Relationship Id="rId2" Type="http://schemas.openxmlformats.org/officeDocument/2006/relationships/notesSlide" Target="../notesSlides/notesSlide132.xml"/><Relationship Id="rId1" Type="http://schemas.openxmlformats.org/officeDocument/2006/relationships/slideLayout" Target="../slideLayouts/slideLayout7.xml"/><Relationship Id="rId6" Type="http://schemas.openxmlformats.org/officeDocument/2006/relationships/image" Target="../media/image105.png"/><Relationship Id="rId5" Type="http://schemas.openxmlformats.org/officeDocument/2006/relationships/image" Target="../media/image5.png"/><Relationship Id="rId4" Type="http://schemas.openxmlformats.org/officeDocument/2006/relationships/image" Target="../media/image2.png"/></Relationships>
</file>

<file path=ppt/slides/_rels/slide143.xml.rels><?xml version="1.0" encoding="UTF-8" standalone="yes"?>
<Relationships xmlns="http://schemas.openxmlformats.org/package/2006/relationships"><Relationship Id="rId8" Type="http://schemas.openxmlformats.org/officeDocument/2006/relationships/image" Target="../media/image109.png"/><Relationship Id="rId3" Type="http://schemas.openxmlformats.org/officeDocument/2006/relationships/image" Target="../media/image4.png"/><Relationship Id="rId7" Type="http://schemas.openxmlformats.org/officeDocument/2006/relationships/image" Target="../media/image108.svg"/><Relationship Id="rId2" Type="http://schemas.openxmlformats.org/officeDocument/2006/relationships/notesSlide" Target="../notesSlides/notesSlide133.xml"/><Relationship Id="rId1" Type="http://schemas.openxmlformats.org/officeDocument/2006/relationships/slideLayout" Target="../slideLayouts/slideLayout7.xml"/><Relationship Id="rId6" Type="http://schemas.openxmlformats.org/officeDocument/2006/relationships/image" Target="../media/image107.png"/><Relationship Id="rId5" Type="http://schemas.openxmlformats.org/officeDocument/2006/relationships/image" Target="../media/image5.png"/><Relationship Id="rId4" Type="http://schemas.openxmlformats.org/officeDocument/2006/relationships/image" Target="../media/image2.png"/><Relationship Id="rId9" Type="http://schemas.openxmlformats.org/officeDocument/2006/relationships/image" Target="../media/image110.svg"/></Relationships>
</file>

<file path=ppt/slides/_rels/slide14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Layout" Target="../slideLayouts/slideLayout7.xml"/><Relationship Id="rId4" Type="http://schemas.openxmlformats.org/officeDocument/2006/relationships/image" Target="../media/image5.png"/></Relationships>
</file>

<file path=ppt/slides/_rels/slide145.xml.rels><?xml version="1.0" encoding="UTF-8" standalone="yes"?>
<Relationships xmlns="http://schemas.openxmlformats.org/package/2006/relationships"><Relationship Id="rId2" Type="http://schemas.openxmlformats.org/officeDocument/2006/relationships/notesSlide" Target="../notesSlides/notesSlide134.xml"/><Relationship Id="rId1" Type="http://schemas.openxmlformats.org/officeDocument/2006/relationships/slideLayout" Target="../slideLayouts/slideLayout6.xml"/></Relationships>
</file>

<file path=ppt/slides/_rels/slide146.xml.rels><?xml version="1.0" encoding="UTF-8" standalone="yes"?>
<Relationships xmlns="http://schemas.openxmlformats.org/package/2006/relationships"><Relationship Id="rId8" Type="http://schemas.openxmlformats.org/officeDocument/2006/relationships/image" Target="../media/image107.png"/><Relationship Id="rId3" Type="http://schemas.openxmlformats.org/officeDocument/2006/relationships/image" Target="../media/image4.png"/><Relationship Id="rId7" Type="http://schemas.openxmlformats.org/officeDocument/2006/relationships/image" Target="../media/image106.svg"/><Relationship Id="rId2" Type="http://schemas.openxmlformats.org/officeDocument/2006/relationships/notesSlide" Target="../notesSlides/notesSlide135.xml"/><Relationship Id="rId1" Type="http://schemas.openxmlformats.org/officeDocument/2006/relationships/slideLayout" Target="../slideLayouts/slideLayout7.xml"/><Relationship Id="rId6" Type="http://schemas.openxmlformats.org/officeDocument/2006/relationships/image" Target="../media/image105.png"/><Relationship Id="rId11" Type="http://schemas.openxmlformats.org/officeDocument/2006/relationships/image" Target="../media/image110.svg"/><Relationship Id="rId5" Type="http://schemas.openxmlformats.org/officeDocument/2006/relationships/image" Target="../media/image5.png"/><Relationship Id="rId10" Type="http://schemas.openxmlformats.org/officeDocument/2006/relationships/image" Target="../media/image109.png"/><Relationship Id="rId4" Type="http://schemas.openxmlformats.org/officeDocument/2006/relationships/image" Target="../media/image2.png"/><Relationship Id="rId9" Type="http://schemas.openxmlformats.org/officeDocument/2006/relationships/image" Target="../media/image108.svg"/></Relationships>
</file>

<file path=ppt/slides/_rels/slide14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36.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image" Target="../media/image2.png"/></Relationships>
</file>

<file path=ppt/slides/_rels/slide14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37.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image" Target="../media/image2.png"/></Relationships>
</file>

<file path=ppt/slides/_rels/slide149.xml.rels><?xml version="1.0" encoding="UTF-8" standalone="yes"?>
<Relationships xmlns="http://schemas.openxmlformats.org/package/2006/relationships"><Relationship Id="rId8" Type="http://schemas.openxmlformats.org/officeDocument/2006/relationships/image" Target="../media/image113.png"/><Relationship Id="rId13" Type="http://schemas.openxmlformats.org/officeDocument/2006/relationships/image" Target="../media/image118.svg"/><Relationship Id="rId18" Type="http://schemas.openxmlformats.org/officeDocument/2006/relationships/image" Target="../media/image123.png"/><Relationship Id="rId3" Type="http://schemas.openxmlformats.org/officeDocument/2006/relationships/image" Target="../media/image4.png"/><Relationship Id="rId21" Type="http://schemas.openxmlformats.org/officeDocument/2006/relationships/image" Target="../media/image126.svg"/><Relationship Id="rId7" Type="http://schemas.openxmlformats.org/officeDocument/2006/relationships/image" Target="../media/image112.svg"/><Relationship Id="rId12" Type="http://schemas.openxmlformats.org/officeDocument/2006/relationships/image" Target="../media/image117.png"/><Relationship Id="rId17" Type="http://schemas.openxmlformats.org/officeDocument/2006/relationships/image" Target="../media/image122.svg"/><Relationship Id="rId25" Type="http://schemas.openxmlformats.org/officeDocument/2006/relationships/image" Target="../media/image130.svg"/><Relationship Id="rId2" Type="http://schemas.openxmlformats.org/officeDocument/2006/relationships/notesSlide" Target="../notesSlides/notesSlide138.xml"/><Relationship Id="rId16" Type="http://schemas.openxmlformats.org/officeDocument/2006/relationships/image" Target="../media/image121.png"/><Relationship Id="rId20" Type="http://schemas.openxmlformats.org/officeDocument/2006/relationships/image" Target="../media/image125.png"/><Relationship Id="rId1" Type="http://schemas.openxmlformats.org/officeDocument/2006/relationships/slideLayout" Target="../slideLayouts/slideLayout7.xml"/><Relationship Id="rId6" Type="http://schemas.openxmlformats.org/officeDocument/2006/relationships/image" Target="../media/image111.png"/><Relationship Id="rId11" Type="http://schemas.openxmlformats.org/officeDocument/2006/relationships/image" Target="../media/image116.svg"/><Relationship Id="rId24" Type="http://schemas.openxmlformats.org/officeDocument/2006/relationships/image" Target="../media/image129.png"/><Relationship Id="rId5" Type="http://schemas.openxmlformats.org/officeDocument/2006/relationships/image" Target="../media/image5.png"/><Relationship Id="rId15" Type="http://schemas.openxmlformats.org/officeDocument/2006/relationships/image" Target="../media/image120.svg"/><Relationship Id="rId23" Type="http://schemas.openxmlformats.org/officeDocument/2006/relationships/image" Target="../media/image128.svg"/><Relationship Id="rId10" Type="http://schemas.openxmlformats.org/officeDocument/2006/relationships/image" Target="../media/image115.png"/><Relationship Id="rId19" Type="http://schemas.openxmlformats.org/officeDocument/2006/relationships/image" Target="../media/image124.svg"/><Relationship Id="rId4" Type="http://schemas.openxmlformats.org/officeDocument/2006/relationships/image" Target="../media/image2.png"/><Relationship Id="rId9" Type="http://schemas.openxmlformats.org/officeDocument/2006/relationships/image" Target="../media/image114.svg"/><Relationship Id="rId14" Type="http://schemas.openxmlformats.org/officeDocument/2006/relationships/image" Target="../media/image119.png"/><Relationship Id="rId22" Type="http://schemas.openxmlformats.org/officeDocument/2006/relationships/image" Target="../media/image127.png"/></Relationships>
</file>

<file path=ppt/slides/_rels/slide15.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image" Target="../media/image4.png"/><Relationship Id="rId7" Type="http://schemas.openxmlformats.org/officeDocument/2006/relationships/image" Target="../media/image10.jpeg"/><Relationship Id="rId2" Type="http://schemas.openxmlformats.org/officeDocument/2006/relationships/notesSlide" Target="../notesSlides/notesSlide15.xml"/><Relationship Id="rId1" Type="http://schemas.openxmlformats.org/officeDocument/2006/relationships/slideLayout" Target="../slideLayouts/slideLayout1.xml"/><Relationship Id="rId6" Type="http://schemas.openxmlformats.org/officeDocument/2006/relationships/image" Target="../media/image9.png"/><Relationship Id="rId5" Type="http://schemas.openxmlformats.org/officeDocument/2006/relationships/image" Target="../media/image5.png"/><Relationship Id="rId4" Type="http://schemas.openxmlformats.org/officeDocument/2006/relationships/image" Target="../media/image2.png"/><Relationship Id="rId9" Type="http://schemas.openxmlformats.org/officeDocument/2006/relationships/image" Target="../media/image12.jpeg"/></Relationships>
</file>

<file path=ppt/slides/_rels/slide15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Layout" Target="../slideLayouts/slideLayout7.xml"/><Relationship Id="rId4" Type="http://schemas.openxmlformats.org/officeDocument/2006/relationships/image" Target="../media/image5.png"/></Relationships>
</file>

<file path=ppt/slides/_rels/slide151.xml.rels><?xml version="1.0" encoding="UTF-8" standalone="yes"?>
<Relationships xmlns="http://schemas.openxmlformats.org/package/2006/relationships"><Relationship Id="rId8" Type="http://schemas.openxmlformats.org/officeDocument/2006/relationships/image" Target="../media/image133.png"/><Relationship Id="rId3" Type="http://schemas.openxmlformats.org/officeDocument/2006/relationships/image" Target="../media/image4.png"/><Relationship Id="rId7" Type="http://schemas.openxmlformats.org/officeDocument/2006/relationships/image" Target="../media/image132.png"/><Relationship Id="rId2" Type="http://schemas.openxmlformats.org/officeDocument/2006/relationships/notesSlide" Target="../notesSlides/notesSlide139.xml"/><Relationship Id="rId1" Type="http://schemas.openxmlformats.org/officeDocument/2006/relationships/slideLayout" Target="../slideLayouts/slideLayout7.xml"/><Relationship Id="rId6" Type="http://schemas.openxmlformats.org/officeDocument/2006/relationships/image" Target="../media/image131.png"/><Relationship Id="rId5" Type="http://schemas.openxmlformats.org/officeDocument/2006/relationships/image" Target="../media/image5.png"/><Relationship Id="rId4" Type="http://schemas.openxmlformats.org/officeDocument/2006/relationships/image" Target="../media/image2.png"/></Relationships>
</file>

<file path=ppt/slides/_rels/slide15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Layout" Target="../slideLayouts/slideLayout7.xml"/><Relationship Id="rId6" Type="http://schemas.openxmlformats.org/officeDocument/2006/relationships/image" Target="../media/image135.png"/><Relationship Id="rId5" Type="http://schemas.openxmlformats.org/officeDocument/2006/relationships/image" Target="../media/image134.png"/><Relationship Id="rId4" Type="http://schemas.openxmlformats.org/officeDocument/2006/relationships/image" Target="../media/image5.png"/></Relationships>
</file>

<file path=ppt/slides/_rels/slide15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40.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image" Target="../media/image2.png"/></Relationships>
</file>

<file path=ppt/slides/_rels/slide15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41.xml"/><Relationship Id="rId1" Type="http://schemas.openxmlformats.org/officeDocument/2006/relationships/slideLayout" Target="../slideLayouts/slideLayout7.xml"/><Relationship Id="rId6" Type="http://schemas.openxmlformats.org/officeDocument/2006/relationships/image" Target="../media/image83.png"/><Relationship Id="rId5" Type="http://schemas.openxmlformats.org/officeDocument/2006/relationships/image" Target="../media/image4.png"/><Relationship Id="rId4" Type="http://schemas.openxmlformats.org/officeDocument/2006/relationships/image" Target="../media/image5.png"/></Relationships>
</file>

<file path=ppt/slides/_rels/slide15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42.xml"/><Relationship Id="rId1" Type="http://schemas.openxmlformats.org/officeDocument/2006/relationships/slideLayout" Target="../slideLayouts/slideLayout7.xml"/><Relationship Id="rId6" Type="http://schemas.openxmlformats.org/officeDocument/2006/relationships/image" Target="../media/image83.png"/><Relationship Id="rId5" Type="http://schemas.openxmlformats.org/officeDocument/2006/relationships/image" Target="../media/image5.png"/><Relationship Id="rId4" Type="http://schemas.openxmlformats.org/officeDocument/2006/relationships/image" Target="../media/image2.png"/></Relationships>
</file>

<file path=ppt/slides/_rels/slide15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43.xml"/><Relationship Id="rId1" Type="http://schemas.openxmlformats.org/officeDocument/2006/relationships/slideLayout" Target="../slideLayouts/slideLayout7.xml"/><Relationship Id="rId6" Type="http://schemas.openxmlformats.org/officeDocument/2006/relationships/image" Target="../media/image83.png"/><Relationship Id="rId5" Type="http://schemas.openxmlformats.org/officeDocument/2006/relationships/image" Target="../media/image4.png"/><Relationship Id="rId4" Type="http://schemas.openxmlformats.org/officeDocument/2006/relationships/image" Target="../media/image5.png"/></Relationships>
</file>

<file path=ppt/slides/_rels/slide158.xml.rels><?xml version="1.0" encoding="UTF-8" standalone="yes"?>
<Relationships xmlns="http://schemas.openxmlformats.org/package/2006/relationships"><Relationship Id="rId3" Type="http://schemas.openxmlformats.org/officeDocument/2006/relationships/image" Target="../media/image136.png"/><Relationship Id="rId7" Type="http://schemas.openxmlformats.org/officeDocument/2006/relationships/image" Target="../media/image83.png"/><Relationship Id="rId2" Type="http://schemas.openxmlformats.org/officeDocument/2006/relationships/notesSlide" Target="../notesSlides/notesSlide144.xml"/><Relationship Id="rId1" Type="http://schemas.openxmlformats.org/officeDocument/2006/relationships/slideLayout" Target="../slideLayouts/slideLayout7.xml"/><Relationship Id="rId6" Type="http://schemas.openxmlformats.org/officeDocument/2006/relationships/image" Target="../media/image4.png"/><Relationship Id="rId5" Type="http://schemas.openxmlformats.org/officeDocument/2006/relationships/image" Target="../media/image5.png"/><Relationship Id="rId4" Type="http://schemas.openxmlformats.org/officeDocument/2006/relationships/image" Target="../media/image2.png"/></Relationships>
</file>

<file path=ppt/slides/_rels/slide159.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83.png"/><Relationship Id="rId2" Type="http://schemas.openxmlformats.org/officeDocument/2006/relationships/notesSlide" Target="../notesSlides/notesSlide145.xml"/><Relationship Id="rId1" Type="http://schemas.openxmlformats.org/officeDocument/2006/relationships/slideLayout" Target="../slideLayouts/slideLayout7.xml"/><Relationship Id="rId6" Type="http://schemas.openxmlformats.org/officeDocument/2006/relationships/image" Target="../media/image137.png"/><Relationship Id="rId5" Type="http://schemas.openxmlformats.org/officeDocument/2006/relationships/image" Target="../media/image4.png"/><Relationship Id="rId4" Type="http://schemas.openxmlformats.org/officeDocument/2006/relationships/image" Target="../media/image5.png"/></Relationships>
</file>

<file path=ppt/slides/_rels/slide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6.xml"/><Relationship Id="rId1" Type="http://schemas.openxmlformats.org/officeDocument/2006/relationships/slideLayout" Target="../slideLayouts/slideLayout1.xml"/><Relationship Id="rId6" Type="http://schemas.openxmlformats.org/officeDocument/2006/relationships/image" Target="../media/image13.gif"/><Relationship Id="rId5" Type="http://schemas.openxmlformats.org/officeDocument/2006/relationships/image" Target="../media/image5.png"/><Relationship Id="rId4" Type="http://schemas.openxmlformats.org/officeDocument/2006/relationships/image" Target="../media/image2.png"/></Relationships>
</file>

<file path=ppt/slides/_rels/slide16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46.xml"/><Relationship Id="rId1" Type="http://schemas.openxmlformats.org/officeDocument/2006/relationships/slideLayout" Target="../slideLayouts/slideLayout7.xml"/><Relationship Id="rId6" Type="http://schemas.openxmlformats.org/officeDocument/2006/relationships/image" Target="../media/image83.png"/><Relationship Id="rId5" Type="http://schemas.openxmlformats.org/officeDocument/2006/relationships/image" Target="../media/image4.png"/><Relationship Id="rId4" Type="http://schemas.openxmlformats.org/officeDocument/2006/relationships/image" Target="../media/image5.png"/></Relationships>
</file>

<file path=ppt/slides/_rels/slide16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47.xml"/><Relationship Id="rId1" Type="http://schemas.openxmlformats.org/officeDocument/2006/relationships/slideLayout" Target="../slideLayouts/slideLayout7.xml"/><Relationship Id="rId6" Type="http://schemas.openxmlformats.org/officeDocument/2006/relationships/image" Target="../media/image83.png"/><Relationship Id="rId5" Type="http://schemas.openxmlformats.org/officeDocument/2006/relationships/image" Target="../media/image4.png"/><Relationship Id="rId4" Type="http://schemas.openxmlformats.org/officeDocument/2006/relationships/image" Target="../media/image5.png"/></Relationships>
</file>

<file path=ppt/slides/_rels/slide16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48.xml"/><Relationship Id="rId1" Type="http://schemas.openxmlformats.org/officeDocument/2006/relationships/slideLayout" Target="../slideLayouts/slideLayout2.xml"/><Relationship Id="rId6" Type="http://schemas.openxmlformats.org/officeDocument/2006/relationships/image" Target="../media/image138.jpeg"/><Relationship Id="rId5" Type="http://schemas.openxmlformats.org/officeDocument/2006/relationships/image" Target="../media/image2.png"/><Relationship Id="rId4" Type="http://schemas.openxmlformats.org/officeDocument/2006/relationships/image" Target="../media/image5.png"/></Relationships>
</file>

<file path=ppt/slides/_rels/slide16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49.xml"/><Relationship Id="rId1" Type="http://schemas.openxmlformats.org/officeDocument/2006/relationships/slideLayout" Target="../slideLayouts/slideLayout2.xml"/><Relationship Id="rId6" Type="http://schemas.openxmlformats.org/officeDocument/2006/relationships/image" Target="../media/image139.jpeg"/><Relationship Id="rId5" Type="http://schemas.openxmlformats.org/officeDocument/2006/relationships/image" Target="../media/image4.png"/><Relationship Id="rId4" Type="http://schemas.openxmlformats.org/officeDocument/2006/relationships/image" Target="../media/image2.png"/></Relationships>
</file>

<file path=ppt/slides/_rels/slide16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Layout" Target="../slideLayouts/slideLayout7.xml"/><Relationship Id="rId4" Type="http://schemas.openxmlformats.org/officeDocument/2006/relationships/image" Target="../media/image5.png"/></Relationships>
</file>

<file path=ppt/slides/_rels/slide1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6.xml.rels><?xml version="1.0" encoding="UTF-8" standalone="yes"?>
<Relationships xmlns="http://schemas.openxmlformats.org/package/2006/relationships"><Relationship Id="rId2" Type="http://schemas.openxmlformats.org/officeDocument/2006/relationships/notesSlide" Target="../notesSlides/notesSlide150.xml"/><Relationship Id="rId1" Type="http://schemas.openxmlformats.org/officeDocument/2006/relationships/slideLayout" Target="../slideLayouts/slideLayout6.xml"/></Relationships>
</file>

<file path=ppt/slides/_rels/slide167.xml.rels><?xml version="1.0" encoding="UTF-8" standalone="yes"?>
<Relationships xmlns="http://schemas.openxmlformats.org/package/2006/relationships"><Relationship Id="rId2" Type="http://schemas.openxmlformats.org/officeDocument/2006/relationships/notesSlide" Target="../notesSlides/notesSlide151.xml"/><Relationship Id="rId1" Type="http://schemas.openxmlformats.org/officeDocument/2006/relationships/slideLayout" Target="../slideLayouts/slideLayout6.xml"/></Relationships>
</file>

<file path=ppt/slides/_rels/slide168.xml.rels><?xml version="1.0" encoding="UTF-8" standalone="yes"?>
<Relationships xmlns="http://schemas.openxmlformats.org/package/2006/relationships"><Relationship Id="rId8" Type="http://schemas.openxmlformats.org/officeDocument/2006/relationships/slide" Target="slide271.xml"/><Relationship Id="rId13" Type="http://schemas.openxmlformats.org/officeDocument/2006/relationships/image" Target="../media/image23.png"/><Relationship Id="rId18" Type="http://schemas.openxmlformats.org/officeDocument/2006/relationships/image" Target="../media/image5.png"/><Relationship Id="rId3" Type="http://schemas.openxmlformats.org/officeDocument/2006/relationships/image" Target="../media/image18.png"/><Relationship Id="rId7" Type="http://schemas.openxmlformats.org/officeDocument/2006/relationships/image" Target="../media/image20.png"/><Relationship Id="rId12" Type="http://schemas.openxmlformats.org/officeDocument/2006/relationships/slide" Target="slide161.xml"/><Relationship Id="rId17" Type="http://schemas.openxmlformats.org/officeDocument/2006/relationships/image" Target="../media/image2.png"/><Relationship Id="rId2" Type="http://schemas.openxmlformats.org/officeDocument/2006/relationships/notesSlide" Target="../notesSlides/notesSlide152.xml"/><Relationship Id="rId16" Type="http://schemas.openxmlformats.org/officeDocument/2006/relationships/image" Target="../media/image4.png"/><Relationship Id="rId1" Type="http://schemas.openxmlformats.org/officeDocument/2006/relationships/slideLayout" Target="../slideLayouts/slideLayout1.xml"/><Relationship Id="rId6" Type="http://schemas.openxmlformats.org/officeDocument/2006/relationships/slide" Target="slide203.xml"/><Relationship Id="rId11" Type="http://schemas.openxmlformats.org/officeDocument/2006/relationships/image" Target="../media/image22.png"/><Relationship Id="rId5" Type="http://schemas.openxmlformats.org/officeDocument/2006/relationships/image" Target="../media/image19.png"/><Relationship Id="rId15" Type="http://schemas.openxmlformats.org/officeDocument/2006/relationships/image" Target="../media/image140.png"/><Relationship Id="rId10" Type="http://schemas.openxmlformats.org/officeDocument/2006/relationships/slide" Target="slide201.xml"/><Relationship Id="rId4" Type="http://schemas.openxmlformats.org/officeDocument/2006/relationships/slide" Target="slide209.xml"/><Relationship Id="rId9" Type="http://schemas.openxmlformats.org/officeDocument/2006/relationships/image" Target="../media/image21.png"/><Relationship Id="rId14" Type="http://schemas.openxmlformats.org/officeDocument/2006/relationships/hyperlink" Target="https://retrofeed.eu/ceramic-sector/" TargetMode="External"/></Relationships>
</file>

<file path=ppt/slides/_rels/slide1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7.xml"/><Relationship Id="rId1" Type="http://schemas.openxmlformats.org/officeDocument/2006/relationships/slideLayout" Target="../slideLayouts/slideLayout1.xml"/><Relationship Id="rId6" Type="http://schemas.openxmlformats.org/officeDocument/2006/relationships/image" Target="../media/image14.gif"/><Relationship Id="rId5" Type="http://schemas.openxmlformats.org/officeDocument/2006/relationships/image" Target="../media/image5.png"/><Relationship Id="rId4" Type="http://schemas.openxmlformats.org/officeDocument/2006/relationships/image" Target="../media/image2.png"/></Relationships>
</file>

<file path=ppt/slides/_rels/slide170.xml.rels><?xml version="1.0" encoding="UTF-8" standalone="yes"?>
<Relationships xmlns="http://schemas.openxmlformats.org/package/2006/relationships"><Relationship Id="rId3" Type="http://schemas.openxmlformats.org/officeDocument/2006/relationships/image" Target="../media/image41.tiff"/><Relationship Id="rId7" Type="http://schemas.openxmlformats.org/officeDocument/2006/relationships/image" Target="../media/image36.emf"/><Relationship Id="rId2" Type="http://schemas.openxmlformats.org/officeDocument/2006/relationships/notesSlide" Target="../notesSlides/notesSlide153.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image" Target="../media/image2.png"/><Relationship Id="rId4" Type="http://schemas.openxmlformats.org/officeDocument/2006/relationships/image" Target="../media/image4.png"/></Relationships>
</file>

<file path=ppt/slides/_rels/slide171.xml.rels><?xml version="1.0" encoding="UTF-8" standalone="yes"?>
<Relationships xmlns="http://schemas.openxmlformats.org/package/2006/relationships"><Relationship Id="rId8" Type="http://schemas.openxmlformats.org/officeDocument/2006/relationships/image" Target="../media/image142.png"/><Relationship Id="rId3" Type="http://schemas.openxmlformats.org/officeDocument/2006/relationships/image" Target="../media/image4.png"/><Relationship Id="rId7" Type="http://schemas.openxmlformats.org/officeDocument/2006/relationships/image" Target="../media/image141.png"/><Relationship Id="rId2" Type="http://schemas.openxmlformats.org/officeDocument/2006/relationships/notesSlide" Target="../notesSlides/notesSlide154.xml"/><Relationship Id="rId1" Type="http://schemas.openxmlformats.org/officeDocument/2006/relationships/slideLayout" Target="../slideLayouts/slideLayout1.xml"/><Relationship Id="rId6" Type="http://schemas.openxmlformats.org/officeDocument/2006/relationships/image" Target="../media/image20.png"/><Relationship Id="rId5" Type="http://schemas.openxmlformats.org/officeDocument/2006/relationships/image" Target="../media/image5.png"/><Relationship Id="rId4" Type="http://schemas.openxmlformats.org/officeDocument/2006/relationships/image" Target="../media/image2.png"/></Relationships>
</file>

<file path=ppt/slides/_rels/slide172.xml.rels><?xml version="1.0" encoding="UTF-8" standalone="yes"?>
<Relationships xmlns="http://schemas.openxmlformats.org/package/2006/relationships"><Relationship Id="rId8" Type="http://schemas.openxmlformats.org/officeDocument/2006/relationships/image" Target="../media/image145.jpeg"/><Relationship Id="rId3" Type="http://schemas.openxmlformats.org/officeDocument/2006/relationships/image" Target="../media/image4.png"/><Relationship Id="rId7" Type="http://schemas.openxmlformats.org/officeDocument/2006/relationships/image" Target="../media/image144.jpeg"/><Relationship Id="rId2" Type="http://schemas.openxmlformats.org/officeDocument/2006/relationships/notesSlide" Target="../notesSlides/notesSlide155.xml"/><Relationship Id="rId1" Type="http://schemas.openxmlformats.org/officeDocument/2006/relationships/slideLayout" Target="../slideLayouts/slideLayout1.xml"/><Relationship Id="rId6" Type="http://schemas.openxmlformats.org/officeDocument/2006/relationships/image" Target="../media/image143.png"/><Relationship Id="rId5" Type="http://schemas.openxmlformats.org/officeDocument/2006/relationships/image" Target="../media/image5.png"/><Relationship Id="rId10" Type="http://schemas.openxmlformats.org/officeDocument/2006/relationships/image" Target="../media/image20.png"/><Relationship Id="rId4" Type="http://schemas.openxmlformats.org/officeDocument/2006/relationships/image" Target="../media/image2.png"/><Relationship Id="rId9" Type="http://schemas.openxmlformats.org/officeDocument/2006/relationships/image" Target="../media/image146.jpeg"/></Relationships>
</file>

<file path=ppt/slides/_rels/slide173.xml.rels><?xml version="1.0" encoding="UTF-8" standalone="yes"?>
<Relationships xmlns="http://schemas.openxmlformats.org/package/2006/relationships"><Relationship Id="rId8" Type="http://schemas.openxmlformats.org/officeDocument/2006/relationships/image" Target="../media/image149.png"/><Relationship Id="rId3" Type="http://schemas.openxmlformats.org/officeDocument/2006/relationships/image" Target="../media/image4.png"/><Relationship Id="rId7" Type="http://schemas.openxmlformats.org/officeDocument/2006/relationships/image" Target="../media/image148.jpeg"/><Relationship Id="rId2" Type="http://schemas.openxmlformats.org/officeDocument/2006/relationships/notesSlide" Target="../notesSlides/notesSlide156.xml"/><Relationship Id="rId1" Type="http://schemas.openxmlformats.org/officeDocument/2006/relationships/slideLayout" Target="../slideLayouts/slideLayout1.xml"/><Relationship Id="rId6" Type="http://schemas.openxmlformats.org/officeDocument/2006/relationships/image" Target="../media/image147.jpeg"/><Relationship Id="rId11" Type="http://schemas.openxmlformats.org/officeDocument/2006/relationships/image" Target="../media/image20.png"/><Relationship Id="rId5" Type="http://schemas.openxmlformats.org/officeDocument/2006/relationships/image" Target="../media/image5.png"/><Relationship Id="rId10" Type="http://schemas.openxmlformats.org/officeDocument/2006/relationships/image" Target="../media/image151.jpeg"/><Relationship Id="rId4" Type="http://schemas.openxmlformats.org/officeDocument/2006/relationships/image" Target="../media/image2.png"/><Relationship Id="rId9" Type="http://schemas.openxmlformats.org/officeDocument/2006/relationships/image" Target="../media/image150.jpeg"/></Relationships>
</file>

<file path=ppt/slides/_rels/slide17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57.xml"/><Relationship Id="rId1" Type="http://schemas.openxmlformats.org/officeDocument/2006/relationships/slideLayout" Target="../slideLayouts/slideLayout1.xml"/><Relationship Id="rId6" Type="http://schemas.openxmlformats.org/officeDocument/2006/relationships/image" Target="../media/image20.png"/><Relationship Id="rId5" Type="http://schemas.openxmlformats.org/officeDocument/2006/relationships/image" Target="../media/image5.png"/><Relationship Id="rId4" Type="http://schemas.openxmlformats.org/officeDocument/2006/relationships/image" Target="../media/image2.png"/></Relationships>
</file>

<file path=ppt/slides/_rels/slide17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6.xml.rels><?xml version="1.0" encoding="UTF-8" standalone="yes"?>
<Relationships xmlns="http://schemas.openxmlformats.org/package/2006/relationships"><Relationship Id="rId3" Type="http://schemas.openxmlformats.org/officeDocument/2006/relationships/image" Target="../media/image34.jpeg"/><Relationship Id="rId7" Type="http://schemas.openxmlformats.org/officeDocument/2006/relationships/image" Target="../media/image26.emf"/><Relationship Id="rId2" Type="http://schemas.openxmlformats.org/officeDocument/2006/relationships/notesSlide" Target="../notesSlides/notesSlide158.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image" Target="../media/image2.png"/><Relationship Id="rId4" Type="http://schemas.openxmlformats.org/officeDocument/2006/relationships/image" Target="../media/image4.png"/></Relationships>
</file>

<file path=ppt/slides/_rels/slide177.xml.rels><?xml version="1.0" encoding="UTF-8" standalone="yes"?>
<Relationships xmlns="http://schemas.openxmlformats.org/package/2006/relationships"><Relationship Id="rId8" Type="http://schemas.openxmlformats.org/officeDocument/2006/relationships/image" Target="../media/image154.emf"/><Relationship Id="rId13" Type="http://schemas.openxmlformats.org/officeDocument/2006/relationships/image" Target="../media/image158.jpeg"/><Relationship Id="rId3" Type="http://schemas.openxmlformats.org/officeDocument/2006/relationships/image" Target="../media/image4.png"/><Relationship Id="rId7" Type="http://schemas.openxmlformats.org/officeDocument/2006/relationships/image" Target="../media/image153.svg"/><Relationship Id="rId12" Type="http://schemas.openxmlformats.org/officeDocument/2006/relationships/image" Target="../media/image26.emf"/><Relationship Id="rId2" Type="http://schemas.openxmlformats.org/officeDocument/2006/relationships/notesSlide" Target="../notesSlides/notesSlide159.xml"/><Relationship Id="rId1" Type="http://schemas.openxmlformats.org/officeDocument/2006/relationships/slideLayout" Target="../slideLayouts/slideLayout1.xml"/><Relationship Id="rId6" Type="http://schemas.openxmlformats.org/officeDocument/2006/relationships/image" Target="../media/image152.png"/><Relationship Id="rId11" Type="http://schemas.openxmlformats.org/officeDocument/2006/relationships/image" Target="../media/image157.jpeg"/><Relationship Id="rId5" Type="http://schemas.openxmlformats.org/officeDocument/2006/relationships/image" Target="../media/image5.png"/><Relationship Id="rId10" Type="http://schemas.openxmlformats.org/officeDocument/2006/relationships/image" Target="../media/image156.png"/><Relationship Id="rId4" Type="http://schemas.openxmlformats.org/officeDocument/2006/relationships/image" Target="../media/image2.png"/><Relationship Id="rId9" Type="http://schemas.openxmlformats.org/officeDocument/2006/relationships/image" Target="../media/image155.emf"/></Relationships>
</file>

<file path=ppt/slides/_rels/slide178.xml.rels><?xml version="1.0" encoding="UTF-8" standalone="yes"?>
<Relationships xmlns="http://schemas.openxmlformats.org/package/2006/relationships"><Relationship Id="rId8" Type="http://schemas.openxmlformats.org/officeDocument/2006/relationships/image" Target="../media/image160.png"/><Relationship Id="rId3" Type="http://schemas.openxmlformats.org/officeDocument/2006/relationships/image" Target="../media/image4.png"/><Relationship Id="rId7" Type="http://schemas.openxmlformats.org/officeDocument/2006/relationships/image" Target="../media/image26.emf"/><Relationship Id="rId2" Type="http://schemas.openxmlformats.org/officeDocument/2006/relationships/notesSlide" Target="../notesSlides/notesSlide160.xml"/><Relationship Id="rId1" Type="http://schemas.openxmlformats.org/officeDocument/2006/relationships/slideLayout" Target="../slideLayouts/slideLayout1.xml"/><Relationship Id="rId6" Type="http://schemas.openxmlformats.org/officeDocument/2006/relationships/image" Target="../media/image159.png"/><Relationship Id="rId5" Type="http://schemas.openxmlformats.org/officeDocument/2006/relationships/image" Target="../media/image5.png"/><Relationship Id="rId4" Type="http://schemas.openxmlformats.org/officeDocument/2006/relationships/image" Target="../media/image2.png"/></Relationships>
</file>

<file path=ppt/slides/_rels/slide179.xml.rels><?xml version="1.0" encoding="UTF-8" standalone="yes"?>
<Relationships xmlns="http://schemas.openxmlformats.org/package/2006/relationships"><Relationship Id="rId8" Type="http://schemas.openxmlformats.org/officeDocument/2006/relationships/image" Target="../media/image162.png"/><Relationship Id="rId13" Type="http://schemas.openxmlformats.org/officeDocument/2006/relationships/image" Target="../media/image26.emf"/><Relationship Id="rId3" Type="http://schemas.openxmlformats.org/officeDocument/2006/relationships/image" Target="../media/image4.png"/><Relationship Id="rId7" Type="http://schemas.openxmlformats.org/officeDocument/2006/relationships/image" Target="../media/image160.png"/><Relationship Id="rId12" Type="http://schemas.openxmlformats.org/officeDocument/2006/relationships/image" Target="../media/image166.png"/><Relationship Id="rId2" Type="http://schemas.openxmlformats.org/officeDocument/2006/relationships/notesSlide" Target="../notesSlides/notesSlide161.xml"/><Relationship Id="rId1" Type="http://schemas.openxmlformats.org/officeDocument/2006/relationships/slideLayout" Target="../slideLayouts/slideLayout1.xml"/><Relationship Id="rId6" Type="http://schemas.openxmlformats.org/officeDocument/2006/relationships/image" Target="../media/image161.png"/><Relationship Id="rId11" Type="http://schemas.openxmlformats.org/officeDocument/2006/relationships/image" Target="../media/image165.emf"/><Relationship Id="rId5" Type="http://schemas.openxmlformats.org/officeDocument/2006/relationships/image" Target="../media/image5.png"/><Relationship Id="rId10" Type="http://schemas.openxmlformats.org/officeDocument/2006/relationships/image" Target="../media/image164.jpeg"/><Relationship Id="rId4" Type="http://schemas.openxmlformats.org/officeDocument/2006/relationships/image" Target="../media/image2.png"/><Relationship Id="rId9" Type="http://schemas.openxmlformats.org/officeDocument/2006/relationships/image" Target="../media/image163.emf"/></Relationships>
</file>

<file path=ppt/slides/_rels/slide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8.xml"/><Relationship Id="rId1" Type="http://schemas.openxmlformats.org/officeDocument/2006/relationships/slideLayout" Target="../slideLayouts/slideLayout1.xml"/><Relationship Id="rId6" Type="http://schemas.openxmlformats.org/officeDocument/2006/relationships/image" Target="../media/image15.gif"/><Relationship Id="rId5" Type="http://schemas.openxmlformats.org/officeDocument/2006/relationships/image" Target="../media/image5.png"/><Relationship Id="rId4" Type="http://schemas.openxmlformats.org/officeDocument/2006/relationships/image" Target="../media/image2.png"/></Relationships>
</file>

<file path=ppt/slides/_rels/slide180.xml.rels><?xml version="1.0" encoding="UTF-8" standalone="yes"?>
<Relationships xmlns="http://schemas.openxmlformats.org/package/2006/relationships"><Relationship Id="rId8" Type="http://schemas.openxmlformats.org/officeDocument/2006/relationships/chart" Target="../charts/chart2.xml"/><Relationship Id="rId3" Type="http://schemas.openxmlformats.org/officeDocument/2006/relationships/image" Target="../media/image4.png"/><Relationship Id="rId7" Type="http://schemas.openxmlformats.org/officeDocument/2006/relationships/chart" Target="../charts/chart1.xml"/><Relationship Id="rId2" Type="http://schemas.openxmlformats.org/officeDocument/2006/relationships/notesSlide" Target="../notesSlides/notesSlide162.xml"/><Relationship Id="rId1" Type="http://schemas.openxmlformats.org/officeDocument/2006/relationships/slideLayout" Target="../slideLayouts/slideLayout1.xml"/><Relationship Id="rId6" Type="http://schemas.openxmlformats.org/officeDocument/2006/relationships/image" Target="../media/image26.emf"/><Relationship Id="rId5" Type="http://schemas.openxmlformats.org/officeDocument/2006/relationships/image" Target="../media/image5.png"/><Relationship Id="rId10" Type="http://schemas.openxmlformats.org/officeDocument/2006/relationships/chart" Target="../charts/chart3.xml"/><Relationship Id="rId4" Type="http://schemas.openxmlformats.org/officeDocument/2006/relationships/image" Target="../media/image2.png"/><Relationship Id="rId9" Type="http://schemas.openxmlformats.org/officeDocument/2006/relationships/image" Target="../media/image167.png"/></Relationships>
</file>

<file path=ppt/slides/_rels/slide181.xml.rels><?xml version="1.0" encoding="UTF-8" standalone="yes"?>
<Relationships xmlns="http://schemas.openxmlformats.org/package/2006/relationships"><Relationship Id="rId8" Type="http://schemas.openxmlformats.org/officeDocument/2006/relationships/image" Target="../media/image167.png"/><Relationship Id="rId3" Type="http://schemas.openxmlformats.org/officeDocument/2006/relationships/image" Target="../media/image4.png"/><Relationship Id="rId7" Type="http://schemas.openxmlformats.org/officeDocument/2006/relationships/chart" Target="../charts/chart4.xml"/><Relationship Id="rId2" Type="http://schemas.openxmlformats.org/officeDocument/2006/relationships/notesSlide" Target="../notesSlides/notesSlide163.xml"/><Relationship Id="rId1" Type="http://schemas.openxmlformats.org/officeDocument/2006/relationships/slideLayout" Target="../slideLayouts/slideLayout1.xml"/><Relationship Id="rId6" Type="http://schemas.openxmlformats.org/officeDocument/2006/relationships/image" Target="../media/image26.emf"/><Relationship Id="rId5" Type="http://schemas.openxmlformats.org/officeDocument/2006/relationships/image" Target="../media/image5.png"/><Relationship Id="rId4" Type="http://schemas.openxmlformats.org/officeDocument/2006/relationships/image" Target="../media/image2.png"/></Relationships>
</file>

<file path=ppt/slides/_rels/slide182.xml.rels><?xml version="1.0" encoding="UTF-8" standalone="yes"?>
<Relationships xmlns="http://schemas.openxmlformats.org/package/2006/relationships"><Relationship Id="rId8" Type="http://schemas.openxmlformats.org/officeDocument/2006/relationships/image" Target="../media/image169.jpeg"/><Relationship Id="rId3" Type="http://schemas.openxmlformats.org/officeDocument/2006/relationships/image" Target="../media/image4.png"/><Relationship Id="rId7" Type="http://schemas.openxmlformats.org/officeDocument/2006/relationships/image" Target="../media/image168.jpeg"/><Relationship Id="rId2" Type="http://schemas.openxmlformats.org/officeDocument/2006/relationships/notesSlide" Target="../notesSlides/notesSlide164.xml"/><Relationship Id="rId1" Type="http://schemas.openxmlformats.org/officeDocument/2006/relationships/slideLayout" Target="../slideLayouts/slideLayout1.xml"/><Relationship Id="rId6" Type="http://schemas.openxmlformats.org/officeDocument/2006/relationships/image" Target="../media/image26.emf"/><Relationship Id="rId11" Type="http://schemas.openxmlformats.org/officeDocument/2006/relationships/image" Target="../media/image172.jpeg"/><Relationship Id="rId5" Type="http://schemas.openxmlformats.org/officeDocument/2006/relationships/image" Target="../media/image5.png"/><Relationship Id="rId10" Type="http://schemas.openxmlformats.org/officeDocument/2006/relationships/image" Target="../media/image171.jpeg"/><Relationship Id="rId4" Type="http://schemas.openxmlformats.org/officeDocument/2006/relationships/image" Target="../media/image2.png"/><Relationship Id="rId9" Type="http://schemas.openxmlformats.org/officeDocument/2006/relationships/image" Target="../media/image170.png"/></Relationships>
</file>

<file path=ppt/slides/_rels/slide18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4.xml.rels><?xml version="1.0" encoding="UTF-8" standalone="yes"?>
<Relationships xmlns="http://schemas.openxmlformats.org/package/2006/relationships"><Relationship Id="rId3" Type="http://schemas.openxmlformats.org/officeDocument/2006/relationships/image" Target="../media/image48.jpeg"/><Relationship Id="rId7" Type="http://schemas.openxmlformats.org/officeDocument/2006/relationships/image" Target="../media/image49.emf"/><Relationship Id="rId2" Type="http://schemas.openxmlformats.org/officeDocument/2006/relationships/notesSlide" Target="../notesSlides/notesSlide165.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image" Target="../media/image2.png"/><Relationship Id="rId4" Type="http://schemas.openxmlformats.org/officeDocument/2006/relationships/image" Target="../media/image4.png"/></Relationships>
</file>

<file path=ppt/slides/_rels/slide185.xml.rels><?xml version="1.0" encoding="UTF-8" standalone="yes"?>
<Relationships xmlns="http://schemas.openxmlformats.org/package/2006/relationships"><Relationship Id="rId8" Type="http://schemas.openxmlformats.org/officeDocument/2006/relationships/image" Target="../media/image176.jpeg"/><Relationship Id="rId3" Type="http://schemas.openxmlformats.org/officeDocument/2006/relationships/image" Target="../media/image174.emf"/><Relationship Id="rId7" Type="http://schemas.openxmlformats.org/officeDocument/2006/relationships/image" Target="../media/image175.emf"/><Relationship Id="rId2" Type="http://schemas.openxmlformats.org/officeDocument/2006/relationships/image" Target="../media/image173.jpeg"/><Relationship Id="rId1" Type="http://schemas.openxmlformats.org/officeDocument/2006/relationships/slideLayout" Target="../slideLayouts/slideLayout7.xml"/><Relationship Id="rId6" Type="http://schemas.openxmlformats.org/officeDocument/2006/relationships/image" Target="../media/image4.png"/><Relationship Id="rId5" Type="http://schemas.openxmlformats.org/officeDocument/2006/relationships/image" Target="../media/image2.png"/><Relationship Id="rId10" Type="http://schemas.openxmlformats.org/officeDocument/2006/relationships/image" Target="../media/image49.emf"/><Relationship Id="rId4" Type="http://schemas.openxmlformats.org/officeDocument/2006/relationships/image" Target="../media/image5.png"/><Relationship Id="rId9" Type="http://schemas.openxmlformats.org/officeDocument/2006/relationships/image" Target="../media/image177.jpeg"/></Relationships>
</file>

<file path=ppt/slides/_rels/slide186.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49.emf"/><Relationship Id="rId2" Type="http://schemas.openxmlformats.org/officeDocument/2006/relationships/notesSlide" Target="../notesSlides/notesSlide166.xml"/><Relationship Id="rId1" Type="http://schemas.openxmlformats.org/officeDocument/2006/relationships/slideLayout" Target="../slideLayouts/slideLayout1.xml"/><Relationship Id="rId6" Type="http://schemas.openxmlformats.org/officeDocument/2006/relationships/image" Target="../media/image178.png"/><Relationship Id="rId5" Type="http://schemas.openxmlformats.org/officeDocument/2006/relationships/image" Target="../media/image5.png"/><Relationship Id="rId4" Type="http://schemas.openxmlformats.org/officeDocument/2006/relationships/image" Target="../media/image2.png"/></Relationships>
</file>

<file path=ppt/slides/_rels/slide18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8.xml.rels><?xml version="1.0" encoding="UTF-8" standalone="yes"?>
<Relationships xmlns="http://schemas.openxmlformats.org/package/2006/relationships"><Relationship Id="rId3" Type="http://schemas.openxmlformats.org/officeDocument/2006/relationships/image" Target="../media/image56.png"/><Relationship Id="rId7" Type="http://schemas.openxmlformats.org/officeDocument/2006/relationships/image" Target="../media/image51.png"/><Relationship Id="rId2" Type="http://schemas.openxmlformats.org/officeDocument/2006/relationships/notesSlide" Target="../notesSlides/notesSlide167.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image" Target="../media/image2.png"/><Relationship Id="rId4" Type="http://schemas.openxmlformats.org/officeDocument/2006/relationships/image" Target="../media/image4.png"/></Relationships>
</file>

<file path=ppt/slides/_rels/slide189.xml.rels><?xml version="1.0" encoding="UTF-8" standalone="yes"?>
<Relationships xmlns="http://schemas.openxmlformats.org/package/2006/relationships"><Relationship Id="rId8" Type="http://schemas.openxmlformats.org/officeDocument/2006/relationships/image" Target="../media/image180.jpeg"/><Relationship Id="rId3" Type="http://schemas.openxmlformats.org/officeDocument/2006/relationships/image" Target="../media/image4.png"/><Relationship Id="rId7" Type="http://schemas.openxmlformats.org/officeDocument/2006/relationships/image" Target="../media/image179.jpeg"/><Relationship Id="rId2" Type="http://schemas.openxmlformats.org/officeDocument/2006/relationships/notesSlide" Target="../notesSlides/notesSlide168.xml"/><Relationship Id="rId1" Type="http://schemas.openxmlformats.org/officeDocument/2006/relationships/slideLayout" Target="../slideLayouts/slideLayout7.xml"/><Relationship Id="rId6" Type="http://schemas.openxmlformats.org/officeDocument/2006/relationships/image" Target="../media/image51.png"/><Relationship Id="rId5" Type="http://schemas.openxmlformats.org/officeDocument/2006/relationships/image" Target="../media/image5.png"/><Relationship Id="rId10" Type="http://schemas.openxmlformats.org/officeDocument/2006/relationships/image" Target="../media/image182.jpeg"/><Relationship Id="rId4" Type="http://schemas.openxmlformats.org/officeDocument/2006/relationships/image" Target="../media/image2.png"/><Relationship Id="rId9" Type="http://schemas.openxmlformats.org/officeDocument/2006/relationships/image" Target="../media/image181.jpeg"/></Relationships>
</file>

<file path=ppt/slides/_rels/slide1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9.xml"/><Relationship Id="rId1" Type="http://schemas.openxmlformats.org/officeDocument/2006/relationships/slideLayout" Target="../slideLayouts/slideLayout1.xml"/><Relationship Id="rId5" Type="http://schemas.openxmlformats.org/officeDocument/2006/relationships/image" Target="../media/image5.png"/><Relationship Id="rId4" Type="http://schemas.openxmlformats.org/officeDocument/2006/relationships/image" Target="../media/image2.png"/></Relationships>
</file>

<file path=ppt/slides/_rels/slide190.xml.rels><?xml version="1.0" encoding="UTF-8" standalone="yes"?>
<Relationships xmlns="http://schemas.openxmlformats.org/package/2006/relationships"><Relationship Id="rId3" Type="http://schemas.openxmlformats.org/officeDocument/2006/relationships/image" Target="../media/image51.png"/><Relationship Id="rId7" Type="http://schemas.openxmlformats.org/officeDocument/2006/relationships/image" Target="../media/image54.jpeg"/><Relationship Id="rId2" Type="http://schemas.openxmlformats.org/officeDocument/2006/relationships/notesSlide" Target="../notesSlides/notesSlide169.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image" Target="../media/image2.png"/><Relationship Id="rId4" Type="http://schemas.openxmlformats.org/officeDocument/2006/relationships/image" Target="../media/image4.png"/></Relationships>
</file>

<file path=ppt/slides/_rels/slide19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70.xml"/><Relationship Id="rId1" Type="http://schemas.openxmlformats.org/officeDocument/2006/relationships/slideLayout" Target="../slideLayouts/slideLayout7.xml"/><Relationship Id="rId6" Type="http://schemas.openxmlformats.org/officeDocument/2006/relationships/image" Target="../media/image51.png"/><Relationship Id="rId5" Type="http://schemas.openxmlformats.org/officeDocument/2006/relationships/image" Target="../media/image5.png"/><Relationship Id="rId4" Type="http://schemas.openxmlformats.org/officeDocument/2006/relationships/image" Target="../media/image2.png"/></Relationships>
</file>

<file path=ppt/slides/_rels/slide19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71.xml"/><Relationship Id="rId1" Type="http://schemas.openxmlformats.org/officeDocument/2006/relationships/slideLayout" Target="../slideLayouts/slideLayout7.xml"/><Relationship Id="rId6" Type="http://schemas.openxmlformats.org/officeDocument/2006/relationships/image" Target="../media/image51.png"/><Relationship Id="rId5" Type="http://schemas.openxmlformats.org/officeDocument/2006/relationships/image" Target="../media/image5.png"/><Relationship Id="rId4" Type="http://schemas.openxmlformats.org/officeDocument/2006/relationships/image" Target="../media/image2.png"/></Relationships>
</file>

<file path=ppt/slides/_rels/slide19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72.xml"/><Relationship Id="rId1" Type="http://schemas.openxmlformats.org/officeDocument/2006/relationships/slideLayout" Target="../slideLayouts/slideLayout7.xml"/><Relationship Id="rId6" Type="http://schemas.openxmlformats.org/officeDocument/2006/relationships/image" Target="../media/image51.png"/><Relationship Id="rId5" Type="http://schemas.openxmlformats.org/officeDocument/2006/relationships/image" Target="../media/image5.png"/><Relationship Id="rId4" Type="http://schemas.openxmlformats.org/officeDocument/2006/relationships/image" Target="../media/image2.png"/></Relationships>
</file>

<file path=ppt/slides/_rels/slide19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5.xml.rels><?xml version="1.0" encoding="UTF-8" standalone="yes"?>
<Relationships xmlns="http://schemas.openxmlformats.org/package/2006/relationships"><Relationship Id="rId3" Type="http://schemas.openxmlformats.org/officeDocument/2006/relationships/image" Target="../media/image56.png"/><Relationship Id="rId7" Type="http://schemas.openxmlformats.org/officeDocument/2006/relationships/image" Target="../media/image58.jpeg"/><Relationship Id="rId2" Type="http://schemas.openxmlformats.org/officeDocument/2006/relationships/notesSlide" Target="../notesSlides/notesSlide173.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image" Target="../media/image2.png"/><Relationship Id="rId4" Type="http://schemas.openxmlformats.org/officeDocument/2006/relationships/image" Target="../media/image4.png"/></Relationships>
</file>

<file path=ppt/slides/_rels/slide196.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183.png"/><Relationship Id="rId2" Type="http://schemas.openxmlformats.org/officeDocument/2006/relationships/notesSlide" Target="../notesSlides/notesSlide174.xml"/><Relationship Id="rId1" Type="http://schemas.openxmlformats.org/officeDocument/2006/relationships/slideLayout" Target="../slideLayouts/slideLayout7.xml"/><Relationship Id="rId6" Type="http://schemas.openxmlformats.org/officeDocument/2006/relationships/image" Target="../media/image58.jpeg"/><Relationship Id="rId5" Type="http://schemas.openxmlformats.org/officeDocument/2006/relationships/image" Target="../media/image5.png"/><Relationship Id="rId4" Type="http://schemas.openxmlformats.org/officeDocument/2006/relationships/image" Target="../media/image2.png"/></Relationships>
</file>

<file path=ppt/slides/_rels/slide197.xml.rels><?xml version="1.0" encoding="UTF-8" standalone="yes"?>
<Relationships xmlns="http://schemas.openxmlformats.org/package/2006/relationships"><Relationship Id="rId8" Type="http://schemas.openxmlformats.org/officeDocument/2006/relationships/image" Target="../media/image184.png"/><Relationship Id="rId3" Type="http://schemas.microsoft.com/office/2018/10/relationships/comments" Target="../comments/modernComment_7FFE55C8_3B67C8C6.xml"/><Relationship Id="rId7" Type="http://schemas.openxmlformats.org/officeDocument/2006/relationships/image" Target="../media/image58.jpeg"/><Relationship Id="rId2" Type="http://schemas.openxmlformats.org/officeDocument/2006/relationships/notesSlide" Target="../notesSlides/notesSlide175.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image" Target="../media/image2.png"/><Relationship Id="rId4" Type="http://schemas.openxmlformats.org/officeDocument/2006/relationships/image" Target="../media/image4.png"/></Relationships>
</file>

<file path=ppt/slides/_rels/slide19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76.xml"/><Relationship Id="rId1" Type="http://schemas.openxmlformats.org/officeDocument/2006/relationships/slideLayout" Target="../slideLayouts/slideLayout7.xml"/><Relationship Id="rId6" Type="http://schemas.openxmlformats.org/officeDocument/2006/relationships/image" Target="../media/image58.jpeg"/><Relationship Id="rId5" Type="http://schemas.openxmlformats.org/officeDocument/2006/relationships/image" Target="../media/image5.png"/><Relationship Id="rId4" Type="http://schemas.openxmlformats.org/officeDocument/2006/relationships/image" Target="../media/image2.png"/></Relationships>
</file>

<file path=ppt/slides/_rels/slide19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1.xml"/><Relationship Id="rId5" Type="http://schemas.openxmlformats.org/officeDocument/2006/relationships/image" Target="../media/image5.png"/><Relationship Id="rId4" Type="http://schemas.openxmlformats.org/officeDocument/2006/relationships/image" Target="../media/image2.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Layout" Target="../slideLayouts/slideLayout7.xml"/><Relationship Id="rId6" Type="http://schemas.openxmlformats.org/officeDocument/2006/relationships/image" Target="../media/image187.png"/><Relationship Id="rId5" Type="http://schemas.openxmlformats.org/officeDocument/2006/relationships/image" Target="../media/image186.png"/><Relationship Id="rId4" Type="http://schemas.openxmlformats.org/officeDocument/2006/relationships/image" Target="../media/image185.png"/></Relationships>
</file>

<file path=ppt/slides/_rels/slide201.xml.rels><?xml version="1.0" encoding="UTF-8" standalone="yes"?>
<Relationships xmlns="http://schemas.openxmlformats.org/package/2006/relationships"><Relationship Id="rId2" Type="http://schemas.openxmlformats.org/officeDocument/2006/relationships/notesSlide" Target="../notesSlides/notesSlide177.xml"/><Relationship Id="rId1" Type="http://schemas.openxmlformats.org/officeDocument/2006/relationships/slideLayout" Target="../slideLayouts/slideLayout6.xml"/></Relationships>
</file>

<file path=ppt/slides/_rels/slide20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78.xml"/><Relationship Id="rId1" Type="http://schemas.openxmlformats.org/officeDocument/2006/relationships/slideLayout" Target="../slideLayouts/slideLayout2.xml"/><Relationship Id="rId5" Type="http://schemas.openxmlformats.org/officeDocument/2006/relationships/image" Target="../media/image4.png"/><Relationship Id="rId4" Type="http://schemas.openxmlformats.org/officeDocument/2006/relationships/image" Target="../media/image2.png"/></Relationships>
</file>

<file path=ppt/slides/_rels/slide20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79.xml"/><Relationship Id="rId1" Type="http://schemas.openxmlformats.org/officeDocument/2006/relationships/slideLayout" Target="../slideLayouts/slideLayout2.xml"/><Relationship Id="rId5" Type="http://schemas.openxmlformats.org/officeDocument/2006/relationships/image" Target="../media/image4.png"/><Relationship Id="rId4" Type="http://schemas.openxmlformats.org/officeDocument/2006/relationships/image" Target="../media/image2.png"/></Relationships>
</file>

<file path=ppt/slides/_rels/slide204.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48.jpeg"/><Relationship Id="rId2" Type="http://schemas.openxmlformats.org/officeDocument/2006/relationships/notesSlide" Target="../notesSlides/notesSlide180.xml"/><Relationship Id="rId1" Type="http://schemas.openxmlformats.org/officeDocument/2006/relationships/slideLayout" Target="../slideLayouts/slideLayout7.xml"/><Relationship Id="rId6" Type="http://schemas.openxmlformats.org/officeDocument/2006/relationships/image" Target="../media/image83.png"/><Relationship Id="rId5" Type="http://schemas.openxmlformats.org/officeDocument/2006/relationships/image" Target="../media/image4.png"/><Relationship Id="rId4" Type="http://schemas.openxmlformats.org/officeDocument/2006/relationships/image" Target="../media/image5.png"/></Relationships>
</file>

<file path=ppt/slides/_rels/slide205.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188.png"/><Relationship Id="rId2" Type="http://schemas.openxmlformats.org/officeDocument/2006/relationships/notesSlide" Target="../notesSlides/notesSlide181.xml"/><Relationship Id="rId1" Type="http://schemas.openxmlformats.org/officeDocument/2006/relationships/slideLayout" Target="../slideLayouts/slideLayout7.xml"/><Relationship Id="rId6" Type="http://schemas.openxmlformats.org/officeDocument/2006/relationships/image" Target="../media/image83.png"/><Relationship Id="rId5" Type="http://schemas.openxmlformats.org/officeDocument/2006/relationships/image" Target="../media/image5.png"/><Relationship Id="rId4" Type="http://schemas.openxmlformats.org/officeDocument/2006/relationships/image" Target="../media/image2.png"/></Relationships>
</file>

<file path=ppt/slides/_rels/slide206.xml.rels><?xml version="1.0" encoding="UTF-8" standalone="yes"?>
<Relationships xmlns="http://schemas.openxmlformats.org/package/2006/relationships"><Relationship Id="rId3" Type="http://schemas.openxmlformats.org/officeDocument/2006/relationships/image" Target="../media/image189.png"/><Relationship Id="rId7" Type="http://schemas.openxmlformats.org/officeDocument/2006/relationships/image" Target="../media/image83.png"/><Relationship Id="rId2" Type="http://schemas.openxmlformats.org/officeDocument/2006/relationships/notesSlide" Target="../notesSlides/notesSlide18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image" Target="../media/image2.png"/><Relationship Id="rId4" Type="http://schemas.openxmlformats.org/officeDocument/2006/relationships/image" Target="../media/image4.png"/></Relationships>
</file>

<file path=ppt/slides/_rels/slide207.xml.rels><?xml version="1.0" encoding="UTF-8" standalone="yes"?>
<Relationships xmlns="http://schemas.openxmlformats.org/package/2006/relationships"><Relationship Id="rId8" Type="http://schemas.openxmlformats.org/officeDocument/2006/relationships/image" Target="../media/image191.png"/><Relationship Id="rId3" Type="http://schemas.openxmlformats.org/officeDocument/2006/relationships/image" Target="../media/image4.png"/><Relationship Id="rId7" Type="http://schemas.openxmlformats.org/officeDocument/2006/relationships/image" Target="../media/image190.png"/><Relationship Id="rId2" Type="http://schemas.openxmlformats.org/officeDocument/2006/relationships/notesSlide" Target="../notesSlides/notesSlide183.xml"/><Relationship Id="rId1" Type="http://schemas.openxmlformats.org/officeDocument/2006/relationships/slideLayout" Target="../slideLayouts/slideLayout7.xml"/><Relationship Id="rId6" Type="http://schemas.openxmlformats.org/officeDocument/2006/relationships/image" Target="../media/image83.png"/><Relationship Id="rId5" Type="http://schemas.openxmlformats.org/officeDocument/2006/relationships/image" Target="../media/image5.png"/><Relationship Id="rId4" Type="http://schemas.openxmlformats.org/officeDocument/2006/relationships/image" Target="../media/image2.png"/></Relationships>
</file>

<file path=ppt/slides/_rels/slide208.xml.rels><?xml version="1.0" encoding="UTF-8" standalone="yes"?>
<Relationships xmlns="http://schemas.openxmlformats.org/package/2006/relationships"><Relationship Id="rId8" Type="http://schemas.openxmlformats.org/officeDocument/2006/relationships/image" Target="../media/image191.png"/><Relationship Id="rId3" Type="http://schemas.openxmlformats.org/officeDocument/2006/relationships/image" Target="../media/image4.png"/><Relationship Id="rId7" Type="http://schemas.openxmlformats.org/officeDocument/2006/relationships/image" Target="../media/image192.png"/><Relationship Id="rId2" Type="http://schemas.openxmlformats.org/officeDocument/2006/relationships/notesSlide" Target="../notesSlides/notesSlide184.xml"/><Relationship Id="rId1" Type="http://schemas.openxmlformats.org/officeDocument/2006/relationships/slideLayout" Target="../slideLayouts/slideLayout7.xml"/><Relationship Id="rId6" Type="http://schemas.openxmlformats.org/officeDocument/2006/relationships/image" Target="../media/image83.png"/><Relationship Id="rId5" Type="http://schemas.openxmlformats.org/officeDocument/2006/relationships/image" Target="../media/image5.png"/><Relationship Id="rId4" Type="http://schemas.openxmlformats.org/officeDocument/2006/relationships/image" Target="../media/image2.png"/></Relationships>
</file>

<file path=ppt/slides/_rels/slide209.xml.rels><?xml version="1.0" encoding="UTF-8" standalone="yes"?>
<Relationships xmlns="http://schemas.openxmlformats.org/package/2006/relationships"><Relationship Id="rId3" Type="http://schemas.openxmlformats.org/officeDocument/2006/relationships/image" Target="../media/image193.png"/><Relationship Id="rId7" Type="http://schemas.openxmlformats.org/officeDocument/2006/relationships/image" Target="../media/image83.png"/><Relationship Id="rId2" Type="http://schemas.openxmlformats.org/officeDocument/2006/relationships/notesSlide" Target="../notesSlides/notesSlide185.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image" Target="../media/image2.png"/><Relationship Id="rId4" Type="http://schemas.openxmlformats.org/officeDocument/2006/relationships/image" Target="../media/image4.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10.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194.png"/><Relationship Id="rId2" Type="http://schemas.openxmlformats.org/officeDocument/2006/relationships/notesSlide" Target="../notesSlides/notesSlide186.xml"/><Relationship Id="rId1" Type="http://schemas.openxmlformats.org/officeDocument/2006/relationships/slideLayout" Target="../slideLayouts/slideLayout7.xml"/><Relationship Id="rId6" Type="http://schemas.openxmlformats.org/officeDocument/2006/relationships/image" Target="../media/image83.png"/><Relationship Id="rId5" Type="http://schemas.openxmlformats.org/officeDocument/2006/relationships/image" Target="../media/image5.png"/><Relationship Id="rId4" Type="http://schemas.openxmlformats.org/officeDocument/2006/relationships/image" Target="../media/image2.png"/></Relationships>
</file>

<file path=ppt/slides/_rels/slide211.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195.png"/><Relationship Id="rId2" Type="http://schemas.openxmlformats.org/officeDocument/2006/relationships/notesSlide" Target="../notesSlides/notesSlide187.xml"/><Relationship Id="rId1" Type="http://schemas.openxmlformats.org/officeDocument/2006/relationships/slideLayout" Target="../slideLayouts/slideLayout7.xml"/><Relationship Id="rId6" Type="http://schemas.openxmlformats.org/officeDocument/2006/relationships/image" Target="../media/image83.png"/><Relationship Id="rId5" Type="http://schemas.openxmlformats.org/officeDocument/2006/relationships/image" Target="../media/image5.png"/><Relationship Id="rId4" Type="http://schemas.openxmlformats.org/officeDocument/2006/relationships/image" Target="../media/image2.png"/></Relationships>
</file>

<file path=ppt/slides/_rels/slide2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88.xml"/><Relationship Id="rId1" Type="http://schemas.openxmlformats.org/officeDocument/2006/relationships/slideLayout" Target="../slideLayouts/slideLayout7.xml"/><Relationship Id="rId6" Type="http://schemas.openxmlformats.org/officeDocument/2006/relationships/image" Target="../media/image83.png"/><Relationship Id="rId5" Type="http://schemas.openxmlformats.org/officeDocument/2006/relationships/image" Target="../media/image5.png"/><Relationship Id="rId4" Type="http://schemas.openxmlformats.org/officeDocument/2006/relationships/image" Target="../media/image2.png"/></Relationships>
</file>

<file path=ppt/slides/_rels/slide213.xml.rels><?xml version="1.0" encoding="UTF-8" standalone="yes"?>
<Relationships xmlns="http://schemas.openxmlformats.org/package/2006/relationships"><Relationship Id="rId3" Type="http://schemas.openxmlformats.org/officeDocument/2006/relationships/image" Target="../media/image196.png"/><Relationship Id="rId7" Type="http://schemas.openxmlformats.org/officeDocument/2006/relationships/image" Target="../media/image83.png"/><Relationship Id="rId2" Type="http://schemas.openxmlformats.org/officeDocument/2006/relationships/notesSlide" Target="../notesSlides/notesSlide189.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image" Target="../media/image2.png"/><Relationship Id="rId4" Type="http://schemas.openxmlformats.org/officeDocument/2006/relationships/image" Target="../media/image4.png"/></Relationships>
</file>

<file path=ppt/slides/_rels/slide214.xml.rels><?xml version="1.0" encoding="UTF-8" standalone="yes"?>
<Relationships xmlns="http://schemas.openxmlformats.org/package/2006/relationships"><Relationship Id="rId8" Type="http://schemas.openxmlformats.org/officeDocument/2006/relationships/image" Target="../media/image198.png"/><Relationship Id="rId3" Type="http://schemas.openxmlformats.org/officeDocument/2006/relationships/image" Target="../media/image4.png"/><Relationship Id="rId7" Type="http://schemas.openxmlformats.org/officeDocument/2006/relationships/image" Target="../media/image83.png"/><Relationship Id="rId2" Type="http://schemas.openxmlformats.org/officeDocument/2006/relationships/notesSlide" Target="../notesSlides/notesSlide190.xml"/><Relationship Id="rId1" Type="http://schemas.openxmlformats.org/officeDocument/2006/relationships/slideLayout" Target="../slideLayouts/slideLayout7.xml"/><Relationship Id="rId6" Type="http://schemas.openxmlformats.org/officeDocument/2006/relationships/image" Target="../media/image197.png"/><Relationship Id="rId5" Type="http://schemas.openxmlformats.org/officeDocument/2006/relationships/image" Target="../media/image5.png"/><Relationship Id="rId4" Type="http://schemas.openxmlformats.org/officeDocument/2006/relationships/image" Target="../media/image2.png"/></Relationships>
</file>

<file path=ppt/slides/_rels/slide215.xml.rels><?xml version="1.0" encoding="UTF-8" standalone="yes"?>
<Relationships xmlns="http://schemas.openxmlformats.org/package/2006/relationships"><Relationship Id="rId8" Type="http://schemas.openxmlformats.org/officeDocument/2006/relationships/image" Target="../media/image198.png"/><Relationship Id="rId3" Type="http://schemas.openxmlformats.org/officeDocument/2006/relationships/image" Target="../media/image4.png"/><Relationship Id="rId7" Type="http://schemas.openxmlformats.org/officeDocument/2006/relationships/image" Target="../media/image83.png"/><Relationship Id="rId2" Type="http://schemas.openxmlformats.org/officeDocument/2006/relationships/notesSlide" Target="../notesSlides/notesSlide191.xml"/><Relationship Id="rId1" Type="http://schemas.openxmlformats.org/officeDocument/2006/relationships/slideLayout" Target="../slideLayouts/slideLayout7.xml"/><Relationship Id="rId6" Type="http://schemas.openxmlformats.org/officeDocument/2006/relationships/image" Target="../media/image199.png"/><Relationship Id="rId5" Type="http://schemas.openxmlformats.org/officeDocument/2006/relationships/image" Target="../media/image5.png"/><Relationship Id="rId4" Type="http://schemas.openxmlformats.org/officeDocument/2006/relationships/image" Target="../media/image2.png"/></Relationships>
</file>

<file path=ppt/slides/_rels/slide216.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200.png"/><Relationship Id="rId2" Type="http://schemas.openxmlformats.org/officeDocument/2006/relationships/notesSlide" Target="../notesSlides/notesSlide192.xml"/><Relationship Id="rId1" Type="http://schemas.openxmlformats.org/officeDocument/2006/relationships/slideLayout" Target="../slideLayouts/slideLayout7.xml"/><Relationship Id="rId6" Type="http://schemas.openxmlformats.org/officeDocument/2006/relationships/image" Target="../media/image83.png"/><Relationship Id="rId5" Type="http://schemas.openxmlformats.org/officeDocument/2006/relationships/image" Target="../media/image5.png"/><Relationship Id="rId4" Type="http://schemas.openxmlformats.org/officeDocument/2006/relationships/image" Target="../media/image2.png"/></Relationships>
</file>

<file path=ppt/slides/_rels/slide217.xml.rels><?xml version="1.0" encoding="UTF-8" standalone="yes"?>
<Relationships xmlns="http://schemas.openxmlformats.org/package/2006/relationships"><Relationship Id="rId3" Type="http://schemas.openxmlformats.org/officeDocument/2006/relationships/image" Target="../media/image201.png"/><Relationship Id="rId7" Type="http://schemas.openxmlformats.org/officeDocument/2006/relationships/image" Target="../media/image83.png"/><Relationship Id="rId2" Type="http://schemas.openxmlformats.org/officeDocument/2006/relationships/notesSlide" Target="../notesSlides/notesSlide193.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image" Target="../media/image2.png"/><Relationship Id="rId4" Type="http://schemas.openxmlformats.org/officeDocument/2006/relationships/image" Target="../media/image4.png"/></Relationships>
</file>

<file path=ppt/slides/_rels/slide2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94.xml"/><Relationship Id="rId1" Type="http://schemas.openxmlformats.org/officeDocument/2006/relationships/slideLayout" Target="../slideLayouts/slideLayout7.xml"/><Relationship Id="rId6" Type="http://schemas.openxmlformats.org/officeDocument/2006/relationships/image" Target="../media/image83.png"/><Relationship Id="rId5" Type="http://schemas.openxmlformats.org/officeDocument/2006/relationships/image" Target="../media/image5.png"/><Relationship Id="rId4" Type="http://schemas.openxmlformats.org/officeDocument/2006/relationships/image" Target="../media/image2.png"/></Relationships>
</file>

<file path=ppt/slides/_rels/slide219.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48.jpeg"/><Relationship Id="rId2" Type="http://schemas.openxmlformats.org/officeDocument/2006/relationships/notesSlide" Target="../notesSlides/notesSlide195.xml"/><Relationship Id="rId1" Type="http://schemas.openxmlformats.org/officeDocument/2006/relationships/slideLayout" Target="../slideLayouts/slideLayout7.xml"/><Relationship Id="rId6" Type="http://schemas.openxmlformats.org/officeDocument/2006/relationships/image" Target="../media/image83.png"/><Relationship Id="rId5" Type="http://schemas.openxmlformats.org/officeDocument/2006/relationships/image" Target="../media/image4.png"/><Relationship Id="rId4" Type="http://schemas.openxmlformats.org/officeDocument/2006/relationships/image" Target="../media/image5.png"/></Relationships>
</file>

<file path=ppt/slides/_rels/slide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1.xml"/><Relationship Id="rId1" Type="http://schemas.openxmlformats.org/officeDocument/2006/relationships/slideLayout" Target="../slideLayouts/slideLayout1.xml"/><Relationship Id="rId6" Type="http://schemas.openxmlformats.org/officeDocument/2006/relationships/image" Target="../media/image16.jpeg"/><Relationship Id="rId5" Type="http://schemas.openxmlformats.org/officeDocument/2006/relationships/image" Target="../media/image5.png"/><Relationship Id="rId4" Type="http://schemas.openxmlformats.org/officeDocument/2006/relationships/image" Target="../media/image2.png"/></Relationships>
</file>

<file path=ppt/slides/_rels/slide2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96.xml"/><Relationship Id="rId1" Type="http://schemas.openxmlformats.org/officeDocument/2006/relationships/slideLayout" Target="../slideLayouts/slideLayout7.xml"/><Relationship Id="rId6" Type="http://schemas.openxmlformats.org/officeDocument/2006/relationships/image" Target="../media/image83.png"/><Relationship Id="rId5" Type="http://schemas.openxmlformats.org/officeDocument/2006/relationships/image" Target="../media/image4.png"/><Relationship Id="rId4" Type="http://schemas.openxmlformats.org/officeDocument/2006/relationships/image" Target="../media/image5.png"/></Relationships>
</file>

<file path=ppt/slides/_rels/slide221.xml.rels><?xml version="1.0" encoding="UTF-8" standalone="yes"?>
<Relationships xmlns="http://schemas.openxmlformats.org/package/2006/relationships"><Relationship Id="rId2" Type="http://schemas.openxmlformats.org/officeDocument/2006/relationships/notesSlide" Target="../notesSlides/notesSlide197.xml"/><Relationship Id="rId1" Type="http://schemas.openxmlformats.org/officeDocument/2006/relationships/slideLayout" Target="../slideLayouts/slideLayout6.xml"/></Relationships>
</file>

<file path=ppt/slides/_rels/slide222.xml.rels><?xml version="1.0" encoding="UTF-8" standalone="yes"?>
<Relationships xmlns="http://schemas.openxmlformats.org/package/2006/relationships"><Relationship Id="rId2" Type="http://schemas.openxmlformats.org/officeDocument/2006/relationships/notesSlide" Target="../notesSlides/notesSlide198.xml"/><Relationship Id="rId1" Type="http://schemas.openxmlformats.org/officeDocument/2006/relationships/slideLayout" Target="../slideLayouts/slideLayout6.xml"/></Relationships>
</file>

<file path=ppt/slides/_rels/slide2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99.xml"/><Relationship Id="rId1" Type="http://schemas.openxmlformats.org/officeDocument/2006/relationships/slideLayout" Target="../slideLayouts/slideLayout7.xml"/><Relationship Id="rId6" Type="http://schemas.openxmlformats.org/officeDocument/2006/relationships/image" Target="../media/image83.png"/><Relationship Id="rId5" Type="http://schemas.openxmlformats.org/officeDocument/2006/relationships/image" Target="../media/image4.png"/><Relationship Id="rId4" Type="http://schemas.openxmlformats.org/officeDocument/2006/relationships/image" Target="../media/image5.png"/></Relationships>
</file>

<file path=ppt/slides/_rels/slide2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00.xml"/><Relationship Id="rId1" Type="http://schemas.openxmlformats.org/officeDocument/2006/relationships/slideLayout" Target="../slideLayouts/slideLayout7.xml"/><Relationship Id="rId6" Type="http://schemas.openxmlformats.org/officeDocument/2006/relationships/image" Target="../media/image83.png"/><Relationship Id="rId5" Type="http://schemas.openxmlformats.org/officeDocument/2006/relationships/image" Target="../media/image4.png"/><Relationship Id="rId4" Type="http://schemas.openxmlformats.org/officeDocument/2006/relationships/image" Target="../media/image5.png"/></Relationships>
</file>

<file path=ppt/slides/_rels/slide225.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58.jpeg"/><Relationship Id="rId2" Type="http://schemas.openxmlformats.org/officeDocument/2006/relationships/notesSlide" Target="../notesSlides/notesSlide201.xml"/><Relationship Id="rId1" Type="http://schemas.openxmlformats.org/officeDocument/2006/relationships/slideLayout" Target="../slideLayouts/slideLayout7.xml"/><Relationship Id="rId6" Type="http://schemas.openxmlformats.org/officeDocument/2006/relationships/image" Target="../media/image51.png"/><Relationship Id="rId5" Type="http://schemas.openxmlformats.org/officeDocument/2006/relationships/image" Target="../media/image4.png"/><Relationship Id="rId4" Type="http://schemas.openxmlformats.org/officeDocument/2006/relationships/image" Target="../media/image5.png"/></Relationships>
</file>

<file path=ppt/slides/_rels/slide226.xml.rels><?xml version="1.0" encoding="UTF-8" standalone="yes"?>
<Relationships xmlns="http://schemas.openxmlformats.org/package/2006/relationships"><Relationship Id="rId8" Type="http://schemas.openxmlformats.org/officeDocument/2006/relationships/image" Target="../media/image203.png"/><Relationship Id="rId3" Type="http://schemas.openxmlformats.org/officeDocument/2006/relationships/image" Target="../media/image2.png"/><Relationship Id="rId7" Type="http://schemas.openxmlformats.org/officeDocument/2006/relationships/image" Target="../media/image202.jpeg"/><Relationship Id="rId2" Type="http://schemas.openxmlformats.org/officeDocument/2006/relationships/notesSlide" Target="../notesSlides/notesSlide202.xml"/><Relationship Id="rId1" Type="http://schemas.openxmlformats.org/officeDocument/2006/relationships/slideLayout" Target="../slideLayouts/slideLayout7.xml"/><Relationship Id="rId6" Type="http://schemas.openxmlformats.org/officeDocument/2006/relationships/image" Target="../media/image58.jpeg"/><Relationship Id="rId11" Type="http://schemas.openxmlformats.org/officeDocument/2006/relationships/image" Target="../media/image206.jpeg"/><Relationship Id="rId5" Type="http://schemas.openxmlformats.org/officeDocument/2006/relationships/image" Target="../media/image4.png"/><Relationship Id="rId10" Type="http://schemas.openxmlformats.org/officeDocument/2006/relationships/image" Target="../media/image205.jpeg"/><Relationship Id="rId4" Type="http://schemas.openxmlformats.org/officeDocument/2006/relationships/image" Target="../media/image5.png"/><Relationship Id="rId9" Type="http://schemas.openxmlformats.org/officeDocument/2006/relationships/image" Target="../media/image204.jpeg"/></Relationships>
</file>

<file path=ppt/slides/_rels/slide2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03.xml"/><Relationship Id="rId1" Type="http://schemas.openxmlformats.org/officeDocument/2006/relationships/slideLayout" Target="../slideLayouts/slideLayout7.xml"/><Relationship Id="rId6" Type="http://schemas.openxmlformats.org/officeDocument/2006/relationships/image" Target="../media/image26.emf"/><Relationship Id="rId5" Type="http://schemas.openxmlformats.org/officeDocument/2006/relationships/image" Target="../media/image4.png"/><Relationship Id="rId4" Type="http://schemas.openxmlformats.org/officeDocument/2006/relationships/image" Target="../media/image5.png"/></Relationships>
</file>

<file path=ppt/slides/_rels/slide228.xml.rels><?xml version="1.0" encoding="UTF-8" standalone="yes"?>
<Relationships xmlns="http://schemas.openxmlformats.org/package/2006/relationships"><Relationship Id="rId2" Type="http://schemas.openxmlformats.org/officeDocument/2006/relationships/notesSlide" Target="../notesSlides/notesSlide204.xml"/><Relationship Id="rId1" Type="http://schemas.openxmlformats.org/officeDocument/2006/relationships/slideLayout" Target="../slideLayouts/slideLayout6.xml"/></Relationships>
</file>

<file path=ppt/slides/_rels/slide22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05.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image" Target="../media/image2.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06.xml"/><Relationship Id="rId1" Type="http://schemas.openxmlformats.org/officeDocument/2006/relationships/slideLayout" Target="../slideLayouts/slideLayout7.xml"/><Relationship Id="rId6" Type="http://schemas.openxmlformats.org/officeDocument/2006/relationships/image" Target="../media/image83.png"/><Relationship Id="rId5" Type="http://schemas.openxmlformats.org/officeDocument/2006/relationships/image" Target="../media/image4.png"/><Relationship Id="rId4" Type="http://schemas.openxmlformats.org/officeDocument/2006/relationships/image" Target="../media/image5.png"/></Relationships>
</file>

<file path=ppt/slides/_rels/slide2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07.xml"/><Relationship Id="rId1" Type="http://schemas.openxmlformats.org/officeDocument/2006/relationships/slideLayout" Target="../slideLayouts/slideLayout7.xml"/><Relationship Id="rId6" Type="http://schemas.openxmlformats.org/officeDocument/2006/relationships/image" Target="../media/image26.emf"/><Relationship Id="rId5" Type="http://schemas.openxmlformats.org/officeDocument/2006/relationships/image" Target="../media/image4.png"/><Relationship Id="rId4" Type="http://schemas.openxmlformats.org/officeDocument/2006/relationships/image" Target="../media/image5.png"/></Relationships>
</file>

<file path=ppt/slides/_rels/slide232.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20.png"/><Relationship Id="rId2" Type="http://schemas.openxmlformats.org/officeDocument/2006/relationships/notesSlide" Target="../notesSlides/notesSlide208.xml"/><Relationship Id="rId1" Type="http://schemas.openxmlformats.org/officeDocument/2006/relationships/slideLayout" Target="../slideLayouts/slideLayout7.xml"/><Relationship Id="rId6" Type="http://schemas.openxmlformats.org/officeDocument/2006/relationships/slide" Target="slide203.xml"/><Relationship Id="rId5" Type="http://schemas.openxmlformats.org/officeDocument/2006/relationships/image" Target="../media/image4.png"/><Relationship Id="rId4" Type="http://schemas.openxmlformats.org/officeDocument/2006/relationships/image" Target="../media/image5.png"/></Relationships>
</file>

<file path=ppt/slides/_rels/slide233.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2.png"/><Relationship Id="rId7" Type="http://schemas.openxmlformats.org/officeDocument/2006/relationships/slide" Target="slide201.xml"/><Relationship Id="rId2" Type="http://schemas.openxmlformats.org/officeDocument/2006/relationships/notesSlide" Target="../notesSlides/notesSlide209.xml"/><Relationship Id="rId1" Type="http://schemas.openxmlformats.org/officeDocument/2006/relationships/slideLayout" Target="../slideLayouts/slideLayout7.xml"/><Relationship Id="rId6" Type="http://schemas.openxmlformats.org/officeDocument/2006/relationships/image" Target="../media/image23.png"/><Relationship Id="rId5" Type="http://schemas.openxmlformats.org/officeDocument/2006/relationships/image" Target="../media/image4.png"/><Relationship Id="rId4" Type="http://schemas.openxmlformats.org/officeDocument/2006/relationships/image" Target="../media/image5.png"/></Relationships>
</file>

<file path=ppt/slides/_rels/slide234.xml.rels><?xml version="1.0" encoding="UTF-8" standalone="yes"?>
<Relationships xmlns="http://schemas.openxmlformats.org/package/2006/relationships"><Relationship Id="rId2" Type="http://schemas.openxmlformats.org/officeDocument/2006/relationships/notesSlide" Target="../notesSlides/notesSlide210.xml"/><Relationship Id="rId1" Type="http://schemas.openxmlformats.org/officeDocument/2006/relationships/slideLayout" Target="../slideLayouts/slideLayout6.xml"/></Relationships>
</file>

<file path=ppt/slides/_rels/slide23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11.xml"/><Relationship Id="rId1" Type="http://schemas.openxmlformats.org/officeDocument/2006/relationships/slideLayout" Target="../slideLayouts/slideLayout2.xml"/><Relationship Id="rId5" Type="http://schemas.openxmlformats.org/officeDocument/2006/relationships/image" Target="../media/image5.png"/><Relationship Id="rId4" Type="http://schemas.openxmlformats.org/officeDocument/2006/relationships/image" Target="../media/image2.png"/></Relationships>
</file>

<file path=ppt/slides/_rels/slide23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12.xml"/><Relationship Id="rId1" Type="http://schemas.openxmlformats.org/officeDocument/2006/relationships/slideLayout" Target="../slideLayouts/slideLayout2.xml"/><Relationship Id="rId5" Type="http://schemas.openxmlformats.org/officeDocument/2006/relationships/image" Target="../media/image5.png"/><Relationship Id="rId4" Type="http://schemas.openxmlformats.org/officeDocument/2006/relationships/image" Target="../media/image2.png"/></Relationships>
</file>

<file path=ppt/slides/_rels/slide237.xml.rels><?xml version="1.0" encoding="UTF-8" standalone="yes"?>
<Relationships xmlns="http://schemas.openxmlformats.org/package/2006/relationships"><Relationship Id="rId2" Type="http://schemas.openxmlformats.org/officeDocument/2006/relationships/notesSlide" Target="../notesSlides/notesSlide213.xml"/><Relationship Id="rId1" Type="http://schemas.openxmlformats.org/officeDocument/2006/relationships/slideLayout" Target="../slideLayouts/slideLayout6.xml"/></Relationships>
</file>

<file path=ppt/slides/_rels/slide238.xml.rels><?xml version="1.0" encoding="UTF-8" standalone="yes"?>
<Relationships xmlns="http://schemas.openxmlformats.org/package/2006/relationships"><Relationship Id="rId2" Type="http://schemas.openxmlformats.org/officeDocument/2006/relationships/notesSlide" Target="../notesSlides/notesSlide214.xml"/><Relationship Id="rId1" Type="http://schemas.openxmlformats.org/officeDocument/2006/relationships/slideLayout" Target="../slideLayouts/slideLayout6.xml"/></Relationships>
</file>

<file path=ppt/slides/_rels/slide2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2.xml"/><Relationship Id="rId1" Type="http://schemas.openxmlformats.org/officeDocument/2006/relationships/slideLayout" Target="../slideLayouts/slideLayout1.xml"/><Relationship Id="rId5" Type="http://schemas.openxmlformats.org/officeDocument/2006/relationships/image" Target="../media/image5.png"/><Relationship Id="rId4" Type="http://schemas.openxmlformats.org/officeDocument/2006/relationships/image" Target="../media/image2.png"/></Relationships>
</file>

<file path=ppt/slides/_rels/slide240.xml.rels><?xml version="1.0" encoding="UTF-8" standalone="yes"?>
<Relationships xmlns="http://schemas.openxmlformats.org/package/2006/relationships"><Relationship Id="rId8" Type="http://schemas.openxmlformats.org/officeDocument/2006/relationships/image" Target="../media/image210.png"/><Relationship Id="rId3" Type="http://schemas.openxmlformats.org/officeDocument/2006/relationships/image" Target="../media/image4.png"/><Relationship Id="rId7" Type="http://schemas.openxmlformats.org/officeDocument/2006/relationships/image" Target="../media/image209.png"/><Relationship Id="rId2" Type="http://schemas.openxmlformats.org/officeDocument/2006/relationships/notesSlide" Target="../notesSlides/notesSlide215.xml"/><Relationship Id="rId1" Type="http://schemas.openxmlformats.org/officeDocument/2006/relationships/slideLayout" Target="../slideLayouts/slideLayout1.xml"/><Relationship Id="rId6" Type="http://schemas.openxmlformats.org/officeDocument/2006/relationships/image" Target="../media/image208.png"/><Relationship Id="rId11" Type="http://schemas.openxmlformats.org/officeDocument/2006/relationships/image" Target="../media/image212.png"/><Relationship Id="rId5" Type="http://schemas.openxmlformats.org/officeDocument/2006/relationships/image" Target="../media/image207.png"/><Relationship Id="rId10" Type="http://schemas.openxmlformats.org/officeDocument/2006/relationships/image" Target="../media/image51.png"/><Relationship Id="rId4" Type="http://schemas.openxmlformats.org/officeDocument/2006/relationships/image" Target="../media/image2.png"/><Relationship Id="rId9" Type="http://schemas.openxmlformats.org/officeDocument/2006/relationships/image" Target="../media/image211.png"/></Relationships>
</file>

<file path=ppt/slides/_rels/slide24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16.xml"/><Relationship Id="rId1" Type="http://schemas.openxmlformats.org/officeDocument/2006/relationships/slideLayout" Target="../slideLayouts/slideLayout1.xml"/><Relationship Id="rId5" Type="http://schemas.openxmlformats.org/officeDocument/2006/relationships/image" Target="../media/image213.png"/><Relationship Id="rId4" Type="http://schemas.openxmlformats.org/officeDocument/2006/relationships/image" Target="../media/image2.png"/></Relationships>
</file>

<file path=ppt/slides/_rels/slide24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17.xml"/><Relationship Id="rId1" Type="http://schemas.openxmlformats.org/officeDocument/2006/relationships/slideLayout" Target="../slideLayouts/slideLayout1.xml"/><Relationship Id="rId4" Type="http://schemas.openxmlformats.org/officeDocument/2006/relationships/image" Target="../media/image2.png"/></Relationships>
</file>

<file path=ppt/slides/_rels/slide243.xml.rels><?xml version="1.0" encoding="UTF-8" standalone="yes"?>
<Relationships xmlns="http://schemas.openxmlformats.org/package/2006/relationships"><Relationship Id="rId8" Type="http://schemas.openxmlformats.org/officeDocument/2006/relationships/image" Target="../media/image217.jpg"/><Relationship Id="rId3" Type="http://schemas.openxmlformats.org/officeDocument/2006/relationships/image" Target="../media/image4.png"/><Relationship Id="rId7" Type="http://schemas.openxmlformats.org/officeDocument/2006/relationships/image" Target="../media/image216.jpeg"/><Relationship Id="rId2" Type="http://schemas.openxmlformats.org/officeDocument/2006/relationships/notesSlide" Target="../notesSlides/notesSlide218.xml"/><Relationship Id="rId1" Type="http://schemas.openxmlformats.org/officeDocument/2006/relationships/slideLayout" Target="../slideLayouts/slideLayout1.xml"/><Relationship Id="rId6" Type="http://schemas.openxmlformats.org/officeDocument/2006/relationships/image" Target="../media/image215.jpeg"/><Relationship Id="rId5" Type="http://schemas.openxmlformats.org/officeDocument/2006/relationships/image" Target="../media/image214.tiff"/><Relationship Id="rId4" Type="http://schemas.openxmlformats.org/officeDocument/2006/relationships/image" Target="../media/image2.png"/><Relationship Id="rId9" Type="http://schemas.openxmlformats.org/officeDocument/2006/relationships/image" Target="../media/image218.jpeg"/></Relationships>
</file>

<file path=ppt/slides/_rels/slide24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19.xml"/><Relationship Id="rId1" Type="http://schemas.openxmlformats.org/officeDocument/2006/relationships/slideLayout" Target="../slideLayouts/slideLayout1.xml"/><Relationship Id="rId5" Type="http://schemas.openxmlformats.org/officeDocument/2006/relationships/image" Target="../media/image219.png"/><Relationship Id="rId4" Type="http://schemas.openxmlformats.org/officeDocument/2006/relationships/image" Target="../media/image2.png"/></Relationships>
</file>

<file path=ppt/slides/_rels/slide24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20.xml"/><Relationship Id="rId1" Type="http://schemas.openxmlformats.org/officeDocument/2006/relationships/slideLayout" Target="../slideLayouts/slideLayout1.xml"/><Relationship Id="rId6" Type="http://schemas.openxmlformats.org/officeDocument/2006/relationships/image" Target="../media/image221.png"/><Relationship Id="rId5" Type="http://schemas.openxmlformats.org/officeDocument/2006/relationships/image" Target="../media/image220.png"/><Relationship Id="rId4" Type="http://schemas.openxmlformats.org/officeDocument/2006/relationships/image" Target="../media/image2.png"/></Relationships>
</file>

<file path=ppt/slides/_rels/slide246.xml.rels><?xml version="1.0" encoding="UTF-8" standalone="yes"?>
<Relationships xmlns="http://schemas.openxmlformats.org/package/2006/relationships"><Relationship Id="rId3" Type="http://schemas.openxmlformats.org/officeDocument/2006/relationships/image" Target="../media/image222.png"/><Relationship Id="rId7" Type="http://schemas.openxmlformats.org/officeDocument/2006/relationships/image" Target="../media/image36.emf"/><Relationship Id="rId2" Type="http://schemas.openxmlformats.org/officeDocument/2006/relationships/notesSlide" Target="../notesSlides/notesSlide221.xml"/><Relationship Id="rId1" Type="http://schemas.openxmlformats.org/officeDocument/2006/relationships/slideLayout" Target="../slideLayouts/slideLayout7.xml"/><Relationship Id="rId6" Type="http://schemas.openxmlformats.org/officeDocument/2006/relationships/image" Target="../media/image4.png"/><Relationship Id="rId5" Type="http://schemas.openxmlformats.org/officeDocument/2006/relationships/image" Target="../media/image5.png"/><Relationship Id="rId4" Type="http://schemas.openxmlformats.org/officeDocument/2006/relationships/image" Target="../media/image2.png"/></Relationships>
</file>

<file path=ppt/slides/_rels/slide247.xml.rels><?xml version="1.0" encoding="UTF-8" standalone="yes"?>
<Relationships xmlns="http://schemas.openxmlformats.org/package/2006/relationships"><Relationship Id="rId8" Type="http://schemas.openxmlformats.org/officeDocument/2006/relationships/image" Target="../media/image223.jpeg"/><Relationship Id="rId3" Type="http://schemas.openxmlformats.org/officeDocument/2006/relationships/image" Target="../media/image2.png"/><Relationship Id="rId7" Type="http://schemas.openxmlformats.org/officeDocument/2006/relationships/image" Target="../media/image22.png"/><Relationship Id="rId2" Type="http://schemas.openxmlformats.org/officeDocument/2006/relationships/notesSlide" Target="../notesSlides/notesSlide222.xml"/><Relationship Id="rId1" Type="http://schemas.openxmlformats.org/officeDocument/2006/relationships/slideLayout" Target="../slideLayouts/slideLayout7.xml"/><Relationship Id="rId6" Type="http://schemas.openxmlformats.org/officeDocument/2006/relationships/slide" Target="slide201.xml"/><Relationship Id="rId5" Type="http://schemas.openxmlformats.org/officeDocument/2006/relationships/image" Target="../media/image4.png"/><Relationship Id="rId4" Type="http://schemas.openxmlformats.org/officeDocument/2006/relationships/image" Target="../media/image5.png"/><Relationship Id="rId9" Type="http://schemas.openxmlformats.org/officeDocument/2006/relationships/image" Target="../media/image224.jpeg"/></Relationships>
</file>

<file path=ppt/slides/_rels/slide248.xml.rels><?xml version="1.0" encoding="UTF-8" standalone="yes"?>
<Relationships xmlns="http://schemas.openxmlformats.org/package/2006/relationships"><Relationship Id="rId3" Type="http://schemas.openxmlformats.org/officeDocument/2006/relationships/image" Target="../media/image225.png"/><Relationship Id="rId7" Type="http://schemas.openxmlformats.org/officeDocument/2006/relationships/image" Target="../media/image83.png"/><Relationship Id="rId2" Type="http://schemas.openxmlformats.org/officeDocument/2006/relationships/notesSlide" Target="../notesSlides/notesSlide223.xml"/><Relationship Id="rId1" Type="http://schemas.openxmlformats.org/officeDocument/2006/relationships/slideLayout" Target="../slideLayouts/slideLayout7.xml"/><Relationship Id="rId6" Type="http://schemas.openxmlformats.org/officeDocument/2006/relationships/image" Target="../media/image4.png"/><Relationship Id="rId5" Type="http://schemas.openxmlformats.org/officeDocument/2006/relationships/image" Target="../media/image5.png"/><Relationship Id="rId4" Type="http://schemas.openxmlformats.org/officeDocument/2006/relationships/image" Target="../media/image2.png"/></Relationships>
</file>

<file path=ppt/slides/_rels/slide249.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226.png"/><Relationship Id="rId2" Type="http://schemas.openxmlformats.org/officeDocument/2006/relationships/notesSlide" Target="../notesSlides/notesSlide224.xml"/><Relationship Id="rId1" Type="http://schemas.openxmlformats.org/officeDocument/2006/relationships/slideLayout" Target="../slideLayouts/slideLayout7.xml"/><Relationship Id="rId6" Type="http://schemas.openxmlformats.org/officeDocument/2006/relationships/image" Target="../media/image26.emf"/><Relationship Id="rId5" Type="http://schemas.openxmlformats.org/officeDocument/2006/relationships/image" Target="../media/image4.png"/><Relationship Id="rId4" Type="http://schemas.openxmlformats.org/officeDocument/2006/relationships/image" Target="../media/image5.png"/></Relationships>
</file>

<file path=ppt/slides/_rels/slide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3.xml"/><Relationship Id="rId1" Type="http://schemas.openxmlformats.org/officeDocument/2006/relationships/slideLayout" Target="../slideLayouts/slideLayout1.xml"/><Relationship Id="rId5" Type="http://schemas.openxmlformats.org/officeDocument/2006/relationships/image" Target="../media/image5.png"/><Relationship Id="rId4" Type="http://schemas.openxmlformats.org/officeDocument/2006/relationships/image" Target="../media/image2.png"/></Relationships>
</file>

<file path=ppt/slides/_rels/slide25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25.xml"/><Relationship Id="rId1" Type="http://schemas.openxmlformats.org/officeDocument/2006/relationships/slideLayout" Target="../slideLayouts/slideLayout7.xml"/><Relationship Id="rId5" Type="http://schemas.openxmlformats.org/officeDocument/2006/relationships/image" Target="../media/image4.png"/><Relationship Id="rId4" Type="http://schemas.openxmlformats.org/officeDocument/2006/relationships/image" Target="../media/image5.png"/></Relationships>
</file>

<file path=ppt/slides/_rels/slide251.xml.rels><?xml version="1.0" encoding="UTF-8" standalone="yes"?>
<Relationships xmlns="http://schemas.openxmlformats.org/package/2006/relationships"><Relationship Id="rId2" Type="http://schemas.openxmlformats.org/officeDocument/2006/relationships/notesSlide" Target="../notesSlides/notesSlide226.xml"/><Relationship Id="rId1" Type="http://schemas.openxmlformats.org/officeDocument/2006/relationships/slideLayout" Target="../slideLayouts/slideLayout6.xml"/></Relationships>
</file>

<file path=ppt/slides/_rels/slide25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27.xml"/><Relationship Id="rId1" Type="http://schemas.openxmlformats.org/officeDocument/2006/relationships/slideLayout" Target="../slideLayouts/slideLayout7.xml"/><Relationship Id="rId5" Type="http://schemas.openxmlformats.org/officeDocument/2006/relationships/image" Target="../media/image4.png"/><Relationship Id="rId4" Type="http://schemas.openxmlformats.org/officeDocument/2006/relationships/image" Target="../media/image5.png"/></Relationships>
</file>

<file path=ppt/slides/_rels/slide25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28.xml"/><Relationship Id="rId1" Type="http://schemas.openxmlformats.org/officeDocument/2006/relationships/slideLayout" Target="../slideLayouts/slideLayout7.xml"/><Relationship Id="rId5" Type="http://schemas.openxmlformats.org/officeDocument/2006/relationships/image" Target="../media/image4.png"/><Relationship Id="rId4" Type="http://schemas.openxmlformats.org/officeDocument/2006/relationships/image" Target="../media/image5.png"/></Relationships>
</file>

<file path=ppt/slides/_rels/slide25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29.xml"/><Relationship Id="rId1" Type="http://schemas.openxmlformats.org/officeDocument/2006/relationships/slideLayout" Target="../slideLayouts/slideLayout7.xml"/><Relationship Id="rId5" Type="http://schemas.openxmlformats.org/officeDocument/2006/relationships/image" Target="../media/image4.png"/><Relationship Id="rId4" Type="http://schemas.openxmlformats.org/officeDocument/2006/relationships/image" Target="../media/image5.png"/></Relationships>
</file>

<file path=ppt/slides/_rels/slide25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30.xml"/><Relationship Id="rId1" Type="http://schemas.openxmlformats.org/officeDocument/2006/relationships/slideLayout" Target="../slideLayouts/slideLayout7.xml"/><Relationship Id="rId5" Type="http://schemas.openxmlformats.org/officeDocument/2006/relationships/image" Target="../media/image4.png"/><Relationship Id="rId4" Type="http://schemas.openxmlformats.org/officeDocument/2006/relationships/image" Target="../media/image5.png"/></Relationships>
</file>

<file path=ppt/slides/_rels/slide25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31.xml"/><Relationship Id="rId1" Type="http://schemas.openxmlformats.org/officeDocument/2006/relationships/slideLayout" Target="../slideLayouts/slideLayout7.xml"/><Relationship Id="rId5" Type="http://schemas.openxmlformats.org/officeDocument/2006/relationships/image" Target="../media/image4.png"/><Relationship Id="rId4" Type="http://schemas.openxmlformats.org/officeDocument/2006/relationships/image" Target="../media/image5.png"/></Relationships>
</file>

<file path=ppt/slides/_rels/slide25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32.xml"/><Relationship Id="rId1" Type="http://schemas.openxmlformats.org/officeDocument/2006/relationships/slideLayout" Target="../slideLayouts/slideLayout7.xml"/><Relationship Id="rId5" Type="http://schemas.openxmlformats.org/officeDocument/2006/relationships/image" Target="../media/image4.png"/><Relationship Id="rId4" Type="http://schemas.openxmlformats.org/officeDocument/2006/relationships/image" Target="../media/image5.png"/></Relationships>
</file>

<file path=ppt/slides/_rels/slide25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33.xml"/><Relationship Id="rId1" Type="http://schemas.openxmlformats.org/officeDocument/2006/relationships/slideLayout" Target="../slideLayouts/slideLayout7.xml"/><Relationship Id="rId6" Type="http://schemas.openxmlformats.org/officeDocument/2006/relationships/image" Target="../media/image227.png"/><Relationship Id="rId5" Type="http://schemas.openxmlformats.org/officeDocument/2006/relationships/image" Target="../media/image4.png"/><Relationship Id="rId4" Type="http://schemas.openxmlformats.org/officeDocument/2006/relationships/image" Target="../media/image5.png"/></Relationships>
</file>

<file path=ppt/slides/_rels/slide259.xml.rels><?xml version="1.0" encoding="UTF-8" standalone="yes"?>
<Relationships xmlns="http://schemas.openxmlformats.org/package/2006/relationships"><Relationship Id="rId2" Type="http://schemas.openxmlformats.org/officeDocument/2006/relationships/notesSlide" Target="../notesSlides/notesSlide234.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4.xml"/><Relationship Id="rId1" Type="http://schemas.openxmlformats.org/officeDocument/2006/relationships/slideLayout" Target="../slideLayouts/slideLayout7.xml"/><Relationship Id="rId6" Type="http://schemas.openxmlformats.org/officeDocument/2006/relationships/image" Target="../media/image17.png"/><Relationship Id="rId5" Type="http://schemas.openxmlformats.org/officeDocument/2006/relationships/image" Target="../media/image5.png"/><Relationship Id="rId4" Type="http://schemas.openxmlformats.org/officeDocument/2006/relationships/image" Target="../media/image2.png"/></Relationships>
</file>

<file path=ppt/slides/_rels/slide260.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2.png"/><Relationship Id="rId7" Type="http://schemas.openxmlformats.org/officeDocument/2006/relationships/image" Target="../media/image26.emf"/><Relationship Id="rId2" Type="http://schemas.openxmlformats.org/officeDocument/2006/relationships/notesSlide" Target="../notesSlides/notesSlide235.xml"/><Relationship Id="rId1" Type="http://schemas.openxmlformats.org/officeDocument/2006/relationships/slideLayout" Target="../slideLayouts/slideLayout7.xml"/><Relationship Id="rId6" Type="http://schemas.openxmlformats.org/officeDocument/2006/relationships/image" Target="../media/image83.png"/><Relationship Id="rId11" Type="http://schemas.openxmlformats.org/officeDocument/2006/relationships/image" Target="../media/image20.png"/><Relationship Id="rId5" Type="http://schemas.openxmlformats.org/officeDocument/2006/relationships/image" Target="../media/image4.png"/><Relationship Id="rId10" Type="http://schemas.openxmlformats.org/officeDocument/2006/relationships/image" Target="../media/image22.png"/><Relationship Id="rId4" Type="http://schemas.openxmlformats.org/officeDocument/2006/relationships/image" Target="../media/image5.png"/><Relationship Id="rId9" Type="http://schemas.openxmlformats.org/officeDocument/2006/relationships/slide" Target="slide201.xml"/></Relationships>
</file>

<file path=ppt/slides/_rels/slide261.xml.rels><?xml version="1.0" encoding="UTF-8" standalone="yes"?>
<Relationships xmlns="http://schemas.openxmlformats.org/package/2006/relationships"><Relationship Id="rId8" Type="http://schemas.openxmlformats.org/officeDocument/2006/relationships/diagramQuickStyle" Target="../diagrams/quickStyle10.xml"/><Relationship Id="rId3" Type="http://schemas.openxmlformats.org/officeDocument/2006/relationships/image" Target="../media/image2.png"/><Relationship Id="rId7" Type="http://schemas.openxmlformats.org/officeDocument/2006/relationships/diagramLayout" Target="../diagrams/layout10.xml"/><Relationship Id="rId2" Type="http://schemas.openxmlformats.org/officeDocument/2006/relationships/notesSlide" Target="../notesSlides/notesSlide236.xml"/><Relationship Id="rId1" Type="http://schemas.openxmlformats.org/officeDocument/2006/relationships/slideLayout" Target="../slideLayouts/slideLayout7.xml"/><Relationship Id="rId6" Type="http://schemas.openxmlformats.org/officeDocument/2006/relationships/diagramData" Target="../diagrams/data10.xml"/><Relationship Id="rId11" Type="http://schemas.openxmlformats.org/officeDocument/2006/relationships/image" Target="../media/image36.emf"/><Relationship Id="rId5" Type="http://schemas.openxmlformats.org/officeDocument/2006/relationships/image" Target="../media/image4.png"/><Relationship Id="rId10" Type="http://schemas.microsoft.com/office/2007/relationships/diagramDrawing" Target="../diagrams/drawing10.xml"/><Relationship Id="rId4" Type="http://schemas.openxmlformats.org/officeDocument/2006/relationships/image" Target="../media/image5.png"/><Relationship Id="rId9" Type="http://schemas.openxmlformats.org/officeDocument/2006/relationships/diagramColors" Target="../diagrams/colors10.xml"/></Relationships>
</file>

<file path=ppt/slides/_rels/slide262.xml.rels><?xml version="1.0" encoding="UTF-8" standalone="yes"?>
<Relationships xmlns="http://schemas.openxmlformats.org/package/2006/relationships"><Relationship Id="rId8" Type="http://schemas.openxmlformats.org/officeDocument/2006/relationships/diagramLayout" Target="../diagrams/layout11.xml"/><Relationship Id="rId3" Type="http://schemas.openxmlformats.org/officeDocument/2006/relationships/image" Target="../media/image2.png"/><Relationship Id="rId7" Type="http://schemas.openxmlformats.org/officeDocument/2006/relationships/diagramData" Target="../diagrams/data11.xml"/><Relationship Id="rId2" Type="http://schemas.openxmlformats.org/officeDocument/2006/relationships/notesSlide" Target="../notesSlides/notesSlide237.xml"/><Relationship Id="rId1" Type="http://schemas.openxmlformats.org/officeDocument/2006/relationships/slideLayout" Target="../slideLayouts/slideLayout7.xml"/><Relationship Id="rId6" Type="http://schemas.openxmlformats.org/officeDocument/2006/relationships/image" Target="../media/image26.emf"/><Relationship Id="rId11" Type="http://schemas.microsoft.com/office/2007/relationships/diagramDrawing" Target="../diagrams/drawing11.xml"/><Relationship Id="rId5" Type="http://schemas.openxmlformats.org/officeDocument/2006/relationships/image" Target="../media/image4.png"/><Relationship Id="rId10" Type="http://schemas.openxmlformats.org/officeDocument/2006/relationships/diagramColors" Target="../diagrams/colors11.xml"/><Relationship Id="rId4" Type="http://schemas.openxmlformats.org/officeDocument/2006/relationships/image" Target="../media/image5.png"/><Relationship Id="rId9" Type="http://schemas.openxmlformats.org/officeDocument/2006/relationships/diagramQuickStyle" Target="../diagrams/quickStyle11.xml"/></Relationships>
</file>

<file path=ppt/slides/_rels/slide263.xml.rels><?xml version="1.0" encoding="UTF-8" standalone="yes"?>
<Relationships xmlns="http://schemas.openxmlformats.org/package/2006/relationships"><Relationship Id="rId8" Type="http://schemas.openxmlformats.org/officeDocument/2006/relationships/diagramQuickStyle" Target="../diagrams/quickStyle12.xml"/><Relationship Id="rId3" Type="http://schemas.openxmlformats.org/officeDocument/2006/relationships/image" Target="../media/image2.png"/><Relationship Id="rId7" Type="http://schemas.openxmlformats.org/officeDocument/2006/relationships/diagramLayout" Target="../diagrams/layout12.xml"/><Relationship Id="rId2" Type="http://schemas.openxmlformats.org/officeDocument/2006/relationships/notesSlide" Target="../notesSlides/notesSlide238.xml"/><Relationship Id="rId1" Type="http://schemas.openxmlformats.org/officeDocument/2006/relationships/slideLayout" Target="../slideLayouts/slideLayout7.xml"/><Relationship Id="rId6" Type="http://schemas.openxmlformats.org/officeDocument/2006/relationships/diagramData" Target="../diagrams/data12.xml"/><Relationship Id="rId11" Type="http://schemas.openxmlformats.org/officeDocument/2006/relationships/image" Target="../media/image26.emf"/><Relationship Id="rId5" Type="http://schemas.openxmlformats.org/officeDocument/2006/relationships/image" Target="../media/image4.png"/><Relationship Id="rId10" Type="http://schemas.microsoft.com/office/2007/relationships/diagramDrawing" Target="../diagrams/drawing12.xml"/><Relationship Id="rId4" Type="http://schemas.openxmlformats.org/officeDocument/2006/relationships/image" Target="../media/image5.png"/><Relationship Id="rId9" Type="http://schemas.openxmlformats.org/officeDocument/2006/relationships/diagramColors" Target="../diagrams/colors12.xml"/></Relationships>
</file>

<file path=ppt/slides/_rels/slide264.xml.rels><?xml version="1.0" encoding="UTF-8" standalone="yes"?>
<Relationships xmlns="http://schemas.openxmlformats.org/package/2006/relationships"><Relationship Id="rId8" Type="http://schemas.openxmlformats.org/officeDocument/2006/relationships/diagramLayout" Target="../diagrams/layout13.xml"/><Relationship Id="rId3" Type="http://schemas.openxmlformats.org/officeDocument/2006/relationships/image" Target="../media/image2.png"/><Relationship Id="rId7" Type="http://schemas.openxmlformats.org/officeDocument/2006/relationships/diagramData" Target="../diagrams/data13.xml"/><Relationship Id="rId2" Type="http://schemas.openxmlformats.org/officeDocument/2006/relationships/notesSlide" Target="../notesSlides/notesSlide239.xml"/><Relationship Id="rId1" Type="http://schemas.openxmlformats.org/officeDocument/2006/relationships/slideLayout" Target="../slideLayouts/slideLayout7.xml"/><Relationship Id="rId6" Type="http://schemas.openxmlformats.org/officeDocument/2006/relationships/image" Target="../media/image83.png"/><Relationship Id="rId11" Type="http://schemas.microsoft.com/office/2007/relationships/diagramDrawing" Target="../diagrams/drawing13.xml"/><Relationship Id="rId5" Type="http://schemas.openxmlformats.org/officeDocument/2006/relationships/image" Target="../media/image4.png"/><Relationship Id="rId10" Type="http://schemas.openxmlformats.org/officeDocument/2006/relationships/diagramColors" Target="../diagrams/colors13.xml"/><Relationship Id="rId4" Type="http://schemas.openxmlformats.org/officeDocument/2006/relationships/image" Target="../media/image5.png"/><Relationship Id="rId9" Type="http://schemas.openxmlformats.org/officeDocument/2006/relationships/diagramQuickStyle" Target="../diagrams/quickStyle13.xml"/></Relationships>
</file>

<file path=ppt/slides/_rels/slide265.xml.rels><?xml version="1.0" encoding="UTF-8" standalone="yes"?>
<Relationships xmlns="http://schemas.openxmlformats.org/package/2006/relationships"><Relationship Id="rId8" Type="http://schemas.openxmlformats.org/officeDocument/2006/relationships/diagramLayout" Target="../diagrams/layout14.xml"/><Relationship Id="rId3" Type="http://schemas.openxmlformats.org/officeDocument/2006/relationships/image" Target="../media/image2.png"/><Relationship Id="rId7" Type="http://schemas.openxmlformats.org/officeDocument/2006/relationships/diagramData" Target="../diagrams/data14.xml"/><Relationship Id="rId2" Type="http://schemas.openxmlformats.org/officeDocument/2006/relationships/notesSlide" Target="../notesSlides/notesSlide240.xml"/><Relationship Id="rId1" Type="http://schemas.openxmlformats.org/officeDocument/2006/relationships/slideLayout" Target="../slideLayouts/slideLayout7.xml"/><Relationship Id="rId6" Type="http://schemas.openxmlformats.org/officeDocument/2006/relationships/image" Target="../media/image83.png"/><Relationship Id="rId11" Type="http://schemas.microsoft.com/office/2007/relationships/diagramDrawing" Target="../diagrams/drawing14.xml"/><Relationship Id="rId5" Type="http://schemas.openxmlformats.org/officeDocument/2006/relationships/image" Target="../media/image4.png"/><Relationship Id="rId10" Type="http://schemas.openxmlformats.org/officeDocument/2006/relationships/diagramColors" Target="../diagrams/colors14.xml"/><Relationship Id="rId4" Type="http://schemas.openxmlformats.org/officeDocument/2006/relationships/image" Target="../media/image5.png"/><Relationship Id="rId9" Type="http://schemas.openxmlformats.org/officeDocument/2006/relationships/diagramQuickStyle" Target="../diagrams/quickStyle14.xml"/></Relationships>
</file>

<file path=ppt/slides/_rels/slide266.xml.rels><?xml version="1.0" encoding="UTF-8" standalone="yes"?>
<Relationships xmlns="http://schemas.openxmlformats.org/package/2006/relationships"><Relationship Id="rId8" Type="http://schemas.openxmlformats.org/officeDocument/2006/relationships/diagramQuickStyle" Target="../diagrams/quickStyle15.xml"/><Relationship Id="rId13" Type="http://schemas.openxmlformats.org/officeDocument/2006/relationships/image" Target="../media/image23.png"/><Relationship Id="rId3" Type="http://schemas.openxmlformats.org/officeDocument/2006/relationships/image" Target="../media/image2.png"/><Relationship Id="rId7" Type="http://schemas.openxmlformats.org/officeDocument/2006/relationships/diagramLayout" Target="../diagrams/layout15.xml"/><Relationship Id="rId12" Type="http://schemas.openxmlformats.org/officeDocument/2006/relationships/image" Target="../media/image22.png"/><Relationship Id="rId2" Type="http://schemas.openxmlformats.org/officeDocument/2006/relationships/notesSlide" Target="../notesSlides/notesSlide241.xml"/><Relationship Id="rId1" Type="http://schemas.openxmlformats.org/officeDocument/2006/relationships/slideLayout" Target="../slideLayouts/slideLayout7.xml"/><Relationship Id="rId6" Type="http://schemas.openxmlformats.org/officeDocument/2006/relationships/diagramData" Target="../diagrams/data15.xml"/><Relationship Id="rId11" Type="http://schemas.openxmlformats.org/officeDocument/2006/relationships/slide" Target="slide201.xml"/><Relationship Id="rId5" Type="http://schemas.openxmlformats.org/officeDocument/2006/relationships/image" Target="../media/image4.png"/><Relationship Id="rId10" Type="http://schemas.microsoft.com/office/2007/relationships/diagramDrawing" Target="../diagrams/drawing15.xml"/><Relationship Id="rId4" Type="http://schemas.openxmlformats.org/officeDocument/2006/relationships/image" Target="../media/image5.png"/><Relationship Id="rId9" Type="http://schemas.openxmlformats.org/officeDocument/2006/relationships/diagramColors" Target="../diagrams/colors15.xml"/></Relationships>
</file>

<file path=ppt/slides/_rels/slide26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42.xml"/><Relationship Id="rId1" Type="http://schemas.openxmlformats.org/officeDocument/2006/relationships/slideLayout" Target="../slideLayouts/slideLayout1.xml"/><Relationship Id="rId5" Type="http://schemas.openxmlformats.org/officeDocument/2006/relationships/image" Target="../media/image5.png"/><Relationship Id="rId4" Type="http://schemas.openxmlformats.org/officeDocument/2006/relationships/image" Target="../media/image2.png"/></Relationships>
</file>

<file path=ppt/slides/_rels/slide26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43.xml"/><Relationship Id="rId1" Type="http://schemas.openxmlformats.org/officeDocument/2006/relationships/slideLayout" Target="../slideLayouts/slideLayout1.xml"/><Relationship Id="rId6" Type="http://schemas.openxmlformats.org/officeDocument/2006/relationships/hyperlink" Target="https://retrofeed.eu/deliverables-1/" TargetMode="External"/><Relationship Id="rId5" Type="http://schemas.openxmlformats.org/officeDocument/2006/relationships/image" Target="../media/image5.png"/><Relationship Id="rId4" Type="http://schemas.openxmlformats.org/officeDocument/2006/relationships/image" Target="../media/image2.png"/></Relationships>
</file>

<file path=ppt/slides/_rels/slide27.x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slide" Target="slide66.xml"/><Relationship Id="rId18" Type="http://schemas.openxmlformats.org/officeDocument/2006/relationships/image" Target="../media/image24.png"/><Relationship Id="rId3" Type="http://schemas.openxmlformats.org/officeDocument/2006/relationships/image" Target="../media/image4.png"/><Relationship Id="rId7" Type="http://schemas.openxmlformats.org/officeDocument/2006/relationships/slide" Target="slide57.xml"/><Relationship Id="rId12" Type="http://schemas.openxmlformats.org/officeDocument/2006/relationships/image" Target="../media/image21.png"/><Relationship Id="rId17" Type="http://schemas.openxmlformats.org/officeDocument/2006/relationships/hyperlink" Target="https://retrofeed.eu/ceramic-sector/" TargetMode="External"/><Relationship Id="rId2" Type="http://schemas.openxmlformats.org/officeDocument/2006/relationships/notesSlide" Target="../notesSlides/notesSlide25.xml"/><Relationship Id="rId16" Type="http://schemas.openxmlformats.org/officeDocument/2006/relationships/image" Target="../media/image23.png"/><Relationship Id="rId1" Type="http://schemas.openxmlformats.org/officeDocument/2006/relationships/slideLayout" Target="../slideLayouts/slideLayout1.xml"/><Relationship Id="rId6" Type="http://schemas.openxmlformats.org/officeDocument/2006/relationships/image" Target="../media/image18.png"/><Relationship Id="rId11" Type="http://schemas.openxmlformats.org/officeDocument/2006/relationships/slide" Target="slide23.xml"/><Relationship Id="rId5" Type="http://schemas.openxmlformats.org/officeDocument/2006/relationships/image" Target="../media/image5.png"/><Relationship Id="rId15" Type="http://schemas.openxmlformats.org/officeDocument/2006/relationships/slide" Target="slide48.xml"/><Relationship Id="rId10" Type="http://schemas.openxmlformats.org/officeDocument/2006/relationships/image" Target="../media/image20.png"/><Relationship Id="rId4" Type="http://schemas.openxmlformats.org/officeDocument/2006/relationships/image" Target="../media/image2.png"/><Relationship Id="rId9" Type="http://schemas.openxmlformats.org/officeDocument/2006/relationships/slide" Target="slide51.xml"/><Relationship Id="rId14" Type="http://schemas.openxmlformats.org/officeDocument/2006/relationships/image" Target="../media/image22.png"/></Relationships>
</file>

<file path=ppt/slides/_rels/slide27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44.xml"/><Relationship Id="rId1" Type="http://schemas.openxmlformats.org/officeDocument/2006/relationships/slideLayout" Target="../slideLayouts/slideLayout1.xml"/><Relationship Id="rId5" Type="http://schemas.openxmlformats.org/officeDocument/2006/relationships/image" Target="../media/image5.png"/><Relationship Id="rId4" Type="http://schemas.openxmlformats.org/officeDocument/2006/relationships/image" Target="../media/image2.png"/></Relationships>
</file>

<file path=ppt/slides/_rels/slide272.xml.rels><?xml version="1.0" encoding="UTF-8" standalone="yes"?>
<Relationships xmlns="http://schemas.openxmlformats.org/package/2006/relationships"><Relationship Id="rId3" Type="http://schemas.openxmlformats.org/officeDocument/2006/relationships/image" Target="../media/image228.jpeg"/><Relationship Id="rId7"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7.xml"/><Relationship Id="rId6" Type="http://schemas.openxmlformats.org/officeDocument/2006/relationships/image" Target="../media/image231.png"/><Relationship Id="rId5" Type="http://schemas.openxmlformats.org/officeDocument/2006/relationships/image" Target="../media/image230.png"/><Relationship Id="rId4" Type="http://schemas.openxmlformats.org/officeDocument/2006/relationships/image" Target="../media/image229.png"/></Relationships>
</file>

<file path=ppt/slides/_rels/slide2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6.xml"/><Relationship Id="rId1" Type="http://schemas.openxmlformats.org/officeDocument/2006/relationships/slideLayout" Target="../slideLayouts/slideLayout1.xml"/><Relationship Id="rId6" Type="http://schemas.openxmlformats.org/officeDocument/2006/relationships/image" Target="../media/image25.png"/><Relationship Id="rId5" Type="http://schemas.openxmlformats.org/officeDocument/2006/relationships/image" Target="../media/image5.png"/><Relationship Id="rId4" Type="http://schemas.openxmlformats.org/officeDocument/2006/relationships/image" Target="../media/image2.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1.xml"/><Relationship Id="rId5" Type="http://schemas.openxmlformats.org/officeDocument/2006/relationships/image" Target="../media/image5.png"/><Relationship Id="rId4" Type="http://schemas.openxmlformats.org/officeDocument/2006/relationships/image" Target="../media/image2.png"/></Relationships>
</file>

<file path=ppt/slides/_rels/slide30.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27.png"/><Relationship Id="rId2" Type="http://schemas.openxmlformats.org/officeDocument/2006/relationships/notesSlide" Target="../notesSlides/notesSlide28.xml"/><Relationship Id="rId1" Type="http://schemas.openxmlformats.org/officeDocument/2006/relationships/slideLayout" Target="../slideLayouts/slideLayout1.xml"/><Relationship Id="rId6" Type="http://schemas.openxmlformats.org/officeDocument/2006/relationships/image" Target="../media/image26.emf"/><Relationship Id="rId5" Type="http://schemas.openxmlformats.org/officeDocument/2006/relationships/image" Target="../media/image5.png"/><Relationship Id="rId4" Type="http://schemas.openxmlformats.org/officeDocument/2006/relationships/image" Target="../media/image2.png"/></Relationships>
</file>

<file path=ppt/slides/_rels/slide31.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4.png"/><Relationship Id="rId7" Type="http://schemas.openxmlformats.org/officeDocument/2006/relationships/image" Target="../media/image29.png"/><Relationship Id="rId2" Type="http://schemas.openxmlformats.org/officeDocument/2006/relationships/notesSlide" Target="../notesSlides/notesSlide29.xml"/><Relationship Id="rId1" Type="http://schemas.openxmlformats.org/officeDocument/2006/relationships/slideLayout" Target="../slideLayouts/slideLayout2.xml"/><Relationship Id="rId6" Type="http://schemas.openxmlformats.org/officeDocument/2006/relationships/image" Target="../media/image28.png"/><Relationship Id="rId5" Type="http://schemas.openxmlformats.org/officeDocument/2006/relationships/image" Target="../media/image5.png"/><Relationship Id="rId4" Type="http://schemas.openxmlformats.org/officeDocument/2006/relationships/image" Target="../media/image2.png"/></Relationships>
</file>

<file path=ppt/slides/_rels/slide3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0.xml"/><Relationship Id="rId1" Type="http://schemas.openxmlformats.org/officeDocument/2006/relationships/slideLayout" Target="../slideLayouts/slideLayout1.xml"/><Relationship Id="rId6" Type="http://schemas.openxmlformats.org/officeDocument/2006/relationships/image" Target="../media/image31.png"/><Relationship Id="rId5" Type="http://schemas.openxmlformats.org/officeDocument/2006/relationships/image" Target="../media/image5.png"/><Relationship Id="rId4" Type="http://schemas.openxmlformats.org/officeDocument/2006/relationships/image" Target="../media/image2.png"/></Relationships>
</file>

<file path=ppt/slides/_rels/slide33.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33.png"/><Relationship Id="rId2" Type="http://schemas.openxmlformats.org/officeDocument/2006/relationships/notesSlide" Target="../notesSlides/notesSlide31.xml"/><Relationship Id="rId1" Type="http://schemas.openxmlformats.org/officeDocument/2006/relationships/slideLayout" Target="../slideLayouts/slideLayout2.xml"/><Relationship Id="rId6" Type="http://schemas.openxmlformats.org/officeDocument/2006/relationships/image" Target="../media/image32.png"/><Relationship Id="rId5" Type="http://schemas.openxmlformats.org/officeDocument/2006/relationships/image" Target="../media/image5.png"/><Relationship Id="rId4" Type="http://schemas.openxmlformats.org/officeDocument/2006/relationships/image" Target="../media/image2.png"/></Relationships>
</file>

<file path=ppt/slides/_rels/slide34.xml.rels><?xml version="1.0" encoding="UTF-8" standalone="yes"?>
<Relationships xmlns="http://schemas.openxmlformats.org/package/2006/relationships"><Relationship Id="rId3" Type="http://schemas.openxmlformats.org/officeDocument/2006/relationships/image" Target="../media/image34.jpeg"/><Relationship Id="rId7" Type="http://schemas.openxmlformats.org/officeDocument/2006/relationships/image" Target="../media/image26.emf"/><Relationship Id="rId2" Type="http://schemas.openxmlformats.org/officeDocument/2006/relationships/notesSlide" Target="../notesSlides/notesSlide32.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image" Target="../media/image2.png"/><Relationship Id="rId4" Type="http://schemas.openxmlformats.org/officeDocument/2006/relationships/image" Target="../media/image4.png"/></Relationships>
</file>

<file path=ppt/slides/_rels/slide35.xml.rels><?xml version="1.0" encoding="UTF-8" standalone="yes"?>
<Relationships xmlns="http://schemas.openxmlformats.org/package/2006/relationships"><Relationship Id="rId3" Type="http://schemas.microsoft.com/office/2018/10/relationships/comments" Target="../comments/modernComment_13A3_12FF8F9A.xml"/><Relationship Id="rId2" Type="http://schemas.openxmlformats.org/officeDocument/2006/relationships/notesSlide" Target="../notesSlides/notesSlide33.xml"/><Relationship Id="rId1" Type="http://schemas.openxmlformats.org/officeDocument/2006/relationships/slideLayout" Target="../slideLayouts/slideLayout2.xml"/><Relationship Id="rId6" Type="http://schemas.openxmlformats.org/officeDocument/2006/relationships/image" Target="../media/image5.png"/><Relationship Id="rId5" Type="http://schemas.openxmlformats.org/officeDocument/2006/relationships/image" Target="../media/image2.png"/><Relationship Id="rId4" Type="http://schemas.openxmlformats.org/officeDocument/2006/relationships/image" Target="../media/image4.pn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36.emf"/><Relationship Id="rId2" Type="http://schemas.openxmlformats.org/officeDocument/2006/relationships/notesSlide" Target="../notesSlides/notesSlide35.xml"/><Relationship Id="rId1" Type="http://schemas.openxmlformats.org/officeDocument/2006/relationships/slideLayout" Target="../slideLayouts/slideLayout1.xml"/><Relationship Id="rId6" Type="http://schemas.openxmlformats.org/officeDocument/2006/relationships/image" Target="../media/image35.jpeg"/><Relationship Id="rId5" Type="http://schemas.openxmlformats.org/officeDocument/2006/relationships/image" Target="../media/image5.png"/><Relationship Id="rId4" Type="http://schemas.openxmlformats.org/officeDocument/2006/relationships/image" Target="../media/image2.png"/></Relationships>
</file>

<file path=ppt/slides/_rels/slide38.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36.xml"/><Relationship Id="rId1" Type="http://schemas.openxmlformats.org/officeDocument/2006/relationships/slideLayout" Target="../slideLayouts/slideLayout2.xml"/><Relationship Id="rId6" Type="http://schemas.openxmlformats.org/officeDocument/2006/relationships/image" Target="../media/image5.png"/><Relationship Id="rId5" Type="http://schemas.openxmlformats.org/officeDocument/2006/relationships/image" Target="../media/image2.png"/><Relationship Id="rId4" Type="http://schemas.openxmlformats.org/officeDocument/2006/relationships/image" Target="../media/image4.png"/></Relationships>
</file>

<file path=ppt/slides/_rels/slide39.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39.jpeg"/><Relationship Id="rId2" Type="http://schemas.openxmlformats.org/officeDocument/2006/relationships/notesSlide" Target="../notesSlides/notesSlide37.xml"/><Relationship Id="rId1" Type="http://schemas.openxmlformats.org/officeDocument/2006/relationships/slideLayout" Target="../slideLayouts/slideLayout1.xml"/><Relationship Id="rId6" Type="http://schemas.openxmlformats.org/officeDocument/2006/relationships/image" Target="../media/image38.jpeg"/><Relationship Id="rId5" Type="http://schemas.openxmlformats.org/officeDocument/2006/relationships/image" Target="../media/image5.png"/><Relationship Id="rId4" Type="http://schemas.openxmlformats.org/officeDocument/2006/relationships/image" Target="../media/image2.png"/></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xml"/><Relationship Id="rId1" Type="http://schemas.openxmlformats.org/officeDocument/2006/relationships/slideLayout" Target="../slideLayouts/slideLayout1.xml"/><Relationship Id="rId6" Type="http://schemas.openxmlformats.org/officeDocument/2006/relationships/image" Target="../media/image6.jpeg"/><Relationship Id="rId5" Type="http://schemas.openxmlformats.org/officeDocument/2006/relationships/image" Target="../media/image5.png"/><Relationship Id="rId4" Type="http://schemas.openxmlformats.org/officeDocument/2006/relationships/image" Target="../media/image2.png"/></Relationships>
</file>

<file path=ppt/slides/_rels/slide4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8.xml"/><Relationship Id="rId1" Type="http://schemas.openxmlformats.org/officeDocument/2006/relationships/slideLayout" Target="../slideLayouts/slideLayout2.xml"/><Relationship Id="rId6" Type="http://schemas.openxmlformats.org/officeDocument/2006/relationships/image" Target="../media/image40.jpeg"/><Relationship Id="rId5" Type="http://schemas.openxmlformats.org/officeDocument/2006/relationships/image" Target="../media/image5.png"/><Relationship Id="rId4" Type="http://schemas.openxmlformats.org/officeDocument/2006/relationships/image" Target="../media/image2.png"/></Relationships>
</file>

<file path=ppt/slides/_rels/slide41.xml.rels><?xml version="1.0" encoding="UTF-8" standalone="yes"?>
<Relationships xmlns="http://schemas.openxmlformats.org/package/2006/relationships"><Relationship Id="rId3" Type="http://schemas.openxmlformats.org/officeDocument/2006/relationships/image" Target="../media/image41.tiff"/><Relationship Id="rId7" Type="http://schemas.openxmlformats.org/officeDocument/2006/relationships/image" Target="../media/image36.emf"/><Relationship Id="rId2" Type="http://schemas.openxmlformats.org/officeDocument/2006/relationships/notesSlide" Target="../notesSlides/notesSlide39.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image" Target="../media/image2.png"/><Relationship Id="rId4" Type="http://schemas.openxmlformats.org/officeDocument/2006/relationships/image" Target="../media/image4.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image" Target="../media/image4.png"/><Relationship Id="rId7" Type="http://schemas.openxmlformats.org/officeDocument/2006/relationships/image" Target="../media/image43.png"/><Relationship Id="rId2" Type="http://schemas.openxmlformats.org/officeDocument/2006/relationships/notesSlide" Target="../notesSlides/notesSlide40.xml"/><Relationship Id="rId1" Type="http://schemas.openxmlformats.org/officeDocument/2006/relationships/slideLayout" Target="../slideLayouts/slideLayout1.xml"/><Relationship Id="rId6" Type="http://schemas.openxmlformats.org/officeDocument/2006/relationships/image" Target="../media/image42.png"/><Relationship Id="rId5" Type="http://schemas.openxmlformats.org/officeDocument/2006/relationships/image" Target="../media/image5.png"/><Relationship Id="rId4" Type="http://schemas.openxmlformats.org/officeDocument/2006/relationships/image" Target="../media/image2.png"/></Relationships>
</file>

<file path=ppt/slides/_rels/slide44.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41.xml"/><Relationship Id="rId1" Type="http://schemas.openxmlformats.org/officeDocument/2006/relationships/slideLayout" Target="../slideLayouts/slideLayout2.xml"/><Relationship Id="rId6" Type="http://schemas.openxmlformats.org/officeDocument/2006/relationships/image" Target="../media/image5.png"/><Relationship Id="rId5" Type="http://schemas.openxmlformats.org/officeDocument/2006/relationships/image" Target="../media/image2.png"/><Relationship Id="rId4" Type="http://schemas.openxmlformats.org/officeDocument/2006/relationships/image" Target="../media/image4.png"/></Relationships>
</file>

<file path=ppt/slides/_rels/slide4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42.xml"/><Relationship Id="rId1" Type="http://schemas.openxmlformats.org/officeDocument/2006/relationships/slideLayout" Target="../slideLayouts/slideLayout2.xml"/><Relationship Id="rId6" Type="http://schemas.openxmlformats.org/officeDocument/2006/relationships/image" Target="../media/image5.png"/><Relationship Id="rId5" Type="http://schemas.openxmlformats.org/officeDocument/2006/relationships/image" Target="../media/image2.png"/><Relationship Id="rId4" Type="http://schemas.openxmlformats.org/officeDocument/2006/relationships/image" Target="../media/image4.png"/></Relationships>
</file>

<file path=ppt/slides/_rels/slide4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3.xml"/><Relationship Id="rId1" Type="http://schemas.openxmlformats.org/officeDocument/2006/relationships/slideLayout" Target="../slideLayouts/slideLayout1.xml"/><Relationship Id="rId6" Type="http://schemas.openxmlformats.org/officeDocument/2006/relationships/image" Target="../media/image46.png"/><Relationship Id="rId5" Type="http://schemas.openxmlformats.org/officeDocument/2006/relationships/image" Target="../media/image5.png"/><Relationship Id="rId4" Type="http://schemas.openxmlformats.org/officeDocument/2006/relationships/image" Target="../media/image2.png"/></Relationships>
</file>

<file path=ppt/slides/_rels/slide4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4.xml"/><Relationship Id="rId1" Type="http://schemas.openxmlformats.org/officeDocument/2006/relationships/slideLayout" Target="../slideLayouts/slideLayout2.xml"/><Relationship Id="rId6" Type="http://schemas.openxmlformats.org/officeDocument/2006/relationships/image" Target="../media/image47.png"/><Relationship Id="rId5" Type="http://schemas.openxmlformats.org/officeDocument/2006/relationships/image" Target="../media/image5.png"/><Relationship Id="rId4" Type="http://schemas.openxmlformats.org/officeDocument/2006/relationships/image" Target="../media/image2.png"/></Relationships>
</file>

<file path=ppt/slides/_rels/slide48.xml.rels><?xml version="1.0" encoding="UTF-8" standalone="yes"?>
<Relationships xmlns="http://schemas.openxmlformats.org/package/2006/relationships"><Relationship Id="rId3" Type="http://schemas.openxmlformats.org/officeDocument/2006/relationships/image" Target="../media/image48.jpeg"/><Relationship Id="rId7" Type="http://schemas.openxmlformats.org/officeDocument/2006/relationships/image" Target="../media/image49.emf"/><Relationship Id="rId2" Type="http://schemas.openxmlformats.org/officeDocument/2006/relationships/notesSlide" Target="../notesSlides/notesSlide45.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image" Target="../media/image2.png"/><Relationship Id="rId4" Type="http://schemas.openxmlformats.org/officeDocument/2006/relationships/image" Target="../media/image4.png"/></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1.xml"/><Relationship Id="rId6" Type="http://schemas.openxmlformats.org/officeDocument/2006/relationships/image" Target="../media/image6.jpeg"/><Relationship Id="rId5" Type="http://schemas.openxmlformats.org/officeDocument/2006/relationships/image" Target="../media/image5.png"/><Relationship Id="rId4" Type="http://schemas.openxmlformats.org/officeDocument/2006/relationships/image" Target="../media/image2.png"/></Relationships>
</file>

<file path=ppt/slides/_rels/slide50.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51.png"/><Relationship Id="rId2" Type="http://schemas.openxmlformats.org/officeDocument/2006/relationships/notesSlide" Target="../notesSlides/notesSlide46.xml"/><Relationship Id="rId1" Type="http://schemas.openxmlformats.org/officeDocument/2006/relationships/slideLayout" Target="../slideLayouts/slideLayout1.xml"/><Relationship Id="rId6" Type="http://schemas.openxmlformats.org/officeDocument/2006/relationships/image" Target="../media/image50.jpeg"/><Relationship Id="rId5" Type="http://schemas.openxmlformats.org/officeDocument/2006/relationships/image" Target="../media/image5.png"/><Relationship Id="rId4" Type="http://schemas.openxmlformats.org/officeDocument/2006/relationships/image" Target="../media/image2.png"/></Relationships>
</file>

<file path=ppt/slides/_rels/slide5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7.xml"/><Relationship Id="rId1" Type="http://schemas.openxmlformats.org/officeDocument/2006/relationships/slideLayout" Target="../slideLayouts/slideLayout2.xml"/><Relationship Id="rId6" Type="http://schemas.openxmlformats.org/officeDocument/2006/relationships/image" Target="../media/image52.png"/><Relationship Id="rId5" Type="http://schemas.openxmlformats.org/officeDocument/2006/relationships/image" Target="../media/image5.png"/><Relationship Id="rId4" Type="http://schemas.openxmlformats.org/officeDocument/2006/relationships/image" Target="../media/image2.png"/></Relationships>
</file>

<file path=ppt/slides/_rels/slide5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8.xml"/><Relationship Id="rId1" Type="http://schemas.openxmlformats.org/officeDocument/2006/relationships/slideLayout" Target="../slideLayouts/slideLayout1.xml"/><Relationship Id="rId6" Type="http://schemas.openxmlformats.org/officeDocument/2006/relationships/image" Target="../media/image53.png"/><Relationship Id="rId5" Type="http://schemas.openxmlformats.org/officeDocument/2006/relationships/image" Target="../media/image5.png"/><Relationship Id="rId4" Type="http://schemas.openxmlformats.org/officeDocument/2006/relationships/image" Target="../media/image2.png"/></Relationships>
</file>

<file path=ppt/slides/_rels/slide53.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55.jpeg"/><Relationship Id="rId2" Type="http://schemas.openxmlformats.org/officeDocument/2006/relationships/notesSlide" Target="../notesSlides/notesSlide49.xml"/><Relationship Id="rId1" Type="http://schemas.openxmlformats.org/officeDocument/2006/relationships/slideLayout" Target="../slideLayouts/slideLayout2.xml"/><Relationship Id="rId6" Type="http://schemas.openxmlformats.org/officeDocument/2006/relationships/image" Target="../media/image54.jpeg"/><Relationship Id="rId5" Type="http://schemas.openxmlformats.org/officeDocument/2006/relationships/image" Target="../media/image5.png"/><Relationship Id="rId4" Type="http://schemas.openxmlformats.org/officeDocument/2006/relationships/image" Target="../media/image2.png"/></Relationships>
</file>

<file path=ppt/slides/_rels/slide54.xml.rels><?xml version="1.0" encoding="UTF-8" standalone="yes"?>
<Relationships xmlns="http://schemas.openxmlformats.org/package/2006/relationships"><Relationship Id="rId3" Type="http://schemas.openxmlformats.org/officeDocument/2006/relationships/image" Target="../media/image56.png"/><Relationship Id="rId7" Type="http://schemas.openxmlformats.org/officeDocument/2006/relationships/image" Target="../media/image51.png"/><Relationship Id="rId2" Type="http://schemas.openxmlformats.org/officeDocument/2006/relationships/notesSlide" Target="../notesSlides/notesSlide50.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image" Target="../media/image2.png"/><Relationship Id="rId4" Type="http://schemas.openxmlformats.org/officeDocument/2006/relationships/image" Target="../media/image4.png"/></Relationships>
</file>

<file path=ppt/slides/_rels/slide55.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58.jpeg"/><Relationship Id="rId2" Type="http://schemas.openxmlformats.org/officeDocument/2006/relationships/notesSlide" Target="../notesSlides/notesSlide51.xml"/><Relationship Id="rId1" Type="http://schemas.openxmlformats.org/officeDocument/2006/relationships/slideLayout" Target="../slideLayouts/slideLayout1.xml"/><Relationship Id="rId6" Type="http://schemas.openxmlformats.org/officeDocument/2006/relationships/image" Target="../media/image57.jpeg"/><Relationship Id="rId5" Type="http://schemas.openxmlformats.org/officeDocument/2006/relationships/image" Target="../media/image5.png"/><Relationship Id="rId4" Type="http://schemas.openxmlformats.org/officeDocument/2006/relationships/image" Target="../media/image2.png"/></Relationships>
</file>

<file path=ppt/slides/_rels/slide5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2.xml"/><Relationship Id="rId1" Type="http://schemas.openxmlformats.org/officeDocument/2006/relationships/slideLayout" Target="../slideLayouts/slideLayout2.xml"/><Relationship Id="rId6" Type="http://schemas.openxmlformats.org/officeDocument/2006/relationships/image" Target="../media/image59.jpeg"/><Relationship Id="rId5" Type="http://schemas.openxmlformats.org/officeDocument/2006/relationships/image" Target="../media/image5.png"/><Relationship Id="rId4" Type="http://schemas.openxmlformats.org/officeDocument/2006/relationships/image" Target="../media/image2.png"/></Relationships>
</file>

<file path=ppt/slides/_rels/slide5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3.xml"/><Relationship Id="rId1" Type="http://schemas.openxmlformats.org/officeDocument/2006/relationships/slideLayout" Target="../slideLayouts/slideLayout1.xml"/><Relationship Id="rId6" Type="http://schemas.openxmlformats.org/officeDocument/2006/relationships/image" Target="../media/image60.png"/><Relationship Id="rId5" Type="http://schemas.openxmlformats.org/officeDocument/2006/relationships/image" Target="../media/image5.png"/><Relationship Id="rId4" Type="http://schemas.openxmlformats.org/officeDocument/2006/relationships/image" Target="../media/image2.png"/></Relationships>
</file>

<file path=ppt/slides/_rels/slide5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4.xml"/><Relationship Id="rId1" Type="http://schemas.openxmlformats.org/officeDocument/2006/relationships/slideLayout" Target="../slideLayouts/slideLayout2.xml"/><Relationship Id="rId6" Type="http://schemas.openxmlformats.org/officeDocument/2006/relationships/image" Target="../media/image61.jpeg"/><Relationship Id="rId5" Type="http://schemas.openxmlformats.org/officeDocument/2006/relationships/image" Target="../media/image5.png"/><Relationship Id="rId4" Type="http://schemas.openxmlformats.org/officeDocument/2006/relationships/image" Target="../media/image2.png"/></Relationships>
</file>

<file path=ppt/slides/_rels/slide59.xml.rels><?xml version="1.0" encoding="UTF-8" standalone="yes"?>
<Relationships xmlns="http://schemas.openxmlformats.org/package/2006/relationships"><Relationship Id="rId3" Type="http://schemas.openxmlformats.org/officeDocument/2006/relationships/image" Target="../media/image56.png"/><Relationship Id="rId7" Type="http://schemas.openxmlformats.org/officeDocument/2006/relationships/image" Target="../media/image58.jpeg"/><Relationship Id="rId2" Type="http://schemas.openxmlformats.org/officeDocument/2006/relationships/notesSlide" Target="../notesSlides/notesSlide55.xml"/><Relationship Id="rId1" Type="http://schemas.openxmlformats.org/officeDocument/2006/relationships/slideLayout" Target="../slideLayouts/slideLayout7.xml"/><Relationship Id="rId6" Type="http://schemas.openxmlformats.org/officeDocument/2006/relationships/image" Target="../media/image5.png"/><Relationship Id="rId5" Type="http://schemas.openxmlformats.org/officeDocument/2006/relationships/image" Target="../media/image2.png"/><Relationship Id="rId4" Type="http://schemas.openxmlformats.org/officeDocument/2006/relationships/image" Target="../media/image4.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6.xml"/></Relationships>
</file>

<file path=ppt/slides/_rels/slide62.xml.rels><?xml version="1.0" encoding="UTF-8" standalone="yes"?>
<Relationships xmlns="http://schemas.openxmlformats.org/package/2006/relationships"><Relationship Id="rId8" Type="http://schemas.openxmlformats.org/officeDocument/2006/relationships/hyperlink" Target="https://creativecommons.org/licenses/by/3.0/" TargetMode="External"/><Relationship Id="rId3" Type="http://schemas.openxmlformats.org/officeDocument/2006/relationships/image" Target="../media/image4.png"/><Relationship Id="rId7" Type="http://schemas.openxmlformats.org/officeDocument/2006/relationships/hyperlink" Target="https://www.josegalan.es/diccionario-analitica-web/" TargetMode="External"/><Relationship Id="rId2" Type="http://schemas.openxmlformats.org/officeDocument/2006/relationships/notesSlide" Target="../notesSlides/notesSlide57.xml"/><Relationship Id="rId1" Type="http://schemas.openxmlformats.org/officeDocument/2006/relationships/slideLayout" Target="../slideLayouts/slideLayout1.xml"/><Relationship Id="rId6" Type="http://schemas.openxmlformats.org/officeDocument/2006/relationships/image" Target="../media/image62.jpeg"/><Relationship Id="rId5" Type="http://schemas.openxmlformats.org/officeDocument/2006/relationships/image" Target="../media/image5.png"/><Relationship Id="rId4" Type="http://schemas.openxmlformats.org/officeDocument/2006/relationships/image" Target="../media/image2.png"/></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6.xml"/></Relationships>
</file>

<file path=ppt/slides/_rels/slide6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9.xml"/><Relationship Id="rId1" Type="http://schemas.openxmlformats.org/officeDocument/2006/relationships/slideLayout" Target="../slideLayouts/slideLayout2.xml"/><Relationship Id="rId5" Type="http://schemas.openxmlformats.org/officeDocument/2006/relationships/image" Target="../media/image5.png"/><Relationship Id="rId4" Type="http://schemas.openxmlformats.org/officeDocument/2006/relationships/image" Target="../media/image2.png"/></Relationships>
</file>

<file path=ppt/slides/_rels/slide65.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64.svg"/><Relationship Id="rId2" Type="http://schemas.openxmlformats.org/officeDocument/2006/relationships/notesSlide" Target="../notesSlides/notesSlide60.xml"/><Relationship Id="rId1" Type="http://schemas.openxmlformats.org/officeDocument/2006/relationships/slideLayout" Target="../slideLayouts/slideLayout2.xml"/><Relationship Id="rId6" Type="http://schemas.openxmlformats.org/officeDocument/2006/relationships/image" Target="../media/image63.png"/><Relationship Id="rId5" Type="http://schemas.openxmlformats.org/officeDocument/2006/relationships/image" Target="../media/image5.png"/><Relationship Id="rId4" Type="http://schemas.openxmlformats.org/officeDocument/2006/relationships/image" Target="../media/image2.png"/></Relationships>
</file>

<file path=ppt/slides/_rels/slide6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1.xml"/><Relationship Id="rId1" Type="http://schemas.openxmlformats.org/officeDocument/2006/relationships/slideLayout" Target="../slideLayouts/slideLayout2.xml"/><Relationship Id="rId6" Type="http://schemas.openxmlformats.org/officeDocument/2006/relationships/image" Target="../media/image65.png"/><Relationship Id="rId5" Type="http://schemas.openxmlformats.org/officeDocument/2006/relationships/image" Target="../media/image5.png"/><Relationship Id="rId4" Type="http://schemas.openxmlformats.org/officeDocument/2006/relationships/image" Target="../media/image2.png"/></Relationships>
</file>

<file path=ppt/slides/_rels/slide6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2.xml"/><Relationship Id="rId1" Type="http://schemas.openxmlformats.org/officeDocument/2006/relationships/slideLayout" Target="../slideLayouts/slideLayout2.xml"/><Relationship Id="rId6" Type="http://schemas.openxmlformats.org/officeDocument/2006/relationships/image" Target="../media/image66.jpeg"/><Relationship Id="rId5" Type="http://schemas.openxmlformats.org/officeDocument/2006/relationships/image" Target="../media/image5.png"/><Relationship Id="rId4" Type="http://schemas.openxmlformats.org/officeDocument/2006/relationships/image" Target="../media/image2.png"/></Relationships>
</file>

<file path=ppt/slides/_rels/slide6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3.xml"/><Relationship Id="rId1" Type="http://schemas.openxmlformats.org/officeDocument/2006/relationships/slideLayout" Target="../slideLayouts/slideLayout2.xml"/><Relationship Id="rId5" Type="http://schemas.openxmlformats.org/officeDocument/2006/relationships/image" Target="../media/image5.png"/><Relationship Id="rId4" Type="http://schemas.openxmlformats.org/officeDocument/2006/relationships/image" Target="../media/image2.png"/></Relationships>
</file>

<file path=ppt/slides/_rels/slide6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4.xml"/><Relationship Id="rId1" Type="http://schemas.openxmlformats.org/officeDocument/2006/relationships/slideLayout" Target="../slideLayouts/slideLayout2.xml"/><Relationship Id="rId5" Type="http://schemas.openxmlformats.org/officeDocument/2006/relationships/image" Target="../media/image5.png"/><Relationship Id="rId4" Type="http://schemas.openxmlformats.org/officeDocument/2006/relationships/image" Target="../media/image2.png"/></Relationships>
</file>

<file path=ppt/slides/_rels/slide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7.xml"/><Relationship Id="rId1" Type="http://schemas.openxmlformats.org/officeDocument/2006/relationships/slideLayout" Target="../slideLayouts/slideLayout1.xml"/><Relationship Id="rId5" Type="http://schemas.openxmlformats.org/officeDocument/2006/relationships/image" Target="../media/image5.png"/><Relationship Id="rId4" Type="http://schemas.openxmlformats.org/officeDocument/2006/relationships/image" Target="../media/image2.png"/></Relationships>
</file>

<file path=ppt/slides/_rels/slide7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Layout" Target="../slideLayouts/slideLayout2.xml"/><Relationship Id="rId4" Type="http://schemas.openxmlformats.org/officeDocument/2006/relationships/image" Target="../media/image5.png"/></Relationships>
</file>

<file path=ppt/slides/_rels/slide7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Layout" Target="../slideLayouts/slideLayout2.xml"/><Relationship Id="rId4" Type="http://schemas.openxmlformats.org/officeDocument/2006/relationships/image" Target="../media/image5.png"/></Relationships>
</file>

<file path=ppt/slides/_rels/slide7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5.xml"/><Relationship Id="rId1" Type="http://schemas.openxmlformats.org/officeDocument/2006/relationships/slideLayout" Target="../slideLayouts/slideLayout2.xml"/><Relationship Id="rId5" Type="http://schemas.openxmlformats.org/officeDocument/2006/relationships/image" Target="../media/image5.png"/><Relationship Id="rId4" Type="http://schemas.openxmlformats.org/officeDocument/2006/relationships/image" Target="../media/image2.png"/></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6.xml"/></Relationships>
</file>

<file path=ppt/slides/_rels/slide74.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image" Target="../media/image4.png"/><Relationship Id="rId7" Type="http://schemas.openxmlformats.org/officeDocument/2006/relationships/image" Target="../media/image68.png"/><Relationship Id="rId2" Type="http://schemas.openxmlformats.org/officeDocument/2006/relationships/notesSlide" Target="../notesSlides/notesSlide67.xml"/><Relationship Id="rId1" Type="http://schemas.openxmlformats.org/officeDocument/2006/relationships/slideLayout" Target="../slideLayouts/slideLayout7.xml"/><Relationship Id="rId6" Type="http://schemas.openxmlformats.org/officeDocument/2006/relationships/image" Target="../media/image67.png"/><Relationship Id="rId5" Type="http://schemas.openxmlformats.org/officeDocument/2006/relationships/image" Target="../media/image5.png"/><Relationship Id="rId4" Type="http://schemas.openxmlformats.org/officeDocument/2006/relationships/image" Target="../media/image2.png"/></Relationships>
</file>

<file path=ppt/slides/_rels/slide75.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71.png"/><Relationship Id="rId2" Type="http://schemas.openxmlformats.org/officeDocument/2006/relationships/notesSlide" Target="../notesSlides/notesSlide68.xml"/><Relationship Id="rId1" Type="http://schemas.openxmlformats.org/officeDocument/2006/relationships/slideLayout" Target="../slideLayouts/slideLayout7.xml"/><Relationship Id="rId6" Type="http://schemas.openxmlformats.org/officeDocument/2006/relationships/image" Target="../media/image70.png"/><Relationship Id="rId5" Type="http://schemas.openxmlformats.org/officeDocument/2006/relationships/image" Target="../media/image5.png"/><Relationship Id="rId4" Type="http://schemas.openxmlformats.org/officeDocument/2006/relationships/image" Target="../media/image2.png"/></Relationships>
</file>

<file path=ppt/slides/_rels/slide7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9.xml"/><Relationship Id="rId1" Type="http://schemas.openxmlformats.org/officeDocument/2006/relationships/slideLayout" Target="../slideLayouts/slideLayout2.xml"/><Relationship Id="rId5" Type="http://schemas.openxmlformats.org/officeDocument/2006/relationships/image" Target="../media/image2.png"/><Relationship Id="rId4" Type="http://schemas.openxmlformats.org/officeDocument/2006/relationships/image" Target="../media/image5.png"/></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6.xml"/></Relationships>
</file>

<file path=ppt/slides/_rels/slide7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71.xml"/><Relationship Id="rId1" Type="http://schemas.openxmlformats.org/officeDocument/2006/relationships/slideLayout" Target="../slideLayouts/slideLayout1.xml"/><Relationship Id="rId6" Type="http://schemas.openxmlformats.org/officeDocument/2006/relationships/image" Target="../media/image72.jpeg"/><Relationship Id="rId5" Type="http://schemas.openxmlformats.org/officeDocument/2006/relationships/image" Target="../media/image5.png"/><Relationship Id="rId4" Type="http://schemas.openxmlformats.org/officeDocument/2006/relationships/image" Target="../media/image2.png"/></Relationships>
</file>

<file path=ppt/slides/_rels/slide8.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8.svg"/><Relationship Id="rId2" Type="http://schemas.openxmlformats.org/officeDocument/2006/relationships/notesSlide" Target="../notesSlides/notesSlide8.xml"/><Relationship Id="rId1" Type="http://schemas.openxmlformats.org/officeDocument/2006/relationships/slideLayout" Target="../slideLayouts/slideLayout1.xml"/><Relationship Id="rId6" Type="http://schemas.openxmlformats.org/officeDocument/2006/relationships/image" Target="../media/image7.png"/><Relationship Id="rId5" Type="http://schemas.openxmlformats.org/officeDocument/2006/relationships/image" Target="../media/image5.png"/><Relationship Id="rId4" Type="http://schemas.openxmlformats.org/officeDocument/2006/relationships/image" Target="../media/image2.png"/></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6.xml"/></Relationships>
</file>

<file path=ppt/slides/_rels/slide8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73.xml"/><Relationship Id="rId1" Type="http://schemas.openxmlformats.org/officeDocument/2006/relationships/slideLayout" Target="../slideLayouts/slideLayout1.xml"/><Relationship Id="rId5" Type="http://schemas.openxmlformats.org/officeDocument/2006/relationships/image" Target="../media/image5.png"/><Relationship Id="rId4" Type="http://schemas.openxmlformats.org/officeDocument/2006/relationships/image" Target="../media/image2.png"/></Relationships>
</file>

<file path=ppt/slides/_rels/slide8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74.xml"/><Relationship Id="rId1" Type="http://schemas.openxmlformats.org/officeDocument/2006/relationships/slideLayout" Target="../slideLayouts/slideLayout1.xml"/><Relationship Id="rId6" Type="http://schemas.openxmlformats.org/officeDocument/2006/relationships/image" Target="../media/image73.png"/><Relationship Id="rId5" Type="http://schemas.openxmlformats.org/officeDocument/2006/relationships/image" Target="../media/image5.png"/><Relationship Id="rId4" Type="http://schemas.openxmlformats.org/officeDocument/2006/relationships/image" Target="../media/image2.png"/></Relationships>
</file>

<file path=ppt/slides/_rels/slide83.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75.png"/><Relationship Id="rId2" Type="http://schemas.openxmlformats.org/officeDocument/2006/relationships/notesSlide" Target="../notesSlides/notesSlide75.xml"/><Relationship Id="rId1" Type="http://schemas.openxmlformats.org/officeDocument/2006/relationships/slideLayout" Target="../slideLayouts/slideLayout1.xml"/><Relationship Id="rId6" Type="http://schemas.openxmlformats.org/officeDocument/2006/relationships/image" Target="../media/image74.png"/><Relationship Id="rId5" Type="http://schemas.openxmlformats.org/officeDocument/2006/relationships/image" Target="../media/image5.png"/><Relationship Id="rId4" Type="http://schemas.openxmlformats.org/officeDocument/2006/relationships/image" Target="../media/image2.png"/></Relationships>
</file>

<file path=ppt/slides/_rels/slide84.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77.png"/><Relationship Id="rId2" Type="http://schemas.openxmlformats.org/officeDocument/2006/relationships/notesSlide" Target="../notesSlides/notesSlide76.xml"/><Relationship Id="rId1" Type="http://schemas.openxmlformats.org/officeDocument/2006/relationships/slideLayout" Target="../slideLayouts/slideLayout1.xml"/><Relationship Id="rId6" Type="http://schemas.openxmlformats.org/officeDocument/2006/relationships/image" Target="../media/image76.png"/><Relationship Id="rId5" Type="http://schemas.openxmlformats.org/officeDocument/2006/relationships/image" Target="../media/image5.png"/><Relationship Id="rId4" Type="http://schemas.openxmlformats.org/officeDocument/2006/relationships/image" Target="../media/image2.png"/></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6.xml"/></Relationships>
</file>

<file path=ppt/slides/_rels/slide8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78.xml"/><Relationship Id="rId1" Type="http://schemas.openxmlformats.org/officeDocument/2006/relationships/slideLayout" Target="../slideLayouts/slideLayout7.xml"/><Relationship Id="rId6" Type="http://schemas.openxmlformats.org/officeDocument/2006/relationships/image" Target="../media/image78.jpeg"/><Relationship Id="rId5" Type="http://schemas.openxmlformats.org/officeDocument/2006/relationships/image" Target="../media/image5.png"/><Relationship Id="rId4" Type="http://schemas.openxmlformats.org/officeDocument/2006/relationships/image" Target="../media/image2.png"/></Relationships>
</file>

<file path=ppt/slides/_rels/slide8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79.xml"/><Relationship Id="rId1" Type="http://schemas.openxmlformats.org/officeDocument/2006/relationships/slideLayout" Target="../slideLayouts/slideLayout7.xml"/><Relationship Id="rId6" Type="http://schemas.openxmlformats.org/officeDocument/2006/relationships/image" Target="../media/image16.jpeg"/><Relationship Id="rId5" Type="http://schemas.openxmlformats.org/officeDocument/2006/relationships/image" Target="../media/image5.png"/><Relationship Id="rId4" Type="http://schemas.openxmlformats.org/officeDocument/2006/relationships/image" Target="../media/image2.png"/></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6.xml"/></Relationships>
</file>

<file path=ppt/slides/_rels/slide8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81.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image" Target="../media/image2.png"/></Relationships>
</file>

<file path=ppt/slides/_rels/slide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9.xml"/><Relationship Id="rId1" Type="http://schemas.openxmlformats.org/officeDocument/2006/relationships/slideLayout" Target="../slideLayouts/slideLayout1.xml"/><Relationship Id="rId5" Type="http://schemas.openxmlformats.org/officeDocument/2006/relationships/image" Target="../media/image5.png"/><Relationship Id="rId4" Type="http://schemas.openxmlformats.org/officeDocument/2006/relationships/image" Target="../media/image2.png"/></Relationships>
</file>

<file path=ppt/slides/_rels/slide9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82.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image" Target="../media/image2.png"/></Relationships>
</file>

<file path=ppt/slides/_rels/slide9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83.xml"/><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image" Target="../media/image2.png"/></Relationships>
</file>

<file path=ppt/slides/_rels/slide92.x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slide" Target="slide97.xml"/><Relationship Id="rId18" Type="http://schemas.openxmlformats.org/officeDocument/2006/relationships/hyperlink" Target="https://retrofeed.eu/ceramic-sector/" TargetMode="External"/><Relationship Id="rId3" Type="http://schemas.openxmlformats.org/officeDocument/2006/relationships/image" Target="../media/image4.png"/><Relationship Id="rId7" Type="http://schemas.openxmlformats.org/officeDocument/2006/relationships/slide" Target="slide99.xml"/><Relationship Id="rId12" Type="http://schemas.openxmlformats.org/officeDocument/2006/relationships/image" Target="../media/image21.png"/><Relationship Id="rId17" Type="http://schemas.openxmlformats.org/officeDocument/2006/relationships/slide" Target="slide24.xml"/><Relationship Id="rId2" Type="http://schemas.openxmlformats.org/officeDocument/2006/relationships/notesSlide" Target="../notesSlides/notesSlide84.xml"/><Relationship Id="rId16" Type="http://schemas.openxmlformats.org/officeDocument/2006/relationships/image" Target="../media/image23.png"/><Relationship Id="rId1" Type="http://schemas.openxmlformats.org/officeDocument/2006/relationships/slideLayout" Target="../slideLayouts/slideLayout1.xml"/><Relationship Id="rId6" Type="http://schemas.openxmlformats.org/officeDocument/2006/relationships/image" Target="../media/image18.png"/><Relationship Id="rId11" Type="http://schemas.openxmlformats.org/officeDocument/2006/relationships/slide" Target="slide95.xml"/><Relationship Id="rId5" Type="http://schemas.openxmlformats.org/officeDocument/2006/relationships/image" Target="../media/image5.png"/><Relationship Id="rId15" Type="http://schemas.openxmlformats.org/officeDocument/2006/relationships/slide" Target="slide17.xml"/><Relationship Id="rId10" Type="http://schemas.openxmlformats.org/officeDocument/2006/relationships/image" Target="../media/image20.png"/><Relationship Id="rId19" Type="http://schemas.openxmlformats.org/officeDocument/2006/relationships/image" Target="../media/image24.png"/><Relationship Id="rId4" Type="http://schemas.openxmlformats.org/officeDocument/2006/relationships/image" Target="../media/image2.png"/><Relationship Id="rId9" Type="http://schemas.openxmlformats.org/officeDocument/2006/relationships/slide" Target="slide96.xml"/><Relationship Id="rId14" Type="http://schemas.openxmlformats.org/officeDocument/2006/relationships/image" Target="../media/image22.png"/></Relationships>
</file>

<file path=ppt/slides/_rels/slide93.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79.png"/><Relationship Id="rId2" Type="http://schemas.openxmlformats.org/officeDocument/2006/relationships/notesSlide" Target="../notesSlides/notesSlide85.xml"/><Relationship Id="rId1" Type="http://schemas.openxmlformats.org/officeDocument/2006/relationships/slideLayout" Target="../slideLayouts/slideLayout2.xml"/><Relationship Id="rId6" Type="http://schemas.openxmlformats.org/officeDocument/2006/relationships/image" Target="../media/image26.emf"/><Relationship Id="rId5" Type="http://schemas.openxmlformats.org/officeDocument/2006/relationships/image" Target="../media/image5.png"/><Relationship Id="rId4" Type="http://schemas.openxmlformats.org/officeDocument/2006/relationships/image" Target="../media/image2.png"/></Relationships>
</file>

<file path=ppt/slides/_rels/slide94.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80.png"/><Relationship Id="rId2" Type="http://schemas.openxmlformats.org/officeDocument/2006/relationships/notesSlide" Target="../notesSlides/notesSlide86.xml"/><Relationship Id="rId1" Type="http://schemas.openxmlformats.org/officeDocument/2006/relationships/slideLayout" Target="../slideLayouts/slideLayout2.xml"/><Relationship Id="rId6" Type="http://schemas.openxmlformats.org/officeDocument/2006/relationships/image" Target="../media/image36.emf"/><Relationship Id="rId5" Type="http://schemas.openxmlformats.org/officeDocument/2006/relationships/image" Target="../media/image5.png"/><Relationship Id="rId4" Type="http://schemas.openxmlformats.org/officeDocument/2006/relationships/image" Target="../media/image2.png"/></Relationships>
</file>

<file path=ppt/slides/_rels/slide95.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81.png"/><Relationship Id="rId2" Type="http://schemas.openxmlformats.org/officeDocument/2006/relationships/notesSlide" Target="../notesSlides/notesSlide87.xml"/><Relationship Id="rId1" Type="http://schemas.openxmlformats.org/officeDocument/2006/relationships/slideLayout" Target="../slideLayouts/slideLayout2.xml"/><Relationship Id="rId6" Type="http://schemas.openxmlformats.org/officeDocument/2006/relationships/image" Target="../media/image51.png"/><Relationship Id="rId5" Type="http://schemas.openxmlformats.org/officeDocument/2006/relationships/image" Target="../media/image5.png"/><Relationship Id="rId4" Type="http://schemas.openxmlformats.org/officeDocument/2006/relationships/image" Target="../media/image2.png"/></Relationships>
</file>

<file path=ppt/slides/_rels/slide96.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82.png"/><Relationship Id="rId2" Type="http://schemas.openxmlformats.org/officeDocument/2006/relationships/notesSlide" Target="../notesSlides/notesSlide88.xml"/><Relationship Id="rId1" Type="http://schemas.openxmlformats.org/officeDocument/2006/relationships/slideLayout" Target="../slideLayouts/slideLayout2.xml"/><Relationship Id="rId6" Type="http://schemas.openxmlformats.org/officeDocument/2006/relationships/image" Target="../media/image58.jpeg"/><Relationship Id="rId5" Type="http://schemas.openxmlformats.org/officeDocument/2006/relationships/image" Target="../media/image5.png"/><Relationship Id="rId4" Type="http://schemas.openxmlformats.org/officeDocument/2006/relationships/image" Target="../media/image2.png"/></Relationships>
</file>

<file path=ppt/slides/_rels/slide97.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84.png"/><Relationship Id="rId2" Type="http://schemas.openxmlformats.org/officeDocument/2006/relationships/notesSlide" Target="../notesSlides/notesSlide89.xml"/><Relationship Id="rId1" Type="http://schemas.openxmlformats.org/officeDocument/2006/relationships/slideLayout" Target="../slideLayouts/slideLayout2.xml"/><Relationship Id="rId6" Type="http://schemas.openxmlformats.org/officeDocument/2006/relationships/image" Target="../media/image83.png"/><Relationship Id="rId5" Type="http://schemas.openxmlformats.org/officeDocument/2006/relationships/image" Target="../media/image5.png"/><Relationship Id="rId4" Type="http://schemas.openxmlformats.org/officeDocument/2006/relationships/image" Target="../media/image2.png"/></Relationships>
</file>

<file path=ppt/slides/_rels/slide9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90.xml"/><Relationship Id="rId1" Type="http://schemas.openxmlformats.org/officeDocument/2006/relationships/slideLayout" Target="../slideLayouts/slideLayout2.xml"/><Relationship Id="rId5" Type="http://schemas.openxmlformats.org/officeDocument/2006/relationships/image" Target="../media/image5.png"/><Relationship Id="rId4" Type="http://schemas.openxmlformats.org/officeDocument/2006/relationships/image" Target="../media/image2.png"/></Relationships>
</file>

<file path=ppt/slides/_rels/slide9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91.xml"/><Relationship Id="rId1" Type="http://schemas.openxmlformats.org/officeDocument/2006/relationships/slideLayout" Target="../slideLayouts/slideLayout2.xml"/><Relationship Id="rId6" Type="http://schemas.openxmlformats.org/officeDocument/2006/relationships/image" Target="../media/image85.jpeg"/><Relationship Id="rId5" Type="http://schemas.openxmlformats.org/officeDocument/2006/relationships/image" Target="../media/image5.png"/><Relationship Id="rId4" Type="http://schemas.openxmlformats.org/officeDocument/2006/relationships/image" Target="../media/image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magine 2">
            <a:extLst>
              <a:ext uri="{FF2B5EF4-FFF2-40B4-BE49-F238E27FC236}">
                <a16:creationId xmlns:a16="http://schemas.microsoft.com/office/drawing/2014/main" id="{441DA3B9-0C72-4483-A665-28209E2E1DC2}"/>
              </a:ext>
            </a:extLst>
          </p:cNvPr>
          <p:cNvPicPr>
            <a:picLocks noChangeAspect="1"/>
          </p:cNvPicPr>
          <p:nvPr/>
        </p:nvPicPr>
        <p:blipFill rotWithShape="1">
          <a:blip r:embed="rId3">
            <a:extLst>
              <a:ext uri="{28A0092B-C50C-407E-A947-70E740481C1C}">
                <a14:useLocalDpi xmlns:a14="http://schemas.microsoft.com/office/drawing/2010/main" val="0"/>
              </a:ext>
            </a:extLst>
          </a:blip>
          <a:srcRect l="6104" t="4896"/>
          <a:stretch/>
        </p:blipFill>
        <p:spPr>
          <a:xfrm>
            <a:off x="-12" y="-184777"/>
            <a:ext cx="10022108" cy="9783308"/>
          </a:xfrm>
          <a:prstGeom prst="rect">
            <a:avLst/>
          </a:prstGeom>
        </p:spPr>
      </p:pic>
      <p:grpSp>
        <p:nvGrpSpPr>
          <p:cNvPr id="76" name="Gruppo 75">
            <a:extLst>
              <a:ext uri="{FF2B5EF4-FFF2-40B4-BE49-F238E27FC236}">
                <a16:creationId xmlns:a16="http://schemas.microsoft.com/office/drawing/2014/main" id="{9C6CA554-4B27-43D2-86FE-DE164A51C014}"/>
              </a:ext>
            </a:extLst>
          </p:cNvPr>
          <p:cNvGrpSpPr/>
          <p:nvPr/>
        </p:nvGrpSpPr>
        <p:grpSpPr>
          <a:xfrm>
            <a:off x="1810139" y="1483568"/>
            <a:ext cx="15068939" cy="4440126"/>
            <a:chOff x="609952" y="1705940"/>
            <a:chExt cx="17534983" cy="4240764"/>
          </a:xfrm>
        </p:grpSpPr>
        <p:sp>
          <p:nvSpPr>
            <p:cNvPr id="55" name="TextBox 11">
              <a:extLst>
                <a:ext uri="{FF2B5EF4-FFF2-40B4-BE49-F238E27FC236}">
                  <a16:creationId xmlns:a16="http://schemas.microsoft.com/office/drawing/2014/main" id="{7CC37BFA-A529-46A3-AFA7-28FF89C1034E}"/>
                </a:ext>
              </a:extLst>
            </p:cNvPr>
            <p:cNvSpPr txBox="1"/>
            <p:nvPr/>
          </p:nvSpPr>
          <p:spPr>
            <a:xfrm>
              <a:off x="609952" y="1705940"/>
              <a:ext cx="17534983" cy="705498"/>
            </a:xfrm>
            <a:prstGeom prst="rect">
              <a:avLst/>
            </a:prstGeom>
          </p:spPr>
          <p:txBody>
            <a:bodyPr wrap="square" lIns="0" tIns="0" rIns="0" bIns="0" rtlCol="0" anchor="t">
              <a:spAutoFit/>
            </a:bodyPr>
            <a:lstStyle/>
            <a:p>
              <a:pPr algn="ctr">
                <a:spcBef>
                  <a:spcPct val="0"/>
                </a:spcBef>
              </a:pPr>
              <a:r>
                <a:rPr lang="en-US" sz="4800" b="1" dirty="0">
                  <a:solidFill>
                    <a:schemeClr val="accent3">
                      <a:lumMod val="50000"/>
                    </a:schemeClr>
                  </a:solidFill>
                  <a:latin typeface="Arial" panose="020B0604020202020204" pitchFamily="34" charset="0"/>
                  <a:cs typeface="Arial" panose="020B0604020202020204" pitchFamily="34" charset="0"/>
                </a:rPr>
                <a:t>Reconstructing the Industry of Tomorrow</a:t>
              </a:r>
            </a:p>
          </p:txBody>
        </p:sp>
        <p:sp>
          <p:nvSpPr>
            <p:cNvPr id="56" name="TextBox 15">
              <a:extLst>
                <a:ext uri="{FF2B5EF4-FFF2-40B4-BE49-F238E27FC236}">
                  <a16:creationId xmlns:a16="http://schemas.microsoft.com/office/drawing/2014/main" id="{379C5BF7-0317-4228-919F-CF21A2A8797F}"/>
                </a:ext>
              </a:extLst>
            </p:cNvPr>
            <p:cNvSpPr txBox="1"/>
            <p:nvPr/>
          </p:nvSpPr>
          <p:spPr>
            <a:xfrm>
              <a:off x="1784379" y="3611886"/>
              <a:ext cx="15871965" cy="2334818"/>
            </a:xfrm>
            <a:prstGeom prst="rect">
              <a:avLst/>
            </a:prstGeom>
          </p:spPr>
          <p:txBody>
            <a:bodyPr wrap="square" lIns="0" tIns="0" rIns="0" bIns="0" rtlCol="0" anchor="t">
              <a:spAutoFit/>
            </a:bodyPr>
            <a:lstStyle/>
            <a:p>
              <a:pPr algn="ctr">
                <a:lnSpc>
                  <a:spcPts val="6719"/>
                </a:lnSpc>
                <a:spcBef>
                  <a:spcPct val="0"/>
                </a:spcBef>
              </a:pPr>
              <a:r>
                <a:rPr lang="en-US" sz="4400" b="1" dirty="0">
                  <a:solidFill>
                    <a:schemeClr val="tx1">
                      <a:lumMod val="90000"/>
                      <a:lumOff val="10000"/>
                    </a:schemeClr>
                  </a:solidFill>
                  <a:latin typeface="Arial" panose="020B0604020202020204" pitchFamily="34" charset="0"/>
                  <a:cs typeface="Arial" panose="020B0604020202020204" pitchFamily="34" charset="0"/>
                </a:rPr>
                <a:t>Material for Master Students</a:t>
              </a:r>
            </a:p>
            <a:p>
              <a:pPr algn="ctr">
                <a:lnSpc>
                  <a:spcPts val="6719"/>
                </a:lnSpc>
                <a:spcBef>
                  <a:spcPct val="0"/>
                </a:spcBef>
              </a:pPr>
              <a:endParaRPr lang="en-US" sz="4400" dirty="0">
                <a:solidFill>
                  <a:schemeClr val="tx1">
                    <a:lumMod val="90000"/>
                    <a:lumOff val="10000"/>
                  </a:schemeClr>
                </a:solidFill>
                <a:latin typeface="Arial" panose="020B0604020202020204" pitchFamily="34" charset="0"/>
                <a:cs typeface="Arial" panose="020B0604020202020204" pitchFamily="34" charset="0"/>
              </a:endParaRPr>
            </a:p>
            <a:p>
              <a:pPr algn="ctr">
                <a:lnSpc>
                  <a:spcPts val="6719"/>
                </a:lnSpc>
                <a:spcBef>
                  <a:spcPct val="0"/>
                </a:spcBef>
              </a:pPr>
              <a:r>
                <a:rPr lang="en-US" sz="1600" i="1" dirty="0">
                  <a:solidFill>
                    <a:schemeClr val="tx1">
                      <a:lumMod val="90000"/>
                      <a:lumOff val="10000"/>
                    </a:schemeClr>
                  </a:solidFill>
                  <a:latin typeface="Arial" panose="020B0604020202020204" pitchFamily="34" charset="0"/>
                  <a:cs typeface="Arial" panose="020B0604020202020204" pitchFamily="34" charset="0"/>
                </a:rPr>
                <a:t>Material prepared by IVL Swedish Environmental Research Institute, June 2023</a:t>
              </a:r>
            </a:p>
          </p:txBody>
        </p:sp>
      </p:grpSp>
      <p:pic>
        <p:nvPicPr>
          <p:cNvPr id="53" name="Picture 12">
            <a:extLst>
              <a:ext uri="{FF2B5EF4-FFF2-40B4-BE49-F238E27FC236}">
                <a16:creationId xmlns:a16="http://schemas.microsoft.com/office/drawing/2014/main" id="{4EA0BAAC-35A4-425A-9809-9B5713CA3708}"/>
              </a:ext>
            </a:extLst>
          </p:cNvPr>
          <p:cNvPicPr>
            <a:picLocks noChangeAspect="1"/>
          </p:cNvPicPr>
          <p:nvPr/>
        </p:nvPicPr>
        <p:blipFill>
          <a:blip r:embed="rId4"/>
          <a:srcRect/>
          <a:stretch>
            <a:fillRect/>
          </a:stretch>
        </p:blipFill>
        <p:spPr>
          <a:xfrm>
            <a:off x="4875931" y="6982889"/>
            <a:ext cx="8632343" cy="2093343"/>
          </a:xfrm>
          <a:prstGeom prst="rect">
            <a:avLst/>
          </a:prstGeom>
        </p:spPr>
      </p:pic>
      <p:sp>
        <p:nvSpPr>
          <p:cNvPr id="71" name="Rettangolo 70">
            <a:extLst>
              <a:ext uri="{FF2B5EF4-FFF2-40B4-BE49-F238E27FC236}">
                <a16:creationId xmlns:a16="http://schemas.microsoft.com/office/drawing/2014/main" id="{10FC14AB-FB8D-4D79-84DC-B79A92AE6646}"/>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65" name="Gruppo 64">
            <a:extLst>
              <a:ext uri="{FF2B5EF4-FFF2-40B4-BE49-F238E27FC236}">
                <a16:creationId xmlns:a16="http://schemas.microsoft.com/office/drawing/2014/main" id="{FCA62429-7D1B-4E79-8853-15ACACDC1B11}"/>
              </a:ext>
            </a:extLst>
          </p:cNvPr>
          <p:cNvGrpSpPr/>
          <p:nvPr/>
        </p:nvGrpSpPr>
        <p:grpSpPr>
          <a:xfrm>
            <a:off x="-12" y="9302865"/>
            <a:ext cx="18288002" cy="1036082"/>
            <a:chOff x="-2" y="9250919"/>
            <a:chExt cx="18288002" cy="1036082"/>
          </a:xfrm>
          <a:solidFill>
            <a:srgbClr val="CC0033"/>
          </a:solidFill>
        </p:grpSpPr>
        <p:sp>
          <p:nvSpPr>
            <p:cNvPr id="66" name="Rettangolo 65">
              <a:extLst>
                <a:ext uri="{FF2B5EF4-FFF2-40B4-BE49-F238E27FC236}">
                  <a16:creationId xmlns:a16="http://schemas.microsoft.com/office/drawing/2014/main" id="{5A854A0A-57CD-453C-8B3A-837AB97DBE65}"/>
                </a:ext>
              </a:extLst>
            </p:cNvPr>
            <p:cNvSpPr/>
            <p:nvPr/>
          </p:nvSpPr>
          <p:spPr>
            <a:xfrm>
              <a:off x="-2" y="9250919"/>
              <a:ext cx="18288002" cy="1036082"/>
            </a:xfrm>
            <a:prstGeom prst="rect">
              <a:avLst/>
            </a:prstGeom>
            <a:solidFill>
              <a:srgbClr val="CC00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7" name="TextBox 7">
              <a:extLst>
                <a:ext uri="{FF2B5EF4-FFF2-40B4-BE49-F238E27FC236}">
                  <a16:creationId xmlns:a16="http://schemas.microsoft.com/office/drawing/2014/main" id="{0B17CA56-CEBA-4C41-81C4-CFB18A63A033}"/>
                </a:ext>
              </a:extLst>
            </p:cNvPr>
            <p:cNvSpPr txBox="1"/>
            <p:nvPr/>
          </p:nvSpPr>
          <p:spPr>
            <a:xfrm>
              <a:off x="1600210" y="9532817"/>
              <a:ext cx="7330144" cy="492443"/>
            </a:xfrm>
            <a:prstGeom prst="rect">
              <a:avLst/>
            </a:prstGeom>
            <a:grpFill/>
          </p:spPr>
          <p:txBody>
            <a:bodyPr wrap="square" lIns="0" tIns="0" rIns="0" bIns="0" rtlCol="0" anchor="ctr">
              <a:spAutoFit/>
            </a:bodyPr>
            <a:lstStyle/>
            <a:p>
              <a:pPr algn="just">
                <a:spcBef>
                  <a:spcPct val="0"/>
                </a:spcBef>
              </a:pPr>
              <a:r>
                <a:rPr lang="en-US" sz="1600" dirty="0">
                  <a:solidFill>
                    <a:schemeClr val="bg1"/>
                  </a:solidFill>
                  <a:latin typeface="Arial" panose="020B0604020202020204" pitchFamily="34" charset="0"/>
                  <a:cs typeface="Arial" panose="020B0604020202020204" pitchFamily="34" charset="0"/>
                </a:rPr>
                <a:t>This project has received funding from the European Union’s Horizon 2020 research and innovation </a:t>
              </a:r>
              <a:r>
                <a:rPr lang="en-US" sz="1600" dirty="0" err="1">
                  <a:solidFill>
                    <a:schemeClr val="bg1"/>
                  </a:solidFill>
                  <a:latin typeface="Arial" panose="020B0604020202020204" pitchFamily="34" charset="0"/>
                  <a:cs typeface="Arial" panose="020B0604020202020204" pitchFamily="34" charset="0"/>
                </a:rPr>
                <a:t>programme</a:t>
              </a:r>
              <a:r>
                <a:rPr lang="en-US" sz="1600">
                  <a:solidFill>
                    <a:schemeClr val="bg1"/>
                  </a:solidFill>
                  <a:latin typeface="Arial" panose="020B0604020202020204" pitchFamily="34" charset="0"/>
                  <a:cs typeface="Arial" panose="020B0604020202020204" pitchFamily="34" charset="0"/>
                </a:rPr>
                <a:t> under grant agreement No 869939. </a:t>
              </a:r>
            </a:p>
          </p:txBody>
        </p:sp>
        <p:pic>
          <p:nvPicPr>
            <p:cNvPr id="68" name="Immagine 67" descr="Immagine che contiene volando, aeroplano, aria, uccello&#10;&#10;Descrizione generata automaticamente">
              <a:extLst>
                <a:ext uri="{FF2B5EF4-FFF2-40B4-BE49-F238E27FC236}">
                  <a16:creationId xmlns:a16="http://schemas.microsoft.com/office/drawing/2014/main" id="{FB1C4E41-9E3E-42BC-828E-439A9AB061A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13843" y="9427559"/>
              <a:ext cx="1002238" cy="668941"/>
            </a:xfrm>
            <a:prstGeom prst="rect">
              <a:avLst/>
            </a:prstGeom>
            <a:grpFill/>
          </p:spPr>
        </p:pic>
        <p:cxnSp>
          <p:nvCxnSpPr>
            <p:cNvPr id="69" name="Connettore diritto 68">
              <a:extLst>
                <a:ext uri="{FF2B5EF4-FFF2-40B4-BE49-F238E27FC236}">
                  <a16:creationId xmlns:a16="http://schemas.microsoft.com/office/drawing/2014/main" id="{09F6F706-1142-4E1F-81C1-EFD6EA412DCA}"/>
                </a:ext>
              </a:extLst>
            </p:cNvPr>
            <p:cNvCxnSpPr>
              <a:cxnSpLocks/>
            </p:cNvCxnSpPr>
            <p:nvPr/>
          </p:nvCxnSpPr>
          <p:spPr>
            <a:xfrm>
              <a:off x="9192113" y="9492352"/>
              <a:ext cx="0" cy="622031"/>
            </a:xfrm>
            <a:prstGeom prst="line">
              <a:avLst/>
            </a:prstGeom>
            <a:grpFill/>
            <a:ln w="38100">
              <a:solidFill>
                <a:schemeClr val="bg1"/>
              </a:solidFill>
            </a:ln>
          </p:spPr>
          <p:style>
            <a:lnRef idx="1">
              <a:schemeClr val="dk1"/>
            </a:lnRef>
            <a:fillRef idx="0">
              <a:schemeClr val="dk1"/>
            </a:fillRef>
            <a:effectRef idx="0">
              <a:schemeClr val="dk1"/>
            </a:effectRef>
            <a:fontRef idx="minor">
              <a:schemeClr val="tx1"/>
            </a:fontRef>
          </p:style>
        </p:cxnSp>
        <p:sp>
          <p:nvSpPr>
            <p:cNvPr id="70" name="TextBox 7">
              <a:extLst>
                <a:ext uri="{FF2B5EF4-FFF2-40B4-BE49-F238E27FC236}">
                  <a16:creationId xmlns:a16="http://schemas.microsoft.com/office/drawing/2014/main" id="{6E1F42DC-3E6D-4C38-9E68-A5BB982D5CAE}"/>
                </a:ext>
              </a:extLst>
            </p:cNvPr>
            <p:cNvSpPr txBox="1"/>
            <p:nvPr/>
          </p:nvSpPr>
          <p:spPr>
            <a:xfrm>
              <a:off x="12336284" y="9546585"/>
              <a:ext cx="3637538" cy="430887"/>
            </a:xfrm>
            <a:prstGeom prst="rect">
              <a:avLst/>
            </a:prstGeom>
            <a:grpFill/>
          </p:spPr>
          <p:txBody>
            <a:bodyPr wrap="square" lIns="0" tIns="0" rIns="0" bIns="0" rtlCol="0" anchor="ctr">
              <a:spAutoFit/>
            </a:bodyPr>
            <a:lstStyle/>
            <a:p>
              <a:pPr>
                <a:spcBef>
                  <a:spcPct val="0"/>
                </a:spcBef>
              </a:pPr>
              <a:r>
                <a:rPr lang="en-US" sz="2800" b="1">
                  <a:solidFill>
                    <a:schemeClr val="bg1"/>
                  </a:solidFill>
                  <a:latin typeface="OCR A Extended" panose="02010509020102010303" pitchFamily="50" charset="0"/>
                  <a:cs typeface="Arial" panose="020B0604020202020204" pitchFamily="34" charset="0"/>
                </a:rPr>
                <a:t>www.retrofeed.eu</a:t>
              </a:r>
            </a:p>
          </p:txBody>
        </p:sp>
      </p:grpSp>
      <p:sp>
        <p:nvSpPr>
          <p:cNvPr id="4" name="TextBox 3">
            <a:extLst>
              <a:ext uri="{FF2B5EF4-FFF2-40B4-BE49-F238E27FC236}">
                <a16:creationId xmlns:a16="http://schemas.microsoft.com/office/drawing/2014/main" id="{37D5D562-4805-1036-F1E7-3159D6350061}"/>
              </a:ext>
            </a:extLst>
          </p:cNvPr>
          <p:cNvSpPr txBox="1"/>
          <p:nvPr/>
        </p:nvSpPr>
        <p:spPr>
          <a:xfrm>
            <a:off x="3086089" y="8493238"/>
            <a:ext cx="12115800" cy="789319"/>
          </a:xfrm>
          <a:prstGeom prst="rect">
            <a:avLst/>
          </a:prstGeom>
          <a:noFill/>
        </p:spPr>
        <p:txBody>
          <a:bodyPr wrap="square">
            <a:spAutoFit/>
          </a:bodyPr>
          <a:lstStyle/>
          <a:p>
            <a:pPr algn="ctr">
              <a:lnSpc>
                <a:spcPts val="6719"/>
              </a:lnSpc>
              <a:spcBef>
                <a:spcPct val="0"/>
              </a:spcBef>
            </a:pPr>
            <a:r>
              <a:rPr lang="en-US" sz="1800" i="1">
                <a:solidFill>
                  <a:schemeClr val="accent1"/>
                </a:solidFill>
                <a:latin typeface="Arial" panose="020B0604020202020204" pitchFamily="34" charset="0"/>
                <a:cs typeface="Arial" panose="020B0604020202020204" pitchFamily="34" charset="0"/>
              </a:rPr>
              <a:t>*Please note that this material should not be shared further unless </a:t>
            </a:r>
            <a:r>
              <a:rPr lang="en-US" i="1">
                <a:solidFill>
                  <a:schemeClr val="accent1"/>
                </a:solidFill>
                <a:latin typeface="Arial" panose="020B0604020202020204" pitchFamily="34" charset="0"/>
                <a:cs typeface="Arial" panose="020B0604020202020204" pitchFamily="34" charset="0"/>
              </a:rPr>
              <a:t>approved by </a:t>
            </a:r>
            <a:r>
              <a:rPr lang="en-US" sz="1800" i="1">
                <a:solidFill>
                  <a:schemeClr val="accent1"/>
                </a:solidFill>
                <a:latin typeface="Arial" panose="020B0604020202020204" pitchFamily="34" charset="0"/>
                <a:cs typeface="Arial" panose="020B0604020202020204" pitchFamily="34" charset="0"/>
              </a:rPr>
              <a:t>RETROFEED Project Partners.</a:t>
            </a:r>
          </a:p>
        </p:txBody>
      </p:sp>
    </p:spTree>
    <p:extLst>
      <p:ext uri="{BB962C8B-B14F-4D97-AF65-F5344CB8AC3E}">
        <p14:creationId xmlns:p14="http://schemas.microsoft.com/office/powerpoint/2010/main" val="147287121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a:extLst>
              <a:ext uri="{FF2B5EF4-FFF2-40B4-BE49-F238E27FC236}">
                <a16:creationId xmlns:a16="http://schemas.microsoft.com/office/drawing/2014/main" id="{98799FA6-242B-4FD5-B9E0-83122CE6C004}"/>
              </a:ext>
            </a:extLst>
          </p:cNvPr>
          <p:cNvGrpSpPr/>
          <p:nvPr/>
        </p:nvGrpSpPr>
        <p:grpSpPr>
          <a:xfrm>
            <a:off x="4329146" y="9708434"/>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marL="0" marR="0" lvl="0" indent="0" algn="ctr" defTabSz="914400" rtl="0" eaLnBrk="1" fontAlgn="auto" latinLnBrk="0" hangingPunct="1">
                <a:lnSpc>
                  <a:spcPts val="3919"/>
                </a:lnSpc>
                <a:spcBef>
                  <a:spcPct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OCR A Extended" panose="02010509020102010303" pitchFamily="50" charset="0"/>
                  <a:ea typeface="+mn-ea"/>
                  <a:cs typeface="+mn-cs"/>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4"/>
          <a:srcRect/>
          <a:stretch>
            <a:fillRect/>
          </a:stretch>
        </p:blipFill>
        <p:spPr>
          <a:xfrm>
            <a:off x="0" y="8901113"/>
            <a:ext cx="5715000" cy="1385887"/>
          </a:xfrm>
          <a:prstGeom prst="rect">
            <a:avLst/>
          </a:prstGeom>
        </p:spPr>
      </p:pic>
      <p:grpSp>
        <p:nvGrpSpPr>
          <p:cNvPr id="3" name="Gruppo 2">
            <a:extLst>
              <a:ext uri="{FF2B5EF4-FFF2-40B4-BE49-F238E27FC236}">
                <a16:creationId xmlns:a16="http://schemas.microsoft.com/office/drawing/2014/main" id="{1C29CBCA-BE0A-4EF6-AC69-329941E1DCFD}"/>
              </a:ext>
            </a:extLst>
          </p:cNvPr>
          <p:cNvGrpSpPr/>
          <p:nvPr/>
        </p:nvGrpSpPr>
        <p:grpSpPr>
          <a:xfrm>
            <a:off x="-12" y="138554"/>
            <a:ext cx="18288002" cy="681138"/>
            <a:chOff x="-12" y="138554"/>
            <a:chExt cx="18288002" cy="681138"/>
          </a:xfrm>
        </p:grpSpPr>
        <p:grpSp>
          <p:nvGrpSpPr>
            <p:cNvPr id="2" name="Gruppo 1">
              <a:extLst>
                <a:ext uri="{FF2B5EF4-FFF2-40B4-BE49-F238E27FC236}">
                  <a16:creationId xmlns:a16="http://schemas.microsoft.com/office/drawing/2014/main" id="{24E9C7AF-0093-476F-826C-A2702AB72892}"/>
                </a:ext>
              </a:extLst>
            </p:cNvPr>
            <p:cNvGrpSpPr/>
            <p:nvPr/>
          </p:nvGrpSpPr>
          <p:grpSpPr>
            <a:xfrm>
              <a:off x="0" y="153125"/>
              <a:ext cx="17907000" cy="666567"/>
              <a:chOff x="0" y="153125"/>
              <a:chExt cx="17907000" cy="666567"/>
            </a:xfrm>
          </p:grpSpPr>
          <p:grpSp>
            <p:nvGrpSpPr>
              <p:cNvPr id="16" name="Gruppo 15">
                <a:extLst>
                  <a:ext uri="{FF2B5EF4-FFF2-40B4-BE49-F238E27FC236}">
                    <a16:creationId xmlns:a16="http://schemas.microsoft.com/office/drawing/2014/main" id="{DAC42A46-917D-41AB-8F07-E15E54D0F7D4}"/>
                  </a:ext>
                </a:extLst>
              </p:cNvPr>
              <p:cNvGrpSpPr/>
              <p:nvPr/>
            </p:nvGrpSpPr>
            <p:grpSpPr>
              <a:xfrm>
                <a:off x="0" y="153125"/>
                <a:ext cx="13958844" cy="666567"/>
                <a:chOff x="0" y="153125"/>
                <a:chExt cx="13958844" cy="666567"/>
              </a:xfrm>
            </p:grpSpPr>
            <p:pic>
              <p:nvPicPr>
                <p:cNvPr id="10" name="Picture 10"/>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1" name="TextBox 11"/>
                <p:cNvSpPr txBox="1"/>
                <p:nvPr/>
              </p:nvSpPr>
              <p:spPr>
                <a:xfrm>
                  <a:off x="228600" y="257980"/>
                  <a:ext cx="9296400" cy="456856"/>
                </a:xfrm>
                <a:prstGeom prst="rect">
                  <a:avLst/>
                </a:prstGeom>
              </p:spPr>
              <p:txBody>
                <a:bodyPr wrap="square" lIns="0" tIns="0" rIns="0" bIns="0" rtlCol="0" anchor="t">
                  <a:spAutoFit/>
                </a:bodyPr>
                <a:lstStyle/>
                <a:p>
                  <a:pPr marL="0" marR="0" lvl="0" indent="0" algn="l" defTabSz="914400" rtl="0" eaLnBrk="1" fontAlgn="auto" latinLnBrk="0" hangingPunct="1">
                    <a:lnSpc>
                      <a:spcPts val="3919"/>
                    </a:lnSpc>
                    <a:spcBef>
                      <a:spcPct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2" name="TextBox 11">
                <a:extLst>
                  <a:ext uri="{FF2B5EF4-FFF2-40B4-BE49-F238E27FC236}">
                    <a16:creationId xmlns:a16="http://schemas.microsoft.com/office/drawing/2014/main" id="{1BD9B5F4-614C-4EB6-8C5B-120A5420CE43}"/>
                  </a:ext>
                </a:extLst>
              </p:cNvPr>
              <p:cNvSpPr txBox="1"/>
              <p:nvPr/>
            </p:nvSpPr>
            <p:spPr>
              <a:xfrm>
                <a:off x="12154296" y="257980"/>
                <a:ext cx="5752704" cy="456856"/>
              </a:xfrm>
              <a:prstGeom prst="rect">
                <a:avLst/>
              </a:prstGeom>
            </p:spPr>
            <p:txBody>
              <a:bodyPr wrap="square" lIns="0" tIns="0" rIns="0" bIns="0" rtlCol="0" anchor="t">
                <a:spAutoFit/>
              </a:bodyPr>
              <a:lstStyle/>
              <a:p>
                <a:pPr marL="0" marR="0" lvl="0" indent="0" algn="r" defTabSz="914400" rtl="0" eaLnBrk="1" fontAlgn="auto" latinLnBrk="0" hangingPunct="1">
                  <a:lnSpc>
                    <a:spcPts val="3919"/>
                  </a:lnSpc>
                  <a:spcBef>
                    <a:spcPct val="0"/>
                  </a:spcBef>
                  <a:spcAft>
                    <a:spcPts val="0"/>
                  </a:spcAft>
                  <a:buClrTx/>
                  <a:buSzTx/>
                  <a:buFontTx/>
                  <a:buNone/>
                  <a:tabLst/>
                  <a:defRPr/>
                </a:pPr>
                <a:endParaRPr kumimoji="0" lang="en-US" sz="2800" b="0" i="0" u="none" strike="noStrike" kern="1200" cap="none" spc="0" normalizeH="0" baseline="0" noProof="0">
                  <a:ln>
                    <a:noFill/>
                  </a:ln>
                  <a:solidFill>
                    <a:srgbClr val="2F2F2F">
                      <a:lumMod val="75000"/>
                      <a:lumOff val="25000"/>
                    </a:srgbClr>
                  </a:solidFill>
                  <a:effectLst/>
                  <a:uLnTx/>
                  <a:uFillTx/>
                  <a:latin typeface="Arial" panose="020B0604020202020204" pitchFamily="34" charset="0"/>
                  <a:ea typeface="+mn-ea"/>
                  <a:cs typeface="Arial" panose="020B0604020202020204" pitchFamily="34" charset="0"/>
                </a:endParaRPr>
              </a:p>
            </p:txBody>
          </p:sp>
        </p:grpSp>
        <p:sp>
          <p:nvSpPr>
            <p:cNvPr id="14" name="Rettangolo 13">
              <a:extLst>
                <a:ext uri="{FF2B5EF4-FFF2-40B4-BE49-F238E27FC236}">
                  <a16:creationId xmlns:a16="http://schemas.microsoft.com/office/drawing/2014/main" id="{55199736-B8B6-4C9A-8BAF-233E07A0CA89}"/>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3" name="TextBox 13"/>
          <p:cNvSpPr txBox="1"/>
          <p:nvPr/>
        </p:nvSpPr>
        <p:spPr>
          <a:xfrm>
            <a:off x="1905000" y="1010312"/>
            <a:ext cx="13563599" cy="1052468"/>
          </a:xfrm>
          <a:prstGeom prst="rect">
            <a:avLst/>
          </a:prstGeom>
        </p:spPr>
        <p:txBody>
          <a:bodyPr wrap="square" lIns="0" tIns="0" rIns="0" bIns="0" rtlCol="0" anchor="t">
            <a:spAutoFit/>
          </a:bodyPr>
          <a:lstStyle/>
          <a:p>
            <a:pPr marL="0" marR="0" lvl="0" indent="0" algn="ctr" defTabSz="914400" rtl="0" eaLnBrk="1" fontAlgn="auto" latinLnBrk="0" hangingPunct="1">
              <a:lnSpc>
                <a:spcPts val="8960"/>
              </a:lnSpc>
              <a:spcBef>
                <a:spcPct val="0"/>
              </a:spcBef>
              <a:spcAft>
                <a:spcPts val="0"/>
              </a:spcAft>
              <a:buClrTx/>
              <a:buSzTx/>
              <a:buFontTx/>
              <a:buNone/>
              <a:tabLst/>
              <a:defRPr/>
            </a:pPr>
            <a:r>
              <a:rPr kumimoji="0" lang="en-US" sz="6400" b="1" i="0" u="none" strike="noStrike" kern="1200" cap="none" spc="0" normalizeH="0" baseline="0" noProof="0">
                <a:ln>
                  <a:noFill/>
                </a:ln>
                <a:solidFill>
                  <a:srgbClr val="CC0033"/>
                </a:solidFill>
                <a:effectLst/>
                <a:uLnTx/>
                <a:uFillTx/>
                <a:latin typeface="Arial"/>
                <a:ea typeface="+mn-ea"/>
                <a:cs typeface="Arial" panose="020B0604020202020204" pitchFamily="34" charset="0"/>
              </a:rPr>
              <a:t>B. Price Signals</a:t>
            </a:r>
          </a:p>
        </p:txBody>
      </p:sp>
      <p:sp>
        <p:nvSpPr>
          <p:cNvPr id="5" name="Wave 4">
            <a:extLst>
              <a:ext uri="{FF2B5EF4-FFF2-40B4-BE49-F238E27FC236}">
                <a16:creationId xmlns:a16="http://schemas.microsoft.com/office/drawing/2014/main" id="{3B15DF55-4649-47FA-A3C4-19DEB0E6FD08}"/>
              </a:ext>
            </a:extLst>
          </p:cNvPr>
          <p:cNvSpPr/>
          <p:nvPr/>
        </p:nvSpPr>
        <p:spPr>
          <a:xfrm>
            <a:off x="2685144" y="2268351"/>
            <a:ext cx="3029856" cy="824938"/>
          </a:xfrm>
          <a:prstGeom prst="wave">
            <a:avLst>
              <a:gd name="adj1" fmla="val 12500"/>
              <a:gd name="adj2" fmla="val 431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400" b="1" i="0" u="none" strike="noStrike" kern="1200" cap="none" spc="0" normalizeH="0" baseline="0" noProof="0">
                <a:ln>
                  <a:noFill/>
                </a:ln>
                <a:solidFill>
                  <a:srgbClr val="FFFFFF"/>
                </a:solidFill>
                <a:effectLst/>
                <a:uLnTx/>
                <a:uFillTx/>
                <a:latin typeface="Arial"/>
                <a:ea typeface="+mn-ea"/>
                <a:cs typeface="+mn-cs"/>
              </a:rPr>
              <a:t>Fuel </a:t>
            </a:r>
            <a:r>
              <a:rPr kumimoji="0" lang="sv-SE" sz="2400" b="1" i="0" u="none" strike="noStrike" kern="1200" cap="none" spc="0" normalizeH="0" baseline="0" noProof="0" err="1">
                <a:ln>
                  <a:noFill/>
                </a:ln>
                <a:solidFill>
                  <a:srgbClr val="FFFFFF"/>
                </a:solidFill>
                <a:effectLst/>
                <a:uLnTx/>
                <a:uFillTx/>
                <a:latin typeface="Arial"/>
                <a:ea typeface="+mn-ea"/>
                <a:cs typeface="+mn-cs"/>
              </a:rPr>
              <a:t>costs</a:t>
            </a:r>
            <a:endParaRPr kumimoji="0" lang="sv-SE" sz="2400" b="1" i="0" u="none" strike="noStrike" kern="1200" cap="none" spc="0" normalizeH="0" baseline="0" noProof="0">
              <a:ln>
                <a:noFill/>
              </a:ln>
              <a:solidFill>
                <a:srgbClr val="FFFFFF"/>
              </a:solidFill>
              <a:effectLst/>
              <a:uLnTx/>
              <a:uFillTx/>
              <a:latin typeface="Arial"/>
              <a:ea typeface="+mn-ea"/>
              <a:cs typeface="+mn-cs"/>
            </a:endParaRPr>
          </a:p>
        </p:txBody>
      </p:sp>
      <p:sp>
        <p:nvSpPr>
          <p:cNvPr id="23" name="Wave 22">
            <a:extLst>
              <a:ext uri="{FF2B5EF4-FFF2-40B4-BE49-F238E27FC236}">
                <a16:creationId xmlns:a16="http://schemas.microsoft.com/office/drawing/2014/main" id="{22666181-906A-430B-97F7-2F31A08AC3FD}"/>
              </a:ext>
            </a:extLst>
          </p:cNvPr>
          <p:cNvSpPr/>
          <p:nvPr/>
        </p:nvSpPr>
        <p:spPr>
          <a:xfrm>
            <a:off x="11766883" y="2301407"/>
            <a:ext cx="3263765" cy="824938"/>
          </a:xfrm>
          <a:prstGeom prst="wave">
            <a:avLst>
              <a:gd name="adj1" fmla="val 12500"/>
              <a:gd name="adj2" fmla="val -44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400" b="1" i="0" u="none" strike="noStrike" kern="1200" cap="none" spc="0" normalizeH="0" baseline="0" noProof="0" err="1">
                <a:ln>
                  <a:noFill/>
                </a:ln>
                <a:solidFill>
                  <a:srgbClr val="FFFFFF"/>
                </a:solidFill>
                <a:effectLst/>
                <a:uLnTx/>
                <a:uFillTx/>
                <a:latin typeface="Arial"/>
                <a:ea typeface="+mn-ea"/>
                <a:cs typeface="+mn-cs"/>
              </a:rPr>
              <a:t>Feedstock</a:t>
            </a:r>
            <a:r>
              <a:rPr kumimoji="0" lang="sv-SE" sz="2400" b="1" i="0" u="none" strike="noStrike" kern="1200" cap="none" spc="0" normalizeH="0" baseline="0" noProof="0">
                <a:ln>
                  <a:noFill/>
                </a:ln>
                <a:solidFill>
                  <a:srgbClr val="FFFFFF"/>
                </a:solidFill>
                <a:effectLst/>
                <a:uLnTx/>
                <a:uFillTx/>
                <a:latin typeface="Arial"/>
                <a:ea typeface="+mn-ea"/>
                <a:cs typeface="+mn-cs"/>
              </a:rPr>
              <a:t> </a:t>
            </a:r>
            <a:r>
              <a:rPr kumimoji="0" lang="sv-SE" sz="2400" b="1" i="0" u="none" strike="noStrike" kern="1200" cap="none" spc="0" normalizeH="0" baseline="0" noProof="0" err="1">
                <a:ln>
                  <a:noFill/>
                </a:ln>
                <a:solidFill>
                  <a:srgbClr val="FFFFFF"/>
                </a:solidFill>
                <a:effectLst/>
                <a:uLnTx/>
                <a:uFillTx/>
                <a:latin typeface="Arial"/>
                <a:ea typeface="+mn-ea"/>
                <a:cs typeface="+mn-cs"/>
              </a:rPr>
              <a:t>costs</a:t>
            </a:r>
            <a:endParaRPr kumimoji="0" lang="sv-SE" sz="2400" b="1" i="0" u="none" strike="noStrike" kern="1200" cap="none" spc="0" normalizeH="0" baseline="0" noProof="0">
              <a:ln>
                <a:noFill/>
              </a:ln>
              <a:solidFill>
                <a:srgbClr val="FFFFFF"/>
              </a:solidFill>
              <a:effectLst/>
              <a:uLnTx/>
              <a:uFillTx/>
              <a:latin typeface="Arial"/>
              <a:ea typeface="+mn-ea"/>
              <a:cs typeface="+mn-cs"/>
            </a:endParaRPr>
          </a:p>
        </p:txBody>
      </p:sp>
      <p:graphicFrame>
        <p:nvGraphicFramePr>
          <p:cNvPr id="6" name="Diagram 5">
            <a:extLst>
              <a:ext uri="{FF2B5EF4-FFF2-40B4-BE49-F238E27FC236}">
                <a16:creationId xmlns:a16="http://schemas.microsoft.com/office/drawing/2014/main" id="{C1D8A631-0D1F-4BE1-B4B0-AB6B70266129}"/>
              </a:ext>
            </a:extLst>
          </p:cNvPr>
          <p:cNvGraphicFramePr/>
          <p:nvPr/>
        </p:nvGraphicFramePr>
        <p:xfrm>
          <a:off x="899886" y="3298860"/>
          <a:ext cx="7155543" cy="4229100"/>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7" name="Rectangle: Rounded Corners 6">
            <a:extLst>
              <a:ext uri="{FF2B5EF4-FFF2-40B4-BE49-F238E27FC236}">
                <a16:creationId xmlns:a16="http://schemas.microsoft.com/office/drawing/2014/main" id="{7475671C-7010-43EF-ACC7-1C2B29F66417}"/>
              </a:ext>
            </a:extLst>
          </p:cNvPr>
          <p:cNvSpPr/>
          <p:nvPr/>
        </p:nvSpPr>
        <p:spPr>
          <a:xfrm>
            <a:off x="584201" y="8076175"/>
            <a:ext cx="16887372" cy="82493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800" b="0" i="0" u="none" strike="noStrike" kern="1200" cap="none" spc="0" normalizeH="0" baseline="0" noProof="0">
                <a:ln>
                  <a:noFill/>
                </a:ln>
                <a:solidFill>
                  <a:srgbClr val="FFFFFF"/>
                </a:solidFill>
                <a:effectLst/>
                <a:uLnTx/>
                <a:uFillTx/>
                <a:latin typeface="Arial"/>
                <a:ea typeface="+mn-ea"/>
                <a:cs typeface="+mn-cs"/>
              </a:rPr>
              <a:t>In </a:t>
            </a:r>
            <a:r>
              <a:rPr kumimoji="0" lang="sv-SE" sz="2800" b="0" i="0" u="none" strike="noStrike" kern="1200" cap="none" spc="0" normalizeH="0" baseline="0" noProof="0" err="1">
                <a:ln>
                  <a:noFill/>
                </a:ln>
                <a:solidFill>
                  <a:srgbClr val="FFFFFF"/>
                </a:solidFill>
                <a:effectLst/>
                <a:uLnTx/>
                <a:uFillTx/>
                <a:latin typeface="Arial"/>
                <a:ea typeface="+mn-ea"/>
                <a:cs typeface="+mn-cs"/>
              </a:rPr>
              <a:t>any</a:t>
            </a:r>
            <a:r>
              <a:rPr kumimoji="0" lang="sv-SE" sz="2800" b="0" i="0" u="none" strike="noStrike" kern="1200" cap="none" spc="0" normalizeH="0" baseline="0" noProof="0">
                <a:ln>
                  <a:noFill/>
                </a:ln>
                <a:solidFill>
                  <a:srgbClr val="FFFFFF"/>
                </a:solidFill>
                <a:effectLst/>
                <a:uLnTx/>
                <a:uFillTx/>
                <a:latin typeface="Arial"/>
                <a:ea typeface="+mn-ea"/>
                <a:cs typeface="+mn-cs"/>
              </a:rPr>
              <a:t> </a:t>
            </a:r>
            <a:r>
              <a:rPr kumimoji="0" lang="sv-SE" sz="2800" b="0" i="0" u="none" strike="noStrike" kern="1200" cap="none" spc="0" normalizeH="0" baseline="0" noProof="0" err="1">
                <a:ln>
                  <a:noFill/>
                </a:ln>
                <a:solidFill>
                  <a:srgbClr val="FFFFFF"/>
                </a:solidFill>
                <a:effectLst/>
                <a:uLnTx/>
                <a:uFillTx/>
                <a:latin typeface="Arial"/>
                <a:ea typeface="+mn-ea"/>
                <a:cs typeface="+mn-cs"/>
              </a:rPr>
              <a:t>case</a:t>
            </a:r>
            <a:r>
              <a:rPr kumimoji="0" lang="sv-SE" sz="2800" b="0" i="0" u="none" strike="noStrike" kern="1200" cap="none" spc="0" normalizeH="0" baseline="0" noProof="0">
                <a:ln>
                  <a:noFill/>
                </a:ln>
                <a:solidFill>
                  <a:srgbClr val="FFFFFF"/>
                </a:solidFill>
                <a:effectLst/>
                <a:uLnTx/>
                <a:uFillTx/>
                <a:latin typeface="Arial"/>
                <a:ea typeface="+mn-ea"/>
                <a:cs typeface="+mn-cs"/>
              </a:rPr>
              <a:t>: </a:t>
            </a:r>
            <a:r>
              <a:rPr kumimoji="0" lang="sv-SE" sz="2800" b="0" i="0" u="none" strike="noStrike" kern="1200" cap="none" spc="0" normalizeH="0" baseline="0" noProof="0" err="1">
                <a:ln>
                  <a:noFill/>
                </a:ln>
                <a:solidFill>
                  <a:srgbClr val="FFFFFF"/>
                </a:solidFill>
                <a:effectLst/>
                <a:uLnTx/>
                <a:uFillTx/>
                <a:latin typeface="Arial"/>
                <a:ea typeface="+mn-ea"/>
                <a:cs typeface="+mn-cs"/>
              </a:rPr>
              <a:t>need</a:t>
            </a:r>
            <a:r>
              <a:rPr kumimoji="0" lang="sv-SE" sz="2800" b="0" i="0" u="none" strike="noStrike" kern="1200" cap="none" spc="0" normalizeH="0" baseline="0" noProof="0">
                <a:ln>
                  <a:noFill/>
                </a:ln>
                <a:solidFill>
                  <a:srgbClr val="FFFFFF"/>
                </a:solidFill>
                <a:effectLst/>
                <a:uLnTx/>
                <a:uFillTx/>
                <a:latin typeface="Arial"/>
                <a:ea typeface="+mn-ea"/>
                <a:cs typeface="+mn-cs"/>
              </a:rPr>
              <a:t> of a </a:t>
            </a:r>
            <a:r>
              <a:rPr kumimoji="0" lang="sv-SE" sz="2800" b="0" i="0" u="none" strike="noStrike" kern="1200" cap="none" spc="0" normalizeH="0" baseline="0" noProof="0" err="1">
                <a:ln>
                  <a:noFill/>
                </a:ln>
                <a:solidFill>
                  <a:srgbClr val="FFFFFF"/>
                </a:solidFill>
                <a:effectLst/>
                <a:uLnTx/>
                <a:uFillTx/>
                <a:latin typeface="Arial"/>
                <a:ea typeface="+mn-ea"/>
                <a:cs typeface="+mn-cs"/>
              </a:rPr>
              <a:t>better</a:t>
            </a:r>
            <a:r>
              <a:rPr kumimoji="0" lang="sv-SE" sz="2800" b="0" i="0" u="none" strike="noStrike" kern="1200" cap="none" spc="0" normalizeH="0" baseline="0" noProof="0">
                <a:ln>
                  <a:noFill/>
                </a:ln>
                <a:solidFill>
                  <a:srgbClr val="FFFFFF"/>
                </a:solidFill>
                <a:effectLst/>
                <a:uLnTx/>
                <a:uFillTx/>
                <a:latin typeface="Arial"/>
                <a:ea typeface="+mn-ea"/>
                <a:cs typeface="+mn-cs"/>
              </a:rPr>
              <a:t> </a:t>
            </a:r>
            <a:r>
              <a:rPr kumimoji="0" lang="sv-SE" sz="2800" b="1" i="0" u="none" strike="noStrike" kern="1200" cap="none" spc="0" normalizeH="0" baseline="0" noProof="0">
                <a:ln>
                  <a:noFill/>
                </a:ln>
                <a:solidFill>
                  <a:srgbClr val="FFFFFF"/>
                </a:solidFill>
                <a:effectLst/>
                <a:uLnTx/>
                <a:uFillTx/>
                <a:latin typeface="Arial"/>
                <a:ea typeface="+mn-ea"/>
                <a:cs typeface="+mn-cs"/>
              </a:rPr>
              <a:t>control system </a:t>
            </a:r>
            <a:r>
              <a:rPr kumimoji="0" lang="sv-SE" sz="2800" b="0" i="0" u="none" strike="noStrike" kern="1200" cap="none" spc="0" normalizeH="0" baseline="0" noProof="0">
                <a:ln>
                  <a:noFill/>
                </a:ln>
                <a:solidFill>
                  <a:srgbClr val="FFFFFF"/>
                </a:solidFill>
                <a:effectLst/>
                <a:uLnTx/>
                <a:uFillTx/>
                <a:latin typeface="Arial"/>
                <a:ea typeface="+mn-ea"/>
                <a:cs typeface="+mn-cs"/>
              </a:rPr>
              <a:t>for fuel and </a:t>
            </a:r>
            <a:r>
              <a:rPr kumimoji="0" lang="sv-SE" sz="2800" b="0" i="0" u="none" strike="noStrike" kern="1200" cap="none" spc="0" normalizeH="0" baseline="0" noProof="0" err="1">
                <a:ln>
                  <a:noFill/>
                </a:ln>
                <a:solidFill>
                  <a:srgbClr val="FFFFFF"/>
                </a:solidFill>
                <a:effectLst/>
                <a:uLnTx/>
                <a:uFillTx/>
                <a:latin typeface="Arial"/>
                <a:ea typeface="+mn-ea"/>
                <a:cs typeface="+mn-cs"/>
              </a:rPr>
              <a:t>feedstock</a:t>
            </a:r>
            <a:r>
              <a:rPr kumimoji="0" lang="sv-SE" sz="2800" b="0" i="0" u="none" strike="noStrike" kern="1200" cap="none" spc="0" normalizeH="0" baseline="0" noProof="0">
                <a:ln>
                  <a:noFill/>
                </a:ln>
                <a:solidFill>
                  <a:srgbClr val="FFFFFF"/>
                </a:solidFill>
                <a:effectLst/>
                <a:uLnTx/>
                <a:uFillTx/>
                <a:latin typeface="Arial"/>
                <a:ea typeface="+mn-ea"/>
                <a:cs typeface="+mn-cs"/>
              </a:rPr>
              <a:t> </a:t>
            </a:r>
            <a:r>
              <a:rPr kumimoji="0" lang="sv-SE" sz="2800" b="0" i="0" u="none" strike="noStrike" kern="1200" cap="none" spc="0" normalizeH="0" baseline="0" noProof="0" err="1">
                <a:ln>
                  <a:noFill/>
                </a:ln>
                <a:solidFill>
                  <a:srgbClr val="FFFFFF"/>
                </a:solidFill>
                <a:effectLst/>
                <a:uLnTx/>
                <a:uFillTx/>
                <a:latin typeface="Arial"/>
                <a:ea typeface="+mn-ea"/>
                <a:cs typeface="+mn-cs"/>
              </a:rPr>
              <a:t>supply</a:t>
            </a:r>
            <a:r>
              <a:rPr kumimoji="0" lang="sv-SE" sz="2800" b="0" i="0" u="none" strike="noStrike" kern="1200" cap="none" spc="0" normalizeH="0" baseline="0" noProof="0">
                <a:ln>
                  <a:noFill/>
                </a:ln>
                <a:solidFill>
                  <a:srgbClr val="FFFFFF"/>
                </a:solidFill>
                <a:effectLst/>
                <a:uLnTx/>
                <a:uFillTx/>
                <a:latin typeface="Arial"/>
                <a:ea typeface="+mn-ea"/>
                <a:cs typeface="+mn-cs"/>
              </a:rPr>
              <a:t> </a:t>
            </a:r>
            <a:r>
              <a:rPr kumimoji="0" lang="sv-SE" sz="2800" b="0" i="0" u="none" strike="noStrike" kern="1200" cap="none" spc="0" normalizeH="0" baseline="0" noProof="0" err="1">
                <a:ln>
                  <a:noFill/>
                </a:ln>
                <a:solidFill>
                  <a:srgbClr val="FFFFFF"/>
                </a:solidFill>
                <a:effectLst/>
                <a:uLnTx/>
                <a:uFillTx/>
                <a:latin typeface="Arial"/>
                <a:ea typeface="+mn-ea"/>
                <a:cs typeface="+mn-cs"/>
              </a:rPr>
              <a:t>seems</a:t>
            </a:r>
            <a:r>
              <a:rPr kumimoji="0" lang="sv-SE" sz="2800" b="0" i="0" u="none" strike="noStrike" kern="1200" cap="none" spc="0" normalizeH="0" baseline="0" noProof="0">
                <a:ln>
                  <a:noFill/>
                </a:ln>
                <a:solidFill>
                  <a:srgbClr val="FFFFFF"/>
                </a:solidFill>
                <a:effectLst/>
                <a:uLnTx/>
                <a:uFillTx/>
                <a:latin typeface="Arial"/>
                <a:ea typeface="+mn-ea"/>
                <a:cs typeface="+mn-cs"/>
              </a:rPr>
              <a:t> </a:t>
            </a:r>
            <a:r>
              <a:rPr kumimoji="0" lang="sv-SE" sz="2800" b="0" i="0" u="none" strike="noStrike" kern="1200" cap="none" spc="0" normalizeH="0" baseline="0" noProof="0" err="1">
                <a:ln>
                  <a:noFill/>
                </a:ln>
                <a:solidFill>
                  <a:srgbClr val="FFFFFF"/>
                </a:solidFill>
                <a:effectLst/>
                <a:uLnTx/>
                <a:uFillTx/>
                <a:latin typeface="Arial"/>
                <a:ea typeface="+mn-ea"/>
                <a:cs typeface="+mn-cs"/>
              </a:rPr>
              <a:t>important</a:t>
            </a:r>
            <a:r>
              <a:rPr kumimoji="0" lang="sv-SE" sz="2800" b="0" i="0" u="none" strike="noStrike" kern="1200" cap="none" spc="0" normalizeH="0" baseline="0" noProof="0">
                <a:ln>
                  <a:noFill/>
                </a:ln>
                <a:solidFill>
                  <a:srgbClr val="FFFFFF"/>
                </a:solidFill>
                <a:effectLst/>
                <a:uLnTx/>
                <a:uFillTx/>
                <a:latin typeface="Arial"/>
                <a:ea typeface="+mn-ea"/>
                <a:cs typeface="+mn-cs"/>
              </a:rPr>
              <a:t> for the </a:t>
            </a:r>
            <a:r>
              <a:rPr kumimoji="0" lang="sv-SE" sz="2800" b="0" i="0" u="none" strike="noStrike" kern="1200" cap="none" spc="0" normalizeH="0" baseline="0" noProof="0" err="1">
                <a:ln>
                  <a:noFill/>
                </a:ln>
                <a:solidFill>
                  <a:srgbClr val="FFFFFF"/>
                </a:solidFill>
                <a:effectLst/>
                <a:uLnTx/>
                <a:uFillTx/>
                <a:latin typeface="Arial"/>
                <a:ea typeface="+mn-ea"/>
                <a:cs typeface="+mn-cs"/>
              </a:rPr>
              <a:t>industry</a:t>
            </a:r>
            <a:r>
              <a:rPr kumimoji="0" lang="sv-SE" sz="2800" b="0" i="0" u="none" strike="noStrike" kern="1200" cap="none" spc="0" normalizeH="0" baseline="0" noProof="0">
                <a:ln>
                  <a:noFill/>
                </a:ln>
                <a:solidFill>
                  <a:srgbClr val="FFFFFF"/>
                </a:solidFill>
                <a:effectLst/>
                <a:uLnTx/>
                <a:uFillTx/>
                <a:latin typeface="Arial"/>
                <a:ea typeface="+mn-ea"/>
                <a:cs typeface="+mn-cs"/>
              </a:rPr>
              <a:t> to </a:t>
            </a:r>
            <a:r>
              <a:rPr kumimoji="0" lang="sv-SE" sz="2800" b="0" i="0" u="none" strike="noStrike" kern="1200" cap="none" spc="0" normalizeH="0" baseline="0" noProof="0" err="1">
                <a:ln>
                  <a:noFill/>
                </a:ln>
                <a:solidFill>
                  <a:srgbClr val="FFFFFF"/>
                </a:solidFill>
                <a:effectLst/>
                <a:uLnTx/>
                <a:uFillTx/>
                <a:latin typeface="Arial"/>
                <a:ea typeface="+mn-ea"/>
                <a:cs typeface="+mn-cs"/>
              </a:rPr>
              <a:t>optimize</a:t>
            </a:r>
            <a:r>
              <a:rPr kumimoji="0" lang="sv-SE" sz="2800" b="0" i="0" u="none" strike="noStrike" kern="1200" cap="none" spc="0" normalizeH="0" baseline="0" noProof="0">
                <a:ln>
                  <a:noFill/>
                </a:ln>
                <a:solidFill>
                  <a:srgbClr val="FFFFFF"/>
                </a:solidFill>
                <a:effectLst/>
                <a:uLnTx/>
                <a:uFillTx/>
                <a:latin typeface="Arial"/>
                <a:ea typeface="+mn-ea"/>
                <a:cs typeface="+mn-cs"/>
              </a:rPr>
              <a:t> </a:t>
            </a:r>
            <a:r>
              <a:rPr kumimoji="0" lang="sv-SE" sz="2800" b="0" i="0" u="none" strike="noStrike" kern="1200" cap="none" spc="0" normalizeH="0" baseline="0" noProof="0" err="1">
                <a:ln>
                  <a:noFill/>
                </a:ln>
                <a:solidFill>
                  <a:srgbClr val="FFFFFF"/>
                </a:solidFill>
                <a:effectLst/>
                <a:uLnTx/>
                <a:uFillTx/>
                <a:latin typeface="Arial"/>
                <a:ea typeface="+mn-ea"/>
                <a:cs typeface="+mn-cs"/>
              </a:rPr>
              <a:t>its</a:t>
            </a:r>
            <a:r>
              <a:rPr kumimoji="0" lang="sv-SE" sz="2800" b="0" i="0" u="none" strike="noStrike" kern="1200" cap="none" spc="0" normalizeH="0" baseline="0" noProof="0">
                <a:ln>
                  <a:noFill/>
                </a:ln>
                <a:solidFill>
                  <a:srgbClr val="FFFFFF"/>
                </a:solidFill>
                <a:effectLst/>
                <a:uLnTx/>
                <a:uFillTx/>
                <a:latin typeface="Arial"/>
                <a:ea typeface="+mn-ea"/>
                <a:cs typeface="+mn-cs"/>
              </a:rPr>
              <a:t> </a:t>
            </a:r>
            <a:r>
              <a:rPr kumimoji="0" lang="sv-SE" sz="2800" b="0" i="0" u="none" strike="noStrike" kern="1200" cap="none" spc="0" normalizeH="0" baseline="0" noProof="0" err="1">
                <a:ln>
                  <a:noFill/>
                </a:ln>
                <a:solidFill>
                  <a:srgbClr val="FFFFFF"/>
                </a:solidFill>
                <a:effectLst/>
                <a:uLnTx/>
                <a:uFillTx/>
                <a:latin typeface="Arial"/>
                <a:ea typeface="+mn-ea"/>
                <a:cs typeface="+mn-cs"/>
              </a:rPr>
              <a:t>use</a:t>
            </a:r>
            <a:r>
              <a:rPr kumimoji="0" lang="sv-SE" sz="2800" b="0" i="0" u="none" strike="noStrike" kern="1200" cap="none" spc="0" normalizeH="0" baseline="0" noProof="0">
                <a:ln>
                  <a:noFill/>
                </a:ln>
                <a:solidFill>
                  <a:srgbClr val="FFFFFF"/>
                </a:solidFill>
                <a:effectLst/>
                <a:uLnTx/>
                <a:uFillTx/>
                <a:latin typeface="Arial"/>
                <a:ea typeface="+mn-ea"/>
                <a:cs typeface="+mn-cs"/>
              </a:rPr>
              <a:t> and save in </a:t>
            </a:r>
            <a:r>
              <a:rPr kumimoji="0" lang="sv-SE" sz="2800" b="0" i="0" u="none" strike="noStrike" kern="1200" cap="none" spc="0" normalizeH="0" baseline="0" noProof="0" err="1">
                <a:ln>
                  <a:noFill/>
                </a:ln>
                <a:solidFill>
                  <a:srgbClr val="FFFFFF"/>
                </a:solidFill>
                <a:effectLst/>
                <a:uLnTx/>
                <a:uFillTx/>
                <a:latin typeface="Arial"/>
                <a:ea typeface="+mn-ea"/>
                <a:cs typeface="+mn-cs"/>
              </a:rPr>
              <a:t>costs</a:t>
            </a:r>
            <a:endParaRPr kumimoji="0" lang="sv-SE" sz="2800" b="0" i="0" u="none" strike="noStrike" kern="1200" cap="none" spc="0" normalizeH="0" baseline="0" noProof="0">
              <a:ln>
                <a:noFill/>
              </a:ln>
              <a:solidFill>
                <a:srgbClr val="FFFFFF"/>
              </a:solidFill>
              <a:effectLst/>
              <a:uLnTx/>
              <a:uFillTx/>
              <a:latin typeface="Arial"/>
              <a:ea typeface="+mn-ea"/>
              <a:cs typeface="+mn-cs"/>
            </a:endParaRPr>
          </a:p>
        </p:txBody>
      </p:sp>
      <p:graphicFrame>
        <p:nvGraphicFramePr>
          <p:cNvPr id="24" name="Diagram 23">
            <a:extLst>
              <a:ext uri="{FF2B5EF4-FFF2-40B4-BE49-F238E27FC236}">
                <a16:creationId xmlns:a16="http://schemas.microsoft.com/office/drawing/2014/main" id="{106A18D1-9ABD-40A9-A012-45EF25EE8EAF}"/>
              </a:ext>
            </a:extLst>
          </p:cNvPr>
          <p:cNvGraphicFramePr/>
          <p:nvPr/>
        </p:nvGraphicFramePr>
        <p:xfrm>
          <a:off x="9260114" y="3393633"/>
          <a:ext cx="8128000" cy="4591960"/>
        </p:xfrm>
        <a:graphic>
          <a:graphicData uri="http://schemas.openxmlformats.org/drawingml/2006/diagram">
            <dgm:relIds xmlns:dgm="http://schemas.openxmlformats.org/drawingml/2006/diagram" xmlns:r="http://schemas.openxmlformats.org/officeDocument/2006/relationships" r:dm="rId11" r:lo="rId12" r:qs="rId13" r:cs="rId14"/>
          </a:graphicData>
        </a:graphic>
      </p:graphicFrame>
    </p:spTree>
    <p:extLst>
      <p:ext uri="{BB962C8B-B14F-4D97-AF65-F5344CB8AC3E}">
        <p14:creationId xmlns:p14="http://schemas.microsoft.com/office/powerpoint/2010/main" val="384709115"/>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58" name="Rectangle 57">
            <a:extLst>
              <a:ext uri="{FF2B5EF4-FFF2-40B4-BE49-F238E27FC236}">
                <a16:creationId xmlns:a16="http://schemas.microsoft.com/office/drawing/2014/main" id="{289ED1AA-8684-4D37-B208-8777E1A7780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8283428" cy="10287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0" name="Graphic 33">
            <a:extLst>
              <a:ext uri="{FF2B5EF4-FFF2-40B4-BE49-F238E27FC236}">
                <a16:creationId xmlns:a16="http://schemas.microsoft.com/office/drawing/2014/main" id="{4180E01B-B1F4-437C-807D-1C930718EE6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966176" y="0"/>
            <a:ext cx="14355646" cy="10287000"/>
          </a:xfrm>
          <a:custGeom>
            <a:avLst/>
            <a:gdLst>
              <a:gd name="connsiteX0" fmla="*/ 7178288 w 7187261"/>
              <a:gd name="connsiteY0" fmla="*/ 2604802 h 5150263"/>
              <a:gd name="connsiteX1" fmla="*/ 7169335 w 7187261"/>
              <a:gd name="connsiteY1" fmla="*/ 2328577 h 5150263"/>
              <a:gd name="connsiteX2" fmla="*/ 7060845 w 7187261"/>
              <a:gd name="connsiteY2" fmla="*/ 1661160 h 5150263"/>
              <a:gd name="connsiteX3" fmla="*/ 6212263 w 7187261"/>
              <a:gd name="connsiteY3" fmla="*/ 243840 h 5150263"/>
              <a:gd name="connsiteX4" fmla="*/ 5953564 w 7187261"/>
              <a:gd name="connsiteY4" fmla="*/ 0 h 5150263"/>
              <a:gd name="connsiteX5" fmla="*/ 1408615 w 7187261"/>
              <a:gd name="connsiteY5" fmla="*/ 0 h 5150263"/>
              <a:gd name="connsiteX6" fmla="*/ 805111 w 7187261"/>
              <a:gd name="connsiteY6" fmla="*/ 676275 h 5150263"/>
              <a:gd name="connsiteX7" fmla="*/ 104928 w 7187261"/>
              <a:gd name="connsiteY7" fmla="*/ 2183035 h 5150263"/>
              <a:gd name="connsiteX8" fmla="*/ 51588 w 7187261"/>
              <a:gd name="connsiteY8" fmla="*/ 2400014 h 5150263"/>
              <a:gd name="connsiteX9" fmla="*/ 41301 w 7187261"/>
              <a:gd name="connsiteY9" fmla="*/ 2424208 h 5150263"/>
              <a:gd name="connsiteX10" fmla="*/ 119692 w 7187261"/>
              <a:gd name="connsiteY10" fmla="*/ 1834801 h 5150263"/>
              <a:gd name="connsiteX11" fmla="*/ 870071 w 7187261"/>
              <a:gd name="connsiteY11" fmla="*/ 462248 h 5150263"/>
              <a:gd name="connsiteX12" fmla="*/ 1389279 w 7187261"/>
              <a:gd name="connsiteY12" fmla="*/ 476 h 5150263"/>
              <a:gd name="connsiteX13" fmla="*/ 1320223 w 7187261"/>
              <a:gd name="connsiteY13" fmla="*/ 476 h 5150263"/>
              <a:gd name="connsiteX14" fmla="*/ 423158 w 7187261"/>
              <a:gd name="connsiteY14" fmla="*/ 989743 h 5150263"/>
              <a:gd name="connsiteX15" fmla="*/ 25585 w 7187261"/>
              <a:gd name="connsiteY15" fmla="*/ 2113693 h 5150263"/>
              <a:gd name="connsiteX16" fmla="*/ 2344 w 7187261"/>
              <a:gd name="connsiteY16" fmla="*/ 2725865 h 5150263"/>
              <a:gd name="connsiteX17" fmla="*/ 447256 w 7187261"/>
              <a:gd name="connsiteY17" fmla="*/ 4210717 h 5150263"/>
              <a:gd name="connsiteX18" fmla="*/ 1138962 w 7187261"/>
              <a:gd name="connsiteY18" fmla="*/ 4988910 h 5150263"/>
              <a:gd name="connsiteX19" fmla="*/ 1348512 w 7187261"/>
              <a:gd name="connsiteY19" fmla="*/ 5146834 h 5150263"/>
              <a:gd name="connsiteX20" fmla="*/ 1422712 w 7187261"/>
              <a:gd name="connsiteY20" fmla="*/ 5146834 h 5150263"/>
              <a:gd name="connsiteX21" fmla="*/ 480594 w 7187261"/>
              <a:gd name="connsiteY21" fmla="*/ 4187952 h 5150263"/>
              <a:gd name="connsiteX22" fmla="*/ 398679 w 7187261"/>
              <a:gd name="connsiteY22" fmla="*/ 4046125 h 5150263"/>
              <a:gd name="connsiteX23" fmla="*/ 411823 w 7187261"/>
              <a:gd name="connsiteY23" fmla="*/ 4053078 h 5150263"/>
              <a:gd name="connsiteX24" fmla="*/ 1439380 w 7187261"/>
              <a:gd name="connsiteY24" fmla="*/ 5147405 h 5150263"/>
              <a:gd name="connsiteX25" fmla="*/ 5710010 w 7187261"/>
              <a:gd name="connsiteY25" fmla="*/ 5150263 h 5150263"/>
              <a:gd name="connsiteX26" fmla="*/ 5999665 w 7187261"/>
              <a:gd name="connsiteY26" fmla="*/ 4910900 h 5150263"/>
              <a:gd name="connsiteX27" fmla="*/ 6954165 w 7187261"/>
              <a:gd name="connsiteY27" fmla="*/ 3545777 h 5150263"/>
              <a:gd name="connsiteX28" fmla="*/ 7137712 w 7187261"/>
              <a:gd name="connsiteY28" fmla="*/ 2799207 h 5150263"/>
              <a:gd name="connsiteX29" fmla="*/ 7142951 w 7187261"/>
              <a:gd name="connsiteY29" fmla="*/ 2754535 h 5150263"/>
              <a:gd name="connsiteX30" fmla="*/ 7149428 w 7187261"/>
              <a:gd name="connsiteY30" fmla="*/ 2774823 h 5150263"/>
              <a:gd name="connsiteX31" fmla="*/ 7066465 w 7187261"/>
              <a:gd name="connsiteY31" fmla="*/ 3465672 h 5150263"/>
              <a:gd name="connsiteX32" fmla="*/ 6452578 w 7187261"/>
              <a:gd name="connsiteY32" fmla="*/ 4552760 h 5150263"/>
              <a:gd name="connsiteX33" fmla="*/ 5752110 w 7187261"/>
              <a:gd name="connsiteY33" fmla="*/ 5150263 h 5150263"/>
              <a:gd name="connsiteX34" fmla="*/ 5827643 w 7187261"/>
              <a:gd name="connsiteY34" fmla="*/ 5150263 h 5150263"/>
              <a:gd name="connsiteX35" fmla="*/ 6642793 w 7187261"/>
              <a:gd name="connsiteY35" fmla="*/ 4389406 h 5150263"/>
              <a:gd name="connsiteX36" fmla="*/ 7102469 w 7187261"/>
              <a:gd name="connsiteY36" fmla="*/ 3490817 h 5150263"/>
              <a:gd name="connsiteX37" fmla="*/ 7187242 w 7187261"/>
              <a:gd name="connsiteY37" fmla="*/ 2990183 h 5150263"/>
              <a:gd name="connsiteX38" fmla="*/ 7178288 w 7187261"/>
              <a:gd name="connsiteY38" fmla="*/ 2604802 h 5150263"/>
              <a:gd name="connsiteX39" fmla="*/ 6342565 w 7187261"/>
              <a:gd name="connsiteY39" fmla="*/ 441389 h 5150263"/>
              <a:gd name="connsiteX40" fmla="*/ 7126567 w 7187261"/>
              <a:gd name="connsiteY40" fmla="*/ 2355056 h 5150263"/>
              <a:gd name="connsiteX41" fmla="*/ 6342565 w 7187261"/>
              <a:gd name="connsiteY41" fmla="*/ 441389 h 5150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187261" h="5150263">
                <a:moveTo>
                  <a:pt x="7178288" y="2604802"/>
                </a:moveTo>
                <a:cubicBezTo>
                  <a:pt x="7168763" y="2513076"/>
                  <a:pt x="7174478" y="2420684"/>
                  <a:pt x="7169335" y="2328577"/>
                </a:cubicBezTo>
                <a:cubicBezTo>
                  <a:pt x="7156952" y="2102882"/>
                  <a:pt x="7120586" y="1879149"/>
                  <a:pt x="7060845" y="1661160"/>
                </a:cubicBezTo>
                <a:cubicBezTo>
                  <a:pt x="6910588" y="1121007"/>
                  <a:pt x="6617428" y="631374"/>
                  <a:pt x="6212263" y="243840"/>
                </a:cubicBezTo>
                <a:cubicBezTo>
                  <a:pt x="6126538" y="162496"/>
                  <a:pt x="6040813" y="80201"/>
                  <a:pt x="5953564" y="0"/>
                </a:cubicBezTo>
                <a:lnTo>
                  <a:pt x="1408615" y="0"/>
                </a:lnTo>
                <a:cubicBezTo>
                  <a:pt x="1180967" y="200316"/>
                  <a:pt x="978332" y="427387"/>
                  <a:pt x="805111" y="676275"/>
                </a:cubicBezTo>
                <a:cubicBezTo>
                  <a:pt x="481261" y="1136523"/>
                  <a:pt x="252089" y="1640872"/>
                  <a:pt x="104928" y="2183035"/>
                </a:cubicBezTo>
                <a:cubicBezTo>
                  <a:pt x="85878" y="2254853"/>
                  <a:pt x="69495" y="2327720"/>
                  <a:pt x="51588" y="2400014"/>
                </a:cubicBezTo>
                <a:cubicBezTo>
                  <a:pt x="49683" y="2407634"/>
                  <a:pt x="51588" y="2416969"/>
                  <a:pt x="41301" y="2424208"/>
                </a:cubicBezTo>
                <a:cubicBezTo>
                  <a:pt x="45900" y="2225469"/>
                  <a:pt x="72186" y="2027834"/>
                  <a:pt x="119692" y="1834801"/>
                </a:cubicBezTo>
                <a:cubicBezTo>
                  <a:pt x="247993" y="1310926"/>
                  <a:pt x="506121" y="857726"/>
                  <a:pt x="870071" y="462248"/>
                </a:cubicBezTo>
                <a:cubicBezTo>
                  <a:pt x="1027729" y="291823"/>
                  <a:pt x="1201617" y="137169"/>
                  <a:pt x="1389279" y="476"/>
                </a:cubicBezTo>
                <a:lnTo>
                  <a:pt x="1320223" y="476"/>
                </a:lnTo>
                <a:cubicBezTo>
                  <a:pt x="960844" y="274320"/>
                  <a:pt x="656330" y="599123"/>
                  <a:pt x="423158" y="989743"/>
                </a:cubicBezTo>
                <a:cubicBezTo>
                  <a:pt x="215608" y="1337596"/>
                  <a:pt x="80258" y="1711357"/>
                  <a:pt x="25585" y="2113693"/>
                </a:cubicBezTo>
                <a:cubicBezTo>
                  <a:pt x="-2705" y="2316480"/>
                  <a:pt x="-2228" y="2521077"/>
                  <a:pt x="2344" y="2725865"/>
                </a:cubicBezTo>
                <a:cubicBezTo>
                  <a:pt x="14155" y="3261932"/>
                  <a:pt x="170650" y="3754565"/>
                  <a:pt x="447256" y="4210717"/>
                </a:cubicBezTo>
                <a:cubicBezTo>
                  <a:pt x="629851" y="4511612"/>
                  <a:pt x="866356" y="4767167"/>
                  <a:pt x="1138962" y="4988910"/>
                </a:cubicBezTo>
                <a:cubicBezTo>
                  <a:pt x="1207161" y="5044345"/>
                  <a:pt x="1277008" y="5096990"/>
                  <a:pt x="1348512" y="5146834"/>
                </a:cubicBezTo>
                <a:lnTo>
                  <a:pt x="1422712" y="5146834"/>
                </a:lnTo>
                <a:cubicBezTo>
                  <a:pt x="1043426" y="4892802"/>
                  <a:pt x="724720" y="4577334"/>
                  <a:pt x="480594" y="4187952"/>
                </a:cubicBezTo>
                <a:cubicBezTo>
                  <a:pt x="452019" y="4141851"/>
                  <a:pt x="423444" y="4095179"/>
                  <a:pt x="398679" y="4046125"/>
                </a:cubicBezTo>
                <a:cubicBezTo>
                  <a:pt x="407442" y="4043267"/>
                  <a:pt x="409156" y="4048982"/>
                  <a:pt x="411823" y="4053078"/>
                </a:cubicBezTo>
                <a:cubicBezTo>
                  <a:pt x="683572" y="4484656"/>
                  <a:pt x="1033139" y="4842701"/>
                  <a:pt x="1439380" y="5147405"/>
                </a:cubicBezTo>
                <a:lnTo>
                  <a:pt x="5710010" y="5150263"/>
                </a:lnTo>
                <a:cubicBezTo>
                  <a:pt x="5810594" y="5075482"/>
                  <a:pt x="5907272" y="4995587"/>
                  <a:pt x="5999665" y="4910900"/>
                </a:cubicBezTo>
                <a:cubicBezTo>
                  <a:pt x="6418765" y="4526661"/>
                  <a:pt x="6746901" y="4078129"/>
                  <a:pt x="6954165" y="3545777"/>
                </a:cubicBezTo>
                <a:cubicBezTo>
                  <a:pt x="7048234" y="3306175"/>
                  <a:pt x="7109956" y="3055115"/>
                  <a:pt x="7137712" y="2799207"/>
                </a:cubicBezTo>
                <a:cubicBezTo>
                  <a:pt x="7139236" y="2784920"/>
                  <a:pt x="7141046" y="2770632"/>
                  <a:pt x="7142951" y="2754535"/>
                </a:cubicBezTo>
                <a:cubicBezTo>
                  <a:pt x="7151714" y="2760440"/>
                  <a:pt x="7149237" y="2768441"/>
                  <a:pt x="7149428" y="2774823"/>
                </a:cubicBezTo>
                <a:cubicBezTo>
                  <a:pt x="7156743" y="3007967"/>
                  <a:pt x="7128777" y="3240881"/>
                  <a:pt x="7066465" y="3465672"/>
                </a:cubicBezTo>
                <a:cubicBezTo>
                  <a:pt x="6952165" y="3878580"/>
                  <a:pt x="6737948" y="4235863"/>
                  <a:pt x="6452578" y="4552760"/>
                </a:cubicBezTo>
                <a:cubicBezTo>
                  <a:pt x="6244553" y="4783836"/>
                  <a:pt x="6008809" y="4980242"/>
                  <a:pt x="5752110" y="5150263"/>
                </a:cubicBezTo>
                <a:lnTo>
                  <a:pt x="5827643" y="5150263"/>
                </a:lnTo>
                <a:cubicBezTo>
                  <a:pt x="6136539" y="4938904"/>
                  <a:pt x="6412192" y="4689348"/>
                  <a:pt x="6642793" y="4389406"/>
                </a:cubicBezTo>
                <a:cubicBezTo>
                  <a:pt x="6851295" y="4118324"/>
                  <a:pt x="7009125" y="3820859"/>
                  <a:pt x="7102469" y="3490817"/>
                </a:cubicBezTo>
                <a:cubicBezTo>
                  <a:pt x="7148646" y="3327473"/>
                  <a:pt x="7177069" y="3159624"/>
                  <a:pt x="7187242" y="2990183"/>
                </a:cubicBezTo>
                <a:cubicBezTo>
                  <a:pt x="7187623" y="2984087"/>
                  <a:pt x="7182384" y="2642330"/>
                  <a:pt x="7178288" y="2604802"/>
                </a:cubicBezTo>
                <a:close/>
                <a:moveTo>
                  <a:pt x="6342565" y="441389"/>
                </a:moveTo>
                <a:cubicBezTo>
                  <a:pt x="6829797" y="986533"/>
                  <a:pt x="7091135" y="1624422"/>
                  <a:pt x="7126567" y="2355056"/>
                </a:cubicBezTo>
                <a:cubicBezTo>
                  <a:pt x="7001123" y="1661827"/>
                  <a:pt x="6756426" y="1017365"/>
                  <a:pt x="6342565" y="441389"/>
                </a:cubicBez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Arial"/>
              <a:ea typeface="+mn-ea"/>
              <a:cs typeface="+mn-cs"/>
            </a:endParaRPr>
          </a:p>
        </p:txBody>
      </p:sp>
      <p:sp>
        <p:nvSpPr>
          <p:cNvPr id="4" name="Title 3">
            <a:extLst>
              <a:ext uri="{FF2B5EF4-FFF2-40B4-BE49-F238E27FC236}">
                <a16:creationId xmlns:a16="http://schemas.microsoft.com/office/drawing/2014/main" id="{B009CD84-DA40-4CAA-8A89-DD6DAA862368}"/>
              </a:ext>
            </a:extLst>
          </p:cNvPr>
          <p:cNvSpPr>
            <a:spLocks noGrp="1"/>
          </p:cNvSpPr>
          <p:nvPr>
            <p:ph type="title"/>
          </p:nvPr>
        </p:nvSpPr>
        <p:spPr>
          <a:xfrm>
            <a:off x="2819400" y="1485900"/>
            <a:ext cx="13502422" cy="4348463"/>
          </a:xfrm>
        </p:spPr>
        <p:txBody>
          <a:bodyPr vert="horz" lIns="91440" tIns="45720" rIns="91440" bIns="45720" rtlCol="0" anchor="b">
            <a:normAutofit/>
          </a:bodyPr>
          <a:lstStyle/>
          <a:p>
            <a:pPr indent="457200">
              <a:lnSpc>
                <a:spcPct val="90000"/>
              </a:lnSpc>
              <a:spcAft>
                <a:spcPts val="600"/>
              </a:spcAft>
            </a:pPr>
            <a:r>
              <a:rPr lang="en-GB" sz="9500" b="1" kern="1200" noProof="0" dirty="0">
                <a:solidFill>
                  <a:srgbClr val="FFFFFF"/>
                </a:solidFill>
                <a:latin typeface="+mj-lt"/>
                <a:ea typeface="+mj-ea"/>
                <a:cs typeface="+mj-cs"/>
              </a:rPr>
              <a:t>Chapter 4.3 </a:t>
            </a:r>
            <a:br>
              <a:rPr lang="en-GB" sz="9500" b="1" kern="1200" noProof="0" dirty="0">
                <a:solidFill>
                  <a:srgbClr val="FFFFFF"/>
                </a:solidFill>
                <a:latin typeface="+mj-lt"/>
                <a:ea typeface="+mj-ea"/>
                <a:cs typeface="+mj-cs"/>
              </a:rPr>
            </a:br>
            <a:r>
              <a:rPr lang="en-GB" sz="9500" b="1" kern="1200" noProof="0" dirty="0">
                <a:solidFill>
                  <a:srgbClr val="FFFFFF"/>
                </a:solidFill>
                <a:latin typeface="+mj-lt"/>
                <a:ea typeface="+mj-ea"/>
                <a:cs typeface="+mj-cs"/>
              </a:rPr>
              <a:t>Digital Twin for Agrochemical Sector</a:t>
            </a:r>
          </a:p>
        </p:txBody>
      </p:sp>
      <p:sp>
        <p:nvSpPr>
          <p:cNvPr id="62" name="sketch line">
            <a:extLst>
              <a:ext uri="{FF2B5EF4-FFF2-40B4-BE49-F238E27FC236}">
                <a16:creationId xmlns:a16="http://schemas.microsoft.com/office/drawing/2014/main" id="{41F77738-2AF0-4750-A0C7-F97C2C17590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961309" y="6260247"/>
            <a:ext cx="6365383" cy="27432"/>
          </a:xfrm>
          <a:custGeom>
            <a:avLst/>
            <a:gdLst>
              <a:gd name="connsiteX0" fmla="*/ 0 w 6365383"/>
              <a:gd name="connsiteY0" fmla="*/ 0 h 27432"/>
              <a:gd name="connsiteX1" fmla="*/ 636538 w 6365383"/>
              <a:gd name="connsiteY1" fmla="*/ 0 h 27432"/>
              <a:gd name="connsiteX2" fmla="*/ 1273077 w 6365383"/>
              <a:gd name="connsiteY2" fmla="*/ 0 h 27432"/>
              <a:gd name="connsiteX3" fmla="*/ 1909615 w 6365383"/>
              <a:gd name="connsiteY3" fmla="*/ 0 h 27432"/>
              <a:gd name="connsiteX4" fmla="*/ 2673461 w 6365383"/>
              <a:gd name="connsiteY4" fmla="*/ 0 h 27432"/>
              <a:gd name="connsiteX5" fmla="*/ 3373653 w 6365383"/>
              <a:gd name="connsiteY5" fmla="*/ 0 h 27432"/>
              <a:gd name="connsiteX6" fmla="*/ 3819230 w 6365383"/>
              <a:gd name="connsiteY6" fmla="*/ 0 h 27432"/>
              <a:gd name="connsiteX7" fmla="*/ 4392114 w 6365383"/>
              <a:gd name="connsiteY7" fmla="*/ 0 h 27432"/>
              <a:gd name="connsiteX8" fmla="*/ 5155960 w 6365383"/>
              <a:gd name="connsiteY8" fmla="*/ 0 h 27432"/>
              <a:gd name="connsiteX9" fmla="*/ 5792499 w 6365383"/>
              <a:gd name="connsiteY9" fmla="*/ 0 h 27432"/>
              <a:gd name="connsiteX10" fmla="*/ 6365383 w 6365383"/>
              <a:gd name="connsiteY10" fmla="*/ 0 h 27432"/>
              <a:gd name="connsiteX11" fmla="*/ 6365383 w 6365383"/>
              <a:gd name="connsiteY11" fmla="*/ 27432 h 27432"/>
              <a:gd name="connsiteX12" fmla="*/ 5856152 w 6365383"/>
              <a:gd name="connsiteY12" fmla="*/ 27432 h 27432"/>
              <a:gd name="connsiteX13" fmla="*/ 5092306 w 6365383"/>
              <a:gd name="connsiteY13" fmla="*/ 27432 h 27432"/>
              <a:gd name="connsiteX14" fmla="*/ 4583076 w 6365383"/>
              <a:gd name="connsiteY14" fmla="*/ 27432 h 27432"/>
              <a:gd name="connsiteX15" fmla="*/ 4137499 w 6365383"/>
              <a:gd name="connsiteY15" fmla="*/ 27432 h 27432"/>
              <a:gd name="connsiteX16" fmla="*/ 3691922 w 6365383"/>
              <a:gd name="connsiteY16" fmla="*/ 27432 h 27432"/>
              <a:gd name="connsiteX17" fmla="*/ 2991730 w 6365383"/>
              <a:gd name="connsiteY17" fmla="*/ 27432 h 27432"/>
              <a:gd name="connsiteX18" fmla="*/ 2546153 w 6365383"/>
              <a:gd name="connsiteY18" fmla="*/ 27432 h 27432"/>
              <a:gd name="connsiteX19" fmla="*/ 1909615 w 6365383"/>
              <a:gd name="connsiteY19" fmla="*/ 27432 h 27432"/>
              <a:gd name="connsiteX20" fmla="*/ 1400384 w 6365383"/>
              <a:gd name="connsiteY20" fmla="*/ 27432 h 27432"/>
              <a:gd name="connsiteX21" fmla="*/ 763846 w 6365383"/>
              <a:gd name="connsiteY21" fmla="*/ 27432 h 27432"/>
              <a:gd name="connsiteX22" fmla="*/ 0 w 6365383"/>
              <a:gd name="connsiteY22" fmla="*/ 27432 h 27432"/>
              <a:gd name="connsiteX23" fmla="*/ 0 w 6365383"/>
              <a:gd name="connsiteY23" fmla="*/ 0 h 27432"/>
              <a:gd name="connsiteX0" fmla="*/ 0 w 6365383"/>
              <a:gd name="connsiteY0" fmla="*/ 0 h 27432"/>
              <a:gd name="connsiteX1" fmla="*/ 572884 w 6365383"/>
              <a:gd name="connsiteY1" fmla="*/ 0 h 27432"/>
              <a:gd name="connsiteX2" fmla="*/ 1018461 w 6365383"/>
              <a:gd name="connsiteY2" fmla="*/ 0 h 27432"/>
              <a:gd name="connsiteX3" fmla="*/ 1782307 w 6365383"/>
              <a:gd name="connsiteY3" fmla="*/ 0 h 27432"/>
              <a:gd name="connsiteX4" fmla="*/ 2355192 w 6365383"/>
              <a:gd name="connsiteY4" fmla="*/ 0 h 27432"/>
              <a:gd name="connsiteX5" fmla="*/ 2928076 w 6365383"/>
              <a:gd name="connsiteY5" fmla="*/ 0 h 27432"/>
              <a:gd name="connsiteX6" fmla="*/ 3691922 w 6365383"/>
              <a:gd name="connsiteY6" fmla="*/ 0 h 27432"/>
              <a:gd name="connsiteX7" fmla="*/ 4201153 w 6365383"/>
              <a:gd name="connsiteY7" fmla="*/ 0 h 27432"/>
              <a:gd name="connsiteX8" fmla="*/ 4964999 w 6365383"/>
              <a:gd name="connsiteY8" fmla="*/ 0 h 27432"/>
              <a:gd name="connsiteX9" fmla="*/ 5728845 w 6365383"/>
              <a:gd name="connsiteY9" fmla="*/ 0 h 27432"/>
              <a:gd name="connsiteX10" fmla="*/ 6365383 w 6365383"/>
              <a:gd name="connsiteY10" fmla="*/ 0 h 27432"/>
              <a:gd name="connsiteX11" fmla="*/ 6365383 w 6365383"/>
              <a:gd name="connsiteY11" fmla="*/ 27432 h 27432"/>
              <a:gd name="connsiteX12" fmla="*/ 5665191 w 6365383"/>
              <a:gd name="connsiteY12" fmla="*/ 27432 h 27432"/>
              <a:gd name="connsiteX13" fmla="*/ 4901345 w 6365383"/>
              <a:gd name="connsiteY13" fmla="*/ 27432 h 27432"/>
              <a:gd name="connsiteX14" fmla="*/ 4137499 w 6365383"/>
              <a:gd name="connsiteY14" fmla="*/ 27432 h 27432"/>
              <a:gd name="connsiteX15" fmla="*/ 3628268 w 6365383"/>
              <a:gd name="connsiteY15" fmla="*/ 27432 h 27432"/>
              <a:gd name="connsiteX16" fmla="*/ 2991730 w 6365383"/>
              <a:gd name="connsiteY16" fmla="*/ 27432 h 27432"/>
              <a:gd name="connsiteX17" fmla="*/ 2227884 w 6365383"/>
              <a:gd name="connsiteY17" fmla="*/ 27432 h 27432"/>
              <a:gd name="connsiteX18" fmla="*/ 1591346 w 6365383"/>
              <a:gd name="connsiteY18" fmla="*/ 27432 h 27432"/>
              <a:gd name="connsiteX19" fmla="*/ 1145769 w 6365383"/>
              <a:gd name="connsiteY19" fmla="*/ 27432 h 27432"/>
              <a:gd name="connsiteX20" fmla="*/ 636538 w 6365383"/>
              <a:gd name="connsiteY20" fmla="*/ 27432 h 27432"/>
              <a:gd name="connsiteX21" fmla="*/ 0 w 6365383"/>
              <a:gd name="connsiteY21" fmla="*/ 27432 h 27432"/>
              <a:gd name="connsiteX22" fmla="*/ 0 w 6365383"/>
              <a:gd name="connsiteY22"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365383" h="27432" fill="none" extrusionOk="0">
                <a:moveTo>
                  <a:pt x="0" y="0"/>
                </a:moveTo>
                <a:cubicBezTo>
                  <a:pt x="311910" y="25756"/>
                  <a:pt x="328854" y="-22977"/>
                  <a:pt x="636538" y="0"/>
                </a:cubicBezTo>
                <a:cubicBezTo>
                  <a:pt x="929901" y="50670"/>
                  <a:pt x="1067253" y="-1993"/>
                  <a:pt x="1273077" y="0"/>
                </a:cubicBezTo>
                <a:cubicBezTo>
                  <a:pt x="1507620" y="-24857"/>
                  <a:pt x="1747799" y="-10413"/>
                  <a:pt x="1909615" y="0"/>
                </a:cubicBezTo>
                <a:cubicBezTo>
                  <a:pt x="2041097" y="-21585"/>
                  <a:pt x="2422417" y="-28022"/>
                  <a:pt x="2673461" y="0"/>
                </a:cubicBezTo>
                <a:cubicBezTo>
                  <a:pt x="2948394" y="-4560"/>
                  <a:pt x="3134893" y="36981"/>
                  <a:pt x="3373653" y="0"/>
                </a:cubicBezTo>
                <a:cubicBezTo>
                  <a:pt x="3634761" y="-15887"/>
                  <a:pt x="3700843" y="23167"/>
                  <a:pt x="3819230" y="0"/>
                </a:cubicBezTo>
                <a:cubicBezTo>
                  <a:pt x="3977295" y="2943"/>
                  <a:pt x="4128910" y="-53150"/>
                  <a:pt x="4392114" y="0"/>
                </a:cubicBezTo>
                <a:cubicBezTo>
                  <a:pt x="4672763" y="9214"/>
                  <a:pt x="4999833" y="38501"/>
                  <a:pt x="5155960" y="0"/>
                </a:cubicBezTo>
                <a:cubicBezTo>
                  <a:pt x="5343367" y="-6557"/>
                  <a:pt x="5597661" y="6622"/>
                  <a:pt x="5792499" y="0"/>
                </a:cubicBezTo>
                <a:cubicBezTo>
                  <a:pt x="6020774" y="43813"/>
                  <a:pt x="6148830" y="-13954"/>
                  <a:pt x="6365383" y="0"/>
                </a:cubicBezTo>
                <a:cubicBezTo>
                  <a:pt x="6364517" y="8091"/>
                  <a:pt x="6365728" y="20268"/>
                  <a:pt x="6365383" y="27432"/>
                </a:cubicBezTo>
                <a:cubicBezTo>
                  <a:pt x="6144545" y="15144"/>
                  <a:pt x="6006673" y="-7419"/>
                  <a:pt x="5856152" y="27432"/>
                </a:cubicBezTo>
                <a:cubicBezTo>
                  <a:pt x="5638446" y="81548"/>
                  <a:pt x="5413846" y="52067"/>
                  <a:pt x="5092306" y="27432"/>
                </a:cubicBezTo>
                <a:cubicBezTo>
                  <a:pt x="4768499" y="43350"/>
                  <a:pt x="4708569" y="3163"/>
                  <a:pt x="4583076" y="27432"/>
                </a:cubicBezTo>
                <a:cubicBezTo>
                  <a:pt x="4475482" y="66269"/>
                  <a:pt x="4242792" y="42702"/>
                  <a:pt x="4137499" y="27432"/>
                </a:cubicBezTo>
                <a:cubicBezTo>
                  <a:pt x="4003968" y="24039"/>
                  <a:pt x="3882646" y="-3026"/>
                  <a:pt x="3691922" y="27432"/>
                </a:cubicBezTo>
                <a:cubicBezTo>
                  <a:pt x="3501639" y="8096"/>
                  <a:pt x="3270842" y="-14942"/>
                  <a:pt x="2991730" y="27432"/>
                </a:cubicBezTo>
                <a:cubicBezTo>
                  <a:pt x="2712135" y="55419"/>
                  <a:pt x="2758697" y="31955"/>
                  <a:pt x="2546153" y="27432"/>
                </a:cubicBezTo>
                <a:cubicBezTo>
                  <a:pt x="2362220" y="-818"/>
                  <a:pt x="2130397" y="57099"/>
                  <a:pt x="1909615" y="27432"/>
                </a:cubicBezTo>
                <a:cubicBezTo>
                  <a:pt x="1714835" y="-15389"/>
                  <a:pt x="1636770" y="40318"/>
                  <a:pt x="1400384" y="27432"/>
                </a:cubicBezTo>
                <a:cubicBezTo>
                  <a:pt x="1161504" y="29515"/>
                  <a:pt x="1060819" y="7773"/>
                  <a:pt x="763846" y="27432"/>
                </a:cubicBezTo>
                <a:cubicBezTo>
                  <a:pt x="465096" y="43671"/>
                  <a:pt x="165309" y="15831"/>
                  <a:pt x="0" y="27432"/>
                </a:cubicBezTo>
                <a:cubicBezTo>
                  <a:pt x="-2013" y="18874"/>
                  <a:pt x="-525" y="8614"/>
                  <a:pt x="0" y="0"/>
                </a:cubicBezTo>
                <a:close/>
              </a:path>
              <a:path w="6365383" h="27432" stroke="0" extrusionOk="0">
                <a:moveTo>
                  <a:pt x="0" y="0"/>
                </a:moveTo>
                <a:cubicBezTo>
                  <a:pt x="84020" y="9133"/>
                  <a:pt x="339524" y="24523"/>
                  <a:pt x="572884" y="0"/>
                </a:cubicBezTo>
                <a:cubicBezTo>
                  <a:pt x="803790" y="-14011"/>
                  <a:pt x="837492" y="-10007"/>
                  <a:pt x="1018461" y="0"/>
                </a:cubicBezTo>
                <a:cubicBezTo>
                  <a:pt x="1188530" y="8943"/>
                  <a:pt x="1571061" y="17361"/>
                  <a:pt x="1782307" y="0"/>
                </a:cubicBezTo>
                <a:cubicBezTo>
                  <a:pt x="1967448" y="-16010"/>
                  <a:pt x="2153334" y="-25629"/>
                  <a:pt x="2355192" y="0"/>
                </a:cubicBezTo>
                <a:cubicBezTo>
                  <a:pt x="2541804" y="20205"/>
                  <a:pt x="2779440" y="53811"/>
                  <a:pt x="2928076" y="0"/>
                </a:cubicBezTo>
                <a:cubicBezTo>
                  <a:pt x="3024078" y="-16903"/>
                  <a:pt x="3337092" y="43483"/>
                  <a:pt x="3691922" y="0"/>
                </a:cubicBezTo>
                <a:cubicBezTo>
                  <a:pt x="4060895" y="-1064"/>
                  <a:pt x="4072166" y="-17195"/>
                  <a:pt x="4201153" y="0"/>
                </a:cubicBezTo>
                <a:cubicBezTo>
                  <a:pt x="4349835" y="-22516"/>
                  <a:pt x="4800106" y="-64797"/>
                  <a:pt x="4964999" y="0"/>
                </a:cubicBezTo>
                <a:cubicBezTo>
                  <a:pt x="5186764" y="15779"/>
                  <a:pt x="5564421" y="-10544"/>
                  <a:pt x="5728845" y="0"/>
                </a:cubicBezTo>
                <a:cubicBezTo>
                  <a:pt x="5915953" y="5493"/>
                  <a:pt x="6171384" y="-48026"/>
                  <a:pt x="6365383" y="0"/>
                </a:cubicBezTo>
                <a:cubicBezTo>
                  <a:pt x="6366596" y="6455"/>
                  <a:pt x="6365588" y="14391"/>
                  <a:pt x="6365383" y="27432"/>
                </a:cubicBezTo>
                <a:cubicBezTo>
                  <a:pt x="6172514" y="805"/>
                  <a:pt x="6006523" y="20734"/>
                  <a:pt x="5665191" y="27432"/>
                </a:cubicBezTo>
                <a:cubicBezTo>
                  <a:pt x="5322179" y="66687"/>
                  <a:pt x="5219376" y="21111"/>
                  <a:pt x="4901345" y="27432"/>
                </a:cubicBezTo>
                <a:cubicBezTo>
                  <a:pt x="4621310" y="-13654"/>
                  <a:pt x="4455192" y="54857"/>
                  <a:pt x="4137499" y="27432"/>
                </a:cubicBezTo>
                <a:cubicBezTo>
                  <a:pt x="3853317" y="12285"/>
                  <a:pt x="3862894" y="26263"/>
                  <a:pt x="3628268" y="27432"/>
                </a:cubicBezTo>
                <a:cubicBezTo>
                  <a:pt x="3418779" y="32610"/>
                  <a:pt x="3174456" y="83656"/>
                  <a:pt x="2991730" y="27432"/>
                </a:cubicBezTo>
                <a:cubicBezTo>
                  <a:pt x="2801278" y="6667"/>
                  <a:pt x="2497351" y="22891"/>
                  <a:pt x="2227884" y="27432"/>
                </a:cubicBezTo>
                <a:cubicBezTo>
                  <a:pt x="1986101" y="16297"/>
                  <a:pt x="1767219" y="-7535"/>
                  <a:pt x="1591346" y="27432"/>
                </a:cubicBezTo>
                <a:cubicBezTo>
                  <a:pt x="1447183" y="73731"/>
                  <a:pt x="1315973" y="39477"/>
                  <a:pt x="1145769" y="27432"/>
                </a:cubicBezTo>
                <a:cubicBezTo>
                  <a:pt x="990245" y="8882"/>
                  <a:pt x="810845" y="16910"/>
                  <a:pt x="636538" y="27432"/>
                </a:cubicBezTo>
                <a:cubicBezTo>
                  <a:pt x="482916" y="17795"/>
                  <a:pt x="183027" y="-17710"/>
                  <a:pt x="0" y="27432"/>
                </a:cubicBezTo>
                <a:cubicBezTo>
                  <a:pt x="491" y="19542"/>
                  <a:pt x="-1038" y="8534"/>
                  <a:pt x="0" y="0"/>
                </a:cubicBezTo>
                <a:close/>
              </a:path>
              <a:path w="6365383" h="27432" fill="none" stroke="0" extrusionOk="0">
                <a:moveTo>
                  <a:pt x="0" y="0"/>
                </a:moveTo>
                <a:cubicBezTo>
                  <a:pt x="296223" y="15991"/>
                  <a:pt x="333462" y="-23795"/>
                  <a:pt x="636538" y="0"/>
                </a:cubicBezTo>
                <a:cubicBezTo>
                  <a:pt x="970197" y="30961"/>
                  <a:pt x="1039864" y="3183"/>
                  <a:pt x="1273077" y="0"/>
                </a:cubicBezTo>
                <a:cubicBezTo>
                  <a:pt x="1449809" y="24819"/>
                  <a:pt x="1735152" y="23060"/>
                  <a:pt x="1909615" y="0"/>
                </a:cubicBezTo>
                <a:cubicBezTo>
                  <a:pt x="2016351" y="-41665"/>
                  <a:pt x="2415001" y="34773"/>
                  <a:pt x="2673461" y="0"/>
                </a:cubicBezTo>
                <a:cubicBezTo>
                  <a:pt x="2996983" y="-13411"/>
                  <a:pt x="3130707" y="3741"/>
                  <a:pt x="3373653" y="0"/>
                </a:cubicBezTo>
                <a:cubicBezTo>
                  <a:pt x="3601951" y="-16140"/>
                  <a:pt x="3689909" y="23222"/>
                  <a:pt x="3819230" y="0"/>
                </a:cubicBezTo>
                <a:cubicBezTo>
                  <a:pt x="3931872" y="-29406"/>
                  <a:pt x="4119438" y="24094"/>
                  <a:pt x="4392114" y="0"/>
                </a:cubicBezTo>
                <a:cubicBezTo>
                  <a:pt x="4665359" y="21557"/>
                  <a:pt x="4978709" y="13267"/>
                  <a:pt x="5155960" y="0"/>
                </a:cubicBezTo>
                <a:cubicBezTo>
                  <a:pt x="5299518" y="-18386"/>
                  <a:pt x="5605020" y="-6762"/>
                  <a:pt x="5792499" y="0"/>
                </a:cubicBezTo>
                <a:cubicBezTo>
                  <a:pt x="6013281" y="43398"/>
                  <a:pt x="6167567" y="36727"/>
                  <a:pt x="6365383" y="0"/>
                </a:cubicBezTo>
                <a:cubicBezTo>
                  <a:pt x="6365697" y="8368"/>
                  <a:pt x="6365332" y="21050"/>
                  <a:pt x="6365383" y="27432"/>
                </a:cubicBezTo>
                <a:cubicBezTo>
                  <a:pt x="6154893" y="8454"/>
                  <a:pt x="6014206" y="-8372"/>
                  <a:pt x="5856152" y="27432"/>
                </a:cubicBezTo>
                <a:cubicBezTo>
                  <a:pt x="5659455" y="59503"/>
                  <a:pt x="5350806" y="-35991"/>
                  <a:pt x="5092306" y="27432"/>
                </a:cubicBezTo>
                <a:cubicBezTo>
                  <a:pt x="4756309" y="48260"/>
                  <a:pt x="4699746" y="-4780"/>
                  <a:pt x="4583076" y="27432"/>
                </a:cubicBezTo>
                <a:cubicBezTo>
                  <a:pt x="4462137" y="30142"/>
                  <a:pt x="4226168" y="50236"/>
                  <a:pt x="4137499" y="27432"/>
                </a:cubicBezTo>
                <a:cubicBezTo>
                  <a:pt x="4018570" y="42181"/>
                  <a:pt x="3887179" y="34623"/>
                  <a:pt x="3691922" y="27432"/>
                </a:cubicBezTo>
                <a:cubicBezTo>
                  <a:pt x="3499755" y="32935"/>
                  <a:pt x="3281056" y="-9158"/>
                  <a:pt x="2991730" y="27432"/>
                </a:cubicBezTo>
                <a:cubicBezTo>
                  <a:pt x="2716073" y="57462"/>
                  <a:pt x="2755481" y="34494"/>
                  <a:pt x="2546153" y="27432"/>
                </a:cubicBezTo>
                <a:cubicBezTo>
                  <a:pt x="2356479" y="62622"/>
                  <a:pt x="2079190" y="73729"/>
                  <a:pt x="1909615" y="27432"/>
                </a:cubicBezTo>
                <a:cubicBezTo>
                  <a:pt x="1715819" y="-26444"/>
                  <a:pt x="1631368" y="48131"/>
                  <a:pt x="1400384" y="27432"/>
                </a:cubicBezTo>
                <a:cubicBezTo>
                  <a:pt x="1177327" y="16190"/>
                  <a:pt x="1065236" y="24992"/>
                  <a:pt x="763846" y="27432"/>
                </a:cubicBezTo>
                <a:cubicBezTo>
                  <a:pt x="448643" y="60691"/>
                  <a:pt x="160833" y="2330"/>
                  <a:pt x="0" y="27432"/>
                </a:cubicBezTo>
                <a:cubicBezTo>
                  <a:pt x="1559" y="18666"/>
                  <a:pt x="-585" y="7580"/>
                  <a:pt x="0" y="0"/>
                </a:cubicBezTo>
                <a:close/>
              </a:path>
            </a:pathLst>
          </a:custGeom>
          <a:solidFill>
            <a:srgbClr val="FFFFFF"/>
          </a:solidFill>
          <a:ln w="41275" cap="rnd">
            <a:solidFill>
              <a:srgbClr val="FFFFFF"/>
            </a:solidFill>
            <a:round/>
            <a:extLst>
              <a:ext uri="{C807C97D-BFC1-408E-A445-0C87EB9F89A2}">
                <ask:lineSketchStyleProps xmlns:ask="http://schemas.microsoft.com/office/drawing/2018/sketchyshapes" sd="1219033472">
                  <a:custGeom>
                    <a:avLst/>
                    <a:gdLst>
                      <a:gd name="connsiteX0" fmla="*/ 0 w 6365383"/>
                      <a:gd name="connsiteY0" fmla="*/ 0 h 27432"/>
                      <a:gd name="connsiteX1" fmla="*/ 636538 w 6365383"/>
                      <a:gd name="connsiteY1" fmla="*/ 0 h 27432"/>
                      <a:gd name="connsiteX2" fmla="*/ 1273077 w 6365383"/>
                      <a:gd name="connsiteY2" fmla="*/ 0 h 27432"/>
                      <a:gd name="connsiteX3" fmla="*/ 1909615 w 6365383"/>
                      <a:gd name="connsiteY3" fmla="*/ 0 h 27432"/>
                      <a:gd name="connsiteX4" fmla="*/ 2673461 w 6365383"/>
                      <a:gd name="connsiteY4" fmla="*/ 0 h 27432"/>
                      <a:gd name="connsiteX5" fmla="*/ 3373653 w 6365383"/>
                      <a:gd name="connsiteY5" fmla="*/ 0 h 27432"/>
                      <a:gd name="connsiteX6" fmla="*/ 3819230 w 6365383"/>
                      <a:gd name="connsiteY6" fmla="*/ 0 h 27432"/>
                      <a:gd name="connsiteX7" fmla="*/ 4392114 w 6365383"/>
                      <a:gd name="connsiteY7" fmla="*/ 0 h 27432"/>
                      <a:gd name="connsiteX8" fmla="*/ 5155960 w 6365383"/>
                      <a:gd name="connsiteY8" fmla="*/ 0 h 27432"/>
                      <a:gd name="connsiteX9" fmla="*/ 5792499 w 6365383"/>
                      <a:gd name="connsiteY9" fmla="*/ 0 h 27432"/>
                      <a:gd name="connsiteX10" fmla="*/ 6365383 w 6365383"/>
                      <a:gd name="connsiteY10" fmla="*/ 0 h 27432"/>
                      <a:gd name="connsiteX11" fmla="*/ 6365383 w 6365383"/>
                      <a:gd name="connsiteY11" fmla="*/ 27432 h 27432"/>
                      <a:gd name="connsiteX12" fmla="*/ 5856152 w 6365383"/>
                      <a:gd name="connsiteY12" fmla="*/ 27432 h 27432"/>
                      <a:gd name="connsiteX13" fmla="*/ 5092306 w 6365383"/>
                      <a:gd name="connsiteY13" fmla="*/ 27432 h 27432"/>
                      <a:gd name="connsiteX14" fmla="*/ 4583076 w 6365383"/>
                      <a:gd name="connsiteY14" fmla="*/ 27432 h 27432"/>
                      <a:gd name="connsiteX15" fmla="*/ 4137499 w 6365383"/>
                      <a:gd name="connsiteY15" fmla="*/ 27432 h 27432"/>
                      <a:gd name="connsiteX16" fmla="*/ 3691922 w 6365383"/>
                      <a:gd name="connsiteY16" fmla="*/ 27432 h 27432"/>
                      <a:gd name="connsiteX17" fmla="*/ 2991730 w 6365383"/>
                      <a:gd name="connsiteY17" fmla="*/ 27432 h 27432"/>
                      <a:gd name="connsiteX18" fmla="*/ 2546153 w 6365383"/>
                      <a:gd name="connsiteY18" fmla="*/ 27432 h 27432"/>
                      <a:gd name="connsiteX19" fmla="*/ 1909615 w 6365383"/>
                      <a:gd name="connsiteY19" fmla="*/ 27432 h 27432"/>
                      <a:gd name="connsiteX20" fmla="*/ 1400384 w 6365383"/>
                      <a:gd name="connsiteY20" fmla="*/ 27432 h 27432"/>
                      <a:gd name="connsiteX21" fmla="*/ 763846 w 6365383"/>
                      <a:gd name="connsiteY21" fmla="*/ 27432 h 27432"/>
                      <a:gd name="connsiteX22" fmla="*/ 0 w 6365383"/>
                      <a:gd name="connsiteY22" fmla="*/ 27432 h 27432"/>
                      <a:gd name="connsiteX23" fmla="*/ 0 w 6365383"/>
                      <a:gd name="connsiteY23"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365383" h="27432" fill="none" extrusionOk="0">
                        <a:moveTo>
                          <a:pt x="0" y="0"/>
                        </a:moveTo>
                        <a:cubicBezTo>
                          <a:pt x="305169" y="21509"/>
                          <a:pt x="334704" y="-24261"/>
                          <a:pt x="636538" y="0"/>
                        </a:cubicBezTo>
                        <a:cubicBezTo>
                          <a:pt x="938372" y="24261"/>
                          <a:pt x="1068606" y="2269"/>
                          <a:pt x="1273077" y="0"/>
                        </a:cubicBezTo>
                        <a:cubicBezTo>
                          <a:pt x="1477548" y="-2269"/>
                          <a:pt x="1738189" y="6272"/>
                          <a:pt x="1909615" y="0"/>
                        </a:cubicBezTo>
                        <a:cubicBezTo>
                          <a:pt x="2081041" y="-6272"/>
                          <a:pt x="2377015" y="16623"/>
                          <a:pt x="2673461" y="0"/>
                        </a:cubicBezTo>
                        <a:cubicBezTo>
                          <a:pt x="2969907" y="-16623"/>
                          <a:pt x="3126114" y="13194"/>
                          <a:pt x="3373653" y="0"/>
                        </a:cubicBezTo>
                        <a:cubicBezTo>
                          <a:pt x="3621192" y="-13194"/>
                          <a:pt x="3704499" y="9486"/>
                          <a:pt x="3819230" y="0"/>
                        </a:cubicBezTo>
                        <a:cubicBezTo>
                          <a:pt x="3933961" y="-9486"/>
                          <a:pt x="4142691" y="-8221"/>
                          <a:pt x="4392114" y="0"/>
                        </a:cubicBezTo>
                        <a:cubicBezTo>
                          <a:pt x="4641537" y="8221"/>
                          <a:pt x="4974506" y="12257"/>
                          <a:pt x="5155960" y="0"/>
                        </a:cubicBezTo>
                        <a:cubicBezTo>
                          <a:pt x="5337414" y="-12257"/>
                          <a:pt x="5585731" y="-22537"/>
                          <a:pt x="5792499" y="0"/>
                        </a:cubicBezTo>
                        <a:cubicBezTo>
                          <a:pt x="5999267" y="22537"/>
                          <a:pt x="6164726" y="7303"/>
                          <a:pt x="6365383" y="0"/>
                        </a:cubicBezTo>
                        <a:cubicBezTo>
                          <a:pt x="6365125" y="7487"/>
                          <a:pt x="6364462" y="19984"/>
                          <a:pt x="6365383" y="27432"/>
                        </a:cubicBezTo>
                        <a:cubicBezTo>
                          <a:pt x="6132222" y="28304"/>
                          <a:pt x="6011986" y="2071"/>
                          <a:pt x="5856152" y="27432"/>
                        </a:cubicBezTo>
                        <a:cubicBezTo>
                          <a:pt x="5700318" y="52793"/>
                          <a:pt x="5410732" y="5357"/>
                          <a:pt x="5092306" y="27432"/>
                        </a:cubicBezTo>
                        <a:cubicBezTo>
                          <a:pt x="4773880" y="49507"/>
                          <a:pt x="4705351" y="6645"/>
                          <a:pt x="4583076" y="27432"/>
                        </a:cubicBezTo>
                        <a:cubicBezTo>
                          <a:pt x="4460801" y="48220"/>
                          <a:pt x="4239915" y="42209"/>
                          <a:pt x="4137499" y="27432"/>
                        </a:cubicBezTo>
                        <a:cubicBezTo>
                          <a:pt x="4035083" y="12655"/>
                          <a:pt x="3883665" y="32012"/>
                          <a:pt x="3691922" y="27432"/>
                        </a:cubicBezTo>
                        <a:cubicBezTo>
                          <a:pt x="3500179" y="22852"/>
                          <a:pt x="3265830" y="-126"/>
                          <a:pt x="2991730" y="27432"/>
                        </a:cubicBezTo>
                        <a:cubicBezTo>
                          <a:pt x="2717630" y="54990"/>
                          <a:pt x="2757122" y="34407"/>
                          <a:pt x="2546153" y="27432"/>
                        </a:cubicBezTo>
                        <a:cubicBezTo>
                          <a:pt x="2335184" y="20457"/>
                          <a:pt x="2107331" y="58889"/>
                          <a:pt x="1909615" y="27432"/>
                        </a:cubicBezTo>
                        <a:cubicBezTo>
                          <a:pt x="1711899" y="-4025"/>
                          <a:pt x="1634641" y="48316"/>
                          <a:pt x="1400384" y="27432"/>
                        </a:cubicBezTo>
                        <a:cubicBezTo>
                          <a:pt x="1166127" y="6548"/>
                          <a:pt x="1068288" y="15776"/>
                          <a:pt x="763846" y="27432"/>
                        </a:cubicBezTo>
                        <a:cubicBezTo>
                          <a:pt x="459404" y="39088"/>
                          <a:pt x="170017" y="14515"/>
                          <a:pt x="0" y="27432"/>
                        </a:cubicBezTo>
                        <a:cubicBezTo>
                          <a:pt x="-14" y="18173"/>
                          <a:pt x="-517" y="8990"/>
                          <a:pt x="0" y="0"/>
                        </a:cubicBezTo>
                        <a:close/>
                      </a:path>
                      <a:path w="6365383" h="27432" stroke="0" extrusionOk="0">
                        <a:moveTo>
                          <a:pt x="0" y="0"/>
                        </a:moveTo>
                        <a:cubicBezTo>
                          <a:pt x="114610" y="-2215"/>
                          <a:pt x="340315" y="12554"/>
                          <a:pt x="572884" y="0"/>
                        </a:cubicBezTo>
                        <a:cubicBezTo>
                          <a:pt x="805453" y="-12554"/>
                          <a:pt x="832891" y="-10424"/>
                          <a:pt x="1018461" y="0"/>
                        </a:cubicBezTo>
                        <a:cubicBezTo>
                          <a:pt x="1204031" y="10424"/>
                          <a:pt x="1590875" y="8682"/>
                          <a:pt x="1782307" y="0"/>
                        </a:cubicBezTo>
                        <a:cubicBezTo>
                          <a:pt x="1973739" y="-8682"/>
                          <a:pt x="2150876" y="5508"/>
                          <a:pt x="2355192" y="0"/>
                        </a:cubicBezTo>
                        <a:cubicBezTo>
                          <a:pt x="2559508" y="-5508"/>
                          <a:pt x="2790194" y="26965"/>
                          <a:pt x="2928076" y="0"/>
                        </a:cubicBezTo>
                        <a:cubicBezTo>
                          <a:pt x="3065958" y="-26965"/>
                          <a:pt x="3321537" y="819"/>
                          <a:pt x="3691922" y="0"/>
                        </a:cubicBezTo>
                        <a:cubicBezTo>
                          <a:pt x="4062307" y="-819"/>
                          <a:pt x="4072238" y="-15327"/>
                          <a:pt x="4201153" y="0"/>
                        </a:cubicBezTo>
                        <a:cubicBezTo>
                          <a:pt x="4330068" y="15327"/>
                          <a:pt x="4772079" y="-35646"/>
                          <a:pt x="4964999" y="0"/>
                        </a:cubicBezTo>
                        <a:cubicBezTo>
                          <a:pt x="5157919" y="35646"/>
                          <a:pt x="5543915" y="6802"/>
                          <a:pt x="5728845" y="0"/>
                        </a:cubicBezTo>
                        <a:cubicBezTo>
                          <a:pt x="5913775" y="-6802"/>
                          <a:pt x="6142952" y="-21408"/>
                          <a:pt x="6365383" y="0"/>
                        </a:cubicBezTo>
                        <a:cubicBezTo>
                          <a:pt x="6364552" y="6329"/>
                          <a:pt x="6365787" y="16858"/>
                          <a:pt x="6365383" y="27432"/>
                        </a:cubicBezTo>
                        <a:cubicBezTo>
                          <a:pt x="6176931" y="320"/>
                          <a:pt x="5998736" y="11244"/>
                          <a:pt x="5665191" y="27432"/>
                        </a:cubicBezTo>
                        <a:cubicBezTo>
                          <a:pt x="5331646" y="43620"/>
                          <a:pt x="5198011" y="28615"/>
                          <a:pt x="4901345" y="27432"/>
                        </a:cubicBezTo>
                        <a:cubicBezTo>
                          <a:pt x="4604679" y="26249"/>
                          <a:pt x="4422931" y="40617"/>
                          <a:pt x="4137499" y="27432"/>
                        </a:cubicBezTo>
                        <a:cubicBezTo>
                          <a:pt x="3852067" y="14247"/>
                          <a:pt x="3861939" y="26581"/>
                          <a:pt x="3628268" y="27432"/>
                        </a:cubicBezTo>
                        <a:cubicBezTo>
                          <a:pt x="3394597" y="28283"/>
                          <a:pt x="3171361" y="44132"/>
                          <a:pt x="2991730" y="27432"/>
                        </a:cubicBezTo>
                        <a:cubicBezTo>
                          <a:pt x="2812099" y="10732"/>
                          <a:pt x="2469344" y="24737"/>
                          <a:pt x="2227884" y="27432"/>
                        </a:cubicBezTo>
                        <a:cubicBezTo>
                          <a:pt x="1986424" y="30127"/>
                          <a:pt x="1748067" y="6359"/>
                          <a:pt x="1591346" y="27432"/>
                        </a:cubicBezTo>
                        <a:cubicBezTo>
                          <a:pt x="1434625" y="48505"/>
                          <a:pt x="1307456" y="39663"/>
                          <a:pt x="1145769" y="27432"/>
                        </a:cubicBezTo>
                        <a:cubicBezTo>
                          <a:pt x="984082" y="15201"/>
                          <a:pt x="800279" y="41647"/>
                          <a:pt x="636538" y="27432"/>
                        </a:cubicBezTo>
                        <a:cubicBezTo>
                          <a:pt x="472797" y="13217"/>
                          <a:pt x="160022" y="2213"/>
                          <a:pt x="0" y="27432"/>
                        </a:cubicBezTo>
                        <a:cubicBezTo>
                          <a:pt x="-177" y="19307"/>
                          <a:pt x="-1145" y="9170"/>
                          <a:pt x="0" y="0"/>
                        </a:cubicBezTo>
                        <a:close/>
                      </a:path>
                    </a:pathLst>
                  </a:cu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592744430"/>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6"/>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marL="0" marR="0" lvl="0" indent="0" algn="ctr" defTabSz="914400" rtl="0" eaLnBrk="1" fontAlgn="auto" latinLnBrk="0" hangingPunct="1">
                <a:lnSpc>
                  <a:spcPts val="3919"/>
                </a:lnSpc>
                <a:spcBef>
                  <a:spcPct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OCR A Extended" panose="02010509020102010303" pitchFamily="50" charset="0"/>
                  <a:ea typeface="+mn-ea"/>
                  <a:cs typeface="+mn-cs"/>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4"/>
          <a:srcRect/>
          <a:stretch>
            <a:fillRect/>
          </a:stretch>
        </p:blipFill>
        <p:spPr>
          <a:xfrm>
            <a:off x="0" y="9499590"/>
            <a:ext cx="3247053" cy="787410"/>
          </a:xfrm>
          <a:prstGeom prst="rect">
            <a:avLst/>
          </a:prstGeom>
        </p:spPr>
      </p:pic>
      <p:grpSp>
        <p:nvGrpSpPr>
          <p:cNvPr id="3" name="Gruppo 2">
            <a:extLst>
              <a:ext uri="{FF2B5EF4-FFF2-40B4-BE49-F238E27FC236}">
                <a16:creationId xmlns:a16="http://schemas.microsoft.com/office/drawing/2014/main" id="{D0B44AFC-EABA-48CF-A7A8-348076F88921}"/>
              </a:ext>
            </a:extLst>
          </p:cNvPr>
          <p:cNvGrpSpPr/>
          <p:nvPr/>
        </p:nvGrpSpPr>
        <p:grpSpPr>
          <a:xfrm>
            <a:off x="-12" y="138554"/>
            <a:ext cx="18288002" cy="681138"/>
            <a:chOff x="-12" y="138554"/>
            <a:chExt cx="18288002" cy="681138"/>
          </a:xfrm>
        </p:grpSpPr>
        <p:grpSp>
          <p:nvGrpSpPr>
            <p:cNvPr id="16" name="Gruppo 15">
              <a:extLst>
                <a:ext uri="{FF2B5EF4-FFF2-40B4-BE49-F238E27FC236}">
                  <a16:creationId xmlns:a16="http://schemas.microsoft.com/office/drawing/2014/main" id="{DAC42A46-917D-41AB-8F07-E15E54D0F7D4}"/>
                </a:ext>
              </a:extLst>
            </p:cNvPr>
            <p:cNvGrpSpPr/>
            <p:nvPr/>
          </p:nvGrpSpPr>
          <p:grpSpPr>
            <a:xfrm>
              <a:off x="0" y="153125"/>
              <a:ext cx="13958844" cy="666567"/>
              <a:chOff x="0" y="153125"/>
              <a:chExt cx="13958844" cy="666567"/>
            </a:xfrm>
          </p:grpSpPr>
          <p:pic>
            <p:nvPicPr>
              <p:cNvPr id="10" name="Picture 10"/>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1" name="TextBox 11"/>
              <p:cNvSpPr txBox="1"/>
              <p:nvPr/>
            </p:nvSpPr>
            <p:spPr>
              <a:xfrm>
                <a:off x="228600" y="257980"/>
                <a:ext cx="5752704" cy="456856"/>
              </a:xfrm>
              <a:prstGeom prst="rect">
                <a:avLst/>
              </a:prstGeom>
            </p:spPr>
            <p:txBody>
              <a:bodyPr wrap="square" lIns="0" tIns="0" rIns="0" bIns="0" rtlCol="0" anchor="t">
                <a:spAutoFit/>
              </a:bodyPr>
              <a:lstStyle/>
              <a:p>
                <a:pPr marL="0" marR="0" lvl="0" indent="0" algn="l" defTabSz="914400" rtl="0" eaLnBrk="1" fontAlgn="auto" latinLnBrk="0" hangingPunct="1">
                  <a:lnSpc>
                    <a:spcPts val="3919"/>
                  </a:lnSpc>
                  <a:spcBef>
                    <a:spcPct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5" name="Rettangolo 14">
              <a:extLst>
                <a:ext uri="{FF2B5EF4-FFF2-40B4-BE49-F238E27FC236}">
                  <a16:creationId xmlns:a16="http://schemas.microsoft.com/office/drawing/2014/main" id="{AFFDA913-633F-49C2-9D71-573FB327981F}"/>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3" name="Title 1">
            <a:extLst>
              <a:ext uri="{FF2B5EF4-FFF2-40B4-BE49-F238E27FC236}">
                <a16:creationId xmlns:a16="http://schemas.microsoft.com/office/drawing/2014/main" id="{8AD61396-31C7-41DE-9CAD-95392388BB38}"/>
              </a:ext>
            </a:extLst>
          </p:cNvPr>
          <p:cNvSpPr txBox="1">
            <a:spLocks/>
          </p:cNvSpPr>
          <p:nvPr/>
        </p:nvSpPr>
        <p:spPr>
          <a:xfrm>
            <a:off x="540522" y="1131448"/>
            <a:ext cx="12877800" cy="930729"/>
          </a:xfrm>
          <a:prstGeom prst="rect">
            <a:avLst/>
          </a:prstGeom>
        </p:spPr>
        <p:txBody>
          <a:bodyP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sv-SE" sz="5400" b="1" i="0" u="none" strike="noStrike" kern="1200" cap="none" spc="0" normalizeH="0" baseline="0" noProof="0">
                <a:ln>
                  <a:noFill/>
                </a:ln>
                <a:solidFill>
                  <a:srgbClr val="CC0033"/>
                </a:solidFill>
                <a:effectLst/>
                <a:uLnTx/>
                <a:uFillTx/>
                <a:latin typeface="Arial"/>
                <a:ea typeface="+mj-ea"/>
                <a:cs typeface="Arial" panose="020B0604020202020204" pitchFamily="34" charset="0"/>
              </a:rPr>
              <a:t>Group </a:t>
            </a:r>
            <a:r>
              <a:rPr kumimoji="0" lang="sv-SE" sz="5400" b="1" i="0" u="none" strike="noStrike" kern="1200" cap="none" spc="0" normalizeH="0" baseline="0" noProof="0" err="1">
                <a:ln>
                  <a:noFill/>
                </a:ln>
                <a:solidFill>
                  <a:srgbClr val="CC0033"/>
                </a:solidFill>
                <a:effectLst/>
                <a:uLnTx/>
                <a:uFillTx/>
                <a:latin typeface="Arial"/>
                <a:ea typeface="+mj-ea"/>
                <a:cs typeface="Arial" panose="020B0604020202020204" pitchFamily="34" charset="0"/>
              </a:rPr>
              <a:t>discussion</a:t>
            </a:r>
            <a:endParaRPr kumimoji="0" lang="sv-SE" sz="4400" b="0" i="0" u="none" strike="noStrike" kern="1200" cap="none" spc="0" normalizeH="0" baseline="0" noProof="0">
              <a:ln>
                <a:noFill/>
              </a:ln>
              <a:solidFill>
                <a:srgbClr val="2F2F2F"/>
              </a:solidFill>
              <a:effectLst/>
              <a:uLnTx/>
              <a:uFillTx/>
              <a:latin typeface="Arial"/>
              <a:ea typeface="+mj-ea"/>
              <a:cs typeface="+mj-cs"/>
            </a:endParaRPr>
          </a:p>
        </p:txBody>
      </p:sp>
      <p:sp>
        <p:nvSpPr>
          <p:cNvPr id="14" name="TextBox 13">
            <a:extLst>
              <a:ext uri="{FF2B5EF4-FFF2-40B4-BE49-F238E27FC236}">
                <a16:creationId xmlns:a16="http://schemas.microsoft.com/office/drawing/2014/main" id="{D180123C-ABD7-458C-97E1-274B2CC8DAFA}"/>
              </a:ext>
            </a:extLst>
          </p:cNvPr>
          <p:cNvSpPr txBox="1"/>
          <p:nvPr/>
        </p:nvSpPr>
        <p:spPr>
          <a:xfrm>
            <a:off x="540522" y="3405315"/>
            <a:ext cx="7123021" cy="4524315"/>
          </a:xfrm>
          <a:prstGeom prst="rect">
            <a:avLst/>
          </a:prstGeom>
          <a:noFill/>
          <a:ln>
            <a:solidFill>
              <a:schemeClr val="accent1"/>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F2F2F"/>
                </a:solidFill>
                <a:effectLst/>
                <a:uLnTx/>
                <a:uFillTx/>
                <a:latin typeface="Arial"/>
                <a:ea typeface="+mn-ea"/>
                <a:cs typeface="+mn-cs"/>
              </a:rPr>
              <a:t>Discuss in groups of 3:</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2F2F2F"/>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F2F2F"/>
                </a:solidFill>
                <a:effectLst/>
                <a:uLnTx/>
                <a:uFillTx/>
                <a:latin typeface="Arial"/>
                <a:ea typeface="+mn-ea"/>
                <a:cs typeface="+mn-cs"/>
              </a:rPr>
              <a:t>What possible risks are associated to digital twi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F2F2F"/>
                </a:solidFill>
                <a:effectLst/>
                <a:uLnTx/>
                <a:uFillTx/>
                <a:latin typeface="Arial"/>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F2F2F"/>
                </a:solidFill>
                <a:effectLst/>
                <a:uLnTx/>
                <a:uFillTx/>
                <a:latin typeface="Arial"/>
                <a:ea typeface="+mn-ea"/>
                <a:cs typeface="+mn-cs"/>
              </a:rPr>
              <a:t>How can these risks be minimized?</a:t>
            </a:r>
          </a:p>
          <a:p>
            <a:pPr marL="571500" marR="0" lvl="0" indent="-5715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sv-SE" sz="3600" b="0" i="0" u="none" strike="noStrike" kern="1200" cap="none" spc="0" normalizeH="0" baseline="0" noProof="0">
              <a:ln>
                <a:noFill/>
              </a:ln>
              <a:solidFill>
                <a:srgbClr val="2F2F2F"/>
              </a:solidFill>
              <a:effectLst/>
              <a:uLnTx/>
              <a:uFillTx/>
              <a:latin typeface="Arial"/>
              <a:ea typeface="+mn-ea"/>
              <a:cs typeface="+mn-cs"/>
            </a:endParaRPr>
          </a:p>
        </p:txBody>
      </p:sp>
      <p:pic>
        <p:nvPicPr>
          <p:cNvPr id="6" name="Picture 5">
            <a:extLst>
              <a:ext uri="{FF2B5EF4-FFF2-40B4-BE49-F238E27FC236}">
                <a16:creationId xmlns:a16="http://schemas.microsoft.com/office/drawing/2014/main" id="{87ABC6AE-8100-E515-19A5-69F0B471FEC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458200" y="2590800"/>
            <a:ext cx="8890000" cy="6032500"/>
          </a:xfrm>
          <a:prstGeom prst="rect">
            <a:avLst/>
          </a:prstGeom>
        </p:spPr>
      </p:pic>
    </p:spTree>
    <p:extLst>
      <p:ext uri="{BB962C8B-B14F-4D97-AF65-F5344CB8AC3E}">
        <p14:creationId xmlns:p14="http://schemas.microsoft.com/office/powerpoint/2010/main" val="1523347833"/>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8" descr="RETROFEED FERTIBERIA">
            <a:extLst>
              <a:ext uri="{FF2B5EF4-FFF2-40B4-BE49-F238E27FC236}">
                <a16:creationId xmlns:a16="http://schemas.microsoft.com/office/drawing/2014/main" id="{F7803199-48FA-E033-2EE9-6E95D2175F0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49846" y="892027"/>
            <a:ext cx="2287452" cy="841782"/>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6"/>
            <a:ext cx="13958844" cy="666567"/>
            <a:chOff x="4329156" y="9649198"/>
            <a:chExt cx="13958844" cy="666567"/>
          </a:xfrm>
        </p:grpSpPr>
        <p:pic>
          <p:nvPicPr>
            <p:cNvPr id="18" name="Picture 12" descr="Background pattern&#10;&#10;Description automatically generated">
              <a:extLst>
                <a:ext uri="{FF2B5EF4-FFF2-40B4-BE49-F238E27FC236}">
                  <a16:creationId xmlns:a16="http://schemas.microsoft.com/office/drawing/2014/main" id="{656E1DC6-816C-4843-B17E-566C3C339AB5}"/>
                </a:ext>
              </a:extLst>
            </p:cNvPr>
            <p:cNvPicPr>
              <a:picLocks noChangeAspect="1"/>
            </p:cNvPicPr>
            <p:nvPr/>
          </p:nvPicPr>
          <p:blipFill>
            <a:blip r:embed="rId4"/>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marL="0" marR="0" lvl="0" indent="0" algn="ctr" defTabSz="914400" rtl="0" eaLnBrk="1" fontAlgn="auto" latinLnBrk="0" hangingPunct="1">
                <a:lnSpc>
                  <a:spcPts val="3919"/>
                </a:lnSpc>
                <a:spcBef>
                  <a:spcPct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OCR A Extended" panose="02010509020102010303" pitchFamily="50" charset="0"/>
                  <a:ea typeface="+mn-ea"/>
                  <a:cs typeface="+mn-cs"/>
                </a:rPr>
                <a:t>www.retrofeed.eu</a:t>
              </a:r>
            </a:p>
          </p:txBody>
        </p:sp>
      </p:grpSp>
      <p:pic>
        <p:nvPicPr>
          <p:cNvPr id="20" name="Picture 12" descr="Logo&#10;&#10;Description automatically generated">
            <a:extLst>
              <a:ext uri="{FF2B5EF4-FFF2-40B4-BE49-F238E27FC236}">
                <a16:creationId xmlns:a16="http://schemas.microsoft.com/office/drawing/2014/main" id="{FF4E0145-0EE4-4FAB-85AC-C3A9A6BF4D25}"/>
              </a:ext>
            </a:extLst>
          </p:cNvPr>
          <p:cNvPicPr>
            <a:picLocks noChangeAspect="1"/>
          </p:cNvPicPr>
          <p:nvPr/>
        </p:nvPicPr>
        <p:blipFill>
          <a:blip r:embed="rId5"/>
          <a:srcRect/>
          <a:stretch>
            <a:fillRect/>
          </a:stretch>
        </p:blipFill>
        <p:spPr>
          <a:xfrm>
            <a:off x="0" y="9499590"/>
            <a:ext cx="3247053" cy="787410"/>
          </a:xfrm>
          <a:prstGeom prst="rect">
            <a:avLst/>
          </a:prstGeom>
        </p:spPr>
      </p:pic>
      <p:grpSp>
        <p:nvGrpSpPr>
          <p:cNvPr id="3" name="Gruppo 2">
            <a:extLst>
              <a:ext uri="{FF2B5EF4-FFF2-40B4-BE49-F238E27FC236}">
                <a16:creationId xmlns:a16="http://schemas.microsoft.com/office/drawing/2014/main" id="{D0B44AFC-EABA-48CF-A7A8-348076F88921}"/>
              </a:ext>
            </a:extLst>
          </p:cNvPr>
          <p:cNvGrpSpPr/>
          <p:nvPr/>
        </p:nvGrpSpPr>
        <p:grpSpPr>
          <a:xfrm>
            <a:off x="-12" y="138554"/>
            <a:ext cx="18288002" cy="681138"/>
            <a:chOff x="-12" y="138554"/>
            <a:chExt cx="18288002" cy="681138"/>
          </a:xfrm>
        </p:grpSpPr>
        <p:grpSp>
          <p:nvGrpSpPr>
            <p:cNvPr id="16" name="Gruppo 15">
              <a:extLst>
                <a:ext uri="{FF2B5EF4-FFF2-40B4-BE49-F238E27FC236}">
                  <a16:creationId xmlns:a16="http://schemas.microsoft.com/office/drawing/2014/main" id="{DAC42A46-917D-41AB-8F07-E15E54D0F7D4}"/>
                </a:ext>
              </a:extLst>
            </p:cNvPr>
            <p:cNvGrpSpPr/>
            <p:nvPr/>
          </p:nvGrpSpPr>
          <p:grpSpPr>
            <a:xfrm>
              <a:off x="0" y="153125"/>
              <a:ext cx="13958844" cy="666567"/>
              <a:chOff x="0" y="153125"/>
              <a:chExt cx="13958844" cy="666567"/>
            </a:xfrm>
          </p:grpSpPr>
          <p:pic>
            <p:nvPicPr>
              <p:cNvPr id="10" name="Picture 10" descr="Background pattern&#10;&#10;Description automatically generated"/>
              <p:cNvPicPr>
                <a:picLocks noChangeAspect="1"/>
              </p:cNvPicPr>
              <p:nvPr/>
            </p:nvPicPr>
            <p:blipFill>
              <a:blip r:embed="rId6"/>
              <a:srcRect l="134" t="91287" b="3943"/>
              <a:stretch>
                <a:fillRect/>
              </a:stretch>
            </p:blipFill>
            <p:spPr>
              <a:xfrm>
                <a:off x="0" y="153125"/>
                <a:ext cx="13958844" cy="666567"/>
              </a:xfrm>
              <a:prstGeom prst="rect">
                <a:avLst/>
              </a:prstGeom>
            </p:spPr>
          </p:pic>
          <p:sp>
            <p:nvSpPr>
              <p:cNvPr id="11" name="TextBox 11"/>
              <p:cNvSpPr txBox="1"/>
              <p:nvPr/>
            </p:nvSpPr>
            <p:spPr>
              <a:xfrm>
                <a:off x="228600" y="257980"/>
                <a:ext cx="5752704" cy="456856"/>
              </a:xfrm>
              <a:prstGeom prst="rect">
                <a:avLst/>
              </a:prstGeom>
            </p:spPr>
            <p:txBody>
              <a:bodyPr wrap="square" lIns="0" tIns="0" rIns="0" bIns="0" rtlCol="0" anchor="t">
                <a:spAutoFit/>
              </a:bodyPr>
              <a:lstStyle/>
              <a:p>
                <a:pPr marL="0" marR="0" lvl="0" indent="0" algn="l" defTabSz="914400" rtl="0" eaLnBrk="1" fontAlgn="auto" latinLnBrk="0" hangingPunct="1">
                  <a:lnSpc>
                    <a:spcPts val="3919"/>
                  </a:lnSpc>
                  <a:spcBef>
                    <a:spcPct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5" name="Rettangolo 14">
              <a:extLst>
                <a:ext uri="{FF2B5EF4-FFF2-40B4-BE49-F238E27FC236}">
                  <a16:creationId xmlns:a16="http://schemas.microsoft.com/office/drawing/2014/main" id="{AFFDA913-633F-49C2-9D71-573FB327981F}"/>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27" name="TextBox 13">
            <a:extLst>
              <a:ext uri="{FF2B5EF4-FFF2-40B4-BE49-F238E27FC236}">
                <a16:creationId xmlns:a16="http://schemas.microsoft.com/office/drawing/2014/main" id="{C7197FAA-9C82-4C25-B208-2BF8170DA3D1}"/>
              </a:ext>
            </a:extLst>
          </p:cNvPr>
          <p:cNvSpPr txBox="1"/>
          <p:nvPr/>
        </p:nvSpPr>
        <p:spPr>
          <a:xfrm>
            <a:off x="-1959429" y="837173"/>
            <a:ext cx="18288000" cy="1052468"/>
          </a:xfrm>
          <a:prstGeom prst="rect">
            <a:avLst/>
          </a:prstGeom>
        </p:spPr>
        <p:txBody>
          <a:bodyPr wrap="square" lIns="0" tIns="0" rIns="0" bIns="0" rtlCol="0" anchor="t">
            <a:spAutoFit/>
          </a:bodyPr>
          <a:lstStyle/>
          <a:p>
            <a:pPr marL="0" marR="0" lvl="0" indent="0" algn="ctr" defTabSz="914400" rtl="0" eaLnBrk="1" fontAlgn="auto" latinLnBrk="0" hangingPunct="1">
              <a:lnSpc>
                <a:spcPts val="8960"/>
              </a:lnSpc>
              <a:spcBef>
                <a:spcPct val="0"/>
              </a:spcBef>
              <a:spcAft>
                <a:spcPts val="0"/>
              </a:spcAft>
              <a:buClrTx/>
              <a:buSzTx/>
              <a:buFontTx/>
              <a:buNone/>
              <a:tabLst/>
              <a:defRPr/>
            </a:pPr>
            <a:r>
              <a:rPr kumimoji="0" lang="en-US" sz="6400" b="1" i="0" u="none" strike="noStrike" kern="1200" cap="none" spc="0" normalizeH="0" baseline="0" noProof="0">
                <a:ln>
                  <a:noFill/>
                </a:ln>
                <a:solidFill>
                  <a:srgbClr val="CC0033"/>
                </a:solidFill>
                <a:effectLst/>
                <a:uLnTx/>
                <a:uFillTx/>
                <a:latin typeface="Arial"/>
                <a:ea typeface="+mn-ea"/>
                <a:cs typeface="Arial" panose="020B0604020202020204" pitchFamily="34" charset="0"/>
              </a:rPr>
              <a:t>Digital Twin at </a:t>
            </a:r>
          </a:p>
        </p:txBody>
      </p:sp>
      <p:graphicFrame>
        <p:nvGraphicFramePr>
          <p:cNvPr id="30" name="TextBox 1">
            <a:extLst>
              <a:ext uri="{FF2B5EF4-FFF2-40B4-BE49-F238E27FC236}">
                <a16:creationId xmlns:a16="http://schemas.microsoft.com/office/drawing/2014/main" id="{884CDCB9-6B85-CE13-3473-A64482E5EDB0}"/>
              </a:ext>
            </a:extLst>
          </p:cNvPr>
          <p:cNvGraphicFramePr/>
          <p:nvPr/>
        </p:nvGraphicFramePr>
        <p:xfrm>
          <a:off x="1275336" y="2635274"/>
          <a:ext cx="15737306" cy="485421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43952301"/>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8" descr="RETROFEED FERTIBERIA">
            <a:extLst>
              <a:ext uri="{FF2B5EF4-FFF2-40B4-BE49-F238E27FC236}">
                <a16:creationId xmlns:a16="http://schemas.microsoft.com/office/drawing/2014/main" id="{DBF6DCD6-8E94-4626-A188-40AEB38BFA0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533117" y="1195142"/>
            <a:ext cx="2287452" cy="841782"/>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6"/>
            <a:ext cx="13958844" cy="666567"/>
            <a:chOff x="4329156" y="9649198"/>
            <a:chExt cx="13958844" cy="666567"/>
          </a:xfrm>
        </p:grpSpPr>
        <p:pic>
          <p:nvPicPr>
            <p:cNvPr id="18" name="Picture 12" descr="Background pattern&#10;&#10;Description automatically generated">
              <a:extLst>
                <a:ext uri="{FF2B5EF4-FFF2-40B4-BE49-F238E27FC236}">
                  <a16:creationId xmlns:a16="http://schemas.microsoft.com/office/drawing/2014/main" id="{656E1DC6-816C-4843-B17E-566C3C339AB5}"/>
                </a:ext>
              </a:extLst>
            </p:cNvPr>
            <p:cNvPicPr>
              <a:picLocks noChangeAspect="1"/>
            </p:cNvPicPr>
            <p:nvPr/>
          </p:nvPicPr>
          <p:blipFill>
            <a:blip r:embed="rId4"/>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marL="0" marR="0" lvl="0" indent="0" algn="ctr" defTabSz="914400" rtl="0" eaLnBrk="1" fontAlgn="auto" latinLnBrk="0" hangingPunct="1">
                <a:lnSpc>
                  <a:spcPts val="3919"/>
                </a:lnSpc>
                <a:spcBef>
                  <a:spcPct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OCR A Extended" panose="02010509020102010303" pitchFamily="50" charset="0"/>
                  <a:ea typeface="+mn-ea"/>
                  <a:cs typeface="+mn-cs"/>
                </a:rPr>
                <a:t>www.retrofeed.eu</a:t>
              </a:r>
            </a:p>
          </p:txBody>
        </p:sp>
      </p:grpSp>
      <p:pic>
        <p:nvPicPr>
          <p:cNvPr id="20" name="Picture 12" descr="Logo&#10;&#10;Description automatically generated">
            <a:extLst>
              <a:ext uri="{FF2B5EF4-FFF2-40B4-BE49-F238E27FC236}">
                <a16:creationId xmlns:a16="http://schemas.microsoft.com/office/drawing/2014/main" id="{FF4E0145-0EE4-4FAB-85AC-C3A9A6BF4D25}"/>
              </a:ext>
            </a:extLst>
          </p:cNvPr>
          <p:cNvPicPr>
            <a:picLocks noChangeAspect="1"/>
          </p:cNvPicPr>
          <p:nvPr/>
        </p:nvPicPr>
        <p:blipFill>
          <a:blip r:embed="rId5"/>
          <a:srcRect/>
          <a:stretch>
            <a:fillRect/>
          </a:stretch>
        </p:blipFill>
        <p:spPr>
          <a:xfrm>
            <a:off x="0" y="9499590"/>
            <a:ext cx="3247053" cy="787410"/>
          </a:xfrm>
          <a:prstGeom prst="rect">
            <a:avLst/>
          </a:prstGeom>
        </p:spPr>
      </p:pic>
      <p:grpSp>
        <p:nvGrpSpPr>
          <p:cNvPr id="3" name="Gruppo 2">
            <a:extLst>
              <a:ext uri="{FF2B5EF4-FFF2-40B4-BE49-F238E27FC236}">
                <a16:creationId xmlns:a16="http://schemas.microsoft.com/office/drawing/2014/main" id="{D0B44AFC-EABA-48CF-A7A8-348076F88921}"/>
              </a:ext>
            </a:extLst>
          </p:cNvPr>
          <p:cNvGrpSpPr/>
          <p:nvPr/>
        </p:nvGrpSpPr>
        <p:grpSpPr>
          <a:xfrm>
            <a:off x="-12" y="138554"/>
            <a:ext cx="18288002" cy="681138"/>
            <a:chOff x="-12" y="138554"/>
            <a:chExt cx="18288002" cy="681138"/>
          </a:xfrm>
        </p:grpSpPr>
        <p:grpSp>
          <p:nvGrpSpPr>
            <p:cNvPr id="16" name="Gruppo 15">
              <a:extLst>
                <a:ext uri="{FF2B5EF4-FFF2-40B4-BE49-F238E27FC236}">
                  <a16:creationId xmlns:a16="http://schemas.microsoft.com/office/drawing/2014/main" id="{DAC42A46-917D-41AB-8F07-E15E54D0F7D4}"/>
                </a:ext>
              </a:extLst>
            </p:cNvPr>
            <p:cNvGrpSpPr/>
            <p:nvPr/>
          </p:nvGrpSpPr>
          <p:grpSpPr>
            <a:xfrm>
              <a:off x="0" y="153125"/>
              <a:ext cx="13958844" cy="666567"/>
              <a:chOff x="0" y="153125"/>
              <a:chExt cx="13958844" cy="666567"/>
            </a:xfrm>
          </p:grpSpPr>
          <p:pic>
            <p:nvPicPr>
              <p:cNvPr id="10" name="Picture 10" descr="Background pattern&#10;&#10;Description automatically generated"/>
              <p:cNvPicPr>
                <a:picLocks noChangeAspect="1"/>
              </p:cNvPicPr>
              <p:nvPr/>
            </p:nvPicPr>
            <p:blipFill>
              <a:blip r:embed="rId6"/>
              <a:srcRect l="134" t="91287" b="3943"/>
              <a:stretch>
                <a:fillRect/>
              </a:stretch>
            </p:blipFill>
            <p:spPr>
              <a:xfrm>
                <a:off x="0" y="153125"/>
                <a:ext cx="13958844" cy="666567"/>
              </a:xfrm>
              <a:prstGeom prst="rect">
                <a:avLst/>
              </a:prstGeom>
            </p:spPr>
          </p:pic>
          <p:sp>
            <p:nvSpPr>
              <p:cNvPr id="11" name="TextBox 11"/>
              <p:cNvSpPr txBox="1"/>
              <p:nvPr/>
            </p:nvSpPr>
            <p:spPr>
              <a:xfrm>
                <a:off x="228600" y="257980"/>
                <a:ext cx="5752704" cy="456856"/>
              </a:xfrm>
              <a:prstGeom prst="rect">
                <a:avLst/>
              </a:prstGeom>
            </p:spPr>
            <p:txBody>
              <a:bodyPr wrap="square" lIns="0" tIns="0" rIns="0" bIns="0" rtlCol="0" anchor="t">
                <a:spAutoFit/>
              </a:bodyPr>
              <a:lstStyle/>
              <a:p>
                <a:pPr marL="0" marR="0" lvl="0" indent="0" algn="l" defTabSz="914400" rtl="0" eaLnBrk="1" fontAlgn="auto" latinLnBrk="0" hangingPunct="1">
                  <a:lnSpc>
                    <a:spcPts val="3919"/>
                  </a:lnSpc>
                  <a:spcBef>
                    <a:spcPct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5" name="Rettangolo 14">
              <a:extLst>
                <a:ext uri="{FF2B5EF4-FFF2-40B4-BE49-F238E27FC236}">
                  <a16:creationId xmlns:a16="http://schemas.microsoft.com/office/drawing/2014/main" id="{AFFDA913-633F-49C2-9D71-573FB327981F}"/>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27" name="TextBox 13">
            <a:extLst>
              <a:ext uri="{FF2B5EF4-FFF2-40B4-BE49-F238E27FC236}">
                <a16:creationId xmlns:a16="http://schemas.microsoft.com/office/drawing/2014/main" id="{C7197FAA-9C82-4C25-B208-2BF8170DA3D1}"/>
              </a:ext>
            </a:extLst>
          </p:cNvPr>
          <p:cNvSpPr txBox="1"/>
          <p:nvPr/>
        </p:nvSpPr>
        <p:spPr>
          <a:xfrm>
            <a:off x="-1698171" y="1094488"/>
            <a:ext cx="18288000" cy="1052468"/>
          </a:xfrm>
          <a:prstGeom prst="rect">
            <a:avLst/>
          </a:prstGeom>
        </p:spPr>
        <p:txBody>
          <a:bodyPr wrap="square" lIns="0" tIns="0" rIns="0" bIns="0" rtlCol="0" anchor="t">
            <a:spAutoFit/>
          </a:bodyPr>
          <a:lstStyle/>
          <a:p>
            <a:pPr marL="0" marR="0" lvl="0" indent="0" algn="ctr" defTabSz="914400" rtl="0" eaLnBrk="1" fontAlgn="auto" latinLnBrk="0" hangingPunct="1">
              <a:lnSpc>
                <a:spcPts val="8960"/>
              </a:lnSpc>
              <a:spcBef>
                <a:spcPct val="0"/>
              </a:spcBef>
              <a:spcAft>
                <a:spcPts val="0"/>
              </a:spcAft>
              <a:buClrTx/>
              <a:buSzTx/>
              <a:buFontTx/>
              <a:buNone/>
              <a:tabLst/>
              <a:defRPr/>
            </a:pPr>
            <a:r>
              <a:rPr kumimoji="0" lang="en-US" sz="6400" b="1" i="0" u="none" strike="noStrike" kern="1200" cap="none" spc="0" normalizeH="0" baseline="0" noProof="0">
                <a:ln>
                  <a:noFill/>
                </a:ln>
                <a:solidFill>
                  <a:srgbClr val="CC0033"/>
                </a:solidFill>
                <a:effectLst/>
                <a:uLnTx/>
                <a:uFillTx/>
                <a:latin typeface="Arial"/>
                <a:ea typeface="+mn-ea"/>
                <a:cs typeface="Arial" panose="020B0604020202020204" pitchFamily="34" charset="0"/>
              </a:rPr>
              <a:t>Steps to build digital twin at </a:t>
            </a:r>
          </a:p>
        </p:txBody>
      </p:sp>
      <p:graphicFrame>
        <p:nvGraphicFramePr>
          <p:cNvPr id="29" name="TextBox 1">
            <a:extLst>
              <a:ext uri="{FF2B5EF4-FFF2-40B4-BE49-F238E27FC236}">
                <a16:creationId xmlns:a16="http://schemas.microsoft.com/office/drawing/2014/main" id="{F3AD7F50-52F0-B056-10E4-E9E013B8A7AC}"/>
              </a:ext>
            </a:extLst>
          </p:cNvPr>
          <p:cNvGraphicFramePr/>
          <p:nvPr/>
        </p:nvGraphicFramePr>
        <p:xfrm>
          <a:off x="547433" y="2543448"/>
          <a:ext cx="17165380" cy="664906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861895479"/>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58" name="Rectangle 57">
            <a:extLst>
              <a:ext uri="{FF2B5EF4-FFF2-40B4-BE49-F238E27FC236}">
                <a16:creationId xmlns:a16="http://schemas.microsoft.com/office/drawing/2014/main" id="{289ED1AA-8684-4D37-B208-8777E1A7780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8283428" cy="10287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0" name="Graphic 33">
            <a:extLst>
              <a:ext uri="{FF2B5EF4-FFF2-40B4-BE49-F238E27FC236}">
                <a16:creationId xmlns:a16="http://schemas.microsoft.com/office/drawing/2014/main" id="{4180E01B-B1F4-437C-807D-1C930718EE6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966176" y="0"/>
            <a:ext cx="14355646" cy="10287000"/>
          </a:xfrm>
          <a:custGeom>
            <a:avLst/>
            <a:gdLst>
              <a:gd name="connsiteX0" fmla="*/ 7178288 w 7187261"/>
              <a:gd name="connsiteY0" fmla="*/ 2604802 h 5150263"/>
              <a:gd name="connsiteX1" fmla="*/ 7169335 w 7187261"/>
              <a:gd name="connsiteY1" fmla="*/ 2328577 h 5150263"/>
              <a:gd name="connsiteX2" fmla="*/ 7060845 w 7187261"/>
              <a:gd name="connsiteY2" fmla="*/ 1661160 h 5150263"/>
              <a:gd name="connsiteX3" fmla="*/ 6212263 w 7187261"/>
              <a:gd name="connsiteY3" fmla="*/ 243840 h 5150263"/>
              <a:gd name="connsiteX4" fmla="*/ 5953564 w 7187261"/>
              <a:gd name="connsiteY4" fmla="*/ 0 h 5150263"/>
              <a:gd name="connsiteX5" fmla="*/ 1408615 w 7187261"/>
              <a:gd name="connsiteY5" fmla="*/ 0 h 5150263"/>
              <a:gd name="connsiteX6" fmla="*/ 805111 w 7187261"/>
              <a:gd name="connsiteY6" fmla="*/ 676275 h 5150263"/>
              <a:gd name="connsiteX7" fmla="*/ 104928 w 7187261"/>
              <a:gd name="connsiteY7" fmla="*/ 2183035 h 5150263"/>
              <a:gd name="connsiteX8" fmla="*/ 51588 w 7187261"/>
              <a:gd name="connsiteY8" fmla="*/ 2400014 h 5150263"/>
              <a:gd name="connsiteX9" fmla="*/ 41301 w 7187261"/>
              <a:gd name="connsiteY9" fmla="*/ 2424208 h 5150263"/>
              <a:gd name="connsiteX10" fmla="*/ 119692 w 7187261"/>
              <a:gd name="connsiteY10" fmla="*/ 1834801 h 5150263"/>
              <a:gd name="connsiteX11" fmla="*/ 870071 w 7187261"/>
              <a:gd name="connsiteY11" fmla="*/ 462248 h 5150263"/>
              <a:gd name="connsiteX12" fmla="*/ 1389279 w 7187261"/>
              <a:gd name="connsiteY12" fmla="*/ 476 h 5150263"/>
              <a:gd name="connsiteX13" fmla="*/ 1320223 w 7187261"/>
              <a:gd name="connsiteY13" fmla="*/ 476 h 5150263"/>
              <a:gd name="connsiteX14" fmla="*/ 423158 w 7187261"/>
              <a:gd name="connsiteY14" fmla="*/ 989743 h 5150263"/>
              <a:gd name="connsiteX15" fmla="*/ 25585 w 7187261"/>
              <a:gd name="connsiteY15" fmla="*/ 2113693 h 5150263"/>
              <a:gd name="connsiteX16" fmla="*/ 2344 w 7187261"/>
              <a:gd name="connsiteY16" fmla="*/ 2725865 h 5150263"/>
              <a:gd name="connsiteX17" fmla="*/ 447256 w 7187261"/>
              <a:gd name="connsiteY17" fmla="*/ 4210717 h 5150263"/>
              <a:gd name="connsiteX18" fmla="*/ 1138962 w 7187261"/>
              <a:gd name="connsiteY18" fmla="*/ 4988910 h 5150263"/>
              <a:gd name="connsiteX19" fmla="*/ 1348512 w 7187261"/>
              <a:gd name="connsiteY19" fmla="*/ 5146834 h 5150263"/>
              <a:gd name="connsiteX20" fmla="*/ 1422712 w 7187261"/>
              <a:gd name="connsiteY20" fmla="*/ 5146834 h 5150263"/>
              <a:gd name="connsiteX21" fmla="*/ 480594 w 7187261"/>
              <a:gd name="connsiteY21" fmla="*/ 4187952 h 5150263"/>
              <a:gd name="connsiteX22" fmla="*/ 398679 w 7187261"/>
              <a:gd name="connsiteY22" fmla="*/ 4046125 h 5150263"/>
              <a:gd name="connsiteX23" fmla="*/ 411823 w 7187261"/>
              <a:gd name="connsiteY23" fmla="*/ 4053078 h 5150263"/>
              <a:gd name="connsiteX24" fmla="*/ 1439380 w 7187261"/>
              <a:gd name="connsiteY24" fmla="*/ 5147405 h 5150263"/>
              <a:gd name="connsiteX25" fmla="*/ 5710010 w 7187261"/>
              <a:gd name="connsiteY25" fmla="*/ 5150263 h 5150263"/>
              <a:gd name="connsiteX26" fmla="*/ 5999665 w 7187261"/>
              <a:gd name="connsiteY26" fmla="*/ 4910900 h 5150263"/>
              <a:gd name="connsiteX27" fmla="*/ 6954165 w 7187261"/>
              <a:gd name="connsiteY27" fmla="*/ 3545777 h 5150263"/>
              <a:gd name="connsiteX28" fmla="*/ 7137712 w 7187261"/>
              <a:gd name="connsiteY28" fmla="*/ 2799207 h 5150263"/>
              <a:gd name="connsiteX29" fmla="*/ 7142951 w 7187261"/>
              <a:gd name="connsiteY29" fmla="*/ 2754535 h 5150263"/>
              <a:gd name="connsiteX30" fmla="*/ 7149428 w 7187261"/>
              <a:gd name="connsiteY30" fmla="*/ 2774823 h 5150263"/>
              <a:gd name="connsiteX31" fmla="*/ 7066465 w 7187261"/>
              <a:gd name="connsiteY31" fmla="*/ 3465672 h 5150263"/>
              <a:gd name="connsiteX32" fmla="*/ 6452578 w 7187261"/>
              <a:gd name="connsiteY32" fmla="*/ 4552760 h 5150263"/>
              <a:gd name="connsiteX33" fmla="*/ 5752110 w 7187261"/>
              <a:gd name="connsiteY33" fmla="*/ 5150263 h 5150263"/>
              <a:gd name="connsiteX34" fmla="*/ 5827643 w 7187261"/>
              <a:gd name="connsiteY34" fmla="*/ 5150263 h 5150263"/>
              <a:gd name="connsiteX35" fmla="*/ 6642793 w 7187261"/>
              <a:gd name="connsiteY35" fmla="*/ 4389406 h 5150263"/>
              <a:gd name="connsiteX36" fmla="*/ 7102469 w 7187261"/>
              <a:gd name="connsiteY36" fmla="*/ 3490817 h 5150263"/>
              <a:gd name="connsiteX37" fmla="*/ 7187242 w 7187261"/>
              <a:gd name="connsiteY37" fmla="*/ 2990183 h 5150263"/>
              <a:gd name="connsiteX38" fmla="*/ 7178288 w 7187261"/>
              <a:gd name="connsiteY38" fmla="*/ 2604802 h 5150263"/>
              <a:gd name="connsiteX39" fmla="*/ 6342565 w 7187261"/>
              <a:gd name="connsiteY39" fmla="*/ 441389 h 5150263"/>
              <a:gd name="connsiteX40" fmla="*/ 7126567 w 7187261"/>
              <a:gd name="connsiteY40" fmla="*/ 2355056 h 5150263"/>
              <a:gd name="connsiteX41" fmla="*/ 6342565 w 7187261"/>
              <a:gd name="connsiteY41" fmla="*/ 441389 h 5150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187261" h="5150263">
                <a:moveTo>
                  <a:pt x="7178288" y="2604802"/>
                </a:moveTo>
                <a:cubicBezTo>
                  <a:pt x="7168763" y="2513076"/>
                  <a:pt x="7174478" y="2420684"/>
                  <a:pt x="7169335" y="2328577"/>
                </a:cubicBezTo>
                <a:cubicBezTo>
                  <a:pt x="7156952" y="2102882"/>
                  <a:pt x="7120586" y="1879149"/>
                  <a:pt x="7060845" y="1661160"/>
                </a:cubicBezTo>
                <a:cubicBezTo>
                  <a:pt x="6910588" y="1121007"/>
                  <a:pt x="6617428" y="631374"/>
                  <a:pt x="6212263" y="243840"/>
                </a:cubicBezTo>
                <a:cubicBezTo>
                  <a:pt x="6126538" y="162496"/>
                  <a:pt x="6040813" y="80201"/>
                  <a:pt x="5953564" y="0"/>
                </a:cubicBezTo>
                <a:lnTo>
                  <a:pt x="1408615" y="0"/>
                </a:lnTo>
                <a:cubicBezTo>
                  <a:pt x="1180967" y="200316"/>
                  <a:pt x="978332" y="427387"/>
                  <a:pt x="805111" y="676275"/>
                </a:cubicBezTo>
                <a:cubicBezTo>
                  <a:pt x="481261" y="1136523"/>
                  <a:pt x="252089" y="1640872"/>
                  <a:pt x="104928" y="2183035"/>
                </a:cubicBezTo>
                <a:cubicBezTo>
                  <a:pt x="85878" y="2254853"/>
                  <a:pt x="69495" y="2327720"/>
                  <a:pt x="51588" y="2400014"/>
                </a:cubicBezTo>
                <a:cubicBezTo>
                  <a:pt x="49683" y="2407634"/>
                  <a:pt x="51588" y="2416969"/>
                  <a:pt x="41301" y="2424208"/>
                </a:cubicBezTo>
                <a:cubicBezTo>
                  <a:pt x="45900" y="2225469"/>
                  <a:pt x="72186" y="2027834"/>
                  <a:pt x="119692" y="1834801"/>
                </a:cubicBezTo>
                <a:cubicBezTo>
                  <a:pt x="247993" y="1310926"/>
                  <a:pt x="506121" y="857726"/>
                  <a:pt x="870071" y="462248"/>
                </a:cubicBezTo>
                <a:cubicBezTo>
                  <a:pt x="1027729" y="291823"/>
                  <a:pt x="1201617" y="137169"/>
                  <a:pt x="1389279" y="476"/>
                </a:cubicBezTo>
                <a:lnTo>
                  <a:pt x="1320223" y="476"/>
                </a:lnTo>
                <a:cubicBezTo>
                  <a:pt x="960844" y="274320"/>
                  <a:pt x="656330" y="599123"/>
                  <a:pt x="423158" y="989743"/>
                </a:cubicBezTo>
                <a:cubicBezTo>
                  <a:pt x="215608" y="1337596"/>
                  <a:pt x="80258" y="1711357"/>
                  <a:pt x="25585" y="2113693"/>
                </a:cubicBezTo>
                <a:cubicBezTo>
                  <a:pt x="-2705" y="2316480"/>
                  <a:pt x="-2228" y="2521077"/>
                  <a:pt x="2344" y="2725865"/>
                </a:cubicBezTo>
                <a:cubicBezTo>
                  <a:pt x="14155" y="3261932"/>
                  <a:pt x="170650" y="3754565"/>
                  <a:pt x="447256" y="4210717"/>
                </a:cubicBezTo>
                <a:cubicBezTo>
                  <a:pt x="629851" y="4511612"/>
                  <a:pt x="866356" y="4767167"/>
                  <a:pt x="1138962" y="4988910"/>
                </a:cubicBezTo>
                <a:cubicBezTo>
                  <a:pt x="1207161" y="5044345"/>
                  <a:pt x="1277008" y="5096990"/>
                  <a:pt x="1348512" y="5146834"/>
                </a:cubicBezTo>
                <a:lnTo>
                  <a:pt x="1422712" y="5146834"/>
                </a:lnTo>
                <a:cubicBezTo>
                  <a:pt x="1043426" y="4892802"/>
                  <a:pt x="724720" y="4577334"/>
                  <a:pt x="480594" y="4187952"/>
                </a:cubicBezTo>
                <a:cubicBezTo>
                  <a:pt x="452019" y="4141851"/>
                  <a:pt x="423444" y="4095179"/>
                  <a:pt x="398679" y="4046125"/>
                </a:cubicBezTo>
                <a:cubicBezTo>
                  <a:pt x="407442" y="4043267"/>
                  <a:pt x="409156" y="4048982"/>
                  <a:pt x="411823" y="4053078"/>
                </a:cubicBezTo>
                <a:cubicBezTo>
                  <a:pt x="683572" y="4484656"/>
                  <a:pt x="1033139" y="4842701"/>
                  <a:pt x="1439380" y="5147405"/>
                </a:cubicBezTo>
                <a:lnTo>
                  <a:pt x="5710010" y="5150263"/>
                </a:lnTo>
                <a:cubicBezTo>
                  <a:pt x="5810594" y="5075482"/>
                  <a:pt x="5907272" y="4995587"/>
                  <a:pt x="5999665" y="4910900"/>
                </a:cubicBezTo>
                <a:cubicBezTo>
                  <a:pt x="6418765" y="4526661"/>
                  <a:pt x="6746901" y="4078129"/>
                  <a:pt x="6954165" y="3545777"/>
                </a:cubicBezTo>
                <a:cubicBezTo>
                  <a:pt x="7048234" y="3306175"/>
                  <a:pt x="7109956" y="3055115"/>
                  <a:pt x="7137712" y="2799207"/>
                </a:cubicBezTo>
                <a:cubicBezTo>
                  <a:pt x="7139236" y="2784920"/>
                  <a:pt x="7141046" y="2770632"/>
                  <a:pt x="7142951" y="2754535"/>
                </a:cubicBezTo>
                <a:cubicBezTo>
                  <a:pt x="7151714" y="2760440"/>
                  <a:pt x="7149237" y="2768441"/>
                  <a:pt x="7149428" y="2774823"/>
                </a:cubicBezTo>
                <a:cubicBezTo>
                  <a:pt x="7156743" y="3007967"/>
                  <a:pt x="7128777" y="3240881"/>
                  <a:pt x="7066465" y="3465672"/>
                </a:cubicBezTo>
                <a:cubicBezTo>
                  <a:pt x="6952165" y="3878580"/>
                  <a:pt x="6737948" y="4235863"/>
                  <a:pt x="6452578" y="4552760"/>
                </a:cubicBezTo>
                <a:cubicBezTo>
                  <a:pt x="6244553" y="4783836"/>
                  <a:pt x="6008809" y="4980242"/>
                  <a:pt x="5752110" y="5150263"/>
                </a:cubicBezTo>
                <a:lnTo>
                  <a:pt x="5827643" y="5150263"/>
                </a:lnTo>
                <a:cubicBezTo>
                  <a:pt x="6136539" y="4938904"/>
                  <a:pt x="6412192" y="4689348"/>
                  <a:pt x="6642793" y="4389406"/>
                </a:cubicBezTo>
                <a:cubicBezTo>
                  <a:pt x="6851295" y="4118324"/>
                  <a:pt x="7009125" y="3820859"/>
                  <a:pt x="7102469" y="3490817"/>
                </a:cubicBezTo>
                <a:cubicBezTo>
                  <a:pt x="7148646" y="3327473"/>
                  <a:pt x="7177069" y="3159624"/>
                  <a:pt x="7187242" y="2990183"/>
                </a:cubicBezTo>
                <a:cubicBezTo>
                  <a:pt x="7187623" y="2984087"/>
                  <a:pt x="7182384" y="2642330"/>
                  <a:pt x="7178288" y="2604802"/>
                </a:cubicBezTo>
                <a:close/>
                <a:moveTo>
                  <a:pt x="6342565" y="441389"/>
                </a:moveTo>
                <a:cubicBezTo>
                  <a:pt x="6829797" y="986533"/>
                  <a:pt x="7091135" y="1624422"/>
                  <a:pt x="7126567" y="2355056"/>
                </a:cubicBezTo>
                <a:cubicBezTo>
                  <a:pt x="7001123" y="1661827"/>
                  <a:pt x="6756426" y="1017365"/>
                  <a:pt x="6342565" y="441389"/>
                </a:cubicBez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Arial"/>
              <a:ea typeface="+mn-ea"/>
              <a:cs typeface="+mn-cs"/>
            </a:endParaRPr>
          </a:p>
        </p:txBody>
      </p:sp>
      <p:sp>
        <p:nvSpPr>
          <p:cNvPr id="62" name="sketch line">
            <a:extLst>
              <a:ext uri="{FF2B5EF4-FFF2-40B4-BE49-F238E27FC236}">
                <a16:creationId xmlns:a16="http://schemas.microsoft.com/office/drawing/2014/main" id="{41F77738-2AF0-4750-A0C7-F97C2C17590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961309" y="6260247"/>
            <a:ext cx="6365383" cy="27432"/>
          </a:xfrm>
          <a:custGeom>
            <a:avLst/>
            <a:gdLst>
              <a:gd name="connsiteX0" fmla="*/ 0 w 6365383"/>
              <a:gd name="connsiteY0" fmla="*/ 0 h 27432"/>
              <a:gd name="connsiteX1" fmla="*/ 636538 w 6365383"/>
              <a:gd name="connsiteY1" fmla="*/ 0 h 27432"/>
              <a:gd name="connsiteX2" fmla="*/ 1273077 w 6365383"/>
              <a:gd name="connsiteY2" fmla="*/ 0 h 27432"/>
              <a:gd name="connsiteX3" fmla="*/ 1909615 w 6365383"/>
              <a:gd name="connsiteY3" fmla="*/ 0 h 27432"/>
              <a:gd name="connsiteX4" fmla="*/ 2673461 w 6365383"/>
              <a:gd name="connsiteY4" fmla="*/ 0 h 27432"/>
              <a:gd name="connsiteX5" fmla="*/ 3373653 w 6365383"/>
              <a:gd name="connsiteY5" fmla="*/ 0 h 27432"/>
              <a:gd name="connsiteX6" fmla="*/ 3819230 w 6365383"/>
              <a:gd name="connsiteY6" fmla="*/ 0 h 27432"/>
              <a:gd name="connsiteX7" fmla="*/ 4392114 w 6365383"/>
              <a:gd name="connsiteY7" fmla="*/ 0 h 27432"/>
              <a:gd name="connsiteX8" fmla="*/ 5155960 w 6365383"/>
              <a:gd name="connsiteY8" fmla="*/ 0 h 27432"/>
              <a:gd name="connsiteX9" fmla="*/ 5792499 w 6365383"/>
              <a:gd name="connsiteY9" fmla="*/ 0 h 27432"/>
              <a:gd name="connsiteX10" fmla="*/ 6365383 w 6365383"/>
              <a:gd name="connsiteY10" fmla="*/ 0 h 27432"/>
              <a:gd name="connsiteX11" fmla="*/ 6365383 w 6365383"/>
              <a:gd name="connsiteY11" fmla="*/ 27432 h 27432"/>
              <a:gd name="connsiteX12" fmla="*/ 5856152 w 6365383"/>
              <a:gd name="connsiteY12" fmla="*/ 27432 h 27432"/>
              <a:gd name="connsiteX13" fmla="*/ 5092306 w 6365383"/>
              <a:gd name="connsiteY13" fmla="*/ 27432 h 27432"/>
              <a:gd name="connsiteX14" fmla="*/ 4583076 w 6365383"/>
              <a:gd name="connsiteY14" fmla="*/ 27432 h 27432"/>
              <a:gd name="connsiteX15" fmla="*/ 4137499 w 6365383"/>
              <a:gd name="connsiteY15" fmla="*/ 27432 h 27432"/>
              <a:gd name="connsiteX16" fmla="*/ 3691922 w 6365383"/>
              <a:gd name="connsiteY16" fmla="*/ 27432 h 27432"/>
              <a:gd name="connsiteX17" fmla="*/ 2991730 w 6365383"/>
              <a:gd name="connsiteY17" fmla="*/ 27432 h 27432"/>
              <a:gd name="connsiteX18" fmla="*/ 2546153 w 6365383"/>
              <a:gd name="connsiteY18" fmla="*/ 27432 h 27432"/>
              <a:gd name="connsiteX19" fmla="*/ 1909615 w 6365383"/>
              <a:gd name="connsiteY19" fmla="*/ 27432 h 27432"/>
              <a:gd name="connsiteX20" fmla="*/ 1400384 w 6365383"/>
              <a:gd name="connsiteY20" fmla="*/ 27432 h 27432"/>
              <a:gd name="connsiteX21" fmla="*/ 763846 w 6365383"/>
              <a:gd name="connsiteY21" fmla="*/ 27432 h 27432"/>
              <a:gd name="connsiteX22" fmla="*/ 0 w 6365383"/>
              <a:gd name="connsiteY22" fmla="*/ 27432 h 27432"/>
              <a:gd name="connsiteX23" fmla="*/ 0 w 6365383"/>
              <a:gd name="connsiteY23" fmla="*/ 0 h 27432"/>
              <a:gd name="connsiteX0" fmla="*/ 0 w 6365383"/>
              <a:gd name="connsiteY0" fmla="*/ 0 h 27432"/>
              <a:gd name="connsiteX1" fmla="*/ 572884 w 6365383"/>
              <a:gd name="connsiteY1" fmla="*/ 0 h 27432"/>
              <a:gd name="connsiteX2" fmla="*/ 1018461 w 6365383"/>
              <a:gd name="connsiteY2" fmla="*/ 0 h 27432"/>
              <a:gd name="connsiteX3" fmla="*/ 1782307 w 6365383"/>
              <a:gd name="connsiteY3" fmla="*/ 0 h 27432"/>
              <a:gd name="connsiteX4" fmla="*/ 2355192 w 6365383"/>
              <a:gd name="connsiteY4" fmla="*/ 0 h 27432"/>
              <a:gd name="connsiteX5" fmla="*/ 2928076 w 6365383"/>
              <a:gd name="connsiteY5" fmla="*/ 0 h 27432"/>
              <a:gd name="connsiteX6" fmla="*/ 3691922 w 6365383"/>
              <a:gd name="connsiteY6" fmla="*/ 0 h 27432"/>
              <a:gd name="connsiteX7" fmla="*/ 4201153 w 6365383"/>
              <a:gd name="connsiteY7" fmla="*/ 0 h 27432"/>
              <a:gd name="connsiteX8" fmla="*/ 4964999 w 6365383"/>
              <a:gd name="connsiteY8" fmla="*/ 0 h 27432"/>
              <a:gd name="connsiteX9" fmla="*/ 5728845 w 6365383"/>
              <a:gd name="connsiteY9" fmla="*/ 0 h 27432"/>
              <a:gd name="connsiteX10" fmla="*/ 6365383 w 6365383"/>
              <a:gd name="connsiteY10" fmla="*/ 0 h 27432"/>
              <a:gd name="connsiteX11" fmla="*/ 6365383 w 6365383"/>
              <a:gd name="connsiteY11" fmla="*/ 27432 h 27432"/>
              <a:gd name="connsiteX12" fmla="*/ 5665191 w 6365383"/>
              <a:gd name="connsiteY12" fmla="*/ 27432 h 27432"/>
              <a:gd name="connsiteX13" fmla="*/ 4901345 w 6365383"/>
              <a:gd name="connsiteY13" fmla="*/ 27432 h 27432"/>
              <a:gd name="connsiteX14" fmla="*/ 4137499 w 6365383"/>
              <a:gd name="connsiteY14" fmla="*/ 27432 h 27432"/>
              <a:gd name="connsiteX15" fmla="*/ 3628268 w 6365383"/>
              <a:gd name="connsiteY15" fmla="*/ 27432 h 27432"/>
              <a:gd name="connsiteX16" fmla="*/ 2991730 w 6365383"/>
              <a:gd name="connsiteY16" fmla="*/ 27432 h 27432"/>
              <a:gd name="connsiteX17" fmla="*/ 2227884 w 6365383"/>
              <a:gd name="connsiteY17" fmla="*/ 27432 h 27432"/>
              <a:gd name="connsiteX18" fmla="*/ 1591346 w 6365383"/>
              <a:gd name="connsiteY18" fmla="*/ 27432 h 27432"/>
              <a:gd name="connsiteX19" fmla="*/ 1145769 w 6365383"/>
              <a:gd name="connsiteY19" fmla="*/ 27432 h 27432"/>
              <a:gd name="connsiteX20" fmla="*/ 636538 w 6365383"/>
              <a:gd name="connsiteY20" fmla="*/ 27432 h 27432"/>
              <a:gd name="connsiteX21" fmla="*/ 0 w 6365383"/>
              <a:gd name="connsiteY21" fmla="*/ 27432 h 27432"/>
              <a:gd name="connsiteX22" fmla="*/ 0 w 6365383"/>
              <a:gd name="connsiteY22"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365383" h="27432" fill="none" extrusionOk="0">
                <a:moveTo>
                  <a:pt x="0" y="0"/>
                </a:moveTo>
                <a:cubicBezTo>
                  <a:pt x="311910" y="25756"/>
                  <a:pt x="328854" y="-22977"/>
                  <a:pt x="636538" y="0"/>
                </a:cubicBezTo>
                <a:cubicBezTo>
                  <a:pt x="929901" y="50670"/>
                  <a:pt x="1067253" y="-1993"/>
                  <a:pt x="1273077" y="0"/>
                </a:cubicBezTo>
                <a:cubicBezTo>
                  <a:pt x="1507620" y="-24857"/>
                  <a:pt x="1747799" y="-10413"/>
                  <a:pt x="1909615" y="0"/>
                </a:cubicBezTo>
                <a:cubicBezTo>
                  <a:pt x="2041097" y="-21585"/>
                  <a:pt x="2422417" y="-28022"/>
                  <a:pt x="2673461" y="0"/>
                </a:cubicBezTo>
                <a:cubicBezTo>
                  <a:pt x="2948394" y="-4560"/>
                  <a:pt x="3134893" y="36981"/>
                  <a:pt x="3373653" y="0"/>
                </a:cubicBezTo>
                <a:cubicBezTo>
                  <a:pt x="3634761" y="-15887"/>
                  <a:pt x="3700843" y="23167"/>
                  <a:pt x="3819230" y="0"/>
                </a:cubicBezTo>
                <a:cubicBezTo>
                  <a:pt x="3977295" y="2943"/>
                  <a:pt x="4128910" y="-53150"/>
                  <a:pt x="4392114" y="0"/>
                </a:cubicBezTo>
                <a:cubicBezTo>
                  <a:pt x="4672763" y="9214"/>
                  <a:pt x="4999833" y="38501"/>
                  <a:pt x="5155960" y="0"/>
                </a:cubicBezTo>
                <a:cubicBezTo>
                  <a:pt x="5343367" y="-6557"/>
                  <a:pt x="5597661" y="6622"/>
                  <a:pt x="5792499" y="0"/>
                </a:cubicBezTo>
                <a:cubicBezTo>
                  <a:pt x="6020774" y="43813"/>
                  <a:pt x="6148830" y="-13954"/>
                  <a:pt x="6365383" y="0"/>
                </a:cubicBezTo>
                <a:cubicBezTo>
                  <a:pt x="6364517" y="8091"/>
                  <a:pt x="6365728" y="20268"/>
                  <a:pt x="6365383" y="27432"/>
                </a:cubicBezTo>
                <a:cubicBezTo>
                  <a:pt x="6144545" y="15144"/>
                  <a:pt x="6006673" y="-7419"/>
                  <a:pt x="5856152" y="27432"/>
                </a:cubicBezTo>
                <a:cubicBezTo>
                  <a:pt x="5638446" y="81548"/>
                  <a:pt x="5413846" y="52067"/>
                  <a:pt x="5092306" y="27432"/>
                </a:cubicBezTo>
                <a:cubicBezTo>
                  <a:pt x="4768499" y="43350"/>
                  <a:pt x="4708569" y="3163"/>
                  <a:pt x="4583076" y="27432"/>
                </a:cubicBezTo>
                <a:cubicBezTo>
                  <a:pt x="4475482" y="66269"/>
                  <a:pt x="4242792" y="42702"/>
                  <a:pt x="4137499" y="27432"/>
                </a:cubicBezTo>
                <a:cubicBezTo>
                  <a:pt x="4003968" y="24039"/>
                  <a:pt x="3882646" y="-3026"/>
                  <a:pt x="3691922" y="27432"/>
                </a:cubicBezTo>
                <a:cubicBezTo>
                  <a:pt x="3501639" y="8096"/>
                  <a:pt x="3270842" y="-14942"/>
                  <a:pt x="2991730" y="27432"/>
                </a:cubicBezTo>
                <a:cubicBezTo>
                  <a:pt x="2712135" y="55419"/>
                  <a:pt x="2758697" y="31955"/>
                  <a:pt x="2546153" y="27432"/>
                </a:cubicBezTo>
                <a:cubicBezTo>
                  <a:pt x="2362220" y="-818"/>
                  <a:pt x="2130397" y="57099"/>
                  <a:pt x="1909615" y="27432"/>
                </a:cubicBezTo>
                <a:cubicBezTo>
                  <a:pt x="1714835" y="-15389"/>
                  <a:pt x="1636770" y="40318"/>
                  <a:pt x="1400384" y="27432"/>
                </a:cubicBezTo>
                <a:cubicBezTo>
                  <a:pt x="1161504" y="29515"/>
                  <a:pt x="1060819" y="7773"/>
                  <a:pt x="763846" y="27432"/>
                </a:cubicBezTo>
                <a:cubicBezTo>
                  <a:pt x="465096" y="43671"/>
                  <a:pt x="165309" y="15831"/>
                  <a:pt x="0" y="27432"/>
                </a:cubicBezTo>
                <a:cubicBezTo>
                  <a:pt x="-2013" y="18874"/>
                  <a:pt x="-525" y="8614"/>
                  <a:pt x="0" y="0"/>
                </a:cubicBezTo>
                <a:close/>
              </a:path>
              <a:path w="6365383" h="27432" stroke="0" extrusionOk="0">
                <a:moveTo>
                  <a:pt x="0" y="0"/>
                </a:moveTo>
                <a:cubicBezTo>
                  <a:pt x="84020" y="9133"/>
                  <a:pt x="339524" y="24523"/>
                  <a:pt x="572884" y="0"/>
                </a:cubicBezTo>
                <a:cubicBezTo>
                  <a:pt x="803790" y="-14011"/>
                  <a:pt x="837492" y="-10007"/>
                  <a:pt x="1018461" y="0"/>
                </a:cubicBezTo>
                <a:cubicBezTo>
                  <a:pt x="1188530" y="8943"/>
                  <a:pt x="1571061" y="17361"/>
                  <a:pt x="1782307" y="0"/>
                </a:cubicBezTo>
                <a:cubicBezTo>
                  <a:pt x="1967448" y="-16010"/>
                  <a:pt x="2153334" y="-25629"/>
                  <a:pt x="2355192" y="0"/>
                </a:cubicBezTo>
                <a:cubicBezTo>
                  <a:pt x="2541804" y="20205"/>
                  <a:pt x="2779440" y="53811"/>
                  <a:pt x="2928076" y="0"/>
                </a:cubicBezTo>
                <a:cubicBezTo>
                  <a:pt x="3024078" y="-16903"/>
                  <a:pt x="3337092" y="43483"/>
                  <a:pt x="3691922" y="0"/>
                </a:cubicBezTo>
                <a:cubicBezTo>
                  <a:pt x="4060895" y="-1064"/>
                  <a:pt x="4072166" y="-17195"/>
                  <a:pt x="4201153" y="0"/>
                </a:cubicBezTo>
                <a:cubicBezTo>
                  <a:pt x="4349835" y="-22516"/>
                  <a:pt x="4800106" y="-64797"/>
                  <a:pt x="4964999" y="0"/>
                </a:cubicBezTo>
                <a:cubicBezTo>
                  <a:pt x="5186764" y="15779"/>
                  <a:pt x="5564421" y="-10544"/>
                  <a:pt x="5728845" y="0"/>
                </a:cubicBezTo>
                <a:cubicBezTo>
                  <a:pt x="5915953" y="5493"/>
                  <a:pt x="6171384" y="-48026"/>
                  <a:pt x="6365383" y="0"/>
                </a:cubicBezTo>
                <a:cubicBezTo>
                  <a:pt x="6366596" y="6455"/>
                  <a:pt x="6365588" y="14391"/>
                  <a:pt x="6365383" y="27432"/>
                </a:cubicBezTo>
                <a:cubicBezTo>
                  <a:pt x="6172514" y="805"/>
                  <a:pt x="6006523" y="20734"/>
                  <a:pt x="5665191" y="27432"/>
                </a:cubicBezTo>
                <a:cubicBezTo>
                  <a:pt x="5322179" y="66687"/>
                  <a:pt x="5219376" y="21111"/>
                  <a:pt x="4901345" y="27432"/>
                </a:cubicBezTo>
                <a:cubicBezTo>
                  <a:pt x="4621310" y="-13654"/>
                  <a:pt x="4455192" y="54857"/>
                  <a:pt x="4137499" y="27432"/>
                </a:cubicBezTo>
                <a:cubicBezTo>
                  <a:pt x="3853317" y="12285"/>
                  <a:pt x="3862894" y="26263"/>
                  <a:pt x="3628268" y="27432"/>
                </a:cubicBezTo>
                <a:cubicBezTo>
                  <a:pt x="3418779" y="32610"/>
                  <a:pt x="3174456" y="83656"/>
                  <a:pt x="2991730" y="27432"/>
                </a:cubicBezTo>
                <a:cubicBezTo>
                  <a:pt x="2801278" y="6667"/>
                  <a:pt x="2497351" y="22891"/>
                  <a:pt x="2227884" y="27432"/>
                </a:cubicBezTo>
                <a:cubicBezTo>
                  <a:pt x="1986101" y="16297"/>
                  <a:pt x="1767219" y="-7535"/>
                  <a:pt x="1591346" y="27432"/>
                </a:cubicBezTo>
                <a:cubicBezTo>
                  <a:pt x="1447183" y="73731"/>
                  <a:pt x="1315973" y="39477"/>
                  <a:pt x="1145769" y="27432"/>
                </a:cubicBezTo>
                <a:cubicBezTo>
                  <a:pt x="990245" y="8882"/>
                  <a:pt x="810845" y="16910"/>
                  <a:pt x="636538" y="27432"/>
                </a:cubicBezTo>
                <a:cubicBezTo>
                  <a:pt x="482916" y="17795"/>
                  <a:pt x="183027" y="-17710"/>
                  <a:pt x="0" y="27432"/>
                </a:cubicBezTo>
                <a:cubicBezTo>
                  <a:pt x="491" y="19542"/>
                  <a:pt x="-1038" y="8534"/>
                  <a:pt x="0" y="0"/>
                </a:cubicBezTo>
                <a:close/>
              </a:path>
              <a:path w="6365383" h="27432" fill="none" stroke="0" extrusionOk="0">
                <a:moveTo>
                  <a:pt x="0" y="0"/>
                </a:moveTo>
                <a:cubicBezTo>
                  <a:pt x="296223" y="15991"/>
                  <a:pt x="333462" y="-23795"/>
                  <a:pt x="636538" y="0"/>
                </a:cubicBezTo>
                <a:cubicBezTo>
                  <a:pt x="970197" y="30961"/>
                  <a:pt x="1039864" y="3183"/>
                  <a:pt x="1273077" y="0"/>
                </a:cubicBezTo>
                <a:cubicBezTo>
                  <a:pt x="1449809" y="24819"/>
                  <a:pt x="1735152" y="23060"/>
                  <a:pt x="1909615" y="0"/>
                </a:cubicBezTo>
                <a:cubicBezTo>
                  <a:pt x="2016351" y="-41665"/>
                  <a:pt x="2415001" y="34773"/>
                  <a:pt x="2673461" y="0"/>
                </a:cubicBezTo>
                <a:cubicBezTo>
                  <a:pt x="2996983" y="-13411"/>
                  <a:pt x="3130707" y="3741"/>
                  <a:pt x="3373653" y="0"/>
                </a:cubicBezTo>
                <a:cubicBezTo>
                  <a:pt x="3601951" y="-16140"/>
                  <a:pt x="3689909" y="23222"/>
                  <a:pt x="3819230" y="0"/>
                </a:cubicBezTo>
                <a:cubicBezTo>
                  <a:pt x="3931872" y="-29406"/>
                  <a:pt x="4119438" y="24094"/>
                  <a:pt x="4392114" y="0"/>
                </a:cubicBezTo>
                <a:cubicBezTo>
                  <a:pt x="4665359" y="21557"/>
                  <a:pt x="4978709" y="13267"/>
                  <a:pt x="5155960" y="0"/>
                </a:cubicBezTo>
                <a:cubicBezTo>
                  <a:pt x="5299518" y="-18386"/>
                  <a:pt x="5605020" y="-6762"/>
                  <a:pt x="5792499" y="0"/>
                </a:cubicBezTo>
                <a:cubicBezTo>
                  <a:pt x="6013281" y="43398"/>
                  <a:pt x="6167567" y="36727"/>
                  <a:pt x="6365383" y="0"/>
                </a:cubicBezTo>
                <a:cubicBezTo>
                  <a:pt x="6365697" y="8368"/>
                  <a:pt x="6365332" y="21050"/>
                  <a:pt x="6365383" y="27432"/>
                </a:cubicBezTo>
                <a:cubicBezTo>
                  <a:pt x="6154893" y="8454"/>
                  <a:pt x="6014206" y="-8372"/>
                  <a:pt x="5856152" y="27432"/>
                </a:cubicBezTo>
                <a:cubicBezTo>
                  <a:pt x="5659455" y="59503"/>
                  <a:pt x="5350806" y="-35991"/>
                  <a:pt x="5092306" y="27432"/>
                </a:cubicBezTo>
                <a:cubicBezTo>
                  <a:pt x="4756309" y="48260"/>
                  <a:pt x="4699746" y="-4780"/>
                  <a:pt x="4583076" y="27432"/>
                </a:cubicBezTo>
                <a:cubicBezTo>
                  <a:pt x="4462137" y="30142"/>
                  <a:pt x="4226168" y="50236"/>
                  <a:pt x="4137499" y="27432"/>
                </a:cubicBezTo>
                <a:cubicBezTo>
                  <a:pt x="4018570" y="42181"/>
                  <a:pt x="3887179" y="34623"/>
                  <a:pt x="3691922" y="27432"/>
                </a:cubicBezTo>
                <a:cubicBezTo>
                  <a:pt x="3499755" y="32935"/>
                  <a:pt x="3281056" y="-9158"/>
                  <a:pt x="2991730" y="27432"/>
                </a:cubicBezTo>
                <a:cubicBezTo>
                  <a:pt x="2716073" y="57462"/>
                  <a:pt x="2755481" y="34494"/>
                  <a:pt x="2546153" y="27432"/>
                </a:cubicBezTo>
                <a:cubicBezTo>
                  <a:pt x="2356479" y="62622"/>
                  <a:pt x="2079190" y="73729"/>
                  <a:pt x="1909615" y="27432"/>
                </a:cubicBezTo>
                <a:cubicBezTo>
                  <a:pt x="1715819" y="-26444"/>
                  <a:pt x="1631368" y="48131"/>
                  <a:pt x="1400384" y="27432"/>
                </a:cubicBezTo>
                <a:cubicBezTo>
                  <a:pt x="1177327" y="16190"/>
                  <a:pt x="1065236" y="24992"/>
                  <a:pt x="763846" y="27432"/>
                </a:cubicBezTo>
                <a:cubicBezTo>
                  <a:pt x="448643" y="60691"/>
                  <a:pt x="160833" y="2330"/>
                  <a:pt x="0" y="27432"/>
                </a:cubicBezTo>
                <a:cubicBezTo>
                  <a:pt x="1559" y="18666"/>
                  <a:pt x="-585" y="7580"/>
                  <a:pt x="0" y="0"/>
                </a:cubicBezTo>
                <a:close/>
              </a:path>
            </a:pathLst>
          </a:custGeom>
          <a:solidFill>
            <a:srgbClr val="FFFFFF"/>
          </a:solidFill>
          <a:ln w="41275" cap="rnd">
            <a:solidFill>
              <a:srgbClr val="FFFFFF"/>
            </a:solidFill>
            <a:round/>
            <a:extLst>
              <a:ext uri="{C807C97D-BFC1-408E-A445-0C87EB9F89A2}">
                <ask:lineSketchStyleProps xmlns:ask="http://schemas.microsoft.com/office/drawing/2018/sketchyshapes" sd="1219033472">
                  <a:custGeom>
                    <a:avLst/>
                    <a:gdLst>
                      <a:gd name="connsiteX0" fmla="*/ 0 w 6365383"/>
                      <a:gd name="connsiteY0" fmla="*/ 0 h 27432"/>
                      <a:gd name="connsiteX1" fmla="*/ 636538 w 6365383"/>
                      <a:gd name="connsiteY1" fmla="*/ 0 h 27432"/>
                      <a:gd name="connsiteX2" fmla="*/ 1273077 w 6365383"/>
                      <a:gd name="connsiteY2" fmla="*/ 0 h 27432"/>
                      <a:gd name="connsiteX3" fmla="*/ 1909615 w 6365383"/>
                      <a:gd name="connsiteY3" fmla="*/ 0 h 27432"/>
                      <a:gd name="connsiteX4" fmla="*/ 2673461 w 6365383"/>
                      <a:gd name="connsiteY4" fmla="*/ 0 h 27432"/>
                      <a:gd name="connsiteX5" fmla="*/ 3373653 w 6365383"/>
                      <a:gd name="connsiteY5" fmla="*/ 0 h 27432"/>
                      <a:gd name="connsiteX6" fmla="*/ 3819230 w 6365383"/>
                      <a:gd name="connsiteY6" fmla="*/ 0 h 27432"/>
                      <a:gd name="connsiteX7" fmla="*/ 4392114 w 6365383"/>
                      <a:gd name="connsiteY7" fmla="*/ 0 h 27432"/>
                      <a:gd name="connsiteX8" fmla="*/ 5155960 w 6365383"/>
                      <a:gd name="connsiteY8" fmla="*/ 0 h 27432"/>
                      <a:gd name="connsiteX9" fmla="*/ 5792499 w 6365383"/>
                      <a:gd name="connsiteY9" fmla="*/ 0 h 27432"/>
                      <a:gd name="connsiteX10" fmla="*/ 6365383 w 6365383"/>
                      <a:gd name="connsiteY10" fmla="*/ 0 h 27432"/>
                      <a:gd name="connsiteX11" fmla="*/ 6365383 w 6365383"/>
                      <a:gd name="connsiteY11" fmla="*/ 27432 h 27432"/>
                      <a:gd name="connsiteX12" fmla="*/ 5856152 w 6365383"/>
                      <a:gd name="connsiteY12" fmla="*/ 27432 h 27432"/>
                      <a:gd name="connsiteX13" fmla="*/ 5092306 w 6365383"/>
                      <a:gd name="connsiteY13" fmla="*/ 27432 h 27432"/>
                      <a:gd name="connsiteX14" fmla="*/ 4583076 w 6365383"/>
                      <a:gd name="connsiteY14" fmla="*/ 27432 h 27432"/>
                      <a:gd name="connsiteX15" fmla="*/ 4137499 w 6365383"/>
                      <a:gd name="connsiteY15" fmla="*/ 27432 h 27432"/>
                      <a:gd name="connsiteX16" fmla="*/ 3691922 w 6365383"/>
                      <a:gd name="connsiteY16" fmla="*/ 27432 h 27432"/>
                      <a:gd name="connsiteX17" fmla="*/ 2991730 w 6365383"/>
                      <a:gd name="connsiteY17" fmla="*/ 27432 h 27432"/>
                      <a:gd name="connsiteX18" fmla="*/ 2546153 w 6365383"/>
                      <a:gd name="connsiteY18" fmla="*/ 27432 h 27432"/>
                      <a:gd name="connsiteX19" fmla="*/ 1909615 w 6365383"/>
                      <a:gd name="connsiteY19" fmla="*/ 27432 h 27432"/>
                      <a:gd name="connsiteX20" fmla="*/ 1400384 w 6365383"/>
                      <a:gd name="connsiteY20" fmla="*/ 27432 h 27432"/>
                      <a:gd name="connsiteX21" fmla="*/ 763846 w 6365383"/>
                      <a:gd name="connsiteY21" fmla="*/ 27432 h 27432"/>
                      <a:gd name="connsiteX22" fmla="*/ 0 w 6365383"/>
                      <a:gd name="connsiteY22" fmla="*/ 27432 h 27432"/>
                      <a:gd name="connsiteX23" fmla="*/ 0 w 6365383"/>
                      <a:gd name="connsiteY23"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365383" h="27432" fill="none" extrusionOk="0">
                        <a:moveTo>
                          <a:pt x="0" y="0"/>
                        </a:moveTo>
                        <a:cubicBezTo>
                          <a:pt x="305169" y="21509"/>
                          <a:pt x="334704" y="-24261"/>
                          <a:pt x="636538" y="0"/>
                        </a:cubicBezTo>
                        <a:cubicBezTo>
                          <a:pt x="938372" y="24261"/>
                          <a:pt x="1068606" y="2269"/>
                          <a:pt x="1273077" y="0"/>
                        </a:cubicBezTo>
                        <a:cubicBezTo>
                          <a:pt x="1477548" y="-2269"/>
                          <a:pt x="1738189" y="6272"/>
                          <a:pt x="1909615" y="0"/>
                        </a:cubicBezTo>
                        <a:cubicBezTo>
                          <a:pt x="2081041" y="-6272"/>
                          <a:pt x="2377015" y="16623"/>
                          <a:pt x="2673461" y="0"/>
                        </a:cubicBezTo>
                        <a:cubicBezTo>
                          <a:pt x="2969907" y="-16623"/>
                          <a:pt x="3126114" y="13194"/>
                          <a:pt x="3373653" y="0"/>
                        </a:cubicBezTo>
                        <a:cubicBezTo>
                          <a:pt x="3621192" y="-13194"/>
                          <a:pt x="3704499" y="9486"/>
                          <a:pt x="3819230" y="0"/>
                        </a:cubicBezTo>
                        <a:cubicBezTo>
                          <a:pt x="3933961" y="-9486"/>
                          <a:pt x="4142691" y="-8221"/>
                          <a:pt x="4392114" y="0"/>
                        </a:cubicBezTo>
                        <a:cubicBezTo>
                          <a:pt x="4641537" y="8221"/>
                          <a:pt x="4974506" y="12257"/>
                          <a:pt x="5155960" y="0"/>
                        </a:cubicBezTo>
                        <a:cubicBezTo>
                          <a:pt x="5337414" y="-12257"/>
                          <a:pt x="5585731" y="-22537"/>
                          <a:pt x="5792499" y="0"/>
                        </a:cubicBezTo>
                        <a:cubicBezTo>
                          <a:pt x="5999267" y="22537"/>
                          <a:pt x="6164726" y="7303"/>
                          <a:pt x="6365383" y="0"/>
                        </a:cubicBezTo>
                        <a:cubicBezTo>
                          <a:pt x="6365125" y="7487"/>
                          <a:pt x="6364462" y="19984"/>
                          <a:pt x="6365383" y="27432"/>
                        </a:cubicBezTo>
                        <a:cubicBezTo>
                          <a:pt x="6132222" y="28304"/>
                          <a:pt x="6011986" y="2071"/>
                          <a:pt x="5856152" y="27432"/>
                        </a:cubicBezTo>
                        <a:cubicBezTo>
                          <a:pt x="5700318" y="52793"/>
                          <a:pt x="5410732" y="5357"/>
                          <a:pt x="5092306" y="27432"/>
                        </a:cubicBezTo>
                        <a:cubicBezTo>
                          <a:pt x="4773880" y="49507"/>
                          <a:pt x="4705351" y="6645"/>
                          <a:pt x="4583076" y="27432"/>
                        </a:cubicBezTo>
                        <a:cubicBezTo>
                          <a:pt x="4460801" y="48220"/>
                          <a:pt x="4239915" y="42209"/>
                          <a:pt x="4137499" y="27432"/>
                        </a:cubicBezTo>
                        <a:cubicBezTo>
                          <a:pt x="4035083" y="12655"/>
                          <a:pt x="3883665" y="32012"/>
                          <a:pt x="3691922" y="27432"/>
                        </a:cubicBezTo>
                        <a:cubicBezTo>
                          <a:pt x="3500179" y="22852"/>
                          <a:pt x="3265830" y="-126"/>
                          <a:pt x="2991730" y="27432"/>
                        </a:cubicBezTo>
                        <a:cubicBezTo>
                          <a:pt x="2717630" y="54990"/>
                          <a:pt x="2757122" y="34407"/>
                          <a:pt x="2546153" y="27432"/>
                        </a:cubicBezTo>
                        <a:cubicBezTo>
                          <a:pt x="2335184" y="20457"/>
                          <a:pt x="2107331" y="58889"/>
                          <a:pt x="1909615" y="27432"/>
                        </a:cubicBezTo>
                        <a:cubicBezTo>
                          <a:pt x="1711899" y="-4025"/>
                          <a:pt x="1634641" y="48316"/>
                          <a:pt x="1400384" y="27432"/>
                        </a:cubicBezTo>
                        <a:cubicBezTo>
                          <a:pt x="1166127" y="6548"/>
                          <a:pt x="1068288" y="15776"/>
                          <a:pt x="763846" y="27432"/>
                        </a:cubicBezTo>
                        <a:cubicBezTo>
                          <a:pt x="459404" y="39088"/>
                          <a:pt x="170017" y="14515"/>
                          <a:pt x="0" y="27432"/>
                        </a:cubicBezTo>
                        <a:cubicBezTo>
                          <a:pt x="-14" y="18173"/>
                          <a:pt x="-517" y="8990"/>
                          <a:pt x="0" y="0"/>
                        </a:cubicBezTo>
                        <a:close/>
                      </a:path>
                      <a:path w="6365383" h="27432" stroke="0" extrusionOk="0">
                        <a:moveTo>
                          <a:pt x="0" y="0"/>
                        </a:moveTo>
                        <a:cubicBezTo>
                          <a:pt x="114610" y="-2215"/>
                          <a:pt x="340315" y="12554"/>
                          <a:pt x="572884" y="0"/>
                        </a:cubicBezTo>
                        <a:cubicBezTo>
                          <a:pt x="805453" y="-12554"/>
                          <a:pt x="832891" y="-10424"/>
                          <a:pt x="1018461" y="0"/>
                        </a:cubicBezTo>
                        <a:cubicBezTo>
                          <a:pt x="1204031" y="10424"/>
                          <a:pt x="1590875" y="8682"/>
                          <a:pt x="1782307" y="0"/>
                        </a:cubicBezTo>
                        <a:cubicBezTo>
                          <a:pt x="1973739" y="-8682"/>
                          <a:pt x="2150876" y="5508"/>
                          <a:pt x="2355192" y="0"/>
                        </a:cubicBezTo>
                        <a:cubicBezTo>
                          <a:pt x="2559508" y="-5508"/>
                          <a:pt x="2790194" y="26965"/>
                          <a:pt x="2928076" y="0"/>
                        </a:cubicBezTo>
                        <a:cubicBezTo>
                          <a:pt x="3065958" y="-26965"/>
                          <a:pt x="3321537" y="819"/>
                          <a:pt x="3691922" y="0"/>
                        </a:cubicBezTo>
                        <a:cubicBezTo>
                          <a:pt x="4062307" y="-819"/>
                          <a:pt x="4072238" y="-15327"/>
                          <a:pt x="4201153" y="0"/>
                        </a:cubicBezTo>
                        <a:cubicBezTo>
                          <a:pt x="4330068" y="15327"/>
                          <a:pt x="4772079" y="-35646"/>
                          <a:pt x="4964999" y="0"/>
                        </a:cubicBezTo>
                        <a:cubicBezTo>
                          <a:pt x="5157919" y="35646"/>
                          <a:pt x="5543915" y="6802"/>
                          <a:pt x="5728845" y="0"/>
                        </a:cubicBezTo>
                        <a:cubicBezTo>
                          <a:pt x="5913775" y="-6802"/>
                          <a:pt x="6142952" y="-21408"/>
                          <a:pt x="6365383" y="0"/>
                        </a:cubicBezTo>
                        <a:cubicBezTo>
                          <a:pt x="6364552" y="6329"/>
                          <a:pt x="6365787" y="16858"/>
                          <a:pt x="6365383" y="27432"/>
                        </a:cubicBezTo>
                        <a:cubicBezTo>
                          <a:pt x="6176931" y="320"/>
                          <a:pt x="5998736" y="11244"/>
                          <a:pt x="5665191" y="27432"/>
                        </a:cubicBezTo>
                        <a:cubicBezTo>
                          <a:pt x="5331646" y="43620"/>
                          <a:pt x="5198011" y="28615"/>
                          <a:pt x="4901345" y="27432"/>
                        </a:cubicBezTo>
                        <a:cubicBezTo>
                          <a:pt x="4604679" y="26249"/>
                          <a:pt x="4422931" y="40617"/>
                          <a:pt x="4137499" y="27432"/>
                        </a:cubicBezTo>
                        <a:cubicBezTo>
                          <a:pt x="3852067" y="14247"/>
                          <a:pt x="3861939" y="26581"/>
                          <a:pt x="3628268" y="27432"/>
                        </a:cubicBezTo>
                        <a:cubicBezTo>
                          <a:pt x="3394597" y="28283"/>
                          <a:pt x="3171361" y="44132"/>
                          <a:pt x="2991730" y="27432"/>
                        </a:cubicBezTo>
                        <a:cubicBezTo>
                          <a:pt x="2812099" y="10732"/>
                          <a:pt x="2469344" y="24737"/>
                          <a:pt x="2227884" y="27432"/>
                        </a:cubicBezTo>
                        <a:cubicBezTo>
                          <a:pt x="1986424" y="30127"/>
                          <a:pt x="1748067" y="6359"/>
                          <a:pt x="1591346" y="27432"/>
                        </a:cubicBezTo>
                        <a:cubicBezTo>
                          <a:pt x="1434625" y="48505"/>
                          <a:pt x="1307456" y="39663"/>
                          <a:pt x="1145769" y="27432"/>
                        </a:cubicBezTo>
                        <a:cubicBezTo>
                          <a:pt x="984082" y="15201"/>
                          <a:pt x="800279" y="41647"/>
                          <a:pt x="636538" y="27432"/>
                        </a:cubicBezTo>
                        <a:cubicBezTo>
                          <a:pt x="472797" y="13217"/>
                          <a:pt x="160022" y="2213"/>
                          <a:pt x="0" y="27432"/>
                        </a:cubicBezTo>
                        <a:cubicBezTo>
                          <a:pt x="-177" y="19307"/>
                          <a:pt x="-1145" y="9170"/>
                          <a:pt x="0" y="0"/>
                        </a:cubicBezTo>
                        <a:close/>
                      </a:path>
                    </a:pathLst>
                  </a:cu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 name="Title 3">
            <a:extLst>
              <a:ext uri="{FF2B5EF4-FFF2-40B4-BE49-F238E27FC236}">
                <a16:creationId xmlns:a16="http://schemas.microsoft.com/office/drawing/2014/main" id="{DF48F183-8E50-1360-59B9-E3704D4DB7BE}"/>
              </a:ext>
            </a:extLst>
          </p:cNvPr>
          <p:cNvSpPr txBox="1">
            <a:spLocks/>
          </p:cNvSpPr>
          <p:nvPr/>
        </p:nvSpPr>
        <p:spPr>
          <a:xfrm>
            <a:off x="2390503" y="4699491"/>
            <a:ext cx="13502422" cy="1392191"/>
          </a:xfrm>
          <a:prstGeom prst="rect">
            <a:avLst/>
          </a:prstGeom>
        </p:spPr>
        <p:txBody>
          <a:bodyPr vert="horz" lIns="91440" tIns="45720" rIns="91440" bIns="45720" rtlCol="0" anchor="b">
            <a:normAutofit fontScale="70000" lnSpcReduction="20000"/>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7200" b="1">
                <a:solidFill>
                  <a:schemeClr val="bg1"/>
                </a:solidFill>
              </a:rPr>
              <a:t>Step 1: </a:t>
            </a:r>
          </a:p>
          <a:p>
            <a:r>
              <a:rPr lang="en-US" sz="7200" b="1">
                <a:solidFill>
                  <a:schemeClr val="bg1"/>
                </a:solidFill>
              </a:rPr>
              <a:t>Develop a CFD model</a:t>
            </a:r>
            <a:endParaRPr lang="sv-SE" sz="7200">
              <a:solidFill>
                <a:schemeClr val="bg1"/>
              </a:solidFill>
            </a:endParaRPr>
          </a:p>
        </p:txBody>
      </p:sp>
    </p:spTree>
    <p:extLst>
      <p:ext uri="{BB962C8B-B14F-4D97-AF65-F5344CB8AC3E}">
        <p14:creationId xmlns:p14="http://schemas.microsoft.com/office/powerpoint/2010/main" val="1434132951"/>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8" descr="RETROFEED FERTIBERIA">
            <a:extLst>
              <a:ext uri="{FF2B5EF4-FFF2-40B4-BE49-F238E27FC236}">
                <a16:creationId xmlns:a16="http://schemas.microsoft.com/office/drawing/2014/main" id="{35127F2E-2A37-81E9-0931-66A9F9E779D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32981" y="1000585"/>
            <a:ext cx="2287452" cy="841782"/>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6"/>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4"/>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5"/>
          <a:srcRect/>
          <a:stretch>
            <a:fillRect/>
          </a:stretch>
        </p:blipFill>
        <p:spPr>
          <a:xfrm>
            <a:off x="0" y="9499590"/>
            <a:ext cx="3247053" cy="787410"/>
          </a:xfrm>
          <a:prstGeom prst="rect">
            <a:avLst/>
          </a:prstGeom>
        </p:spPr>
      </p:pic>
      <p:grpSp>
        <p:nvGrpSpPr>
          <p:cNvPr id="3" name="Gruppo 2">
            <a:extLst>
              <a:ext uri="{FF2B5EF4-FFF2-40B4-BE49-F238E27FC236}">
                <a16:creationId xmlns:a16="http://schemas.microsoft.com/office/drawing/2014/main" id="{D0B44AFC-EABA-48CF-A7A8-348076F88921}"/>
              </a:ext>
            </a:extLst>
          </p:cNvPr>
          <p:cNvGrpSpPr/>
          <p:nvPr/>
        </p:nvGrpSpPr>
        <p:grpSpPr>
          <a:xfrm>
            <a:off x="-12" y="48613"/>
            <a:ext cx="18288002" cy="681138"/>
            <a:chOff x="-12" y="138554"/>
            <a:chExt cx="18288002" cy="681138"/>
          </a:xfrm>
        </p:grpSpPr>
        <p:pic>
          <p:nvPicPr>
            <p:cNvPr id="10" name="Picture 10"/>
            <p:cNvPicPr>
              <a:picLocks noChangeAspect="1"/>
            </p:cNvPicPr>
            <p:nvPr/>
          </p:nvPicPr>
          <p:blipFill>
            <a:blip r:embed="rId6"/>
            <a:srcRect l="134" t="91287" b="3943"/>
            <a:stretch>
              <a:fillRect/>
            </a:stretch>
          </p:blipFill>
          <p:spPr>
            <a:xfrm>
              <a:off x="0" y="153125"/>
              <a:ext cx="13958844" cy="666567"/>
            </a:xfrm>
            <a:prstGeom prst="rect">
              <a:avLst/>
            </a:prstGeom>
          </p:spPr>
        </p:pic>
        <p:sp>
          <p:nvSpPr>
            <p:cNvPr id="15" name="Rettangolo 14">
              <a:extLst>
                <a:ext uri="{FF2B5EF4-FFF2-40B4-BE49-F238E27FC236}">
                  <a16:creationId xmlns:a16="http://schemas.microsoft.com/office/drawing/2014/main" id="{AFFDA913-633F-49C2-9D71-573FB327981F}"/>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7" name="TextBox 13">
            <a:extLst>
              <a:ext uri="{FF2B5EF4-FFF2-40B4-BE49-F238E27FC236}">
                <a16:creationId xmlns:a16="http://schemas.microsoft.com/office/drawing/2014/main" id="{C7197FAA-9C82-4C25-B208-2BF8170DA3D1}"/>
              </a:ext>
            </a:extLst>
          </p:cNvPr>
          <p:cNvSpPr txBox="1"/>
          <p:nvPr/>
        </p:nvSpPr>
        <p:spPr>
          <a:xfrm>
            <a:off x="1432981" y="921346"/>
            <a:ext cx="18288000" cy="994055"/>
          </a:xfrm>
          <a:prstGeom prst="rect">
            <a:avLst/>
          </a:prstGeom>
        </p:spPr>
        <p:txBody>
          <a:bodyPr wrap="square" lIns="0" tIns="0" rIns="0" bIns="0" rtlCol="0" anchor="t">
            <a:spAutoFit/>
          </a:bodyPr>
          <a:lstStyle/>
          <a:p>
            <a:pPr algn="ctr">
              <a:lnSpc>
                <a:spcPts val="8960"/>
              </a:lnSpc>
              <a:spcBef>
                <a:spcPct val="0"/>
              </a:spcBef>
            </a:pPr>
            <a:r>
              <a:rPr lang="en-US" sz="4400" b="1">
                <a:solidFill>
                  <a:srgbClr val="CC0033"/>
                </a:solidFill>
                <a:latin typeface="+mj-lt"/>
                <a:cs typeface="Arial" panose="020B0604020202020204" pitchFamily="34" charset="0"/>
              </a:rPr>
              <a:t>- Development of CFD model of </a:t>
            </a:r>
            <a:r>
              <a:rPr lang="en-US" sz="4400" b="1" err="1">
                <a:solidFill>
                  <a:srgbClr val="CC0033"/>
                </a:solidFill>
                <a:latin typeface="+mj-lt"/>
                <a:cs typeface="Arial" panose="020B0604020202020204" pitchFamily="34" charset="0"/>
              </a:rPr>
              <a:t>Fertiberia’s</a:t>
            </a:r>
            <a:r>
              <a:rPr lang="en-US" sz="4400" b="1">
                <a:solidFill>
                  <a:srgbClr val="CC0033"/>
                </a:solidFill>
                <a:latin typeface="+mj-lt"/>
                <a:cs typeface="Arial" panose="020B0604020202020204" pitchFamily="34" charset="0"/>
              </a:rPr>
              <a:t> reactor</a:t>
            </a:r>
          </a:p>
        </p:txBody>
      </p:sp>
      <p:grpSp>
        <p:nvGrpSpPr>
          <p:cNvPr id="9" name="Group 8">
            <a:extLst>
              <a:ext uri="{FF2B5EF4-FFF2-40B4-BE49-F238E27FC236}">
                <a16:creationId xmlns:a16="http://schemas.microsoft.com/office/drawing/2014/main" id="{408A6E3C-79C6-F0E9-EB1B-CDB34270AC22}"/>
              </a:ext>
            </a:extLst>
          </p:cNvPr>
          <p:cNvGrpSpPr/>
          <p:nvPr/>
        </p:nvGrpSpPr>
        <p:grpSpPr>
          <a:xfrm>
            <a:off x="1432981" y="2365879"/>
            <a:ext cx="7654029" cy="5628349"/>
            <a:chOff x="5355" y="0"/>
            <a:chExt cx="6443044" cy="3427682"/>
          </a:xfrm>
        </p:grpSpPr>
        <p:sp>
          <p:nvSpPr>
            <p:cNvPr id="12" name="Rectangle: Top Corners Rounded 11">
              <a:extLst>
                <a:ext uri="{FF2B5EF4-FFF2-40B4-BE49-F238E27FC236}">
                  <a16:creationId xmlns:a16="http://schemas.microsoft.com/office/drawing/2014/main" id="{9F31A9F1-B891-C425-7D24-56C39C631F18}"/>
                </a:ext>
              </a:extLst>
            </p:cNvPr>
            <p:cNvSpPr/>
            <p:nvPr/>
          </p:nvSpPr>
          <p:spPr>
            <a:xfrm>
              <a:off x="5355" y="0"/>
              <a:ext cx="6443044" cy="3427682"/>
            </a:xfrm>
            <a:prstGeom prst="round2SameRect">
              <a:avLst>
                <a:gd name="adj1" fmla="val 8000"/>
                <a:gd name="adj2" fmla="val 0"/>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13" name="Rectangle: Top Corners Rounded 4">
              <a:extLst>
                <a:ext uri="{FF2B5EF4-FFF2-40B4-BE49-F238E27FC236}">
                  <a16:creationId xmlns:a16="http://schemas.microsoft.com/office/drawing/2014/main" id="{80CE365D-A14E-D3D7-EAFC-C3CB82979B6A}"/>
                </a:ext>
              </a:extLst>
            </p:cNvPr>
            <p:cNvSpPr txBox="1"/>
            <p:nvPr/>
          </p:nvSpPr>
          <p:spPr>
            <a:xfrm>
              <a:off x="85670" y="80315"/>
              <a:ext cx="6282414" cy="3347367"/>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7940" tIns="83820" rIns="27940" bIns="27940" numCol="1" spcCol="1270" anchor="t" anchorCtr="0">
              <a:noAutofit/>
            </a:bodyPr>
            <a:lstStyle/>
            <a:p>
              <a:pPr marL="0" lvl="1" algn="just" defTabSz="977900">
                <a:spcBef>
                  <a:spcPct val="0"/>
                </a:spcBef>
                <a:spcAft>
                  <a:spcPct val="15000"/>
                </a:spcAft>
              </a:pPr>
              <a:r>
                <a:rPr lang="sv-SE" sz="2400" kern="1200" err="1"/>
                <a:t>There</a:t>
              </a:r>
              <a:r>
                <a:rPr lang="sv-SE" sz="2400" kern="1200"/>
                <a:t> </a:t>
              </a:r>
              <a:r>
                <a:rPr lang="sv-SE" sz="2400" kern="1200" err="1"/>
                <a:t>are</a:t>
              </a:r>
              <a:r>
                <a:rPr lang="sv-SE" sz="2400" kern="1200"/>
                <a:t> 3 inputs (</a:t>
              </a:r>
              <a:r>
                <a:rPr lang="sv-SE" sz="2400" kern="1200" err="1">
                  <a:solidFill>
                    <a:srgbClr val="0070C0"/>
                  </a:solidFill>
                </a:rPr>
                <a:t>blue</a:t>
              </a:r>
              <a:r>
                <a:rPr lang="sv-SE" sz="2400"/>
                <a:t>)</a:t>
              </a:r>
              <a:r>
                <a:rPr lang="sv-SE" sz="2400" kern="1200"/>
                <a:t> to the </a:t>
              </a:r>
              <a:r>
                <a:rPr lang="sv-SE" sz="2400" kern="1200" err="1"/>
                <a:t>tubular</a:t>
              </a:r>
              <a:r>
                <a:rPr lang="sv-SE" sz="2400" kern="1200"/>
                <a:t> </a:t>
              </a:r>
              <a:r>
                <a:rPr lang="sv-SE" sz="2400" kern="1200" err="1"/>
                <a:t>reactor</a:t>
              </a:r>
              <a:r>
                <a:rPr lang="sv-SE" sz="2400"/>
                <a:t>: </a:t>
              </a:r>
              <a:r>
                <a:rPr lang="sv-SE" sz="2400" kern="1200" err="1"/>
                <a:t>ammonia</a:t>
              </a:r>
              <a:r>
                <a:rPr lang="sv-SE" sz="2400" kern="1200"/>
                <a:t>, </a:t>
              </a:r>
              <a:r>
                <a:rPr lang="sv-SE" sz="2400" kern="1200" err="1"/>
                <a:t>sulfuric</a:t>
              </a:r>
              <a:r>
                <a:rPr lang="sv-SE" sz="2400" kern="1200"/>
                <a:t> </a:t>
              </a:r>
              <a:r>
                <a:rPr lang="sv-SE" sz="2400" kern="1200" err="1"/>
                <a:t>acid</a:t>
              </a:r>
              <a:r>
                <a:rPr lang="sv-SE" sz="2400"/>
                <a:t>, and </a:t>
              </a:r>
              <a:r>
                <a:rPr lang="sv-SE" sz="2400" err="1"/>
                <a:t>phosphoric</a:t>
              </a:r>
              <a:r>
                <a:rPr lang="sv-SE" sz="2400"/>
                <a:t> </a:t>
              </a:r>
              <a:r>
                <a:rPr lang="sv-SE" sz="2400" err="1"/>
                <a:t>acid</a:t>
              </a:r>
              <a:r>
                <a:rPr lang="sv-SE" sz="2400"/>
                <a:t>. </a:t>
              </a:r>
              <a:r>
                <a:rPr lang="sv-SE" sz="2400" err="1"/>
                <a:t>Due</a:t>
              </a:r>
              <a:r>
                <a:rPr lang="sv-SE" sz="2400"/>
                <a:t> to the </a:t>
              </a:r>
              <a:r>
                <a:rPr lang="sv-SE" sz="2400" err="1"/>
                <a:t>geometry</a:t>
              </a:r>
              <a:r>
                <a:rPr lang="sv-SE" sz="2400"/>
                <a:t> </a:t>
              </a:r>
              <a:r>
                <a:rPr lang="sv-SE" sz="2400" err="1"/>
                <a:t>of</a:t>
              </a:r>
              <a:r>
                <a:rPr lang="sv-SE" sz="2400"/>
                <a:t> the </a:t>
              </a:r>
              <a:r>
                <a:rPr lang="sv-SE" sz="2400" err="1"/>
                <a:t>reactor</a:t>
              </a:r>
              <a:r>
                <a:rPr lang="sv-SE" sz="2400"/>
                <a:t> it </a:t>
              </a:r>
              <a:r>
                <a:rPr lang="sv-SE" sz="2400" err="1"/>
                <a:t>can</a:t>
              </a:r>
              <a:r>
                <a:rPr lang="sv-SE" sz="2400"/>
                <a:t> be </a:t>
              </a:r>
              <a:r>
                <a:rPr lang="sv-SE" sz="2400" err="1"/>
                <a:t>modeled</a:t>
              </a:r>
              <a:r>
                <a:rPr lang="sv-SE" sz="2400"/>
                <a:t> as </a:t>
              </a:r>
              <a:r>
                <a:rPr lang="sv-SE" sz="2400" b="1" err="1"/>
                <a:t>half</a:t>
              </a:r>
              <a:r>
                <a:rPr lang="sv-SE" sz="2400" b="1"/>
                <a:t> a </a:t>
              </a:r>
              <a:r>
                <a:rPr lang="sv-SE" sz="2400" b="1" err="1"/>
                <a:t>reactor</a:t>
              </a:r>
              <a:r>
                <a:rPr lang="sv-SE" sz="2400"/>
                <a:t> </a:t>
              </a:r>
              <a:r>
                <a:rPr lang="sv-SE" sz="2400" err="1"/>
                <a:t>with</a:t>
              </a:r>
              <a:r>
                <a:rPr lang="sv-SE" sz="2400"/>
                <a:t> a </a:t>
              </a:r>
              <a:r>
                <a:rPr lang="sv-SE" sz="2400" err="1"/>
                <a:t>symmetry</a:t>
              </a:r>
              <a:r>
                <a:rPr lang="sv-SE" sz="2400"/>
                <a:t> plane, </a:t>
              </a:r>
              <a:r>
                <a:rPr lang="sv-SE" sz="2400" err="1"/>
                <a:t>resulting</a:t>
              </a:r>
              <a:r>
                <a:rPr lang="sv-SE" sz="2400"/>
                <a:t> in a </a:t>
              </a:r>
              <a:r>
                <a:rPr lang="sv-SE" sz="2400" err="1"/>
                <a:t>great</a:t>
              </a:r>
              <a:r>
                <a:rPr lang="sv-SE" sz="2400"/>
                <a:t> </a:t>
              </a:r>
              <a:r>
                <a:rPr lang="sv-SE" sz="2400" err="1"/>
                <a:t>reduction</a:t>
              </a:r>
              <a:r>
                <a:rPr lang="sv-SE" sz="2400"/>
                <a:t> </a:t>
              </a:r>
              <a:r>
                <a:rPr lang="sv-SE" sz="2400" err="1"/>
                <a:t>of</a:t>
              </a:r>
              <a:r>
                <a:rPr lang="sv-SE" sz="2400"/>
                <a:t> </a:t>
              </a:r>
              <a:r>
                <a:rPr lang="sv-SE" sz="2400" err="1"/>
                <a:t>computational</a:t>
              </a:r>
              <a:r>
                <a:rPr lang="sv-SE" sz="2400"/>
                <a:t> </a:t>
              </a:r>
              <a:r>
                <a:rPr lang="sv-SE" sz="2400" err="1"/>
                <a:t>cost</a:t>
              </a:r>
              <a:r>
                <a:rPr lang="sv-SE" sz="2400"/>
                <a:t>. </a:t>
              </a:r>
              <a:endParaRPr lang="sv-SE" sz="2400" kern="1200"/>
            </a:p>
            <a:p>
              <a:pPr marL="0" lvl="1" algn="l" defTabSz="977900">
                <a:lnSpc>
                  <a:spcPct val="150000"/>
                </a:lnSpc>
                <a:spcBef>
                  <a:spcPct val="0"/>
                </a:spcBef>
                <a:spcAft>
                  <a:spcPct val="15000"/>
                </a:spcAft>
              </a:pPr>
              <a:endParaRPr lang="sv-SE" sz="2200" kern="1200"/>
            </a:p>
          </p:txBody>
        </p:sp>
      </p:grpSp>
      <p:grpSp>
        <p:nvGrpSpPr>
          <p:cNvPr id="21" name="Group 20">
            <a:extLst>
              <a:ext uri="{FF2B5EF4-FFF2-40B4-BE49-F238E27FC236}">
                <a16:creationId xmlns:a16="http://schemas.microsoft.com/office/drawing/2014/main" id="{777E5CB8-A234-BF04-DE03-B5DAFECCBF6D}"/>
              </a:ext>
            </a:extLst>
          </p:cNvPr>
          <p:cNvGrpSpPr/>
          <p:nvPr/>
        </p:nvGrpSpPr>
        <p:grpSpPr>
          <a:xfrm>
            <a:off x="9967392" y="1058174"/>
            <a:ext cx="12755037" cy="6920815"/>
            <a:chOff x="5355" y="-1331980"/>
            <a:chExt cx="10736994" cy="4759662"/>
          </a:xfrm>
        </p:grpSpPr>
        <p:sp>
          <p:nvSpPr>
            <p:cNvPr id="22" name="Rectangle: Top Corners Rounded 21">
              <a:extLst>
                <a:ext uri="{FF2B5EF4-FFF2-40B4-BE49-F238E27FC236}">
                  <a16:creationId xmlns:a16="http://schemas.microsoft.com/office/drawing/2014/main" id="{A0BCBB1A-31DD-9FF0-3846-E976C96F04A1}"/>
                </a:ext>
              </a:extLst>
            </p:cNvPr>
            <p:cNvSpPr/>
            <p:nvPr/>
          </p:nvSpPr>
          <p:spPr>
            <a:xfrm>
              <a:off x="5355" y="-442401"/>
              <a:ext cx="6443044" cy="3870083"/>
            </a:xfrm>
            <a:prstGeom prst="round2SameRect">
              <a:avLst>
                <a:gd name="adj1" fmla="val 8000"/>
                <a:gd name="adj2" fmla="val 0"/>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lgn="just"/>
              <a:r>
                <a:rPr lang="sv-SE" sz="2400"/>
                <a:t>The </a:t>
              </a:r>
              <a:r>
                <a:rPr lang="sv-SE" sz="2400" err="1"/>
                <a:t>mesh</a:t>
              </a:r>
              <a:r>
                <a:rPr lang="sv-SE" sz="2400"/>
                <a:t> is </a:t>
              </a:r>
              <a:r>
                <a:rPr lang="sv-SE" sz="2400" err="1"/>
                <a:t>refined</a:t>
              </a:r>
              <a:r>
                <a:rPr lang="sv-SE" sz="2400"/>
                <a:t> in areas </a:t>
              </a:r>
              <a:r>
                <a:rPr lang="sv-SE" sz="2400" b="1" err="1"/>
                <a:t>adjacent</a:t>
              </a:r>
              <a:r>
                <a:rPr lang="sv-SE" sz="2400" b="1"/>
                <a:t> to the </a:t>
              </a:r>
              <a:r>
                <a:rPr lang="sv-SE" sz="2400" b="1" err="1"/>
                <a:t>reactor</a:t>
              </a:r>
              <a:r>
                <a:rPr lang="sv-SE" sz="2400" b="1"/>
                <a:t> </a:t>
              </a:r>
              <a:r>
                <a:rPr lang="sv-SE" sz="2400" b="1" err="1"/>
                <a:t>walls</a:t>
              </a:r>
              <a:r>
                <a:rPr lang="sv-SE" sz="2400"/>
                <a:t> in order to </a:t>
              </a:r>
              <a:r>
                <a:rPr lang="sv-SE" sz="2400" err="1"/>
                <a:t>more</a:t>
              </a:r>
              <a:r>
                <a:rPr lang="sv-SE" sz="2400"/>
                <a:t> </a:t>
              </a:r>
              <a:r>
                <a:rPr lang="sv-SE" sz="2400" err="1"/>
                <a:t>accurately</a:t>
              </a:r>
              <a:r>
                <a:rPr lang="sv-SE" sz="2400"/>
                <a:t> </a:t>
              </a:r>
              <a:r>
                <a:rPr lang="sv-SE" sz="2400" err="1"/>
                <a:t>capture</a:t>
              </a:r>
              <a:r>
                <a:rPr lang="sv-SE" sz="2400"/>
                <a:t> the </a:t>
              </a:r>
              <a:r>
                <a:rPr lang="sv-SE" sz="2400" err="1"/>
                <a:t>effects</a:t>
              </a:r>
              <a:r>
                <a:rPr lang="sv-SE" sz="2400"/>
                <a:t> of the </a:t>
              </a:r>
              <a:r>
                <a:rPr lang="sv-SE" sz="2400" err="1"/>
                <a:t>boundary</a:t>
              </a:r>
              <a:r>
                <a:rPr lang="sv-SE" sz="2400"/>
                <a:t> </a:t>
              </a:r>
              <a:r>
                <a:rPr lang="sv-SE" sz="2400" err="1"/>
                <a:t>layer</a:t>
              </a:r>
              <a:r>
                <a:rPr lang="sv-SE" sz="2400"/>
                <a:t> on the </a:t>
              </a:r>
              <a:r>
                <a:rPr lang="sv-SE" sz="2400" err="1"/>
                <a:t>circulation</a:t>
              </a:r>
              <a:r>
                <a:rPr lang="sv-SE" sz="2400"/>
                <a:t> of </a:t>
              </a:r>
              <a:r>
                <a:rPr lang="sv-SE" sz="2400" err="1"/>
                <a:t>liquid</a:t>
              </a:r>
              <a:r>
                <a:rPr lang="sv-SE" sz="2400"/>
                <a:t> </a:t>
              </a:r>
              <a:r>
                <a:rPr lang="sv-SE" sz="2400" err="1"/>
                <a:t>flow</a:t>
              </a:r>
              <a:r>
                <a:rPr lang="sv-SE" sz="2400"/>
                <a:t> in the </a:t>
              </a:r>
              <a:r>
                <a:rPr lang="sv-SE" sz="2400" err="1"/>
                <a:t>reactor</a:t>
              </a:r>
              <a:r>
                <a:rPr lang="sv-SE" sz="2400"/>
                <a:t>. </a:t>
              </a:r>
            </a:p>
          </p:txBody>
        </p:sp>
        <p:sp>
          <p:nvSpPr>
            <p:cNvPr id="23" name="Rectangle: Top Corners Rounded 4">
              <a:extLst>
                <a:ext uri="{FF2B5EF4-FFF2-40B4-BE49-F238E27FC236}">
                  <a16:creationId xmlns:a16="http://schemas.microsoft.com/office/drawing/2014/main" id="{23C7AB4D-0B2E-8A91-AB7B-1B227F9576AD}"/>
                </a:ext>
              </a:extLst>
            </p:cNvPr>
            <p:cNvSpPr txBox="1"/>
            <p:nvPr/>
          </p:nvSpPr>
          <p:spPr>
            <a:xfrm>
              <a:off x="4459935" y="-1331980"/>
              <a:ext cx="6282414" cy="3347367"/>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7940" tIns="83820" rIns="27940" bIns="27940" numCol="1" spcCol="1270" anchor="t" anchorCtr="0">
              <a:noAutofit/>
            </a:bodyPr>
            <a:lstStyle/>
            <a:p>
              <a:pPr marL="0" lvl="1" algn="l" defTabSz="977900">
                <a:lnSpc>
                  <a:spcPct val="150000"/>
                </a:lnSpc>
                <a:spcBef>
                  <a:spcPct val="0"/>
                </a:spcBef>
                <a:spcAft>
                  <a:spcPct val="15000"/>
                </a:spcAft>
              </a:pPr>
              <a:endParaRPr lang="sv-SE" sz="2200" kern="1200"/>
            </a:p>
          </p:txBody>
        </p:sp>
      </p:grpSp>
      <p:pic>
        <p:nvPicPr>
          <p:cNvPr id="24" name="Picture 23">
            <a:extLst>
              <a:ext uri="{FF2B5EF4-FFF2-40B4-BE49-F238E27FC236}">
                <a16:creationId xmlns:a16="http://schemas.microsoft.com/office/drawing/2014/main" id="{EF10947E-F62F-6851-5179-6BDC0625971B}"/>
              </a:ext>
            </a:extLst>
          </p:cNvPr>
          <p:cNvPicPr>
            <a:picLocks noChangeAspect="1"/>
          </p:cNvPicPr>
          <p:nvPr/>
        </p:nvPicPr>
        <p:blipFill>
          <a:blip r:embed="rId7"/>
          <a:stretch>
            <a:fillRect/>
          </a:stretch>
        </p:blipFill>
        <p:spPr>
          <a:xfrm>
            <a:off x="10544753" y="4200604"/>
            <a:ext cx="6417645" cy="3408957"/>
          </a:xfrm>
          <a:prstGeom prst="rect">
            <a:avLst/>
          </a:prstGeom>
        </p:spPr>
      </p:pic>
      <p:pic>
        <p:nvPicPr>
          <p:cNvPr id="25" name="Picture 24">
            <a:extLst>
              <a:ext uri="{FF2B5EF4-FFF2-40B4-BE49-F238E27FC236}">
                <a16:creationId xmlns:a16="http://schemas.microsoft.com/office/drawing/2014/main" id="{32CC69C3-66B5-4FE6-9D0D-413FDE8A06F8}"/>
              </a:ext>
            </a:extLst>
          </p:cNvPr>
          <p:cNvPicPr>
            <a:picLocks noChangeAspect="1"/>
          </p:cNvPicPr>
          <p:nvPr/>
        </p:nvPicPr>
        <p:blipFill>
          <a:blip r:embed="rId8"/>
          <a:stretch>
            <a:fillRect/>
          </a:stretch>
        </p:blipFill>
        <p:spPr>
          <a:xfrm>
            <a:off x="2426420" y="4399751"/>
            <a:ext cx="4983479" cy="3426042"/>
          </a:xfrm>
          <a:prstGeom prst="rect">
            <a:avLst/>
          </a:prstGeom>
        </p:spPr>
      </p:pic>
      <p:sp>
        <p:nvSpPr>
          <p:cNvPr id="31" name="TextBox 13">
            <a:extLst>
              <a:ext uri="{FF2B5EF4-FFF2-40B4-BE49-F238E27FC236}">
                <a16:creationId xmlns:a16="http://schemas.microsoft.com/office/drawing/2014/main" id="{34137776-F59C-4ADC-B17D-65260F652321}"/>
              </a:ext>
            </a:extLst>
          </p:cNvPr>
          <p:cNvSpPr txBox="1"/>
          <p:nvPr/>
        </p:nvSpPr>
        <p:spPr>
          <a:xfrm>
            <a:off x="1615860" y="7730272"/>
            <a:ext cx="7288269" cy="830997"/>
          </a:xfrm>
          <a:prstGeom prst="rect">
            <a:avLst/>
          </a:prstGeom>
          <a:solidFill>
            <a:srgbClr val="CC0033"/>
          </a:solidFill>
          <a:ln>
            <a:solidFill>
              <a:srgbClr val="CC0033"/>
            </a:solidFill>
          </a:ln>
        </p:spPr>
        <p:style>
          <a:lnRef idx="2">
            <a:schemeClr val="accent6">
              <a:shade val="50000"/>
            </a:schemeClr>
          </a:lnRef>
          <a:fillRef idx="1">
            <a:schemeClr val="accent6"/>
          </a:fillRef>
          <a:effectRef idx="0">
            <a:schemeClr val="accent6"/>
          </a:effectRef>
          <a:fontRef idx="minor">
            <a:schemeClr val="lt1"/>
          </a:fontRef>
        </p:style>
        <p:txBody>
          <a:bodyPr wrap="square" lIns="0" tIns="0" rIns="0" bIns="0" rtlCol="0" anchor="t">
            <a:spAutoFit/>
          </a:bodyPr>
          <a:lstStyle/>
          <a:p>
            <a:pPr algn="ctr">
              <a:spcBef>
                <a:spcPct val="0"/>
              </a:spcBef>
            </a:pPr>
            <a:r>
              <a:rPr lang="en-US" sz="5400" b="1">
                <a:solidFill>
                  <a:schemeClr val="bg1"/>
                </a:solidFill>
                <a:latin typeface="+mj-lt"/>
                <a:cs typeface="Arial" panose="020B0604020202020204" pitchFamily="34" charset="0"/>
              </a:rPr>
              <a:t>GEOMETRIC MODEL</a:t>
            </a:r>
          </a:p>
        </p:txBody>
      </p:sp>
      <p:sp>
        <p:nvSpPr>
          <p:cNvPr id="28" name="TextBox 13">
            <a:extLst>
              <a:ext uri="{FF2B5EF4-FFF2-40B4-BE49-F238E27FC236}">
                <a16:creationId xmlns:a16="http://schemas.microsoft.com/office/drawing/2014/main" id="{48D3D112-4A60-FF39-B745-06EA281C95E9}"/>
              </a:ext>
            </a:extLst>
          </p:cNvPr>
          <p:cNvSpPr txBox="1"/>
          <p:nvPr/>
        </p:nvSpPr>
        <p:spPr>
          <a:xfrm>
            <a:off x="10149850" y="7718652"/>
            <a:ext cx="7288269" cy="830997"/>
          </a:xfrm>
          <a:prstGeom prst="rect">
            <a:avLst/>
          </a:prstGeom>
          <a:solidFill>
            <a:srgbClr val="CC0033"/>
          </a:solidFill>
          <a:ln>
            <a:solidFill>
              <a:srgbClr val="CC0033"/>
            </a:solidFill>
          </a:ln>
        </p:spPr>
        <p:style>
          <a:lnRef idx="2">
            <a:schemeClr val="accent6">
              <a:shade val="50000"/>
            </a:schemeClr>
          </a:lnRef>
          <a:fillRef idx="1">
            <a:schemeClr val="accent6"/>
          </a:fillRef>
          <a:effectRef idx="0">
            <a:schemeClr val="accent6"/>
          </a:effectRef>
          <a:fontRef idx="minor">
            <a:schemeClr val="lt1"/>
          </a:fontRef>
        </p:style>
        <p:txBody>
          <a:bodyPr wrap="square" lIns="0" tIns="0" rIns="0" bIns="0" rtlCol="0" anchor="t">
            <a:spAutoFit/>
          </a:bodyPr>
          <a:lstStyle/>
          <a:p>
            <a:pPr algn="ctr">
              <a:spcBef>
                <a:spcPct val="0"/>
              </a:spcBef>
            </a:pPr>
            <a:r>
              <a:rPr lang="en-US" sz="5400" b="1">
                <a:solidFill>
                  <a:schemeClr val="bg1"/>
                </a:solidFill>
                <a:latin typeface="+mj-lt"/>
                <a:cs typeface="Arial" panose="020B0604020202020204" pitchFamily="34" charset="0"/>
              </a:rPr>
              <a:t>MESH</a:t>
            </a:r>
          </a:p>
        </p:txBody>
      </p:sp>
    </p:spTree>
    <p:extLst>
      <p:ext uri="{BB962C8B-B14F-4D97-AF65-F5344CB8AC3E}">
        <p14:creationId xmlns:p14="http://schemas.microsoft.com/office/powerpoint/2010/main" val="213076282"/>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3F9E68C-E51D-A0DB-456C-E40A5ABBAC6A}"/>
              </a:ext>
            </a:extLst>
          </p:cNvPr>
          <p:cNvSpPr txBox="1"/>
          <p:nvPr/>
        </p:nvSpPr>
        <p:spPr>
          <a:xfrm>
            <a:off x="844612" y="3427184"/>
            <a:ext cx="10139903" cy="3890489"/>
          </a:xfrm>
          <a:prstGeom prst="rect">
            <a:avLst/>
          </a:prstGeom>
          <a:noFill/>
        </p:spPr>
        <p:txBody>
          <a:bodyPr wrap="square">
            <a:spAutoFit/>
          </a:bodyPr>
          <a:lstStyle/>
          <a:p>
            <a:pPr marL="457200" indent="-457200">
              <a:lnSpc>
                <a:spcPct val="150000"/>
              </a:lnSpc>
              <a:buFont typeface="Arial" panose="020B0604020202020204" pitchFamily="34" charset="0"/>
              <a:buChar char="•"/>
            </a:pPr>
            <a:r>
              <a:rPr lang="en-US" sz="2800">
                <a:cs typeface="Arial" panose="020B0604020202020204" pitchFamily="34" charset="0"/>
              </a:rPr>
              <a:t>The input flow mixture had a strong influence on product formation and reactor temperature in the </a:t>
            </a:r>
            <a:r>
              <a:rPr lang="en-US" sz="2800" err="1">
                <a:cs typeface="Arial" panose="020B0604020202020204" pitchFamily="34" charset="0"/>
              </a:rPr>
              <a:t>Fertiberia</a:t>
            </a:r>
            <a:r>
              <a:rPr lang="en-US" sz="2800">
                <a:cs typeface="Arial" panose="020B0604020202020204" pitchFamily="34" charset="0"/>
              </a:rPr>
              <a:t> reactor.</a:t>
            </a:r>
          </a:p>
          <a:p>
            <a:pPr marL="457200" indent="-457200">
              <a:lnSpc>
                <a:spcPct val="150000"/>
              </a:lnSpc>
              <a:buFont typeface="Arial" panose="020B0604020202020204" pitchFamily="34" charset="0"/>
              <a:buChar char="•"/>
            </a:pPr>
            <a:endParaRPr lang="en-US" sz="2800">
              <a:cs typeface="Arial" panose="020B0604020202020204" pitchFamily="34" charset="0"/>
            </a:endParaRPr>
          </a:p>
          <a:p>
            <a:pPr marL="457200" indent="-457200">
              <a:lnSpc>
                <a:spcPct val="150000"/>
              </a:lnSpc>
              <a:buFont typeface="Arial" panose="020B0604020202020204" pitchFamily="34" charset="0"/>
              <a:buChar char="•"/>
            </a:pPr>
            <a:r>
              <a:rPr lang="en-US" sz="2800">
                <a:cs typeface="Arial" panose="020B0604020202020204" pitchFamily="34" charset="0"/>
              </a:rPr>
              <a:t> The selection of a suitable </a:t>
            </a:r>
            <a:r>
              <a:rPr lang="en-US" sz="2800" b="1">
                <a:cs typeface="Arial" panose="020B0604020202020204" pitchFamily="34" charset="0"/>
              </a:rPr>
              <a:t>turbulence model </a:t>
            </a:r>
            <a:r>
              <a:rPr lang="en-US" sz="2800">
                <a:cs typeface="Arial" panose="020B0604020202020204" pitchFamily="34" charset="0"/>
              </a:rPr>
              <a:t>was crucial for accurate CFD simulations after the reactor geometry had been developed.</a:t>
            </a:r>
            <a:endParaRPr lang="sv-SE" sz="2800">
              <a:cs typeface="Arial" panose="020B0604020202020204" pitchFamily="34" charset="0"/>
            </a:endParaRPr>
          </a:p>
        </p:txBody>
      </p:sp>
      <p:grpSp>
        <p:nvGrpSpPr>
          <p:cNvPr id="17" name="Gruppo 16">
            <a:extLst>
              <a:ext uri="{FF2B5EF4-FFF2-40B4-BE49-F238E27FC236}">
                <a16:creationId xmlns:a16="http://schemas.microsoft.com/office/drawing/2014/main" id="{98799FA6-242B-4FD5-B9E0-83122CE6C004}"/>
              </a:ext>
            </a:extLst>
          </p:cNvPr>
          <p:cNvGrpSpPr/>
          <p:nvPr/>
        </p:nvGrpSpPr>
        <p:grpSpPr>
          <a:xfrm>
            <a:off x="4344146" y="9695736"/>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4"/>
          <a:srcRect/>
          <a:stretch>
            <a:fillRect/>
          </a:stretch>
        </p:blipFill>
        <p:spPr>
          <a:xfrm>
            <a:off x="0" y="9499590"/>
            <a:ext cx="3247053" cy="787410"/>
          </a:xfrm>
          <a:prstGeom prst="rect">
            <a:avLst/>
          </a:prstGeom>
        </p:spPr>
      </p:pic>
      <p:grpSp>
        <p:nvGrpSpPr>
          <p:cNvPr id="3" name="Gruppo 2">
            <a:extLst>
              <a:ext uri="{FF2B5EF4-FFF2-40B4-BE49-F238E27FC236}">
                <a16:creationId xmlns:a16="http://schemas.microsoft.com/office/drawing/2014/main" id="{D0B44AFC-EABA-48CF-A7A8-348076F88921}"/>
              </a:ext>
            </a:extLst>
          </p:cNvPr>
          <p:cNvGrpSpPr/>
          <p:nvPr/>
        </p:nvGrpSpPr>
        <p:grpSpPr>
          <a:xfrm>
            <a:off x="-12" y="138554"/>
            <a:ext cx="18288002" cy="681138"/>
            <a:chOff x="-12" y="138554"/>
            <a:chExt cx="18288002" cy="681138"/>
          </a:xfrm>
        </p:grpSpPr>
        <p:pic>
          <p:nvPicPr>
            <p:cNvPr id="10" name="Picture 10"/>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5" name="Rettangolo 14">
              <a:extLst>
                <a:ext uri="{FF2B5EF4-FFF2-40B4-BE49-F238E27FC236}">
                  <a16:creationId xmlns:a16="http://schemas.microsoft.com/office/drawing/2014/main" id="{AFFDA913-633F-49C2-9D71-573FB327981F}"/>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7" name="TextBox 13">
            <a:extLst>
              <a:ext uri="{FF2B5EF4-FFF2-40B4-BE49-F238E27FC236}">
                <a16:creationId xmlns:a16="http://schemas.microsoft.com/office/drawing/2014/main" id="{C7197FAA-9C82-4C25-B208-2BF8170DA3D1}"/>
              </a:ext>
            </a:extLst>
          </p:cNvPr>
          <p:cNvSpPr txBox="1"/>
          <p:nvPr/>
        </p:nvSpPr>
        <p:spPr>
          <a:xfrm>
            <a:off x="228600" y="1103972"/>
            <a:ext cx="18288000" cy="1052468"/>
          </a:xfrm>
          <a:prstGeom prst="rect">
            <a:avLst/>
          </a:prstGeom>
        </p:spPr>
        <p:txBody>
          <a:bodyPr wrap="square" lIns="0" tIns="0" rIns="0" bIns="0" rtlCol="0" anchor="t">
            <a:spAutoFit/>
          </a:bodyPr>
          <a:lstStyle/>
          <a:p>
            <a:pPr algn="ctr">
              <a:lnSpc>
                <a:spcPts val="8960"/>
              </a:lnSpc>
              <a:spcBef>
                <a:spcPct val="0"/>
              </a:spcBef>
            </a:pPr>
            <a:r>
              <a:rPr lang="en-US" sz="6400" b="1">
                <a:solidFill>
                  <a:srgbClr val="CC0033"/>
                </a:solidFill>
                <a:latin typeface="+mj-lt"/>
                <a:cs typeface="Arial" panose="020B0604020202020204" pitchFamily="34" charset="0"/>
              </a:rPr>
              <a:t>CFD Simulation using Turbulence Models</a:t>
            </a:r>
          </a:p>
        </p:txBody>
      </p:sp>
      <p:grpSp>
        <p:nvGrpSpPr>
          <p:cNvPr id="33" name="Group 32">
            <a:extLst>
              <a:ext uri="{FF2B5EF4-FFF2-40B4-BE49-F238E27FC236}">
                <a16:creationId xmlns:a16="http://schemas.microsoft.com/office/drawing/2014/main" id="{9A92A15E-30DD-B549-B0F9-CEAC448A6E6E}"/>
              </a:ext>
            </a:extLst>
          </p:cNvPr>
          <p:cNvGrpSpPr/>
          <p:nvPr/>
        </p:nvGrpSpPr>
        <p:grpSpPr>
          <a:xfrm>
            <a:off x="11308578" y="2484552"/>
            <a:ext cx="6148426" cy="6737839"/>
            <a:chOff x="11308578" y="2484552"/>
            <a:chExt cx="6148426" cy="6737839"/>
          </a:xfrm>
        </p:grpSpPr>
        <p:grpSp>
          <p:nvGrpSpPr>
            <p:cNvPr id="30" name="Group 29">
              <a:extLst>
                <a:ext uri="{FF2B5EF4-FFF2-40B4-BE49-F238E27FC236}">
                  <a16:creationId xmlns:a16="http://schemas.microsoft.com/office/drawing/2014/main" id="{A522686E-45C5-374B-1F76-181A38C43FB4}"/>
                </a:ext>
              </a:extLst>
            </p:cNvPr>
            <p:cNvGrpSpPr/>
            <p:nvPr/>
          </p:nvGrpSpPr>
          <p:grpSpPr>
            <a:xfrm>
              <a:off x="11510517" y="2484552"/>
              <a:ext cx="5744547" cy="6507435"/>
              <a:chOff x="5355" y="0"/>
              <a:chExt cx="6443044" cy="3427682"/>
            </a:xfrm>
          </p:grpSpPr>
          <p:sp>
            <p:nvSpPr>
              <p:cNvPr id="31" name="Rectangle: Top Corners Rounded 30">
                <a:extLst>
                  <a:ext uri="{FF2B5EF4-FFF2-40B4-BE49-F238E27FC236}">
                    <a16:creationId xmlns:a16="http://schemas.microsoft.com/office/drawing/2014/main" id="{3D51D3B8-B10A-9253-FD1F-95AD41EB3E5C}"/>
                  </a:ext>
                </a:extLst>
              </p:cNvPr>
              <p:cNvSpPr/>
              <p:nvPr/>
            </p:nvSpPr>
            <p:spPr>
              <a:xfrm>
                <a:off x="5355" y="0"/>
                <a:ext cx="6443044" cy="3427682"/>
              </a:xfrm>
              <a:prstGeom prst="round2SameRect">
                <a:avLst>
                  <a:gd name="adj1" fmla="val 8000"/>
                  <a:gd name="adj2" fmla="val 0"/>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32" name="Rectangle: Top Corners Rounded 4">
                <a:extLst>
                  <a:ext uri="{FF2B5EF4-FFF2-40B4-BE49-F238E27FC236}">
                    <a16:creationId xmlns:a16="http://schemas.microsoft.com/office/drawing/2014/main" id="{A900EB2F-6CF1-171C-DF4C-EE168DE15177}"/>
                  </a:ext>
                </a:extLst>
              </p:cNvPr>
              <p:cNvSpPr txBox="1"/>
              <p:nvPr/>
            </p:nvSpPr>
            <p:spPr>
              <a:xfrm>
                <a:off x="85670" y="80315"/>
                <a:ext cx="6282414" cy="3347367"/>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7940" tIns="83820" rIns="27940" bIns="27940" numCol="1" spcCol="1270" anchor="t" anchorCtr="0">
                <a:noAutofit/>
              </a:bodyPr>
              <a:lstStyle/>
              <a:p>
                <a:pPr marL="0" lvl="1" algn="l" defTabSz="977900">
                  <a:lnSpc>
                    <a:spcPct val="150000"/>
                  </a:lnSpc>
                  <a:spcBef>
                    <a:spcPct val="0"/>
                  </a:spcBef>
                  <a:spcAft>
                    <a:spcPct val="15000"/>
                  </a:spcAft>
                </a:pPr>
                <a:endParaRPr lang="sv-SE" sz="2200" kern="1200"/>
              </a:p>
            </p:txBody>
          </p:sp>
        </p:grpSp>
        <p:pic>
          <p:nvPicPr>
            <p:cNvPr id="13" name="Picture 12">
              <a:extLst>
                <a:ext uri="{FF2B5EF4-FFF2-40B4-BE49-F238E27FC236}">
                  <a16:creationId xmlns:a16="http://schemas.microsoft.com/office/drawing/2014/main" id="{198B73FB-9AE3-C304-5A06-41B6A3BD141F}"/>
                </a:ext>
              </a:extLst>
            </p:cNvPr>
            <p:cNvPicPr>
              <a:picLocks noChangeAspect="1"/>
            </p:cNvPicPr>
            <p:nvPr/>
          </p:nvPicPr>
          <p:blipFill>
            <a:blip r:embed="rId6"/>
            <a:stretch>
              <a:fillRect/>
            </a:stretch>
          </p:blipFill>
          <p:spPr>
            <a:xfrm>
              <a:off x="13131176" y="2861830"/>
              <a:ext cx="3526278" cy="5120493"/>
            </a:xfrm>
            <a:prstGeom prst="rect">
              <a:avLst/>
            </a:prstGeom>
          </p:spPr>
        </p:pic>
        <p:pic>
          <p:nvPicPr>
            <p:cNvPr id="21" name="Picture 20">
              <a:extLst>
                <a:ext uri="{FF2B5EF4-FFF2-40B4-BE49-F238E27FC236}">
                  <a16:creationId xmlns:a16="http://schemas.microsoft.com/office/drawing/2014/main" id="{479A5843-B5AB-39E6-4602-F276654053D5}"/>
                </a:ext>
              </a:extLst>
            </p:cNvPr>
            <p:cNvPicPr>
              <a:picLocks noChangeAspect="1"/>
            </p:cNvPicPr>
            <p:nvPr/>
          </p:nvPicPr>
          <p:blipFill>
            <a:blip r:embed="rId7"/>
            <a:stretch>
              <a:fillRect/>
            </a:stretch>
          </p:blipFill>
          <p:spPr>
            <a:xfrm>
              <a:off x="11927596" y="2845993"/>
              <a:ext cx="1203580" cy="5152166"/>
            </a:xfrm>
            <a:prstGeom prst="rect">
              <a:avLst/>
            </a:prstGeom>
          </p:spPr>
        </p:pic>
        <p:sp>
          <p:nvSpPr>
            <p:cNvPr id="23" name="TextBox 22">
              <a:extLst>
                <a:ext uri="{FF2B5EF4-FFF2-40B4-BE49-F238E27FC236}">
                  <a16:creationId xmlns:a16="http://schemas.microsoft.com/office/drawing/2014/main" id="{002BCB22-AF3C-1ECB-AA41-204184554E70}"/>
                </a:ext>
              </a:extLst>
            </p:cNvPr>
            <p:cNvSpPr txBox="1"/>
            <p:nvPr/>
          </p:nvSpPr>
          <p:spPr>
            <a:xfrm>
              <a:off x="12142604" y="8027129"/>
              <a:ext cx="4721042" cy="923330"/>
            </a:xfrm>
            <a:prstGeom prst="rect">
              <a:avLst/>
            </a:prstGeom>
            <a:noFill/>
          </p:spPr>
          <p:txBody>
            <a:bodyPr wrap="square">
              <a:spAutoFit/>
            </a:bodyPr>
            <a:lstStyle/>
            <a:p>
              <a:r>
                <a:rPr lang="en-US" sz="1800" b="0" i="1" u="none" strike="noStrike" baseline="0">
                  <a:solidFill>
                    <a:srgbClr val="000000"/>
                  </a:solidFill>
                  <a:latin typeface="Times New Roman" panose="02020603050405020304" pitchFamily="18" charset="0"/>
                </a:rPr>
                <a:t>H</a:t>
              </a:r>
              <a:r>
                <a:rPr lang="en-US" sz="1100" b="0" i="1" u="none" strike="noStrike" baseline="0">
                  <a:solidFill>
                    <a:srgbClr val="000000"/>
                  </a:solidFill>
                  <a:latin typeface="Times New Roman" panose="02020603050405020304" pitchFamily="18" charset="0"/>
                </a:rPr>
                <a:t>2</a:t>
              </a:r>
              <a:r>
                <a:rPr lang="en-US" sz="1800" b="0" i="1" u="none" strike="noStrike" baseline="0">
                  <a:solidFill>
                    <a:srgbClr val="000000"/>
                  </a:solidFill>
                  <a:latin typeface="Times New Roman" panose="02020603050405020304" pitchFamily="18" charset="0"/>
                </a:rPr>
                <a:t>SO</a:t>
              </a:r>
              <a:r>
                <a:rPr lang="en-US" sz="1100" b="0" i="1" u="none" strike="noStrike" baseline="0">
                  <a:solidFill>
                    <a:srgbClr val="000000"/>
                  </a:solidFill>
                  <a:latin typeface="Times New Roman" panose="02020603050405020304" pitchFamily="18" charset="0"/>
                </a:rPr>
                <a:t>4 </a:t>
              </a:r>
              <a:r>
                <a:rPr lang="en-US" sz="1800" b="0" i="1" u="none" strike="noStrike" baseline="0">
                  <a:solidFill>
                    <a:srgbClr val="000000"/>
                  </a:solidFill>
                  <a:latin typeface="Times New Roman" panose="02020603050405020304" pitchFamily="18" charset="0"/>
                </a:rPr>
                <a:t>contours for different simulations with laminar flow (top) and two (bottom two) turbulence models. </a:t>
              </a:r>
              <a:endParaRPr lang="sv-SE"/>
            </a:p>
          </p:txBody>
        </p:sp>
        <p:sp>
          <p:nvSpPr>
            <p:cNvPr id="28" name="TextBox 13">
              <a:extLst>
                <a:ext uri="{FF2B5EF4-FFF2-40B4-BE49-F238E27FC236}">
                  <a16:creationId xmlns:a16="http://schemas.microsoft.com/office/drawing/2014/main" id="{5270B12F-609A-336F-8B76-C6E38F87439C}"/>
                </a:ext>
              </a:extLst>
            </p:cNvPr>
            <p:cNvSpPr txBox="1"/>
            <p:nvPr/>
          </p:nvSpPr>
          <p:spPr>
            <a:xfrm>
              <a:off x="11308578" y="8914614"/>
              <a:ext cx="6148426" cy="307777"/>
            </a:xfrm>
            <a:prstGeom prst="rect">
              <a:avLst/>
            </a:prstGeom>
            <a:solidFill>
              <a:srgbClr val="CC0033"/>
            </a:solidFill>
            <a:ln>
              <a:solidFill>
                <a:srgbClr val="CC0033"/>
              </a:solidFill>
            </a:ln>
          </p:spPr>
          <p:style>
            <a:lnRef idx="2">
              <a:schemeClr val="accent6">
                <a:shade val="50000"/>
              </a:schemeClr>
            </a:lnRef>
            <a:fillRef idx="1">
              <a:schemeClr val="accent6"/>
            </a:fillRef>
            <a:effectRef idx="0">
              <a:schemeClr val="accent6"/>
            </a:effectRef>
            <a:fontRef idx="minor">
              <a:schemeClr val="lt1"/>
            </a:fontRef>
          </p:style>
          <p:txBody>
            <a:bodyPr wrap="square" lIns="0" tIns="0" rIns="0" bIns="0" rtlCol="0" anchor="t">
              <a:spAutoFit/>
            </a:bodyPr>
            <a:lstStyle/>
            <a:p>
              <a:pPr algn="ctr">
                <a:spcBef>
                  <a:spcPct val="0"/>
                </a:spcBef>
              </a:pPr>
              <a:r>
                <a:rPr lang="en-US" sz="2000" b="1">
                  <a:solidFill>
                    <a:schemeClr val="bg1"/>
                  </a:solidFill>
                  <a:latin typeface="+mj-lt"/>
                  <a:cs typeface="Arial" panose="020B0604020202020204" pitchFamily="34" charset="0"/>
                </a:rPr>
                <a:t>Example of results from turbulence modelling</a:t>
              </a:r>
            </a:p>
          </p:txBody>
        </p:sp>
      </p:grpSp>
    </p:spTree>
    <p:extLst>
      <p:ext uri="{BB962C8B-B14F-4D97-AF65-F5344CB8AC3E}">
        <p14:creationId xmlns:p14="http://schemas.microsoft.com/office/powerpoint/2010/main" val="2526395588"/>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6"/>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4"/>
          <a:srcRect/>
          <a:stretch>
            <a:fillRect/>
          </a:stretch>
        </p:blipFill>
        <p:spPr>
          <a:xfrm>
            <a:off x="0" y="9499590"/>
            <a:ext cx="3247053" cy="787410"/>
          </a:xfrm>
          <a:prstGeom prst="rect">
            <a:avLst/>
          </a:prstGeom>
        </p:spPr>
      </p:pic>
      <p:grpSp>
        <p:nvGrpSpPr>
          <p:cNvPr id="3" name="Gruppo 2">
            <a:extLst>
              <a:ext uri="{FF2B5EF4-FFF2-40B4-BE49-F238E27FC236}">
                <a16:creationId xmlns:a16="http://schemas.microsoft.com/office/drawing/2014/main" id="{D0B44AFC-EABA-48CF-A7A8-348076F88921}"/>
              </a:ext>
            </a:extLst>
          </p:cNvPr>
          <p:cNvGrpSpPr/>
          <p:nvPr/>
        </p:nvGrpSpPr>
        <p:grpSpPr>
          <a:xfrm>
            <a:off x="-12" y="138554"/>
            <a:ext cx="18288002" cy="681138"/>
            <a:chOff x="-12" y="138554"/>
            <a:chExt cx="18288002" cy="681138"/>
          </a:xfrm>
        </p:grpSpPr>
        <p:pic>
          <p:nvPicPr>
            <p:cNvPr id="10" name="Picture 10"/>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5" name="Rettangolo 14">
              <a:extLst>
                <a:ext uri="{FF2B5EF4-FFF2-40B4-BE49-F238E27FC236}">
                  <a16:creationId xmlns:a16="http://schemas.microsoft.com/office/drawing/2014/main" id="{AFFDA913-633F-49C2-9D71-573FB327981F}"/>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7" name="TextBox 13">
            <a:extLst>
              <a:ext uri="{FF2B5EF4-FFF2-40B4-BE49-F238E27FC236}">
                <a16:creationId xmlns:a16="http://schemas.microsoft.com/office/drawing/2014/main" id="{C7197FAA-9C82-4C25-B208-2BF8170DA3D1}"/>
              </a:ext>
            </a:extLst>
          </p:cNvPr>
          <p:cNvSpPr txBox="1"/>
          <p:nvPr/>
        </p:nvSpPr>
        <p:spPr>
          <a:xfrm>
            <a:off x="-422960" y="882514"/>
            <a:ext cx="18288000" cy="1052468"/>
          </a:xfrm>
          <a:prstGeom prst="rect">
            <a:avLst/>
          </a:prstGeom>
        </p:spPr>
        <p:txBody>
          <a:bodyPr wrap="square" lIns="0" tIns="0" rIns="0" bIns="0" rtlCol="0" anchor="t">
            <a:spAutoFit/>
          </a:bodyPr>
          <a:lstStyle/>
          <a:p>
            <a:pPr algn="ctr">
              <a:lnSpc>
                <a:spcPts val="8960"/>
              </a:lnSpc>
              <a:spcBef>
                <a:spcPct val="0"/>
              </a:spcBef>
            </a:pPr>
            <a:r>
              <a:rPr lang="en-US" sz="6400" b="1">
                <a:solidFill>
                  <a:srgbClr val="CC0033"/>
                </a:solidFill>
                <a:latin typeface="+mj-lt"/>
                <a:cs typeface="Arial" panose="020B0604020202020204" pitchFamily="34" charset="0"/>
              </a:rPr>
              <a:t>Types of Turbulence Models</a:t>
            </a:r>
          </a:p>
        </p:txBody>
      </p:sp>
      <p:graphicFrame>
        <p:nvGraphicFramePr>
          <p:cNvPr id="4" name="Table 5">
            <a:extLst>
              <a:ext uri="{FF2B5EF4-FFF2-40B4-BE49-F238E27FC236}">
                <a16:creationId xmlns:a16="http://schemas.microsoft.com/office/drawing/2014/main" id="{408BE5C6-C6B8-76CC-A9CA-9419AE34808A}"/>
              </a:ext>
            </a:extLst>
          </p:cNvPr>
          <p:cNvGraphicFramePr>
            <a:graphicFrameLocks noGrp="1"/>
          </p:cNvGraphicFramePr>
          <p:nvPr>
            <p:extLst>
              <p:ext uri="{D42A27DB-BD31-4B8C-83A1-F6EECF244321}">
                <p14:modId xmlns:p14="http://schemas.microsoft.com/office/powerpoint/2010/main" val="3933614810"/>
              </p:ext>
            </p:extLst>
          </p:nvPr>
        </p:nvGraphicFramePr>
        <p:xfrm>
          <a:off x="2370513" y="3903740"/>
          <a:ext cx="13847676" cy="4480560"/>
        </p:xfrm>
        <a:graphic>
          <a:graphicData uri="http://schemas.openxmlformats.org/drawingml/2006/table">
            <a:tbl>
              <a:tblPr firstRow="1" bandRow="1">
                <a:tableStyleId>{21E4AEA4-8DFA-4A89-87EB-49C32662AFE0}</a:tableStyleId>
              </a:tblPr>
              <a:tblGrid>
                <a:gridCol w="6923838">
                  <a:extLst>
                    <a:ext uri="{9D8B030D-6E8A-4147-A177-3AD203B41FA5}">
                      <a16:colId xmlns:a16="http://schemas.microsoft.com/office/drawing/2014/main" val="3641248290"/>
                    </a:ext>
                  </a:extLst>
                </a:gridCol>
                <a:gridCol w="6923838">
                  <a:extLst>
                    <a:ext uri="{9D8B030D-6E8A-4147-A177-3AD203B41FA5}">
                      <a16:colId xmlns:a16="http://schemas.microsoft.com/office/drawing/2014/main" val="2824041335"/>
                    </a:ext>
                  </a:extLst>
                </a:gridCol>
              </a:tblGrid>
              <a:tr h="370840">
                <a:tc>
                  <a:txBody>
                    <a:bodyPr/>
                    <a:lstStyle/>
                    <a:p>
                      <a:pPr algn="l"/>
                      <a:r>
                        <a:rPr lang="sv-SE" sz="2400"/>
                        <a:t>LES</a:t>
                      </a:r>
                    </a:p>
                  </a:txBody>
                  <a:tcPr marL="1080000"/>
                </a:tc>
                <a:tc>
                  <a:txBody>
                    <a:bodyPr/>
                    <a:lstStyle/>
                    <a:p>
                      <a:pPr algn="l"/>
                      <a:r>
                        <a:rPr lang="sv-SE" sz="2400"/>
                        <a:t>RANS</a:t>
                      </a:r>
                    </a:p>
                  </a:txBody>
                  <a:tcPr marL="1080000"/>
                </a:tc>
                <a:extLst>
                  <a:ext uri="{0D108BD9-81ED-4DB2-BD59-A6C34878D82A}">
                    <a16:rowId xmlns:a16="http://schemas.microsoft.com/office/drawing/2014/main" val="2217888081"/>
                  </a:ext>
                </a:extLst>
              </a:tr>
              <a:tr h="370840">
                <a:tc>
                  <a:txBody>
                    <a:bodyPr/>
                    <a:lstStyle/>
                    <a:p>
                      <a:pPr algn="l"/>
                      <a:r>
                        <a:rPr lang="sv-SE" sz="2400" b="0" u="none" strike="noStrike" baseline="0" err="1">
                          <a:solidFill>
                            <a:srgbClr val="000000"/>
                          </a:solidFill>
                        </a:rPr>
                        <a:t>Large</a:t>
                      </a:r>
                      <a:r>
                        <a:rPr lang="sv-SE" sz="2400" b="0" u="none" strike="noStrike" baseline="0">
                          <a:solidFill>
                            <a:srgbClr val="000000"/>
                          </a:solidFill>
                        </a:rPr>
                        <a:t> </a:t>
                      </a:r>
                      <a:r>
                        <a:rPr lang="sv-SE" sz="2400" b="0" u="none" strike="noStrike" baseline="0" err="1">
                          <a:solidFill>
                            <a:srgbClr val="000000"/>
                          </a:solidFill>
                        </a:rPr>
                        <a:t>eddy</a:t>
                      </a:r>
                      <a:r>
                        <a:rPr lang="sv-SE" sz="2400" b="0" u="none" strike="noStrike" baseline="0">
                          <a:solidFill>
                            <a:srgbClr val="000000"/>
                          </a:solidFill>
                        </a:rPr>
                        <a:t> simulations</a:t>
                      </a:r>
                      <a:endParaRPr lang="sv-SE" sz="2400"/>
                    </a:p>
                  </a:txBody>
                  <a:tcPr marL="1080000"/>
                </a:tc>
                <a:tc>
                  <a:txBody>
                    <a:bodyPr/>
                    <a:lstStyle/>
                    <a:p>
                      <a:pPr algn="l"/>
                      <a:r>
                        <a:rPr lang="sv-SE" sz="2400">
                          <a:solidFill>
                            <a:srgbClr val="000000"/>
                          </a:solidFill>
                        </a:rPr>
                        <a:t>Reynolds-</a:t>
                      </a:r>
                      <a:r>
                        <a:rPr lang="sv-SE" sz="2400" err="1">
                          <a:solidFill>
                            <a:srgbClr val="000000"/>
                          </a:solidFill>
                        </a:rPr>
                        <a:t>averaged</a:t>
                      </a:r>
                      <a:r>
                        <a:rPr lang="sv-SE" sz="2400">
                          <a:solidFill>
                            <a:srgbClr val="000000"/>
                          </a:solidFill>
                        </a:rPr>
                        <a:t> </a:t>
                      </a:r>
                      <a:r>
                        <a:rPr lang="sv-SE" sz="2400" err="1">
                          <a:solidFill>
                            <a:srgbClr val="000000"/>
                          </a:solidFill>
                        </a:rPr>
                        <a:t>Navier</a:t>
                      </a:r>
                      <a:r>
                        <a:rPr lang="sv-SE" sz="2400">
                          <a:solidFill>
                            <a:srgbClr val="000000"/>
                          </a:solidFill>
                        </a:rPr>
                        <a:t>–Stokes: A </a:t>
                      </a:r>
                      <a:r>
                        <a:rPr lang="sv-SE" sz="2400" err="1">
                          <a:solidFill>
                            <a:srgbClr val="000000"/>
                          </a:solidFill>
                        </a:rPr>
                        <a:t>group</a:t>
                      </a:r>
                      <a:r>
                        <a:rPr lang="sv-SE" sz="2400">
                          <a:solidFill>
                            <a:srgbClr val="000000"/>
                          </a:solidFill>
                        </a:rPr>
                        <a:t> </a:t>
                      </a:r>
                      <a:r>
                        <a:rPr lang="sv-SE" sz="2400" err="1">
                          <a:solidFill>
                            <a:srgbClr val="000000"/>
                          </a:solidFill>
                        </a:rPr>
                        <a:t>of</a:t>
                      </a:r>
                      <a:r>
                        <a:rPr lang="sv-SE" sz="2400">
                          <a:solidFill>
                            <a:srgbClr val="000000"/>
                          </a:solidFill>
                        </a:rPr>
                        <a:t> </a:t>
                      </a:r>
                      <a:r>
                        <a:rPr lang="sv-SE" sz="2400" err="1">
                          <a:solidFill>
                            <a:srgbClr val="000000"/>
                          </a:solidFill>
                        </a:rPr>
                        <a:t>equations</a:t>
                      </a:r>
                      <a:r>
                        <a:rPr lang="sv-SE" sz="2400">
                          <a:solidFill>
                            <a:srgbClr val="000000"/>
                          </a:solidFill>
                        </a:rPr>
                        <a:t> </a:t>
                      </a:r>
                      <a:r>
                        <a:rPr lang="sv-SE" sz="2400" err="1">
                          <a:solidFill>
                            <a:srgbClr val="000000"/>
                          </a:solidFill>
                        </a:rPr>
                        <a:t>that</a:t>
                      </a:r>
                      <a:r>
                        <a:rPr lang="sv-SE" sz="2400">
                          <a:solidFill>
                            <a:srgbClr val="000000"/>
                          </a:solidFill>
                        </a:rPr>
                        <a:t> </a:t>
                      </a:r>
                      <a:r>
                        <a:rPr lang="sv-SE" sz="2400" err="1">
                          <a:solidFill>
                            <a:srgbClr val="000000"/>
                          </a:solidFill>
                        </a:rPr>
                        <a:t>can</a:t>
                      </a:r>
                      <a:r>
                        <a:rPr lang="sv-SE" sz="2400">
                          <a:solidFill>
                            <a:srgbClr val="000000"/>
                          </a:solidFill>
                        </a:rPr>
                        <a:t> be </a:t>
                      </a:r>
                      <a:r>
                        <a:rPr lang="sv-SE" sz="2400" err="1">
                          <a:solidFill>
                            <a:srgbClr val="000000"/>
                          </a:solidFill>
                        </a:rPr>
                        <a:t>used</a:t>
                      </a:r>
                      <a:r>
                        <a:rPr lang="sv-SE" sz="2400">
                          <a:solidFill>
                            <a:srgbClr val="000000"/>
                          </a:solidFill>
                        </a:rPr>
                        <a:t> to </a:t>
                      </a:r>
                      <a:r>
                        <a:rPr lang="sv-SE" sz="2400" err="1">
                          <a:solidFill>
                            <a:srgbClr val="000000"/>
                          </a:solidFill>
                        </a:rPr>
                        <a:t>describe</a:t>
                      </a:r>
                      <a:r>
                        <a:rPr lang="sv-SE" sz="2400">
                          <a:solidFill>
                            <a:srgbClr val="000000"/>
                          </a:solidFill>
                        </a:rPr>
                        <a:t> turbulent </a:t>
                      </a:r>
                      <a:r>
                        <a:rPr lang="sv-SE" sz="2400" err="1">
                          <a:solidFill>
                            <a:srgbClr val="000000"/>
                          </a:solidFill>
                        </a:rPr>
                        <a:t>flow</a:t>
                      </a:r>
                      <a:endParaRPr lang="sv-SE" sz="2400">
                        <a:solidFill>
                          <a:srgbClr val="000000"/>
                        </a:solidFill>
                      </a:endParaRPr>
                    </a:p>
                    <a:p>
                      <a:pPr algn="l"/>
                      <a:endParaRPr lang="sv-SE" sz="2400"/>
                    </a:p>
                  </a:txBody>
                  <a:tcPr marL="1080000"/>
                </a:tc>
                <a:extLst>
                  <a:ext uri="{0D108BD9-81ED-4DB2-BD59-A6C34878D82A}">
                    <a16:rowId xmlns:a16="http://schemas.microsoft.com/office/drawing/2014/main" val="3919647384"/>
                  </a:ext>
                </a:extLst>
              </a:tr>
              <a:tr h="370840">
                <a:tc>
                  <a:txBody>
                    <a:bodyPr/>
                    <a:lstStyle/>
                    <a:p>
                      <a:pPr algn="l"/>
                      <a:r>
                        <a:rPr lang="sv-SE" sz="2400" b="1" u="none" strike="noStrike" baseline="0" err="1">
                          <a:solidFill>
                            <a:srgbClr val="000000"/>
                          </a:solidFill>
                        </a:rPr>
                        <a:t>Solves</a:t>
                      </a:r>
                      <a:r>
                        <a:rPr lang="sv-SE" sz="2400" b="0" u="none" strike="noStrike" baseline="0">
                          <a:solidFill>
                            <a:srgbClr val="000000"/>
                          </a:solidFill>
                        </a:rPr>
                        <a:t> the </a:t>
                      </a:r>
                      <a:r>
                        <a:rPr lang="sv-SE" sz="2400" b="0" u="none" strike="noStrike" baseline="0" err="1">
                          <a:solidFill>
                            <a:srgbClr val="000000"/>
                          </a:solidFill>
                        </a:rPr>
                        <a:t>large</a:t>
                      </a:r>
                      <a:r>
                        <a:rPr lang="sv-SE" sz="2400" b="0" u="none" strike="noStrike" baseline="0">
                          <a:solidFill>
                            <a:srgbClr val="000000"/>
                          </a:solidFill>
                        </a:rPr>
                        <a:t> </a:t>
                      </a:r>
                      <a:r>
                        <a:rPr lang="sv-SE" sz="2400" b="0" u="none" strike="noStrike" baseline="0" err="1">
                          <a:solidFill>
                            <a:srgbClr val="000000"/>
                          </a:solidFill>
                        </a:rPr>
                        <a:t>scales</a:t>
                      </a:r>
                      <a:r>
                        <a:rPr lang="sv-SE" sz="2400" b="0" u="none" strike="noStrike" baseline="0">
                          <a:solidFill>
                            <a:srgbClr val="000000"/>
                          </a:solidFill>
                        </a:rPr>
                        <a:t> </a:t>
                      </a:r>
                      <a:r>
                        <a:rPr lang="sv-SE" sz="2400" b="0" u="none" strike="noStrike" baseline="0" err="1">
                          <a:solidFill>
                            <a:srgbClr val="000000"/>
                          </a:solidFill>
                        </a:rPr>
                        <a:t>of</a:t>
                      </a:r>
                      <a:r>
                        <a:rPr lang="sv-SE" sz="2400" b="0" u="none" strike="noStrike" baseline="0">
                          <a:solidFill>
                            <a:srgbClr val="000000"/>
                          </a:solidFill>
                        </a:rPr>
                        <a:t> </a:t>
                      </a:r>
                      <a:r>
                        <a:rPr lang="sv-SE" sz="2400" b="0" u="none" strike="noStrike" baseline="0" err="1">
                          <a:solidFill>
                            <a:srgbClr val="000000"/>
                          </a:solidFill>
                        </a:rPr>
                        <a:t>turbulence</a:t>
                      </a:r>
                      <a:r>
                        <a:rPr lang="sv-SE" sz="2400" b="0" u="none" strike="noStrike" baseline="0">
                          <a:solidFill>
                            <a:srgbClr val="000000"/>
                          </a:solidFill>
                        </a:rPr>
                        <a:t>, </a:t>
                      </a:r>
                      <a:r>
                        <a:rPr lang="sv-SE" sz="2400" b="0" u="none" strike="noStrike" baseline="0" err="1">
                          <a:solidFill>
                            <a:srgbClr val="000000"/>
                          </a:solidFill>
                        </a:rPr>
                        <a:t>while</a:t>
                      </a:r>
                      <a:r>
                        <a:rPr lang="sv-SE" sz="2400" b="0" u="none" strike="noStrike" baseline="0">
                          <a:solidFill>
                            <a:srgbClr val="000000"/>
                          </a:solidFill>
                        </a:rPr>
                        <a:t> </a:t>
                      </a:r>
                      <a:r>
                        <a:rPr lang="sv-SE" sz="2400" b="1" u="none" strike="noStrike" baseline="0" err="1">
                          <a:solidFill>
                            <a:srgbClr val="000000"/>
                          </a:solidFill>
                        </a:rPr>
                        <a:t>modeling</a:t>
                      </a:r>
                      <a:r>
                        <a:rPr lang="sv-SE" sz="2400" b="0" u="none" strike="noStrike" baseline="0">
                          <a:solidFill>
                            <a:srgbClr val="000000"/>
                          </a:solidFill>
                        </a:rPr>
                        <a:t> the small </a:t>
                      </a:r>
                      <a:r>
                        <a:rPr lang="sv-SE" sz="2400" b="0" u="none" strike="noStrike" baseline="0" err="1">
                          <a:solidFill>
                            <a:srgbClr val="000000"/>
                          </a:solidFill>
                        </a:rPr>
                        <a:t>scales</a:t>
                      </a:r>
                      <a:endParaRPr lang="sv-SE" sz="2400"/>
                    </a:p>
                  </a:txBody>
                  <a:tcPr marL="1080000"/>
                </a:tc>
                <a:tc>
                  <a:txBody>
                    <a:bodyPr/>
                    <a:lstStyle/>
                    <a:p>
                      <a:pPr algn="l"/>
                      <a:r>
                        <a:rPr lang="sv-SE" sz="2400" b="1" u="none" strike="noStrike" baseline="0" err="1">
                          <a:solidFill>
                            <a:srgbClr val="000000"/>
                          </a:solidFill>
                        </a:rPr>
                        <a:t>Models</a:t>
                      </a:r>
                      <a:r>
                        <a:rPr lang="sv-SE" sz="2400" b="1" u="none" strike="noStrike" baseline="0">
                          <a:solidFill>
                            <a:srgbClr val="000000"/>
                          </a:solidFill>
                        </a:rPr>
                        <a:t> </a:t>
                      </a:r>
                      <a:r>
                        <a:rPr lang="sv-SE" sz="2400">
                          <a:solidFill>
                            <a:srgbClr val="000000"/>
                          </a:solidFill>
                        </a:rPr>
                        <a:t>small and </a:t>
                      </a:r>
                      <a:r>
                        <a:rPr lang="sv-SE" sz="2400" err="1">
                          <a:solidFill>
                            <a:srgbClr val="000000"/>
                          </a:solidFill>
                        </a:rPr>
                        <a:t>large</a:t>
                      </a:r>
                      <a:r>
                        <a:rPr lang="sv-SE" sz="2400">
                          <a:solidFill>
                            <a:srgbClr val="000000"/>
                          </a:solidFill>
                        </a:rPr>
                        <a:t> </a:t>
                      </a:r>
                      <a:r>
                        <a:rPr lang="sv-SE" sz="2400" err="1">
                          <a:solidFill>
                            <a:srgbClr val="000000"/>
                          </a:solidFill>
                        </a:rPr>
                        <a:t>scales</a:t>
                      </a:r>
                      <a:r>
                        <a:rPr lang="sv-SE" sz="2400">
                          <a:solidFill>
                            <a:srgbClr val="000000"/>
                          </a:solidFill>
                        </a:rPr>
                        <a:t> </a:t>
                      </a:r>
                      <a:r>
                        <a:rPr lang="sv-SE" sz="2400" err="1">
                          <a:solidFill>
                            <a:srgbClr val="000000"/>
                          </a:solidFill>
                        </a:rPr>
                        <a:t>of</a:t>
                      </a:r>
                      <a:r>
                        <a:rPr lang="sv-SE" sz="2400">
                          <a:solidFill>
                            <a:srgbClr val="000000"/>
                          </a:solidFill>
                        </a:rPr>
                        <a:t> </a:t>
                      </a:r>
                      <a:r>
                        <a:rPr lang="sv-SE" sz="2400" err="1">
                          <a:solidFill>
                            <a:srgbClr val="000000"/>
                          </a:solidFill>
                        </a:rPr>
                        <a:t>turbulence</a:t>
                      </a:r>
                      <a:endParaRPr lang="sv-SE" sz="2400"/>
                    </a:p>
                  </a:txBody>
                  <a:tcPr marL="1080000"/>
                </a:tc>
                <a:extLst>
                  <a:ext uri="{0D108BD9-81ED-4DB2-BD59-A6C34878D82A}">
                    <a16:rowId xmlns:a16="http://schemas.microsoft.com/office/drawing/2014/main" val="507393269"/>
                  </a:ext>
                </a:extLst>
              </a:tr>
              <a:tr h="370840">
                <a:tc>
                  <a:txBody>
                    <a:bodyPr/>
                    <a:lstStyle/>
                    <a:p>
                      <a:pPr algn="l"/>
                      <a:r>
                        <a:rPr lang="sv-SE" sz="2400" b="0" u="none" strike="noStrike" baseline="0" err="1">
                          <a:solidFill>
                            <a:srgbClr val="000000"/>
                          </a:solidFill>
                        </a:rPr>
                        <a:t>More</a:t>
                      </a:r>
                      <a:r>
                        <a:rPr lang="sv-SE" sz="2400" b="0" u="none" strike="noStrike" baseline="0">
                          <a:solidFill>
                            <a:srgbClr val="000000"/>
                          </a:solidFill>
                        </a:rPr>
                        <a:t> </a:t>
                      </a:r>
                      <a:r>
                        <a:rPr lang="sv-SE" sz="2400" b="0" u="none" strike="noStrike" baseline="0" err="1">
                          <a:solidFill>
                            <a:srgbClr val="000000"/>
                          </a:solidFill>
                        </a:rPr>
                        <a:t>accurate</a:t>
                      </a:r>
                      <a:r>
                        <a:rPr lang="sv-SE" sz="2400" b="0" u="none" strike="noStrike" baseline="0">
                          <a:solidFill>
                            <a:srgbClr val="000000"/>
                          </a:solidFill>
                        </a:rPr>
                        <a:t> </a:t>
                      </a:r>
                      <a:r>
                        <a:rPr lang="sv-SE" sz="2400" b="0" u="none" strike="noStrike" baseline="0" err="1">
                          <a:solidFill>
                            <a:srgbClr val="000000"/>
                          </a:solidFill>
                        </a:rPr>
                        <a:t>results</a:t>
                      </a:r>
                      <a:r>
                        <a:rPr lang="sv-SE" sz="2400" b="0" u="none" strike="noStrike" baseline="0">
                          <a:solidFill>
                            <a:srgbClr val="000000"/>
                          </a:solidFill>
                        </a:rPr>
                        <a:t> </a:t>
                      </a:r>
                      <a:r>
                        <a:rPr lang="sv-SE" sz="2400" b="0" u="none" strike="noStrike" baseline="0" err="1">
                          <a:solidFill>
                            <a:srgbClr val="000000"/>
                          </a:solidFill>
                        </a:rPr>
                        <a:t>since</a:t>
                      </a:r>
                      <a:r>
                        <a:rPr lang="sv-SE" sz="2400" b="0" u="none" strike="noStrike" baseline="0">
                          <a:solidFill>
                            <a:srgbClr val="000000"/>
                          </a:solidFill>
                        </a:rPr>
                        <a:t> it </a:t>
                      </a:r>
                      <a:r>
                        <a:rPr lang="sv-SE" sz="2400" b="1" u="none" strike="noStrike" baseline="0" err="1">
                          <a:solidFill>
                            <a:srgbClr val="000000"/>
                          </a:solidFill>
                        </a:rPr>
                        <a:t>solves</a:t>
                      </a:r>
                      <a:r>
                        <a:rPr lang="sv-SE" sz="2400" b="0" u="none" strike="noStrike" baseline="0">
                          <a:solidFill>
                            <a:srgbClr val="000000"/>
                          </a:solidFill>
                        </a:rPr>
                        <a:t> the </a:t>
                      </a:r>
                      <a:r>
                        <a:rPr lang="sv-SE" sz="2400" b="0" u="none" strike="noStrike" baseline="0" err="1">
                          <a:solidFill>
                            <a:srgbClr val="000000"/>
                          </a:solidFill>
                        </a:rPr>
                        <a:t>large</a:t>
                      </a:r>
                      <a:r>
                        <a:rPr lang="sv-SE" sz="2400" b="0" u="none" strike="noStrike" baseline="0">
                          <a:solidFill>
                            <a:srgbClr val="000000"/>
                          </a:solidFill>
                        </a:rPr>
                        <a:t> </a:t>
                      </a:r>
                      <a:r>
                        <a:rPr lang="sv-SE" sz="2400" b="0" u="none" strike="noStrike" baseline="0" err="1">
                          <a:solidFill>
                            <a:srgbClr val="000000"/>
                          </a:solidFill>
                        </a:rPr>
                        <a:t>scales</a:t>
                      </a:r>
                      <a:r>
                        <a:rPr lang="sv-SE" sz="2400" b="0" u="none" strike="noStrike" baseline="0">
                          <a:solidFill>
                            <a:srgbClr val="000000"/>
                          </a:solidFill>
                        </a:rPr>
                        <a:t> </a:t>
                      </a:r>
                      <a:r>
                        <a:rPr lang="sv-SE" sz="2400" b="0" u="none" strike="noStrike" baseline="0" err="1">
                          <a:solidFill>
                            <a:srgbClr val="000000"/>
                          </a:solidFill>
                        </a:rPr>
                        <a:t>of</a:t>
                      </a:r>
                      <a:r>
                        <a:rPr lang="sv-SE" sz="2400" b="0" u="none" strike="noStrike" baseline="0">
                          <a:solidFill>
                            <a:srgbClr val="000000"/>
                          </a:solidFill>
                        </a:rPr>
                        <a:t> </a:t>
                      </a:r>
                      <a:r>
                        <a:rPr lang="sv-SE" sz="2400" b="0" u="none" strike="noStrike" baseline="0" err="1">
                          <a:solidFill>
                            <a:srgbClr val="000000"/>
                          </a:solidFill>
                        </a:rPr>
                        <a:t>turbulence</a:t>
                      </a:r>
                      <a:endParaRPr lang="sv-SE" sz="2400"/>
                    </a:p>
                  </a:txBody>
                  <a:tcPr marL="1080000"/>
                </a:tc>
                <a:tc>
                  <a:txBody>
                    <a:bodyPr/>
                    <a:lstStyle/>
                    <a:p>
                      <a:pPr algn="l"/>
                      <a:r>
                        <a:rPr lang="sv-SE" sz="2400" b="1" u="none" strike="noStrike" baseline="0">
                          <a:solidFill>
                            <a:srgbClr val="000000"/>
                          </a:solidFill>
                        </a:rPr>
                        <a:t>Less </a:t>
                      </a:r>
                      <a:r>
                        <a:rPr lang="sv-SE" sz="2400" b="1" u="none" strike="noStrike" baseline="0" err="1">
                          <a:solidFill>
                            <a:srgbClr val="000000"/>
                          </a:solidFill>
                        </a:rPr>
                        <a:t>accurate</a:t>
                      </a:r>
                      <a:r>
                        <a:rPr lang="sv-SE" sz="2400" b="1" u="none" strike="noStrike" baseline="0">
                          <a:solidFill>
                            <a:srgbClr val="000000"/>
                          </a:solidFill>
                        </a:rPr>
                        <a:t> </a:t>
                      </a:r>
                      <a:r>
                        <a:rPr lang="sv-SE" sz="2400" b="0" u="none" strike="noStrike" baseline="0" err="1">
                          <a:solidFill>
                            <a:srgbClr val="000000"/>
                          </a:solidFill>
                        </a:rPr>
                        <a:t>results</a:t>
                      </a:r>
                      <a:r>
                        <a:rPr lang="sv-SE" sz="2400" b="0" u="none" strike="noStrike" baseline="0">
                          <a:solidFill>
                            <a:srgbClr val="000000"/>
                          </a:solidFill>
                        </a:rPr>
                        <a:t> </a:t>
                      </a:r>
                      <a:r>
                        <a:rPr lang="sv-SE" sz="2400" b="0" u="none" strike="noStrike" baseline="0" err="1">
                          <a:solidFill>
                            <a:srgbClr val="000000"/>
                          </a:solidFill>
                        </a:rPr>
                        <a:t>then</a:t>
                      </a:r>
                      <a:r>
                        <a:rPr lang="sv-SE" sz="2400" b="0" u="none" strike="noStrike" baseline="0">
                          <a:solidFill>
                            <a:srgbClr val="000000"/>
                          </a:solidFill>
                        </a:rPr>
                        <a:t> LES</a:t>
                      </a:r>
                      <a:endParaRPr lang="sv-SE" sz="2400" b="0"/>
                    </a:p>
                  </a:txBody>
                  <a:tcPr marL="1080000"/>
                </a:tc>
                <a:extLst>
                  <a:ext uri="{0D108BD9-81ED-4DB2-BD59-A6C34878D82A}">
                    <a16:rowId xmlns:a16="http://schemas.microsoft.com/office/drawing/2014/main" val="1167800798"/>
                  </a:ext>
                </a:extLst>
              </a:tr>
              <a:tr h="370840">
                <a:tc>
                  <a:txBody>
                    <a:bodyPr/>
                    <a:lstStyle/>
                    <a:p>
                      <a:pPr algn="l"/>
                      <a:r>
                        <a:rPr lang="sv-SE" sz="2400" b="0" u="none" strike="noStrike" baseline="0" err="1">
                          <a:solidFill>
                            <a:srgbClr val="000000"/>
                          </a:solidFill>
                        </a:rPr>
                        <a:t>High</a:t>
                      </a:r>
                      <a:r>
                        <a:rPr lang="sv-SE" sz="2400" b="0" u="none" strike="noStrike" baseline="0">
                          <a:solidFill>
                            <a:srgbClr val="000000"/>
                          </a:solidFill>
                        </a:rPr>
                        <a:t> </a:t>
                      </a:r>
                      <a:r>
                        <a:rPr lang="sv-SE" sz="2400" b="0" u="none" strike="noStrike" baseline="0" err="1">
                          <a:solidFill>
                            <a:srgbClr val="000000"/>
                          </a:solidFill>
                        </a:rPr>
                        <a:t>computational</a:t>
                      </a:r>
                      <a:r>
                        <a:rPr lang="sv-SE" sz="2400" b="0" u="none" strike="noStrike" baseline="0">
                          <a:solidFill>
                            <a:srgbClr val="000000"/>
                          </a:solidFill>
                        </a:rPr>
                        <a:t> </a:t>
                      </a:r>
                      <a:r>
                        <a:rPr lang="sv-SE" sz="2400" b="0" u="none" strike="noStrike" baseline="0" err="1">
                          <a:solidFill>
                            <a:srgbClr val="000000"/>
                          </a:solidFill>
                        </a:rPr>
                        <a:t>cost</a:t>
                      </a:r>
                      <a:r>
                        <a:rPr lang="sv-SE" sz="2400" b="0" u="none" strike="noStrike" baseline="0">
                          <a:solidFill>
                            <a:srgbClr val="000000"/>
                          </a:solidFill>
                        </a:rPr>
                        <a:t> </a:t>
                      </a:r>
                      <a:endParaRPr lang="sv-SE" sz="2400"/>
                    </a:p>
                  </a:txBody>
                  <a:tcPr marL="1080000"/>
                </a:tc>
                <a:tc>
                  <a:txBody>
                    <a:bodyPr/>
                    <a:lstStyle/>
                    <a:p>
                      <a:pPr algn="l"/>
                      <a:r>
                        <a:rPr lang="sv-SE" sz="2400" b="0" u="none" strike="noStrike" baseline="0" err="1">
                          <a:solidFill>
                            <a:srgbClr val="000000"/>
                          </a:solidFill>
                        </a:rPr>
                        <a:t>Lower</a:t>
                      </a:r>
                      <a:r>
                        <a:rPr lang="sv-SE" sz="2400" b="0" u="none" strike="noStrike" baseline="0">
                          <a:solidFill>
                            <a:srgbClr val="000000"/>
                          </a:solidFill>
                        </a:rPr>
                        <a:t> </a:t>
                      </a:r>
                      <a:r>
                        <a:rPr lang="sv-SE" sz="2400" b="0" u="none" strike="noStrike" baseline="0" err="1">
                          <a:solidFill>
                            <a:srgbClr val="000000"/>
                          </a:solidFill>
                        </a:rPr>
                        <a:t>computational</a:t>
                      </a:r>
                      <a:r>
                        <a:rPr lang="sv-SE" sz="2400" b="0" u="none" strike="noStrike" baseline="0">
                          <a:solidFill>
                            <a:srgbClr val="000000"/>
                          </a:solidFill>
                        </a:rPr>
                        <a:t> </a:t>
                      </a:r>
                      <a:r>
                        <a:rPr lang="sv-SE" sz="2400" b="0" u="none" strike="noStrike" baseline="0" err="1">
                          <a:solidFill>
                            <a:srgbClr val="000000"/>
                          </a:solidFill>
                        </a:rPr>
                        <a:t>cost</a:t>
                      </a:r>
                      <a:r>
                        <a:rPr lang="sv-SE" sz="2400" b="0" u="none" strike="noStrike" baseline="0">
                          <a:solidFill>
                            <a:srgbClr val="000000"/>
                          </a:solidFill>
                        </a:rPr>
                        <a:t> </a:t>
                      </a:r>
                      <a:r>
                        <a:rPr lang="sv-SE" sz="2400" b="0" u="none" strike="noStrike" baseline="0" err="1">
                          <a:solidFill>
                            <a:srgbClr val="000000"/>
                          </a:solidFill>
                        </a:rPr>
                        <a:t>then</a:t>
                      </a:r>
                      <a:r>
                        <a:rPr lang="sv-SE" sz="2400" b="0" u="none" strike="noStrike" baseline="0">
                          <a:solidFill>
                            <a:srgbClr val="000000"/>
                          </a:solidFill>
                        </a:rPr>
                        <a:t> LES</a:t>
                      </a:r>
                    </a:p>
                    <a:p>
                      <a:pPr algn="l"/>
                      <a:r>
                        <a:rPr lang="sv-SE" sz="2400" b="0" u="none" strike="noStrike" baseline="0">
                          <a:solidFill>
                            <a:srgbClr val="000000"/>
                          </a:solidFill>
                        </a:rPr>
                        <a:t> </a:t>
                      </a:r>
                      <a:endParaRPr lang="sv-SE" sz="2400"/>
                    </a:p>
                  </a:txBody>
                  <a:tcPr marL="1080000"/>
                </a:tc>
                <a:extLst>
                  <a:ext uri="{0D108BD9-81ED-4DB2-BD59-A6C34878D82A}">
                    <a16:rowId xmlns:a16="http://schemas.microsoft.com/office/drawing/2014/main" val="3212346078"/>
                  </a:ext>
                </a:extLst>
              </a:tr>
            </a:tbl>
          </a:graphicData>
        </a:graphic>
      </p:graphicFrame>
      <p:sp>
        <p:nvSpPr>
          <p:cNvPr id="2" name="Plus Sign 1">
            <a:extLst>
              <a:ext uri="{FF2B5EF4-FFF2-40B4-BE49-F238E27FC236}">
                <a16:creationId xmlns:a16="http://schemas.microsoft.com/office/drawing/2014/main" id="{20C10555-972A-394F-A096-4DE48A438263}"/>
              </a:ext>
            </a:extLst>
          </p:cNvPr>
          <p:cNvSpPr/>
          <p:nvPr/>
        </p:nvSpPr>
        <p:spPr>
          <a:xfrm>
            <a:off x="2543669" y="5941675"/>
            <a:ext cx="703384" cy="677008"/>
          </a:xfrm>
          <a:prstGeom prst="mathPlus">
            <a:avLst/>
          </a:prstGeom>
          <a:solidFill>
            <a:srgbClr val="6BA9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rgbClr val="6BA942"/>
              </a:solidFill>
            </a:endParaRPr>
          </a:p>
        </p:txBody>
      </p:sp>
      <p:sp>
        <p:nvSpPr>
          <p:cNvPr id="5" name="Plus Sign 4">
            <a:extLst>
              <a:ext uri="{FF2B5EF4-FFF2-40B4-BE49-F238E27FC236}">
                <a16:creationId xmlns:a16="http://schemas.microsoft.com/office/drawing/2014/main" id="{1A5DC764-C1D1-38CC-62FC-890D9A0E7CC5}"/>
              </a:ext>
            </a:extLst>
          </p:cNvPr>
          <p:cNvSpPr/>
          <p:nvPr/>
        </p:nvSpPr>
        <p:spPr>
          <a:xfrm>
            <a:off x="2543669" y="6819213"/>
            <a:ext cx="703384" cy="677008"/>
          </a:xfrm>
          <a:prstGeom prst="mathPlus">
            <a:avLst/>
          </a:prstGeom>
          <a:solidFill>
            <a:srgbClr val="6BA9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rgbClr val="6BA942"/>
              </a:solidFill>
            </a:endParaRPr>
          </a:p>
        </p:txBody>
      </p:sp>
      <p:sp>
        <p:nvSpPr>
          <p:cNvPr id="6" name="Plus Sign 5">
            <a:extLst>
              <a:ext uri="{FF2B5EF4-FFF2-40B4-BE49-F238E27FC236}">
                <a16:creationId xmlns:a16="http://schemas.microsoft.com/office/drawing/2014/main" id="{469141C6-F49D-6370-6765-01EA0CB52F86}"/>
              </a:ext>
            </a:extLst>
          </p:cNvPr>
          <p:cNvSpPr/>
          <p:nvPr/>
        </p:nvSpPr>
        <p:spPr>
          <a:xfrm>
            <a:off x="9495574" y="7498543"/>
            <a:ext cx="703384" cy="677008"/>
          </a:xfrm>
          <a:prstGeom prst="mathPlus">
            <a:avLst/>
          </a:prstGeom>
          <a:solidFill>
            <a:srgbClr val="6BA9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rgbClr val="6BA942"/>
              </a:solidFill>
            </a:endParaRPr>
          </a:p>
        </p:txBody>
      </p:sp>
      <p:sp>
        <p:nvSpPr>
          <p:cNvPr id="7" name="Minus Sign 6">
            <a:extLst>
              <a:ext uri="{FF2B5EF4-FFF2-40B4-BE49-F238E27FC236}">
                <a16:creationId xmlns:a16="http://schemas.microsoft.com/office/drawing/2014/main" id="{2CE11FFA-AD6C-D649-5E1A-3C43D3C6490D}"/>
              </a:ext>
            </a:extLst>
          </p:cNvPr>
          <p:cNvSpPr/>
          <p:nvPr/>
        </p:nvSpPr>
        <p:spPr>
          <a:xfrm>
            <a:off x="9513218" y="5941675"/>
            <a:ext cx="668096" cy="677008"/>
          </a:xfrm>
          <a:prstGeom prst="mathMin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8" name="Minus Sign 7">
            <a:extLst>
              <a:ext uri="{FF2B5EF4-FFF2-40B4-BE49-F238E27FC236}">
                <a16:creationId xmlns:a16="http://schemas.microsoft.com/office/drawing/2014/main" id="{7FEF4B06-8D81-7B5E-62B6-57F2999CA196}"/>
              </a:ext>
            </a:extLst>
          </p:cNvPr>
          <p:cNvSpPr/>
          <p:nvPr/>
        </p:nvSpPr>
        <p:spPr>
          <a:xfrm>
            <a:off x="9495574" y="6647271"/>
            <a:ext cx="668096" cy="677008"/>
          </a:xfrm>
          <a:prstGeom prst="mathMin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9" name="Minus Sign 8">
            <a:extLst>
              <a:ext uri="{FF2B5EF4-FFF2-40B4-BE49-F238E27FC236}">
                <a16:creationId xmlns:a16="http://schemas.microsoft.com/office/drawing/2014/main" id="{7A7334B0-CEEB-E11B-2472-16316C93A6B6}"/>
              </a:ext>
            </a:extLst>
          </p:cNvPr>
          <p:cNvSpPr/>
          <p:nvPr/>
        </p:nvSpPr>
        <p:spPr>
          <a:xfrm>
            <a:off x="2578957" y="7488212"/>
            <a:ext cx="668096" cy="677008"/>
          </a:xfrm>
          <a:prstGeom prst="mathMin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4" name="TextBox 13">
            <a:extLst>
              <a:ext uri="{FF2B5EF4-FFF2-40B4-BE49-F238E27FC236}">
                <a16:creationId xmlns:a16="http://schemas.microsoft.com/office/drawing/2014/main" id="{27D30438-3BB0-D33F-2528-4E71BB10F468}"/>
              </a:ext>
            </a:extLst>
          </p:cNvPr>
          <p:cNvSpPr txBox="1"/>
          <p:nvPr/>
        </p:nvSpPr>
        <p:spPr>
          <a:xfrm>
            <a:off x="1171074" y="2329066"/>
            <a:ext cx="16218568" cy="1131848"/>
          </a:xfrm>
          <a:prstGeom prst="rect">
            <a:avLst/>
          </a:prstGeom>
          <a:noFill/>
        </p:spPr>
        <p:txBody>
          <a:bodyPr wrap="square">
            <a:spAutoFit/>
          </a:bodyPr>
          <a:lstStyle/>
          <a:p>
            <a:pPr>
              <a:lnSpc>
                <a:spcPct val="150000"/>
              </a:lnSpc>
            </a:pPr>
            <a:r>
              <a:rPr lang="sv-SE" sz="2400" err="1">
                <a:cs typeface="Arial" panose="020B0604020202020204" pitchFamily="34" charset="0"/>
              </a:rPr>
              <a:t>There</a:t>
            </a:r>
            <a:r>
              <a:rPr lang="sv-SE" sz="2400">
                <a:cs typeface="Arial" panose="020B0604020202020204" pitchFamily="34" charset="0"/>
              </a:rPr>
              <a:t> </a:t>
            </a:r>
            <a:r>
              <a:rPr lang="sv-SE" sz="2400" err="1">
                <a:cs typeface="Arial" panose="020B0604020202020204" pitchFamily="34" charset="0"/>
              </a:rPr>
              <a:t>are</a:t>
            </a:r>
            <a:r>
              <a:rPr lang="sv-SE" sz="2400">
                <a:cs typeface="Arial" panose="020B0604020202020204" pitchFamily="34" charset="0"/>
              </a:rPr>
              <a:t> </a:t>
            </a:r>
            <a:r>
              <a:rPr lang="sv-SE" sz="2400" err="1">
                <a:cs typeface="Arial" panose="020B0604020202020204" pitchFamily="34" charset="0"/>
              </a:rPr>
              <a:t>several</a:t>
            </a:r>
            <a:r>
              <a:rPr lang="sv-SE" sz="2400">
                <a:cs typeface="Arial" panose="020B0604020202020204" pitchFamily="34" charset="0"/>
              </a:rPr>
              <a:t> </a:t>
            </a:r>
            <a:r>
              <a:rPr lang="sv-SE" sz="2400" err="1">
                <a:cs typeface="Arial" panose="020B0604020202020204" pitchFamily="34" charset="0"/>
              </a:rPr>
              <a:t>types</a:t>
            </a:r>
            <a:r>
              <a:rPr lang="sv-SE" sz="2400">
                <a:cs typeface="Arial" panose="020B0604020202020204" pitchFamily="34" charset="0"/>
              </a:rPr>
              <a:t> </a:t>
            </a:r>
            <a:r>
              <a:rPr lang="sv-SE" sz="2400" err="1">
                <a:cs typeface="Arial" panose="020B0604020202020204" pitchFamily="34" charset="0"/>
              </a:rPr>
              <a:t>of</a:t>
            </a:r>
            <a:r>
              <a:rPr lang="sv-SE" sz="2400">
                <a:cs typeface="Arial" panose="020B0604020202020204" pitchFamily="34" charset="0"/>
              </a:rPr>
              <a:t> </a:t>
            </a:r>
            <a:r>
              <a:rPr lang="sv-SE" sz="2400" err="1">
                <a:cs typeface="Arial" panose="020B0604020202020204" pitchFamily="34" charset="0"/>
              </a:rPr>
              <a:t>turbulence</a:t>
            </a:r>
            <a:r>
              <a:rPr lang="sv-SE" sz="2400">
                <a:cs typeface="Arial" panose="020B0604020202020204" pitchFamily="34" charset="0"/>
              </a:rPr>
              <a:t> </a:t>
            </a:r>
            <a:r>
              <a:rPr lang="sv-SE" sz="2400" err="1">
                <a:cs typeface="Arial" panose="020B0604020202020204" pitchFamily="34" charset="0"/>
              </a:rPr>
              <a:t>models</a:t>
            </a:r>
            <a:r>
              <a:rPr lang="sv-SE" sz="2400">
                <a:cs typeface="Arial" panose="020B0604020202020204" pitchFamily="34" charset="0"/>
              </a:rPr>
              <a:t>. The </a:t>
            </a:r>
            <a:r>
              <a:rPr lang="sv-SE" sz="2400" err="1">
                <a:cs typeface="Arial" panose="020B0604020202020204" pitchFamily="34" charset="0"/>
              </a:rPr>
              <a:t>two</a:t>
            </a:r>
            <a:r>
              <a:rPr lang="sv-SE" sz="2400">
                <a:cs typeface="Arial" panose="020B0604020202020204" pitchFamily="34" charset="0"/>
              </a:rPr>
              <a:t> different </a:t>
            </a:r>
            <a:r>
              <a:rPr lang="sv-SE" sz="2400" err="1">
                <a:cs typeface="Arial" panose="020B0604020202020204" pitchFamily="34" charset="0"/>
              </a:rPr>
              <a:t>types</a:t>
            </a:r>
            <a:r>
              <a:rPr lang="sv-SE" sz="2400">
                <a:cs typeface="Arial" panose="020B0604020202020204" pitchFamily="34" charset="0"/>
              </a:rPr>
              <a:t> </a:t>
            </a:r>
            <a:r>
              <a:rPr lang="sv-SE" sz="2400" err="1">
                <a:cs typeface="Arial" panose="020B0604020202020204" pitchFamily="34" charset="0"/>
              </a:rPr>
              <a:t>of</a:t>
            </a:r>
            <a:r>
              <a:rPr lang="sv-SE" sz="2400">
                <a:cs typeface="Arial" panose="020B0604020202020204" pitchFamily="34" charset="0"/>
              </a:rPr>
              <a:t> </a:t>
            </a:r>
            <a:r>
              <a:rPr lang="sv-SE" sz="2400" err="1">
                <a:cs typeface="Arial" panose="020B0604020202020204" pitchFamily="34" charset="0"/>
              </a:rPr>
              <a:t>models</a:t>
            </a:r>
            <a:r>
              <a:rPr lang="sv-SE" sz="2400">
                <a:cs typeface="Arial" panose="020B0604020202020204" pitchFamily="34" charset="0"/>
              </a:rPr>
              <a:t> </a:t>
            </a:r>
            <a:r>
              <a:rPr lang="sv-SE" sz="2400" err="1">
                <a:cs typeface="Arial" panose="020B0604020202020204" pitchFamily="34" charset="0"/>
              </a:rPr>
              <a:t>used</a:t>
            </a:r>
            <a:r>
              <a:rPr lang="sv-SE" sz="2400">
                <a:cs typeface="Arial" panose="020B0604020202020204" pitchFamily="34" charset="0"/>
              </a:rPr>
              <a:t> in </a:t>
            </a:r>
            <a:r>
              <a:rPr lang="sv-SE" sz="2400" err="1">
                <a:cs typeface="Arial" panose="020B0604020202020204" pitchFamily="34" charset="0"/>
              </a:rPr>
              <a:t>this</a:t>
            </a:r>
            <a:r>
              <a:rPr lang="sv-SE" sz="2400">
                <a:cs typeface="Arial" panose="020B0604020202020204" pitchFamily="34" charset="0"/>
              </a:rPr>
              <a:t> </a:t>
            </a:r>
            <a:r>
              <a:rPr lang="sv-SE" sz="2400" err="1">
                <a:cs typeface="Arial" panose="020B0604020202020204" pitchFamily="34" charset="0"/>
              </a:rPr>
              <a:t>study</a:t>
            </a:r>
            <a:r>
              <a:rPr lang="sv-SE" sz="2400">
                <a:cs typeface="Arial" panose="020B0604020202020204" pitchFamily="34" charset="0"/>
              </a:rPr>
              <a:t> </a:t>
            </a:r>
            <a:r>
              <a:rPr lang="sv-SE" sz="2400" err="1">
                <a:cs typeface="Arial" panose="020B0604020202020204" pitchFamily="34" charset="0"/>
              </a:rPr>
              <a:t>was</a:t>
            </a:r>
            <a:r>
              <a:rPr lang="sv-SE" sz="2400">
                <a:cs typeface="Arial" panose="020B0604020202020204" pitchFamily="34" charset="0"/>
              </a:rPr>
              <a:t> </a:t>
            </a:r>
            <a:r>
              <a:rPr lang="sv-SE" sz="2400" b="1">
                <a:cs typeface="Arial" panose="020B0604020202020204" pitchFamily="34" charset="0"/>
              </a:rPr>
              <a:t>LES and RANS </a:t>
            </a:r>
            <a:r>
              <a:rPr lang="sv-SE" sz="2400" b="1" err="1">
                <a:cs typeface="Arial" panose="020B0604020202020204" pitchFamily="34" charset="0"/>
              </a:rPr>
              <a:t>turbulence</a:t>
            </a:r>
            <a:r>
              <a:rPr lang="sv-SE" sz="2400" b="1">
                <a:cs typeface="Arial" panose="020B0604020202020204" pitchFamily="34" charset="0"/>
              </a:rPr>
              <a:t> </a:t>
            </a:r>
            <a:r>
              <a:rPr lang="sv-SE" sz="2400" err="1">
                <a:cs typeface="Arial" panose="020B0604020202020204" pitchFamily="34" charset="0"/>
              </a:rPr>
              <a:t>models</a:t>
            </a:r>
            <a:r>
              <a:rPr lang="sv-SE" sz="2400">
                <a:cs typeface="Arial" panose="020B0604020202020204" pitchFamily="34" charset="0"/>
              </a:rPr>
              <a:t>. A </a:t>
            </a:r>
            <a:r>
              <a:rPr lang="sv-SE" sz="2400" err="1">
                <a:cs typeface="Arial" panose="020B0604020202020204" pitchFamily="34" charset="0"/>
              </a:rPr>
              <a:t>comparison</a:t>
            </a:r>
            <a:r>
              <a:rPr lang="sv-SE" sz="2400">
                <a:cs typeface="Arial" panose="020B0604020202020204" pitchFamily="34" charset="0"/>
              </a:rPr>
              <a:t> </a:t>
            </a:r>
            <a:r>
              <a:rPr lang="sv-SE" sz="2400" err="1">
                <a:cs typeface="Arial" panose="020B0604020202020204" pitchFamily="34" charset="0"/>
              </a:rPr>
              <a:t>of</a:t>
            </a:r>
            <a:r>
              <a:rPr lang="sv-SE" sz="2400">
                <a:cs typeface="Arial" panose="020B0604020202020204" pitchFamily="34" charset="0"/>
              </a:rPr>
              <a:t> the </a:t>
            </a:r>
            <a:r>
              <a:rPr lang="sv-SE" sz="2400" err="1">
                <a:cs typeface="Arial" panose="020B0604020202020204" pitchFamily="34" charset="0"/>
              </a:rPr>
              <a:t>methods</a:t>
            </a:r>
            <a:r>
              <a:rPr lang="sv-SE" sz="2400">
                <a:cs typeface="Arial" panose="020B0604020202020204" pitchFamily="34" charset="0"/>
              </a:rPr>
              <a:t> </a:t>
            </a:r>
            <a:r>
              <a:rPr lang="sv-SE" sz="2400" err="1">
                <a:cs typeface="Arial" panose="020B0604020202020204" pitchFamily="34" charset="0"/>
              </a:rPr>
              <a:t>can</a:t>
            </a:r>
            <a:r>
              <a:rPr lang="sv-SE" sz="2400">
                <a:cs typeface="Arial" panose="020B0604020202020204" pitchFamily="34" charset="0"/>
              </a:rPr>
              <a:t> be </a:t>
            </a:r>
            <a:r>
              <a:rPr lang="sv-SE" sz="2400" err="1">
                <a:cs typeface="Arial" panose="020B0604020202020204" pitchFamily="34" charset="0"/>
              </a:rPr>
              <a:t>seen</a:t>
            </a:r>
            <a:r>
              <a:rPr lang="sv-SE" sz="2400">
                <a:cs typeface="Arial" panose="020B0604020202020204" pitchFamily="34" charset="0"/>
              </a:rPr>
              <a:t> </a:t>
            </a:r>
            <a:r>
              <a:rPr lang="sv-SE" sz="2400" err="1">
                <a:cs typeface="Arial" panose="020B0604020202020204" pitchFamily="34" charset="0"/>
              </a:rPr>
              <a:t>here</a:t>
            </a:r>
            <a:r>
              <a:rPr lang="sv-SE" sz="2400">
                <a:cs typeface="Arial" panose="020B0604020202020204" pitchFamily="34" charset="0"/>
              </a:rPr>
              <a:t>:</a:t>
            </a:r>
            <a:endParaRPr lang="sv-SE" sz="3200">
              <a:cs typeface="Arial" panose="020B0604020202020204" pitchFamily="34" charset="0"/>
            </a:endParaRPr>
          </a:p>
        </p:txBody>
      </p:sp>
    </p:spTree>
    <p:extLst>
      <p:ext uri="{BB962C8B-B14F-4D97-AF65-F5344CB8AC3E}">
        <p14:creationId xmlns:p14="http://schemas.microsoft.com/office/powerpoint/2010/main" val="2021287618"/>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6"/>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4"/>
          <a:srcRect/>
          <a:stretch>
            <a:fillRect/>
          </a:stretch>
        </p:blipFill>
        <p:spPr>
          <a:xfrm>
            <a:off x="0" y="9499590"/>
            <a:ext cx="3247053" cy="787410"/>
          </a:xfrm>
          <a:prstGeom prst="rect">
            <a:avLst/>
          </a:prstGeom>
        </p:spPr>
      </p:pic>
      <p:grpSp>
        <p:nvGrpSpPr>
          <p:cNvPr id="3" name="Gruppo 2">
            <a:extLst>
              <a:ext uri="{FF2B5EF4-FFF2-40B4-BE49-F238E27FC236}">
                <a16:creationId xmlns:a16="http://schemas.microsoft.com/office/drawing/2014/main" id="{D0B44AFC-EABA-48CF-A7A8-348076F88921}"/>
              </a:ext>
            </a:extLst>
          </p:cNvPr>
          <p:cNvGrpSpPr/>
          <p:nvPr/>
        </p:nvGrpSpPr>
        <p:grpSpPr>
          <a:xfrm>
            <a:off x="-12" y="138554"/>
            <a:ext cx="18288002" cy="681138"/>
            <a:chOff x="-12" y="138554"/>
            <a:chExt cx="18288002" cy="681138"/>
          </a:xfrm>
        </p:grpSpPr>
        <p:grpSp>
          <p:nvGrpSpPr>
            <p:cNvPr id="16" name="Gruppo 15">
              <a:extLst>
                <a:ext uri="{FF2B5EF4-FFF2-40B4-BE49-F238E27FC236}">
                  <a16:creationId xmlns:a16="http://schemas.microsoft.com/office/drawing/2014/main" id="{DAC42A46-917D-41AB-8F07-E15E54D0F7D4}"/>
                </a:ext>
              </a:extLst>
            </p:cNvPr>
            <p:cNvGrpSpPr/>
            <p:nvPr/>
          </p:nvGrpSpPr>
          <p:grpSpPr>
            <a:xfrm>
              <a:off x="0" y="153125"/>
              <a:ext cx="13958844" cy="666567"/>
              <a:chOff x="0" y="153125"/>
              <a:chExt cx="13958844" cy="666567"/>
            </a:xfrm>
          </p:grpSpPr>
          <p:pic>
            <p:nvPicPr>
              <p:cNvPr id="10" name="Picture 10"/>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1" name="TextBox 11"/>
              <p:cNvSpPr txBox="1"/>
              <p:nvPr/>
            </p:nvSpPr>
            <p:spPr>
              <a:xfrm>
                <a:off x="228600" y="257980"/>
                <a:ext cx="5752704" cy="456856"/>
              </a:xfrm>
              <a:prstGeom prst="rect">
                <a:avLst/>
              </a:prstGeom>
            </p:spPr>
            <p:txBody>
              <a:bodyPr wrap="square" lIns="0" tIns="0" rIns="0" bIns="0" rtlCol="0" anchor="t">
                <a:spAutoFit/>
              </a:bodyPr>
              <a:lstStyle/>
              <a:p>
                <a:pPr>
                  <a:lnSpc>
                    <a:spcPts val="3919"/>
                  </a:lnSpc>
                  <a:spcBef>
                    <a:spcPct val="0"/>
                  </a:spcBef>
                </a:pPr>
                <a:endParaRPr lang="en-US" sz="2800" b="1">
                  <a:solidFill>
                    <a:srgbClr val="FFFFFF"/>
                  </a:solidFill>
                  <a:latin typeface="Arial" panose="020B0604020202020204" pitchFamily="34" charset="0"/>
                  <a:cs typeface="Arial" panose="020B0604020202020204" pitchFamily="34" charset="0"/>
                </a:endParaRPr>
              </a:p>
            </p:txBody>
          </p:sp>
        </p:grpSp>
        <p:sp>
          <p:nvSpPr>
            <p:cNvPr id="15" name="Rettangolo 14">
              <a:extLst>
                <a:ext uri="{FF2B5EF4-FFF2-40B4-BE49-F238E27FC236}">
                  <a16:creationId xmlns:a16="http://schemas.microsoft.com/office/drawing/2014/main" id="{AFFDA913-633F-49C2-9D71-573FB327981F}"/>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7" name="TextBox 13">
            <a:extLst>
              <a:ext uri="{FF2B5EF4-FFF2-40B4-BE49-F238E27FC236}">
                <a16:creationId xmlns:a16="http://schemas.microsoft.com/office/drawing/2014/main" id="{C7197FAA-9C82-4C25-B208-2BF8170DA3D1}"/>
              </a:ext>
            </a:extLst>
          </p:cNvPr>
          <p:cNvSpPr txBox="1"/>
          <p:nvPr/>
        </p:nvSpPr>
        <p:spPr>
          <a:xfrm>
            <a:off x="-12" y="1051348"/>
            <a:ext cx="18288000" cy="1052468"/>
          </a:xfrm>
          <a:prstGeom prst="rect">
            <a:avLst/>
          </a:prstGeom>
        </p:spPr>
        <p:txBody>
          <a:bodyPr wrap="square" lIns="0" tIns="0" rIns="0" bIns="0" rtlCol="0" anchor="t">
            <a:spAutoFit/>
          </a:bodyPr>
          <a:lstStyle/>
          <a:p>
            <a:pPr algn="ctr">
              <a:lnSpc>
                <a:spcPts val="8960"/>
              </a:lnSpc>
              <a:spcBef>
                <a:spcPct val="0"/>
              </a:spcBef>
            </a:pPr>
            <a:r>
              <a:rPr lang="en-US" sz="6400" b="1">
                <a:solidFill>
                  <a:srgbClr val="CC0033"/>
                </a:solidFill>
                <a:latin typeface="+mj-lt"/>
                <a:cs typeface="Arial" panose="020B0604020202020204" pitchFamily="34" charset="0"/>
              </a:rPr>
              <a:t>Selecting Turbulence Model</a:t>
            </a:r>
          </a:p>
        </p:txBody>
      </p:sp>
      <p:sp>
        <p:nvSpPr>
          <p:cNvPr id="29" name="TextBox 28">
            <a:extLst>
              <a:ext uri="{FF2B5EF4-FFF2-40B4-BE49-F238E27FC236}">
                <a16:creationId xmlns:a16="http://schemas.microsoft.com/office/drawing/2014/main" id="{339F9B6B-EC10-4C9A-B44F-517EE1B4D6A0}"/>
              </a:ext>
            </a:extLst>
          </p:cNvPr>
          <p:cNvSpPr txBox="1"/>
          <p:nvPr/>
        </p:nvSpPr>
        <p:spPr>
          <a:xfrm>
            <a:off x="10128082" y="2571703"/>
            <a:ext cx="7908267" cy="5113644"/>
          </a:xfrm>
          <a:prstGeom prst="rect">
            <a:avLst/>
          </a:prstGeom>
          <a:noFill/>
        </p:spPr>
        <p:txBody>
          <a:bodyPr wrap="square">
            <a:spAutoFit/>
          </a:bodyPr>
          <a:lstStyle/>
          <a:p>
            <a:pPr algn="just">
              <a:lnSpc>
                <a:spcPct val="150000"/>
              </a:lnSpc>
            </a:pPr>
            <a:r>
              <a:rPr lang="en-US" sz="2000">
                <a:cs typeface="Arial" panose="020B0604020202020204" pitchFamily="34" charset="0"/>
              </a:rPr>
              <a:t>In order to select a turbulence model for further simulations, a </a:t>
            </a:r>
            <a:r>
              <a:rPr lang="en-US" sz="2000" b="1">
                <a:cs typeface="Arial" panose="020B0604020202020204" pitchFamily="34" charset="0"/>
              </a:rPr>
              <a:t>sensitivity analysis </a:t>
            </a:r>
            <a:r>
              <a:rPr lang="en-US" sz="2000">
                <a:cs typeface="Arial" panose="020B0604020202020204" pitchFamily="34" charset="0"/>
              </a:rPr>
              <a:t>was performed by running several simulations with different models. </a:t>
            </a:r>
          </a:p>
          <a:p>
            <a:pPr algn="just">
              <a:lnSpc>
                <a:spcPct val="150000"/>
              </a:lnSpc>
            </a:pPr>
            <a:endParaRPr lang="en-US" sz="2000">
              <a:cs typeface="Arial" panose="020B0604020202020204" pitchFamily="34" charset="0"/>
            </a:endParaRPr>
          </a:p>
          <a:p>
            <a:pPr algn="just">
              <a:lnSpc>
                <a:spcPct val="150000"/>
              </a:lnSpc>
            </a:pPr>
            <a:r>
              <a:rPr lang="en-US" sz="2000">
                <a:cs typeface="Arial" panose="020B0604020202020204" pitchFamily="34" charset="0"/>
              </a:rPr>
              <a:t>The </a:t>
            </a:r>
            <a:r>
              <a:rPr lang="en-US" sz="2000" b="1">
                <a:cs typeface="Arial" panose="020B0604020202020204" pitchFamily="34" charset="0"/>
              </a:rPr>
              <a:t>LES model </a:t>
            </a:r>
            <a:r>
              <a:rPr lang="en-US" sz="2000">
                <a:cs typeface="Arial" panose="020B0604020202020204" pitchFamily="34" charset="0"/>
              </a:rPr>
              <a:t>is accurate but computationally expensive, so a </a:t>
            </a:r>
            <a:r>
              <a:rPr lang="en-US" sz="2000" b="1">
                <a:cs typeface="Arial" panose="020B0604020202020204" pitchFamily="34" charset="0"/>
              </a:rPr>
              <a:t>RANS model </a:t>
            </a:r>
            <a:r>
              <a:rPr lang="en-US" sz="2000">
                <a:cs typeface="Arial" panose="020B0604020202020204" pitchFamily="34" charset="0"/>
              </a:rPr>
              <a:t>was chosen. The results of simulations with different RANS models were compared with the results of the LES model (see figure). </a:t>
            </a:r>
          </a:p>
          <a:p>
            <a:pPr algn="just">
              <a:lnSpc>
                <a:spcPct val="150000"/>
              </a:lnSpc>
            </a:pPr>
            <a:endParaRPr lang="en-US" sz="2000">
              <a:cs typeface="Arial" panose="020B0604020202020204" pitchFamily="34" charset="0"/>
            </a:endParaRPr>
          </a:p>
          <a:p>
            <a:pPr algn="just">
              <a:lnSpc>
                <a:spcPct val="150000"/>
              </a:lnSpc>
            </a:pPr>
            <a:r>
              <a:rPr lang="en-US" sz="2000">
                <a:cs typeface="Arial" panose="020B0604020202020204" pitchFamily="34" charset="0"/>
              </a:rPr>
              <a:t>The RANS model with the closest match was selected for further simulations, which varied from case to case.</a:t>
            </a:r>
            <a:endParaRPr lang="sv-SE" sz="2000">
              <a:cs typeface="Arial" panose="020B0604020202020204" pitchFamily="34" charset="0"/>
            </a:endParaRPr>
          </a:p>
        </p:txBody>
      </p:sp>
      <p:sp>
        <p:nvSpPr>
          <p:cNvPr id="21" name="TextBox 13">
            <a:extLst>
              <a:ext uri="{FF2B5EF4-FFF2-40B4-BE49-F238E27FC236}">
                <a16:creationId xmlns:a16="http://schemas.microsoft.com/office/drawing/2014/main" id="{7219033F-9916-4BDE-B564-FA875784A1EB}"/>
              </a:ext>
            </a:extLst>
          </p:cNvPr>
          <p:cNvSpPr txBox="1"/>
          <p:nvPr/>
        </p:nvSpPr>
        <p:spPr>
          <a:xfrm>
            <a:off x="805622" y="2379526"/>
            <a:ext cx="8794101" cy="1040798"/>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wrap="square" lIns="0" tIns="0" rIns="0" bIns="0" rtlCol="0" anchor="t">
            <a:spAutoFit/>
          </a:bodyPr>
          <a:lstStyle/>
          <a:p>
            <a:pPr algn="ctr">
              <a:lnSpc>
                <a:spcPts val="8960"/>
              </a:lnSpc>
              <a:spcBef>
                <a:spcPct val="0"/>
              </a:spcBef>
            </a:pPr>
            <a:r>
              <a:rPr lang="en-US" sz="6000" b="1">
                <a:solidFill>
                  <a:schemeClr val="bg1"/>
                </a:solidFill>
                <a:latin typeface="+mj-lt"/>
                <a:cs typeface="Arial" panose="020B0604020202020204" pitchFamily="34" charset="0"/>
              </a:rPr>
              <a:t>Turbulence models</a:t>
            </a:r>
          </a:p>
        </p:txBody>
      </p:sp>
      <p:pic>
        <p:nvPicPr>
          <p:cNvPr id="8" name="Picture 7">
            <a:extLst>
              <a:ext uri="{FF2B5EF4-FFF2-40B4-BE49-F238E27FC236}">
                <a16:creationId xmlns:a16="http://schemas.microsoft.com/office/drawing/2014/main" id="{E8707C55-4D92-A4E9-713A-7F9F5A8FB59A}"/>
              </a:ext>
            </a:extLst>
          </p:cNvPr>
          <p:cNvPicPr>
            <a:picLocks noChangeAspect="1"/>
          </p:cNvPicPr>
          <p:nvPr/>
        </p:nvPicPr>
        <p:blipFill>
          <a:blip r:embed="rId6"/>
          <a:stretch>
            <a:fillRect/>
          </a:stretch>
        </p:blipFill>
        <p:spPr>
          <a:xfrm>
            <a:off x="597334" y="3781626"/>
            <a:ext cx="9210675" cy="4333875"/>
          </a:xfrm>
          <a:prstGeom prst="rect">
            <a:avLst/>
          </a:prstGeom>
        </p:spPr>
      </p:pic>
      <p:sp>
        <p:nvSpPr>
          <p:cNvPr id="4" name="TextBox 3">
            <a:extLst>
              <a:ext uri="{FF2B5EF4-FFF2-40B4-BE49-F238E27FC236}">
                <a16:creationId xmlns:a16="http://schemas.microsoft.com/office/drawing/2014/main" id="{CA3C9FCB-6CC5-EFBD-2054-7B961394B83E}"/>
              </a:ext>
            </a:extLst>
          </p:cNvPr>
          <p:cNvSpPr txBox="1"/>
          <p:nvPr/>
        </p:nvSpPr>
        <p:spPr>
          <a:xfrm flipH="1">
            <a:off x="1712054" y="3747642"/>
            <a:ext cx="2216507" cy="509622"/>
          </a:xfrm>
          <a:prstGeom prst="rect">
            <a:avLst/>
          </a:prstGeom>
          <a:solidFill>
            <a:schemeClr val="bg1"/>
          </a:solidFill>
          <a:ln w="57150">
            <a:solidFill>
              <a:srgbClr val="6BA942"/>
            </a:solidFill>
          </a:ln>
        </p:spPr>
        <p:txBody>
          <a:bodyPr wrap="square" rtlCol="0" anchor="ctr" anchorCtr="0">
            <a:noAutofit/>
          </a:bodyPr>
          <a:lstStyle/>
          <a:p>
            <a:pPr algn="ctr"/>
            <a:r>
              <a:rPr lang="sv-SE" b="1"/>
              <a:t>LES </a:t>
            </a:r>
            <a:r>
              <a:rPr lang="sv-SE" b="1" err="1"/>
              <a:t>model</a:t>
            </a:r>
            <a:endParaRPr lang="sv-SE" b="1"/>
          </a:p>
        </p:txBody>
      </p:sp>
      <p:sp>
        <p:nvSpPr>
          <p:cNvPr id="2" name="TextBox 1">
            <a:extLst>
              <a:ext uri="{FF2B5EF4-FFF2-40B4-BE49-F238E27FC236}">
                <a16:creationId xmlns:a16="http://schemas.microsoft.com/office/drawing/2014/main" id="{A24D0679-8A30-C09A-237F-9C72E775B713}"/>
              </a:ext>
            </a:extLst>
          </p:cNvPr>
          <p:cNvSpPr txBox="1"/>
          <p:nvPr/>
        </p:nvSpPr>
        <p:spPr>
          <a:xfrm>
            <a:off x="597334" y="8240737"/>
            <a:ext cx="9210675" cy="830997"/>
          </a:xfrm>
          <a:prstGeom prst="rect">
            <a:avLst/>
          </a:prstGeom>
          <a:noFill/>
        </p:spPr>
        <p:txBody>
          <a:bodyPr wrap="square">
            <a:spAutoFit/>
          </a:bodyPr>
          <a:lstStyle/>
          <a:p>
            <a:r>
              <a:rPr lang="en-US" sz="2400" b="0" i="1" u="none" strike="noStrike" baseline="0">
                <a:solidFill>
                  <a:srgbClr val="000000"/>
                </a:solidFill>
                <a:latin typeface="Times New Roman" panose="02020603050405020304" pitchFamily="18" charset="0"/>
              </a:rPr>
              <a:t>H</a:t>
            </a:r>
            <a:r>
              <a:rPr lang="en-US" sz="1400" b="0" i="1" u="none" strike="noStrike" baseline="0">
                <a:solidFill>
                  <a:srgbClr val="000000"/>
                </a:solidFill>
                <a:latin typeface="Times New Roman" panose="02020603050405020304" pitchFamily="18" charset="0"/>
              </a:rPr>
              <a:t>2</a:t>
            </a:r>
            <a:r>
              <a:rPr lang="en-US" sz="2400" b="0" i="1" u="none" strike="noStrike" baseline="0">
                <a:solidFill>
                  <a:srgbClr val="000000"/>
                </a:solidFill>
                <a:latin typeface="Times New Roman" panose="02020603050405020304" pitchFamily="18" charset="0"/>
              </a:rPr>
              <a:t>SO</a:t>
            </a:r>
            <a:r>
              <a:rPr lang="en-US" sz="1400" b="0" i="1" u="none" strike="noStrike" baseline="0">
                <a:solidFill>
                  <a:srgbClr val="000000"/>
                </a:solidFill>
                <a:latin typeface="Times New Roman" panose="02020603050405020304" pitchFamily="18" charset="0"/>
              </a:rPr>
              <a:t>4  </a:t>
            </a:r>
            <a:r>
              <a:rPr lang="en-US" sz="2400" b="0" i="1" u="none" strike="noStrike" baseline="0">
                <a:solidFill>
                  <a:srgbClr val="000000"/>
                </a:solidFill>
                <a:latin typeface="Times New Roman" panose="02020603050405020304" pitchFamily="18" charset="0"/>
              </a:rPr>
              <a:t>contours in the reactor from simulations using LES modelling, laminar flow modelling and different RANS models (within the red box).</a:t>
            </a:r>
            <a:endParaRPr lang="sv-SE" sz="2400"/>
          </a:p>
        </p:txBody>
      </p:sp>
      <p:sp>
        <p:nvSpPr>
          <p:cNvPr id="5" name="Rectangle 4">
            <a:extLst>
              <a:ext uri="{FF2B5EF4-FFF2-40B4-BE49-F238E27FC236}">
                <a16:creationId xmlns:a16="http://schemas.microsoft.com/office/drawing/2014/main" id="{DFD1C04C-D899-CD7E-5BDA-D982F579D184}"/>
              </a:ext>
            </a:extLst>
          </p:cNvPr>
          <p:cNvSpPr/>
          <p:nvPr/>
        </p:nvSpPr>
        <p:spPr>
          <a:xfrm>
            <a:off x="1617785" y="5372101"/>
            <a:ext cx="8190224" cy="2658214"/>
          </a:xfrm>
          <a:prstGeom prst="rect">
            <a:avLst/>
          </a:prstGeom>
          <a:noFill/>
          <a:ln w="571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2820116487"/>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58" name="Rectangle 57">
            <a:extLst>
              <a:ext uri="{FF2B5EF4-FFF2-40B4-BE49-F238E27FC236}">
                <a16:creationId xmlns:a16="http://schemas.microsoft.com/office/drawing/2014/main" id="{289ED1AA-8684-4D37-B208-8777E1A7780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8283428" cy="10287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0" name="Graphic 33">
            <a:extLst>
              <a:ext uri="{FF2B5EF4-FFF2-40B4-BE49-F238E27FC236}">
                <a16:creationId xmlns:a16="http://schemas.microsoft.com/office/drawing/2014/main" id="{4180E01B-B1F4-437C-807D-1C930718EE6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966176" y="0"/>
            <a:ext cx="14355646" cy="10287000"/>
          </a:xfrm>
          <a:custGeom>
            <a:avLst/>
            <a:gdLst>
              <a:gd name="connsiteX0" fmla="*/ 7178288 w 7187261"/>
              <a:gd name="connsiteY0" fmla="*/ 2604802 h 5150263"/>
              <a:gd name="connsiteX1" fmla="*/ 7169335 w 7187261"/>
              <a:gd name="connsiteY1" fmla="*/ 2328577 h 5150263"/>
              <a:gd name="connsiteX2" fmla="*/ 7060845 w 7187261"/>
              <a:gd name="connsiteY2" fmla="*/ 1661160 h 5150263"/>
              <a:gd name="connsiteX3" fmla="*/ 6212263 w 7187261"/>
              <a:gd name="connsiteY3" fmla="*/ 243840 h 5150263"/>
              <a:gd name="connsiteX4" fmla="*/ 5953564 w 7187261"/>
              <a:gd name="connsiteY4" fmla="*/ 0 h 5150263"/>
              <a:gd name="connsiteX5" fmla="*/ 1408615 w 7187261"/>
              <a:gd name="connsiteY5" fmla="*/ 0 h 5150263"/>
              <a:gd name="connsiteX6" fmla="*/ 805111 w 7187261"/>
              <a:gd name="connsiteY6" fmla="*/ 676275 h 5150263"/>
              <a:gd name="connsiteX7" fmla="*/ 104928 w 7187261"/>
              <a:gd name="connsiteY7" fmla="*/ 2183035 h 5150263"/>
              <a:gd name="connsiteX8" fmla="*/ 51588 w 7187261"/>
              <a:gd name="connsiteY8" fmla="*/ 2400014 h 5150263"/>
              <a:gd name="connsiteX9" fmla="*/ 41301 w 7187261"/>
              <a:gd name="connsiteY9" fmla="*/ 2424208 h 5150263"/>
              <a:gd name="connsiteX10" fmla="*/ 119692 w 7187261"/>
              <a:gd name="connsiteY10" fmla="*/ 1834801 h 5150263"/>
              <a:gd name="connsiteX11" fmla="*/ 870071 w 7187261"/>
              <a:gd name="connsiteY11" fmla="*/ 462248 h 5150263"/>
              <a:gd name="connsiteX12" fmla="*/ 1389279 w 7187261"/>
              <a:gd name="connsiteY12" fmla="*/ 476 h 5150263"/>
              <a:gd name="connsiteX13" fmla="*/ 1320223 w 7187261"/>
              <a:gd name="connsiteY13" fmla="*/ 476 h 5150263"/>
              <a:gd name="connsiteX14" fmla="*/ 423158 w 7187261"/>
              <a:gd name="connsiteY14" fmla="*/ 989743 h 5150263"/>
              <a:gd name="connsiteX15" fmla="*/ 25585 w 7187261"/>
              <a:gd name="connsiteY15" fmla="*/ 2113693 h 5150263"/>
              <a:gd name="connsiteX16" fmla="*/ 2344 w 7187261"/>
              <a:gd name="connsiteY16" fmla="*/ 2725865 h 5150263"/>
              <a:gd name="connsiteX17" fmla="*/ 447256 w 7187261"/>
              <a:gd name="connsiteY17" fmla="*/ 4210717 h 5150263"/>
              <a:gd name="connsiteX18" fmla="*/ 1138962 w 7187261"/>
              <a:gd name="connsiteY18" fmla="*/ 4988910 h 5150263"/>
              <a:gd name="connsiteX19" fmla="*/ 1348512 w 7187261"/>
              <a:gd name="connsiteY19" fmla="*/ 5146834 h 5150263"/>
              <a:gd name="connsiteX20" fmla="*/ 1422712 w 7187261"/>
              <a:gd name="connsiteY20" fmla="*/ 5146834 h 5150263"/>
              <a:gd name="connsiteX21" fmla="*/ 480594 w 7187261"/>
              <a:gd name="connsiteY21" fmla="*/ 4187952 h 5150263"/>
              <a:gd name="connsiteX22" fmla="*/ 398679 w 7187261"/>
              <a:gd name="connsiteY22" fmla="*/ 4046125 h 5150263"/>
              <a:gd name="connsiteX23" fmla="*/ 411823 w 7187261"/>
              <a:gd name="connsiteY23" fmla="*/ 4053078 h 5150263"/>
              <a:gd name="connsiteX24" fmla="*/ 1439380 w 7187261"/>
              <a:gd name="connsiteY24" fmla="*/ 5147405 h 5150263"/>
              <a:gd name="connsiteX25" fmla="*/ 5710010 w 7187261"/>
              <a:gd name="connsiteY25" fmla="*/ 5150263 h 5150263"/>
              <a:gd name="connsiteX26" fmla="*/ 5999665 w 7187261"/>
              <a:gd name="connsiteY26" fmla="*/ 4910900 h 5150263"/>
              <a:gd name="connsiteX27" fmla="*/ 6954165 w 7187261"/>
              <a:gd name="connsiteY27" fmla="*/ 3545777 h 5150263"/>
              <a:gd name="connsiteX28" fmla="*/ 7137712 w 7187261"/>
              <a:gd name="connsiteY28" fmla="*/ 2799207 h 5150263"/>
              <a:gd name="connsiteX29" fmla="*/ 7142951 w 7187261"/>
              <a:gd name="connsiteY29" fmla="*/ 2754535 h 5150263"/>
              <a:gd name="connsiteX30" fmla="*/ 7149428 w 7187261"/>
              <a:gd name="connsiteY30" fmla="*/ 2774823 h 5150263"/>
              <a:gd name="connsiteX31" fmla="*/ 7066465 w 7187261"/>
              <a:gd name="connsiteY31" fmla="*/ 3465672 h 5150263"/>
              <a:gd name="connsiteX32" fmla="*/ 6452578 w 7187261"/>
              <a:gd name="connsiteY32" fmla="*/ 4552760 h 5150263"/>
              <a:gd name="connsiteX33" fmla="*/ 5752110 w 7187261"/>
              <a:gd name="connsiteY33" fmla="*/ 5150263 h 5150263"/>
              <a:gd name="connsiteX34" fmla="*/ 5827643 w 7187261"/>
              <a:gd name="connsiteY34" fmla="*/ 5150263 h 5150263"/>
              <a:gd name="connsiteX35" fmla="*/ 6642793 w 7187261"/>
              <a:gd name="connsiteY35" fmla="*/ 4389406 h 5150263"/>
              <a:gd name="connsiteX36" fmla="*/ 7102469 w 7187261"/>
              <a:gd name="connsiteY36" fmla="*/ 3490817 h 5150263"/>
              <a:gd name="connsiteX37" fmla="*/ 7187242 w 7187261"/>
              <a:gd name="connsiteY37" fmla="*/ 2990183 h 5150263"/>
              <a:gd name="connsiteX38" fmla="*/ 7178288 w 7187261"/>
              <a:gd name="connsiteY38" fmla="*/ 2604802 h 5150263"/>
              <a:gd name="connsiteX39" fmla="*/ 6342565 w 7187261"/>
              <a:gd name="connsiteY39" fmla="*/ 441389 h 5150263"/>
              <a:gd name="connsiteX40" fmla="*/ 7126567 w 7187261"/>
              <a:gd name="connsiteY40" fmla="*/ 2355056 h 5150263"/>
              <a:gd name="connsiteX41" fmla="*/ 6342565 w 7187261"/>
              <a:gd name="connsiteY41" fmla="*/ 441389 h 5150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187261" h="5150263">
                <a:moveTo>
                  <a:pt x="7178288" y="2604802"/>
                </a:moveTo>
                <a:cubicBezTo>
                  <a:pt x="7168763" y="2513076"/>
                  <a:pt x="7174478" y="2420684"/>
                  <a:pt x="7169335" y="2328577"/>
                </a:cubicBezTo>
                <a:cubicBezTo>
                  <a:pt x="7156952" y="2102882"/>
                  <a:pt x="7120586" y="1879149"/>
                  <a:pt x="7060845" y="1661160"/>
                </a:cubicBezTo>
                <a:cubicBezTo>
                  <a:pt x="6910588" y="1121007"/>
                  <a:pt x="6617428" y="631374"/>
                  <a:pt x="6212263" y="243840"/>
                </a:cubicBezTo>
                <a:cubicBezTo>
                  <a:pt x="6126538" y="162496"/>
                  <a:pt x="6040813" y="80201"/>
                  <a:pt x="5953564" y="0"/>
                </a:cubicBezTo>
                <a:lnTo>
                  <a:pt x="1408615" y="0"/>
                </a:lnTo>
                <a:cubicBezTo>
                  <a:pt x="1180967" y="200316"/>
                  <a:pt x="978332" y="427387"/>
                  <a:pt x="805111" y="676275"/>
                </a:cubicBezTo>
                <a:cubicBezTo>
                  <a:pt x="481261" y="1136523"/>
                  <a:pt x="252089" y="1640872"/>
                  <a:pt x="104928" y="2183035"/>
                </a:cubicBezTo>
                <a:cubicBezTo>
                  <a:pt x="85878" y="2254853"/>
                  <a:pt x="69495" y="2327720"/>
                  <a:pt x="51588" y="2400014"/>
                </a:cubicBezTo>
                <a:cubicBezTo>
                  <a:pt x="49683" y="2407634"/>
                  <a:pt x="51588" y="2416969"/>
                  <a:pt x="41301" y="2424208"/>
                </a:cubicBezTo>
                <a:cubicBezTo>
                  <a:pt x="45900" y="2225469"/>
                  <a:pt x="72186" y="2027834"/>
                  <a:pt x="119692" y="1834801"/>
                </a:cubicBezTo>
                <a:cubicBezTo>
                  <a:pt x="247993" y="1310926"/>
                  <a:pt x="506121" y="857726"/>
                  <a:pt x="870071" y="462248"/>
                </a:cubicBezTo>
                <a:cubicBezTo>
                  <a:pt x="1027729" y="291823"/>
                  <a:pt x="1201617" y="137169"/>
                  <a:pt x="1389279" y="476"/>
                </a:cubicBezTo>
                <a:lnTo>
                  <a:pt x="1320223" y="476"/>
                </a:lnTo>
                <a:cubicBezTo>
                  <a:pt x="960844" y="274320"/>
                  <a:pt x="656330" y="599123"/>
                  <a:pt x="423158" y="989743"/>
                </a:cubicBezTo>
                <a:cubicBezTo>
                  <a:pt x="215608" y="1337596"/>
                  <a:pt x="80258" y="1711357"/>
                  <a:pt x="25585" y="2113693"/>
                </a:cubicBezTo>
                <a:cubicBezTo>
                  <a:pt x="-2705" y="2316480"/>
                  <a:pt x="-2228" y="2521077"/>
                  <a:pt x="2344" y="2725865"/>
                </a:cubicBezTo>
                <a:cubicBezTo>
                  <a:pt x="14155" y="3261932"/>
                  <a:pt x="170650" y="3754565"/>
                  <a:pt x="447256" y="4210717"/>
                </a:cubicBezTo>
                <a:cubicBezTo>
                  <a:pt x="629851" y="4511612"/>
                  <a:pt x="866356" y="4767167"/>
                  <a:pt x="1138962" y="4988910"/>
                </a:cubicBezTo>
                <a:cubicBezTo>
                  <a:pt x="1207161" y="5044345"/>
                  <a:pt x="1277008" y="5096990"/>
                  <a:pt x="1348512" y="5146834"/>
                </a:cubicBezTo>
                <a:lnTo>
                  <a:pt x="1422712" y="5146834"/>
                </a:lnTo>
                <a:cubicBezTo>
                  <a:pt x="1043426" y="4892802"/>
                  <a:pt x="724720" y="4577334"/>
                  <a:pt x="480594" y="4187952"/>
                </a:cubicBezTo>
                <a:cubicBezTo>
                  <a:pt x="452019" y="4141851"/>
                  <a:pt x="423444" y="4095179"/>
                  <a:pt x="398679" y="4046125"/>
                </a:cubicBezTo>
                <a:cubicBezTo>
                  <a:pt x="407442" y="4043267"/>
                  <a:pt x="409156" y="4048982"/>
                  <a:pt x="411823" y="4053078"/>
                </a:cubicBezTo>
                <a:cubicBezTo>
                  <a:pt x="683572" y="4484656"/>
                  <a:pt x="1033139" y="4842701"/>
                  <a:pt x="1439380" y="5147405"/>
                </a:cubicBezTo>
                <a:lnTo>
                  <a:pt x="5710010" y="5150263"/>
                </a:lnTo>
                <a:cubicBezTo>
                  <a:pt x="5810594" y="5075482"/>
                  <a:pt x="5907272" y="4995587"/>
                  <a:pt x="5999665" y="4910900"/>
                </a:cubicBezTo>
                <a:cubicBezTo>
                  <a:pt x="6418765" y="4526661"/>
                  <a:pt x="6746901" y="4078129"/>
                  <a:pt x="6954165" y="3545777"/>
                </a:cubicBezTo>
                <a:cubicBezTo>
                  <a:pt x="7048234" y="3306175"/>
                  <a:pt x="7109956" y="3055115"/>
                  <a:pt x="7137712" y="2799207"/>
                </a:cubicBezTo>
                <a:cubicBezTo>
                  <a:pt x="7139236" y="2784920"/>
                  <a:pt x="7141046" y="2770632"/>
                  <a:pt x="7142951" y="2754535"/>
                </a:cubicBezTo>
                <a:cubicBezTo>
                  <a:pt x="7151714" y="2760440"/>
                  <a:pt x="7149237" y="2768441"/>
                  <a:pt x="7149428" y="2774823"/>
                </a:cubicBezTo>
                <a:cubicBezTo>
                  <a:pt x="7156743" y="3007967"/>
                  <a:pt x="7128777" y="3240881"/>
                  <a:pt x="7066465" y="3465672"/>
                </a:cubicBezTo>
                <a:cubicBezTo>
                  <a:pt x="6952165" y="3878580"/>
                  <a:pt x="6737948" y="4235863"/>
                  <a:pt x="6452578" y="4552760"/>
                </a:cubicBezTo>
                <a:cubicBezTo>
                  <a:pt x="6244553" y="4783836"/>
                  <a:pt x="6008809" y="4980242"/>
                  <a:pt x="5752110" y="5150263"/>
                </a:cubicBezTo>
                <a:lnTo>
                  <a:pt x="5827643" y="5150263"/>
                </a:lnTo>
                <a:cubicBezTo>
                  <a:pt x="6136539" y="4938904"/>
                  <a:pt x="6412192" y="4689348"/>
                  <a:pt x="6642793" y="4389406"/>
                </a:cubicBezTo>
                <a:cubicBezTo>
                  <a:pt x="6851295" y="4118324"/>
                  <a:pt x="7009125" y="3820859"/>
                  <a:pt x="7102469" y="3490817"/>
                </a:cubicBezTo>
                <a:cubicBezTo>
                  <a:pt x="7148646" y="3327473"/>
                  <a:pt x="7177069" y="3159624"/>
                  <a:pt x="7187242" y="2990183"/>
                </a:cubicBezTo>
                <a:cubicBezTo>
                  <a:pt x="7187623" y="2984087"/>
                  <a:pt x="7182384" y="2642330"/>
                  <a:pt x="7178288" y="2604802"/>
                </a:cubicBezTo>
                <a:close/>
                <a:moveTo>
                  <a:pt x="6342565" y="441389"/>
                </a:moveTo>
                <a:cubicBezTo>
                  <a:pt x="6829797" y="986533"/>
                  <a:pt x="7091135" y="1624422"/>
                  <a:pt x="7126567" y="2355056"/>
                </a:cubicBezTo>
                <a:cubicBezTo>
                  <a:pt x="7001123" y="1661827"/>
                  <a:pt x="6756426" y="1017365"/>
                  <a:pt x="6342565" y="441389"/>
                </a:cubicBez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Arial"/>
              <a:ea typeface="+mn-ea"/>
              <a:cs typeface="+mn-cs"/>
            </a:endParaRPr>
          </a:p>
        </p:txBody>
      </p:sp>
      <p:sp>
        <p:nvSpPr>
          <p:cNvPr id="62" name="sketch line">
            <a:extLst>
              <a:ext uri="{FF2B5EF4-FFF2-40B4-BE49-F238E27FC236}">
                <a16:creationId xmlns:a16="http://schemas.microsoft.com/office/drawing/2014/main" id="{41F77738-2AF0-4750-A0C7-F97C2C17590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961309" y="6260247"/>
            <a:ext cx="6365383" cy="27432"/>
          </a:xfrm>
          <a:custGeom>
            <a:avLst/>
            <a:gdLst>
              <a:gd name="connsiteX0" fmla="*/ 0 w 6365383"/>
              <a:gd name="connsiteY0" fmla="*/ 0 h 27432"/>
              <a:gd name="connsiteX1" fmla="*/ 636538 w 6365383"/>
              <a:gd name="connsiteY1" fmla="*/ 0 h 27432"/>
              <a:gd name="connsiteX2" fmla="*/ 1273077 w 6365383"/>
              <a:gd name="connsiteY2" fmla="*/ 0 h 27432"/>
              <a:gd name="connsiteX3" fmla="*/ 1909615 w 6365383"/>
              <a:gd name="connsiteY3" fmla="*/ 0 h 27432"/>
              <a:gd name="connsiteX4" fmla="*/ 2673461 w 6365383"/>
              <a:gd name="connsiteY4" fmla="*/ 0 h 27432"/>
              <a:gd name="connsiteX5" fmla="*/ 3373653 w 6365383"/>
              <a:gd name="connsiteY5" fmla="*/ 0 h 27432"/>
              <a:gd name="connsiteX6" fmla="*/ 3819230 w 6365383"/>
              <a:gd name="connsiteY6" fmla="*/ 0 h 27432"/>
              <a:gd name="connsiteX7" fmla="*/ 4392114 w 6365383"/>
              <a:gd name="connsiteY7" fmla="*/ 0 h 27432"/>
              <a:gd name="connsiteX8" fmla="*/ 5155960 w 6365383"/>
              <a:gd name="connsiteY8" fmla="*/ 0 h 27432"/>
              <a:gd name="connsiteX9" fmla="*/ 5792499 w 6365383"/>
              <a:gd name="connsiteY9" fmla="*/ 0 h 27432"/>
              <a:gd name="connsiteX10" fmla="*/ 6365383 w 6365383"/>
              <a:gd name="connsiteY10" fmla="*/ 0 h 27432"/>
              <a:gd name="connsiteX11" fmla="*/ 6365383 w 6365383"/>
              <a:gd name="connsiteY11" fmla="*/ 27432 h 27432"/>
              <a:gd name="connsiteX12" fmla="*/ 5856152 w 6365383"/>
              <a:gd name="connsiteY12" fmla="*/ 27432 h 27432"/>
              <a:gd name="connsiteX13" fmla="*/ 5092306 w 6365383"/>
              <a:gd name="connsiteY13" fmla="*/ 27432 h 27432"/>
              <a:gd name="connsiteX14" fmla="*/ 4583076 w 6365383"/>
              <a:gd name="connsiteY14" fmla="*/ 27432 h 27432"/>
              <a:gd name="connsiteX15" fmla="*/ 4137499 w 6365383"/>
              <a:gd name="connsiteY15" fmla="*/ 27432 h 27432"/>
              <a:gd name="connsiteX16" fmla="*/ 3691922 w 6365383"/>
              <a:gd name="connsiteY16" fmla="*/ 27432 h 27432"/>
              <a:gd name="connsiteX17" fmla="*/ 2991730 w 6365383"/>
              <a:gd name="connsiteY17" fmla="*/ 27432 h 27432"/>
              <a:gd name="connsiteX18" fmla="*/ 2546153 w 6365383"/>
              <a:gd name="connsiteY18" fmla="*/ 27432 h 27432"/>
              <a:gd name="connsiteX19" fmla="*/ 1909615 w 6365383"/>
              <a:gd name="connsiteY19" fmla="*/ 27432 h 27432"/>
              <a:gd name="connsiteX20" fmla="*/ 1400384 w 6365383"/>
              <a:gd name="connsiteY20" fmla="*/ 27432 h 27432"/>
              <a:gd name="connsiteX21" fmla="*/ 763846 w 6365383"/>
              <a:gd name="connsiteY21" fmla="*/ 27432 h 27432"/>
              <a:gd name="connsiteX22" fmla="*/ 0 w 6365383"/>
              <a:gd name="connsiteY22" fmla="*/ 27432 h 27432"/>
              <a:gd name="connsiteX23" fmla="*/ 0 w 6365383"/>
              <a:gd name="connsiteY23" fmla="*/ 0 h 27432"/>
              <a:gd name="connsiteX0" fmla="*/ 0 w 6365383"/>
              <a:gd name="connsiteY0" fmla="*/ 0 h 27432"/>
              <a:gd name="connsiteX1" fmla="*/ 572884 w 6365383"/>
              <a:gd name="connsiteY1" fmla="*/ 0 h 27432"/>
              <a:gd name="connsiteX2" fmla="*/ 1018461 w 6365383"/>
              <a:gd name="connsiteY2" fmla="*/ 0 h 27432"/>
              <a:gd name="connsiteX3" fmla="*/ 1782307 w 6365383"/>
              <a:gd name="connsiteY3" fmla="*/ 0 h 27432"/>
              <a:gd name="connsiteX4" fmla="*/ 2355192 w 6365383"/>
              <a:gd name="connsiteY4" fmla="*/ 0 h 27432"/>
              <a:gd name="connsiteX5" fmla="*/ 2928076 w 6365383"/>
              <a:gd name="connsiteY5" fmla="*/ 0 h 27432"/>
              <a:gd name="connsiteX6" fmla="*/ 3691922 w 6365383"/>
              <a:gd name="connsiteY6" fmla="*/ 0 h 27432"/>
              <a:gd name="connsiteX7" fmla="*/ 4201153 w 6365383"/>
              <a:gd name="connsiteY7" fmla="*/ 0 h 27432"/>
              <a:gd name="connsiteX8" fmla="*/ 4964999 w 6365383"/>
              <a:gd name="connsiteY8" fmla="*/ 0 h 27432"/>
              <a:gd name="connsiteX9" fmla="*/ 5728845 w 6365383"/>
              <a:gd name="connsiteY9" fmla="*/ 0 h 27432"/>
              <a:gd name="connsiteX10" fmla="*/ 6365383 w 6365383"/>
              <a:gd name="connsiteY10" fmla="*/ 0 h 27432"/>
              <a:gd name="connsiteX11" fmla="*/ 6365383 w 6365383"/>
              <a:gd name="connsiteY11" fmla="*/ 27432 h 27432"/>
              <a:gd name="connsiteX12" fmla="*/ 5665191 w 6365383"/>
              <a:gd name="connsiteY12" fmla="*/ 27432 h 27432"/>
              <a:gd name="connsiteX13" fmla="*/ 4901345 w 6365383"/>
              <a:gd name="connsiteY13" fmla="*/ 27432 h 27432"/>
              <a:gd name="connsiteX14" fmla="*/ 4137499 w 6365383"/>
              <a:gd name="connsiteY14" fmla="*/ 27432 h 27432"/>
              <a:gd name="connsiteX15" fmla="*/ 3628268 w 6365383"/>
              <a:gd name="connsiteY15" fmla="*/ 27432 h 27432"/>
              <a:gd name="connsiteX16" fmla="*/ 2991730 w 6365383"/>
              <a:gd name="connsiteY16" fmla="*/ 27432 h 27432"/>
              <a:gd name="connsiteX17" fmla="*/ 2227884 w 6365383"/>
              <a:gd name="connsiteY17" fmla="*/ 27432 h 27432"/>
              <a:gd name="connsiteX18" fmla="*/ 1591346 w 6365383"/>
              <a:gd name="connsiteY18" fmla="*/ 27432 h 27432"/>
              <a:gd name="connsiteX19" fmla="*/ 1145769 w 6365383"/>
              <a:gd name="connsiteY19" fmla="*/ 27432 h 27432"/>
              <a:gd name="connsiteX20" fmla="*/ 636538 w 6365383"/>
              <a:gd name="connsiteY20" fmla="*/ 27432 h 27432"/>
              <a:gd name="connsiteX21" fmla="*/ 0 w 6365383"/>
              <a:gd name="connsiteY21" fmla="*/ 27432 h 27432"/>
              <a:gd name="connsiteX22" fmla="*/ 0 w 6365383"/>
              <a:gd name="connsiteY22"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365383" h="27432" fill="none" extrusionOk="0">
                <a:moveTo>
                  <a:pt x="0" y="0"/>
                </a:moveTo>
                <a:cubicBezTo>
                  <a:pt x="311910" y="25756"/>
                  <a:pt x="328854" y="-22977"/>
                  <a:pt x="636538" y="0"/>
                </a:cubicBezTo>
                <a:cubicBezTo>
                  <a:pt x="929901" y="50670"/>
                  <a:pt x="1067253" y="-1993"/>
                  <a:pt x="1273077" y="0"/>
                </a:cubicBezTo>
                <a:cubicBezTo>
                  <a:pt x="1507620" y="-24857"/>
                  <a:pt x="1747799" y="-10413"/>
                  <a:pt x="1909615" y="0"/>
                </a:cubicBezTo>
                <a:cubicBezTo>
                  <a:pt x="2041097" y="-21585"/>
                  <a:pt x="2422417" y="-28022"/>
                  <a:pt x="2673461" y="0"/>
                </a:cubicBezTo>
                <a:cubicBezTo>
                  <a:pt x="2948394" y="-4560"/>
                  <a:pt x="3134893" y="36981"/>
                  <a:pt x="3373653" y="0"/>
                </a:cubicBezTo>
                <a:cubicBezTo>
                  <a:pt x="3634761" y="-15887"/>
                  <a:pt x="3700843" y="23167"/>
                  <a:pt x="3819230" y="0"/>
                </a:cubicBezTo>
                <a:cubicBezTo>
                  <a:pt x="3977295" y="2943"/>
                  <a:pt x="4128910" y="-53150"/>
                  <a:pt x="4392114" y="0"/>
                </a:cubicBezTo>
                <a:cubicBezTo>
                  <a:pt x="4672763" y="9214"/>
                  <a:pt x="4999833" y="38501"/>
                  <a:pt x="5155960" y="0"/>
                </a:cubicBezTo>
                <a:cubicBezTo>
                  <a:pt x="5343367" y="-6557"/>
                  <a:pt x="5597661" y="6622"/>
                  <a:pt x="5792499" y="0"/>
                </a:cubicBezTo>
                <a:cubicBezTo>
                  <a:pt x="6020774" y="43813"/>
                  <a:pt x="6148830" y="-13954"/>
                  <a:pt x="6365383" y="0"/>
                </a:cubicBezTo>
                <a:cubicBezTo>
                  <a:pt x="6364517" y="8091"/>
                  <a:pt x="6365728" y="20268"/>
                  <a:pt x="6365383" y="27432"/>
                </a:cubicBezTo>
                <a:cubicBezTo>
                  <a:pt x="6144545" y="15144"/>
                  <a:pt x="6006673" y="-7419"/>
                  <a:pt x="5856152" y="27432"/>
                </a:cubicBezTo>
                <a:cubicBezTo>
                  <a:pt x="5638446" y="81548"/>
                  <a:pt x="5413846" y="52067"/>
                  <a:pt x="5092306" y="27432"/>
                </a:cubicBezTo>
                <a:cubicBezTo>
                  <a:pt x="4768499" y="43350"/>
                  <a:pt x="4708569" y="3163"/>
                  <a:pt x="4583076" y="27432"/>
                </a:cubicBezTo>
                <a:cubicBezTo>
                  <a:pt x="4475482" y="66269"/>
                  <a:pt x="4242792" y="42702"/>
                  <a:pt x="4137499" y="27432"/>
                </a:cubicBezTo>
                <a:cubicBezTo>
                  <a:pt x="4003968" y="24039"/>
                  <a:pt x="3882646" y="-3026"/>
                  <a:pt x="3691922" y="27432"/>
                </a:cubicBezTo>
                <a:cubicBezTo>
                  <a:pt x="3501639" y="8096"/>
                  <a:pt x="3270842" y="-14942"/>
                  <a:pt x="2991730" y="27432"/>
                </a:cubicBezTo>
                <a:cubicBezTo>
                  <a:pt x="2712135" y="55419"/>
                  <a:pt x="2758697" y="31955"/>
                  <a:pt x="2546153" y="27432"/>
                </a:cubicBezTo>
                <a:cubicBezTo>
                  <a:pt x="2362220" y="-818"/>
                  <a:pt x="2130397" y="57099"/>
                  <a:pt x="1909615" y="27432"/>
                </a:cubicBezTo>
                <a:cubicBezTo>
                  <a:pt x="1714835" y="-15389"/>
                  <a:pt x="1636770" y="40318"/>
                  <a:pt x="1400384" y="27432"/>
                </a:cubicBezTo>
                <a:cubicBezTo>
                  <a:pt x="1161504" y="29515"/>
                  <a:pt x="1060819" y="7773"/>
                  <a:pt x="763846" y="27432"/>
                </a:cubicBezTo>
                <a:cubicBezTo>
                  <a:pt x="465096" y="43671"/>
                  <a:pt x="165309" y="15831"/>
                  <a:pt x="0" y="27432"/>
                </a:cubicBezTo>
                <a:cubicBezTo>
                  <a:pt x="-2013" y="18874"/>
                  <a:pt x="-525" y="8614"/>
                  <a:pt x="0" y="0"/>
                </a:cubicBezTo>
                <a:close/>
              </a:path>
              <a:path w="6365383" h="27432" stroke="0" extrusionOk="0">
                <a:moveTo>
                  <a:pt x="0" y="0"/>
                </a:moveTo>
                <a:cubicBezTo>
                  <a:pt x="84020" y="9133"/>
                  <a:pt x="339524" y="24523"/>
                  <a:pt x="572884" y="0"/>
                </a:cubicBezTo>
                <a:cubicBezTo>
                  <a:pt x="803790" y="-14011"/>
                  <a:pt x="837492" y="-10007"/>
                  <a:pt x="1018461" y="0"/>
                </a:cubicBezTo>
                <a:cubicBezTo>
                  <a:pt x="1188530" y="8943"/>
                  <a:pt x="1571061" y="17361"/>
                  <a:pt x="1782307" y="0"/>
                </a:cubicBezTo>
                <a:cubicBezTo>
                  <a:pt x="1967448" y="-16010"/>
                  <a:pt x="2153334" y="-25629"/>
                  <a:pt x="2355192" y="0"/>
                </a:cubicBezTo>
                <a:cubicBezTo>
                  <a:pt x="2541804" y="20205"/>
                  <a:pt x="2779440" y="53811"/>
                  <a:pt x="2928076" y="0"/>
                </a:cubicBezTo>
                <a:cubicBezTo>
                  <a:pt x="3024078" y="-16903"/>
                  <a:pt x="3337092" y="43483"/>
                  <a:pt x="3691922" y="0"/>
                </a:cubicBezTo>
                <a:cubicBezTo>
                  <a:pt x="4060895" y="-1064"/>
                  <a:pt x="4072166" y="-17195"/>
                  <a:pt x="4201153" y="0"/>
                </a:cubicBezTo>
                <a:cubicBezTo>
                  <a:pt x="4349835" y="-22516"/>
                  <a:pt x="4800106" y="-64797"/>
                  <a:pt x="4964999" y="0"/>
                </a:cubicBezTo>
                <a:cubicBezTo>
                  <a:pt x="5186764" y="15779"/>
                  <a:pt x="5564421" y="-10544"/>
                  <a:pt x="5728845" y="0"/>
                </a:cubicBezTo>
                <a:cubicBezTo>
                  <a:pt x="5915953" y="5493"/>
                  <a:pt x="6171384" y="-48026"/>
                  <a:pt x="6365383" y="0"/>
                </a:cubicBezTo>
                <a:cubicBezTo>
                  <a:pt x="6366596" y="6455"/>
                  <a:pt x="6365588" y="14391"/>
                  <a:pt x="6365383" y="27432"/>
                </a:cubicBezTo>
                <a:cubicBezTo>
                  <a:pt x="6172514" y="805"/>
                  <a:pt x="6006523" y="20734"/>
                  <a:pt x="5665191" y="27432"/>
                </a:cubicBezTo>
                <a:cubicBezTo>
                  <a:pt x="5322179" y="66687"/>
                  <a:pt x="5219376" y="21111"/>
                  <a:pt x="4901345" y="27432"/>
                </a:cubicBezTo>
                <a:cubicBezTo>
                  <a:pt x="4621310" y="-13654"/>
                  <a:pt x="4455192" y="54857"/>
                  <a:pt x="4137499" y="27432"/>
                </a:cubicBezTo>
                <a:cubicBezTo>
                  <a:pt x="3853317" y="12285"/>
                  <a:pt x="3862894" y="26263"/>
                  <a:pt x="3628268" y="27432"/>
                </a:cubicBezTo>
                <a:cubicBezTo>
                  <a:pt x="3418779" y="32610"/>
                  <a:pt x="3174456" y="83656"/>
                  <a:pt x="2991730" y="27432"/>
                </a:cubicBezTo>
                <a:cubicBezTo>
                  <a:pt x="2801278" y="6667"/>
                  <a:pt x="2497351" y="22891"/>
                  <a:pt x="2227884" y="27432"/>
                </a:cubicBezTo>
                <a:cubicBezTo>
                  <a:pt x="1986101" y="16297"/>
                  <a:pt x="1767219" y="-7535"/>
                  <a:pt x="1591346" y="27432"/>
                </a:cubicBezTo>
                <a:cubicBezTo>
                  <a:pt x="1447183" y="73731"/>
                  <a:pt x="1315973" y="39477"/>
                  <a:pt x="1145769" y="27432"/>
                </a:cubicBezTo>
                <a:cubicBezTo>
                  <a:pt x="990245" y="8882"/>
                  <a:pt x="810845" y="16910"/>
                  <a:pt x="636538" y="27432"/>
                </a:cubicBezTo>
                <a:cubicBezTo>
                  <a:pt x="482916" y="17795"/>
                  <a:pt x="183027" y="-17710"/>
                  <a:pt x="0" y="27432"/>
                </a:cubicBezTo>
                <a:cubicBezTo>
                  <a:pt x="491" y="19542"/>
                  <a:pt x="-1038" y="8534"/>
                  <a:pt x="0" y="0"/>
                </a:cubicBezTo>
                <a:close/>
              </a:path>
              <a:path w="6365383" h="27432" fill="none" stroke="0" extrusionOk="0">
                <a:moveTo>
                  <a:pt x="0" y="0"/>
                </a:moveTo>
                <a:cubicBezTo>
                  <a:pt x="296223" y="15991"/>
                  <a:pt x="333462" y="-23795"/>
                  <a:pt x="636538" y="0"/>
                </a:cubicBezTo>
                <a:cubicBezTo>
                  <a:pt x="970197" y="30961"/>
                  <a:pt x="1039864" y="3183"/>
                  <a:pt x="1273077" y="0"/>
                </a:cubicBezTo>
                <a:cubicBezTo>
                  <a:pt x="1449809" y="24819"/>
                  <a:pt x="1735152" y="23060"/>
                  <a:pt x="1909615" y="0"/>
                </a:cubicBezTo>
                <a:cubicBezTo>
                  <a:pt x="2016351" y="-41665"/>
                  <a:pt x="2415001" y="34773"/>
                  <a:pt x="2673461" y="0"/>
                </a:cubicBezTo>
                <a:cubicBezTo>
                  <a:pt x="2996983" y="-13411"/>
                  <a:pt x="3130707" y="3741"/>
                  <a:pt x="3373653" y="0"/>
                </a:cubicBezTo>
                <a:cubicBezTo>
                  <a:pt x="3601951" y="-16140"/>
                  <a:pt x="3689909" y="23222"/>
                  <a:pt x="3819230" y="0"/>
                </a:cubicBezTo>
                <a:cubicBezTo>
                  <a:pt x="3931872" y="-29406"/>
                  <a:pt x="4119438" y="24094"/>
                  <a:pt x="4392114" y="0"/>
                </a:cubicBezTo>
                <a:cubicBezTo>
                  <a:pt x="4665359" y="21557"/>
                  <a:pt x="4978709" y="13267"/>
                  <a:pt x="5155960" y="0"/>
                </a:cubicBezTo>
                <a:cubicBezTo>
                  <a:pt x="5299518" y="-18386"/>
                  <a:pt x="5605020" y="-6762"/>
                  <a:pt x="5792499" y="0"/>
                </a:cubicBezTo>
                <a:cubicBezTo>
                  <a:pt x="6013281" y="43398"/>
                  <a:pt x="6167567" y="36727"/>
                  <a:pt x="6365383" y="0"/>
                </a:cubicBezTo>
                <a:cubicBezTo>
                  <a:pt x="6365697" y="8368"/>
                  <a:pt x="6365332" y="21050"/>
                  <a:pt x="6365383" y="27432"/>
                </a:cubicBezTo>
                <a:cubicBezTo>
                  <a:pt x="6154893" y="8454"/>
                  <a:pt x="6014206" y="-8372"/>
                  <a:pt x="5856152" y="27432"/>
                </a:cubicBezTo>
                <a:cubicBezTo>
                  <a:pt x="5659455" y="59503"/>
                  <a:pt x="5350806" y="-35991"/>
                  <a:pt x="5092306" y="27432"/>
                </a:cubicBezTo>
                <a:cubicBezTo>
                  <a:pt x="4756309" y="48260"/>
                  <a:pt x="4699746" y="-4780"/>
                  <a:pt x="4583076" y="27432"/>
                </a:cubicBezTo>
                <a:cubicBezTo>
                  <a:pt x="4462137" y="30142"/>
                  <a:pt x="4226168" y="50236"/>
                  <a:pt x="4137499" y="27432"/>
                </a:cubicBezTo>
                <a:cubicBezTo>
                  <a:pt x="4018570" y="42181"/>
                  <a:pt x="3887179" y="34623"/>
                  <a:pt x="3691922" y="27432"/>
                </a:cubicBezTo>
                <a:cubicBezTo>
                  <a:pt x="3499755" y="32935"/>
                  <a:pt x="3281056" y="-9158"/>
                  <a:pt x="2991730" y="27432"/>
                </a:cubicBezTo>
                <a:cubicBezTo>
                  <a:pt x="2716073" y="57462"/>
                  <a:pt x="2755481" y="34494"/>
                  <a:pt x="2546153" y="27432"/>
                </a:cubicBezTo>
                <a:cubicBezTo>
                  <a:pt x="2356479" y="62622"/>
                  <a:pt x="2079190" y="73729"/>
                  <a:pt x="1909615" y="27432"/>
                </a:cubicBezTo>
                <a:cubicBezTo>
                  <a:pt x="1715819" y="-26444"/>
                  <a:pt x="1631368" y="48131"/>
                  <a:pt x="1400384" y="27432"/>
                </a:cubicBezTo>
                <a:cubicBezTo>
                  <a:pt x="1177327" y="16190"/>
                  <a:pt x="1065236" y="24992"/>
                  <a:pt x="763846" y="27432"/>
                </a:cubicBezTo>
                <a:cubicBezTo>
                  <a:pt x="448643" y="60691"/>
                  <a:pt x="160833" y="2330"/>
                  <a:pt x="0" y="27432"/>
                </a:cubicBezTo>
                <a:cubicBezTo>
                  <a:pt x="1559" y="18666"/>
                  <a:pt x="-585" y="7580"/>
                  <a:pt x="0" y="0"/>
                </a:cubicBezTo>
                <a:close/>
              </a:path>
            </a:pathLst>
          </a:custGeom>
          <a:solidFill>
            <a:srgbClr val="FFFFFF"/>
          </a:solidFill>
          <a:ln w="41275" cap="rnd">
            <a:solidFill>
              <a:srgbClr val="FFFFFF"/>
            </a:solidFill>
            <a:round/>
            <a:extLst>
              <a:ext uri="{C807C97D-BFC1-408E-A445-0C87EB9F89A2}">
                <ask:lineSketchStyleProps xmlns:ask="http://schemas.microsoft.com/office/drawing/2018/sketchyshapes" sd="1219033472">
                  <a:custGeom>
                    <a:avLst/>
                    <a:gdLst>
                      <a:gd name="connsiteX0" fmla="*/ 0 w 6365383"/>
                      <a:gd name="connsiteY0" fmla="*/ 0 h 27432"/>
                      <a:gd name="connsiteX1" fmla="*/ 636538 w 6365383"/>
                      <a:gd name="connsiteY1" fmla="*/ 0 h 27432"/>
                      <a:gd name="connsiteX2" fmla="*/ 1273077 w 6365383"/>
                      <a:gd name="connsiteY2" fmla="*/ 0 h 27432"/>
                      <a:gd name="connsiteX3" fmla="*/ 1909615 w 6365383"/>
                      <a:gd name="connsiteY3" fmla="*/ 0 h 27432"/>
                      <a:gd name="connsiteX4" fmla="*/ 2673461 w 6365383"/>
                      <a:gd name="connsiteY4" fmla="*/ 0 h 27432"/>
                      <a:gd name="connsiteX5" fmla="*/ 3373653 w 6365383"/>
                      <a:gd name="connsiteY5" fmla="*/ 0 h 27432"/>
                      <a:gd name="connsiteX6" fmla="*/ 3819230 w 6365383"/>
                      <a:gd name="connsiteY6" fmla="*/ 0 h 27432"/>
                      <a:gd name="connsiteX7" fmla="*/ 4392114 w 6365383"/>
                      <a:gd name="connsiteY7" fmla="*/ 0 h 27432"/>
                      <a:gd name="connsiteX8" fmla="*/ 5155960 w 6365383"/>
                      <a:gd name="connsiteY8" fmla="*/ 0 h 27432"/>
                      <a:gd name="connsiteX9" fmla="*/ 5792499 w 6365383"/>
                      <a:gd name="connsiteY9" fmla="*/ 0 h 27432"/>
                      <a:gd name="connsiteX10" fmla="*/ 6365383 w 6365383"/>
                      <a:gd name="connsiteY10" fmla="*/ 0 h 27432"/>
                      <a:gd name="connsiteX11" fmla="*/ 6365383 w 6365383"/>
                      <a:gd name="connsiteY11" fmla="*/ 27432 h 27432"/>
                      <a:gd name="connsiteX12" fmla="*/ 5856152 w 6365383"/>
                      <a:gd name="connsiteY12" fmla="*/ 27432 h 27432"/>
                      <a:gd name="connsiteX13" fmla="*/ 5092306 w 6365383"/>
                      <a:gd name="connsiteY13" fmla="*/ 27432 h 27432"/>
                      <a:gd name="connsiteX14" fmla="*/ 4583076 w 6365383"/>
                      <a:gd name="connsiteY14" fmla="*/ 27432 h 27432"/>
                      <a:gd name="connsiteX15" fmla="*/ 4137499 w 6365383"/>
                      <a:gd name="connsiteY15" fmla="*/ 27432 h 27432"/>
                      <a:gd name="connsiteX16" fmla="*/ 3691922 w 6365383"/>
                      <a:gd name="connsiteY16" fmla="*/ 27432 h 27432"/>
                      <a:gd name="connsiteX17" fmla="*/ 2991730 w 6365383"/>
                      <a:gd name="connsiteY17" fmla="*/ 27432 h 27432"/>
                      <a:gd name="connsiteX18" fmla="*/ 2546153 w 6365383"/>
                      <a:gd name="connsiteY18" fmla="*/ 27432 h 27432"/>
                      <a:gd name="connsiteX19" fmla="*/ 1909615 w 6365383"/>
                      <a:gd name="connsiteY19" fmla="*/ 27432 h 27432"/>
                      <a:gd name="connsiteX20" fmla="*/ 1400384 w 6365383"/>
                      <a:gd name="connsiteY20" fmla="*/ 27432 h 27432"/>
                      <a:gd name="connsiteX21" fmla="*/ 763846 w 6365383"/>
                      <a:gd name="connsiteY21" fmla="*/ 27432 h 27432"/>
                      <a:gd name="connsiteX22" fmla="*/ 0 w 6365383"/>
                      <a:gd name="connsiteY22" fmla="*/ 27432 h 27432"/>
                      <a:gd name="connsiteX23" fmla="*/ 0 w 6365383"/>
                      <a:gd name="connsiteY23"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365383" h="27432" fill="none" extrusionOk="0">
                        <a:moveTo>
                          <a:pt x="0" y="0"/>
                        </a:moveTo>
                        <a:cubicBezTo>
                          <a:pt x="305169" y="21509"/>
                          <a:pt x="334704" y="-24261"/>
                          <a:pt x="636538" y="0"/>
                        </a:cubicBezTo>
                        <a:cubicBezTo>
                          <a:pt x="938372" y="24261"/>
                          <a:pt x="1068606" y="2269"/>
                          <a:pt x="1273077" y="0"/>
                        </a:cubicBezTo>
                        <a:cubicBezTo>
                          <a:pt x="1477548" y="-2269"/>
                          <a:pt x="1738189" y="6272"/>
                          <a:pt x="1909615" y="0"/>
                        </a:cubicBezTo>
                        <a:cubicBezTo>
                          <a:pt x="2081041" y="-6272"/>
                          <a:pt x="2377015" y="16623"/>
                          <a:pt x="2673461" y="0"/>
                        </a:cubicBezTo>
                        <a:cubicBezTo>
                          <a:pt x="2969907" y="-16623"/>
                          <a:pt x="3126114" y="13194"/>
                          <a:pt x="3373653" y="0"/>
                        </a:cubicBezTo>
                        <a:cubicBezTo>
                          <a:pt x="3621192" y="-13194"/>
                          <a:pt x="3704499" y="9486"/>
                          <a:pt x="3819230" y="0"/>
                        </a:cubicBezTo>
                        <a:cubicBezTo>
                          <a:pt x="3933961" y="-9486"/>
                          <a:pt x="4142691" y="-8221"/>
                          <a:pt x="4392114" y="0"/>
                        </a:cubicBezTo>
                        <a:cubicBezTo>
                          <a:pt x="4641537" y="8221"/>
                          <a:pt x="4974506" y="12257"/>
                          <a:pt x="5155960" y="0"/>
                        </a:cubicBezTo>
                        <a:cubicBezTo>
                          <a:pt x="5337414" y="-12257"/>
                          <a:pt x="5585731" y="-22537"/>
                          <a:pt x="5792499" y="0"/>
                        </a:cubicBezTo>
                        <a:cubicBezTo>
                          <a:pt x="5999267" y="22537"/>
                          <a:pt x="6164726" y="7303"/>
                          <a:pt x="6365383" y="0"/>
                        </a:cubicBezTo>
                        <a:cubicBezTo>
                          <a:pt x="6365125" y="7487"/>
                          <a:pt x="6364462" y="19984"/>
                          <a:pt x="6365383" y="27432"/>
                        </a:cubicBezTo>
                        <a:cubicBezTo>
                          <a:pt x="6132222" y="28304"/>
                          <a:pt x="6011986" y="2071"/>
                          <a:pt x="5856152" y="27432"/>
                        </a:cubicBezTo>
                        <a:cubicBezTo>
                          <a:pt x="5700318" y="52793"/>
                          <a:pt x="5410732" y="5357"/>
                          <a:pt x="5092306" y="27432"/>
                        </a:cubicBezTo>
                        <a:cubicBezTo>
                          <a:pt x="4773880" y="49507"/>
                          <a:pt x="4705351" y="6645"/>
                          <a:pt x="4583076" y="27432"/>
                        </a:cubicBezTo>
                        <a:cubicBezTo>
                          <a:pt x="4460801" y="48220"/>
                          <a:pt x="4239915" y="42209"/>
                          <a:pt x="4137499" y="27432"/>
                        </a:cubicBezTo>
                        <a:cubicBezTo>
                          <a:pt x="4035083" y="12655"/>
                          <a:pt x="3883665" y="32012"/>
                          <a:pt x="3691922" y="27432"/>
                        </a:cubicBezTo>
                        <a:cubicBezTo>
                          <a:pt x="3500179" y="22852"/>
                          <a:pt x="3265830" y="-126"/>
                          <a:pt x="2991730" y="27432"/>
                        </a:cubicBezTo>
                        <a:cubicBezTo>
                          <a:pt x="2717630" y="54990"/>
                          <a:pt x="2757122" y="34407"/>
                          <a:pt x="2546153" y="27432"/>
                        </a:cubicBezTo>
                        <a:cubicBezTo>
                          <a:pt x="2335184" y="20457"/>
                          <a:pt x="2107331" y="58889"/>
                          <a:pt x="1909615" y="27432"/>
                        </a:cubicBezTo>
                        <a:cubicBezTo>
                          <a:pt x="1711899" y="-4025"/>
                          <a:pt x="1634641" y="48316"/>
                          <a:pt x="1400384" y="27432"/>
                        </a:cubicBezTo>
                        <a:cubicBezTo>
                          <a:pt x="1166127" y="6548"/>
                          <a:pt x="1068288" y="15776"/>
                          <a:pt x="763846" y="27432"/>
                        </a:cubicBezTo>
                        <a:cubicBezTo>
                          <a:pt x="459404" y="39088"/>
                          <a:pt x="170017" y="14515"/>
                          <a:pt x="0" y="27432"/>
                        </a:cubicBezTo>
                        <a:cubicBezTo>
                          <a:pt x="-14" y="18173"/>
                          <a:pt x="-517" y="8990"/>
                          <a:pt x="0" y="0"/>
                        </a:cubicBezTo>
                        <a:close/>
                      </a:path>
                      <a:path w="6365383" h="27432" stroke="0" extrusionOk="0">
                        <a:moveTo>
                          <a:pt x="0" y="0"/>
                        </a:moveTo>
                        <a:cubicBezTo>
                          <a:pt x="114610" y="-2215"/>
                          <a:pt x="340315" y="12554"/>
                          <a:pt x="572884" y="0"/>
                        </a:cubicBezTo>
                        <a:cubicBezTo>
                          <a:pt x="805453" y="-12554"/>
                          <a:pt x="832891" y="-10424"/>
                          <a:pt x="1018461" y="0"/>
                        </a:cubicBezTo>
                        <a:cubicBezTo>
                          <a:pt x="1204031" y="10424"/>
                          <a:pt x="1590875" y="8682"/>
                          <a:pt x="1782307" y="0"/>
                        </a:cubicBezTo>
                        <a:cubicBezTo>
                          <a:pt x="1973739" y="-8682"/>
                          <a:pt x="2150876" y="5508"/>
                          <a:pt x="2355192" y="0"/>
                        </a:cubicBezTo>
                        <a:cubicBezTo>
                          <a:pt x="2559508" y="-5508"/>
                          <a:pt x="2790194" y="26965"/>
                          <a:pt x="2928076" y="0"/>
                        </a:cubicBezTo>
                        <a:cubicBezTo>
                          <a:pt x="3065958" y="-26965"/>
                          <a:pt x="3321537" y="819"/>
                          <a:pt x="3691922" y="0"/>
                        </a:cubicBezTo>
                        <a:cubicBezTo>
                          <a:pt x="4062307" y="-819"/>
                          <a:pt x="4072238" y="-15327"/>
                          <a:pt x="4201153" y="0"/>
                        </a:cubicBezTo>
                        <a:cubicBezTo>
                          <a:pt x="4330068" y="15327"/>
                          <a:pt x="4772079" y="-35646"/>
                          <a:pt x="4964999" y="0"/>
                        </a:cubicBezTo>
                        <a:cubicBezTo>
                          <a:pt x="5157919" y="35646"/>
                          <a:pt x="5543915" y="6802"/>
                          <a:pt x="5728845" y="0"/>
                        </a:cubicBezTo>
                        <a:cubicBezTo>
                          <a:pt x="5913775" y="-6802"/>
                          <a:pt x="6142952" y="-21408"/>
                          <a:pt x="6365383" y="0"/>
                        </a:cubicBezTo>
                        <a:cubicBezTo>
                          <a:pt x="6364552" y="6329"/>
                          <a:pt x="6365787" y="16858"/>
                          <a:pt x="6365383" y="27432"/>
                        </a:cubicBezTo>
                        <a:cubicBezTo>
                          <a:pt x="6176931" y="320"/>
                          <a:pt x="5998736" y="11244"/>
                          <a:pt x="5665191" y="27432"/>
                        </a:cubicBezTo>
                        <a:cubicBezTo>
                          <a:pt x="5331646" y="43620"/>
                          <a:pt x="5198011" y="28615"/>
                          <a:pt x="4901345" y="27432"/>
                        </a:cubicBezTo>
                        <a:cubicBezTo>
                          <a:pt x="4604679" y="26249"/>
                          <a:pt x="4422931" y="40617"/>
                          <a:pt x="4137499" y="27432"/>
                        </a:cubicBezTo>
                        <a:cubicBezTo>
                          <a:pt x="3852067" y="14247"/>
                          <a:pt x="3861939" y="26581"/>
                          <a:pt x="3628268" y="27432"/>
                        </a:cubicBezTo>
                        <a:cubicBezTo>
                          <a:pt x="3394597" y="28283"/>
                          <a:pt x="3171361" y="44132"/>
                          <a:pt x="2991730" y="27432"/>
                        </a:cubicBezTo>
                        <a:cubicBezTo>
                          <a:pt x="2812099" y="10732"/>
                          <a:pt x="2469344" y="24737"/>
                          <a:pt x="2227884" y="27432"/>
                        </a:cubicBezTo>
                        <a:cubicBezTo>
                          <a:pt x="1986424" y="30127"/>
                          <a:pt x="1748067" y="6359"/>
                          <a:pt x="1591346" y="27432"/>
                        </a:cubicBezTo>
                        <a:cubicBezTo>
                          <a:pt x="1434625" y="48505"/>
                          <a:pt x="1307456" y="39663"/>
                          <a:pt x="1145769" y="27432"/>
                        </a:cubicBezTo>
                        <a:cubicBezTo>
                          <a:pt x="984082" y="15201"/>
                          <a:pt x="800279" y="41647"/>
                          <a:pt x="636538" y="27432"/>
                        </a:cubicBezTo>
                        <a:cubicBezTo>
                          <a:pt x="472797" y="13217"/>
                          <a:pt x="160022" y="2213"/>
                          <a:pt x="0" y="27432"/>
                        </a:cubicBezTo>
                        <a:cubicBezTo>
                          <a:pt x="-177" y="19307"/>
                          <a:pt x="-1145" y="9170"/>
                          <a:pt x="0" y="0"/>
                        </a:cubicBezTo>
                        <a:close/>
                      </a:path>
                    </a:pathLst>
                  </a:cu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 name="Title 3">
            <a:extLst>
              <a:ext uri="{FF2B5EF4-FFF2-40B4-BE49-F238E27FC236}">
                <a16:creationId xmlns:a16="http://schemas.microsoft.com/office/drawing/2014/main" id="{656B942D-9965-9242-3E1A-82622DDC22EA}"/>
              </a:ext>
            </a:extLst>
          </p:cNvPr>
          <p:cNvSpPr>
            <a:spLocks noGrp="1"/>
          </p:cNvSpPr>
          <p:nvPr>
            <p:ph type="title"/>
          </p:nvPr>
        </p:nvSpPr>
        <p:spPr>
          <a:xfrm>
            <a:off x="2819400" y="1764645"/>
            <a:ext cx="13502422" cy="4348463"/>
          </a:xfrm>
        </p:spPr>
        <p:txBody>
          <a:bodyPr vert="horz" lIns="91440" tIns="45720" rIns="91440" bIns="45720" rtlCol="0" anchor="b">
            <a:normAutofit/>
          </a:bodyPr>
          <a:lstStyle/>
          <a:p>
            <a:pPr lvl="0"/>
            <a:r>
              <a:rPr lang="en-GB" sz="7200" b="1" noProof="0" dirty="0">
                <a:solidFill>
                  <a:schemeClr val="bg1"/>
                </a:solidFill>
              </a:rPr>
              <a:t>Step 2: </a:t>
            </a:r>
            <a:br>
              <a:rPr lang="en-GB" sz="7200" b="1" noProof="0" dirty="0">
                <a:solidFill>
                  <a:schemeClr val="bg1"/>
                </a:solidFill>
              </a:rPr>
            </a:br>
            <a:r>
              <a:rPr lang="en-GB" sz="7200" b="1" noProof="0" dirty="0">
                <a:solidFill>
                  <a:schemeClr val="bg1"/>
                </a:solidFill>
              </a:rPr>
              <a:t>Produce a ROM from CFD simulations</a:t>
            </a:r>
            <a:endParaRPr lang="en-GB" sz="7200" noProof="0" dirty="0">
              <a:solidFill>
                <a:schemeClr val="bg1"/>
              </a:solidFill>
            </a:endParaRPr>
          </a:p>
        </p:txBody>
      </p:sp>
    </p:spTree>
    <p:extLst>
      <p:ext uri="{BB962C8B-B14F-4D97-AF65-F5344CB8AC3E}">
        <p14:creationId xmlns:p14="http://schemas.microsoft.com/office/powerpoint/2010/main" val="34923767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6"/>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marL="0" marR="0" lvl="0" indent="0" algn="ctr" defTabSz="914400" rtl="0" eaLnBrk="1" fontAlgn="auto" latinLnBrk="0" hangingPunct="1">
                <a:lnSpc>
                  <a:spcPts val="3919"/>
                </a:lnSpc>
                <a:spcBef>
                  <a:spcPct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OCR A Extended" panose="02010509020102010303" pitchFamily="50" charset="0"/>
                  <a:ea typeface="+mn-ea"/>
                  <a:cs typeface="+mn-cs"/>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4"/>
          <a:srcRect/>
          <a:stretch>
            <a:fillRect/>
          </a:stretch>
        </p:blipFill>
        <p:spPr>
          <a:xfrm>
            <a:off x="0" y="8901113"/>
            <a:ext cx="5715000" cy="1385887"/>
          </a:xfrm>
          <a:prstGeom prst="rect">
            <a:avLst/>
          </a:prstGeom>
        </p:spPr>
      </p:pic>
      <p:grpSp>
        <p:nvGrpSpPr>
          <p:cNvPr id="3" name="Gruppo 2">
            <a:extLst>
              <a:ext uri="{FF2B5EF4-FFF2-40B4-BE49-F238E27FC236}">
                <a16:creationId xmlns:a16="http://schemas.microsoft.com/office/drawing/2014/main" id="{1C29CBCA-BE0A-4EF6-AC69-329941E1DCFD}"/>
              </a:ext>
            </a:extLst>
          </p:cNvPr>
          <p:cNvGrpSpPr/>
          <p:nvPr/>
        </p:nvGrpSpPr>
        <p:grpSpPr>
          <a:xfrm>
            <a:off x="-12" y="138554"/>
            <a:ext cx="18288002" cy="681138"/>
            <a:chOff x="-12" y="138554"/>
            <a:chExt cx="18288002" cy="681138"/>
          </a:xfrm>
        </p:grpSpPr>
        <p:grpSp>
          <p:nvGrpSpPr>
            <p:cNvPr id="16" name="Gruppo 15">
              <a:extLst>
                <a:ext uri="{FF2B5EF4-FFF2-40B4-BE49-F238E27FC236}">
                  <a16:creationId xmlns:a16="http://schemas.microsoft.com/office/drawing/2014/main" id="{DAC42A46-917D-41AB-8F07-E15E54D0F7D4}"/>
                </a:ext>
              </a:extLst>
            </p:cNvPr>
            <p:cNvGrpSpPr/>
            <p:nvPr/>
          </p:nvGrpSpPr>
          <p:grpSpPr>
            <a:xfrm>
              <a:off x="0" y="153125"/>
              <a:ext cx="13958844" cy="666567"/>
              <a:chOff x="0" y="153125"/>
              <a:chExt cx="13958844" cy="666567"/>
            </a:xfrm>
          </p:grpSpPr>
          <p:pic>
            <p:nvPicPr>
              <p:cNvPr id="10" name="Picture 10"/>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1" name="TextBox 11"/>
              <p:cNvSpPr txBox="1"/>
              <p:nvPr/>
            </p:nvSpPr>
            <p:spPr>
              <a:xfrm>
                <a:off x="228600" y="257980"/>
                <a:ext cx="9296400" cy="456856"/>
              </a:xfrm>
              <a:prstGeom prst="rect">
                <a:avLst/>
              </a:prstGeom>
            </p:spPr>
            <p:txBody>
              <a:bodyPr wrap="square" lIns="0" tIns="0" rIns="0" bIns="0" rtlCol="0" anchor="t">
                <a:spAutoFit/>
              </a:bodyPr>
              <a:lstStyle/>
              <a:p>
                <a:pPr marL="0" marR="0" lvl="0" indent="0" algn="l" defTabSz="914400" rtl="0" eaLnBrk="1" fontAlgn="auto" latinLnBrk="0" hangingPunct="1">
                  <a:lnSpc>
                    <a:spcPts val="3919"/>
                  </a:lnSpc>
                  <a:spcBef>
                    <a:spcPct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4" name="Rettangolo 13">
              <a:extLst>
                <a:ext uri="{FF2B5EF4-FFF2-40B4-BE49-F238E27FC236}">
                  <a16:creationId xmlns:a16="http://schemas.microsoft.com/office/drawing/2014/main" id="{55199736-B8B6-4C9A-8BAF-233E07A0CA89}"/>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3" name="TextBox 13"/>
          <p:cNvSpPr txBox="1"/>
          <p:nvPr/>
        </p:nvSpPr>
        <p:spPr>
          <a:xfrm>
            <a:off x="1905000" y="1010312"/>
            <a:ext cx="13563599" cy="1052468"/>
          </a:xfrm>
          <a:prstGeom prst="rect">
            <a:avLst/>
          </a:prstGeom>
        </p:spPr>
        <p:txBody>
          <a:bodyPr wrap="square" lIns="0" tIns="0" rIns="0" bIns="0" rtlCol="0" anchor="t">
            <a:spAutoFit/>
          </a:bodyPr>
          <a:lstStyle/>
          <a:p>
            <a:pPr marL="0" marR="0" lvl="0" indent="0" algn="ctr" defTabSz="914400" rtl="0" eaLnBrk="1" fontAlgn="auto" latinLnBrk="0" hangingPunct="1">
              <a:lnSpc>
                <a:spcPts val="8960"/>
              </a:lnSpc>
              <a:spcBef>
                <a:spcPct val="0"/>
              </a:spcBef>
              <a:spcAft>
                <a:spcPts val="0"/>
              </a:spcAft>
              <a:buClrTx/>
              <a:buSzTx/>
              <a:buFontTx/>
              <a:buNone/>
              <a:tabLst/>
              <a:defRPr/>
            </a:pPr>
            <a:r>
              <a:rPr kumimoji="0" lang="en-US" sz="6400" b="1" i="0" u="none" strike="noStrike" kern="1200" cap="none" spc="0" normalizeH="0" baseline="0" noProof="0">
                <a:ln>
                  <a:noFill/>
                </a:ln>
                <a:solidFill>
                  <a:srgbClr val="CC0033"/>
                </a:solidFill>
                <a:effectLst/>
                <a:uLnTx/>
                <a:uFillTx/>
                <a:latin typeface="Arial"/>
                <a:ea typeface="+mn-ea"/>
                <a:cs typeface="Arial" panose="020B0604020202020204" pitchFamily="34" charset="0"/>
              </a:rPr>
              <a:t>C. International Competition</a:t>
            </a:r>
          </a:p>
        </p:txBody>
      </p:sp>
      <p:sp>
        <p:nvSpPr>
          <p:cNvPr id="15" name="Wave 14">
            <a:extLst>
              <a:ext uri="{FF2B5EF4-FFF2-40B4-BE49-F238E27FC236}">
                <a16:creationId xmlns:a16="http://schemas.microsoft.com/office/drawing/2014/main" id="{BA01AF5E-0AF2-4E47-84A0-1B9B9DFDF6C8}"/>
              </a:ext>
            </a:extLst>
          </p:cNvPr>
          <p:cNvSpPr/>
          <p:nvPr/>
        </p:nvSpPr>
        <p:spPr>
          <a:xfrm>
            <a:off x="7629061" y="4890316"/>
            <a:ext cx="3029856" cy="1058363"/>
          </a:xfrm>
          <a:prstGeom prst="wave">
            <a:avLst>
              <a:gd name="adj1" fmla="val 7352"/>
              <a:gd name="adj2" fmla="val -113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400" b="1" i="0" u="none" strike="noStrike" kern="1200" cap="none" spc="0" normalizeH="0" baseline="0" noProof="0">
                <a:ln>
                  <a:noFill/>
                </a:ln>
                <a:solidFill>
                  <a:srgbClr val="FFFFFF"/>
                </a:solidFill>
                <a:effectLst/>
                <a:uLnTx/>
                <a:uFillTx/>
                <a:latin typeface="Arial"/>
                <a:ea typeface="+mn-ea"/>
                <a:cs typeface="+mn-cs"/>
              </a:rPr>
              <a:t>International market</a:t>
            </a:r>
          </a:p>
        </p:txBody>
      </p:sp>
      <p:sp>
        <p:nvSpPr>
          <p:cNvPr id="5" name="TextBox 4">
            <a:extLst>
              <a:ext uri="{FF2B5EF4-FFF2-40B4-BE49-F238E27FC236}">
                <a16:creationId xmlns:a16="http://schemas.microsoft.com/office/drawing/2014/main" id="{1AD04ADB-F755-4165-815C-C8E53AEBE407}"/>
              </a:ext>
            </a:extLst>
          </p:cNvPr>
          <p:cNvSpPr txBox="1"/>
          <p:nvPr/>
        </p:nvSpPr>
        <p:spPr>
          <a:xfrm>
            <a:off x="11545608" y="3138721"/>
            <a:ext cx="6490741" cy="5047536"/>
          </a:xfrm>
          <a:prstGeom prst="rect">
            <a:avLst/>
          </a:prstGeom>
          <a:noFill/>
        </p:spPr>
        <p:txBody>
          <a:bodyPr wrap="square" rtlCol="0">
            <a:spAutoFit/>
          </a:bodyPr>
          <a:lstStyle/>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GB" sz="2800" b="0" i="0" u="none" strike="noStrike" kern="1200" cap="none" spc="0" normalizeH="0" baseline="0" dirty="0">
                <a:ln>
                  <a:noFill/>
                </a:ln>
                <a:solidFill>
                  <a:srgbClr val="2F2F2F"/>
                </a:solidFill>
                <a:effectLst/>
                <a:uLnTx/>
                <a:uFillTx/>
                <a:latin typeface="Arial"/>
                <a:ea typeface="+mn-ea"/>
                <a:cs typeface="+mn-cs"/>
              </a:rPr>
              <a:t>Exports have an important focus</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GB" sz="2800" b="0" i="0" u="none" strike="noStrike" kern="1200" cap="none" spc="0" normalizeH="0" baseline="0" dirty="0">
                <a:ln>
                  <a:noFill/>
                </a:ln>
                <a:solidFill>
                  <a:srgbClr val="2F2F2F"/>
                </a:solidFill>
                <a:effectLst/>
                <a:uLnTx/>
                <a:uFillTx/>
                <a:latin typeface="Arial"/>
                <a:ea typeface="+mn-ea"/>
                <a:cs typeface="+mn-cs"/>
              </a:rPr>
              <a:t>Companies are more aggressive trying to reduce costs</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GB" sz="2800" b="0" i="0" u="none" strike="noStrike" kern="1200" cap="none" spc="0" normalizeH="0" baseline="0" dirty="0">
                <a:ln>
                  <a:noFill/>
                </a:ln>
                <a:solidFill>
                  <a:srgbClr val="2F2F2F"/>
                </a:solidFill>
                <a:effectLst/>
                <a:uLnTx/>
                <a:uFillTx/>
                <a:latin typeface="Arial"/>
                <a:ea typeface="+mn-ea"/>
                <a:cs typeface="+mn-cs"/>
              </a:rPr>
              <a:t>Lower cost help them compete in the international market. </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GB" sz="2800" b="0" i="0" u="none" strike="noStrike" kern="1200" cap="none" spc="0" normalizeH="0" baseline="0" dirty="0">
                <a:ln>
                  <a:noFill/>
                </a:ln>
                <a:solidFill>
                  <a:srgbClr val="2F2F2F"/>
                </a:solidFill>
                <a:effectLst/>
                <a:uLnTx/>
                <a:uFillTx/>
                <a:latin typeface="Arial"/>
                <a:ea typeface="+mn-ea"/>
                <a:cs typeface="+mn-cs"/>
              </a:rPr>
              <a:t>Reducing raw material cost is importan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sv-SE" sz="2800" b="0" i="0" u="none" strike="noStrike" kern="1200" cap="none" spc="0" normalizeH="0" baseline="0" noProof="0" dirty="0">
              <a:ln>
                <a:noFill/>
              </a:ln>
              <a:solidFill>
                <a:srgbClr val="2F2F2F"/>
              </a:solidFill>
              <a:effectLst/>
              <a:uLnTx/>
              <a:uFillTx/>
              <a:latin typeface="Arial"/>
              <a:ea typeface="+mn-ea"/>
              <a:cs typeface="+mn-cs"/>
            </a:endParaRPr>
          </a:p>
        </p:txBody>
      </p:sp>
      <p:sp>
        <p:nvSpPr>
          <p:cNvPr id="4" name="Left Brace 3">
            <a:extLst>
              <a:ext uri="{FF2B5EF4-FFF2-40B4-BE49-F238E27FC236}">
                <a16:creationId xmlns:a16="http://schemas.microsoft.com/office/drawing/2014/main" id="{CA482474-0A39-4322-B0E7-D75794927673}"/>
              </a:ext>
            </a:extLst>
          </p:cNvPr>
          <p:cNvSpPr/>
          <p:nvPr/>
        </p:nvSpPr>
        <p:spPr>
          <a:xfrm>
            <a:off x="10883153" y="3243577"/>
            <a:ext cx="662455" cy="4498244"/>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F2F2F"/>
              </a:solidFill>
              <a:effectLst/>
              <a:uLnTx/>
              <a:uFillTx/>
              <a:latin typeface="Arial"/>
              <a:ea typeface="+mn-ea"/>
              <a:cs typeface="+mn-cs"/>
            </a:endParaRPr>
          </a:p>
        </p:txBody>
      </p:sp>
      <p:sp>
        <p:nvSpPr>
          <p:cNvPr id="22" name="TextBox 21">
            <a:extLst>
              <a:ext uri="{FF2B5EF4-FFF2-40B4-BE49-F238E27FC236}">
                <a16:creationId xmlns:a16="http://schemas.microsoft.com/office/drawing/2014/main" id="{9990B677-EB0D-46F7-94CC-2281D437F6CA}"/>
              </a:ext>
            </a:extLst>
          </p:cNvPr>
          <p:cNvSpPr txBox="1"/>
          <p:nvPr/>
        </p:nvSpPr>
        <p:spPr>
          <a:xfrm>
            <a:off x="798258" y="3739544"/>
            <a:ext cx="5715000" cy="3108543"/>
          </a:xfrm>
          <a:prstGeom prst="rect">
            <a:avLst/>
          </a:prstGeom>
        </p:spPr>
        <p:style>
          <a:lnRef idx="2">
            <a:schemeClr val="accent1"/>
          </a:lnRef>
          <a:fillRef idx="1">
            <a:schemeClr val="lt1"/>
          </a:fillRef>
          <a:effectRef idx="0">
            <a:schemeClr val="accent1"/>
          </a:effectRef>
          <a:fontRef idx="minor">
            <a:schemeClr val="dk1"/>
          </a:fontRef>
        </p:style>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2F2F2F"/>
                </a:solidFill>
                <a:effectLst/>
                <a:uLnTx/>
                <a:uFillTx/>
                <a:latin typeface="Arial"/>
                <a:ea typeface="+mn-ea"/>
                <a:cs typeface="+mn-cs"/>
              </a:rPr>
              <a:t>Most of the industries are competing in the international market, not only domestic. Companies that are export-oriented tend to be more aggressive to reduce costs in order to be more competitive. </a:t>
            </a:r>
          </a:p>
        </p:txBody>
      </p:sp>
    </p:spTree>
    <p:extLst>
      <p:ext uri="{BB962C8B-B14F-4D97-AF65-F5344CB8AC3E}">
        <p14:creationId xmlns:p14="http://schemas.microsoft.com/office/powerpoint/2010/main" val="1089837968"/>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2">
            <a:extLst>
              <a:ext uri="{FF2B5EF4-FFF2-40B4-BE49-F238E27FC236}">
                <a16:creationId xmlns:a16="http://schemas.microsoft.com/office/drawing/2014/main" id="{F5FD142E-99B6-2AFA-DFA6-937F690451C2}"/>
              </a:ext>
            </a:extLst>
          </p:cNvPr>
          <p:cNvPicPr>
            <a:picLocks noChangeAspect="1"/>
          </p:cNvPicPr>
          <p:nvPr/>
        </p:nvPicPr>
        <p:blipFill>
          <a:blip r:embed="rId3"/>
          <a:srcRect/>
          <a:stretch>
            <a:fillRect/>
          </a:stretch>
        </p:blipFill>
        <p:spPr>
          <a:xfrm>
            <a:off x="0" y="8901113"/>
            <a:ext cx="5715000" cy="1385887"/>
          </a:xfrm>
          <a:prstGeom prst="rect">
            <a:avLst/>
          </a:prstGeom>
        </p:spPr>
      </p:pic>
      <p:grpSp>
        <p:nvGrpSpPr>
          <p:cNvPr id="6" name="Gruppo 16">
            <a:extLst>
              <a:ext uri="{FF2B5EF4-FFF2-40B4-BE49-F238E27FC236}">
                <a16:creationId xmlns:a16="http://schemas.microsoft.com/office/drawing/2014/main" id="{8A823F5F-D744-5C80-691C-D487C9CC1EFE}"/>
              </a:ext>
            </a:extLst>
          </p:cNvPr>
          <p:cNvGrpSpPr/>
          <p:nvPr/>
        </p:nvGrpSpPr>
        <p:grpSpPr>
          <a:xfrm>
            <a:off x="4389107" y="9679208"/>
            <a:ext cx="13958844" cy="666567"/>
            <a:chOff x="4329156" y="9649198"/>
            <a:chExt cx="13958844" cy="666567"/>
          </a:xfrm>
        </p:grpSpPr>
        <p:pic>
          <p:nvPicPr>
            <p:cNvPr id="7" name="Picture 12">
              <a:extLst>
                <a:ext uri="{FF2B5EF4-FFF2-40B4-BE49-F238E27FC236}">
                  <a16:creationId xmlns:a16="http://schemas.microsoft.com/office/drawing/2014/main" id="{802AC185-A217-AFF7-B09D-95A173CE7F25}"/>
                </a:ext>
              </a:extLst>
            </p:cNvPr>
            <p:cNvPicPr>
              <a:picLocks noChangeAspect="1"/>
            </p:cNvPicPr>
            <p:nvPr/>
          </p:nvPicPr>
          <p:blipFill>
            <a:blip r:embed="rId4"/>
            <a:srcRect l="134" t="91287" b="3943"/>
            <a:stretch>
              <a:fillRect/>
            </a:stretch>
          </p:blipFill>
          <p:spPr>
            <a:xfrm rot="-10800000">
              <a:off x="4329156" y="9649198"/>
              <a:ext cx="13958844" cy="666567"/>
            </a:xfrm>
            <a:prstGeom prst="rect">
              <a:avLst/>
            </a:prstGeom>
          </p:spPr>
        </p:pic>
        <p:sp>
          <p:nvSpPr>
            <p:cNvPr id="8" name="TextBox 16">
              <a:extLst>
                <a:ext uri="{FF2B5EF4-FFF2-40B4-BE49-F238E27FC236}">
                  <a16:creationId xmlns:a16="http://schemas.microsoft.com/office/drawing/2014/main" id="{9447E4F8-5784-6844-1BE2-BBFBECA87401}"/>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grpSp>
        <p:nvGrpSpPr>
          <p:cNvPr id="9" name="Gruppo 2">
            <a:extLst>
              <a:ext uri="{FF2B5EF4-FFF2-40B4-BE49-F238E27FC236}">
                <a16:creationId xmlns:a16="http://schemas.microsoft.com/office/drawing/2014/main" id="{B409B35D-65E3-DC5F-C9CC-B4C66AA04C5B}"/>
              </a:ext>
            </a:extLst>
          </p:cNvPr>
          <p:cNvGrpSpPr/>
          <p:nvPr/>
        </p:nvGrpSpPr>
        <p:grpSpPr>
          <a:xfrm>
            <a:off x="-12" y="138554"/>
            <a:ext cx="18288002" cy="681138"/>
            <a:chOff x="-12" y="138554"/>
            <a:chExt cx="18288002" cy="681138"/>
          </a:xfrm>
        </p:grpSpPr>
        <p:grpSp>
          <p:nvGrpSpPr>
            <p:cNvPr id="10" name="Gruppo 1">
              <a:extLst>
                <a:ext uri="{FF2B5EF4-FFF2-40B4-BE49-F238E27FC236}">
                  <a16:creationId xmlns:a16="http://schemas.microsoft.com/office/drawing/2014/main" id="{6909BEAD-53F3-76C4-AE79-A9B16A376F2F}"/>
                </a:ext>
              </a:extLst>
            </p:cNvPr>
            <p:cNvGrpSpPr/>
            <p:nvPr/>
          </p:nvGrpSpPr>
          <p:grpSpPr>
            <a:xfrm>
              <a:off x="0" y="153125"/>
              <a:ext cx="17907000" cy="666567"/>
              <a:chOff x="0" y="153125"/>
              <a:chExt cx="17907000" cy="666567"/>
            </a:xfrm>
          </p:grpSpPr>
          <p:pic>
            <p:nvPicPr>
              <p:cNvPr id="14" name="Picture 13">
                <a:extLst>
                  <a:ext uri="{FF2B5EF4-FFF2-40B4-BE49-F238E27FC236}">
                    <a16:creationId xmlns:a16="http://schemas.microsoft.com/office/drawing/2014/main" id="{66ABDD96-EBDF-B4BF-2B3C-F6C6EC801AE4}"/>
                  </a:ext>
                </a:extLst>
              </p:cNvPr>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3" name="TextBox 12">
                <a:extLst>
                  <a:ext uri="{FF2B5EF4-FFF2-40B4-BE49-F238E27FC236}">
                    <a16:creationId xmlns:a16="http://schemas.microsoft.com/office/drawing/2014/main" id="{F5434FFE-B09E-A2AB-7E67-7D323267A46E}"/>
                  </a:ext>
                </a:extLst>
              </p:cNvPr>
              <p:cNvSpPr txBox="1"/>
              <p:nvPr/>
            </p:nvSpPr>
            <p:spPr>
              <a:xfrm>
                <a:off x="12154296" y="257980"/>
                <a:ext cx="5752704" cy="456856"/>
              </a:xfrm>
              <a:prstGeom prst="rect">
                <a:avLst/>
              </a:prstGeom>
            </p:spPr>
            <p:txBody>
              <a:bodyPr wrap="square" lIns="0" tIns="0" rIns="0" bIns="0" rtlCol="0" anchor="t">
                <a:spAutoFit/>
              </a:bodyPr>
              <a:lstStyle/>
              <a:p>
                <a:pPr algn="r">
                  <a:lnSpc>
                    <a:spcPts val="3919"/>
                  </a:lnSpc>
                  <a:spcBef>
                    <a:spcPct val="0"/>
                  </a:spcBef>
                </a:pPr>
                <a:endParaRPr lang="en-US" sz="2800">
                  <a:solidFill>
                    <a:schemeClr val="tx1">
                      <a:lumMod val="75000"/>
                      <a:lumOff val="25000"/>
                    </a:schemeClr>
                  </a:solidFill>
                  <a:latin typeface="Arial" panose="020B0604020202020204" pitchFamily="34" charset="0"/>
                  <a:cs typeface="Arial" panose="020B0604020202020204" pitchFamily="34" charset="0"/>
                </a:endParaRPr>
              </a:p>
            </p:txBody>
          </p:sp>
        </p:grpSp>
        <p:sp>
          <p:nvSpPr>
            <p:cNvPr id="11" name="Rettangolo 13">
              <a:extLst>
                <a:ext uri="{FF2B5EF4-FFF2-40B4-BE49-F238E27FC236}">
                  <a16:creationId xmlns:a16="http://schemas.microsoft.com/office/drawing/2014/main" id="{4F9E059A-CE6D-F40D-F51D-60927C8AA418}"/>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4" name="TextBox 3">
            <a:extLst>
              <a:ext uri="{FF2B5EF4-FFF2-40B4-BE49-F238E27FC236}">
                <a16:creationId xmlns:a16="http://schemas.microsoft.com/office/drawing/2014/main" id="{90DCAD2D-2110-7A14-CD9C-02CCD990D117}"/>
              </a:ext>
            </a:extLst>
          </p:cNvPr>
          <p:cNvSpPr txBox="1"/>
          <p:nvPr/>
        </p:nvSpPr>
        <p:spPr>
          <a:xfrm>
            <a:off x="2779015" y="2402602"/>
            <a:ext cx="12685023" cy="2234458"/>
          </a:xfrm>
          <a:prstGeom prst="rect">
            <a:avLst/>
          </a:prstGeom>
          <a:noFill/>
        </p:spPr>
        <p:txBody>
          <a:bodyPr wrap="square">
            <a:spAutoFit/>
          </a:bodyPr>
          <a:lstStyle/>
          <a:p>
            <a:pPr marL="457200" indent="-457200">
              <a:spcBef>
                <a:spcPct val="20000"/>
              </a:spcBef>
              <a:buFont typeface="Arial" panose="020B0604020202020204" pitchFamily="34" charset="0"/>
              <a:buChar char="•"/>
            </a:pPr>
            <a:r>
              <a:rPr lang="en-US" sz="2400" b="0" i="0"/>
              <a:t>The ROM is built from the outputs of several CFD simulations.</a:t>
            </a:r>
          </a:p>
          <a:p>
            <a:pPr marL="457200" indent="-457200">
              <a:spcBef>
                <a:spcPct val="20000"/>
              </a:spcBef>
              <a:buFont typeface="Arial" panose="020B0604020202020204" pitchFamily="34" charset="0"/>
              <a:buChar char="•"/>
            </a:pPr>
            <a:endParaRPr lang="sv-SE" sz="2400" b="0" i="0"/>
          </a:p>
          <a:p>
            <a:pPr marL="457200" indent="-457200">
              <a:spcBef>
                <a:spcPct val="20000"/>
              </a:spcBef>
              <a:buFont typeface="Arial" panose="020B0604020202020204" pitchFamily="34" charset="0"/>
              <a:buChar char="•"/>
            </a:pPr>
            <a:r>
              <a:rPr lang="sv-SE" sz="2400"/>
              <a:t>9 experiments </a:t>
            </a:r>
            <a:r>
              <a:rPr lang="sv-SE" sz="2400" err="1"/>
              <a:t>were</a:t>
            </a:r>
            <a:r>
              <a:rPr lang="sv-SE" sz="2400"/>
              <a:t> </a:t>
            </a:r>
            <a:r>
              <a:rPr lang="sv-SE" sz="2400" err="1"/>
              <a:t>simulated</a:t>
            </a:r>
            <a:r>
              <a:rPr lang="sv-SE" sz="2400"/>
              <a:t> </a:t>
            </a:r>
            <a:r>
              <a:rPr lang="sv-SE" sz="2400" err="1"/>
              <a:t>using</a:t>
            </a:r>
            <a:r>
              <a:rPr lang="sv-SE" sz="2400"/>
              <a:t> the </a:t>
            </a:r>
            <a:r>
              <a:rPr lang="sv-SE" sz="2400" err="1"/>
              <a:t>built</a:t>
            </a:r>
            <a:r>
              <a:rPr lang="sv-SE" sz="2400"/>
              <a:t> CFD </a:t>
            </a:r>
            <a:r>
              <a:rPr lang="sv-SE" sz="2400" err="1"/>
              <a:t>model</a:t>
            </a:r>
            <a:r>
              <a:rPr lang="sv-SE" sz="2400"/>
              <a:t> to </a:t>
            </a:r>
            <a:r>
              <a:rPr lang="sv-SE" sz="2400" err="1"/>
              <a:t>create</a:t>
            </a:r>
            <a:r>
              <a:rPr lang="sv-SE" sz="2400"/>
              <a:t> the ROM.</a:t>
            </a:r>
          </a:p>
          <a:p>
            <a:pPr>
              <a:spcBef>
                <a:spcPct val="20000"/>
              </a:spcBef>
            </a:pPr>
            <a:endParaRPr lang="sv-SE" sz="2400"/>
          </a:p>
          <a:p>
            <a:pPr marL="457200" indent="-457200">
              <a:spcBef>
                <a:spcPct val="20000"/>
              </a:spcBef>
              <a:buFont typeface="Arial" panose="020B0604020202020204" pitchFamily="34" charset="0"/>
              <a:buChar char="•"/>
            </a:pPr>
            <a:r>
              <a:rPr lang="sv-SE" sz="2400"/>
              <a:t>The </a:t>
            </a:r>
            <a:r>
              <a:rPr lang="sv-SE" sz="2400" err="1"/>
              <a:t>cases</a:t>
            </a:r>
            <a:r>
              <a:rPr lang="sv-SE" sz="2400"/>
              <a:t> </a:t>
            </a:r>
            <a:r>
              <a:rPr lang="sv-SE" sz="2400" err="1"/>
              <a:t>were</a:t>
            </a:r>
            <a:r>
              <a:rPr lang="sv-SE" sz="2400"/>
              <a:t> </a:t>
            </a:r>
            <a:r>
              <a:rPr lang="sv-SE" sz="2400" err="1"/>
              <a:t>selected</a:t>
            </a:r>
            <a:r>
              <a:rPr lang="sv-SE" sz="2400"/>
              <a:t> from real </a:t>
            </a:r>
            <a:r>
              <a:rPr lang="sv-SE" sz="2400" err="1"/>
              <a:t>operational</a:t>
            </a:r>
            <a:r>
              <a:rPr lang="sv-SE" sz="2400"/>
              <a:t> </a:t>
            </a:r>
            <a:r>
              <a:rPr lang="sv-SE" sz="2400" err="1"/>
              <a:t>values</a:t>
            </a:r>
            <a:r>
              <a:rPr lang="sv-SE" sz="2400"/>
              <a:t> </a:t>
            </a:r>
            <a:r>
              <a:rPr lang="sv-SE" sz="2400" err="1"/>
              <a:t>used</a:t>
            </a:r>
            <a:r>
              <a:rPr lang="sv-SE" sz="2400"/>
              <a:t> in </a:t>
            </a:r>
            <a:r>
              <a:rPr lang="sv-SE" sz="2400" err="1"/>
              <a:t>Fertiberia</a:t>
            </a:r>
            <a:r>
              <a:rPr lang="sv-SE" sz="2400"/>
              <a:t> demosite.</a:t>
            </a:r>
          </a:p>
        </p:txBody>
      </p:sp>
      <p:grpSp>
        <p:nvGrpSpPr>
          <p:cNvPr id="18" name="Group 17">
            <a:extLst>
              <a:ext uri="{FF2B5EF4-FFF2-40B4-BE49-F238E27FC236}">
                <a16:creationId xmlns:a16="http://schemas.microsoft.com/office/drawing/2014/main" id="{FAC0AA6C-479E-CD55-936E-8F4D88803651}"/>
              </a:ext>
            </a:extLst>
          </p:cNvPr>
          <p:cNvGrpSpPr/>
          <p:nvPr/>
        </p:nvGrpSpPr>
        <p:grpSpPr>
          <a:xfrm>
            <a:off x="1353863" y="1104235"/>
            <a:ext cx="16342273" cy="1077218"/>
            <a:chOff x="994751" y="1087869"/>
            <a:chExt cx="16342273" cy="1077218"/>
          </a:xfrm>
        </p:grpSpPr>
        <p:sp>
          <p:nvSpPr>
            <p:cNvPr id="22" name="TextBox 21">
              <a:extLst>
                <a:ext uri="{FF2B5EF4-FFF2-40B4-BE49-F238E27FC236}">
                  <a16:creationId xmlns:a16="http://schemas.microsoft.com/office/drawing/2014/main" id="{5832EDBE-A446-954A-CEBD-2F1A33A02C5F}"/>
                </a:ext>
              </a:extLst>
            </p:cNvPr>
            <p:cNvSpPr txBox="1"/>
            <p:nvPr/>
          </p:nvSpPr>
          <p:spPr>
            <a:xfrm>
              <a:off x="994751" y="1087869"/>
              <a:ext cx="16342273" cy="1077218"/>
            </a:xfrm>
            <a:prstGeom prst="rect">
              <a:avLst/>
            </a:prstGeom>
            <a:noFill/>
          </p:spPr>
          <p:txBody>
            <a:bodyPr wrap="square">
              <a:spAutoFit/>
            </a:bodyPr>
            <a:lstStyle/>
            <a:p>
              <a:pPr algn="ctr"/>
              <a:r>
                <a:rPr lang="sv-SE" sz="6400" b="1">
                  <a:solidFill>
                    <a:srgbClr val="CC0033"/>
                  </a:solidFill>
                  <a:latin typeface="+mj-lt"/>
                  <a:cs typeface="Arial" panose="020B0604020202020204" pitchFamily="34" charset="0"/>
                </a:rPr>
                <a:t>- Creating the </a:t>
              </a:r>
              <a:r>
                <a:rPr lang="sv-SE" sz="6400" b="1" err="1">
                  <a:solidFill>
                    <a:srgbClr val="CC0033"/>
                  </a:solidFill>
                  <a:latin typeface="+mj-lt"/>
                  <a:cs typeface="Arial" panose="020B0604020202020204" pitchFamily="34" charset="0"/>
                </a:rPr>
                <a:t>Fertiberia</a:t>
              </a:r>
              <a:r>
                <a:rPr lang="sv-SE" sz="6400" b="1">
                  <a:solidFill>
                    <a:srgbClr val="CC0033"/>
                  </a:solidFill>
                  <a:latin typeface="+mj-lt"/>
                  <a:cs typeface="Arial" panose="020B0604020202020204" pitchFamily="34" charset="0"/>
                </a:rPr>
                <a:t> ROM</a:t>
              </a:r>
            </a:p>
          </p:txBody>
        </p:sp>
        <p:pic>
          <p:nvPicPr>
            <p:cNvPr id="16" name="Picture 8" descr="RETROFEED FERTIBERIA">
              <a:extLst>
                <a:ext uri="{FF2B5EF4-FFF2-40B4-BE49-F238E27FC236}">
                  <a16:creationId xmlns:a16="http://schemas.microsoft.com/office/drawing/2014/main" id="{86E7F6A4-FD10-5544-A6F1-9A0287A687E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94751" y="1127912"/>
              <a:ext cx="2287452" cy="84178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 name="Group 2">
            <a:extLst>
              <a:ext uri="{FF2B5EF4-FFF2-40B4-BE49-F238E27FC236}">
                <a16:creationId xmlns:a16="http://schemas.microsoft.com/office/drawing/2014/main" id="{4A4AD86C-FF53-1375-5A5D-385932D710D1}"/>
              </a:ext>
            </a:extLst>
          </p:cNvPr>
          <p:cNvGrpSpPr/>
          <p:nvPr/>
        </p:nvGrpSpPr>
        <p:grpSpPr>
          <a:xfrm>
            <a:off x="2873487" y="5199011"/>
            <a:ext cx="5754762" cy="3506709"/>
            <a:chOff x="2497589" y="5623419"/>
            <a:chExt cx="5754762" cy="3506709"/>
          </a:xfrm>
        </p:grpSpPr>
        <p:grpSp>
          <p:nvGrpSpPr>
            <p:cNvPr id="19" name="Group 18">
              <a:extLst>
                <a:ext uri="{FF2B5EF4-FFF2-40B4-BE49-F238E27FC236}">
                  <a16:creationId xmlns:a16="http://schemas.microsoft.com/office/drawing/2014/main" id="{CEF87217-EBE9-282E-CD7B-618403454D17}"/>
                </a:ext>
              </a:extLst>
            </p:cNvPr>
            <p:cNvGrpSpPr/>
            <p:nvPr/>
          </p:nvGrpSpPr>
          <p:grpSpPr>
            <a:xfrm>
              <a:off x="2497589" y="5623419"/>
              <a:ext cx="5754762" cy="3134459"/>
              <a:chOff x="5355" y="0"/>
              <a:chExt cx="6443044" cy="3427682"/>
            </a:xfrm>
          </p:grpSpPr>
          <p:sp>
            <p:nvSpPr>
              <p:cNvPr id="20" name="Rectangle: Top Corners Rounded 19">
                <a:extLst>
                  <a:ext uri="{FF2B5EF4-FFF2-40B4-BE49-F238E27FC236}">
                    <a16:creationId xmlns:a16="http://schemas.microsoft.com/office/drawing/2014/main" id="{FB6EAE8B-9075-1994-5280-8DFEA262ADA9}"/>
                  </a:ext>
                </a:extLst>
              </p:cNvPr>
              <p:cNvSpPr/>
              <p:nvPr/>
            </p:nvSpPr>
            <p:spPr>
              <a:xfrm>
                <a:off x="5355" y="0"/>
                <a:ext cx="6443044" cy="3427682"/>
              </a:xfrm>
              <a:prstGeom prst="round2SameRect">
                <a:avLst>
                  <a:gd name="adj1" fmla="val 8000"/>
                  <a:gd name="adj2" fmla="val 0"/>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21" name="Rectangle: Top Corners Rounded 4">
                <a:extLst>
                  <a:ext uri="{FF2B5EF4-FFF2-40B4-BE49-F238E27FC236}">
                    <a16:creationId xmlns:a16="http://schemas.microsoft.com/office/drawing/2014/main" id="{35E9E88C-6690-39DB-5C6D-ACB318B72215}"/>
                  </a:ext>
                </a:extLst>
              </p:cNvPr>
              <p:cNvSpPr txBox="1"/>
              <p:nvPr/>
            </p:nvSpPr>
            <p:spPr>
              <a:xfrm>
                <a:off x="85670" y="80315"/>
                <a:ext cx="6282415" cy="3347367"/>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7940" tIns="83820" rIns="27940" bIns="27940" numCol="1" spcCol="1270" anchor="t" anchorCtr="0">
                <a:noAutofit/>
              </a:bodyPr>
              <a:lstStyle/>
              <a:p>
                <a:pPr marL="457200" lvl="0" indent="-457200">
                  <a:lnSpc>
                    <a:spcPct val="150000"/>
                  </a:lnSpc>
                  <a:buFont typeface="Arial" panose="020B0604020202020204" pitchFamily="34" charset="0"/>
                  <a:buChar char="•"/>
                </a:pPr>
                <a:r>
                  <a:rPr lang="sv-SE" sz="2800" err="1"/>
                  <a:t>Reactants</a:t>
                </a:r>
                <a:r>
                  <a:rPr lang="sv-SE" sz="2800"/>
                  <a:t> [kg/s]</a:t>
                </a:r>
              </a:p>
              <a:p>
                <a:pPr marL="914400" lvl="1" indent="-457200">
                  <a:lnSpc>
                    <a:spcPct val="100000"/>
                  </a:lnSpc>
                  <a:buFont typeface="Arial" panose="020B0604020202020204" pitchFamily="34" charset="0"/>
                  <a:buChar char="•"/>
                </a:pPr>
                <a:r>
                  <a:rPr lang="sv-SE" sz="2800" err="1"/>
                  <a:t>Ammonia</a:t>
                </a:r>
                <a:endParaRPr lang="sv-SE" sz="2800"/>
              </a:p>
              <a:p>
                <a:pPr marL="914400" lvl="1" indent="-457200">
                  <a:lnSpc>
                    <a:spcPct val="100000"/>
                  </a:lnSpc>
                  <a:buFont typeface="Arial" panose="020B0604020202020204" pitchFamily="34" charset="0"/>
                  <a:buChar char="•"/>
                </a:pPr>
                <a:r>
                  <a:rPr lang="sv-SE" sz="2800" err="1"/>
                  <a:t>Sulfuric</a:t>
                </a:r>
                <a:r>
                  <a:rPr lang="sv-SE" sz="2800"/>
                  <a:t> </a:t>
                </a:r>
                <a:r>
                  <a:rPr lang="sv-SE" sz="2800" err="1"/>
                  <a:t>acid</a:t>
                </a:r>
                <a:endParaRPr lang="sv-SE" sz="2800"/>
              </a:p>
              <a:p>
                <a:pPr marL="914400" lvl="1" indent="-457200">
                  <a:lnSpc>
                    <a:spcPct val="100000"/>
                  </a:lnSpc>
                  <a:buFont typeface="Arial" panose="020B0604020202020204" pitchFamily="34" charset="0"/>
                  <a:buChar char="•"/>
                </a:pPr>
                <a:r>
                  <a:rPr lang="sv-SE" sz="2800" err="1"/>
                  <a:t>Phosphoric</a:t>
                </a:r>
                <a:r>
                  <a:rPr lang="sv-SE" sz="2800"/>
                  <a:t> </a:t>
                </a:r>
                <a:r>
                  <a:rPr lang="sv-SE" sz="2800" err="1"/>
                  <a:t>acid</a:t>
                </a:r>
                <a:endParaRPr lang="sv-SE" sz="2800"/>
              </a:p>
              <a:p>
                <a:pPr marL="457200" lvl="0" indent="-457200">
                  <a:lnSpc>
                    <a:spcPct val="150000"/>
                  </a:lnSpc>
                  <a:buFont typeface="Arial" panose="020B0604020202020204" pitchFamily="34" charset="0"/>
                  <a:buChar char="•"/>
                </a:pPr>
                <a:r>
                  <a:rPr lang="sv-SE" sz="2800" err="1"/>
                  <a:t>Temperature</a:t>
                </a:r>
                <a:r>
                  <a:rPr lang="sv-SE" sz="2800"/>
                  <a:t> </a:t>
                </a:r>
                <a:r>
                  <a:rPr lang="sv-SE" sz="2800" err="1"/>
                  <a:t>of</a:t>
                </a:r>
                <a:r>
                  <a:rPr lang="sv-SE" sz="2800"/>
                  <a:t> </a:t>
                </a:r>
                <a:r>
                  <a:rPr lang="sv-SE" sz="2800" err="1"/>
                  <a:t>reactants</a:t>
                </a:r>
                <a:r>
                  <a:rPr lang="sv-SE" sz="2800"/>
                  <a:t> [°C</a:t>
                </a:r>
                <a:r>
                  <a:rPr lang="sv-SE" sz="2400"/>
                  <a:t>]</a:t>
                </a:r>
                <a:endParaRPr lang="sv-SE" sz="2800"/>
              </a:p>
              <a:p>
                <a:pPr marL="0" lvl="1" algn="l" defTabSz="977900">
                  <a:lnSpc>
                    <a:spcPct val="150000"/>
                  </a:lnSpc>
                  <a:spcBef>
                    <a:spcPct val="0"/>
                  </a:spcBef>
                  <a:spcAft>
                    <a:spcPct val="15000"/>
                  </a:spcAft>
                </a:pPr>
                <a:endParaRPr lang="sv-SE" sz="2200" kern="1200"/>
              </a:p>
            </p:txBody>
          </p:sp>
        </p:grpSp>
        <p:sp>
          <p:nvSpPr>
            <p:cNvPr id="26" name="TextBox 13">
              <a:extLst>
                <a:ext uri="{FF2B5EF4-FFF2-40B4-BE49-F238E27FC236}">
                  <a16:creationId xmlns:a16="http://schemas.microsoft.com/office/drawing/2014/main" id="{84E5E4F1-4664-1C88-5101-608007FF6E2C}"/>
                </a:ext>
              </a:extLst>
            </p:cNvPr>
            <p:cNvSpPr txBox="1"/>
            <p:nvPr/>
          </p:nvSpPr>
          <p:spPr>
            <a:xfrm>
              <a:off x="3618910" y="8453020"/>
              <a:ext cx="3512118" cy="677108"/>
            </a:xfrm>
            <a:prstGeom prst="rect">
              <a:avLst/>
            </a:prstGeom>
            <a:solidFill>
              <a:srgbClr val="CC0033"/>
            </a:solidFill>
            <a:ln>
              <a:solidFill>
                <a:srgbClr val="CC0033"/>
              </a:solidFill>
            </a:ln>
          </p:spPr>
          <p:style>
            <a:lnRef idx="2">
              <a:schemeClr val="accent6">
                <a:shade val="50000"/>
              </a:schemeClr>
            </a:lnRef>
            <a:fillRef idx="1">
              <a:schemeClr val="accent6"/>
            </a:fillRef>
            <a:effectRef idx="0">
              <a:schemeClr val="accent6"/>
            </a:effectRef>
            <a:fontRef idx="minor">
              <a:schemeClr val="lt1"/>
            </a:fontRef>
          </p:style>
          <p:txBody>
            <a:bodyPr wrap="square" lIns="0" tIns="0" rIns="0" bIns="0" rtlCol="0" anchor="t">
              <a:spAutoFit/>
            </a:bodyPr>
            <a:lstStyle/>
            <a:p>
              <a:pPr algn="ctr">
                <a:spcBef>
                  <a:spcPct val="0"/>
                </a:spcBef>
              </a:pPr>
              <a:r>
                <a:rPr lang="en-US" sz="4400" b="1">
                  <a:solidFill>
                    <a:schemeClr val="bg1"/>
                  </a:solidFill>
                  <a:latin typeface="+mj-lt"/>
                  <a:cs typeface="Arial" panose="020B0604020202020204" pitchFamily="34" charset="0"/>
                </a:rPr>
                <a:t>Input to ROM</a:t>
              </a:r>
            </a:p>
          </p:txBody>
        </p:sp>
      </p:grpSp>
      <p:grpSp>
        <p:nvGrpSpPr>
          <p:cNvPr id="5" name="Group 4">
            <a:extLst>
              <a:ext uri="{FF2B5EF4-FFF2-40B4-BE49-F238E27FC236}">
                <a16:creationId xmlns:a16="http://schemas.microsoft.com/office/drawing/2014/main" id="{D86A3B2F-F077-36B2-8B43-B0F14A86BC25}"/>
              </a:ext>
            </a:extLst>
          </p:cNvPr>
          <p:cNvGrpSpPr/>
          <p:nvPr/>
        </p:nvGrpSpPr>
        <p:grpSpPr>
          <a:xfrm>
            <a:off x="9143989" y="5199011"/>
            <a:ext cx="5754762" cy="3506709"/>
            <a:chOff x="8808763" y="5623419"/>
            <a:chExt cx="5754762" cy="3506709"/>
          </a:xfrm>
        </p:grpSpPr>
        <p:grpSp>
          <p:nvGrpSpPr>
            <p:cNvPr id="23" name="Group 22">
              <a:extLst>
                <a:ext uri="{FF2B5EF4-FFF2-40B4-BE49-F238E27FC236}">
                  <a16:creationId xmlns:a16="http://schemas.microsoft.com/office/drawing/2014/main" id="{79A6ABAB-0FB0-AB79-E734-75832A99A799}"/>
                </a:ext>
              </a:extLst>
            </p:cNvPr>
            <p:cNvGrpSpPr/>
            <p:nvPr/>
          </p:nvGrpSpPr>
          <p:grpSpPr>
            <a:xfrm>
              <a:off x="8808763" y="5623419"/>
              <a:ext cx="5754762" cy="3134459"/>
              <a:chOff x="5355" y="0"/>
              <a:chExt cx="6443044" cy="3427682"/>
            </a:xfrm>
          </p:grpSpPr>
          <p:sp>
            <p:nvSpPr>
              <p:cNvPr id="24" name="Rectangle: Top Corners Rounded 23">
                <a:extLst>
                  <a:ext uri="{FF2B5EF4-FFF2-40B4-BE49-F238E27FC236}">
                    <a16:creationId xmlns:a16="http://schemas.microsoft.com/office/drawing/2014/main" id="{D4C13D21-09DE-EF71-27B2-5F91EF2B9CAF}"/>
                  </a:ext>
                </a:extLst>
              </p:cNvPr>
              <p:cNvSpPr/>
              <p:nvPr/>
            </p:nvSpPr>
            <p:spPr>
              <a:xfrm>
                <a:off x="5355" y="0"/>
                <a:ext cx="6443044" cy="3427682"/>
              </a:xfrm>
              <a:prstGeom prst="round2SameRect">
                <a:avLst>
                  <a:gd name="adj1" fmla="val 8000"/>
                  <a:gd name="adj2" fmla="val 0"/>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25" name="Rectangle: Top Corners Rounded 4">
                <a:extLst>
                  <a:ext uri="{FF2B5EF4-FFF2-40B4-BE49-F238E27FC236}">
                    <a16:creationId xmlns:a16="http://schemas.microsoft.com/office/drawing/2014/main" id="{61B653C2-D775-89B3-32A9-012C0E0630C0}"/>
                  </a:ext>
                </a:extLst>
              </p:cNvPr>
              <p:cNvSpPr txBox="1"/>
              <p:nvPr/>
            </p:nvSpPr>
            <p:spPr>
              <a:xfrm>
                <a:off x="85670" y="80315"/>
                <a:ext cx="6282414" cy="3347367"/>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7940" tIns="83820" rIns="27940" bIns="27940" numCol="1" spcCol="1270" anchor="t" anchorCtr="0">
                <a:noAutofit/>
              </a:bodyPr>
              <a:lstStyle/>
              <a:p>
                <a:pPr marL="457200" lvl="0" indent="-457200">
                  <a:lnSpc>
                    <a:spcPct val="150000"/>
                  </a:lnSpc>
                  <a:spcAft>
                    <a:spcPts val="0"/>
                  </a:spcAft>
                  <a:buFont typeface="Arial" panose="020B0604020202020204" pitchFamily="34" charset="0"/>
                  <a:buChar char="•"/>
                </a:pPr>
                <a:r>
                  <a:rPr lang="sv-SE" sz="2800" err="1"/>
                  <a:t>Temperature</a:t>
                </a:r>
                <a:r>
                  <a:rPr lang="sv-SE" sz="2800"/>
                  <a:t> at outlet [</a:t>
                </a:r>
                <a:r>
                  <a:rPr lang="sv-SE" sz="2800">
                    <a:latin typeface="Arial" panose="020B0604020202020204" pitchFamily="34" charset="0"/>
                    <a:cs typeface="Arial" panose="020B0604020202020204" pitchFamily="34" charset="0"/>
                  </a:rPr>
                  <a:t>°</a:t>
                </a:r>
                <a:r>
                  <a:rPr lang="sv-SE" sz="2800"/>
                  <a:t>C]</a:t>
                </a:r>
              </a:p>
              <a:p>
                <a:pPr marL="457200" lvl="0" indent="-457200">
                  <a:lnSpc>
                    <a:spcPct val="150000"/>
                  </a:lnSpc>
                  <a:spcAft>
                    <a:spcPts val="0"/>
                  </a:spcAft>
                  <a:buFont typeface="Arial" panose="020B0604020202020204" pitchFamily="34" charset="0"/>
                  <a:buChar char="•"/>
                </a:pPr>
                <a:r>
                  <a:rPr lang="sv-SE" sz="2800"/>
                  <a:t>pH at outlet</a:t>
                </a:r>
              </a:p>
              <a:p>
                <a:pPr marL="0" lvl="1" algn="l" defTabSz="977900">
                  <a:lnSpc>
                    <a:spcPct val="150000"/>
                  </a:lnSpc>
                  <a:spcBef>
                    <a:spcPct val="0"/>
                  </a:spcBef>
                  <a:spcAft>
                    <a:spcPct val="15000"/>
                  </a:spcAft>
                </a:pPr>
                <a:endParaRPr lang="sv-SE" sz="2200" kern="1200"/>
              </a:p>
            </p:txBody>
          </p:sp>
        </p:grpSp>
        <p:sp>
          <p:nvSpPr>
            <p:cNvPr id="27" name="TextBox 13">
              <a:extLst>
                <a:ext uri="{FF2B5EF4-FFF2-40B4-BE49-F238E27FC236}">
                  <a16:creationId xmlns:a16="http://schemas.microsoft.com/office/drawing/2014/main" id="{C61F977F-E73E-E8B7-FBFC-F9E96E1A25A8}"/>
                </a:ext>
              </a:extLst>
            </p:cNvPr>
            <p:cNvSpPr txBox="1"/>
            <p:nvPr/>
          </p:nvSpPr>
          <p:spPr>
            <a:xfrm>
              <a:off x="9304320" y="8453020"/>
              <a:ext cx="4763645" cy="677108"/>
            </a:xfrm>
            <a:prstGeom prst="rect">
              <a:avLst/>
            </a:prstGeom>
            <a:solidFill>
              <a:srgbClr val="CC0033"/>
            </a:solidFill>
            <a:ln>
              <a:solidFill>
                <a:srgbClr val="CC0033"/>
              </a:solidFill>
            </a:ln>
          </p:spPr>
          <p:style>
            <a:lnRef idx="2">
              <a:schemeClr val="accent6">
                <a:shade val="50000"/>
              </a:schemeClr>
            </a:lnRef>
            <a:fillRef idx="1">
              <a:schemeClr val="accent6"/>
            </a:fillRef>
            <a:effectRef idx="0">
              <a:schemeClr val="accent6"/>
            </a:effectRef>
            <a:fontRef idx="minor">
              <a:schemeClr val="lt1"/>
            </a:fontRef>
          </p:style>
          <p:txBody>
            <a:bodyPr wrap="square" lIns="0" tIns="0" rIns="0" bIns="0" rtlCol="0" anchor="t">
              <a:spAutoFit/>
            </a:bodyPr>
            <a:lstStyle/>
            <a:p>
              <a:pPr algn="ctr">
                <a:spcBef>
                  <a:spcPct val="0"/>
                </a:spcBef>
              </a:pPr>
              <a:r>
                <a:rPr lang="en-US" sz="4400" b="1">
                  <a:solidFill>
                    <a:schemeClr val="bg1"/>
                  </a:solidFill>
                  <a:latin typeface="+mj-lt"/>
                  <a:cs typeface="Arial" panose="020B0604020202020204" pitchFamily="34" charset="0"/>
                </a:rPr>
                <a:t>Output from ROM</a:t>
              </a:r>
            </a:p>
          </p:txBody>
        </p:sp>
      </p:grpSp>
    </p:spTree>
    <p:extLst>
      <p:ext uri="{BB962C8B-B14F-4D97-AF65-F5344CB8AC3E}">
        <p14:creationId xmlns:p14="http://schemas.microsoft.com/office/powerpoint/2010/main" val="705268239"/>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AB5E6DE-76DB-3B57-2713-47AEF1CBC765}"/>
              </a:ext>
            </a:extLst>
          </p:cNvPr>
          <p:cNvPicPr>
            <a:picLocks noChangeAspect="1"/>
          </p:cNvPicPr>
          <p:nvPr/>
        </p:nvPicPr>
        <p:blipFill>
          <a:blip r:embed="rId3"/>
          <a:stretch>
            <a:fillRect/>
          </a:stretch>
        </p:blipFill>
        <p:spPr>
          <a:xfrm>
            <a:off x="228600" y="3421505"/>
            <a:ext cx="10744200" cy="6581680"/>
          </a:xfrm>
          <a:prstGeom prst="rect">
            <a:avLst/>
          </a:prstGeom>
        </p:spPr>
      </p:pic>
      <p:pic>
        <p:nvPicPr>
          <p:cNvPr id="12" name="Picture 8" descr="RETROFEED FERTIBERIA">
            <a:extLst>
              <a:ext uri="{FF2B5EF4-FFF2-40B4-BE49-F238E27FC236}">
                <a16:creationId xmlns:a16="http://schemas.microsoft.com/office/drawing/2014/main" id="{931EA9E4-E7C2-7B15-2838-8700B0619C2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51885" y="924001"/>
            <a:ext cx="2287452" cy="841782"/>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6"/>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5"/>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6"/>
          <a:srcRect/>
          <a:stretch>
            <a:fillRect/>
          </a:stretch>
        </p:blipFill>
        <p:spPr>
          <a:xfrm>
            <a:off x="0" y="9499590"/>
            <a:ext cx="3247053" cy="787410"/>
          </a:xfrm>
          <a:prstGeom prst="rect">
            <a:avLst/>
          </a:prstGeom>
        </p:spPr>
      </p:pic>
      <p:grpSp>
        <p:nvGrpSpPr>
          <p:cNvPr id="3" name="Gruppo 2">
            <a:extLst>
              <a:ext uri="{FF2B5EF4-FFF2-40B4-BE49-F238E27FC236}">
                <a16:creationId xmlns:a16="http://schemas.microsoft.com/office/drawing/2014/main" id="{D0B44AFC-EABA-48CF-A7A8-348076F88921}"/>
              </a:ext>
            </a:extLst>
          </p:cNvPr>
          <p:cNvGrpSpPr/>
          <p:nvPr/>
        </p:nvGrpSpPr>
        <p:grpSpPr>
          <a:xfrm>
            <a:off x="-12" y="138554"/>
            <a:ext cx="18288002" cy="681138"/>
            <a:chOff x="-12" y="138554"/>
            <a:chExt cx="18288002" cy="681138"/>
          </a:xfrm>
        </p:grpSpPr>
        <p:pic>
          <p:nvPicPr>
            <p:cNvPr id="10" name="Picture 10"/>
            <p:cNvPicPr>
              <a:picLocks noChangeAspect="1"/>
            </p:cNvPicPr>
            <p:nvPr/>
          </p:nvPicPr>
          <p:blipFill>
            <a:blip r:embed="rId7"/>
            <a:srcRect l="134" t="91287" b="3943"/>
            <a:stretch>
              <a:fillRect/>
            </a:stretch>
          </p:blipFill>
          <p:spPr>
            <a:xfrm>
              <a:off x="0" y="153125"/>
              <a:ext cx="13958844" cy="666567"/>
            </a:xfrm>
            <a:prstGeom prst="rect">
              <a:avLst/>
            </a:prstGeom>
          </p:spPr>
        </p:pic>
        <p:sp>
          <p:nvSpPr>
            <p:cNvPr id="15" name="Rettangolo 14">
              <a:extLst>
                <a:ext uri="{FF2B5EF4-FFF2-40B4-BE49-F238E27FC236}">
                  <a16:creationId xmlns:a16="http://schemas.microsoft.com/office/drawing/2014/main" id="{AFFDA913-633F-49C2-9D71-573FB327981F}"/>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7" name="TextBox 13">
            <a:extLst>
              <a:ext uri="{FF2B5EF4-FFF2-40B4-BE49-F238E27FC236}">
                <a16:creationId xmlns:a16="http://schemas.microsoft.com/office/drawing/2014/main" id="{C7197FAA-9C82-4C25-B208-2BF8170DA3D1}"/>
              </a:ext>
            </a:extLst>
          </p:cNvPr>
          <p:cNvSpPr txBox="1"/>
          <p:nvPr/>
        </p:nvSpPr>
        <p:spPr>
          <a:xfrm>
            <a:off x="3247053" y="871996"/>
            <a:ext cx="15725360" cy="1052468"/>
          </a:xfrm>
          <a:prstGeom prst="rect">
            <a:avLst/>
          </a:prstGeom>
        </p:spPr>
        <p:txBody>
          <a:bodyPr wrap="square" lIns="0" tIns="0" rIns="0" bIns="0" rtlCol="0" anchor="t">
            <a:spAutoFit/>
          </a:bodyPr>
          <a:lstStyle/>
          <a:p>
            <a:pPr algn="ctr">
              <a:lnSpc>
                <a:spcPts val="8960"/>
              </a:lnSpc>
              <a:spcBef>
                <a:spcPct val="0"/>
              </a:spcBef>
            </a:pPr>
            <a:r>
              <a:rPr lang="en-US" sz="6400" b="1">
                <a:solidFill>
                  <a:srgbClr val="CC0033"/>
                </a:solidFill>
                <a:latin typeface="+mj-lt"/>
                <a:cs typeface="Arial" panose="020B0604020202020204" pitchFamily="34" charset="0"/>
              </a:rPr>
              <a:t>Evaluation of ROM - Quality</a:t>
            </a:r>
          </a:p>
        </p:txBody>
      </p:sp>
      <p:sp>
        <p:nvSpPr>
          <p:cNvPr id="23" name="TextBox 22">
            <a:extLst>
              <a:ext uri="{FF2B5EF4-FFF2-40B4-BE49-F238E27FC236}">
                <a16:creationId xmlns:a16="http://schemas.microsoft.com/office/drawing/2014/main" id="{3A4DFCCA-DB9A-4D17-94C5-76F3D0DAF419}"/>
              </a:ext>
            </a:extLst>
          </p:cNvPr>
          <p:cNvSpPr txBox="1"/>
          <p:nvPr/>
        </p:nvSpPr>
        <p:spPr>
          <a:xfrm>
            <a:off x="1281309" y="2035625"/>
            <a:ext cx="15725360" cy="1015663"/>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wrap="square" lIns="432000" rIns="432000">
            <a:spAutoFit/>
          </a:bodyPr>
          <a:lstStyle/>
          <a:p>
            <a:pPr algn="ctr"/>
            <a:r>
              <a:rPr lang="en-US" sz="3000" b="0" i="1" u="none" strike="noStrike" baseline="0">
                <a:solidFill>
                  <a:srgbClr val="000000"/>
                </a:solidFill>
                <a:latin typeface="Arial" panose="020B0604020202020204" pitchFamily="34" charset="0"/>
              </a:rPr>
              <a:t>In order to use a mathematical model as a digital twin and a tool for DSS, it must be verified. This is done by checking its quality and accuracy.</a:t>
            </a:r>
            <a:endParaRPr lang="sv-SE" sz="3000" i="1"/>
          </a:p>
        </p:txBody>
      </p:sp>
      <p:sp>
        <p:nvSpPr>
          <p:cNvPr id="14" name="TextBox 13">
            <a:extLst>
              <a:ext uri="{FF2B5EF4-FFF2-40B4-BE49-F238E27FC236}">
                <a16:creationId xmlns:a16="http://schemas.microsoft.com/office/drawing/2014/main" id="{62BEC251-7830-8339-0711-54D423E0ABC9}"/>
              </a:ext>
            </a:extLst>
          </p:cNvPr>
          <p:cNvSpPr txBox="1"/>
          <p:nvPr/>
        </p:nvSpPr>
        <p:spPr>
          <a:xfrm>
            <a:off x="10389842" y="4028435"/>
            <a:ext cx="7669558" cy="4893647"/>
          </a:xfrm>
          <a:prstGeom prst="rect">
            <a:avLst/>
          </a:prstGeom>
          <a:noFill/>
        </p:spPr>
        <p:txBody>
          <a:bodyPr wrap="square">
            <a:spAutoFit/>
          </a:bodyPr>
          <a:lstStyle/>
          <a:p>
            <a:pPr marL="285750" indent="-285750">
              <a:buFont typeface="Arial" panose="020B0604020202020204" pitchFamily="34" charset="0"/>
              <a:buChar char="•"/>
            </a:pPr>
            <a:r>
              <a:rPr lang="en-US" sz="2400">
                <a:latin typeface="Arial MT"/>
              </a:rPr>
              <a:t>The graph compares predicted (ROM) and observed (CFD) results for pH (red) and temperature (blue).</a:t>
            </a:r>
          </a:p>
          <a:p>
            <a:pPr marL="285750" indent="-285750">
              <a:buFont typeface="Arial" panose="020B0604020202020204" pitchFamily="34" charset="0"/>
              <a:buChar char="•"/>
            </a:pPr>
            <a:endParaRPr lang="en-US" sz="2400">
              <a:latin typeface="Arial MT"/>
            </a:endParaRPr>
          </a:p>
          <a:p>
            <a:pPr marL="285750" indent="-285750">
              <a:buFont typeface="Arial" panose="020B0604020202020204" pitchFamily="34" charset="0"/>
              <a:buChar char="•"/>
            </a:pPr>
            <a:r>
              <a:rPr lang="en-US" sz="2400">
                <a:latin typeface="Arial MT"/>
              </a:rPr>
              <a:t> Normalization allows comparison despite different magnitudes. </a:t>
            </a:r>
          </a:p>
          <a:p>
            <a:pPr marL="285750" indent="-285750">
              <a:buFont typeface="Arial" panose="020B0604020202020204" pitchFamily="34" charset="0"/>
              <a:buChar char="•"/>
            </a:pPr>
            <a:endParaRPr lang="en-US" sz="2400">
              <a:latin typeface="Arial MT"/>
            </a:endParaRPr>
          </a:p>
          <a:p>
            <a:pPr marL="285750" indent="-285750">
              <a:buFont typeface="Arial" panose="020B0604020202020204" pitchFamily="34" charset="0"/>
              <a:buChar char="•"/>
            </a:pPr>
            <a:r>
              <a:rPr lang="en-US" sz="2400">
                <a:latin typeface="Arial MT"/>
              </a:rPr>
              <a:t>Closer to the diagonal indicates a better prediction.</a:t>
            </a:r>
          </a:p>
          <a:p>
            <a:pPr marL="285750" indent="-285750">
              <a:buFont typeface="Arial" panose="020B0604020202020204" pitchFamily="34" charset="0"/>
              <a:buChar char="•"/>
            </a:pPr>
            <a:endParaRPr lang="en-US" sz="2400">
              <a:latin typeface="Arial MT"/>
            </a:endParaRPr>
          </a:p>
          <a:p>
            <a:pPr marL="285750" indent="-285750">
              <a:buFont typeface="Arial" panose="020B0604020202020204" pitchFamily="34" charset="0"/>
              <a:buChar char="•"/>
            </a:pPr>
            <a:r>
              <a:rPr lang="en-US" sz="2400">
                <a:latin typeface="Arial MT"/>
              </a:rPr>
              <a:t> Temperature predictions are excellent, while pH predictions are slightly less accurate but still within an acceptable range. </a:t>
            </a:r>
          </a:p>
          <a:p>
            <a:pPr marL="285750" indent="-285750">
              <a:buFont typeface="Arial" panose="020B0604020202020204" pitchFamily="34" charset="0"/>
              <a:buChar char="•"/>
            </a:pPr>
            <a:endParaRPr lang="en-US" sz="2400">
              <a:latin typeface="Arial MT"/>
            </a:endParaRPr>
          </a:p>
          <a:p>
            <a:pPr marL="285750" indent="-285750">
              <a:buFont typeface="Arial" panose="020B0604020202020204" pitchFamily="34" charset="0"/>
              <a:buChar char="•"/>
            </a:pPr>
            <a:r>
              <a:rPr lang="en-US" sz="2400">
                <a:latin typeface="Arial MT"/>
              </a:rPr>
              <a:t>The ROM is of high quality.</a:t>
            </a:r>
            <a:endParaRPr lang="sv-SE" sz="2400">
              <a:latin typeface="Arial MT"/>
            </a:endParaRPr>
          </a:p>
        </p:txBody>
      </p:sp>
      <p:sp>
        <p:nvSpPr>
          <p:cNvPr id="24" name="TextBox 23">
            <a:extLst>
              <a:ext uri="{FF2B5EF4-FFF2-40B4-BE49-F238E27FC236}">
                <a16:creationId xmlns:a16="http://schemas.microsoft.com/office/drawing/2014/main" id="{5671E32D-5421-BBFB-22D9-C6445E33E723}"/>
              </a:ext>
            </a:extLst>
          </p:cNvPr>
          <p:cNvSpPr txBox="1"/>
          <p:nvPr/>
        </p:nvSpPr>
        <p:spPr>
          <a:xfrm>
            <a:off x="3104952" y="3162449"/>
            <a:ext cx="13297150" cy="461665"/>
          </a:xfrm>
          <a:prstGeom prst="rect">
            <a:avLst/>
          </a:prstGeom>
          <a:noFill/>
        </p:spPr>
        <p:txBody>
          <a:bodyPr wrap="square">
            <a:spAutoFit/>
          </a:bodyPr>
          <a:lstStyle/>
          <a:p>
            <a:pPr lvl="0"/>
            <a:r>
              <a:rPr lang="sv-SE" sz="2400" i="1" err="1">
                <a:solidFill>
                  <a:srgbClr val="000000"/>
                </a:solidFill>
                <a:latin typeface="Times New Roman" panose="02020603050405020304" pitchFamily="18" charset="0"/>
              </a:rPr>
              <a:t>Goodness</a:t>
            </a:r>
            <a:r>
              <a:rPr lang="sv-SE" sz="2400" i="1">
                <a:solidFill>
                  <a:srgbClr val="000000"/>
                </a:solidFill>
                <a:latin typeface="Times New Roman" panose="02020603050405020304" pitchFamily="18" charset="0"/>
              </a:rPr>
              <a:t> </a:t>
            </a:r>
            <a:r>
              <a:rPr lang="sv-SE" sz="2400" i="1" err="1">
                <a:solidFill>
                  <a:srgbClr val="000000"/>
                </a:solidFill>
                <a:latin typeface="Times New Roman" panose="02020603050405020304" pitchFamily="18" charset="0"/>
              </a:rPr>
              <a:t>of</a:t>
            </a:r>
            <a:r>
              <a:rPr lang="sv-SE" sz="2400" i="1">
                <a:solidFill>
                  <a:srgbClr val="000000"/>
                </a:solidFill>
                <a:latin typeface="Times New Roman" panose="02020603050405020304" pitchFamily="18" charset="0"/>
              </a:rPr>
              <a:t> fit: </a:t>
            </a:r>
            <a:r>
              <a:rPr lang="sv-SE" sz="2400" i="1" err="1">
                <a:solidFill>
                  <a:srgbClr val="000000"/>
                </a:solidFill>
                <a:latin typeface="Times New Roman" panose="02020603050405020304" pitchFamily="18" charset="0"/>
              </a:rPr>
              <a:t>Compare</a:t>
            </a:r>
            <a:r>
              <a:rPr lang="sv-SE" sz="2400" i="1">
                <a:solidFill>
                  <a:srgbClr val="000000"/>
                </a:solidFill>
                <a:latin typeface="Times New Roman" panose="02020603050405020304" pitchFamily="18" charset="0"/>
              </a:rPr>
              <a:t> the outputs </a:t>
            </a:r>
            <a:r>
              <a:rPr lang="sv-SE" sz="2400" i="1" err="1">
                <a:solidFill>
                  <a:srgbClr val="000000"/>
                </a:solidFill>
                <a:latin typeface="Times New Roman" panose="02020603050405020304" pitchFamily="18" charset="0"/>
              </a:rPr>
              <a:t>of</a:t>
            </a:r>
            <a:r>
              <a:rPr lang="sv-SE" sz="2400" i="1">
                <a:solidFill>
                  <a:srgbClr val="000000"/>
                </a:solidFill>
                <a:latin typeface="Times New Roman" panose="02020603050405020304" pitchFamily="18" charset="0"/>
              </a:rPr>
              <a:t> the CFD simulations </a:t>
            </a:r>
            <a:r>
              <a:rPr lang="sv-SE" sz="2400" i="1" err="1">
                <a:solidFill>
                  <a:srgbClr val="000000"/>
                </a:solidFill>
                <a:latin typeface="Times New Roman" panose="02020603050405020304" pitchFamily="18" charset="0"/>
              </a:rPr>
              <a:t>with</a:t>
            </a:r>
            <a:r>
              <a:rPr lang="sv-SE" sz="2400" i="1">
                <a:solidFill>
                  <a:srgbClr val="000000"/>
                </a:solidFill>
                <a:latin typeface="Times New Roman" panose="02020603050405020304" pitchFamily="18" charset="0"/>
              </a:rPr>
              <a:t> the outputs </a:t>
            </a:r>
            <a:r>
              <a:rPr lang="sv-SE" sz="2400" i="1" err="1">
                <a:solidFill>
                  <a:srgbClr val="000000"/>
                </a:solidFill>
                <a:latin typeface="Times New Roman" panose="02020603050405020304" pitchFamily="18" charset="0"/>
              </a:rPr>
              <a:t>calculated</a:t>
            </a:r>
            <a:r>
              <a:rPr lang="sv-SE" sz="2400" i="1">
                <a:solidFill>
                  <a:srgbClr val="000000"/>
                </a:solidFill>
                <a:latin typeface="Times New Roman" panose="02020603050405020304" pitchFamily="18" charset="0"/>
              </a:rPr>
              <a:t> by the ROM.</a:t>
            </a:r>
          </a:p>
        </p:txBody>
      </p:sp>
    </p:spTree>
    <p:extLst>
      <p:ext uri="{BB962C8B-B14F-4D97-AF65-F5344CB8AC3E}">
        <p14:creationId xmlns:p14="http://schemas.microsoft.com/office/powerpoint/2010/main" val="3080623842"/>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8" descr="RETROFEED FERTIBERIA">
            <a:extLst>
              <a:ext uri="{FF2B5EF4-FFF2-40B4-BE49-F238E27FC236}">
                <a16:creationId xmlns:a16="http://schemas.microsoft.com/office/drawing/2014/main" id="{931EA9E4-E7C2-7B15-2838-8700B0619C2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72003" y="925868"/>
            <a:ext cx="2287452" cy="841782"/>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6"/>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4"/>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5"/>
          <a:srcRect/>
          <a:stretch>
            <a:fillRect/>
          </a:stretch>
        </p:blipFill>
        <p:spPr>
          <a:xfrm>
            <a:off x="0" y="9499590"/>
            <a:ext cx="3247053" cy="787410"/>
          </a:xfrm>
          <a:prstGeom prst="rect">
            <a:avLst/>
          </a:prstGeom>
        </p:spPr>
      </p:pic>
      <p:grpSp>
        <p:nvGrpSpPr>
          <p:cNvPr id="3" name="Gruppo 2">
            <a:extLst>
              <a:ext uri="{FF2B5EF4-FFF2-40B4-BE49-F238E27FC236}">
                <a16:creationId xmlns:a16="http://schemas.microsoft.com/office/drawing/2014/main" id="{D0B44AFC-EABA-48CF-A7A8-348076F88921}"/>
              </a:ext>
            </a:extLst>
          </p:cNvPr>
          <p:cNvGrpSpPr/>
          <p:nvPr/>
        </p:nvGrpSpPr>
        <p:grpSpPr>
          <a:xfrm>
            <a:off x="-12" y="138554"/>
            <a:ext cx="18288002" cy="681138"/>
            <a:chOff x="-12" y="138554"/>
            <a:chExt cx="18288002" cy="681138"/>
          </a:xfrm>
        </p:grpSpPr>
        <p:pic>
          <p:nvPicPr>
            <p:cNvPr id="10" name="Picture 10"/>
            <p:cNvPicPr>
              <a:picLocks noChangeAspect="1"/>
            </p:cNvPicPr>
            <p:nvPr/>
          </p:nvPicPr>
          <p:blipFill>
            <a:blip r:embed="rId6"/>
            <a:srcRect l="134" t="91287" b="3943"/>
            <a:stretch>
              <a:fillRect/>
            </a:stretch>
          </p:blipFill>
          <p:spPr>
            <a:xfrm>
              <a:off x="0" y="153125"/>
              <a:ext cx="13958844" cy="666567"/>
            </a:xfrm>
            <a:prstGeom prst="rect">
              <a:avLst/>
            </a:prstGeom>
          </p:spPr>
        </p:pic>
        <p:sp>
          <p:nvSpPr>
            <p:cNvPr id="15" name="Rettangolo 14">
              <a:extLst>
                <a:ext uri="{FF2B5EF4-FFF2-40B4-BE49-F238E27FC236}">
                  <a16:creationId xmlns:a16="http://schemas.microsoft.com/office/drawing/2014/main" id="{AFFDA913-633F-49C2-9D71-573FB327981F}"/>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7" name="TextBox 13">
            <a:extLst>
              <a:ext uri="{FF2B5EF4-FFF2-40B4-BE49-F238E27FC236}">
                <a16:creationId xmlns:a16="http://schemas.microsoft.com/office/drawing/2014/main" id="{C7197FAA-9C82-4C25-B208-2BF8170DA3D1}"/>
              </a:ext>
            </a:extLst>
          </p:cNvPr>
          <p:cNvSpPr txBox="1"/>
          <p:nvPr/>
        </p:nvSpPr>
        <p:spPr>
          <a:xfrm>
            <a:off x="3247053" y="871996"/>
            <a:ext cx="15725360" cy="1052468"/>
          </a:xfrm>
          <a:prstGeom prst="rect">
            <a:avLst/>
          </a:prstGeom>
        </p:spPr>
        <p:txBody>
          <a:bodyPr wrap="square" lIns="0" tIns="0" rIns="0" bIns="0" rtlCol="0" anchor="t">
            <a:spAutoFit/>
          </a:bodyPr>
          <a:lstStyle/>
          <a:p>
            <a:pPr algn="ctr">
              <a:lnSpc>
                <a:spcPts val="8960"/>
              </a:lnSpc>
              <a:spcBef>
                <a:spcPct val="0"/>
              </a:spcBef>
            </a:pPr>
            <a:r>
              <a:rPr lang="en-US" sz="6400" b="1">
                <a:solidFill>
                  <a:srgbClr val="CC0033"/>
                </a:solidFill>
                <a:latin typeface="+mj-lt"/>
                <a:cs typeface="Arial" panose="020B0604020202020204" pitchFamily="34" charset="0"/>
              </a:rPr>
              <a:t>Evaluation of ROM - Accuracy</a:t>
            </a:r>
          </a:p>
        </p:txBody>
      </p:sp>
      <p:sp>
        <p:nvSpPr>
          <p:cNvPr id="23" name="TextBox 22">
            <a:extLst>
              <a:ext uri="{FF2B5EF4-FFF2-40B4-BE49-F238E27FC236}">
                <a16:creationId xmlns:a16="http://schemas.microsoft.com/office/drawing/2014/main" id="{3A4DFCCA-DB9A-4D17-94C5-76F3D0DAF419}"/>
              </a:ext>
            </a:extLst>
          </p:cNvPr>
          <p:cNvSpPr txBox="1"/>
          <p:nvPr/>
        </p:nvSpPr>
        <p:spPr>
          <a:xfrm>
            <a:off x="1281309" y="2140555"/>
            <a:ext cx="15725360" cy="1015663"/>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wrap="square" lIns="432000" rIns="432000">
            <a:spAutoFit/>
          </a:bodyPr>
          <a:lstStyle/>
          <a:p>
            <a:pPr algn="ctr"/>
            <a:r>
              <a:rPr lang="sv-SE" sz="3000" i="1" err="1">
                <a:solidFill>
                  <a:srgbClr val="000000"/>
                </a:solidFill>
                <a:latin typeface="Arial" panose="020B0604020202020204" pitchFamily="34" charset="0"/>
              </a:rPr>
              <a:t>When</a:t>
            </a:r>
            <a:r>
              <a:rPr lang="sv-SE" sz="3000" i="1">
                <a:solidFill>
                  <a:srgbClr val="000000"/>
                </a:solidFill>
                <a:latin typeface="Arial" panose="020B0604020202020204" pitchFamily="34" charset="0"/>
              </a:rPr>
              <a:t> the DT, in the form </a:t>
            </a:r>
            <a:r>
              <a:rPr lang="sv-SE" sz="3000" i="1" err="1">
                <a:solidFill>
                  <a:srgbClr val="000000"/>
                </a:solidFill>
                <a:latin typeface="Arial" panose="020B0604020202020204" pitchFamily="34" charset="0"/>
              </a:rPr>
              <a:t>of</a:t>
            </a:r>
            <a:r>
              <a:rPr lang="sv-SE" sz="3000" i="1">
                <a:solidFill>
                  <a:srgbClr val="000000"/>
                </a:solidFill>
                <a:latin typeface="Arial" panose="020B0604020202020204" pitchFamily="34" charset="0"/>
              </a:rPr>
              <a:t> the ROM, has </a:t>
            </a:r>
            <a:r>
              <a:rPr lang="sv-SE" sz="3000" i="1" err="1">
                <a:solidFill>
                  <a:srgbClr val="000000"/>
                </a:solidFill>
                <a:latin typeface="Arial" panose="020B0604020202020204" pitchFamily="34" charset="0"/>
              </a:rPr>
              <a:t>been</a:t>
            </a:r>
            <a:r>
              <a:rPr lang="sv-SE" sz="3000" i="1">
                <a:solidFill>
                  <a:srgbClr val="000000"/>
                </a:solidFill>
                <a:latin typeface="Arial" panose="020B0604020202020204" pitchFamily="34" charset="0"/>
              </a:rPr>
              <a:t> </a:t>
            </a:r>
            <a:r>
              <a:rPr lang="sv-SE" sz="3000" i="1" err="1">
                <a:solidFill>
                  <a:srgbClr val="000000"/>
                </a:solidFill>
                <a:latin typeface="Arial" panose="020B0604020202020204" pitchFamily="34" charset="0"/>
              </a:rPr>
              <a:t>developed</a:t>
            </a:r>
            <a:r>
              <a:rPr lang="sv-SE" sz="3000" i="1">
                <a:solidFill>
                  <a:srgbClr val="000000"/>
                </a:solidFill>
                <a:latin typeface="Arial" panose="020B0604020202020204" pitchFamily="34" charset="0"/>
              </a:rPr>
              <a:t> and the </a:t>
            </a:r>
            <a:r>
              <a:rPr lang="sv-SE" sz="3000" i="1" err="1">
                <a:solidFill>
                  <a:srgbClr val="000000"/>
                </a:solidFill>
                <a:latin typeface="Arial" panose="020B0604020202020204" pitchFamily="34" charset="0"/>
              </a:rPr>
              <a:t>quality</a:t>
            </a:r>
            <a:r>
              <a:rPr lang="sv-SE" sz="3000" i="1">
                <a:solidFill>
                  <a:srgbClr val="000000"/>
                </a:solidFill>
                <a:latin typeface="Arial" panose="020B0604020202020204" pitchFamily="34" charset="0"/>
              </a:rPr>
              <a:t> </a:t>
            </a:r>
            <a:r>
              <a:rPr lang="sv-SE" sz="3000" i="1" err="1">
                <a:solidFill>
                  <a:srgbClr val="000000"/>
                </a:solidFill>
                <a:latin typeface="Arial" panose="020B0604020202020204" pitchFamily="34" charset="0"/>
              </a:rPr>
              <a:t>verified</a:t>
            </a:r>
            <a:r>
              <a:rPr lang="sv-SE" sz="3000" i="1">
                <a:solidFill>
                  <a:srgbClr val="000000"/>
                </a:solidFill>
                <a:latin typeface="Arial" panose="020B0604020202020204" pitchFamily="34" charset="0"/>
              </a:rPr>
              <a:t> it is </a:t>
            </a:r>
            <a:r>
              <a:rPr lang="sv-SE" sz="3000" i="1" err="1">
                <a:solidFill>
                  <a:srgbClr val="000000"/>
                </a:solidFill>
                <a:latin typeface="Arial" panose="020B0604020202020204" pitchFamily="34" charset="0"/>
              </a:rPr>
              <a:t>necessary</a:t>
            </a:r>
            <a:r>
              <a:rPr lang="sv-SE" sz="3000" i="1">
                <a:solidFill>
                  <a:srgbClr val="000000"/>
                </a:solidFill>
                <a:latin typeface="Arial" panose="020B0604020202020204" pitchFamily="34" charset="0"/>
              </a:rPr>
              <a:t> to check </a:t>
            </a:r>
            <a:r>
              <a:rPr lang="sv-SE" sz="3000" i="1" err="1">
                <a:solidFill>
                  <a:srgbClr val="000000"/>
                </a:solidFill>
                <a:latin typeface="Arial" panose="020B0604020202020204" pitchFamily="34" charset="0"/>
              </a:rPr>
              <a:t>accuracy</a:t>
            </a:r>
            <a:r>
              <a:rPr lang="sv-SE" sz="3000" i="1">
                <a:solidFill>
                  <a:srgbClr val="000000"/>
                </a:solidFill>
                <a:latin typeface="Arial" panose="020B0604020202020204" pitchFamily="34" charset="0"/>
              </a:rPr>
              <a:t> </a:t>
            </a:r>
            <a:r>
              <a:rPr lang="sv-SE" sz="3000" i="1" err="1">
                <a:solidFill>
                  <a:srgbClr val="000000"/>
                </a:solidFill>
                <a:latin typeface="Arial" panose="020B0604020202020204" pitchFamily="34" charset="0"/>
              </a:rPr>
              <a:t>with</a:t>
            </a:r>
            <a:r>
              <a:rPr lang="sv-SE" sz="3000" i="1">
                <a:solidFill>
                  <a:srgbClr val="000000"/>
                </a:solidFill>
                <a:latin typeface="Arial" panose="020B0604020202020204" pitchFamily="34" charset="0"/>
              </a:rPr>
              <a:t> the </a:t>
            </a:r>
            <a:r>
              <a:rPr lang="sv-SE" sz="3000" i="1" err="1">
                <a:solidFill>
                  <a:srgbClr val="000000"/>
                </a:solidFill>
                <a:latin typeface="Arial" panose="020B0604020202020204" pitchFamily="34" charset="0"/>
              </a:rPr>
              <a:t>complete</a:t>
            </a:r>
            <a:r>
              <a:rPr lang="sv-SE" sz="3000" i="1">
                <a:solidFill>
                  <a:srgbClr val="000000"/>
                </a:solidFill>
                <a:latin typeface="Arial" panose="020B0604020202020204" pitchFamily="34" charset="0"/>
              </a:rPr>
              <a:t> CFD simulation.</a:t>
            </a:r>
          </a:p>
        </p:txBody>
      </p:sp>
      <p:sp>
        <p:nvSpPr>
          <p:cNvPr id="8" name="TextBox 7">
            <a:extLst>
              <a:ext uri="{FF2B5EF4-FFF2-40B4-BE49-F238E27FC236}">
                <a16:creationId xmlns:a16="http://schemas.microsoft.com/office/drawing/2014/main" id="{86B2265A-DB87-42C7-B777-44F5CA8453A6}"/>
              </a:ext>
            </a:extLst>
          </p:cNvPr>
          <p:cNvSpPr txBox="1"/>
          <p:nvPr/>
        </p:nvSpPr>
        <p:spPr>
          <a:xfrm>
            <a:off x="1281309" y="3563330"/>
            <a:ext cx="15725360" cy="2246769"/>
          </a:xfrm>
          <a:prstGeom prst="rect">
            <a:avLst/>
          </a:prstGeom>
          <a:noFill/>
        </p:spPr>
        <p:txBody>
          <a:bodyPr wrap="square" rtlCol="0">
            <a:spAutoFit/>
          </a:bodyPr>
          <a:lstStyle/>
          <a:p>
            <a:pPr lvl="0"/>
            <a:r>
              <a:rPr lang="sv-SE" sz="2800" i="1" err="1">
                <a:solidFill>
                  <a:schemeClr val="accent1"/>
                </a:solidFill>
              </a:rPr>
              <a:t>Validation</a:t>
            </a:r>
            <a:r>
              <a:rPr lang="sv-SE" sz="2800" i="1">
                <a:solidFill>
                  <a:schemeClr val="accent1"/>
                </a:solidFill>
              </a:rPr>
              <a:t> </a:t>
            </a:r>
            <a:r>
              <a:rPr lang="sv-SE" sz="2800" i="1" err="1">
                <a:solidFill>
                  <a:schemeClr val="accent1"/>
                </a:solidFill>
              </a:rPr>
              <a:t>of</a:t>
            </a:r>
            <a:r>
              <a:rPr lang="sv-SE" sz="2800" i="1">
                <a:solidFill>
                  <a:schemeClr val="accent1"/>
                </a:solidFill>
              </a:rPr>
              <a:t> Digital Twin (ROM)</a:t>
            </a:r>
          </a:p>
          <a:p>
            <a:pPr marL="342900" lvl="0" indent="-342900">
              <a:buFont typeface="Arial" panose="020B0604020202020204" pitchFamily="34" charset="0"/>
              <a:buChar char="•"/>
            </a:pPr>
            <a:r>
              <a:rPr lang="sv-SE" sz="2800" err="1"/>
              <a:t>Two</a:t>
            </a:r>
            <a:r>
              <a:rPr lang="sv-SE" sz="2800"/>
              <a:t> </a:t>
            </a:r>
            <a:r>
              <a:rPr lang="sv-SE" sz="2800" err="1"/>
              <a:t>cases</a:t>
            </a:r>
            <a:r>
              <a:rPr lang="sv-SE" sz="2800"/>
              <a:t> </a:t>
            </a:r>
            <a:r>
              <a:rPr lang="sv-SE" sz="2800" err="1"/>
              <a:t>are</a:t>
            </a:r>
            <a:r>
              <a:rPr lang="sv-SE" sz="2800"/>
              <a:t> </a:t>
            </a:r>
            <a:r>
              <a:rPr lang="sv-SE" sz="2800" err="1"/>
              <a:t>selected</a:t>
            </a:r>
            <a:r>
              <a:rPr lang="sv-SE" sz="2800"/>
              <a:t> at </a:t>
            </a:r>
            <a:r>
              <a:rPr lang="sv-SE" sz="2800" err="1"/>
              <a:t>random</a:t>
            </a:r>
            <a:r>
              <a:rPr lang="sv-SE" sz="2800"/>
              <a:t> </a:t>
            </a:r>
            <a:r>
              <a:rPr lang="sv-SE" sz="2800" err="1"/>
              <a:t>within</a:t>
            </a:r>
            <a:r>
              <a:rPr lang="sv-SE" sz="2800"/>
              <a:t> the operating </a:t>
            </a:r>
            <a:r>
              <a:rPr lang="sv-SE" sz="2800" err="1"/>
              <a:t>range</a:t>
            </a:r>
            <a:r>
              <a:rPr lang="sv-SE" sz="2800"/>
              <a:t> </a:t>
            </a:r>
            <a:r>
              <a:rPr lang="sv-SE" sz="2800" err="1"/>
              <a:t>that</a:t>
            </a:r>
            <a:r>
              <a:rPr lang="sv-SE" sz="2800"/>
              <a:t> the DT has </a:t>
            </a:r>
            <a:r>
              <a:rPr lang="sv-SE" sz="2800" err="1"/>
              <a:t>been</a:t>
            </a:r>
            <a:r>
              <a:rPr lang="sv-SE" sz="2800"/>
              <a:t> </a:t>
            </a:r>
            <a:r>
              <a:rPr lang="sv-SE" sz="2800" err="1"/>
              <a:t>trained</a:t>
            </a:r>
            <a:r>
              <a:rPr lang="sv-SE" sz="2800"/>
              <a:t> on.</a:t>
            </a:r>
          </a:p>
          <a:p>
            <a:pPr marL="342900" lvl="0" indent="-342900">
              <a:buFont typeface="Arial" panose="020B0604020202020204" pitchFamily="34" charset="0"/>
              <a:buChar char="•"/>
            </a:pPr>
            <a:r>
              <a:rPr lang="sv-SE" sz="2800"/>
              <a:t>The </a:t>
            </a:r>
            <a:r>
              <a:rPr lang="sv-SE" sz="2800" err="1"/>
              <a:t>turbulence</a:t>
            </a:r>
            <a:r>
              <a:rPr lang="sv-SE" sz="2800"/>
              <a:t> </a:t>
            </a:r>
            <a:r>
              <a:rPr lang="sv-SE" sz="2800" err="1"/>
              <a:t>model</a:t>
            </a:r>
            <a:r>
              <a:rPr lang="sv-SE" sz="2800"/>
              <a:t> </a:t>
            </a:r>
            <a:r>
              <a:rPr lang="sv-SE" sz="2800" err="1"/>
              <a:t>which</a:t>
            </a:r>
            <a:r>
              <a:rPr lang="sv-SE" sz="2800"/>
              <a:t> </a:t>
            </a:r>
            <a:r>
              <a:rPr lang="sv-SE" sz="2800" err="1"/>
              <a:t>was</a:t>
            </a:r>
            <a:r>
              <a:rPr lang="sv-SE" sz="2800"/>
              <a:t> best </a:t>
            </a:r>
            <a:r>
              <a:rPr lang="sv-SE" sz="2800" err="1"/>
              <a:t>adjusted</a:t>
            </a:r>
            <a:r>
              <a:rPr lang="sv-SE" sz="2800"/>
              <a:t> in all operating </a:t>
            </a:r>
            <a:r>
              <a:rPr lang="sv-SE" sz="2800" err="1"/>
              <a:t>conditions</a:t>
            </a:r>
            <a:r>
              <a:rPr lang="sv-SE" sz="2800"/>
              <a:t> is </a:t>
            </a:r>
            <a:r>
              <a:rPr lang="sv-SE" sz="2800" err="1"/>
              <a:t>selected</a:t>
            </a:r>
            <a:endParaRPr lang="sv-SE" sz="2800"/>
          </a:p>
          <a:p>
            <a:pPr marL="342900" lvl="0" indent="-342900">
              <a:buFont typeface="Arial" panose="020B0604020202020204" pitchFamily="34" charset="0"/>
              <a:buChar char="•"/>
            </a:pPr>
            <a:r>
              <a:rPr lang="sv-SE" sz="2800"/>
              <a:t>CFD simulations </a:t>
            </a:r>
            <a:r>
              <a:rPr lang="sv-SE" sz="2800" err="1"/>
              <a:t>of</a:t>
            </a:r>
            <a:r>
              <a:rPr lang="sv-SE" sz="2800"/>
              <a:t> the </a:t>
            </a:r>
            <a:r>
              <a:rPr lang="sv-SE" sz="2800" err="1"/>
              <a:t>two</a:t>
            </a:r>
            <a:r>
              <a:rPr lang="sv-SE" sz="2800"/>
              <a:t> </a:t>
            </a:r>
            <a:r>
              <a:rPr lang="sv-SE" sz="2800" err="1"/>
              <a:t>cases</a:t>
            </a:r>
            <a:r>
              <a:rPr lang="sv-SE" sz="2800"/>
              <a:t> </a:t>
            </a:r>
            <a:r>
              <a:rPr lang="sv-SE" sz="2800" err="1"/>
              <a:t>are</a:t>
            </a:r>
            <a:r>
              <a:rPr lang="sv-SE" sz="2800"/>
              <a:t> </a:t>
            </a:r>
            <a:r>
              <a:rPr lang="sv-SE" sz="2800" err="1"/>
              <a:t>carried</a:t>
            </a:r>
            <a:r>
              <a:rPr lang="sv-SE" sz="2800"/>
              <a:t> </a:t>
            </a:r>
            <a:r>
              <a:rPr lang="sv-SE" sz="2800" err="1"/>
              <a:t>out</a:t>
            </a:r>
            <a:r>
              <a:rPr lang="sv-SE" sz="2800"/>
              <a:t>.</a:t>
            </a:r>
          </a:p>
          <a:p>
            <a:pPr marL="342900" lvl="0" indent="-342900">
              <a:buFont typeface="Arial" panose="020B0604020202020204" pitchFamily="34" charset="0"/>
              <a:buChar char="•"/>
            </a:pPr>
            <a:r>
              <a:rPr lang="sv-SE" sz="2800"/>
              <a:t>The digital </a:t>
            </a:r>
            <a:r>
              <a:rPr lang="sv-SE" sz="2800" err="1"/>
              <a:t>twin</a:t>
            </a:r>
            <a:r>
              <a:rPr lang="sv-SE" sz="2800"/>
              <a:t> and the CFD </a:t>
            </a:r>
            <a:r>
              <a:rPr lang="sv-SE" sz="2800" err="1"/>
              <a:t>results</a:t>
            </a:r>
            <a:r>
              <a:rPr lang="sv-SE" sz="2800"/>
              <a:t> </a:t>
            </a:r>
            <a:r>
              <a:rPr lang="sv-SE" sz="2800" err="1"/>
              <a:t>are</a:t>
            </a:r>
            <a:r>
              <a:rPr lang="sv-SE" sz="2800"/>
              <a:t> </a:t>
            </a:r>
            <a:r>
              <a:rPr lang="sv-SE" sz="2800" err="1"/>
              <a:t>compared</a:t>
            </a:r>
            <a:r>
              <a:rPr lang="sv-SE" sz="2800"/>
              <a:t>.</a:t>
            </a:r>
          </a:p>
        </p:txBody>
      </p:sp>
      <p:pic>
        <p:nvPicPr>
          <p:cNvPr id="7" name="Picture 6">
            <a:extLst>
              <a:ext uri="{FF2B5EF4-FFF2-40B4-BE49-F238E27FC236}">
                <a16:creationId xmlns:a16="http://schemas.microsoft.com/office/drawing/2014/main" id="{25110248-C711-A5F5-2FBC-979B68EC37EC}"/>
              </a:ext>
            </a:extLst>
          </p:cNvPr>
          <p:cNvPicPr>
            <a:picLocks noChangeAspect="1"/>
          </p:cNvPicPr>
          <p:nvPr/>
        </p:nvPicPr>
        <p:blipFill>
          <a:blip r:embed="rId7"/>
          <a:stretch>
            <a:fillRect/>
          </a:stretch>
        </p:blipFill>
        <p:spPr>
          <a:xfrm>
            <a:off x="1281309" y="6445720"/>
            <a:ext cx="15258298" cy="2194375"/>
          </a:xfrm>
          <a:prstGeom prst="rect">
            <a:avLst/>
          </a:prstGeom>
        </p:spPr>
      </p:pic>
    </p:spTree>
    <p:extLst>
      <p:ext uri="{BB962C8B-B14F-4D97-AF65-F5344CB8AC3E}">
        <p14:creationId xmlns:p14="http://schemas.microsoft.com/office/powerpoint/2010/main" val="1302092936"/>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58" name="Rectangle 57">
            <a:extLst>
              <a:ext uri="{FF2B5EF4-FFF2-40B4-BE49-F238E27FC236}">
                <a16:creationId xmlns:a16="http://schemas.microsoft.com/office/drawing/2014/main" id="{289ED1AA-8684-4D37-B208-8777E1A7780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8283428" cy="10287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0" name="Graphic 33">
            <a:extLst>
              <a:ext uri="{FF2B5EF4-FFF2-40B4-BE49-F238E27FC236}">
                <a16:creationId xmlns:a16="http://schemas.microsoft.com/office/drawing/2014/main" id="{4180E01B-B1F4-437C-807D-1C930718EE6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966176" y="0"/>
            <a:ext cx="14355646" cy="10287000"/>
          </a:xfrm>
          <a:custGeom>
            <a:avLst/>
            <a:gdLst>
              <a:gd name="connsiteX0" fmla="*/ 7178288 w 7187261"/>
              <a:gd name="connsiteY0" fmla="*/ 2604802 h 5150263"/>
              <a:gd name="connsiteX1" fmla="*/ 7169335 w 7187261"/>
              <a:gd name="connsiteY1" fmla="*/ 2328577 h 5150263"/>
              <a:gd name="connsiteX2" fmla="*/ 7060845 w 7187261"/>
              <a:gd name="connsiteY2" fmla="*/ 1661160 h 5150263"/>
              <a:gd name="connsiteX3" fmla="*/ 6212263 w 7187261"/>
              <a:gd name="connsiteY3" fmla="*/ 243840 h 5150263"/>
              <a:gd name="connsiteX4" fmla="*/ 5953564 w 7187261"/>
              <a:gd name="connsiteY4" fmla="*/ 0 h 5150263"/>
              <a:gd name="connsiteX5" fmla="*/ 1408615 w 7187261"/>
              <a:gd name="connsiteY5" fmla="*/ 0 h 5150263"/>
              <a:gd name="connsiteX6" fmla="*/ 805111 w 7187261"/>
              <a:gd name="connsiteY6" fmla="*/ 676275 h 5150263"/>
              <a:gd name="connsiteX7" fmla="*/ 104928 w 7187261"/>
              <a:gd name="connsiteY7" fmla="*/ 2183035 h 5150263"/>
              <a:gd name="connsiteX8" fmla="*/ 51588 w 7187261"/>
              <a:gd name="connsiteY8" fmla="*/ 2400014 h 5150263"/>
              <a:gd name="connsiteX9" fmla="*/ 41301 w 7187261"/>
              <a:gd name="connsiteY9" fmla="*/ 2424208 h 5150263"/>
              <a:gd name="connsiteX10" fmla="*/ 119692 w 7187261"/>
              <a:gd name="connsiteY10" fmla="*/ 1834801 h 5150263"/>
              <a:gd name="connsiteX11" fmla="*/ 870071 w 7187261"/>
              <a:gd name="connsiteY11" fmla="*/ 462248 h 5150263"/>
              <a:gd name="connsiteX12" fmla="*/ 1389279 w 7187261"/>
              <a:gd name="connsiteY12" fmla="*/ 476 h 5150263"/>
              <a:gd name="connsiteX13" fmla="*/ 1320223 w 7187261"/>
              <a:gd name="connsiteY13" fmla="*/ 476 h 5150263"/>
              <a:gd name="connsiteX14" fmla="*/ 423158 w 7187261"/>
              <a:gd name="connsiteY14" fmla="*/ 989743 h 5150263"/>
              <a:gd name="connsiteX15" fmla="*/ 25585 w 7187261"/>
              <a:gd name="connsiteY15" fmla="*/ 2113693 h 5150263"/>
              <a:gd name="connsiteX16" fmla="*/ 2344 w 7187261"/>
              <a:gd name="connsiteY16" fmla="*/ 2725865 h 5150263"/>
              <a:gd name="connsiteX17" fmla="*/ 447256 w 7187261"/>
              <a:gd name="connsiteY17" fmla="*/ 4210717 h 5150263"/>
              <a:gd name="connsiteX18" fmla="*/ 1138962 w 7187261"/>
              <a:gd name="connsiteY18" fmla="*/ 4988910 h 5150263"/>
              <a:gd name="connsiteX19" fmla="*/ 1348512 w 7187261"/>
              <a:gd name="connsiteY19" fmla="*/ 5146834 h 5150263"/>
              <a:gd name="connsiteX20" fmla="*/ 1422712 w 7187261"/>
              <a:gd name="connsiteY20" fmla="*/ 5146834 h 5150263"/>
              <a:gd name="connsiteX21" fmla="*/ 480594 w 7187261"/>
              <a:gd name="connsiteY21" fmla="*/ 4187952 h 5150263"/>
              <a:gd name="connsiteX22" fmla="*/ 398679 w 7187261"/>
              <a:gd name="connsiteY22" fmla="*/ 4046125 h 5150263"/>
              <a:gd name="connsiteX23" fmla="*/ 411823 w 7187261"/>
              <a:gd name="connsiteY23" fmla="*/ 4053078 h 5150263"/>
              <a:gd name="connsiteX24" fmla="*/ 1439380 w 7187261"/>
              <a:gd name="connsiteY24" fmla="*/ 5147405 h 5150263"/>
              <a:gd name="connsiteX25" fmla="*/ 5710010 w 7187261"/>
              <a:gd name="connsiteY25" fmla="*/ 5150263 h 5150263"/>
              <a:gd name="connsiteX26" fmla="*/ 5999665 w 7187261"/>
              <a:gd name="connsiteY26" fmla="*/ 4910900 h 5150263"/>
              <a:gd name="connsiteX27" fmla="*/ 6954165 w 7187261"/>
              <a:gd name="connsiteY27" fmla="*/ 3545777 h 5150263"/>
              <a:gd name="connsiteX28" fmla="*/ 7137712 w 7187261"/>
              <a:gd name="connsiteY28" fmla="*/ 2799207 h 5150263"/>
              <a:gd name="connsiteX29" fmla="*/ 7142951 w 7187261"/>
              <a:gd name="connsiteY29" fmla="*/ 2754535 h 5150263"/>
              <a:gd name="connsiteX30" fmla="*/ 7149428 w 7187261"/>
              <a:gd name="connsiteY30" fmla="*/ 2774823 h 5150263"/>
              <a:gd name="connsiteX31" fmla="*/ 7066465 w 7187261"/>
              <a:gd name="connsiteY31" fmla="*/ 3465672 h 5150263"/>
              <a:gd name="connsiteX32" fmla="*/ 6452578 w 7187261"/>
              <a:gd name="connsiteY32" fmla="*/ 4552760 h 5150263"/>
              <a:gd name="connsiteX33" fmla="*/ 5752110 w 7187261"/>
              <a:gd name="connsiteY33" fmla="*/ 5150263 h 5150263"/>
              <a:gd name="connsiteX34" fmla="*/ 5827643 w 7187261"/>
              <a:gd name="connsiteY34" fmla="*/ 5150263 h 5150263"/>
              <a:gd name="connsiteX35" fmla="*/ 6642793 w 7187261"/>
              <a:gd name="connsiteY35" fmla="*/ 4389406 h 5150263"/>
              <a:gd name="connsiteX36" fmla="*/ 7102469 w 7187261"/>
              <a:gd name="connsiteY36" fmla="*/ 3490817 h 5150263"/>
              <a:gd name="connsiteX37" fmla="*/ 7187242 w 7187261"/>
              <a:gd name="connsiteY37" fmla="*/ 2990183 h 5150263"/>
              <a:gd name="connsiteX38" fmla="*/ 7178288 w 7187261"/>
              <a:gd name="connsiteY38" fmla="*/ 2604802 h 5150263"/>
              <a:gd name="connsiteX39" fmla="*/ 6342565 w 7187261"/>
              <a:gd name="connsiteY39" fmla="*/ 441389 h 5150263"/>
              <a:gd name="connsiteX40" fmla="*/ 7126567 w 7187261"/>
              <a:gd name="connsiteY40" fmla="*/ 2355056 h 5150263"/>
              <a:gd name="connsiteX41" fmla="*/ 6342565 w 7187261"/>
              <a:gd name="connsiteY41" fmla="*/ 441389 h 5150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187261" h="5150263">
                <a:moveTo>
                  <a:pt x="7178288" y="2604802"/>
                </a:moveTo>
                <a:cubicBezTo>
                  <a:pt x="7168763" y="2513076"/>
                  <a:pt x="7174478" y="2420684"/>
                  <a:pt x="7169335" y="2328577"/>
                </a:cubicBezTo>
                <a:cubicBezTo>
                  <a:pt x="7156952" y="2102882"/>
                  <a:pt x="7120586" y="1879149"/>
                  <a:pt x="7060845" y="1661160"/>
                </a:cubicBezTo>
                <a:cubicBezTo>
                  <a:pt x="6910588" y="1121007"/>
                  <a:pt x="6617428" y="631374"/>
                  <a:pt x="6212263" y="243840"/>
                </a:cubicBezTo>
                <a:cubicBezTo>
                  <a:pt x="6126538" y="162496"/>
                  <a:pt x="6040813" y="80201"/>
                  <a:pt x="5953564" y="0"/>
                </a:cubicBezTo>
                <a:lnTo>
                  <a:pt x="1408615" y="0"/>
                </a:lnTo>
                <a:cubicBezTo>
                  <a:pt x="1180967" y="200316"/>
                  <a:pt x="978332" y="427387"/>
                  <a:pt x="805111" y="676275"/>
                </a:cubicBezTo>
                <a:cubicBezTo>
                  <a:pt x="481261" y="1136523"/>
                  <a:pt x="252089" y="1640872"/>
                  <a:pt x="104928" y="2183035"/>
                </a:cubicBezTo>
                <a:cubicBezTo>
                  <a:pt x="85878" y="2254853"/>
                  <a:pt x="69495" y="2327720"/>
                  <a:pt x="51588" y="2400014"/>
                </a:cubicBezTo>
                <a:cubicBezTo>
                  <a:pt x="49683" y="2407634"/>
                  <a:pt x="51588" y="2416969"/>
                  <a:pt x="41301" y="2424208"/>
                </a:cubicBezTo>
                <a:cubicBezTo>
                  <a:pt x="45900" y="2225469"/>
                  <a:pt x="72186" y="2027834"/>
                  <a:pt x="119692" y="1834801"/>
                </a:cubicBezTo>
                <a:cubicBezTo>
                  <a:pt x="247993" y="1310926"/>
                  <a:pt x="506121" y="857726"/>
                  <a:pt x="870071" y="462248"/>
                </a:cubicBezTo>
                <a:cubicBezTo>
                  <a:pt x="1027729" y="291823"/>
                  <a:pt x="1201617" y="137169"/>
                  <a:pt x="1389279" y="476"/>
                </a:cubicBezTo>
                <a:lnTo>
                  <a:pt x="1320223" y="476"/>
                </a:lnTo>
                <a:cubicBezTo>
                  <a:pt x="960844" y="274320"/>
                  <a:pt x="656330" y="599123"/>
                  <a:pt x="423158" y="989743"/>
                </a:cubicBezTo>
                <a:cubicBezTo>
                  <a:pt x="215608" y="1337596"/>
                  <a:pt x="80258" y="1711357"/>
                  <a:pt x="25585" y="2113693"/>
                </a:cubicBezTo>
                <a:cubicBezTo>
                  <a:pt x="-2705" y="2316480"/>
                  <a:pt x="-2228" y="2521077"/>
                  <a:pt x="2344" y="2725865"/>
                </a:cubicBezTo>
                <a:cubicBezTo>
                  <a:pt x="14155" y="3261932"/>
                  <a:pt x="170650" y="3754565"/>
                  <a:pt x="447256" y="4210717"/>
                </a:cubicBezTo>
                <a:cubicBezTo>
                  <a:pt x="629851" y="4511612"/>
                  <a:pt x="866356" y="4767167"/>
                  <a:pt x="1138962" y="4988910"/>
                </a:cubicBezTo>
                <a:cubicBezTo>
                  <a:pt x="1207161" y="5044345"/>
                  <a:pt x="1277008" y="5096990"/>
                  <a:pt x="1348512" y="5146834"/>
                </a:cubicBezTo>
                <a:lnTo>
                  <a:pt x="1422712" y="5146834"/>
                </a:lnTo>
                <a:cubicBezTo>
                  <a:pt x="1043426" y="4892802"/>
                  <a:pt x="724720" y="4577334"/>
                  <a:pt x="480594" y="4187952"/>
                </a:cubicBezTo>
                <a:cubicBezTo>
                  <a:pt x="452019" y="4141851"/>
                  <a:pt x="423444" y="4095179"/>
                  <a:pt x="398679" y="4046125"/>
                </a:cubicBezTo>
                <a:cubicBezTo>
                  <a:pt x="407442" y="4043267"/>
                  <a:pt x="409156" y="4048982"/>
                  <a:pt x="411823" y="4053078"/>
                </a:cubicBezTo>
                <a:cubicBezTo>
                  <a:pt x="683572" y="4484656"/>
                  <a:pt x="1033139" y="4842701"/>
                  <a:pt x="1439380" y="5147405"/>
                </a:cubicBezTo>
                <a:lnTo>
                  <a:pt x="5710010" y="5150263"/>
                </a:lnTo>
                <a:cubicBezTo>
                  <a:pt x="5810594" y="5075482"/>
                  <a:pt x="5907272" y="4995587"/>
                  <a:pt x="5999665" y="4910900"/>
                </a:cubicBezTo>
                <a:cubicBezTo>
                  <a:pt x="6418765" y="4526661"/>
                  <a:pt x="6746901" y="4078129"/>
                  <a:pt x="6954165" y="3545777"/>
                </a:cubicBezTo>
                <a:cubicBezTo>
                  <a:pt x="7048234" y="3306175"/>
                  <a:pt x="7109956" y="3055115"/>
                  <a:pt x="7137712" y="2799207"/>
                </a:cubicBezTo>
                <a:cubicBezTo>
                  <a:pt x="7139236" y="2784920"/>
                  <a:pt x="7141046" y="2770632"/>
                  <a:pt x="7142951" y="2754535"/>
                </a:cubicBezTo>
                <a:cubicBezTo>
                  <a:pt x="7151714" y="2760440"/>
                  <a:pt x="7149237" y="2768441"/>
                  <a:pt x="7149428" y="2774823"/>
                </a:cubicBezTo>
                <a:cubicBezTo>
                  <a:pt x="7156743" y="3007967"/>
                  <a:pt x="7128777" y="3240881"/>
                  <a:pt x="7066465" y="3465672"/>
                </a:cubicBezTo>
                <a:cubicBezTo>
                  <a:pt x="6952165" y="3878580"/>
                  <a:pt x="6737948" y="4235863"/>
                  <a:pt x="6452578" y="4552760"/>
                </a:cubicBezTo>
                <a:cubicBezTo>
                  <a:pt x="6244553" y="4783836"/>
                  <a:pt x="6008809" y="4980242"/>
                  <a:pt x="5752110" y="5150263"/>
                </a:cubicBezTo>
                <a:lnTo>
                  <a:pt x="5827643" y="5150263"/>
                </a:lnTo>
                <a:cubicBezTo>
                  <a:pt x="6136539" y="4938904"/>
                  <a:pt x="6412192" y="4689348"/>
                  <a:pt x="6642793" y="4389406"/>
                </a:cubicBezTo>
                <a:cubicBezTo>
                  <a:pt x="6851295" y="4118324"/>
                  <a:pt x="7009125" y="3820859"/>
                  <a:pt x="7102469" y="3490817"/>
                </a:cubicBezTo>
                <a:cubicBezTo>
                  <a:pt x="7148646" y="3327473"/>
                  <a:pt x="7177069" y="3159624"/>
                  <a:pt x="7187242" y="2990183"/>
                </a:cubicBezTo>
                <a:cubicBezTo>
                  <a:pt x="7187623" y="2984087"/>
                  <a:pt x="7182384" y="2642330"/>
                  <a:pt x="7178288" y="2604802"/>
                </a:cubicBezTo>
                <a:close/>
                <a:moveTo>
                  <a:pt x="6342565" y="441389"/>
                </a:moveTo>
                <a:cubicBezTo>
                  <a:pt x="6829797" y="986533"/>
                  <a:pt x="7091135" y="1624422"/>
                  <a:pt x="7126567" y="2355056"/>
                </a:cubicBezTo>
                <a:cubicBezTo>
                  <a:pt x="7001123" y="1661827"/>
                  <a:pt x="6756426" y="1017365"/>
                  <a:pt x="6342565" y="441389"/>
                </a:cubicBez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Arial"/>
              <a:ea typeface="+mn-ea"/>
              <a:cs typeface="+mn-cs"/>
            </a:endParaRPr>
          </a:p>
        </p:txBody>
      </p:sp>
      <p:sp>
        <p:nvSpPr>
          <p:cNvPr id="62" name="sketch line">
            <a:extLst>
              <a:ext uri="{FF2B5EF4-FFF2-40B4-BE49-F238E27FC236}">
                <a16:creationId xmlns:a16="http://schemas.microsoft.com/office/drawing/2014/main" id="{41F77738-2AF0-4750-A0C7-F97C2C17590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961309" y="6260247"/>
            <a:ext cx="6365383" cy="27432"/>
          </a:xfrm>
          <a:custGeom>
            <a:avLst/>
            <a:gdLst>
              <a:gd name="connsiteX0" fmla="*/ 0 w 6365383"/>
              <a:gd name="connsiteY0" fmla="*/ 0 h 27432"/>
              <a:gd name="connsiteX1" fmla="*/ 636538 w 6365383"/>
              <a:gd name="connsiteY1" fmla="*/ 0 h 27432"/>
              <a:gd name="connsiteX2" fmla="*/ 1273077 w 6365383"/>
              <a:gd name="connsiteY2" fmla="*/ 0 h 27432"/>
              <a:gd name="connsiteX3" fmla="*/ 1909615 w 6365383"/>
              <a:gd name="connsiteY3" fmla="*/ 0 h 27432"/>
              <a:gd name="connsiteX4" fmla="*/ 2673461 w 6365383"/>
              <a:gd name="connsiteY4" fmla="*/ 0 h 27432"/>
              <a:gd name="connsiteX5" fmla="*/ 3373653 w 6365383"/>
              <a:gd name="connsiteY5" fmla="*/ 0 h 27432"/>
              <a:gd name="connsiteX6" fmla="*/ 3819230 w 6365383"/>
              <a:gd name="connsiteY6" fmla="*/ 0 h 27432"/>
              <a:gd name="connsiteX7" fmla="*/ 4392114 w 6365383"/>
              <a:gd name="connsiteY7" fmla="*/ 0 h 27432"/>
              <a:gd name="connsiteX8" fmla="*/ 5155960 w 6365383"/>
              <a:gd name="connsiteY8" fmla="*/ 0 h 27432"/>
              <a:gd name="connsiteX9" fmla="*/ 5792499 w 6365383"/>
              <a:gd name="connsiteY9" fmla="*/ 0 h 27432"/>
              <a:gd name="connsiteX10" fmla="*/ 6365383 w 6365383"/>
              <a:gd name="connsiteY10" fmla="*/ 0 h 27432"/>
              <a:gd name="connsiteX11" fmla="*/ 6365383 w 6365383"/>
              <a:gd name="connsiteY11" fmla="*/ 27432 h 27432"/>
              <a:gd name="connsiteX12" fmla="*/ 5856152 w 6365383"/>
              <a:gd name="connsiteY12" fmla="*/ 27432 h 27432"/>
              <a:gd name="connsiteX13" fmla="*/ 5092306 w 6365383"/>
              <a:gd name="connsiteY13" fmla="*/ 27432 h 27432"/>
              <a:gd name="connsiteX14" fmla="*/ 4583076 w 6365383"/>
              <a:gd name="connsiteY14" fmla="*/ 27432 h 27432"/>
              <a:gd name="connsiteX15" fmla="*/ 4137499 w 6365383"/>
              <a:gd name="connsiteY15" fmla="*/ 27432 h 27432"/>
              <a:gd name="connsiteX16" fmla="*/ 3691922 w 6365383"/>
              <a:gd name="connsiteY16" fmla="*/ 27432 h 27432"/>
              <a:gd name="connsiteX17" fmla="*/ 2991730 w 6365383"/>
              <a:gd name="connsiteY17" fmla="*/ 27432 h 27432"/>
              <a:gd name="connsiteX18" fmla="*/ 2546153 w 6365383"/>
              <a:gd name="connsiteY18" fmla="*/ 27432 h 27432"/>
              <a:gd name="connsiteX19" fmla="*/ 1909615 w 6365383"/>
              <a:gd name="connsiteY19" fmla="*/ 27432 h 27432"/>
              <a:gd name="connsiteX20" fmla="*/ 1400384 w 6365383"/>
              <a:gd name="connsiteY20" fmla="*/ 27432 h 27432"/>
              <a:gd name="connsiteX21" fmla="*/ 763846 w 6365383"/>
              <a:gd name="connsiteY21" fmla="*/ 27432 h 27432"/>
              <a:gd name="connsiteX22" fmla="*/ 0 w 6365383"/>
              <a:gd name="connsiteY22" fmla="*/ 27432 h 27432"/>
              <a:gd name="connsiteX23" fmla="*/ 0 w 6365383"/>
              <a:gd name="connsiteY23" fmla="*/ 0 h 27432"/>
              <a:gd name="connsiteX0" fmla="*/ 0 w 6365383"/>
              <a:gd name="connsiteY0" fmla="*/ 0 h 27432"/>
              <a:gd name="connsiteX1" fmla="*/ 572884 w 6365383"/>
              <a:gd name="connsiteY1" fmla="*/ 0 h 27432"/>
              <a:gd name="connsiteX2" fmla="*/ 1018461 w 6365383"/>
              <a:gd name="connsiteY2" fmla="*/ 0 h 27432"/>
              <a:gd name="connsiteX3" fmla="*/ 1782307 w 6365383"/>
              <a:gd name="connsiteY3" fmla="*/ 0 h 27432"/>
              <a:gd name="connsiteX4" fmla="*/ 2355192 w 6365383"/>
              <a:gd name="connsiteY4" fmla="*/ 0 h 27432"/>
              <a:gd name="connsiteX5" fmla="*/ 2928076 w 6365383"/>
              <a:gd name="connsiteY5" fmla="*/ 0 h 27432"/>
              <a:gd name="connsiteX6" fmla="*/ 3691922 w 6365383"/>
              <a:gd name="connsiteY6" fmla="*/ 0 h 27432"/>
              <a:gd name="connsiteX7" fmla="*/ 4201153 w 6365383"/>
              <a:gd name="connsiteY7" fmla="*/ 0 h 27432"/>
              <a:gd name="connsiteX8" fmla="*/ 4964999 w 6365383"/>
              <a:gd name="connsiteY8" fmla="*/ 0 h 27432"/>
              <a:gd name="connsiteX9" fmla="*/ 5728845 w 6365383"/>
              <a:gd name="connsiteY9" fmla="*/ 0 h 27432"/>
              <a:gd name="connsiteX10" fmla="*/ 6365383 w 6365383"/>
              <a:gd name="connsiteY10" fmla="*/ 0 h 27432"/>
              <a:gd name="connsiteX11" fmla="*/ 6365383 w 6365383"/>
              <a:gd name="connsiteY11" fmla="*/ 27432 h 27432"/>
              <a:gd name="connsiteX12" fmla="*/ 5665191 w 6365383"/>
              <a:gd name="connsiteY12" fmla="*/ 27432 h 27432"/>
              <a:gd name="connsiteX13" fmla="*/ 4901345 w 6365383"/>
              <a:gd name="connsiteY13" fmla="*/ 27432 h 27432"/>
              <a:gd name="connsiteX14" fmla="*/ 4137499 w 6365383"/>
              <a:gd name="connsiteY14" fmla="*/ 27432 h 27432"/>
              <a:gd name="connsiteX15" fmla="*/ 3628268 w 6365383"/>
              <a:gd name="connsiteY15" fmla="*/ 27432 h 27432"/>
              <a:gd name="connsiteX16" fmla="*/ 2991730 w 6365383"/>
              <a:gd name="connsiteY16" fmla="*/ 27432 h 27432"/>
              <a:gd name="connsiteX17" fmla="*/ 2227884 w 6365383"/>
              <a:gd name="connsiteY17" fmla="*/ 27432 h 27432"/>
              <a:gd name="connsiteX18" fmla="*/ 1591346 w 6365383"/>
              <a:gd name="connsiteY18" fmla="*/ 27432 h 27432"/>
              <a:gd name="connsiteX19" fmla="*/ 1145769 w 6365383"/>
              <a:gd name="connsiteY19" fmla="*/ 27432 h 27432"/>
              <a:gd name="connsiteX20" fmla="*/ 636538 w 6365383"/>
              <a:gd name="connsiteY20" fmla="*/ 27432 h 27432"/>
              <a:gd name="connsiteX21" fmla="*/ 0 w 6365383"/>
              <a:gd name="connsiteY21" fmla="*/ 27432 h 27432"/>
              <a:gd name="connsiteX22" fmla="*/ 0 w 6365383"/>
              <a:gd name="connsiteY22"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365383" h="27432" fill="none" extrusionOk="0">
                <a:moveTo>
                  <a:pt x="0" y="0"/>
                </a:moveTo>
                <a:cubicBezTo>
                  <a:pt x="311910" y="25756"/>
                  <a:pt x="328854" y="-22977"/>
                  <a:pt x="636538" y="0"/>
                </a:cubicBezTo>
                <a:cubicBezTo>
                  <a:pt x="929901" y="50670"/>
                  <a:pt x="1067253" y="-1993"/>
                  <a:pt x="1273077" y="0"/>
                </a:cubicBezTo>
                <a:cubicBezTo>
                  <a:pt x="1507620" y="-24857"/>
                  <a:pt x="1747799" y="-10413"/>
                  <a:pt x="1909615" y="0"/>
                </a:cubicBezTo>
                <a:cubicBezTo>
                  <a:pt x="2041097" y="-21585"/>
                  <a:pt x="2422417" y="-28022"/>
                  <a:pt x="2673461" y="0"/>
                </a:cubicBezTo>
                <a:cubicBezTo>
                  <a:pt x="2948394" y="-4560"/>
                  <a:pt x="3134893" y="36981"/>
                  <a:pt x="3373653" y="0"/>
                </a:cubicBezTo>
                <a:cubicBezTo>
                  <a:pt x="3634761" y="-15887"/>
                  <a:pt x="3700843" y="23167"/>
                  <a:pt x="3819230" y="0"/>
                </a:cubicBezTo>
                <a:cubicBezTo>
                  <a:pt x="3977295" y="2943"/>
                  <a:pt x="4128910" y="-53150"/>
                  <a:pt x="4392114" y="0"/>
                </a:cubicBezTo>
                <a:cubicBezTo>
                  <a:pt x="4672763" y="9214"/>
                  <a:pt x="4999833" y="38501"/>
                  <a:pt x="5155960" y="0"/>
                </a:cubicBezTo>
                <a:cubicBezTo>
                  <a:pt x="5343367" y="-6557"/>
                  <a:pt x="5597661" y="6622"/>
                  <a:pt x="5792499" y="0"/>
                </a:cubicBezTo>
                <a:cubicBezTo>
                  <a:pt x="6020774" y="43813"/>
                  <a:pt x="6148830" y="-13954"/>
                  <a:pt x="6365383" y="0"/>
                </a:cubicBezTo>
                <a:cubicBezTo>
                  <a:pt x="6364517" y="8091"/>
                  <a:pt x="6365728" y="20268"/>
                  <a:pt x="6365383" y="27432"/>
                </a:cubicBezTo>
                <a:cubicBezTo>
                  <a:pt x="6144545" y="15144"/>
                  <a:pt x="6006673" y="-7419"/>
                  <a:pt x="5856152" y="27432"/>
                </a:cubicBezTo>
                <a:cubicBezTo>
                  <a:pt x="5638446" y="81548"/>
                  <a:pt x="5413846" y="52067"/>
                  <a:pt x="5092306" y="27432"/>
                </a:cubicBezTo>
                <a:cubicBezTo>
                  <a:pt x="4768499" y="43350"/>
                  <a:pt x="4708569" y="3163"/>
                  <a:pt x="4583076" y="27432"/>
                </a:cubicBezTo>
                <a:cubicBezTo>
                  <a:pt x="4475482" y="66269"/>
                  <a:pt x="4242792" y="42702"/>
                  <a:pt x="4137499" y="27432"/>
                </a:cubicBezTo>
                <a:cubicBezTo>
                  <a:pt x="4003968" y="24039"/>
                  <a:pt x="3882646" y="-3026"/>
                  <a:pt x="3691922" y="27432"/>
                </a:cubicBezTo>
                <a:cubicBezTo>
                  <a:pt x="3501639" y="8096"/>
                  <a:pt x="3270842" y="-14942"/>
                  <a:pt x="2991730" y="27432"/>
                </a:cubicBezTo>
                <a:cubicBezTo>
                  <a:pt x="2712135" y="55419"/>
                  <a:pt x="2758697" y="31955"/>
                  <a:pt x="2546153" y="27432"/>
                </a:cubicBezTo>
                <a:cubicBezTo>
                  <a:pt x="2362220" y="-818"/>
                  <a:pt x="2130397" y="57099"/>
                  <a:pt x="1909615" y="27432"/>
                </a:cubicBezTo>
                <a:cubicBezTo>
                  <a:pt x="1714835" y="-15389"/>
                  <a:pt x="1636770" y="40318"/>
                  <a:pt x="1400384" y="27432"/>
                </a:cubicBezTo>
                <a:cubicBezTo>
                  <a:pt x="1161504" y="29515"/>
                  <a:pt x="1060819" y="7773"/>
                  <a:pt x="763846" y="27432"/>
                </a:cubicBezTo>
                <a:cubicBezTo>
                  <a:pt x="465096" y="43671"/>
                  <a:pt x="165309" y="15831"/>
                  <a:pt x="0" y="27432"/>
                </a:cubicBezTo>
                <a:cubicBezTo>
                  <a:pt x="-2013" y="18874"/>
                  <a:pt x="-525" y="8614"/>
                  <a:pt x="0" y="0"/>
                </a:cubicBezTo>
                <a:close/>
              </a:path>
              <a:path w="6365383" h="27432" stroke="0" extrusionOk="0">
                <a:moveTo>
                  <a:pt x="0" y="0"/>
                </a:moveTo>
                <a:cubicBezTo>
                  <a:pt x="84020" y="9133"/>
                  <a:pt x="339524" y="24523"/>
                  <a:pt x="572884" y="0"/>
                </a:cubicBezTo>
                <a:cubicBezTo>
                  <a:pt x="803790" y="-14011"/>
                  <a:pt x="837492" y="-10007"/>
                  <a:pt x="1018461" y="0"/>
                </a:cubicBezTo>
                <a:cubicBezTo>
                  <a:pt x="1188530" y="8943"/>
                  <a:pt x="1571061" y="17361"/>
                  <a:pt x="1782307" y="0"/>
                </a:cubicBezTo>
                <a:cubicBezTo>
                  <a:pt x="1967448" y="-16010"/>
                  <a:pt x="2153334" y="-25629"/>
                  <a:pt x="2355192" y="0"/>
                </a:cubicBezTo>
                <a:cubicBezTo>
                  <a:pt x="2541804" y="20205"/>
                  <a:pt x="2779440" y="53811"/>
                  <a:pt x="2928076" y="0"/>
                </a:cubicBezTo>
                <a:cubicBezTo>
                  <a:pt x="3024078" y="-16903"/>
                  <a:pt x="3337092" y="43483"/>
                  <a:pt x="3691922" y="0"/>
                </a:cubicBezTo>
                <a:cubicBezTo>
                  <a:pt x="4060895" y="-1064"/>
                  <a:pt x="4072166" y="-17195"/>
                  <a:pt x="4201153" y="0"/>
                </a:cubicBezTo>
                <a:cubicBezTo>
                  <a:pt x="4349835" y="-22516"/>
                  <a:pt x="4800106" y="-64797"/>
                  <a:pt x="4964999" y="0"/>
                </a:cubicBezTo>
                <a:cubicBezTo>
                  <a:pt x="5186764" y="15779"/>
                  <a:pt x="5564421" y="-10544"/>
                  <a:pt x="5728845" y="0"/>
                </a:cubicBezTo>
                <a:cubicBezTo>
                  <a:pt x="5915953" y="5493"/>
                  <a:pt x="6171384" y="-48026"/>
                  <a:pt x="6365383" y="0"/>
                </a:cubicBezTo>
                <a:cubicBezTo>
                  <a:pt x="6366596" y="6455"/>
                  <a:pt x="6365588" y="14391"/>
                  <a:pt x="6365383" y="27432"/>
                </a:cubicBezTo>
                <a:cubicBezTo>
                  <a:pt x="6172514" y="805"/>
                  <a:pt x="6006523" y="20734"/>
                  <a:pt x="5665191" y="27432"/>
                </a:cubicBezTo>
                <a:cubicBezTo>
                  <a:pt x="5322179" y="66687"/>
                  <a:pt x="5219376" y="21111"/>
                  <a:pt x="4901345" y="27432"/>
                </a:cubicBezTo>
                <a:cubicBezTo>
                  <a:pt x="4621310" y="-13654"/>
                  <a:pt x="4455192" y="54857"/>
                  <a:pt x="4137499" y="27432"/>
                </a:cubicBezTo>
                <a:cubicBezTo>
                  <a:pt x="3853317" y="12285"/>
                  <a:pt x="3862894" y="26263"/>
                  <a:pt x="3628268" y="27432"/>
                </a:cubicBezTo>
                <a:cubicBezTo>
                  <a:pt x="3418779" y="32610"/>
                  <a:pt x="3174456" y="83656"/>
                  <a:pt x="2991730" y="27432"/>
                </a:cubicBezTo>
                <a:cubicBezTo>
                  <a:pt x="2801278" y="6667"/>
                  <a:pt x="2497351" y="22891"/>
                  <a:pt x="2227884" y="27432"/>
                </a:cubicBezTo>
                <a:cubicBezTo>
                  <a:pt x="1986101" y="16297"/>
                  <a:pt x="1767219" y="-7535"/>
                  <a:pt x="1591346" y="27432"/>
                </a:cubicBezTo>
                <a:cubicBezTo>
                  <a:pt x="1447183" y="73731"/>
                  <a:pt x="1315973" y="39477"/>
                  <a:pt x="1145769" y="27432"/>
                </a:cubicBezTo>
                <a:cubicBezTo>
                  <a:pt x="990245" y="8882"/>
                  <a:pt x="810845" y="16910"/>
                  <a:pt x="636538" y="27432"/>
                </a:cubicBezTo>
                <a:cubicBezTo>
                  <a:pt x="482916" y="17795"/>
                  <a:pt x="183027" y="-17710"/>
                  <a:pt x="0" y="27432"/>
                </a:cubicBezTo>
                <a:cubicBezTo>
                  <a:pt x="491" y="19542"/>
                  <a:pt x="-1038" y="8534"/>
                  <a:pt x="0" y="0"/>
                </a:cubicBezTo>
                <a:close/>
              </a:path>
              <a:path w="6365383" h="27432" fill="none" stroke="0" extrusionOk="0">
                <a:moveTo>
                  <a:pt x="0" y="0"/>
                </a:moveTo>
                <a:cubicBezTo>
                  <a:pt x="296223" y="15991"/>
                  <a:pt x="333462" y="-23795"/>
                  <a:pt x="636538" y="0"/>
                </a:cubicBezTo>
                <a:cubicBezTo>
                  <a:pt x="970197" y="30961"/>
                  <a:pt x="1039864" y="3183"/>
                  <a:pt x="1273077" y="0"/>
                </a:cubicBezTo>
                <a:cubicBezTo>
                  <a:pt x="1449809" y="24819"/>
                  <a:pt x="1735152" y="23060"/>
                  <a:pt x="1909615" y="0"/>
                </a:cubicBezTo>
                <a:cubicBezTo>
                  <a:pt x="2016351" y="-41665"/>
                  <a:pt x="2415001" y="34773"/>
                  <a:pt x="2673461" y="0"/>
                </a:cubicBezTo>
                <a:cubicBezTo>
                  <a:pt x="2996983" y="-13411"/>
                  <a:pt x="3130707" y="3741"/>
                  <a:pt x="3373653" y="0"/>
                </a:cubicBezTo>
                <a:cubicBezTo>
                  <a:pt x="3601951" y="-16140"/>
                  <a:pt x="3689909" y="23222"/>
                  <a:pt x="3819230" y="0"/>
                </a:cubicBezTo>
                <a:cubicBezTo>
                  <a:pt x="3931872" y="-29406"/>
                  <a:pt x="4119438" y="24094"/>
                  <a:pt x="4392114" y="0"/>
                </a:cubicBezTo>
                <a:cubicBezTo>
                  <a:pt x="4665359" y="21557"/>
                  <a:pt x="4978709" y="13267"/>
                  <a:pt x="5155960" y="0"/>
                </a:cubicBezTo>
                <a:cubicBezTo>
                  <a:pt x="5299518" y="-18386"/>
                  <a:pt x="5605020" y="-6762"/>
                  <a:pt x="5792499" y="0"/>
                </a:cubicBezTo>
                <a:cubicBezTo>
                  <a:pt x="6013281" y="43398"/>
                  <a:pt x="6167567" y="36727"/>
                  <a:pt x="6365383" y="0"/>
                </a:cubicBezTo>
                <a:cubicBezTo>
                  <a:pt x="6365697" y="8368"/>
                  <a:pt x="6365332" y="21050"/>
                  <a:pt x="6365383" y="27432"/>
                </a:cubicBezTo>
                <a:cubicBezTo>
                  <a:pt x="6154893" y="8454"/>
                  <a:pt x="6014206" y="-8372"/>
                  <a:pt x="5856152" y="27432"/>
                </a:cubicBezTo>
                <a:cubicBezTo>
                  <a:pt x="5659455" y="59503"/>
                  <a:pt x="5350806" y="-35991"/>
                  <a:pt x="5092306" y="27432"/>
                </a:cubicBezTo>
                <a:cubicBezTo>
                  <a:pt x="4756309" y="48260"/>
                  <a:pt x="4699746" y="-4780"/>
                  <a:pt x="4583076" y="27432"/>
                </a:cubicBezTo>
                <a:cubicBezTo>
                  <a:pt x="4462137" y="30142"/>
                  <a:pt x="4226168" y="50236"/>
                  <a:pt x="4137499" y="27432"/>
                </a:cubicBezTo>
                <a:cubicBezTo>
                  <a:pt x="4018570" y="42181"/>
                  <a:pt x="3887179" y="34623"/>
                  <a:pt x="3691922" y="27432"/>
                </a:cubicBezTo>
                <a:cubicBezTo>
                  <a:pt x="3499755" y="32935"/>
                  <a:pt x="3281056" y="-9158"/>
                  <a:pt x="2991730" y="27432"/>
                </a:cubicBezTo>
                <a:cubicBezTo>
                  <a:pt x="2716073" y="57462"/>
                  <a:pt x="2755481" y="34494"/>
                  <a:pt x="2546153" y="27432"/>
                </a:cubicBezTo>
                <a:cubicBezTo>
                  <a:pt x="2356479" y="62622"/>
                  <a:pt x="2079190" y="73729"/>
                  <a:pt x="1909615" y="27432"/>
                </a:cubicBezTo>
                <a:cubicBezTo>
                  <a:pt x="1715819" y="-26444"/>
                  <a:pt x="1631368" y="48131"/>
                  <a:pt x="1400384" y="27432"/>
                </a:cubicBezTo>
                <a:cubicBezTo>
                  <a:pt x="1177327" y="16190"/>
                  <a:pt x="1065236" y="24992"/>
                  <a:pt x="763846" y="27432"/>
                </a:cubicBezTo>
                <a:cubicBezTo>
                  <a:pt x="448643" y="60691"/>
                  <a:pt x="160833" y="2330"/>
                  <a:pt x="0" y="27432"/>
                </a:cubicBezTo>
                <a:cubicBezTo>
                  <a:pt x="1559" y="18666"/>
                  <a:pt x="-585" y="7580"/>
                  <a:pt x="0" y="0"/>
                </a:cubicBezTo>
                <a:close/>
              </a:path>
            </a:pathLst>
          </a:custGeom>
          <a:solidFill>
            <a:srgbClr val="FFFFFF"/>
          </a:solidFill>
          <a:ln w="41275" cap="rnd">
            <a:solidFill>
              <a:srgbClr val="FFFFFF"/>
            </a:solidFill>
            <a:round/>
            <a:extLst>
              <a:ext uri="{C807C97D-BFC1-408E-A445-0C87EB9F89A2}">
                <ask:lineSketchStyleProps xmlns:ask="http://schemas.microsoft.com/office/drawing/2018/sketchyshapes" sd="1219033472">
                  <a:custGeom>
                    <a:avLst/>
                    <a:gdLst>
                      <a:gd name="connsiteX0" fmla="*/ 0 w 6365383"/>
                      <a:gd name="connsiteY0" fmla="*/ 0 h 27432"/>
                      <a:gd name="connsiteX1" fmla="*/ 636538 w 6365383"/>
                      <a:gd name="connsiteY1" fmla="*/ 0 h 27432"/>
                      <a:gd name="connsiteX2" fmla="*/ 1273077 w 6365383"/>
                      <a:gd name="connsiteY2" fmla="*/ 0 h 27432"/>
                      <a:gd name="connsiteX3" fmla="*/ 1909615 w 6365383"/>
                      <a:gd name="connsiteY3" fmla="*/ 0 h 27432"/>
                      <a:gd name="connsiteX4" fmla="*/ 2673461 w 6365383"/>
                      <a:gd name="connsiteY4" fmla="*/ 0 h 27432"/>
                      <a:gd name="connsiteX5" fmla="*/ 3373653 w 6365383"/>
                      <a:gd name="connsiteY5" fmla="*/ 0 h 27432"/>
                      <a:gd name="connsiteX6" fmla="*/ 3819230 w 6365383"/>
                      <a:gd name="connsiteY6" fmla="*/ 0 h 27432"/>
                      <a:gd name="connsiteX7" fmla="*/ 4392114 w 6365383"/>
                      <a:gd name="connsiteY7" fmla="*/ 0 h 27432"/>
                      <a:gd name="connsiteX8" fmla="*/ 5155960 w 6365383"/>
                      <a:gd name="connsiteY8" fmla="*/ 0 h 27432"/>
                      <a:gd name="connsiteX9" fmla="*/ 5792499 w 6365383"/>
                      <a:gd name="connsiteY9" fmla="*/ 0 h 27432"/>
                      <a:gd name="connsiteX10" fmla="*/ 6365383 w 6365383"/>
                      <a:gd name="connsiteY10" fmla="*/ 0 h 27432"/>
                      <a:gd name="connsiteX11" fmla="*/ 6365383 w 6365383"/>
                      <a:gd name="connsiteY11" fmla="*/ 27432 h 27432"/>
                      <a:gd name="connsiteX12" fmla="*/ 5856152 w 6365383"/>
                      <a:gd name="connsiteY12" fmla="*/ 27432 h 27432"/>
                      <a:gd name="connsiteX13" fmla="*/ 5092306 w 6365383"/>
                      <a:gd name="connsiteY13" fmla="*/ 27432 h 27432"/>
                      <a:gd name="connsiteX14" fmla="*/ 4583076 w 6365383"/>
                      <a:gd name="connsiteY14" fmla="*/ 27432 h 27432"/>
                      <a:gd name="connsiteX15" fmla="*/ 4137499 w 6365383"/>
                      <a:gd name="connsiteY15" fmla="*/ 27432 h 27432"/>
                      <a:gd name="connsiteX16" fmla="*/ 3691922 w 6365383"/>
                      <a:gd name="connsiteY16" fmla="*/ 27432 h 27432"/>
                      <a:gd name="connsiteX17" fmla="*/ 2991730 w 6365383"/>
                      <a:gd name="connsiteY17" fmla="*/ 27432 h 27432"/>
                      <a:gd name="connsiteX18" fmla="*/ 2546153 w 6365383"/>
                      <a:gd name="connsiteY18" fmla="*/ 27432 h 27432"/>
                      <a:gd name="connsiteX19" fmla="*/ 1909615 w 6365383"/>
                      <a:gd name="connsiteY19" fmla="*/ 27432 h 27432"/>
                      <a:gd name="connsiteX20" fmla="*/ 1400384 w 6365383"/>
                      <a:gd name="connsiteY20" fmla="*/ 27432 h 27432"/>
                      <a:gd name="connsiteX21" fmla="*/ 763846 w 6365383"/>
                      <a:gd name="connsiteY21" fmla="*/ 27432 h 27432"/>
                      <a:gd name="connsiteX22" fmla="*/ 0 w 6365383"/>
                      <a:gd name="connsiteY22" fmla="*/ 27432 h 27432"/>
                      <a:gd name="connsiteX23" fmla="*/ 0 w 6365383"/>
                      <a:gd name="connsiteY23"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365383" h="27432" fill="none" extrusionOk="0">
                        <a:moveTo>
                          <a:pt x="0" y="0"/>
                        </a:moveTo>
                        <a:cubicBezTo>
                          <a:pt x="305169" y="21509"/>
                          <a:pt x="334704" y="-24261"/>
                          <a:pt x="636538" y="0"/>
                        </a:cubicBezTo>
                        <a:cubicBezTo>
                          <a:pt x="938372" y="24261"/>
                          <a:pt x="1068606" y="2269"/>
                          <a:pt x="1273077" y="0"/>
                        </a:cubicBezTo>
                        <a:cubicBezTo>
                          <a:pt x="1477548" y="-2269"/>
                          <a:pt x="1738189" y="6272"/>
                          <a:pt x="1909615" y="0"/>
                        </a:cubicBezTo>
                        <a:cubicBezTo>
                          <a:pt x="2081041" y="-6272"/>
                          <a:pt x="2377015" y="16623"/>
                          <a:pt x="2673461" y="0"/>
                        </a:cubicBezTo>
                        <a:cubicBezTo>
                          <a:pt x="2969907" y="-16623"/>
                          <a:pt x="3126114" y="13194"/>
                          <a:pt x="3373653" y="0"/>
                        </a:cubicBezTo>
                        <a:cubicBezTo>
                          <a:pt x="3621192" y="-13194"/>
                          <a:pt x="3704499" y="9486"/>
                          <a:pt x="3819230" y="0"/>
                        </a:cubicBezTo>
                        <a:cubicBezTo>
                          <a:pt x="3933961" y="-9486"/>
                          <a:pt x="4142691" y="-8221"/>
                          <a:pt x="4392114" y="0"/>
                        </a:cubicBezTo>
                        <a:cubicBezTo>
                          <a:pt x="4641537" y="8221"/>
                          <a:pt x="4974506" y="12257"/>
                          <a:pt x="5155960" y="0"/>
                        </a:cubicBezTo>
                        <a:cubicBezTo>
                          <a:pt x="5337414" y="-12257"/>
                          <a:pt x="5585731" y="-22537"/>
                          <a:pt x="5792499" y="0"/>
                        </a:cubicBezTo>
                        <a:cubicBezTo>
                          <a:pt x="5999267" y="22537"/>
                          <a:pt x="6164726" y="7303"/>
                          <a:pt x="6365383" y="0"/>
                        </a:cubicBezTo>
                        <a:cubicBezTo>
                          <a:pt x="6365125" y="7487"/>
                          <a:pt x="6364462" y="19984"/>
                          <a:pt x="6365383" y="27432"/>
                        </a:cubicBezTo>
                        <a:cubicBezTo>
                          <a:pt x="6132222" y="28304"/>
                          <a:pt x="6011986" y="2071"/>
                          <a:pt x="5856152" y="27432"/>
                        </a:cubicBezTo>
                        <a:cubicBezTo>
                          <a:pt x="5700318" y="52793"/>
                          <a:pt x="5410732" y="5357"/>
                          <a:pt x="5092306" y="27432"/>
                        </a:cubicBezTo>
                        <a:cubicBezTo>
                          <a:pt x="4773880" y="49507"/>
                          <a:pt x="4705351" y="6645"/>
                          <a:pt x="4583076" y="27432"/>
                        </a:cubicBezTo>
                        <a:cubicBezTo>
                          <a:pt x="4460801" y="48220"/>
                          <a:pt x="4239915" y="42209"/>
                          <a:pt x="4137499" y="27432"/>
                        </a:cubicBezTo>
                        <a:cubicBezTo>
                          <a:pt x="4035083" y="12655"/>
                          <a:pt x="3883665" y="32012"/>
                          <a:pt x="3691922" y="27432"/>
                        </a:cubicBezTo>
                        <a:cubicBezTo>
                          <a:pt x="3500179" y="22852"/>
                          <a:pt x="3265830" y="-126"/>
                          <a:pt x="2991730" y="27432"/>
                        </a:cubicBezTo>
                        <a:cubicBezTo>
                          <a:pt x="2717630" y="54990"/>
                          <a:pt x="2757122" y="34407"/>
                          <a:pt x="2546153" y="27432"/>
                        </a:cubicBezTo>
                        <a:cubicBezTo>
                          <a:pt x="2335184" y="20457"/>
                          <a:pt x="2107331" y="58889"/>
                          <a:pt x="1909615" y="27432"/>
                        </a:cubicBezTo>
                        <a:cubicBezTo>
                          <a:pt x="1711899" y="-4025"/>
                          <a:pt x="1634641" y="48316"/>
                          <a:pt x="1400384" y="27432"/>
                        </a:cubicBezTo>
                        <a:cubicBezTo>
                          <a:pt x="1166127" y="6548"/>
                          <a:pt x="1068288" y="15776"/>
                          <a:pt x="763846" y="27432"/>
                        </a:cubicBezTo>
                        <a:cubicBezTo>
                          <a:pt x="459404" y="39088"/>
                          <a:pt x="170017" y="14515"/>
                          <a:pt x="0" y="27432"/>
                        </a:cubicBezTo>
                        <a:cubicBezTo>
                          <a:pt x="-14" y="18173"/>
                          <a:pt x="-517" y="8990"/>
                          <a:pt x="0" y="0"/>
                        </a:cubicBezTo>
                        <a:close/>
                      </a:path>
                      <a:path w="6365383" h="27432" stroke="0" extrusionOk="0">
                        <a:moveTo>
                          <a:pt x="0" y="0"/>
                        </a:moveTo>
                        <a:cubicBezTo>
                          <a:pt x="114610" y="-2215"/>
                          <a:pt x="340315" y="12554"/>
                          <a:pt x="572884" y="0"/>
                        </a:cubicBezTo>
                        <a:cubicBezTo>
                          <a:pt x="805453" y="-12554"/>
                          <a:pt x="832891" y="-10424"/>
                          <a:pt x="1018461" y="0"/>
                        </a:cubicBezTo>
                        <a:cubicBezTo>
                          <a:pt x="1204031" y="10424"/>
                          <a:pt x="1590875" y="8682"/>
                          <a:pt x="1782307" y="0"/>
                        </a:cubicBezTo>
                        <a:cubicBezTo>
                          <a:pt x="1973739" y="-8682"/>
                          <a:pt x="2150876" y="5508"/>
                          <a:pt x="2355192" y="0"/>
                        </a:cubicBezTo>
                        <a:cubicBezTo>
                          <a:pt x="2559508" y="-5508"/>
                          <a:pt x="2790194" y="26965"/>
                          <a:pt x="2928076" y="0"/>
                        </a:cubicBezTo>
                        <a:cubicBezTo>
                          <a:pt x="3065958" y="-26965"/>
                          <a:pt x="3321537" y="819"/>
                          <a:pt x="3691922" y="0"/>
                        </a:cubicBezTo>
                        <a:cubicBezTo>
                          <a:pt x="4062307" y="-819"/>
                          <a:pt x="4072238" y="-15327"/>
                          <a:pt x="4201153" y="0"/>
                        </a:cubicBezTo>
                        <a:cubicBezTo>
                          <a:pt x="4330068" y="15327"/>
                          <a:pt x="4772079" y="-35646"/>
                          <a:pt x="4964999" y="0"/>
                        </a:cubicBezTo>
                        <a:cubicBezTo>
                          <a:pt x="5157919" y="35646"/>
                          <a:pt x="5543915" y="6802"/>
                          <a:pt x="5728845" y="0"/>
                        </a:cubicBezTo>
                        <a:cubicBezTo>
                          <a:pt x="5913775" y="-6802"/>
                          <a:pt x="6142952" y="-21408"/>
                          <a:pt x="6365383" y="0"/>
                        </a:cubicBezTo>
                        <a:cubicBezTo>
                          <a:pt x="6364552" y="6329"/>
                          <a:pt x="6365787" y="16858"/>
                          <a:pt x="6365383" y="27432"/>
                        </a:cubicBezTo>
                        <a:cubicBezTo>
                          <a:pt x="6176931" y="320"/>
                          <a:pt x="5998736" y="11244"/>
                          <a:pt x="5665191" y="27432"/>
                        </a:cubicBezTo>
                        <a:cubicBezTo>
                          <a:pt x="5331646" y="43620"/>
                          <a:pt x="5198011" y="28615"/>
                          <a:pt x="4901345" y="27432"/>
                        </a:cubicBezTo>
                        <a:cubicBezTo>
                          <a:pt x="4604679" y="26249"/>
                          <a:pt x="4422931" y="40617"/>
                          <a:pt x="4137499" y="27432"/>
                        </a:cubicBezTo>
                        <a:cubicBezTo>
                          <a:pt x="3852067" y="14247"/>
                          <a:pt x="3861939" y="26581"/>
                          <a:pt x="3628268" y="27432"/>
                        </a:cubicBezTo>
                        <a:cubicBezTo>
                          <a:pt x="3394597" y="28283"/>
                          <a:pt x="3171361" y="44132"/>
                          <a:pt x="2991730" y="27432"/>
                        </a:cubicBezTo>
                        <a:cubicBezTo>
                          <a:pt x="2812099" y="10732"/>
                          <a:pt x="2469344" y="24737"/>
                          <a:pt x="2227884" y="27432"/>
                        </a:cubicBezTo>
                        <a:cubicBezTo>
                          <a:pt x="1986424" y="30127"/>
                          <a:pt x="1748067" y="6359"/>
                          <a:pt x="1591346" y="27432"/>
                        </a:cubicBezTo>
                        <a:cubicBezTo>
                          <a:pt x="1434625" y="48505"/>
                          <a:pt x="1307456" y="39663"/>
                          <a:pt x="1145769" y="27432"/>
                        </a:cubicBezTo>
                        <a:cubicBezTo>
                          <a:pt x="984082" y="15201"/>
                          <a:pt x="800279" y="41647"/>
                          <a:pt x="636538" y="27432"/>
                        </a:cubicBezTo>
                        <a:cubicBezTo>
                          <a:pt x="472797" y="13217"/>
                          <a:pt x="160022" y="2213"/>
                          <a:pt x="0" y="27432"/>
                        </a:cubicBezTo>
                        <a:cubicBezTo>
                          <a:pt x="-177" y="19307"/>
                          <a:pt x="-1145" y="9170"/>
                          <a:pt x="0" y="0"/>
                        </a:cubicBezTo>
                        <a:close/>
                      </a:path>
                    </a:pathLst>
                  </a:cu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 name="Title 3">
            <a:extLst>
              <a:ext uri="{FF2B5EF4-FFF2-40B4-BE49-F238E27FC236}">
                <a16:creationId xmlns:a16="http://schemas.microsoft.com/office/drawing/2014/main" id="{EDEB082D-436B-C394-5548-06D8939AF6A2}"/>
              </a:ext>
            </a:extLst>
          </p:cNvPr>
          <p:cNvSpPr>
            <a:spLocks noGrp="1"/>
          </p:cNvSpPr>
          <p:nvPr>
            <p:ph type="title"/>
          </p:nvPr>
        </p:nvSpPr>
        <p:spPr>
          <a:xfrm>
            <a:off x="2819400" y="1764645"/>
            <a:ext cx="13502422" cy="4348463"/>
          </a:xfrm>
        </p:spPr>
        <p:txBody>
          <a:bodyPr vert="horz" lIns="91440" tIns="45720" rIns="91440" bIns="45720" rtlCol="0" anchor="b">
            <a:normAutofit/>
          </a:bodyPr>
          <a:lstStyle/>
          <a:p>
            <a:pPr lvl="0"/>
            <a:r>
              <a:rPr lang="en-GB" sz="7200" b="1" noProof="0" dirty="0">
                <a:solidFill>
                  <a:schemeClr val="bg1"/>
                </a:solidFill>
              </a:rPr>
              <a:t>Step 3: </a:t>
            </a:r>
            <a:br>
              <a:rPr lang="en-GB" sz="7200" b="1" noProof="0" dirty="0">
                <a:solidFill>
                  <a:schemeClr val="bg1"/>
                </a:solidFill>
              </a:rPr>
            </a:br>
            <a:r>
              <a:rPr lang="en-GB" sz="7200" b="1" noProof="0" dirty="0">
                <a:solidFill>
                  <a:schemeClr val="bg1"/>
                </a:solidFill>
              </a:rPr>
              <a:t>Integrate Digital Twin in control environment</a:t>
            </a:r>
            <a:endParaRPr lang="en-GB" sz="7200" noProof="0" dirty="0">
              <a:solidFill>
                <a:schemeClr val="bg1"/>
              </a:solidFill>
            </a:endParaRPr>
          </a:p>
        </p:txBody>
      </p:sp>
    </p:spTree>
    <p:extLst>
      <p:ext uri="{BB962C8B-B14F-4D97-AF65-F5344CB8AC3E}">
        <p14:creationId xmlns:p14="http://schemas.microsoft.com/office/powerpoint/2010/main" val="1676661826"/>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8" descr="RETROFEED FERTIBERIA">
            <a:extLst>
              <a:ext uri="{FF2B5EF4-FFF2-40B4-BE49-F238E27FC236}">
                <a16:creationId xmlns:a16="http://schemas.microsoft.com/office/drawing/2014/main" id="{85BE3DCC-7BD0-0DA3-6DA4-EB820521D84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51885" y="924001"/>
            <a:ext cx="2287452" cy="841782"/>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6"/>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4"/>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5"/>
          <a:srcRect/>
          <a:stretch>
            <a:fillRect/>
          </a:stretch>
        </p:blipFill>
        <p:spPr>
          <a:xfrm>
            <a:off x="0" y="9499590"/>
            <a:ext cx="3247053" cy="787410"/>
          </a:xfrm>
          <a:prstGeom prst="rect">
            <a:avLst/>
          </a:prstGeom>
        </p:spPr>
      </p:pic>
      <p:grpSp>
        <p:nvGrpSpPr>
          <p:cNvPr id="3" name="Gruppo 2">
            <a:extLst>
              <a:ext uri="{FF2B5EF4-FFF2-40B4-BE49-F238E27FC236}">
                <a16:creationId xmlns:a16="http://schemas.microsoft.com/office/drawing/2014/main" id="{D0B44AFC-EABA-48CF-A7A8-348076F88921}"/>
              </a:ext>
            </a:extLst>
          </p:cNvPr>
          <p:cNvGrpSpPr/>
          <p:nvPr/>
        </p:nvGrpSpPr>
        <p:grpSpPr>
          <a:xfrm>
            <a:off x="-12" y="138554"/>
            <a:ext cx="18288002" cy="681138"/>
            <a:chOff x="-12" y="138554"/>
            <a:chExt cx="18288002" cy="681138"/>
          </a:xfrm>
        </p:grpSpPr>
        <p:pic>
          <p:nvPicPr>
            <p:cNvPr id="10" name="Picture 10"/>
            <p:cNvPicPr>
              <a:picLocks noChangeAspect="1"/>
            </p:cNvPicPr>
            <p:nvPr/>
          </p:nvPicPr>
          <p:blipFill>
            <a:blip r:embed="rId6"/>
            <a:srcRect l="134" t="91287" b="3943"/>
            <a:stretch>
              <a:fillRect/>
            </a:stretch>
          </p:blipFill>
          <p:spPr>
            <a:xfrm>
              <a:off x="0" y="153125"/>
              <a:ext cx="13958844" cy="666567"/>
            </a:xfrm>
            <a:prstGeom prst="rect">
              <a:avLst/>
            </a:prstGeom>
          </p:spPr>
        </p:pic>
        <p:sp>
          <p:nvSpPr>
            <p:cNvPr id="15" name="Rettangolo 14">
              <a:extLst>
                <a:ext uri="{FF2B5EF4-FFF2-40B4-BE49-F238E27FC236}">
                  <a16:creationId xmlns:a16="http://schemas.microsoft.com/office/drawing/2014/main" id="{AFFDA913-633F-49C2-9D71-573FB327981F}"/>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7" name="TextBox 13">
            <a:extLst>
              <a:ext uri="{FF2B5EF4-FFF2-40B4-BE49-F238E27FC236}">
                <a16:creationId xmlns:a16="http://schemas.microsoft.com/office/drawing/2014/main" id="{C7197FAA-9C82-4C25-B208-2BF8170DA3D1}"/>
              </a:ext>
            </a:extLst>
          </p:cNvPr>
          <p:cNvSpPr txBox="1"/>
          <p:nvPr/>
        </p:nvSpPr>
        <p:spPr>
          <a:xfrm>
            <a:off x="3247053" y="871996"/>
            <a:ext cx="15725360" cy="1052468"/>
          </a:xfrm>
          <a:prstGeom prst="rect">
            <a:avLst/>
          </a:prstGeom>
        </p:spPr>
        <p:txBody>
          <a:bodyPr wrap="square" lIns="0" tIns="0" rIns="0" bIns="0" rtlCol="0" anchor="t">
            <a:spAutoFit/>
          </a:bodyPr>
          <a:lstStyle/>
          <a:p>
            <a:pPr algn="ctr">
              <a:lnSpc>
                <a:spcPts val="8960"/>
              </a:lnSpc>
              <a:spcBef>
                <a:spcPct val="0"/>
              </a:spcBef>
            </a:pPr>
            <a:r>
              <a:rPr lang="en-US" sz="6400" b="1">
                <a:solidFill>
                  <a:srgbClr val="CC0033"/>
                </a:solidFill>
                <a:latin typeface="+mj-lt"/>
                <a:cs typeface="Arial" panose="020B0604020202020204" pitchFamily="34" charset="0"/>
              </a:rPr>
              <a:t>- Decision Support System</a:t>
            </a:r>
          </a:p>
        </p:txBody>
      </p:sp>
      <p:sp>
        <p:nvSpPr>
          <p:cNvPr id="4" name="TextBox 3">
            <a:extLst>
              <a:ext uri="{FF2B5EF4-FFF2-40B4-BE49-F238E27FC236}">
                <a16:creationId xmlns:a16="http://schemas.microsoft.com/office/drawing/2014/main" id="{3E472FDE-C3FB-45F8-AFD4-DA691DD36BF4}"/>
              </a:ext>
            </a:extLst>
          </p:cNvPr>
          <p:cNvSpPr txBox="1"/>
          <p:nvPr/>
        </p:nvSpPr>
        <p:spPr>
          <a:xfrm>
            <a:off x="3046171" y="3301481"/>
            <a:ext cx="2565968" cy="1169551"/>
          </a:xfrm>
          <a:prstGeom prst="rect">
            <a:avLst/>
          </a:prstGeom>
          <a:noFill/>
        </p:spPr>
        <p:txBody>
          <a:bodyPr wrap="square" rtlCol="0">
            <a:spAutoFit/>
          </a:bodyPr>
          <a:lstStyle/>
          <a:p>
            <a:r>
              <a:rPr lang="sv-SE" sz="7000" b="1">
                <a:solidFill>
                  <a:schemeClr val="accent1"/>
                </a:solidFill>
              </a:rPr>
              <a:t>ROM</a:t>
            </a:r>
          </a:p>
        </p:txBody>
      </p:sp>
      <p:sp>
        <p:nvSpPr>
          <p:cNvPr id="7" name="Arrow: Striped Right 6">
            <a:extLst>
              <a:ext uri="{FF2B5EF4-FFF2-40B4-BE49-F238E27FC236}">
                <a16:creationId xmlns:a16="http://schemas.microsoft.com/office/drawing/2014/main" id="{01548723-8DC9-4D2C-9878-D68A3DFD4576}"/>
              </a:ext>
            </a:extLst>
          </p:cNvPr>
          <p:cNvSpPr/>
          <p:nvPr/>
        </p:nvSpPr>
        <p:spPr>
          <a:xfrm>
            <a:off x="5981304" y="3301481"/>
            <a:ext cx="3731739" cy="988770"/>
          </a:xfrm>
          <a:prstGeom prst="stripedRightArrow">
            <a:avLst>
              <a:gd name="adj1" fmla="val 69995"/>
              <a:gd name="adj2" fmla="val 5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2400" b="1"/>
              <a:t>.FMU </a:t>
            </a:r>
            <a:r>
              <a:rPr lang="sv-SE" sz="2400" b="1" err="1"/>
              <a:t>file</a:t>
            </a:r>
            <a:endParaRPr lang="sv-SE" sz="2400" b="1"/>
          </a:p>
        </p:txBody>
      </p:sp>
      <p:sp>
        <p:nvSpPr>
          <p:cNvPr id="30" name="TextBox 29">
            <a:extLst>
              <a:ext uri="{FF2B5EF4-FFF2-40B4-BE49-F238E27FC236}">
                <a16:creationId xmlns:a16="http://schemas.microsoft.com/office/drawing/2014/main" id="{22ADB4FB-BDB9-4632-AE9A-E7FCD0A1B2F7}"/>
              </a:ext>
            </a:extLst>
          </p:cNvPr>
          <p:cNvSpPr txBox="1"/>
          <p:nvPr/>
        </p:nvSpPr>
        <p:spPr>
          <a:xfrm>
            <a:off x="10438774" y="2951002"/>
            <a:ext cx="6192564" cy="1754326"/>
          </a:xfrm>
          <a:prstGeom prst="rect">
            <a:avLst/>
          </a:prstGeom>
          <a:noFill/>
        </p:spPr>
        <p:txBody>
          <a:bodyPr wrap="square" rtlCol="0">
            <a:spAutoFit/>
          </a:bodyPr>
          <a:lstStyle/>
          <a:p>
            <a:r>
              <a:rPr lang="sv-SE" sz="5400" b="1">
                <a:solidFill>
                  <a:schemeClr val="accent1"/>
                </a:solidFill>
              </a:rPr>
              <a:t>Control </a:t>
            </a:r>
            <a:r>
              <a:rPr lang="sv-SE" sz="5400" b="1" err="1">
                <a:solidFill>
                  <a:schemeClr val="accent1"/>
                </a:solidFill>
              </a:rPr>
              <a:t>platforms</a:t>
            </a:r>
            <a:r>
              <a:rPr lang="sv-SE" sz="5400" b="1">
                <a:solidFill>
                  <a:schemeClr val="accent1"/>
                </a:solidFill>
              </a:rPr>
              <a:t> </a:t>
            </a:r>
            <a:br>
              <a:rPr lang="sv-SE" sz="5400" b="1">
                <a:solidFill>
                  <a:schemeClr val="accent1"/>
                </a:solidFill>
              </a:rPr>
            </a:br>
            <a:r>
              <a:rPr lang="sv-SE" sz="5400" b="1">
                <a:solidFill>
                  <a:schemeClr val="accent1"/>
                </a:solidFill>
              </a:rPr>
              <a:t>i.e. </a:t>
            </a:r>
            <a:r>
              <a:rPr lang="sv-SE" sz="5400" b="1" err="1">
                <a:solidFill>
                  <a:schemeClr val="accent1"/>
                </a:solidFill>
              </a:rPr>
              <a:t>Simulink</a:t>
            </a:r>
            <a:endParaRPr lang="sv-SE" sz="5400" b="1">
              <a:solidFill>
                <a:schemeClr val="accent1"/>
              </a:solidFill>
            </a:endParaRPr>
          </a:p>
        </p:txBody>
      </p:sp>
      <p:sp>
        <p:nvSpPr>
          <p:cNvPr id="6" name="TextBox 5">
            <a:extLst>
              <a:ext uri="{FF2B5EF4-FFF2-40B4-BE49-F238E27FC236}">
                <a16:creationId xmlns:a16="http://schemas.microsoft.com/office/drawing/2014/main" id="{12D23EEC-52EA-6C28-17D2-6C3C3BF91BB6}"/>
              </a:ext>
            </a:extLst>
          </p:cNvPr>
          <p:cNvSpPr txBox="1"/>
          <p:nvPr/>
        </p:nvSpPr>
        <p:spPr>
          <a:xfrm>
            <a:off x="2268516" y="5418509"/>
            <a:ext cx="14362822" cy="2554545"/>
          </a:xfrm>
          <a:prstGeom prst="rect">
            <a:avLst/>
          </a:prstGeom>
        </p:spPr>
        <p:style>
          <a:lnRef idx="1">
            <a:schemeClr val="accent5"/>
          </a:lnRef>
          <a:fillRef idx="2">
            <a:schemeClr val="accent5"/>
          </a:fillRef>
          <a:effectRef idx="1">
            <a:schemeClr val="accent5"/>
          </a:effectRef>
          <a:fontRef idx="minor">
            <a:schemeClr val="dk1"/>
          </a:fontRef>
        </p:style>
        <p:txBody>
          <a:bodyPr wrap="square">
            <a:spAutoFit/>
          </a:bodyPr>
          <a:lstStyle/>
          <a:p>
            <a:pPr algn="ctr"/>
            <a:r>
              <a:rPr lang="en-US" sz="3200">
                <a:cs typeface="Arial" panose="020B0604020202020204" pitchFamily="34" charset="0"/>
              </a:rPr>
              <a:t>The final step is to convert the Digital Twin (ROM) into a format compatible with a control environment. </a:t>
            </a:r>
          </a:p>
          <a:p>
            <a:pPr algn="ctr"/>
            <a:endParaRPr lang="en-US" sz="3200">
              <a:cs typeface="Arial" panose="020B0604020202020204" pitchFamily="34" charset="0"/>
            </a:endParaRPr>
          </a:p>
          <a:p>
            <a:pPr algn="ctr"/>
            <a:r>
              <a:rPr lang="en-US" sz="3200">
                <a:cs typeface="Arial" panose="020B0604020202020204" pitchFamily="34" charset="0"/>
              </a:rPr>
              <a:t>This is achieved by exporting the ROM to a </a:t>
            </a:r>
            <a:r>
              <a:rPr lang="en-US" sz="3200" b="1">
                <a:cs typeface="Arial" panose="020B0604020202020204" pitchFamily="34" charset="0"/>
              </a:rPr>
              <a:t>Functional Mock-up Unit (FMU) </a:t>
            </a:r>
            <a:r>
              <a:rPr lang="en-US" sz="3200">
                <a:cs typeface="Arial" panose="020B0604020202020204" pitchFamily="34" charset="0"/>
              </a:rPr>
              <a:t>file using ANSYS software. FMU files can be read by tools such as Simulink.</a:t>
            </a:r>
            <a:endParaRPr lang="sv-SE" sz="3200">
              <a:cs typeface="Arial" panose="020B0604020202020204" pitchFamily="34" charset="0"/>
            </a:endParaRPr>
          </a:p>
        </p:txBody>
      </p:sp>
    </p:spTree>
    <p:extLst>
      <p:ext uri="{BB962C8B-B14F-4D97-AF65-F5344CB8AC3E}">
        <p14:creationId xmlns:p14="http://schemas.microsoft.com/office/powerpoint/2010/main" val="697727809"/>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6"/>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4"/>
          <a:srcRect/>
          <a:stretch>
            <a:fillRect/>
          </a:stretch>
        </p:blipFill>
        <p:spPr>
          <a:xfrm>
            <a:off x="0" y="9499590"/>
            <a:ext cx="3247053" cy="787410"/>
          </a:xfrm>
          <a:prstGeom prst="rect">
            <a:avLst/>
          </a:prstGeom>
        </p:spPr>
      </p:pic>
      <p:grpSp>
        <p:nvGrpSpPr>
          <p:cNvPr id="3" name="Gruppo 2">
            <a:extLst>
              <a:ext uri="{FF2B5EF4-FFF2-40B4-BE49-F238E27FC236}">
                <a16:creationId xmlns:a16="http://schemas.microsoft.com/office/drawing/2014/main" id="{D0B44AFC-EABA-48CF-A7A8-348076F88921}"/>
              </a:ext>
            </a:extLst>
          </p:cNvPr>
          <p:cNvGrpSpPr/>
          <p:nvPr/>
        </p:nvGrpSpPr>
        <p:grpSpPr>
          <a:xfrm>
            <a:off x="-12" y="138554"/>
            <a:ext cx="18288002" cy="681138"/>
            <a:chOff x="-12" y="138554"/>
            <a:chExt cx="18288002" cy="681138"/>
          </a:xfrm>
        </p:grpSpPr>
        <p:pic>
          <p:nvPicPr>
            <p:cNvPr id="10" name="Picture 10"/>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5" name="Rettangolo 14">
              <a:extLst>
                <a:ext uri="{FF2B5EF4-FFF2-40B4-BE49-F238E27FC236}">
                  <a16:creationId xmlns:a16="http://schemas.microsoft.com/office/drawing/2014/main" id="{AFFDA913-633F-49C2-9D71-573FB327981F}"/>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3" name="Title 1">
            <a:extLst>
              <a:ext uri="{FF2B5EF4-FFF2-40B4-BE49-F238E27FC236}">
                <a16:creationId xmlns:a16="http://schemas.microsoft.com/office/drawing/2014/main" id="{8AD61396-31C7-41DE-9CAD-95392388BB38}"/>
              </a:ext>
            </a:extLst>
          </p:cNvPr>
          <p:cNvSpPr txBox="1">
            <a:spLocks/>
          </p:cNvSpPr>
          <p:nvPr/>
        </p:nvSpPr>
        <p:spPr>
          <a:xfrm>
            <a:off x="540522" y="1131448"/>
            <a:ext cx="12877800" cy="930729"/>
          </a:xfrm>
          <a:prstGeom prst="rect">
            <a:avLst/>
          </a:prstGeom>
        </p:spPr>
        <p:txBody>
          <a:bodyP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sv-SE" sz="5400" b="1">
                <a:solidFill>
                  <a:srgbClr val="CC0033"/>
                </a:solidFill>
                <a:ea typeface="+mn-ea"/>
                <a:cs typeface="Arial" panose="020B0604020202020204" pitchFamily="34" charset="0"/>
              </a:rPr>
              <a:t>QUIZ</a:t>
            </a:r>
            <a:endParaRPr lang="sv-SE"/>
          </a:p>
        </p:txBody>
      </p:sp>
      <p:sp>
        <p:nvSpPr>
          <p:cNvPr id="14" name="TextBox 13">
            <a:extLst>
              <a:ext uri="{FF2B5EF4-FFF2-40B4-BE49-F238E27FC236}">
                <a16:creationId xmlns:a16="http://schemas.microsoft.com/office/drawing/2014/main" id="{D180123C-ABD7-458C-97E1-274B2CC8DAFA}"/>
              </a:ext>
            </a:extLst>
          </p:cNvPr>
          <p:cNvSpPr txBox="1"/>
          <p:nvPr/>
        </p:nvSpPr>
        <p:spPr>
          <a:xfrm>
            <a:off x="1039710" y="2359884"/>
            <a:ext cx="16208558" cy="6740307"/>
          </a:xfrm>
          <a:prstGeom prst="rect">
            <a:avLst/>
          </a:prstGeom>
          <a:noFill/>
        </p:spPr>
        <p:txBody>
          <a:bodyPr wrap="square">
            <a:spAutoFit/>
          </a:bodyPr>
          <a:lstStyle/>
          <a:p>
            <a:pPr marL="742950" indent="-742950">
              <a:buFont typeface="+mj-lt"/>
              <a:buAutoNum type="arabicPeriod"/>
            </a:pPr>
            <a:r>
              <a:rPr lang="en-US" sz="3600"/>
              <a:t>Which turbulence model is the most computationally heavy?</a:t>
            </a:r>
          </a:p>
          <a:p>
            <a:pPr marL="1200150" lvl="1" indent="-742950">
              <a:buFont typeface="+mj-lt"/>
              <a:buAutoNum type="alphaUcPeriod"/>
            </a:pPr>
            <a:r>
              <a:rPr lang="sv-SE" sz="3600" err="1"/>
              <a:t>Large</a:t>
            </a:r>
            <a:r>
              <a:rPr lang="sv-SE" sz="3600"/>
              <a:t> Eddy Simulation (LES) </a:t>
            </a:r>
          </a:p>
          <a:p>
            <a:pPr marL="1200150" lvl="1" indent="-742950">
              <a:buFont typeface="+mj-lt"/>
              <a:buAutoNum type="alphaUcPeriod"/>
            </a:pPr>
            <a:r>
              <a:rPr lang="sv-SE" sz="3600"/>
              <a:t>Reynolds </a:t>
            </a:r>
            <a:r>
              <a:rPr lang="sv-SE" sz="3600" err="1"/>
              <a:t>Averaged</a:t>
            </a:r>
            <a:r>
              <a:rPr lang="sv-SE" sz="3600"/>
              <a:t> </a:t>
            </a:r>
            <a:r>
              <a:rPr lang="sv-SE" sz="3600" err="1"/>
              <a:t>Navier</a:t>
            </a:r>
            <a:r>
              <a:rPr lang="sv-SE" sz="3600"/>
              <a:t>-Stokes (RANS)</a:t>
            </a:r>
          </a:p>
          <a:p>
            <a:endParaRPr lang="sv-SE" sz="3600"/>
          </a:p>
          <a:p>
            <a:r>
              <a:rPr lang="sv-SE" sz="3600"/>
              <a:t>2.    </a:t>
            </a:r>
            <a:r>
              <a:rPr lang="sv-SE" sz="3600" err="1"/>
              <a:t>Which</a:t>
            </a:r>
            <a:r>
              <a:rPr lang="sv-SE" sz="3600"/>
              <a:t> </a:t>
            </a:r>
            <a:r>
              <a:rPr lang="sv-SE" sz="3600" err="1"/>
              <a:t>of</a:t>
            </a:r>
            <a:r>
              <a:rPr lang="sv-SE" sz="3600"/>
              <a:t> the </a:t>
            </a:r>
            <a:r>
              <a:rPr lang="sv-SE" sz="3600" err="1"/>
              <a:t>following</a:t>
            </a:r>
            <a:r>
              <a:rPr lang="sv-SE" sz="3600"/>
              <a:t> </a:t>
            </a:r>
            <a:r>
              <a:rPr lang="sv-SE" sz="3600" err="1"/>
              <a:t>techniques</a:t>
            </a:r>
            <a:r>
              <a:rPr lang="sv-SE" sz="3600"/>
              <a:t> </a:t>
            </a:r>
            <a:r>
              <a:rPr lang="sv-SE" sz="3600" err="1"/>
              <a:t>could</a:t>
            </a:r>
            <a:r>
              <a:rPr lang="sv-SE" sz="3600"/>
              <a:t> be </a:t>
            </a:r>
            <a:r>
              <a:rPr lang="sv-SE" sz="3600" err="1"/>
              <a:t>utilized</a:t>
            </a:r>
            <a:r>
              <a:rPr lang="sv-SE" sz="3600"/>
              <a:t> in the </a:t>
            </a:r>
            <a:r>
              <a:rPr lang="sv-SE" sz="3600" err="1"/>
              <a:t>development</a:t>
            </a:r>
            <a:r>
              <a:rPr lang="sv-SE" sz="3600"/>
              <a:t> </a:t>
            </a:r>
            <a:r>
              <a:rPr lang="sv-SE" sz="3600" err="1"/>
              <a:t>of</a:t>
            </a:r>
            <a:r>
              <a:rPr lang="sv-SE" sz="3600"/>
              <a:t> a   	digital </a:t>
            </a:r>
            <a:r>
              <a:rPr lang="sv-SE" sz="3600" err="1"/>
              <a:t>twin</a:t>
            </a:r>
            <a:r>
              <a:rPr lang="sv-SE" sz="3600"/>
              <a:t>?</a:t>
            </a:r>
          </a:p>
          <a:p>
            <a:pPr marL="1200150" lvl="1" indent="-742950">
              <a:buFont typeface="+mj-lt"/>
              <a:buAutoNum type="alphaUcPeriod"/>
            </a:pPr>
            <a:r>
              <a:rPr lang="sv-SE" sz="3600" err="1"/>
              <a:t>Machine</a:t>
            </a:r>
            <a:r>
              <a:rPr lang="sv-SE" sz="3600"/>
              <a:t> Learning</a:t>
            </a:r>
          </a:p>
          <a:p>
            <a:pPr marL="1200150" lvl="1" indent="-742950">
              <a:buFont typeface="+mj-lt"/>
              <a:buAutoNum type="alphaUcPeriod"/>
            </a:pPr>
            <a:r>
              <a:rPr lang="sv-SE" sz="3600" err="1"/>
              <a:t>Computational</a:t>
            </a:r>
            <a:r>
              <a:rPr lang="sv-SE" sz="3600"/>
              <a:t> Fluid Dynamics (CFD)</a:t>
            </a:r>
          </a:p>
          <a:p>
            <a:pPr marL="1200150" lvl="1" indent="-742950">
              <a:buFont typeface="+mj-lt"/>
              <a:buAutoNum type="alphaUcPeriod"/>
            </a:pPr>
            <a:endParaRPr lang="sv-SE" sz="3600"/>
          </a:p>
          <a:p>
            <a:r>
              <a:rPr lang="sv-SE" sz="3600"/>
              <a:t>3.    </a:t>
            </a:r>
            <a:r>
              <a:rPr lang="sv-SE" sz="3600" err="1"/>
              <a:t>What</a:t>
            </a:r>
            <a:r>
              <a:rPr lang="sv-SE" sz="3600"/>
              <a:t> </a:t>
            </a:r>
            <a:r>
              <a:rPr lang="sv-SE" sz="3600" err="1"/>
              <a:t>needs</a:t>
            </a:r>
            <a:r>
              <a:rPr lang="sv-SE" sz="3600"/>
              <a:t> to be </a:t>
            </a:r>
            <a:r>
              <a:rPr lang="sv-SE" sz="3600" err="1"/>
              <a:t>verified</a:t>
            </a:r>
            <a:r>
              <a:rPr lang="sv-SE" sz="3600"/>
              <a:t> to </a:t>
            </a:r>
            <a:r>
              <a:rPr lang="sv-SE" sz="3600" err="1"/>
              <a:t>assess</a:t>
            </a:r>
            <a:r>
              <a:rPr lang="sv-SE" sz="3600"/>
              <a:t> the </a:t>
            </a:r>
            <a:r>
              <a:rPr lang="sv-SE" sz="3600" err="1"/>
              <a:t>quality</a:t>
            </a:r>
            <a:r>
              <a:rPr lang="sv-SE" sz="3600"/>
              <a:t> </a:t>
            </a:r>
            <a:r>
              <a:rPr lang="sv-SE" sz="3600" err="1"/>
              <a:t>of</a:t>
            </a:r>
            <a:r>
              <a:rPr lang="sv-SE" sz="3600"/>
              <a:t> a ROM?</a:t>
            </a:r>
          </a:p>
          <a:p>
            <a:pPr marL="1200150" lvl="1" indent="-742950">
              <a:buFont typeface="+mj-lt"/>
              <a:buAutoNum type="alphaUcPeriod"/>
            </a:pPr>
            <a:r>
              <a:rPr lang="sv-SE" sz="3600" err="1"/>
              <a:t>Goodness</a:t>
            </a:r>
            <a:r>
              <a:rPr lang="sv-SE" sz="3600"/>
              <a:t> </a:t>
            </a:r>
            <a:r>
              <a:rPr lang="sv-SE" sz="3600" err="1"/>
              <a:t>of</a:t>
            </a:r>
            <a:r>
              <a:rPr lang="sv-SE" sz="3600"/>
              <a:t> fit</a:t>
            </a:r>
          </a:p>
          <a:p>
            <a:pPr marL="1200150" lvl="1" indent="-742950">
              <a:buFont typeface="+mj-lt"/>
              <a:buAutoNum type="alphaUcPeriod"/>
            </a:pPr>
            <a:r>
              <a:rPr lang="sv-SE" sz="3600" err="1"/>
              <a:t>Ease</a:t>
            </a:r>
            <a:r>
              <a:rPr lang="sv-SE" sz="3600"/>
              <a:t> </a:t>
            </a:r>
            <a:r>
              <a:rPr lang="sv-SE" sz="3600" err="1"/>
              <a:t>of</a:t>
            </a:r>
            <a:r>
              <a:rPr lang="sv-SE" sz="3600"/>
              <a:t> </a:t>
            </a:r>
            <a:r>
              <a:rPr lang="sv-SE" sz="3600" err="1"/>
              <a:t>use</a:t>
            </a:r>
            <a:endParaRPr lang="sv-SE" sz="3600"/>
          </a:p>
        </p:txBody>
      </p:sp>
    </p:spTree>
    <p:extLst>
      <p:ext uri="{BB962C8B-B14F-4D97-AF65-F5344CB8AC3E}">
        <p14:creationId xmlns:p14="http://schemas.microsoft.com/office/powerpoint/2010/main" val="1387943048"/>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34485437"/>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8294908-8B00-4F58-BBBA-20F71A40AA9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8288000" cy="10287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1" name="Freeform: Shape 10">
            <a:extLst>
              <a:ext uri="{FF2B5EF4-FFF2-40B4-BE49-F238E27FC236}">
                <a16:creationId xmlns:a16="http://schemas.microsoft.com/office/drawing/2014/main" id="{4364C879-1404-4203-8E9D-CC5DE0A621A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124173" y="-2079252"/>
            <a:ext cx="3637310" cy="5416787"/>
          </a:xfrm>
          <a:custGeom>
            <a:avLst/>
            <a:gdLst>
              <a:gd name="connsiteX0" fmla="*/ 0 w 2424873"/>
              <a:gd name="connsiteY0" fmla="*/ 2424874 h 3611191"/>
              <a:gd name="connsiteX1" fmla="*/ 2424873 w 2424873"/>
              <a:gd name="connsiteY1" fmla="*/ 0 h 3611191"/>
              <a:gd name="connsiteX2" fmla="*/ 2424873 w 2424873"/>
              <a:gd name="connsiteY2" fmla="*/ 3611191 h 3611191"/>
              <a:gd name="connsiteX3" fmla="*/ 1186317 w 2424873"/>
              <a:gd name="connsiteY3" fmla="*/ 3611191 h 3611191"/>
            </a:gdLst>
            <a:ahLst/>
            <a:cxnLst>
              <a:cxn ang="0">
                <a:pos x="connsiteX0" y="connsiteY0"/>
              </a:cxn>
              <a:cxn ang="0">
                <a:pos x="connsiteX1" y="connsiteY1"/>
              </a:cxn>
              <a:cxn ang="0">
                <a:pos x="connsiteX2" y="connsiteY2"/>
              </a:cxn>
              <a:cxn ang="0">
                <a:pos x="connsiteX3" y="connsiteY3"/>
              </a:cxn>
            </a:cxnLst>
            <a:rect l="l" t="t" r="r" b="b"/>
            <a:pathLst>
              <a:path w="2424873" h="3611191">
                <a:moveTo>
                  <a:pt x="0" y="2424874"/>
                </a:moveTo>
                <a:lnTo>
                  <a:pt x="2424873" y="0"/>
                </a:lnTo>
                <a:lnTo>
                  <a:pt x="2424873" y="3611191"/>
                </a:lnTo>
                <a:lnTo>
                  <a:pt x="1186317" y="3611191"/>
                </a:lnTo>
                <a:close/>
              </a:path>
            </a:pathLst>
          </a:cu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3" name="Freeform: Shape 12">
            <a:extLst>
              <a:ext uri="{FF2B5EF4-FFF2-40B4-BE49-F238E27FC236}">
                <a16:creationId xmlns:a16="http://schemas.microsoft.com/office/drawing/2014/main" id="{84617302-4B0D-4351-A6BB-6F0930D943A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2356500" y="-507873"/>
            <a:ext cx="2453933" cy="2453933"/>
          </a:xfrm>
          <a:custGeom>
            <a:avLst/>
            <a:gdLst>
              <a:gd name="connsiteX0" fmla="*/ 0 w 1635955"/>
              <a:gd name="connsiteY0" fmla="*/ 957987 h 1635955"/>
              <a:gd name="connsiteX1" fmla="*/ 957987 w 1635955"/>
              <a:gd name="connsiteY1" fmla="*/ 0 h 1635955"/>
              <a:gd name="connsiteX2" fmla="*/ 1635955 w 1635955"/>
              <a:gd name="connsiteY2" fmla="*/ 0 h 1635955"/>
              <a:gd name="connsiteX3" fmla="*/ 1635955 w 1635955"/>
              <a:gd name="connsiteY3" fmla="*/ 1635955 h 1635955"/>
              <a:gd name="connsiteX4" fmla="*/ 0 w 1635955"/>
              <a:gd name="connsiteY4" fmla="*/ 1635955 h 1635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5955" h="1635955">
                <a:moveTo>
                  <a:pt x="0" y="957987"/>
                </a:moveTo>
                <a:lnTo>
                  <a:pt x="957987" y="0"/>
                </a:lnTo>
                <a:lnTo>
                  <a:pt x="1635955" y="0"/>
                </a:lnTo>
                <a:lnTo>
                  <a:pt x="1635955" y="1635955"/>
                </a:lnTo>
                <a:lnTo>
                  <a:pt x="0" y="1635955"/>
                </a:lnTo>
                <a:close/>
              </a:path>
            </a:pathLst>
          </a:cu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5" name="Freeform: Shape 14">
            <a:extLst>
              <a:ext uri="{FF2B5EF4-FFF2-40B4-BE49-F238E27FC236}">
                <a16:creationId xmlns:a16="http://schemas.microsoft.com/office/drawing/2014/main" id="{DA2C7802-C2E0-4218-8F89-8DD7CCD2CD1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14441978" y="-9882"/>
            <a:ext cx="6089090" cy="3822165"/>
          </a:xfrm>
          <a:custGeom>
            <a:avLst/>
            <a:gdLst>
              <a:gd name="connsiteX0" fmla="*/ 0 w 4059393"/>
              <a:gd name="connsiteY0" fmla="*/ 1511282 h 2548110"/>
              <a:gd name="connsiteX1" fmla="*/ 1511282 w 4059393"/>
              <a:gd name="connsiteY1" fmla="*/ 0 h 2548110"/>
              <a:gd name="connsiteX2" fmla="*/ 4059393 w 4059393"/>
              <a:gd name="connsiteY2" fmla="*/ 2548110 h 2548110"/>
              <a:gd name="connsiteX3" fmla="*/ 0 w 4059393"/>
              <a:gd name="connsiteY3" fmla="*/ 2548110 h 2548110"/>
            </a:gdLst>
            <a:ahLst/>
            <a:cxnLst>
              <a:cxn ang="0">
                <a:pos x="connsiteX0" y="connsiteY0"/>
              </a:cxn>
              <a:cxn ang="0">
                <a:pos x="connsiteX1" y="connsiteY1"/>
              </a:cxn>
              <a:cxn ang="0">
                <a:pos x="connsiteX2" y="connsiteY2"/>
              </a:cxn>
              <a:cxn ang="0">
                <a:pos x="connsiteX3" y="connsiteY3"/>
              </a:cxn>
            </a:cxnLst>
            <a:rect l="l" t="t" r="r" b="b"/>
            <a:pathLst>
              <a:path w="4059393" h="2548110">
                <a:moveTo>
                  <a:pt x="0" y="1511282"/>
                </a:moveTo>
                <a:lnTo>
                  <a:pt x="1511282" y="0"/>
                </a:lnTo>
                <a:lnTo>
                  <a:pt x="4059393" y="2548110"/>
                </a:lnTo>
                <a:lnTo>
                  <a:pt x="0" y="2548110"/>
                </a:lnTo>
                <a:close/>
              </a:path>
            </a:pathLst>
          </a:cu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7" name="Rectangle 16">
            <a:extLst>
              <a:ext uri="{FF2B5EF4-FFF2-40B4-BE49-F238E27FC236}">
                <a16:creationId xmlns:a16="http://schemas.microsoft.com/office/drawing/2014/main" id="{A6D7111A-21E5-4EE9-8A78-10E5530F011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15394386" y="2198670"/>
            <a:ext cx="1778562" cy="1778562"/>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9" name="Freeform: Shape 18">
            <a:extLst>
              <a:ext uri="{FF2B5EF4-FFF2-40B4-BE49-F238E27FC236}">
                <a16:creationId xmlns:a16="http://schemas.microsoft.com/office/drawing/2014/main" id="{A3969E80-A77B-49FC-9122-D89AFD5EE11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44336" y="7798115"/>
            <a:ext cx="3667361" cy="3549174"/>
          </a:xfrm>
          <a:custGeom>
            <a:avLst/>
            <a:gdLst>
              <a:gd name="connsiteX0" fmla="*/ 0 w 2203753"/>
              <a:gd name="connsiteY0" fmla="*/ 0 h 2132734"/>
              <a:gd name="connsiteX1" fmla="*/ 2203753 w 2203753"/>
              <a:gd name="connsiteY1" fmla="*/ 0 h 2132734"/>
              <a:gd name="connsiteX2" fmla="*/ 2203753 w 2203753"/>
              <a:gd name="connsiteY2" fmla="*/ 576461 h 2132734"/>
              <a:gd name="connsiteX3" fmla="*/ 647480 w 2203753"/>
              <a:gd name="connsiteY3" fmla="*/ 2132734 h 2132734"/>
              <a:gd name="connsiteX4" fmla="*/ 0 w 2203753"/>
              <a:gd name="connsiteY4" fmla="*/ 1485255 h 2132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3753" h="2132734">
                <a:moveTo>
                  <a:pt x="0" y="0"/>
                </a:moveTo>
                <a:lnTo>
                  <a:pt x="2203753" y="0"/>
                </a:lnTo>
                <a:lnTo>
                  <a:pt x="2203753" y="576461"/>
                </a:lnTo>
                <a:lnTo>
                  <a:pt x="647480" y="2132734"/>
                </a:lnTo>
                <a:lnTo>
                  <a:pt x="0" y="1485255"/>
                </a:lnTo>
                <a:close/>
              </a:path>
            </a:pathLst>
          </a:cu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1" name="Rectangle 20">
            <a:extLst>
              <a:ext uri="{FF2B5EF4-FFF2-40B4-BE49-F238E27FC236}">
                <a16:creationId xmlns:a16="http://schemas.microsoft.com/office/drawing/2014/main" id="{1849CA57-76BD-4CF2-80BA-D7A46A01B7B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2654681" y="8159840"/>
            <a:ext cx="1392701" cy="1392701"/>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Arial"/>
              <a:ea typeface="+mn-ea"/>
              <a:cs typeface="+mn-cs"/>
            </a:endParaRPr>
          </a:p>
        </p:txBody>
      </p:sp>
      <p:sp>
        <p:nvSpPr>
          <p:cNvPr id="23" name="Freeform: Shape 22">
            <a:extLst>
              <a:ext uri="{FF2B5EF4-FFF2-40B4-BE49-F238E27FC236}">
                <a16:creationId xmlns:a16="http://schemas.microsoft.com/office/drawing/2014/main" id="{35E9085E-E730-4768-83D4-6CB7E989715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5101967" y="1101467"/>
            <a:ext cx="8084069" cy="8084069"/>
          </a:xfrm>
          <a:custGeom>
            <a:avLst/>
            <a:gdLst>
              <a:gd name="connsiteX0" fmla="*/ 0 w 5389379"/>
              <a:gd name="connsiteY0" fmla="*/ 540040 h 5389379"/>
              <a:gd name="connsiteX1" fmla="*/ 540040 w 5389379"/>
              <a:gd name="connsiteY1" fmla="*/ 0 h 5389379"/>
              <a:gd name="connsiteX2" fmla="*/ 5389379 w 5389379"/>
              <a:gd name="connsiteY2" fmla="*/ 0 h 5389379"/>
              <a:gd name="connsiteX3" fmla="*/ 5389379 w 5389379"/>
              <a:gd name="connsiteY3" fmla="*/ 4838655 h 5389379"/>
              <a:gd name="connsiteX4" fmla="*/ 4838655 w 5389379"/>
              <a:gd name="connsiteY4" fmla="*/ 5389379 h 5389379"/>
              <a:gd name="connsiteX5" fmla="*/ 0 w 5389379"/>
              <a:gd name="connsiteY5" fmla="*/ 5389379 h 538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89379" h="5389379">
                <a:moveTo>
                  <a:pt x="0" y="540040"/>
                </a:moveTo>
                <a:lnTo>
                  <a:pt x="540040" y="0"/>
                </a:lnTo>
                <a:lnTo>
                  <a:pt x="5389379" y="0"/>
                </a:lnTo>
                <a:lnTo>
                  <a:pt x="5389379" y="4838655"/>
                </a:lnTo>
                <a:lnTo>
                  <a:pt x="4838655" y="5389379"/>
                </a:lnTo>
                <a:lnTo>
                  <a:pt x="0" y="5389379"/>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5" name="Freeform: Shape 24">
            <a:extLst>
              <a:ext uri="{FF2B5EF4-FFF2-40B4-BE49-F238E27FC236}">
                <a16:creationId xmlns:a16="http://schemas.microsoft.com/office/drawing/2014/main" id="{973272FE-A474-4CAE-8CA2-BCC8B476C3F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4050425" y="49925"/>
            <a:ext cx="10187153" cy="10187153"/>
          </a:xfrm>
          <a:custGeom>
            <a:avLst/>
            <a:gdLst>
              <a:gd name="connsiteX0" fmla="*/ 1860938 w 6791435"/>
              <a:gd name="connsiteY0" fmla="*/ 81158 h 6791435"/>
              <a:gd name="connsiteX1" fmla="*/ 1942096 w 6791435"/>
              <a:gd name="connsiteY1" fmla="*/ 0 h 6791435"/>
              <a:gd name="connsiteX2" fmla="*/ 6791435 w 6791435"/>
              <a:gd name="connsiteY2" fmla="*/ 0 h 6791435"/>
              <a:gd name="connsiteX3" fmla="*/ 6791435 w 6791435"/>
              <a:gd name="connsiteY3" fmla="*/ 4838655 h 6791435"/>
              <a:gd name="connsiteX4" fmla="*/ 6710277 w 6791435"/>
              <a:gd name="connsiteY4" fmla="*/ 4919813 h 6791435"/>
              <a:gd name="connsiteX5" fmla="*/ 6710277 w 6791435"/>
              <a:gd name="connsiteY5" fmla="*/ 81158 h 6791435"/>
              <a:gd name="connsiteX6" fmla="*/ 0 w 6791435"/>
              <a:gd name="connsiteY6" fmla="*/ 1942096 h 6791435"/>
              <a:gd name="connsiteX7" fmla="*/ 81158 w 6791435"/>
              <a:gd name="connsiteY7" fmla="*/ 1860938 h 6791435"/>
              <a:gd name="connsiteX8" fmla="*/ 81158 w 6791435"/>
              <a:gd name="connsiteY8" fmla="*/ 6710277 h 6791435"/>
              <a:gd name="connsiteX9" fmla="*/ 4919813 w 6791435"/>
              <a:gd name="connsiteY9" fmla="*/ 6710277 h 6791435"/>
              <a:gd name="connsiteX10" fmla="*/ 4838655 w 6791435"/>
              <a:gd name="connsiteY10" fmla="*/ 6791435 h 6791435"/>
              <a:gd name="connsiteX11" fmla="*/ 0 w 6791435"/>
              <a:gd name="connsiteY11" fmla="*/ 6791435 h 6791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791435" h="6791435">
                <a:moveTo>
                  <a:pt x="1860938" y="81158"/>
                </a:moveTo>
                <a:lnTo>
                  <a:pt x="1942096" y="0"/>
                </a:lnTo>
                <a:lnTo>
                  <a:pt x="6791435" y="0"/>
                </a:lnTo>
                <a:lnTo>
                  <a:pt x="6791435" y="4838655"/>
                </a:lnTo>
                <a:lnTo>
                  <a:pt x="6710277" y="4919813"/>
                </a:lnTo>
                <a:lnTo>
                  <a:pt x="6710277" y="81158"/>
                </a:lnTo>
                <a:close/>
                <a:moveTo>
                  <a:pt x="0" y="1942096"/>
                </a:moveTo>
                <a:lnTo>
                  <a:pt x="81158" y="1860938"/>
                </a:lnTo>
                <a:lnTo>
                  <a:pt x="81158" y="6710277"/>
                </a:lnTo>
                <a:lnTo>
                  <a:pt x="4919813" y="6710277"/>
                </a:lnTo>
                <a:lnTo>
                  <a:pt x="4838655" y="6791435"/>
                </a:lnTo>
                <a:lnTo>
                  <a:pt x="0" y="6791435"/>
                </a:lnTo>
                <a:close/>
              </a:path>
            </a:pathLst>
          </a:cu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Arial"/>
              <a:ea typeface="+mn-ea"/>
              <a:cs typeface="+mn-cs"/>
            </a:endParaRPr>
          </a:p>
        </p:txBody>
      </p:sp>
      <p:sp>
        <p:nvSpPr>
          <p:cNvPr id="4" name="Title 3">
            <a:extLst>
              <a:ext uri="{FF2B5EF4-FFF2-40B4-BE49-F238E27FC236}">
                <a16:creationId xmlns:a16="http://schemas.microsoft.com/office/drawing/2014/main" id="{B009CD84-DA40-4CAA-8A89-DD6DAA862368}"/>
              </a:ext>
            </a:extLst>
          </p:cNvPr>
          <p:cNvSpPr>
            <a:spLocks noGrp="1"/>
          </p:cNvSpPr>
          <p:nvPr>
            <p:ph type="title"/>
          </p:nvPr>
        </p:nvSpPr>
        <p:spPr>
          <a:xfrm>
            <a:off x="593812" y="2226712"/>
            <a:ext cx="17100376" cy="5423039"/>
          </a:xfrm>
          <a:noFill/>
        </p:spPr>
        <p:txBody>
          <a:bodyPr vert="horz" lIns="91440" tIns="45720" rIns="91440" bIns="45720" rtlCol="0" anchor="ctr">
            <a:normAutofit/>
          </a:bodyPr>
          <a:lstStyle/>
          <a:p>
            <a:pPr indent="457200">
              <a:spcBef>
                <a:spcPts val="600"/>
              </a:spcBef>
              <a:spcAft>
                <a:spcPts val="600"/>
              </a:spcAft>
            </a:pPr>
            <a:r>
              <a:rPr lang="en-GB" sz="1800" noProof="0" dirty="0">
                <a:effectLst/>
                <a:latin typeface="Palatino Linotype" panose="02040502050505030304" pitchFamily="18" charset="0"/>
                <a:ea typeface="Georgia" panose="02040502050405020303" pitchFamily="18" charset="0"/>
                <a:cs typeface="Times New Roman" panose="02020603050405020304" pitchFamily="18" charset="0"/>
              </a:rPr>
              <a:t> </a:t>
            </a:r>
            <a:br>
              <a:rPr lang="en-GB" sz="1800" noProof="0" dirty="0">
                <a:effectLst/>
                <a:latin typeface="Palatino Linotype" panose="02040502050505030304" pitchFamily="18" charset="0"/>
                <a:ea typeface="Georgia" panose="02040502050405020303" pitchFamily="18" charset="0"/>
                <a:cs typeface="Times New Roman" panose="02020603050405020304" pitchFamily="18" charset="0"/>
              </a:rPr>
            </a:br>
            <a:r>
              <a:rPr lang="en-GB" sz="5400" b="1" noProof="0" dirty="0">
                <a:solidFill>
                  <a:srgbClr val="CC0033"/>
                </a:solidFill>
                <a:ea typeface="+mn-ea"/>
                <a:cs typeface="Arial" panose="020B0604020202020204" pitchFamily="34" charset="0"/>
              </a:rPr>
              <a:t>Chapter 5:</a:t>
            </a:r>
            <a:br>
              <a:rPr lang="en-GB" sz="5400" b="1" noProof="0" dirty="0">
                <a:solidFill>
                  <a:srgbClr val="CC0033"/>
                </a:solidFill>
                <a:ea typeface="+mn-ea"/>
                <a:cs typeface="Arial" panose="020B0604020202020204" pitchFamily="34" charset="0"/>
              </a:rPr>
            </a:br>
            <a:r>
              <a:rPr lang="en-GB" sz="5400" b="1" noProof="0" dirty="0">
                <a:solidFill>
                  <a:srgbClr val="CC0033"/>
                </a:solidFill>
                <a:ea typeface="+mn-ea"/>
                <a:cs typeface="Arial" panose="020B0604020202020204" pitchFamily="34" charset="0"/>
              </a:rPr>
              <a:t>Life Cycle Assessment</a:t>
            </a:r>
            <a:br>
              <a:rPr lang="en-GB" sz="5400" b="1" noProof="0" dirty="0">
                <a:solidFill>
                  <a:srgbClr val="CC0033"/>
                </a:solidFill>
                <a:ea typeface="+mn-ea"/>
                <a:cs typeface="Arial" panose="020B0604020202020204" pitchFamily="34" charset="0"/>
              </a:rPr>
            </a:br>
            <a:r>
              <a:rPr lang="en-GB" sz="5400" b="1" noProof="0" dirty="0">
                <a:solidFill>
                  <a:srgbClr val="CC0033"/>
                </a:solidFill>
                <a:ea typeface="+mn-ea"/>
                <a:cs typeface="Arial" panose="020B0604020202020204" pitchFamily="34" charset="0"/>
              </a:rPr>
              <a:t>(LCA)</a:t>
            </a:r>
          </a:p>
        </p:txBody>
      </p:sp>
      <p:sp>
        <p:nvSpPr>
          <p:cNvPr id="27" name="Freeform: Shape 26">
            <a:extLst>
              <a:ext uri="{FF2B5EF4-FFF2-40B4-BE49-F238E27FC236}">
                <a16:creationId xmlns:a16="http://schemas.microsoft.com/office/drawing/2014/main" id="{E07981EA-05A6-437C-88D7-B377B92B031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14444735" y="8186387"/>
            <a:ext cx="3347691" cy="3853217"/>
          </a:xfrm>
          <a:custGeom>
            <a:avLst/>
            <a:gdLst>
              <a:gd name="connsiteX0" fmla="*/ 0 w 2940086"/>
              <a:gd name="connsiteY0" fmla="*/ 0 h 3384061"/>
              <a:gd name="connsiteX1" fmla="*/ 2496112 w 2940086"/>
              <a:gd name="connsiteY1" fmla="*/ 0 h 3384061"/>
              <a:gd name="connsiteX2" fmla="*/ 2940086 w 2940086"/>
              <a:gd name="connsiteY2" fmla="*/ 443975 h 3384061"/>
              <a:gd name="connsiteX3" fmla="*/ 0 w 2940086"/>
              <a:gd name="connsiteY3" fmla="*/ 3384061 h 3384061"/>
            </a:gdLst>
            <a:ahLst/>
            <a:cxnLst>
              <a:cxn ang="0">
                <a:pos x="connsiteX0" y="connsiteY0"/>
              </a:cxn>
              <a:cxn ang="0">
                <a:pos x="connsiteX1" y="connsiteY1"/>
              </a:cxn>
              <a:cxn ang="0">
                <a:pos x="connsiteX2" y="connsiteY2"/>
              </a:cxn>
              <a:cxn ang="0">
                <a:pos x="connsiteX3" y="connsiteY3"/>
              </a:cxn>
            </a:cxnLst>
            <a:rect l="l" t="t" r="r" b="b"/>
            <a:pathLst>
              <a:path w="2940086" h="3384061">
                <a:moveTo>
                  <a:pt x="0" y="0"/>
                </a:moveTo>
                <a:lnTo>
                  <a:pt x="2496112" y="0"/>
                </a:lnTo>
                <a:lnTo>
                  <a:pt x="2940086" y="443975"/>
                </a:lnTo>
                <a:lnTo>
                  <a:pt x="0" y="3384061"/>
                </a:lnTo>
                <a:close/>
              </a:path>
            </a:pathLst>
          </a:cu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9" name="Rectangle 28">
            <a:extLst>
              <a:ext uri="{FF2B5EF4-FFF2-40B4-BE49-F238E27FC236}">
                <a16:creationId xmlns:a16="http://schemas.microsoft.com/office/drawing/2014/main" id="{15E3C750-986E-4769-B1AE-49289FBEE75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14580089" y="7865318"/>
            <a:ext cx="1439978" cy="1439978"/>
          </a:xfrm>
          <a:prstGeom prst="rect">
            <a:avLst/>
          </a:pr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2982948713"/>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6"/>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marL="0" marR="0" lvl="0" indent="0" algn="ctr" defTabSz="914400" rtl="0" eaLnBrk="1" fontAlgn="auto" latinLnBrk="0" hangingPunct="1">
                <a:lnSpc>
                  <a:spcPts val="3919"/>
                </a:lnSpc>
                <a:spcBef>
                  <a:spcPct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OCR A Extended" panose="02010509020102010303" pitchFamily="50" charset="0"/>
                  <a:ea typeface="+mn-ea"/>
                  <a:cs typeface="+mn-cs"/>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4"/>
          <a:srcRect/>
          <a:stretch>
            <a:fillRect/>
          </a:stretch>
        </p:blipFill>
        <p:spPr>
          <a:xfrm>
            <a:off x="0" y="8901113"/>
            <a:ext cx="5715000" cy="1385887"/>
          </a:xfrm>
          <a:prstGeom prst="rect">
            <a:avLst/>
          </a:prstGeom>
        </p:spPr>
      </p:pic>
      <p:grpSp>
        <p:nvGrpSpPr>
          <p:cNvPr id="3" name="Gruppo 2">
            <a:extLst>
              <a:ext uri="{FF2B5EF4-FFF2-40B4-BE49-F238E27FC236}">
                <a16:creationId xmlns:a16="http://schemas.microsoft.com/office/drawing/2014/main" id="{1C29CBCA-BE0A-4EF6-AC69-329941E1DCFD}"/>
              </a:ext>
            </a:extLst>
          </p:cNvPr>
          <p:cNvGrpSpPr/>
          <p:nvPr/>
        </p:nvGrpSpPr>
        <p:grpSpPr>
          <a:xfrm>
            <a:off x="-12" y="138554"/>
            <a:ext cx="18288002" cy="681138"/>
            <a:chOff x="-12" y="138554"/>
            <a:chExt cx="18288002" cy="681138"/>
          </a:xfrm>
        </p:grpSpPr>
        <p:grpSp>
          <p:nvGrpSpPr>
            <p:cNvPr id="2" name="Gruppo 1">
              <a:extLst>
                <a:ext uri="{FF2B5EF4-FFF2-40B4-BE49-F238E27FC236}">
                  <a16:creationId xmlns:a16="http://schemas.microsoft.com/office/drawing/2014/main" id="{24E9C7AF-0093-476F-826C-A2702AB72892}"/>
                </a:ext>
              </a:extLst>
            </p:cNvPr>
            <p:cNvGrpSpPr/>
            <p:nvPr/>
          </p:nvGrpSpPr>
          <p:grpSpPr>
            <a:xfrm>
              <a:off x="0" y="153125"/>
              <a:ext cx="17907000" cy="666567"/>
              <a:chOff x="0" y="153125"/>
              <a:chExt cx="17907000" cy="666567"/>
            </a:xfrm>
          </p:grpSpPr>
          <p:pic>
            <p:nvPicPr>
              <p:cNvPr id="10" name="Picture 10"/>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2" name="TextBox 11">
                <a:extLst>
                  <a:ext uri="{FF2B5EF4-FFF2-40B4-BE49-F238E27FC236}">
                    <a16:creationId xmlns:a16="http://schemas.microsoft.com/office/drawing/2014/main" id="{1BD9B5F4-614C-4EB6-8C5B-120A5420CE43}"/>
                  </a:ext>
                </a:extLst>
              </p:cNvPr>
              <p:cNvSpPr txBox="1"/>
              <p:nvPr/>
            </p:nvSpPr>
            <p:spPr>
              <a:xfrm>
                <a:off x="12154296" y="257980"/>
                <a:ext cx="5752704" cy="456856"/>
              </a:xfrm>
              <a:prstGeom prst="rect">
                <a:avLst/>
              </a:prstGeom>
            </p:spPr>
            <p:txBody>
              <a:bodyPr wrap="square" lIns="0" tIns="0" rIns="0" bIns="0" rtlCol="0" anchor="t">
                <a:spAutoFit/>
              </a:bodyPr>
              <a:lstStyle/>
              <a:p>
                <a:pPr marL="0" marR="0" lvl="0" indent="0" algn="r" defTabSz="914400" rtl="0" eaLnBrk="1" fontAlgn="auto" latinLnBrk="0" hangingPunct="1">
                  <a:lnSpc>
                    <a:spcPts val="3919"/>
                  </a:lnSpc>
                  <a:spcBef>
                    <a:spcPct val="0"/>
                  </a:spcBef>
                  <a:spcAft>
                    <a:spcPts val="0"/>
                  </a:spcAft>
                  <a:buClrTx/>
                  <a:buSzTx/>
                  <a:buFontTx/>
                  <a:buNone/>
                  <a:tabLst/>
                  <a:defRPr/>
                </a:pPr>
                <a:endParaRPr kumimoji="0" lang="en-US" sz="2800" b="0" i="0" u="none" strike="noStrike" kern="1200" cap="none" spc="0" normalizeH="0" baseline="0" noProof="0">
                  <a:ln>
                    <a:noFill/>
                  </a:ln>
                  <a:solidFill>
                    <a:srgbClr val="2F2F2F">
                      <a:lumMod val="75000"/>
                      <a:lumOff val="25000"/>
                    </a:srgbClr>
                  </a:solidFill>
                  <a:effectLst/>
                  <a:uLnTx/>
                  <a:uFillTx/>
                  <a:latin typeface="Arial" panose="020B0604020202020204" pitchFamily="34" charset="0"/>
                  <a:ea typeface="+mn-ea"/>
                  <a:cs typeface="Arial" panose="020B0604020202020204" pitchFamily="34" charset="0"/>
                </a:endParaRPr>
              </a:p>
            </p:txBody>
          </p:sp>
        </p:grpSp>
        <p:sp>
          <p:nvSpPr>
            <p:cNvPr id="14" name="Rettangolo 13">
              <a:extLst>
                <a:ext uri="{FF2B5EF4-FFF2-40B4-BE49-F238E27FC236}">
                  <a16:creationId xmlns:a16="http://schemas.microsoft.com/office/drawing/2014/main" id="{55199736-B8B6-4C9A-8BAF-233E07A0CA89}"/>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3" name="TextBox 13"/>
          <p:cNvSpPr txBox="1"/>
          <p:nvPr/>
        </p:nvSpPr>
        <p:spPr>
          <a:xfrm>
            <a:off x="1646220" y="1231987"/>
            <a:ext cx="13618595" cy="677108"/>
          </a:xfrm>
          <a:prstGeom prst="rect">
            <a:avLst/>
          </a:prstGeom>
        </p:spPr>
        <p:txBody>
          <a:bodyPr wrap="square" lIns="0" tIns="0" rIns="0" bIns="0" rtlCol="0" anchor="t">
            <a:sp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4400" b="1" i="0" u="none" strike="noStrike" kern="1200" cap="none" spc="0" normalizeH="0" baseline="0" noProof="0" dirty="0">
                <a:ln>
                  <a:noFill/>
                </a:ln>
                <a:solidFill>
                  <a:srgbClr val="CC0033"/>
                </a:solidFill>
                <a:effectLst/>
                <a:uLnTx/>
                <a:uFillTx/>
                <a:latin typeface="Arial"/>
                <a:ea typeface="+mn-ea"/>
                <a:cs typeface="Arial" panose="020B0604020202020204" pitchFamily="34" charset="0"/>
              </a:rPr>
              <a:t>Overview of Chapter 5</a:t>
            </a:r>
            <a:endParaRPr kumimoji="0" lang="en-US" sz="3600" b="1" i="1" u="none" strike="noStrike" kern="1200" cap="none" spc="0" normalizeH="0" baseline="0" noProof="0" dirty="0">
              <a:ln>
                <a:noFill/>
              </a:ln>
              <a:solidFill>
                <a:srgbClr val="CC0033"/>
              </a:solidFill>
              <a:effectLst/>
              <a:uLnTx/>
              <a:uFillTx/>
              <a:latin typeface="Arial"/>
              <a:ea typeface="+mn-ea"/>
              <a:cs typeface="Arial" panose="020B0604020202020204" pitchFamily="34" charset="0"/>
            </a:endParaRPr>
          </a:p>
        </p:txBody>
      </p:sp>
      <p:sp>
        <p:nvSpPr>
          <p:cNvPr id="21" name="Content Placeholder 2">
            <a:extLst>
              <a:ext uri="{FF2B5EF4-FFF2-40B4-BE49-F238E27FC236}">
                <a16:creationId xmlns:a16="http://schemas.microsoft.com/office/drawing/2014/main" id="{7410B400-A91F-45CE-9F10-13149670B085}"/>
              </a:ext>
            </a:extLst>
          </p:cNvPr>
          <p:cNvSpPr txBox="1">
            <a:spLocks/>
          </p:cNvSpPr>
          <p:nvPr/>
        </p:nvSpPr>
        <p:spPr>
          <a:xfrm>
            <a:off x="1129552" y="2426246"/>
            <a:ext cx="10395697" cy="6217995"/>
          </a:xfrm>
          <a:prstGeom prst="rect">
            <a:avLst/>
          </a:prstGeom>
        </p:spPr>
        <p:txBody>
          <a:bodyPr vert="horz" lIns="91440" tIns="45720" rIns="91440" bIns="45720" rtlCol="0">
            <a:normAutofit/>
          </a:bodyPr>
          <a:lstStyle>
            <a:lvl1pPr marL="0" indent="0" algn="ctr" defTabSz="914400" rtl="0" eaLnBrk="1" latinLnBrk="0" hangingPunct="1">
              <a:spcBef>
                <a:spcPct val="20000"/>
              </a:spcBef>
              <a:buFont typeface="Arial" pitchFamily="34" charset="0"/>
              <a:buNone/>
              <a:defRPr sz="3200" kern="1200">
                <a:solidFill>
                  <a:schemeClr val="tx1">
                    <a:tint val="75000"/>
                  </a:schemeClr>
                </a:solidFill>
                <a:latin typeface="+mn-lt"/>
                <a:ea typeface="+mn-ea"/>
                <a:cs typeface="+mn-cs"/>
              </a:defRPr>
            </a:lvl1pPr>
            <a:lvl2pPr marL="457200" indent="0" algn="ctr" defTabSz="914400"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marL="457200" marR="0" lvl="1"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sv-SE" sz="2800" b="1" i="0" u="none" strike="noStrike" kern="1200" cap="none" spc="0" normalizeH="0" baseline="0" noProof="0" dirty="0">
                <a:ln>
                  <a:noFill/>
                </a:ln>
                <a:solidFill>
                  <a:srgbClr val="2F2F2F"/>
                </a:solidFill>
                <a:effectLst/>
                <a:uLnTx/>
                <a:uFillTx/>
                <a:latin typeface="Arial"/>
                <a:ea typeface="+mn-ea"/>
                <a:cs typeface="+mn-cs"/>
              </a:rPr>
              <a:t>In </a:t>
            </a:r>
            <a:r>
              <a:rPr kumimoji="0" lang="sv-SE" sz="2800" b="1" i="0" u="none" strike="noStrike" kern="1200" cap="none" spc="0" normalizeH="0" baseline="0" noProof="0" dirty="0" err="1">
                <a:ln>
                  <a:noFill/>
                </a:ln>
                <a:solidFill>
                  <a:srgbClr val="2F2F2F"/>
                </a:solidFill>
                <a:effectLst/>
                <a:uLnTx/>
                <a:uFillTx/>
                <a:latin typeface="Arial"/>
                <a:ea typeface="+mn-ea"/>
                <a:cs typeface="+mn-cs"/>
              </a:rPr>
              <a:t>this</a:t>
            </a:r>
            <a:r>
              <a:rPr kumimoji="0" lang="sv-SE" sz="2800" b="1" i="0" u="none" strike="noStrike" kern="1200" cap="none" spc="0" normalizeH="0" baseline="0" noProof="0" dirty="0">
                <a:ln>
                  <a:noFill/>
                </a:ln>
                <a:solidFill>
                  <a:srgbClr val="2F2F2F"/>
                </a:solidFill>
                <a:effectLst/>
                <a:uLnTx/>
                <a:uFillTx/>
                <a:latin typeface="Arial"/>
                <a:ea typeface="+mn-ea"/>
                <a:cs typeface="+mn-cs"/>
              </a:rPr>
              <a:t> </a:t>
            </a:r>
            <a:r>
              <a:rPr kumimoji="0" lang="sv-SE" sz="2800" b="1" i="0" u="none" strike="noStrike" kern="1200" cap="none" spc="0" normalizeH="0" baseline="0" noProof="0" dirty="0" err="1">
                <a:ln>
                  <a:noFill/>
                </a:ln>
                <a:solidFill>
                  <a:srgbClr val="2F2F2F"/>
                </a:solidFill>
                <a:effectLst/>
                <a:uLnTx/>
                <a:uFillTx/>
                <a:latin typeface="Arial"/>
                <a:ea typeface="+mn-ea"/>
                <a:cs typeface="+mn-cs"/>
              </a:rPr>
              <a:t>chapter</a:t>
            </a:r>
            <a:r>
              <a:rPr kumimoji="0" lang="sv-SE" sz="2800" b="1" i="0" u="none" strike="noStrike" kern="1200" cap="none" spc="0" normalizeH="0" baseline="0" noProof="0" dirty="0">
                <a:ln>
                  <a:noFill/>
                </a:ln>
                <a:solidFill>
                  <a:srgbClr val="2F2F2F"/>
                </a:solidFill>
                <a:effectLst/>
                <a:uLnTx/>
                <a:uFillTx/>
                <a:latin typeface="Arial"/>
                <a:ea typeface="+mn-ea"/>
                <a:cs typeface="+mn-cs"/>
              </a:rPr>
              <a:t>, </a:t>
            </a:r>
            <a:r>
              <a:rPr kumimoji="0" lang="sv-SE" sz="2800" b="1" i="0" u="none" strike="noStrike" kern="1200" cap="none" spc="0" normalizeH="0" baseline="0" noProof="0" dirty="0" err="1">
                <a:ln>
                  <a:noFill/>
                </a:ln>
                <a:solidFill>
                  <a:srgbClr val="2F2F2F"/>
                </a:solidFill>
                <a:effectLst/>
                <a:uLnTx/>
                <a:uFillTx/>
                <a:latin typeface="Arial"/>
                <a:ea typeface="+mn-ea"/>
                <a:cs typeface="+mn-cs"/>
              </a:rPr>
              <a:t>we</a:t>
            </a:r>
            <a:r>
              <a:rPr kumimoji="0" lang="sv-SE" sz="2800" b="1" i="0" u="none" strike="noStrike" kern="1200" cap="none" spc="0" normalizeH="0" baseline="0" noProof="0" dirty="0">
                <a:ln>
                  <a:noFill/>
                </a:ln>
                <a:solidFill>
                  <a:srgbClr val="2F2F2F"/>
                </a:solidFill>
                <a:effectLst/>
                <a:uLnTx/>
                <a:uFillTx/>
                <a:latin typeface="Arial"/>
                <a:ea typeface="+mn-ea"/>
                <a:cs typeface="+mn-cs"/>
              </a:rPr>
              <a:t> </a:t>
            </a:r>
            <a:r>
              <a:rPr kumimoji="0" lang="sv-SE" sz="2800" b="1" i="0" u="none" strike="noStrike" kern="1200" cap="none" spc="0" normalizeH="0" baseline="0" noProof="0" dirty="0" err="1">
                <a:ln>
                  <a:noFill/>
                </a:ln>
                <a:solidFill>
                  <a:srgbClr val="2F2F2F"/>
                </a:solidFill>
                <a:effectLst/>
                <a:uLnTx/>
                <a:uFillTx/>
                <a:latin typeface="Arial"/>
                <a:ea typeface="+mn-ea"/>
                <a:cs typeface="+mn-cs"/>
              </a:rPr>
              <a:t>will</a:t>
            </a:r>
            <a:r>
              <a:rPr kumimoji="0" lang="sv-SE" sz="2800" b="1" i="0" u="none" strike="noStrike" kern="1200" cap="none" spc="0" normalizeH="0" baseline="0" noProof="0" dirty="0">
                <a:ln>
                  <a:noFill/>
                </a:ln>
                <a:solidFill>
                  <a:srgbClr val="2F2F2F"/>
                </a:solidFill>
                <a:effectLst/>
                <a:uLnTx/>
                <a:uFillTx/>
                <a:latin typeface="Arial"/>
                <a:ea typeface="+mn-ea"/>
                <a:cs typeface="+mn-cs"/>
              </a:rPr>
              <a:t> </a:t>
            </a:r>
            <a:r>
              <a:rPr kumimoji="0" lang="sv-SE" sz="2800" b="1" i="0" u="none" strike="noStrike" kern="1200" cap="none" spc="0" normalizeH="0" baseline="0" noProof="0" dirty="0" err="1">
                <a:ln>
                  <a:noFill/>
                </a:ln>
                <a:solidFill>
                  <a:srgbClr val="2F2F2F"/>
                </a:solidFill>
                <a:effectLst/>
                <a:uLnTx/>
                <a:uFillTx/>
                <a:latin typeface="Arial"/>
                <a:ea typeface="+mn-ea"/>
                <a:cs typeface="+mn-cs"/>
              </a:rPr>
              <a:t>learn</a:t>
            </a:r>
            <a:r>
              <a:rPr kumimoji="0" lang="sv-SE" sz="2800" b="1" i="0" u="none" strike="noStrike" kern="1200" cap="none" spc="0" normalizeH="0" baseline="0" noProof="0" dirty="0">
                <a:ln>
                  <a:noFill/>
                </a:ln>
                <a:solidFill>
                  <a:srgbClr val="2F2F2F"/>
                </a:solidFill>
                <a:effectLst/>
                <a:uLnTx/>
                <a:uFillTx/>
                <a:latin typeface="Arial"/>
                <a:ea typeface="+mn-ea"/>
                <a:cs typeface="+mn-cs"/>
              </a:rPr>
              <a:t> </a:t>
            </a:r>
            <a:r>
              <a:rPr kumimoji="0" lang="sv-SE" sz="2800" b="1" i="0" u="none" strike="noStrike" kern="1200" cap="none" spc="0" normalizeH="0" baseline="0" noProof="0" dirty="0" err="1">
                <a:ln>
                  <a:noFill/>
                </a:ln>
                <a:solidFill>
                  <a:srgbClr val="2F2F2F"/>
                </a:solidFill>
                <a:effectLst/>
                <a:uLnTx/>
                <a:uFillTx/>
                <a:latin typeface="Arial"/>
                <a:ea typeface="+mn-ea"/>
                <a:cs typeface="+mn-cs"/>
              </a:rPr>
              <a:t>about</a:t>
            </a:r>
            <a:r>
              <a:rPr kumimoji="0" lang="sv-SE" sz="2800" b="1" i="0" u="none" strike="noStrike" kern="1200" cap="none" spc="0" normalizeH="0" baseline="0" noProof="0" dirty="0">
                <a:ln>
                  <a:noFill/>
                </a:ln>
                <a:solidFill>
                  <a:srgbClr val="2F2F2F"/>
                </a:solidFill>
                <a:effectLst/>
                <a:uLnTx/>
                <a:uFillTx/>
                <a:latin typeface="Arial"/>
                <a:ea typeface="+mn-ea"/>
                <a:cs typeface="+mn-cs"/>
              </a:rPr>
              <a:t>:</a:t>
            </a:r>
          </a:p>
          <a:p>
            <a:pPr marL="457200" marR="0" lvl="1" indent="0" algn="l"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sv-SE" sz="2800" b="1" i="0" u="none" strike="noStrike" kern="1200" cap="none" spc="0" normalizeH="0" baseline="0" noProof="0" dirty="0">
              <a:ln>
                <a:noFill/>
              </a:ln>
              <a:solidFill>
                <a:srgbClr val="2F2F2F"/>
              </a:solidFill>
              <a:effectLst/>
              <a:uLnTx/>
              <a:uFillTx/>
              <a:latin typeface="Arial"/>
              <a:ea typeface="+mn-ea"/>
              <a:cs typeface="+mn-cs"/>
            </a:endParaRPr>
          </a:p>
          <a:p>
            <a:pPr marL="914400" marR="0" lvl="1" indent="-4572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sv-SE" sz="2800" b="0" i="0" u="none" strike="noStrike" kern="1200" cap="none" spc="0" normalizeH="0" baseline="0" noProof="0" dirty="0" err="1">
                <a:ln>
                  <a:noFill/>
                </a:ln>
                <a:solidFill>
                  <a:srgbClr val="2F2F2F"/>
                </a:solidFill>
                <a:effectLst/>
                <a:uLnTx/>
                <a:uFillTx/>
                <a:latin typeface="Arial"/>
                <a:ea typeface="+mn-ea"/>
                <a:cs typeface="+mn-cs"/>
              </a:rPr>
              <a:t>Chapter</a:t>
            </a:r>
            <a:r>
              <a:rPr kumimoji="0" lang="sv-SE" sz="2800" b="0" i="0" u="none" strike="noStrike" kern="1200" cap="none" spc="0" normalizeH="0" baseline="0" noProof="0" dirty="0">
                <a:ln>
                  <a:noFill/>
                </a:ln>
                <a:solidFill>
                  <a:srgbClr val="2F2F2F"/>
                </a:solidFill>
                <a:effectLst/>
                <a:uLnTx/>
                <a:uFillTx/>
                <a:latin typeface="Arial"/>
                <a:ea typeface="+mn-ea"/>
                <a:cs typeface="+mn-cs"/>
              </a:rPr>
              <a:t> 5.1 Life </a:t>
            </a:r>
            <a:r>
              <a:rPr kumimoji="0" lang="sv-SE" sz="2800" b="0" i="0" u="none" strike="noStrike" kern="1200" cap="none" spc="0" normalizeH="0" baseline="0" noProof="0" dirty="0" err="1">
                <a:ln>
                  <a:noFill/>
                </a:ln>
                <a:solidFill>
                  <a:srgbClr val="2F2F2F"/>
                </a:solidFill>
                <a:effectLst/>
                <a:uLnTx/>
                <a:uFillTx/>
                <a:latin typeface="Arial"/>
                <a:ea typeface="+mn-ea"/>
                <a:cs typeface="+mn-cs"/>
              </a:rPr>
              <a:t>Cycle</a:t>
            </a:r>
            <a:r>
              <a:rPr kumimoji="0" lang="sv-SE" sz="2800" b="0" i="0" u="none" strike="noStrike" kern="1200" cap="none" spc="0" normalizeH="0" baseline="0" noProof="0" dirty="0">
                <a:ln>
                  <a:noFill/>
                </a:ln>
                <a:solidFill>
                  <a:srgbClr val="2F2F2F"/>
                </a:solidFill>
                <a:effectLst/>
                <a:uLnTx/>
                <a:uFillTx/>
                <a:latin typeface="Arial"/>
                <a:ea typeface="+mn-ea"/>
                <a:cs typeface="+mn-cs"/>
              </a:rPr>
              <a:t> </a:t>
            </a:r>
            <a:r>
              <a:rPr kumimoji="0" lang="sv-SE" sz="2800" b="0" i="0" u="none" strike="noStrike" kern="1200" cap="none" spc="0" normalizeH="0" baseline="0" noProof="0" dirty="0" err="1">
                <a:ln>
                  <a:noFill/>
                </a:ln>
                <a:solidFill>
                  <a:srgbClr val="2F2F2F"/>
                </a:solidFill>
                <a:effectLst/>
                <a:uLnTx/>
                <a:uFillTx/>
                <a:latin typeface="Arial"/>
                <a:ea typeface="+mn-ea"/>
                <a:cs typeface="+mn-cs"/>
              </a:rPr>
              <a:t>Assessment</a:t>
            </a:r>
            <a:r>
              <a:rPr kumimoji="0" lang="sv-SE" sz="2800" b="0" i="0" u="none" strike="noStrike" kern="1200" cap="none" spc="0" normalizeH="0" baseline="0" noProof="0" dirty="0">
                <a:ln>
                  <a:noFill/>
                </a:ln>
                <a:solidFill>
                  <a:srgbClr val="2F2F2F"/>
                </a:solidFill>
                <a:effectLst/>
                <a:uLnTx/>
                <a:uFillTx/>
                <a:latin typeface="Arial"/>
                <a:ea typeface="+mn-ea"/>
                <a:cs typeface="+mn-cs"/>
              </a:rPr>
              <a:t> (LCA)</a:t>
            </a:r>
          </a:p>
          <a:p>
            <a:pPr marL="914400" marR="0" lvl="1" indent="-4572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sv-SE" sz="2800" b="0" i="0" u="none" strike="noStrike" kern="1200" cap="none" spc="0" normalizeH="0" baseline="0" noProof="0" dirty="0" err="1">
                <a:ln>
                  <a:noFill/>
                </a:ln>
                <a:solidFill>
                  <a:srgbClr val="2F2F2F"/>
                </a:solidFill>
                <a:effectLst/>
                <a:uLnTx/>
                <a:uFillTx/>
                <a:latin typeface="Arial"/>
                <a:ea typeface="+mn-ea"/>
                <a:cs typeface="+mn-cs"/>
              </a:rPr>
              <a:t>Chapter</a:t>
            </a:r>
            <a:r>
              <a:rPr kumimoji="0" lang="sv-SE" sz="2800" b="0" i="0" u="none" strike="noStrike" kern="1200" cap="none" spc="0" normalizeH="0" baseline="0" noProof="0" dirty="0">
                <a:ln>
                  <a:noFill/>
                </a:ln>
                <a:solidFill>
                  <a:srgbClr val="2F2F2F"/>
                </a:solidFill>
                <a:effectLst/>
                <a:uLnTx/>
                <a:uFillTx/>
                <a:latin typeface="Arial"/>
                <a:ea typeface="+mn-ea"/>
                <a:cs typeface="+mn-cs"/>
              </a:rPr>
              <a:t> 4.2 </a:t>
            </a:r>
            <a:r>
              <a:rPr kumimoji="0" lang="sv-SE" sz="2800" b="0" i="0" u="none" strike="noStrike" kern="1200" cap="none" spc="0" normalizeH="0" baseline="0" noProof="0" dirty="0" err="1">
                <a:ln>
                  <a:noFill/>
                </a:ln>
                <a:solidFill>
                  <a:srgbClr val="2F2F2F"/>
                </a:solidFill>
                <a:effectLst/>
                <a:uLnTx/>
                <a:uFillTx/>
                <a:latin typeface="Arial"/>
                <a:ea typeface="+mn-ea"/>
                <a:cs typeface="+mn-cs"/>
              </a:rPr>
              <a:t>Environmental</a:t>
            </a:r>
            <a:r>
              <a:rPr kumimoji="0" lang="sv-SE" sz="2800" b="0" i="0" u="none" strike="noStrike" kern="1200" cap="none" spc="0" normalizeH="0" baseline="0" noProof="0" dirty="0">
                <a:ln>
                  <a:noFill/>
                </a:ln>
                <a:solidFill>
                  <a:srgbClr val="2F2F2F"/>
                </a:solidFill>
                <a:effectLst/>
                <a:uLnTx/>
                <a:uFillTx/>
                <a:latin typeface="Arial"/>
                <a:ea typeface="+mn-ea"/>
                <a:cs typeface="+mn-cs"/>
              </a:rPr>
              <a:t> Life </a:t>
            </a:r>
            <a:r>
              <a:rPr kumimoji="0" lang="sv-SE" sz="2800" b="0" i="0" u="none" strike="noStrike" kern="1200" cap="none" spc="0" normalizeH="0" baseline="0" noProof="0" dirty="0" err="1">
                <a:ln>
                  <a:noFill/>
                </a:ln>
                <a:solidFill>
                  <a:srgbClr val="2F2F2F"/>
                </a:solidFill>
                <a:effectLst/>
                <a:uLnTx/>
                <a:uFillTx/>
                <a:latin typeface="Arial"/>
                <a:ea typeface="+mn-ea"/>
                <a:cs typeface="+mn-cs"/>
              </a:rPr>
              <a:t>Cycle</a:t>
            </a:r>
            <a:r>
              <a:rPr kumimoji="0" lang="sv-SE" sz="2800" b="0" i="0" u="none" strike="noStrike" kern="1200" cap="none" spc="0" normalizeH="0" baseline="0" noProof="0" dirty="0">
                <a:ln>
                  <a:noFill/>
                </a:ln>
                <a:solidFill>
                  <a:srgbClr val="2F2F2F"/>
                </a:solidFill>
                <a:effectLst/>
                <a:uLnTx/>
                <a:uFillTx/>
                <a:latin typeface="Arial"/>
                <a:ea typeface="+mn-ea"/>
                <a:cs typeface="+mn-cs"/>
              </a:rPr>
              <a:t> </a:t>
            </a:r>
            <a:r>
              <a:rPr kumimoji="0" lang="sv-SE" sz="2800" b="0" i="0" u="none" strike="noStrike" kern="1200" cap="none" spc="0" normalizeH="0" baseline="0" noProof="0" dirty="0" err="1">
                <a:ln>
                  <a:noFill/>
                </a:ln>
                <a:solidFill>
                  <a:srgbClr val="2F2F2F"/>
                </a:solidFill>
                <a:effectLst/>
                <a:uLnTx/>
                <a:uFillTx/>
                <a:latin typeface="Arial"/>
                <a:ea typeface="+mn-ea"/>
                <a:cs typeface="+mn-cs"/>
              </a:rPr>
              <a:t>Cost</a:t>
            </a:r>
            <a:r>
              <a:rPr kumimoji="0" lang="sv-SE" sz="2800" b="0" i="0" u="none" strike="noStrike" kern="1200" cap="none" spc="0" normalizeH="0" baseline="0" noProof="0" dirty="0">
                <a:ln>
                  <a:noFill/>
                </a:ln>
                <a:solidFill>
                  <a:srgbClr val="2F2F2F"/>
                </a:solidFill>
                <a:effectLst/>
                <a:uLnTx/>
                <a:uFillTx/>
                <a:latin typeface="Arial"/>
                <a:ea typeface="+mn-ea"/>
                <a:cs typeface="+mn-cs"/>
              </a:rPr>
              <a:t> (</a:t>
            </a:r>
            <a:r>
              <a:rPr kumimoji="0" lang="sv-SE" sz="2800" b="0" i="0" u="none" strike="noStrike" kern="1200" cap="none" spc="0" normalizeH="0" baseline="0" noProof="0" dirty="0" err="1">
                <a:ln>
                  <a:noFill/>
                </a:ln>
                <a:solidFill>
                  <a:srgbClr val="2F2F2F"/>
                </a:solidFill>
                <a:effectLst/>
                <a:uLnTx/>
                <a:uFillTx/>
                <a:latin typeface="Arial"/>
                <a:ea typeface="+mn-ea"/>
                <a:cs typeface="+mn-cs"/>
              </a:rPr>
              <a:t>eLCC</a:t>
            </a:r>
            <a:r>
              <a:rPr kumimoji="0" lang="sv-SE" sz="2800" b="0" i="0" u="none" strike="noStrike" kern="1200" cap="none" spc="0" normalizeH="0" baseline="0" noProof="0" dirty="0">
                <a:ln>
                  <a:noFill/>
                </a:ln>
                <a:solidFill>
                  <a:srgbClr val="2F2F2F"/>
                </a:solidFill>
                <a:effectLst/>
                <a:uLnTx/>
                <a:uFillTx/>
                <a:latin typeface="Arial"/>
                <a:ea typeface="+mn-ea"/>
                <a:cs typeface="+mn-cs"/>
              </a:rPr>
              <a:t>)</a:t>
            </a:r>
          </a:p>
          <a:p>
            <a:pPr marL="914400" marR="0" lvl="1" indent="-4572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sv-SE" dirty="0" err="1">
                <a:solidFill>
                  <a:srgbClr val="2F2F2F"/>
                </a:solidFill>
                <a:latin typeface="Arial"/>
              </a:rPr>
              <a:t>Chapter</a:t>
            </a:r>
            <a:r>
              <a:rPr lang="sv-SE" dirty="0">
                <a:solidFill>
                  <a:srgbClr val="2F2F2F"/>
                </a:solidFill>
                <a:latin typeface="Arial"/>
              </a:rPr>
              <a:t> 4.3 Social LCA (S-LCA)</a:t>
            </a:r>
            <a:endParaRPr kumimoji="0" lang="sv-SE" sz="2800" b="0" i="0" u="none" strike="noStrike" kern="1200" cap="none" spc="0" normalizeH="0" baseline="0" noProof="0" dirty="0">
              <a:ln>
                <a:noFill/>
              </a:ln>
              <a:solidFill>
                <a:srgbClr val="2F2F2F"/>
              </a:solidFill>
              <a:effectLst/>
              <a:uLnTx/>
              <a:uFillTx/>
              <a:latin typeface="Arial"/>
              <a:ea typeface="+mn-ea"/>
              <a:cs typeface="+mn-cs"/>
            </a:endParaRPr>
          </a:p>
        </p:txBody>
      </p:sp>
      <p:grpSp>
        <p:nvGrpSpPr>
          <p:cNvPr id="4" name="Group 6">
            <a:extLst>
              <a:ext uri="{FF2B5EF4-FFF2-40B4-BE49-F238E27FC236}">
                <a16:creationId xmlns:a16="http://schemas.microsoft.com/office/drawing/2014/main" id="{15999EBD-93D4-9CA6-892A-18A5A272F4A0}"/>
              </a:ext>
            </a:extLst>
          </p:cNvPr>
          <p:cNvGrpSpPr/>
          <p:nvPr/>
        </p:nvGrpSpPr>
        <p:grpSpPr>
          <a:xfrm>
            <a:off x="10045147" y="1832941"/>
            <a:ext cx="7991191" cy="6939998"/>
            <a:chOff x="1783080" y="874776"/>
            <a:chExt cx="5577840" cy="5108448"/>
          </a:xfrm>
        </p:grpSpPr>
        <p:pic>
          <p:nvPicPr>
            <p:cNvPr id="6" name="Picture 8">
              <a:extLst>
                <a:ext uri="{FF2B5EF4-FFF2-40B4-BE49-F238E27FC236}">
                  <a16:creationId xmlns:a16="http://schemas.microsoft.com/office/drawing/2014/main" id="{2DDF54EA-5203-4684-99B6-414416CD844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783080" y="874776"/>
              <a:ext cx="5577840" cy="5108448"/>
            </a:xfrm>
            <a:prstGeom prst="rect">
              <a:avLst/>
            </a:prstGeom>
            <a:ln>
              <a:noFill/>
            </a:ln>
          </p:spPr>
        </p:pic>
        <p:sp>
          <p:nvSpPr>
            <p:cNvPr id="7" name="Rectangle 9">
              <a:extLst>
                <a:ext uri="{FF2B5EF4-FFF2-40B4-BE49-F238E27FC236}">
                  <a16:creationId xmlns:a16="http://schemas.microsoft.com/office/drawing/2014/main" id="{563C147F-548E-C9DA-B615-9B85E30ECB91}"/>
                </a:ext>
              </a:extLst>
            </p:cNvPr>
            <p:cNvSpPr/>
            <p:nvPr/>
          </p:nvSpPr>
          <p:spPr bwMode="auto">
            <a:xfrm>
              <a:off x="1783080" y="909315"/>
              <a:ext cx="5577840" cy="5073909"/>
            </a:xfrm>
            <a:prstGeom prst="rect">
              <a:avLst/>
            </a:prstGeom>
            <a:noFill/>
            <a:ln w="38100" cap="flat" cmpd="sng" algn="ctr">
              <a:noFill/>
              <a:prstDash val="solid"/>
              <a:round/>
              <a:headEnd type="none" w="med" len="med"/>
              <a:tailEnd type="none" w="med" len="med"/>
            </a:ln>
            <a:effectLst/>
          </p:spPr>
          <p:txBody>
            <a:bodyPr vert="horz" wrap="none" lIns="120207" tIns="60104" rIns="120207" bIns="60104" numCol="1" rtlCol="0" anchor="ctr" anchorCtr="0" compatLnSpc="1">
              <a:prstTxWarp prst="textNoShape">
                <a:avLst/>
              </a:prstTxWarp>
            </a:bodyPr>
            <a:lstStyle/>
            <a:p>
              <a:pPr algn="ctr" defTabSz="1202070" fontAlgn="base">
                <a:spcBef>
                  <a:spcPct val="0"/>
                </a:spcBef>
                <a:spcAft>
                  <a:spcPct val="0"/>
                </a:spcAft>
              </a:pPr>
              <a:endParaRPr lang="en-GB" sz="2400">
                <a:latin typeface="Verdana" pitchFamily="34" charset="0"/>
              </a:endParaRPr>
            </a:p>
          </p:txBody>
        </p:sp>
      </p:grpSp>
    </p:spTree>
    <p:extLst>
      <p:ext uri="{BB962C8B-B14F-4D97-AF65-F5344CB8AC3E}">
        <p14:creationId xmlns:p14="http://schemas.microsoft.com/office/powerpoint/2010/main" val="2152252480"/>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uppo 2">
            <a:extLst>
              <a:ext uri="{FF2B5EF4-FFF2-40B4-BE49-F238E27FC236}">
                <a16:creationId xmlns:a16="http://schemas.microsoft.com/office/drawing/2014/main" id="{4E34B035-B87F-42BB-B763-DED4464609D4}"/>
              </a:ext>
            </a:extLst>
          </p:cNvPr>
          <p:cNvGrpSpPr/>
          <p:nvPr/>
        </p:nvGrpSpPr>
        <p:grpSpPr>
          <a:xfrm>
            <a:off x="-12" y="138554"/>
            <a:ext cx="18288002" cy="681138"/>
            <a:chOff x="-12" y="138554"/>
            <a:chExt cx="18288002" cy="681138"/>
          </a:xfrm>
        </p:grpSpPr>
        <p:grpSp>
          <p:nvGrpSpPr>
            <p:cNvPr id="11" name="Gruppo 1">
              <a:extLst>
                <a:ext uri="{FF2B5EF4-FFF2-40B4-BE49-F238E27FC236}">
                  <a16:creationId xmlns:a16="http://schemas.microsoft.com/office/drawing/2014/main" id="{B226DFF3-6A6F-424D-B049-3C7892336979}"/>
                </a:ext>
              </a:extLst>
            </p:cNvPr>
            <p:cNvGrpSpPr/>
            <p:nvPr/>
          </p:nvGrpSpPr>
          <p:grpSpPr>
            <a:xfrm>
              <a:off x="0" y="153125"/>
              <a:ext cx="17907000" cy="666567"/>
              <a:chOff x="0" y="153125"/>
              <a:chExt cx="17907000" cy="666567"/>
            </a:xfrm>
          </p:grpSpPr>
          <p:grpSp>
            <p:nvGrpSpPr>
              <p:cNvPr id="13" name="Gruppo 15">
                <a:extLst>
                  <a:ext uri="{FF2B5EF4-FFF2-40B4-BE49-F238E27FC236}">
                    <a16:creationId xmlns:a16="http://schemas.microsoft.com/office/drawing/2014/main" id="{6AFBCF3E-C208-46CD-81BD-971FFCB7CEF3}"/>
                  </a:ext>
                </a:extLst>
              </p:cNvPr>
              <p:cNvGrpSpPr/>
              <p:nvPr/>
            </p:nvGrpSpPr>
            <p:grpSpPr>
              <a:xfrm>
                <a:off x="0" y="153125"/>
                <a:ext cx="13958844" cy="666567"/>
                <a:chOff x="0" y="153125"/>
                <a:chExt cx="13958844" cy="666567"/>
              </a:xfrm>
            </p:grpSpPr>
            <p:pic>
              <p:nvPicPr>
                <p:cNvPr id="15" name="Picture 14">
                  <a:extLst>
                    <a:ext uri="{FF2B5EF4-FFF2-40B4-BE49-F238E27FC236}">
                      <a16:creationId xmlns:a16="http://schemas.microsoft.com/office/drawing/2014/main" id="{FEA3CDCB-E3F4-4A57-8EE3-35BBDFFB7F34}"/>
                    </a:ext>
                  </a:extLst>
                </p:cNvPr>
                <p:cNvPicPr>
                  <a:picLocks noChangeAspect="1"/>
                </p:cNvPicPr>
                <p:nvPr/>
              </p:nvPicPr>
              <p:blipFill>
                <a:blip r:embed="rId3"/>
                <a:srcRect l="134" t="91287" b="3943"/>
                <a:stretch>
                  <a:fillRect/>
                </a:stretch>
              </p:blipFill>
              <p:spPr>
                <a:xfrm>
                  <a:off x="0" y="153125"/>
                  <a:ext cx="13958844" cy="666567"/>
                </a:xfrm>
                <a:prstGeom prst="rect">
                  <a:avLst/>
                </a:prstGeom>
              </p:spPr>
            </p:pic>
            <p:sp>
              <p:nvSpPr>
                <p:cNvPr id="16" name="TextBox 15">
                  <a:extLst>
                    <a:ext uri="{FF2B5EF4-FFF2-40B4-BE49-F238E27FC236}">
                      <a16:creationId xmlns:a16="http://schemas.microsoft.com/office/drawing/2014/main" id="{9B3CD409-4E9B-4A2C-A343-CA2764B53E0E}"/>
                    </a:ext>
                  </a:extLst>
                </p:cNvPr>
                <p:cNvSpPr txBox="1"/>
                <p:nvPr/>
              </p:nvSpPr>
              <p:spPr>
                <a:xfrm>
                  <a:off x="228600" y="257980"/>
                  <a:ext cx="9296400" cy="456856"/>
                </a:xfrm>
                <a:prstGeom prst="rect">
                  <a:avLst/>
                </a:prstGeom>
              </p:spPr>
              <p:txBody>
                <a:bodyPr wrap="square" lIns="0" tIns="0" rIns="0" bIns="0" rtlCol="0" anchor="t">
                  <a:spAutoFit/>
                </a:bodyPr>
                <a:lstStyle/>
                <a:p>
                  <a:pPr>
                    <a:lnSpc>
                      <a:spcPts val="3919"/>
                    </a:lnSpc>
                    <a:spcBef>
                      <a:spcPct val="0"/>
                    </a:spcBef>
                  </a:pPr>
                  <a:endParaRPr lang="en-US" sz="2800" b="1">
                    <a:solidFill>
                      <a:srgbClr val="FFFFFF"/>
                    </a:solidFill>
                    <a:latin typeface="Arial" panose="020B0604020202020204" pitchFamily="34" charset="0"/>
                    <a:cs typeface="Arial" panose="020B0604020202020204" pitchFamily="34" charset="0"/>
                  </a:endParaRPr>
                </a:p>
              </p:txBody>
            </p:sp>
          </p:grpSp>
          <p:sp>
            <p:nvSpPr>
              <p:cNvPr id="14" name="TextBox 13">
                <a:extLst>
                  <a:ext uri="{FF2B5EF4-FFF2-40B4-BE49-F238E27FC236}">
                    <a16:creationId xmlns:a16="http://schemas.microsoft.com/office/drawing/2014/main" id="{3C94BE23-192E-4479-8935-D64342A7E016}"/>
                  </a:ext>
                </a:extLst>
              </p:cNvPr>
              <p:cNvSpPr txBox="1"/>
              <p:nvPr/>
            </p:nvSpPr>
            <p:spPr>
              <a:xfrm>
                <a:off x="12154296" y="257980"/>
                <a:ext cx="5752704" cy="456856"/>
              </a:xfrm>
              <a:prstGeom prst="rect">
                <a:avLst/>
              </a:prstGeom>
            </p:spPr>
            <p:txBody>
              <a:bodyPr wrap="square" lIns="0" tIns="0" rIns="0" bIns="0" rtlCol="0" anchor="t">
                <a:spAutoFit/>
              </a:bodyPr>
              <a:lstStyle/>
              <a:p>
                <a:pPr algn="r">
                  <a:lnSpc>
                    <a:spcPts val="3919"/>
                  </a:lnSpc>
                  <a:spcBef>
                    <a:spcPct val="0"/>
                  </a:spcBef>
                </a:pPr>
                <a:endParaRPr lang="en-US" sz="2800">
                  <a:solidFill>
                    <a:schemeClr val="tx1">
                      <a:lumMod val="75000"/>
                      <a:lumOff val="25000"/>
                    </a:schemeClr>
                  </a:solidFill>
                  <a:latin typeface="Arial" panose="020B0604020202020204" pitchFamily="34" charset="0"/>
                  <a:cs typeface="Arial" panose="020B0604020202020204" pitchFamily="34" charset="0"/>
                </a:endParaRPr>
              </a:p>
            </p:txBody>
          </p:sp>
        </p:grpSp>
        <p:sp>
          <p:nvSpPr>
            <p:cNvPr id="12" name="Rettangolo 13">
              <a:extLst>
                <a:ext uri="{FF2B5EF4-FFF2-40B4-BE49-F238E27FC236}">
                  <a16:creationId xmlns:a16="http://schemas.microsoft.com/office/drawing/2014/main" id="{71517D3C-EE84-4A7C-8870-BBAC1C5DF8B1}"/>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7" name="TextBox 16">
            <a:extLst>
              <a:ext uri="{FF2B5EF4-FFF2-40B4-BE49-F238E27FC236}">
                <a16:creationId xmlns:a16="http://schemas.microsoft.com/office/drawing/2014/main" id="{7D62F5E0-2AE9-4359-8F39-6F257828AC23}"/>
              </a:ext>
            </a:extLst>
          </p:cNvPr>
          <p:cNvSpPr txBox="1"/>
          <p:nvPr/>
        </p:nvSpPr>
        <p:spPr>
          <a:xfrm>
            <a:off x="-251673" y="946300"/>
            <a:ext cx="18288012" cy="1077218"/>
          </a:xfrm>
          <a:prstGeom prst="rect">
            <a:avLst/>
          </a:prstGeom>
          <a:noFill/>
        </p:spPr>
        <p:txBody>
          <a:bodyPr wrap="square">
            <a:spAutoFit/>
          </a:bodyPr>
          <a:lstStyle/>
          <a:p>
            <a:pPr algn="ctr"/>
            <a:r>
              <a:rPr lang="sv-SE" sz="6400" b="1" err="1">
                <a:solidFill>
                  <a:srgbClr val="CC0033"/>
                </a:solidFill>
                <a:latin typeface="+mj-lt"/>
                <a:cs typeface="Arial" panose="020B0604020202020204" pitchFamily="34" charset="0"/>
              </a:rPr>
              <a:t>Types</a:t>
            </a:r>
            <a:r>
              <a:rPr lang="sv-SE" sz="6400" b="1">
                <a:solidFill>
                  <a:srgbClr val="CC0033"/>
                </a:solidFill>
                <a:latin typeface="+mj-lt"/>
                <a:cs typeface="Arial" panose="020B0604020202020204" pitchFamily="34" charset="0"/>
              </a:rPr>
              <a:t> </a:t>
            </a:r>
            <a:r>
              <a:rPr lang="sv-SE" sz="6400" b="1" err="1">
                <a:solidFill>
                  <a:srgbClr val="CC0033"/>
                </a:solidFill>
                <a:latin typeface="+mj-lt"/>
                <a:cs typeface="Arial" panose="020B0604020202020204" pitchFamily="34" charset="0"/>
              </a:rPr>
              <a:t>of</a:t>
            </a:r>
            <a:r>
              <a:rPr lang="sv-SE" sz="6400" b="1">
                <a:solidFill>
                  <a:srgbClr val="CC0033"/>
                </a:solidFill>
                <a:latin typeface="+mj-lt"/>
                <a:cs typeface="Arial" panose="020B0604020202020204" pitchFamily="34" charset="0"/>
              </a:rPr>
              <a:t> LCA</a:t>
            </a:r>
          </a:p>
        </p:txBody>
      </p:sp>
      <p:pic>
        <p:nvPicPr>
          <p:cNvPr id="18" name="Picture 12">
            <a:extLst>
              <a:ext uri="{FF2B5EF4-FFF2-40B4-BE49-F238E27FC236}">
                <a16:creationId xmlns:a16="http://schemas.microsoft.com/office/drawing/2014/main" id="{8C275BFB-E157-4647-A719-5B4908F72A5A}"/>
              </a:ext>
            </a:extLst>
          </p:cNvPr>
          <p:cNvPicPr>
            <a:picLocks noChangeAspect="1"/>
          </p:cNvPicPr>
          <p:nvPr/>
        </p:nvPicPr>
        <p:blipFill>
          <a:blip r:embed="rId4"/>
          <a:srcRect/>
          <a:stretch>
            <a:fillRect/>
          </a:stretch>
        </p:blipFill>
        <p:spPr>
          <a:xfrm>
            <a:off x="0" y="8901113"/>
            <a:ext cx="5715000" cy="1385887"/>
          </a:xfrm>
          <a:prstGeom prst="rect">
            <a:avLst/>
          </a:prstGeom>
        </p:spPr>
      </p:pic>
      <p:grpSp>
        <p:nvGrpSpPr>
          <p:cNvPr id="19" name="Gruppo 16">
            <a:extLst>
              <a:ext uri="{FF2B5EF4-FFF2-40B4-BE49-F238E27FC236}">
                <a16:creationId xmlns:a16="http://schemas.microsoft.com/office/drawing/2014/main" id="{E13415F3-171E-428E-B2A4-2B1055BAFC4F}"/>
              </a:ext>
            </a:extLst>
          </p:cNvPr>
          <p:cNvGrpSpPr/>
          <p:nvPr/>
        </p:nvGrpSpPr>
        <p:grpSpPr>
          <a:xfrm>
            <a:off x="4329146" y="9679208"/>
            <a:ext cx="13958844" cy="666567"/>
            <a:chOff x="4329156" y="9649198"/>
            <a:chExt cx="13958844" cy="666567"/>
          </a:xfrm>
        </p:grpSpPr>
        <p:pic>
          <p:nvPicPr>
            <p:cNvPr id="20" name="Picture 12">
              <a:extLst>
                <a:ext uri="{FF2B5EF4-FFF2-40B4-BE49-F238E27FC236}">
                  <a16:creationId xmlns:a16="http://schemas.microsoft.com/office/drawing/2014/main" id="{2245C983-9B8A-4393-BCCF-8D3F0419ECBE}"/>
                </a:ext>
              </a:extLst>
            </p:cNvPr>
            <p:cNvPicPr>
              <a:picLocks noChangeAspect="1"/>
            </p:cNvPicPr>
            <p:nvPr/>
          </p:nvPicPr>
          <p:blipFill>
            <a:blip r:embed="rId5"/>
            <a:srcRect l="134" t="91287" b="3943"/>
            <a:stretch>
              <a:fillRect/>
            </a:stretch>
          </p:blipFill>
          <p:spPr>
            <a:xfrm rot="-10800000">
              <a:off x="4329156" y="9649198"/>
              <a:ext cx="13958844" cy="666567"/>
            </a:xfrm>
            <a:prstGeom prst="rect">
              <a:avLst/>
            </a:prstGeom>
          </p:spPr>
        </p:pic>
        <p:sp>
          <p:nvSpPr>
            <p:cNvPr id="21" name="TextBox 16">
              <a:extLst>
                <a:ext uri="{FF2B5EF4-FFF2-40B4-BE49-F238E27FC236}">
                  <a16:creationId xmlns:a16="http://schemas.microsoft.com/office/drawing/2014/main" id="{FFB233C5-A2CB-4861-A6C9-C14132B3B00D}"/>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graphicFrame>
        <p:nvGraphicFramePr>
          <p:cNvPr id="2" name="Diagram 1">
            <a:extLst>
              <a:ext uri="{FF2B5EF4-FFF2-40B4-BE49-F238E27FC236}">
                <a16:creationId xmlns:a16="http://schemas.microsoft.com/office/drawing/2014/main" id="{1A26D52B-5F1B-2F93-DDDD-C470AE2D4BA8}"/>
              </a:ext>
            </a:extLst>
          </p:cNvPr>
          <p:cNvGraphicFramePr/>
          <p:nvPr/>
        </p:nvGraphicFramePr>
        <p:xfrm>
          <a:off x="1066693" y="2254982"/>
          <a:ext cx="16169747" cy="6767237"/>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68606490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a:extLst>
              <a:ext uri="{FF2B5EF4-FFF2-40B4-BE49-F238E27FC236}">
                <a16:creationId xmlns:a16="http://schemas.microsoft.com/office/drawing/2014/main" id="{98799FA6-242B-4FD5-B9E0-83122CE6C004}"/>
              </a:ext>
            </a:extLst>
          </p:cNvPr>
          <p:cNvGrpSpPr/>
          <p:nvPr/>
        </p:nvGrpSpPr>
        <p:grpSpPr>
          <a:xfrm>
            <a:off x="4329156" y="9739279"/>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4"/>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marL="0" marR="0" lvl="0" indent="0" algn="ctr" defTabSz="914400" rtl="0" eaLnBrk="1" fontAlgn="auto" latinLnBrk="0" hangingPunct="1">
                <a:lnSpc>
                  <a:spcPts val="3919"/>
                </a:lnSpc>
                <a:spcBef>
                  <a:spcPct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OCR A Extended" panose="02010509020102010303" pitchFamily="50" charset="0"/>
                  <a:ea typeface="+mn-ea"/>
                  <a:cs typeface="+mn-cs"/>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5"/>
          <a:srcRect/>
          <a:stretch>
            <a:fillRect/>
          </a:stretch>
        </p:blipFill>
        <p:spPr>
          <a:xfrm>
            <a:off x="0" y="8901113"/>
            <a:ext cx="5715000" cy="1385887"/>
          </a:xfrm>
          <a:prstGeom prst="rect">
            <a:avLst/>
          </a:prstGeom>
        </p:spPr>
      </p:pic>
      <p:grpSp>
        <p:nvGrpSpPr>
          <p:cNvPr id="3" name="Gruppo 2">
            <a:extLst>
              <a:ext uri="{FF2B5EF4-FFF2-40B4-BE49-F238E27FC236}">
                <a16:creationId xmlns:a16="http://schemas.microsoft.com/office/drawing/2014/main" id="{1C29CBCA-BE0A-4EF6-AC69-329941E1DCFD}"/>
              </a:ext>
            </a:extLst>
          </p:cNvPr>
          <p:cNvGrpSpPr/>
          <p:nvPr/>
        </p:nvGrpSpPr>
        <p:grpSpPr>
          <a:xfrm>
            <a:off x="-12" y="138554"/>
            <a:ext cx="18288002" cy="681138"/>
            <a:chOff x="-12" y="138554"/>
            <a:chExt cx="18288002" cy="681138"/>
          </a:xfrm>
        </p:grpSpPr>
        <p:grpSp>
          <p:nvGrpSpPr>
            <p:cNvPr id="2" name="Gruppo 1">
              <a:extLst>
                <a:ext uri="{FF2B5EF4-FFF2-40B4-BE49-F238E27FC236}">
                  <a16:creationId xmlns:a16="http://schemas.microsoft.com/office/drawing/2014/main" id="{24E9C7AF-0093-476F-826C-A2702AB72892}"/>
                </a:ext>
              </a:extLst>
            </p:cNvPr>
            <p:cNvGrpSpPr/>
            <p:nvPr/>
          </p:nvGrpSpPr>
          <p:grpSpPr>
            <a:xfrm>
              <a:off x="0" y="153125"/>
              <a:ext cx="17907000" cy="666567"/>
              <a:chOff x="0" y="153125"/>
              <a:chExt cx="17907000" cy="666567"/>
            </a:xfrm>
          </p:grpSpPr>
          <p:grpSp>
            <p:nvGrpSpPr>
              <p:cNvPr id="16" name="Gruppo 15">
                <a:extLst>
                  <a:ext uri="{FF2B5EF4-FFF2-40B4-BE49-F238E27FC236}">
                    <a16:creationId xmlns:a16="http://schemas.microsoft.com/office/drawing/2014/main" id="{DAC42A46-917D-41AB-8F07-E15E54D0F7D4}"/>
                  </a:ext>
                </a:extLst>
              </p:cNvPr>
              <p:cNvGrpSpPr/>
              <p:nvPr/>
            </p:nvGrpSpPr>
            <p:grpSpPr>
              <a:xfrm>
                <a:off x="0" y="153125"/>
                <a:ext cx="13958844" cy="666567"/>
                <a:chOff x="0" y="153125"/>
                <a:chExt cx="13958844" cy="666567"/>
              </a:xfrm>
            </p:grpSpPr>
            <p:pic>
              <p:nvPicPr>
                <p:cNvPr id="10" name="Picture 10"/>
                <p:cNvPicPr>
                  <a:picLocks noChangeAspect="1"/>
                </p:cNvPicPr>
                <p:nvPr/>
              </p:nvPicPr>
              <p:blipFill>
                <a:blip r:embed="rId6"/>
                <a:srcRect l="134" t="91287" b="3943"/>
                <a:stretch>
                  <a:fillRect/>
                </a:stretch>
              </p:blipFill>
              <p:spPr>
                <a:xfrm>
                  <a:off x="0" y="153125"/>
                  <a:ext cx="13958844" cy="666567"/>
                </a:xfrm>
                <a:prstGeom prst="rect">
                  <a:avLst/>
                </a:prstGeom>
              </p:spPr>
            </p:pic>
            <p:sp>
              <p:nvSpPr>
                <p:cNvPr id="11" name="TextBox 11"/>
                <p:cNvSpPr txBox="1"/>
                <p:nvPr/>
              </p:nvSpPr>
              <p:spPr>
                <a:xfrm>
                  <a:off x="228600" y="257980"/>
                  <a:ext cx="9296400" cy="456856"/>
                </a:xfrm>
                <a:prstGeom prst="rect">
                  <a:avLst/>
                </a:prstGeom>
              </p:spPr>
              <p:txBody>
                <a:bodyPr wrap="square" lIns="0" tIns="0" rIns="0" bIns="0" rtlCol="0" anchor="t">
                  <a:spAutoFit/>
                </a:bodyPr>
                <a:lstStyle/>
                <a:p>
                  <a:pPr marL="0" marR="0" lvl="0" indent="0" algn="l" defTabSz="914400" rtl="0" eaLnBrk="1" fontAlgn="auto" latinLnBrk="0" hangingPunct="1">
                    <a:lnSpc>
                      <a:spcPts val="3919"/>
                    </a:lnSpc>
                    <a:spcBef>
                      <a:spcPct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Module 1</a:t>
                  </a:r>
                </a:p>
              </p:txBody>
            </p:sp>
          </p:grpSp>
          <p:sp>
            <p:nvSpPr>
              <p:cNvPr id="12" name="TextBox 11">
                <a:extLst>
                  <a:ext uri="{FF2B5EF4-FFF2-40B4-BE49-F238E27FC236}">
                    <a16:creationId xmlns:a16="http://schemas.microsoft.com/office/drawing/2014/main" id="{1BD9B5F4-614C-4EB6-8C5B-120A5420CE43}"/>
                  </a:ext>
                </a:extLst>
              </p:cNvPr>
              <p:cNvSpPr txBox="1"/>
              <p:nvPr/>
            </p:nvSpPr>
            <p:spPr>
              <a:xfrm>
                <a:off x="12154296" y="257980"/>
                <a:ext cx="5752704" cy="456856"/>
              </a:xfrm>
              <a:prstGeom prst="rect">
                <a:avLst/>
              </a:prstGeom>
            </p:spPr>
            <p:txBody>
              <a:bodyPr wrap="square" lIns="0" tIns="0" rIns="0" bIns="0" rtlCol="0" anchor="t">
                <a:spAutoFit/>
              </a:bodyPr>
              <a:lstStyle/>
              <a:p>
                <a:pPr marL="0" marR="0" lvl="0" indent="0" algn="r" defTabSz="914400" rtl="0" eaLnBrk="1" fontAlgn="auto" latinLnBrk="0" hangingPunct="1">
                  <a:lnSpc>
                    <a:spcPts val="3919"/>
                  </a:lnSpc>
                  <a:spcBef>
                    <a:spcPct val="0"/>
                  </a:spcBef>
                  <a:spcAft>
                    <a:spcPts val="0"/>
                  </a:spcAft>
                  <a:buClrTx/>
                  <a:buSzTx/>
                  <a:buFontTx/>
                  <a:buNone/>
                  <a:tabLst/>
                  <a:defRPr/>
                </a:pPr>
                <a:endParaRPr kumimoji="0" lang="en-US" sz="2800" b="0" i="0" u="none" strike="noStrike" kern="1200" cap="none" spc="0" normalizeH="0" baseline="0" noProof="0">
                  <a:ln>
                    <a:noFill/>
                  </a:ln>
                  <a:solidFill>
                    <a:srgbClr val="2F2F2F">
                      <a:lumMod val="75000"/>
                      <a:lumOff val="25000"/>
                    </a:srgbClr>
                  </a:solidFill>
                  <a:effectLst/>
                  <a:uLnTx/>
                  <a:uFillTx/>
                  <a:latin typeface="Arial" panose="020B0604020202020204" pitchFamily="34" charset="0"/>
                  <a:ea typeface="+mn-ea"/>
                  <a:cs typeface="Arial" panose="020B0604020202020204" pitchFamily="34" charset="0"/>
                </a:endParaRPr>
              </a:p>
            </p:txBody>
          </p:sp>
        </p:grpSp>
        <p:sp>
          <p:nvSpPr>
            <p:cNvPr id="14" name="Rettangolo 13">
              <a:extLst>
                <a:ext uri="{FF2B5EF4-FFF2-40B4-BE49-F238E27FC236}">
                  <a16:creationId xmlns:a16="http://schemas.microsoft.com/office/drawing/2014/main" id="{55199736-B8B6-4C9A-8BAF-233E07A0CA89}"/>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3" name="TextBox 13"/>
          <p:cNvSpPr txBox="1"/>
          <p:nvPr/>
        </p:nvSpPr>
        <p:spPr>
          <a:xfrm>
            <a:off x="5715000" y="4832361"/>
            <a:ext cx="13563599" cy="1052468"/>
          </a:xfrm>
          <a:prstGeom prst="rect">
            <a:avLst/>
          </a:prstGeom>
        </p:spPr>
        <p:txBody>
          <a:bodyPr wrap="square" lIns="0" tIns="0" rIns="0" bIns="0" rtlCol="0" anchor="t">
            <a:spAutoFit/>
          </a:bodyPr>
          <a:lstStyle/>
          <a:p>
            <a:pPr marL="0" marR="0" lvl="0" indent="0" algn="ctr" defTabSz="914400" rtl="0" eaLnBrk="1" fontAlgn="auto" latinLnBrk="0" hangingPunct="1">
              <a:lnSpc>
                <a:spcPts val="8960"/>
              </a:lnSpc>
              <a:spcBef>
                <a:spcPct val="0"/>
              </a:spcBef>
              <a:spcAft>
                <a:spcPts val="0"/>
              </a:spcAft>
              <a:buClrTx/>
              <a:buSzTx/>
              <a:buFontTx/>
              <a:buNone/>
              <a:tabLst/>
              <a:defRPr/>
            </a:pPr>
            <a:r>
              <a:rPr kumimoji="0" lang="en-US" sz="6400" b="1" i="0" u="none" strike="noStrike" kern="1200" cap="none" spc="0" normalizeH="0" baseline="0" noProof="0">
                <a:ln>
                  <a:noFill/>
                </a:ln>
                <a:solidFill>
                  <a:srgbClr val="CC0033"/>
                </a:solidFill>
                <a:effectLst/>
                <a:uLnTx/>
                <a:uFillTx/>
                <a:latin typeface="Arial"/>
                <a:ea typeface="+mn-ea"/>
                <a:cs typeface="Arial" panose="020B0604020202020204" pitchFamily="34" charset="0"/>
              </a:rPr>
              <a:t>Company Culture</a:t>
            </a:r>
          </a:p>
        </p:txBody>
      </p:sp>
      <p:cxnSp>
        <p:nvCxnSpPr>
          <p:cNvPr id="5" name="Straight Arrow Connector 4">
            <a:extLst>
              <a:ext uri="{FF2B5EF4-FFF2-40B4-BE49-F238E27FC236}">
                <a16:creationId xmlns:a16="http://schemas.microsoft.com/office/drawing/2014/main" id="{AD97368D-B22C-4924-ABB1-FA603F7010F5}"/>
              </a:ext>
            </a:extLst>
          </p:cNvPr>
          <p:cNvCxnSpPr>
            <a:cxnSpLocks/>
          </p:cNvCxnSpPr>
          <p:nvPr/>
        </p:nvCxnSpPr>
        <p:spPr>
          <a:xfrm flipV="1">
            <a:off x="14514286" y="3852081"/>
            <a:ext cx="456309" cy="902891"/>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21" name="Straight Arrow Connector 20">
            <a:extLst>
              <a:ext uri="{FF2B5EF4-FFF2-40B4-BE49-F238E27FC236}">
                <a16:creationId xmlns:a16="http://schemas.microsoft.com/office/drawing/2014/main" id="{1731657E-FD2B-477C-9632-8A4E6512D2DE}"/>
              </a:ext>
            </a:extLst>
          </p:cNvPr>
          <p:cNvCxnSpPr>
            <a:cxnSpLocks/>
          </p:cNvCxnSpPr>
          <p:nvPr/>
        </p:nvCxnSpPr>
        <p:spPr>
          <a:xfrm flipH="1" flipV="1">
            <a:off x="10641763" y="3813765"/>
            <a:ext cx="694293" cy="941207"/>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25" name="Straight Arrow Connector 24">
            <a:extLst>
              <a:ext uri="{FF2B5EF4-FFF2-40B4-BE49-F238E27FC236}">
                <a16:creationId xmlns:a16="http://schemas.microsoft.com/office/drawing/2014/main" id="{1436685C-46CF-47A2-B945-ABE72B3143E5}"/>
              </a:ext>
            </a:extLst>
          </p:cNvPr>
          <p:cNvCxnSpPr>
            <a:cxnSpLocks/>
          </p:cNvCxnSpPr>
          <p:nvPr/>
        </p:nvCxnSpPr>
        <p:spPr>
          <a:xfrm>
            <a:off x="15389571" y="6055933"/>
            <a:ext cx="1072433" cy="1203045"/>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27" name="Straight Arrow Connector 26">
            <a:extLst>
              <a:ext uri="{FF2B5EF4-FFF2-40B4-BE49-F238E27FC236}">
                <a16:creationId xmlns:a16="http://schemas.microsoft.com/office/drawing/2014/main" id="{42B65CB4-FF6E-4433-91BF-B6DA51AF795C}"/>
              </a:ext>
            </a:extLst>
          </p:cNvPr>
          <p:cNvCxnSpPr>
            <a:cxnSpLocks/>
          </p:cNvCxnSpPr>
          <p:nvPr/>
        </p:nvCxnSpPr>
        <p:spPr>
          <a:xfrm flipH="1">
            <a:off x="10376861" y="6039607"/>
            <a:ext cx="955372" cy="923809"/>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22" name="Wave 21">
            <a:extLst>
              <a:ext uri="{FF2B5EF4-FFF2-40B4-BE49-F238E27FC236}">
                <a16:creationId xmlns:a16="http://schemas.microsoft.com/office/drawing/2014/main" id="{750D25AF-E62F-4067-9345-056191166459}"/>
              </a:ext>
            </a:extLst>
          </p:cNvPr>
          <p:cNvSpPr/>
          <p:nvPr/>
        </p:nvSpPr>
        <p:spPr>
          <a:xfrm>
            <a:off x="7622654" y="2659535"/>
            <a:ext cx="5387693" cy="1058363"/>
          </a:xfrm>
          <a:prstGeom prst="wave">
            <a:avLst>
              <a:gd name="adj1" fmla="val 6322"/>
              <a:gd name="adj2" fmla="val -113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400" b="1" i="0" u="none" strike="noStrike" kern="1200" cap="none" spc="0" normalizeH="0" baseline="0" noProof="0" dirty="0">
                <a:ln>
                  <a:noFill/>
                </a:ln>
                <a:solidFill>
                  <a:srgbClr val="FFFFFF"/>
                </a:solidFill>
                <a:effectLst/>
                <a:uLnTx/>
                <a:uFillTx/>
                <a:latin typeface="Arial"/>
                <a:ea typeface="+mn-ea"/>
                <a:cs typeface="+mn-cs"/>
              </a:rPr>
              <a:t>Feedback/</a:t>
            </a:r>
            <a:r>
              <a:rPr kumimoji="0" lang="sv-SE" sz="2400" b="1" i="0" u="none" strike="noStrike" kern="1200" cap="none" spc="0" normalizeH="0" baseline="0" noProof="0" dirty="0" err="1">
                <a:ln>
                  <a:noFill/>
                </a:ln>
                <a:solidFill>
                  <a:srgbClr val="FFFFFF"/>
                </a:solidFill>
                <a:effectLst/>
                <a:uLnTx/>
                <a:uFillTx/>
                <a:latin typeface="Arial"/>
                <a:ea typeface="+mn-ea"/>
                <a:cs typeface="+mn-cs"/>
              </a:rPr>
              <a:t>view</a:t>
            </a:r>
            <a:r>
              <a:rPr kumimoji="0" lang="sv-SE" sz="2400" b="1" i="0" u="none" strike="noStrike" kern="1200" cap="none" spc="0" normalizeH="0" baseline="0" noProof="0" dirty="0">
                <a:ln>
                  <a:noFill/>
                </a:ln>
                <a:solidFill>
                  <a:srgbClr val="FFFFFF"/>
                </a:solidFill>
                <a:effectLst/>
                <a:uLnTx/>
                <a:uFillTx/>
                <a:latin typeface="Arial"/>
                <a:ea typeface="+mn-ea"/>
                <a:cs typeface="+mn-cs"/>
              </a:rPr>
              <a:t> from </a:t>
            </a:r>
            <a:r>
              <a:rPr kumimoji="0" lang="sv-SE" sz="2400" b="1" i="0" u="none" strike="noStrike" kern="1200" cap="none" spc="0" normalizeH="0" baseline="0" noProof="0" dirty="0" err="1">
                <a:ln>
                  <a:noFill/>
                </a:ln>
                <a:solidFill>
                  <a:srgbClr val="FFFFFF"/>
                </a:solidFill>
                <a:effectLst/>
                <a:uLnTx/>
                <a:uFillTx/>
                <a:latin typeface="Arial"/>
                <a:ea typeface="+mn-ea"/>
                <a:cs typeface="+mn-cs"/>
              </a:rPr>
              <a:t>consumers</a:t>
            </a:r>
            <a:endParaRPr kumimoji="0" lang="sv-SE" sz="2400" b="1" i="0" u="none" strike="noStrike" kern="1200" cap="none" spc="0" normalizeH="0" baseline="0" noProof="0" dirty="0">
              <a:ln>
                <a:noFill/>
              </a:ln>
              <a:solidFill>
                <a:srgbClr val="FFFFFF"/>
              </a:solidFill>
              <a:effectLst/>
              <a:uLnTx/>
              <a:uFillTx/>
              <a:latin typeface="Arial"/>
              <a:ea typeface="+mn-ea"/>
              <a:cs typeface="+mn-cs"/>
            </a:endParaRPr>
          </a:p>
        </p:txBody>
      </p:sp>
      <p:sp>
        <p:nvSpPr>
          <p:cNvPr id="29" name="Wave 28">
            <a:extLst>
              <a:ext uri="{FF2B5EF4-FFF2-40B4-BE49-F238E27FC236}">
                <a16:creationId xmlns:a16="http://schemas.microsoft.com/office/drawing/2014/main" id="{843A7A4C-FE45-4BE4-A6B5-C114104E28CB}"/>
              </a:ext>
            </a:extLst>
          </p:cNvPr>
          <p:cNvSpPr/>
          <p:nvPr/>
        </p:nvSpPr>
        <p:spPr>
          <a:xfrm>
            <a:off x="14124877" y="2755402"/>
            <a:ext cx="2529388" cy="1058363"/>
          </a:xfrm>
          <a:prstGeom prst="wave">
            <a:avLst>
              <a:gd name="adj1" fmla="val 6322"/>
              <a:gd name="adj2" fmla="val -113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400" b="1" i="0" u="none" strike="noStrike" kern="1200" cap="none" spc="0" normalizeH="0" baseline="0" noProof="0">
                <a:ln>
                  <a:noFill/>
                </a:ln>
                <a:solidFill>
                  <a:srgbClr val="FFFFFF"/>
                </a:solidFill>
                <a:effectLst/>
                <a:uLnTx/>
                <a:uFillTx/>
                <a:latin typeface="Arial"/>
                <a:ea typeface="+mn-ea"/>
                <a:cs typeface="+mn-cs"/>
              </a:rPr>
              <a:t>Public image</a:t>
            </a:r>
          </a:p>
        </p:txBody>
      </p:sp>
      <p:sp>
        <p:nvSpPr>
          <p:cNvPr id="30" name="Wave 29">
            <a:extLst>
              <a:ext uri="{FF2B5EF4-FFF2-40B4-BE49-F238E27FC236}">
                <a16:creationId xmlns:a16="http://schemas.microsoft.com/office/drawing/2014/main" id="{175FE836-9A3B-4413-B137-F563660D4926}"/>
              </a:ext>
            </a:extLst>
          </p:cNvPr>
          <p:cNvSpPr/>
          <p:nvPr/>
        </p:nvSpPr>
        <p:spPr>
          <a:xfrm>
            <a:off x="7323044" y="7448432"/>
            <a:ext cx="4403912" cy="1058363"/>
          </a:xfrm>
          <a:prstGeom prst="wave">
            <a:avLst>
              <a:gd name="adj1" fmla="val 6322"/>
              <a:gd name="adj2" fmla="val -113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400" b="1" i="0" u="none" strike="noStrike" kern="1200" cap="none" spc="0" normalizeH="0" baseline="0" noProof="0" err="1">
                <a:ln>
                  <a:noFill/>
                </a:ln>
                <a:solidFill>
                  <a:srgbClr val="FFFFFF"/>
                </a:solidFill>
                <a:effectLst/>
                <a:uLnTx/>
                <a:uFillTx/>
                <a:latin typeface="Arial"/>
                <a:ea typeface="+mn-ea"/>
                <a:cs typeface="+mn-cs"/>
              </a:rPr>
              <a:t>Involvement</a:t>
            </a:r>
            <a:r>
              <a:rPr kumimoji="0" lang="sv-SE" sz="2400" b="1" i="0" u="none" strike="noStrike" kern="1200" cap="none" spc="0" normalizeH="0" baseline="0" noProof="0">
                <a:ln>
                  <a:noFill/>
                </a:ln>
                <a:solidFill>
                  <a:srgbClr val="FFFFFF"/>
                </a:solidFill>
                <a:effectLst/>
                <a:uLnTx/>
                <a:uFillTx/>
                <a:latin typeface="Arial"/>
                <a:ea typeface="+mn-ea"/>
                <a:cs typeface="+mn-cs"/>
              </a:rPr>
              <a:t> </a:t>
            </a:r>
            <a:r>
              <a:rPr kumimoji="0" lang="sv-SE" sz="2400" b="1" i="0" u="none" strike="noStrike" kern="1200" cap="none" spc="0" normalizeH="0" baseline="0" noProof="0" err="1">
                <a:ln>
                  <a:noFill/>
                </a:ln>
                <a:solidFill>
                  <a:srgbClr val="FFFFFF"/>
                </a:solidFill>
                <a:effectLst/>
                <a:uLnTx/>
                <a:uFillTx/>
                <a:latin typeface="Arial"/>
                <a:ea typeface="+mn-ea"/>
                <a:cs typeface="+mn-cs"/>
              </a:rPr>
              <a:t>of</a:t>
            </a:r>
            <a:r>
              <a:rPr kumimoji="0" lang="sv-SE" sz="2400" b="1" i="0" u="none" strike="noStrike" kern="1200" cap="none" spc="0" normalizeH="0" baseline="0" noProof="0">
                <a:ln>
                  <a:noFill/>
                </a:ln>
                <a:solidFill>
                  <a:srgbClr val="FFFFFF"/>
                </a:solidFill>
                <a:effectLst/>
                <a:uLnTx/>
                <a:uFillTx/>
                <a:latin typeface="Arial"/>
                <a:ea typeface="+mn-ea"/>
                <a:cs typeface="+mn-cs"/>
              </a:rPr>
              <a:t> </a:t>
            </a:r>
            <a:r>
              <a:rPr kumimoji="0" lang="sv-SE" sz="2400" b="1" i="0" u="none" strike="noStrike" kern="1200" cap="none" spc="0" normalizeH="0" baseline="0" noProof="0" err="1">
                <a:ln>
                  <a:noFill/>
                </a:ln>
                <a:solidFill>
                  <a:srgbClr val="FFFFFF"/>
                </a:solidFill>
                <a:effectLst/>
                <a:uLnTx/>
                <a:uFillTx/>
                <a:latin typeface="Arial"/>
                <a:ea typeface="+mn-ea"/>
                <a:cs typeface="+mn-cs"/>
              </a:rPr>
              <a:t>company</a:t>
            </a:r>
            <a:r>
              <a:rPr kumimoji="0" lang="sv-SE" sz="2400" b="1" i="0" u="none" strike="noStrike" kern="1200" cap="none" spc="0" normalizeH="0" baseline="0" noProof="0">
                <a:ln>
                  <a:noFill/>
                </a:ln>
                <a:solidFill>
                  <a:srgbClr val="FFFFFF"/>
                </a:solidFill>
                <a:effectLst/>
                <a:uLnTx/>
                <a:uFillTx/>
                <a:latin typeface="Arial"/>
                <a:ea typeface="+mn-ea"/>
                <a:cs typeface="+mn-cs"/>
              </a:rPr>
              <a:t> in ”</a:t>
            </a:r>
            <a:r>
              <a:rPr kumimoji="0" lang="sv-SE" sz="2400" b="1" i="0" u="none" strike="noStrike" kern="1200" cap="none" spc="0" normalizeH="0" baseline="0" noProof="0" err="1">
                <a:ln>
                  <a:noFill/>
                </a:ln>
                <a:solidFill>
                  <a:srgbClr val="FFFFFF"/>
                </a:solidFill>
                <a:effectLst/>
                <a:uLnTx/>
                <a:uFillTx/>
                <a:latin typeface="Arial"/>
                <a:ea typeface="+mn-ea"/>
                <a:cs typeface="+mn-cs"/>
              </a:rPr>
              <a:t>eco</a:t>
            </a:r>
            <a:r>
              <a:rPr kumimoji="0" lang="sv-SE" sz="2400" b="1" i="0" u="none" strike="noStrike" kern="1200" cap="none" spc="0" normalizeH="0" baseline="0" noProof="0">
                <a:ln>
                  <a:noFill/>
                </a:ln>
                <a:solidFill>
                  <a:srgbClr val="FFFFFF"/>
                </a:solidFill>
                <a:effectLst/>
                <a:uLnTx/>
                <a:uFillTx/>
                <a:latin typeface="Arial"/>
                <a:ea typeface="+mn-ea"/>
                <a:cs typeface="+mn-cs"/>
              </a:rPr>
              <a:t>” </a:t>
            </a:r>
            <a:r>
              <a:rPr kumimoji="0" lang="sv-SE" sz="2400" b="1" i="0" u="none" strike="noStrike" kern="1200" cap="none" spc="0" normalizeH="0" baseline="0" noProof="0" err="1">
                <a:ln>
                  <a:noFill/>
                </a:ln>
                <a:solidFill>
                  <a:srgbClr val="FFFFFF"/>
                </a:solidFill>
                <a:effectLst/>
                <a:uLnTx/>
                <a:uFillTx/>
                <a:latin typeface="Arial"/>
                <a:ea typeface="+mn-ea"/>
                <a:cs typeface="+mn-cs"/>
              </a:rPr>
              <a:t>projects</a:t>
            </a:r>
            <a:endParaRPr kumimoji="0" lang="sv-SE" sz="2400" b="1" i="0" u="none" strike="noStrike" kern="1200" cap="none" spc="0" normalizeH="0" baseline="0" noProof="0">
              <a:ln>
                <a:noFill/>
              </a:ln>
              <a:solidFill>
                <a:srgbClr val="FFFFFF"/>
              </a:solidFill>
              <a:effectLst/>
              <a:uLnTx/>
              <a:uFillTx/>
              <a:latin typeface="Arial"/>
              <a:ea typeface="+mn-ea"/>
              <a:cs typeface="+mn-cs"/>
            </a:endParaRPr>
          </a:p>
        </p:txBody>
      </p:sp>
      <p:sp>
        <p:nvSpPr>
          <p:cNvPr id="31" name="Wave 30">
            <a:extLst>
              <a:ext uri="{FF2B5EF4-FFF2-40B4-BE49-F238E27FC236}">
                <a16:creationId xmlns:a16="http://schemas.microsoft.com/office/drawing/2014/main" id="{E6B40178-CDF7-477D-A70E-7D8EA129A96C}"/>
              </a:ext>
            </a:extLst>
          </p:cNvPr>
          <p:cNvSpPr/>
          <p:nvPr/>
        </p:nvSpPr>
        <p:spPr>
          <a:xfrm>
            <a:off x="13439630" y="7441405"/>
            <a:ext cx="4254874" cy="1058363"/>
          </a:xfrm>
          <a:prstGeom prst="wave">
            <a:avLst>
              <a:gd name="adj1" fmla="val 6322"/>
              <a:gd name="adj2" fmla="val -113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400" b="1" i="0" u="none" strike="noStrike" kern="1200" cap="none" spc="0" normalizeH="0" baseline="0" noProof="0" err="1">
                <a:ln>
                  <a:noFill/>
                </a:ln>
                <a:solidFill>
                  <a:srgbClr val="FFFFFF"/>
                </a:solidFill>
                <a:effectLst/>
                <a:uLnTx/>
                <a:uFillTx/>
                <a:latin typeface="Arial"/>
                <a:ea typeface="+mn-ea"/>
                <a:cs typeface="+mn-cs"/>
              </a:rPr>
              <a:t>Quality</a:t>
            </a:r>
            <a:r>
              <a:rPr kumimoji="0" lang="sv-SE" sz="2400" b="1" i="0" u="none" strike="noStrike" kern="1200" cap="none" spc="0" normalizeH="0" baseline="0" noProof="0">
                <a:ln>
                  <a:noFill/>
                </a:ln>
                <a:solidFill>
                  <a:srgbClr val="FFFFFF"/>
                </a:solidFill>
                <a:effectLst/>
                <a:uLnTx/>
                <a:uFillTx/>
                <a:latin typeface="Arial"/>
                <a:ea typeface="+mn-ea"/>
                <a:cs typeface="+mn-cs"/>
              </a:rPr>
              <a:t> by </a:t>
            </a:r>
            <a:r>
              <a:rPr kumimoji="0" lang="sv-SE" sz="2400" b="1" i="0" u="none" strike="noStrike" kern="1200" cap="none" spc="0" normalizeH="0" baseline="0" noProof="0" err="1">
                <a:ln>
                  <a:noFill/>
                </a:ln>
                <a:solidFill>
                  <a:srgbClr val="FFFFFF"/>
                </a:solidFill>
                <a:effectLst/>
                <a:uLnTx/>
                <a:uFillTx/>
                <a:latin typeface="Arial"/>
                <a:ea typeface="+mn-ea"/>
                <a:cs typeface="+mn-cs"/>
              </a:rPr>
              <a:t>certifications</a:t>
            </a:r>
            <a:endParaRPr kumimoji="0" lang="sv-SE" sz="2400" b="1" i="0" u="none" strike="noStrike" kern="1200" cap="none" spc="0" normalizeH="0" baseline="0" noProof="0">
              <a:ln>
                <a:noFill/>
              </a:ln>
              <a:solidFill>
                <a:srgbClr val="FFFFFF"/>
              </a:solidFill>
              <a:effectLst/>
              <a:uLnTx/>
              <a:uFillTx/>
              <a:latin typeface="Arial"/>
              <a:ea typeface="+mn-ea"/>
              <a:cs typeface="+mn-cs"/>
            </a:endParaRPr>
          </a:p>
        </p:txBody>
      </p:sp>
      <p:sp>
        <p:nvSpPr>
          <p:cNvPr id="32" name="TextBox 31">
            <a:extLst>
              <a:ext uri="{FF2B5EF4-FFF2-40B4-BE49-F238E27FC236}">
                <a16:creationId xmlns:a16="http://schemas.microsoft.com/office/drawing/2014/main" id="{C6EB843E-D00A-49A0-A9CB-83132B48CD88}"/>
              </a:ext>
            </a:extLst>
          </p:cNvPr>
          <p:cNvSpPr txBox="1"/>
          <p:nvPr/>
        </p:nvSpPr>
        <p:spPr>
          <a:xfrm>
            <a:off x="465925" y="3935052"/>
            <a:ext cx="6513497" cy="1384995"/>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2F2F2F"/>
                </a:solidFill>
                <a:effectLst/>
                <a:uLnTx/>
                <a:uFillTx/>
                <a:latin typeface="Arial"/>
                <a:ea typeface="+mn-ea"/>
                <a:cs typeface="+mn-cs"/>
              </a:rPr>
              <a:t>Company culture also plays an important role in exploring ways to be more sustainable.</a:t>
            </a:r>
            <a:endParaRPr kumimoji="0" lang="sv-SE" sz="2800" b="0" i="0" u="none" strike="noStrike" kern="1200" cap="none" spc="0" normalizeH="0" baseline="0" noProof="0">
              <a:ln>
                <a:noFill/>
              </a:ln>
              <a:solidFill>
                <a:srgbClr val="2F2F2F"/>
              </a:solidFill>
              <a:effectLst/>
              <a:uLnTx/>
              <a:uFillTx/>
              <a:latin typeface="Arial"/>
              <a:ea typeface="+mn-ea"/>
              <a:cs typeface="+mn-cs"/>
            </a:endParaRPr>
          </a:p>
        </p:txBody>
      </p:sp>
      <p:sp>
        <p:nvSpPr>
          <p:cNvPr id="24" name="TextBox 23">
            <a:extLst>
              <a:ext uri="{FF2B5EF4-FFF2-40B4-BE49-F238E27FC236}">
                <a16:creationId xmlns:a16="http://schemas.microsoft.com/office/drawing/2014/main" id="{ACCCD49B-5A9D-4FAD-AA8A-29174A3D45C7}"/>
              </a:ext>
            </a:extLst>
          </p:cNvPr>
          <p:cNvSpPr txBox="1"/>
          <p:nvPr/>
        </p:nvSpPr>
        <p:spPr>
          <a:xfrm>
            <a:off x="-1117234" y="944095"/>
            <a:ext cx="9634652" cy="1098058"/>
          </a:xfrm>
          <a:prstGeom prst="rect">
            <a:avLst/>
          </a:prstGeom>
          <a:noFill/>
        </p:spPr>
        <p:txBody>
          <a:bodyPr wrap="square">
            <a:spAutoFit/>
          </a:bodyPr>
          <a:lstStyle/>
          <a:p>
            <a:pPr marL="0" marR="0" lvl="0" indent="0" algn="ctr" defTabSz="914400" rtl="0" eaLnBrk="1" fontAlgn="auto" latinLnBrk="0" hangingPunct="1">
              <a:lnSpc>
                <a:spcPts val="8960"/>
              </a:lnSpc>
              <a:spcBef>
                <a:spcPct val="0"/>
              </a:spcBef>
              <a:spcAft>
                <a:spcPts val="0"/>
              </a:spcAft>
              <a:buClrTx/>
              <a:buSzTx/>
              <a:buFontTx/>
              <a:buNone/>
              <a:tabLst/>
              <a:defRPr/>
            </a:pPr>
            <a:r>
              <a:rPr kumimoji="0" lang="en-US" sz="4800" b="1" i="0" u="none" strike="noStrike" kern="1200" cap="none" spc="0" normalizeH="0" baseline="0" noProof="0">
                <a:ln>
                  <a:noFill/>
                </a:ln>
                <a:solidFill>
                  <a:srgbClr val="CC0033"/>
                </a:solidFill>
                <a:effectLst/>
                <a:uLnTx/>
                <a:uFillTx/>
                <a:latin typeface="Arial"/>
                <a:ea typeface="+mn-ea"/>
                <a:cs typeface="Arial" panose="020B0604020202020204" pitchFamily="34" charset="0"/>
              </a:rPr>
              <a:t>D. Company Culture</a:t>
            </a:r>
          </a:p>
        </p:txBody>
      </p:sp>
    </p:spTree>
    <p:extLst>
      <p:ext uri="{BB962C8B-B14F-4D97-AF65-F5344CB8AC3E}">
        <p14:creationId xmlns:p14="http://schemas.microsoft.com/office/powerpoint/2010/main" val="2729385021"/>
      </p:ext>
    </p:extLst>
  </p:cSld>
  <p:clrMapOvr>
    <a:masterClrMapping/>
  </p:clrMapOvr>
  <p:extLst>
    <p:ext uri="{6950BFC3-D8DA-4A85-94F7-54DA5524770B}">
      <p188:commentRel xmlns:p188="http://schemas.microsoft.com/office/powerpoint/2018/8/main" r:id="rId3"/>
    </p:ext>
  </p:extLst>
</p:sld>
</file>

<file path=ppt/slides/slide1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58" name="Rectangle 57">
            <a:extLst>
              <a:ext uri="{FF2B5EF4-FFF2-40B4-BE49-F238E27FC236}">
                <a16:creationId xmlns:a16="http://schemas.microsoft.com/office/drawing/2014/main" id="{289ED1AA-8684-4D37-B208-8777E1A7780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8283428" cy="10287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0" name="Graphic 33">
            <a:extLst>
              <a:ext uri="{FF2B5EF4-FFF2-40B4-BE49-F238E27FC236}">
                <a16:creationId xmlns:a16="http://schemas.microsoft.com/office/drawing/2014/main" id="{4180E01B-B1F4-437C-807D-1C930718EE6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966176" y="0"/>
            <a:ext cx="14355646" cy="10287000"/>
          </a:xfrm>
          <a:custGeom>
            <a:avLst/>
            <a:gdLst>
              <a:gd name="connsiteX0" fmla="*/ 7178288 w 7187261"/>
              <a:gd name="connsiteY0" fmla="*/ 2604802 h 5150263"/>
              <a:gd name="connsiteX1" fmla="*/ 7169335 w 7187261"/>
              <a:gd name="connsiteY1" fmla="*/ 2328577 h 5150263"/>
              <a:gd name="connsiteX2" fmla="*/ 7060845 w 7187261"/>
              <a:gd name="connsiteY2" fmla="*/ 1661160 h 5150263"/>
              <a:gd name="connsiteX3" fmla="*/ 6212263 w 7187261"/>
              <a:gd name="connsiteY3" fmla="*/ 243840 h 5150263"/>
              <a:gd name="connsiteX4" fmla="*/ 5953564 w 7187261"/>
              <a:gd name="connsiteY4" fmla="*/ 0 h 5150263"/>
              <a:gd name="connsiteX5" fmla="*/ 1408615 w 7187261"/>
              <a:gd name="connsiteY5" fmla="*/ 0 h 5150263"/>
              <a:gd name="connsiteX6" fmla="*/ 805111 w 7187261"/>
              <a:gd name="connsiteY6" fmla="*/ 676275 h 5150263"/>
              <a:gd name="connsiteX7" fmla="*/ 104928 w 7187261"/>
              <a:gd name="connsiteY7" fmla="*/ 2183035 h 5150263"/>
              <a:gd name="connsiteX8" fmla="*/ 51588 w 7187261"/>
              <a:gd name="connsiteY8" fmla="*/ 2400014 h 5150263"/>
              <a:gd name="connsiteX9" fmla="*/ 41301 w 7187261"/>
              <a:gd name="connsiteY9" fmla="*/ 2424208 h 5150263"/>
              <a:gd name="connsiteX10" fmla="*/ 119692 w 7187261"/>
              <a:gd name="connsiteY10" fmla="*/ 1834801 h 5150263"/>
              <a:gd name="connsiteX11" fmla="*/ 870071 w 7187261"/>
              <a:gd name="connsiteY11" fmla="*/ 462248 h 5150263"/>
              <a:gd name="connsiteX12" fmla="*/ 1389279 w 7187261"/>
              <a:gd name="connsiteY12" fmla="*/ 476 h 5150263"/>
              <a:gd name="connsiteX13" fmla="*/ 1320223 w 7187261"/>
              <a:gd name="connsiteY13" fmla="*/ 476 h 5150263"/>
              <a:gd name="connsiteX14" fmla="*/ 423158 w 7187261"/>
              <a:gd name="connsiteY14" fmla="*/ 989743 h 5150263"/>
              <a:gd name="connsiteX15" fmla="*/ 25585 w 7187261"/>
              <a:gd name="connsiteY15" fmla="*/ 2113693 h 5150263"/>
              <a:gd name="connsiteX16" fmla="*/ 2344 w 7187261"/>
              <a:gd name="connsiteY16" fmla="*/ 2725865 h 5150263"/>
              <a:gd name="connsiteX17" fmla="*/ 447256 w 7187261"/>
              <a:gd name="connsiteY17" fmla="*/ 4210717 h 5150263"/>
              <a:gd name="connsiteX18" fmla="*/ 1138962 w 7187261"/>
              <a:gd name="connsiteY18" fmla="*/ 4988910 h 5150263"/>
              <a:gd name="connsiteX19" fmla="*/ 1348512 w 7187261"/>
              <a:gd name="connsiteY19" fmla="*/ 5146834 h 5150263"/>
              <a:gd name="connsiteX20" fmla="*/ 1422712 w 7187261"/>
              <a:gd name="connsiteY20" fmla="*/ 5146834 h 5150263"/>
              <a:gd name="connsiteX21" fmla="*/ 480594 w 7187261"/>
              <a:gd name="connsiteY21" fmla="*/ 4187952 h 5150263"/>
              <a:gd name="connsiteX22" fmla="*/ 398679 w 7187261"/>
              <a:gd name="connsiteY22" fmla="*/ 4046125 h 5150263"/>
              <a:gd name="connsiteX23" fmla="*/ 411823 w 7187261"/>
              <a:gd name="connsiteY23" fmla="*/ 4053078 h 5150263"/>
              <a:gd name="connsiteX24" fmla="*/ 1439380 w 7187261"/>
              <a:gd name="connsiteY24" fmla="*/ 5147405 h 5150263"/>
              <a:gd name="connsiteX25" fmla="*/ 5710010 w 7187261"/>
              <a:gd name="connsiteY25" fmla="*/ 5150263 h 5150263"/>
              <a:gd name="connsiteX26" fmla="*/ 5999665 w 7187261"/>
              <a:gd name="connsiteY26" fmla="*/ 4910900 h 5150263"/>
              <a:gd name="connsiteX27" fmla="*/ 6954165 w 7187261"/>
              <a:gd name="connsiteY27" fmla="*/ 3545777 h 5150263"/>
              <a:gd name="connsiteX28" fmla="*/ 7137712 w 7187261"/>
              <a:gd name="connsiteY28" fmla="*/ 2799207 h 5150263"/>
              <a:gd name="connsiteX29" fmla="*/ 7142951 w 7187261"/>
              <a:gd name="connsiteY29" fmla="*/ 2754535 h 5150263"/>
              <a:gd name="connsiteX30" fmla="*/ 7149428 w 7187261"/>
              <a:gd name="connsiteY30" fmla="*/ 2774823 h 5150263"/>
              <a:gd name="connsiteX31" fmla="*/ 7066465 w 7187261"/>
              <a:gd name="connsiteY31" fmla="*/ 3465672 h 5150263"/>
              <a:gd name="connsiteX32" fmla="*/ 6452578 w 7187261"/>
              <a:gd name="connsiteY32" fmla="*/ 4552760 h 5150263"/>
              <a:gd name="connsiteX33" fmla="*/ 5752110 w 7187261"/>
              <a:gd name="connsiteY33" fmla="*/ 5150263 h 5150263"/>
              <a:gd name="connsiteX34" fmla="*/ 5827643 w 7187261"/>
              <a:gd name="connsiteY34" fmla="*/ 5150263 h 5150263"/>
              <a:gd name="connsiteX35" fmla="*/ 6642793 w 7187261"/>
              <a:gd name="connsiteY35" fmla="*/ 4389406 h 5150263"/>
              <a:gd name="connsiteX36" fmla="*/ 7102469 w 7187261"/>
              <a:gd name="connsiteY36" fmla="*/ 3490817 h 5150263"/>
              <a:gd name="connsiteX37" fmla="*/ 7187242 w 7187261"/>
              <a:gd name="connsiteY37" fmla="*/ 2990183 h 5150263"/>
              <a:gd name="connsiteX38" fmla="*/ 7178288 w 7187261"/>
              <a:gd name="connsiteY38" fmla="*/ 2604802 h 5150263"/>
              <a:gd name="connsiteX39" fmla="*/ 6342565 w 7187261"/>
              <a:gd name="connsiteY39" fmla="*/ 441389 h 5150263"/>
              <a:gd name="connsiteX40" fmla="*/ 7126567 w 7187261"/>
              <a:gd name="connsiteY40" fmla="*/ 2355056 h 5150263"/>
              <a:gd name="connsiteX41" fmla="*/ 6342565 w 7187261"/>
              <a:gd name="connsiteY41" fmla="*/ 441389 h 5150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187261" h="5150263">
                <a:moveTo>
                  <a:pt x="7178288" y="2604802"/>
                </a:moveTo>
                <a:cubicBezTo>
                  <a:pt x="7168763" y="2513076"/>
                  <a:pt x="7174478" y="2420684"/>
                  <a:pt x="7169335" y="2328577"/>
                </a:cubicBezTo>
                <a:cubicBezTo>
                  <a:pt x="7156952" y="2102882"/>
                  <a:pt x="7120586" y="1879149"/>
                  <a:pt x="7060845" y="1661160"/>
                </a:cubicBezTo>
                <a:cubicBezTo>
                  <a:pt x="6910588" y="1121007"/>
                  <a:pt x="6617428" y="631374"/>
                  <a:pt x="6212263" y="243840"/>
                </a:cubicBezTo>
                <a:cubicBezTo>
                  <a:pt x="6126538" y="162496"/>
                  <a:pt x="6040813" y="80201"/>
                  <a:pt x="5953564" y="0"/>
                </a:cubicBezTo>
                <a:lnTo>
                  <a:pt x="1408615" y="0"/>
                </a:lnTo>
                <a:cubicBezTo>
                  <a:pt x="1180967" y="200316"/>
                  <a:pt x="978332" y="427387"/>
                  <a:pt x="805111" y="676275"/>
                </a:cubicBezTo>
                <a:cubicBezTo>
                  <a:pt x="481261" y="1136523"/>
                  <a:pt x="252089" y="1640872"/>
                  <a:pt x="104928" y="2183035"/>
                </a:cubicBezTo>
                <a:cubicBezTo>
                  <a:pt x="85878" y="2254853"/>
                  <a:pt x="69495" y="2327720"/>
                  <a:pt x="51588" y="2400014"/>
                </a:cubicBezTo>
                <a:cubicBezTo>
                  <a:pt x="49683" y="2407634"/>
                  <a:pt x="51588" y="2416969"/>
                  <a:pt x="41301" y="2424208"/>
                </a:cubicBezTo>
                <a:cubicBezTo>
                  <a:pt x="45900" y="2225469"/>
                  <a:pt x="72186" y="2027834"/>
                  <a:pt x="119692" y="1834801"/>
                </a:cubicBezTo>
                <a:cubicBezTo>
                  <a:pt x="247993" y="1310926"/>
                  <a:pt x="506121" y="857726"/>
                  <a:pt x="870071" y="462248"/>
                </a:cubicBezTo>
                <a:cubicBezTo>
                  <a:pt x="1027729" y="291823"/>
                  <a:pt x="1201617" y="137169"/>
                  <a:pt x="1389279" y="476"/>
                </a:cubicBezTo>
                <a:lnTo>
                  <a:pt x="1320223" y="476"/>
                </a:lnTo>
                <a:cubicBezTo>
                  <a:pt x="960844" y="274320"/>
                  <a:pt x="656330" y="599123"/>
                  <a:pt x="423158" y="989743"/>
                </a:cubicBezTo>
                <a:cubicBezTo>
                  <a:pt x="215608" y="1337596"/>
                  <a:pt x="80258" y="1711357"/>
                  <a:pt x="25585" y="2113693"/>
                </a:cubicBezTo>
                <a:cubicBezTo>
                  <a:pt x="-2705" y="2316480"/>
                  <a:pt x="-2228" y="2521077"/>
                  <a:pt x="2344" y="2725865"/>
                </a:cubicBezTo>
                <a:cubicBezTo>
                  <a:pt x="14155" y="3261932"/>
                  <a:pt x="170650" y="3754565"/>
                  <a:pt x="447256" y="4210717"/>
                </a:cubicBezTo>
                <a:cubicBezTo>
                  <a:pt x="629851" y="4511612"/>
                  <a:pt x="866356" y="4767167"/>
                  <a:pt x="1138962" y="4988910"/>
                </a:cubicBezTo>
                <a:cubicBezTo>
                  <a:pt x="1207161" y="5044345"/>
                  <a:pt x="1277008" y="5096990"/>
                  <a:pt x="1348512" y="5146834"/>
                </a:cubicBezTo>
                <a:lnTo>
                  <a:pt x="1422712" y="5146834"/>
                </a:lnTo>
                <a:cubicBezTo>
                  <a:pt x="1043426" y="4892802"/>
                  <a:pt x="724720" y="4577334"/>
                  <a:pt x="480594" y="4187952"/>
                </a:cubicBezTo>
                <a:cubicBezTo>
                  <a:pt x="452019" y="4141851"/>
                  <a:pt x="423444" y="4095179"/>
                  <a:pt x="398679" y="4046125"/>
                </a:cubicBezTo>
                <a:cubicBezTo>
                  <a:pt x="407442" y="4043267"/>
                  <a:pt x="409156" y="4048982"/>
                  <a:pt x="411823" y="4053078"/>
                </a:cubicBezTo>
                <a:cubicBezTo>
                  <a:pt x="683572" y="4484656"/>
                  <a:pt x="1033139" y="4842701"/>
                  <a:pt x="1439380" y="5147405"/>
                </a:cubicBezTo>
                <a:lnTo>
                  <a:pt x="5710010" y="5150263"/>
                </a:lnTo>
                <a:cubicBezTo>
                  <a:pt x="5810594" y="5075482"/>
                  <a:pt x="5907272" y="4995587"/>
                  <a:pt x="5999665" y="4910900"/>
                </a:cubicBezTo>
                <a:cubicBezTo>
                  <a:pt x="6418765" y="4526661"/>
                  <a:pt x="6746901" y="4078129"/>
                  <a:pt x="6954165" y="3545777"/>
                </a:cubicBezTo>
                <a:cubicBezTo>
                  <a:pt x="7048234" y="3306175"/>
                  <a:pt x="7109956" y="3055115"/>
                  <a:pt x="7137712" y="2799207"/>
                </a:cubicBezTo>
                <a:cubicBezTo>
                  <a:pt x="7139236" y="2784920"/>
                  <a:pt x="7141046" y="2770632"/>
                  <a:pt x="7142951" y="2754535"/>
                </a:cubicBezTo>
                <a:cubicBezTo>
                  <a:pt x="7151714" y="2760440"/>
                  <a:pt x="7149237" y="2768441"/>
                  <a:pt x="7149428" y="2774823"/>
                </a:cubicBezTo>
                <a:cubicBezTo>
                  <a:pt x="7156743" y="3007967"/>
                  <a:pt x="7128777" y="3240881"/>
                  <a:pt x="7066465" y="3465672"/>
                </a:cubicBezTo>
                <a:cubicBezTo>
                  <a:pt x="6952165" y="3878580"/>
                  <a:pt x="6737948" y="4235863"/>
                  <a:pt x="6452578" y="4552760"/>
                </a:cubicBezTo>
                <a:cubicBezTo>
                  <a:pt x="6244553" y="4783836"/>
                  <a:pt x="6008809" y="4980242"/>
                  <a:pt x="5752110" y="5150263"/>
                </a:cubicBezTo>
                <a:lnTo>
                  <a:pt x="5827643" y="5150263"/>
                </a:lnTo>
                <a:cubicBezTo>
                  <a:pt x="6136539" y="4938904"/>
                  <a:pt x="6412192" y="4689348"/>
                  <a:pt x="6642793" y="4389406"/>
                </a:cubicBezTo>
                <a:cubicBezTo>
                  <a:pt x="6851295" y="4118324"/>
                  <a:pt x="7009125" y="3820859"/>
                  <a:pt x="7102469" y="3490817"/>
                </a:cubicBezTo>
                <a:cubicBezTo>
                  <a:pt x="7148646" y="3327473"/>
                  <a:pt x="7177069" y="3159624"/>
                  <a:pt x="7187242" y="2990183"/>
                </a:cubicBezTo>
                <a:cubicBezTo>
                  <a:pt x="7187623" y="2984087"/>
                  <a:pt x="7182384" y="2642330"/>
                  <a:pt x="7178288" y="2604802"/>
                </a:cubicBezTo>
                <a:close/>
                <a:moveTo>
                  <a:pt x="6342565" y="441389"/>
                </a:moveTo>
                <a:cubicBezTo>
                  <a:pt x="6829797" y="986533"/>
                  <a:pt x="7091135" y="1624422"/>
                  <a:pt x="7126567" y="2355056"/>
                </a:cubicBezTo>
                <a:cubicBezTo>
                  <a:pt x="7001123" y="1661827"/>
                  <a:pt x="6756426" y="1017365"/>
                  <a:pt x="6342565" y="441389"/>
                </a:cubicBez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Arial"/>
              <a:ea typeface="+mn-ea"/>
              <a:cs typeface="+mn-cs"/>
            </a:endParaRPr>
          </a:p>
        </p:txBody>
      </p:sp>
      <p:sp>
        <p:nvSpPr>
          <p:cNvPr id="4" name="Title 3">
            <a:extLst>
              <a:ext uri="{FF2B5EF4-FFF2-40B4-BE49-F238E27FC236}">
                <a16:creationId xmlns:a16="http://schemas.microsoft.com/office/drawing/2014/main" id="{B009CD84-DA40-4CAA-8A89-DD6DAA862368}"/>
              </a:ext>
            </a:extLst>
          </p:cNvPr>
          <p:cNvSpPr>
            <a:spLocks noGrp="1"/>
          </p:cNvSpPr>
          <p:nvPr>
            <p:ph type="title"/>
          </p:nvPr>
        </p:nvSpPr>
        <p:spPr>
          <a:xfrm>
            <a:off x="2237509" y="1519151"/>
            <a:ext cx="13502422" cy="4348463"/>
          </a:xfrm>
        </p:spPr>
        <p:txBody>
          <a:bodyPr vert="horz" lIns="91440" tIns="45720" rIns="91440" bIns="45720" rtlCol="0" anchor="b">
            <a:normAutofit/>
          </a:bodyPr>
          <a:lstStyle/>
          <a:p>
            <a:pPr indent="457200">
              <a:lnSpc>
                <a:spcPct val="90000"/>
              </a:lnSpc>
              <a:spcAft>
                <a:spcPts val="600"/>
              </a:spcAft>
            </a:pPr>
            <a:r>
              <a:rPr lang="en-GB" sz="8000" b="1" kern="1200" noProof="0" dirty="0">
                <a:solidFill>
                  <a:srgbClr val="FFFFFF"/>
                </a:solidFill>
                <a:latin typeface="+mj-lt"/>
                <a:ea typeface="+mj-ea"/>
                <a:cs typeface="+mj-cs"/>
              </a:rPr>
              <a:t>5.1 Life Cycle Assessment </a:t>
            </a:r>
          </a:p>
        </p:txBody>
      </p:sp>
      <p:sp>
        <p:nvSpPr>
          <p:cNvPr id="62" name="sketch line">
            <a:extLst>
              <a:ext uri="{FF2B5EF4-FFF2-40B4-BE49-F238E27FC236}">
                <a16:creationId xmlns:a16="http://schemas.microsoft.com/office/drawing/2014/main" id="{41F77738-2AF0-4750-A0C7-F97C2C17590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961309" y="6260247"/>
            <a:ext cx="6365383" cy="27432"/>
          </a:xfrm>
          <a:custGeom>
            <a:avLst/>
            <a:gdLst>
              <a:gd name="connsiteX0" fmla="*/ 0 w 6365383"/>
              <a:gd name="connsiteY0" fmla="*/ 0 h 27432"/>
              <a:gd name="connsiteX1" fmla="*/ 636538 w 6365383"/>
              <a:gd name="connsiteY1" fmla="*/ 0 h 27432"/>
              <a:gd name="connsiteX2" fmla="*/ 1273077 w 6365383"/>
              <a:gd name="connsiteY2" fmla="*/ 0 h 27432"/>
              <a:gd name="connsiteX3" fmla="*/ 1909615 w 6365383"/>
              <a:gd name="connsiteY3" fmla="*/ 0 h 27432"/>
              <a:gd name="connsiteX4" fmla="*/ 2673461 w 6365383"/>
              <a:gd name="connsiteY4" fmla="*/ 0 h 27432"/>
              <a:gd name="connsiteX5" fmla="*/ 3373653 w 6365383"/>
              <a:gd name="connsiteY5" fmla="*/ 0 h 27432"/>
              <a:gd name="connsiteX6" fmla="*/ 3819230 w 6365383"/>
              <a:gd name="connsiteY6" fmla="*/ 0 h 27432"/>
              <a:gd name="connsiteX7" fmla="*/ 4392114 w 6365383"/>
              <a:gd name="connsiteY7" fmla="*/ 0 h 27432"/>
              <a:gd name="connsiteX8" fmla="*/ 5155960 w 6365383"/>
              <a:gd name="connsiteY8" fmla="*/ 0 h 27432"/>
              <a:gd name="connsiteX9" fmla="*/ 5792499 w 6365383"/>
              <a:gd name="connsiteY9" fmla="*/ 0 h 27432"/>
              <a:gd name="connsiteX10" fmla="*/ 6365383 w 6365383"/>
              <a:gd name="connsiteY10" fmla="*/ 0 h 27432"/>
              <a:gd name="connsiteX11" fmla="*/ 6365383 w 6365383"/>
              <a:gd name="connsiteY11" fmla="*/ 27432 h 27432"/>
              <a:gd name="connsiteX12" fmla="*/ 5856152 w 6365383"/>
              <a:gd name="connsiteY12" fmla="*/ 27432 h 27432"/>
              <a:gd name="connsiteX13" fmla="*/ 5092306 w 6365383"/>
              <a:gd name="connsiteY13" fmla="*/ 27432 h 27432"/>
              <a:gd name="connsiteX14" fmla="*/ 4583076 w 6365383"/>
              <a:gd name="connsiteY14" fmla="*/ 27432 h 27432"/>
              <a:gd name="connsiteX15" fmla="*/ 4137499 w 6365383"/>
              <a:gd name="connsiteY15" fmla="*/ 27432 h 27432"/>
              <a:gd name="connsiteX16" fmla="*/ 3691922 w 6365383"/>
              <a:gd name="connsiteY16" fmla="*/ 27432 h 27432"/>
              <a:gd name="connsiteX17" fmla="*/ 2991730 w 6365383"/>
              <a:gd name="connsiteY17" fmla="*/ 27432 h 27432"/>
              <a:gd name="connsiteX18" fmla="*/ 2546153 w 6365383"/>
              <a:gd name="connsiteY18" fmla="*/ 27432 h 27432"/>
              <a:gd name="connsiteX19" fmla="*/ 1909615 w 6365383"/>
              <a:gd name="connsiteY19" fmla="*/ 27432 h 27432"/>
              <a:gd name="connsiteX20" fmla="*/ 1400384 w 6365383"/>
              <a:gd name="connsiteY20" fmla="*/ 27432 h 27432"/>
              <a:gd name="connsiteX21" fmla="*/ 763846 w 6365383"/>
              <a:gd name="connsiteY21" fmla="*/ 27432 h 27432"/>
              <a:gd name="connsiteX22" fmla="*/ 0 w 6365383"/>
              <a:gd name="connsiteY22" fmla="*/ 27432 h 27432"/>
              <a:gd name="connsiteX23" fmla="*/ 0 w 6365383"/>
              <a:gd name="connsiteY23" fmla="*/ 0 h 27432"/>
              <a:gd name="connsiteX0" fmla="*/ 0 w 6365383"/>
              <a:gd name="connsiteY0" fmla="*/ 0 h 27432"/>
              <a:gd name="connsiteX1" fmla="*/ 572884 w 6365383"/>
              <a:gd name="connsiteY1" fmla="*/ 0 h 27432"/>
              <a:gd name="connsiteX2" fmla="*/ 1018461 w 6365383"/>
              <a:gd name="connsiteY2" fmla="*/ 0 h 27432"/>
              <a:gd name="connsiteX3" fmla="*/ 1782307 w 6365383"/>
              <a:gd name="connsiteY3" fmla="*/ 0 h 27432"/>
              <a:gd name="connsiteX4" fmla="*/ 2355192 w 6365383"/>
              <a:gd name="connsiteY4" fmla="*/ 0 h 27432"/>
              <a:gd name="connsiteX5" fmla="*/ 2928076 w 6365383"/>
              <a:gd name="connsiteY5" fmla="*/ 0 h 27432"/>
              <a:gd name="connsiteX6" fmla="*/ 3691922 w 6365383"/>
              <a:gd name="connsiteY6" fmla="*/ 0 h 27432"/>
              <a:gd name="connsiteX7" fmla="*/ 4201153 w 6365383"/>
              <a:gd name="connsiteY7" fmla="*/ 0 h 27432"/>
              <a:gd name="connsiteX8" fmla="*/ 4964999 w 6365383"/>
              <a:gd name="connsiteY8" fmla="*/ 0 h 27432"/>
              <a:gd name="connsiteX9" fmla="*/ 5728845 w 6365383"/>
              <a:gd name="connsiteY9" fmla="*/ 0 h 27432"/>
              <a:gd name="connsiteX10" fmla="*/ 6365383 w 6365383"/>
              <a:gd name="connsiteY10" fmla="*/ 0 h 27432"/>
              <a:gd name="connsiteX11" fmla="*/ 6365383 w 6365383"/>
              <a:gd name="connsiteY11" fmla="*/ 27432 h 27432"/>
              <a:gd name="connsiteX12" fmla="*/ 5665191 w 6365383"/>
              <a:gd name="connsiteY12" fmla="*/ 27432 h 27432"/>
              <a:gd name="connsiteX13" fmla="*/ 4901345 w 6365383"/>
              <a:gd name="connsiteY13" fmla="*/ 27432 h 27432"/>
              <a:gd name="connsiteX14" fmla="*/ 4137499 w 6365383"/>
              <a:gd name="connsiteY14" fmla="*/ 27432 h 27432"/>
              <a:gd name="connsiteX15" fmla="*/ 3628268 w 6365383"/>
              <a:gd name="connsiteY15" fmla="*/ 27432 h 27432"/>
              <a:gd name="connsiteX16" fmla="*/ 2991730 w 6365383"/>
              <a:gd name="connsiteY16" fmla="*/ 27432 h 27432"/>
              <a:gd name="connsiteX17" fmla="*/ 2227884 w 6365383"/>
              <a:gd name="connsiteY17" fmla="*/ 27432 h 27432"/>
              <a:gd name="connsiteX18" fmla="*/ 1591346 w 6365383"/>
              <a:gd name="connsiteY18" fmla="*/ 27432 h 27432"/>
              <a:gd name="connsiteX19" fmla="*/ 1145769 w 6365383"/>
              <a:gd name="connsiteY19" fmla="*/ 27432 h 27432"/>
              <a:gd name="connsiteX20" fmla="*/ 636538 w 6365383"/>
              <a:gd name="connsiteY20" fmla="*/ 27432 h 27432"/>
              <a:gd name="connsiteX21" fmla="*/ 0 w 6365383"/>
              <a:gd name="connsiteY21" fmla="*/ 27432 h 27432"/>
              <a:gd name="connsiteX22" fmla="*/ 0 w 6365383"/>
              <a:gd name="connsiteY22"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365383" h="27432" fill="none" extrusionOk="0">
                <a:moveTo>
                  <a:pt x="0" y="0"/>
                </a:moveTo>
                <a:cubicBezTo>
                  <a:pt x="311910" y="25756"/>
                  <a:pt x="328854" y="-22977"/>
                  <a:pt x="636538" y="0"/>
                </a:cubicBezTo>
                <a:cubicBezTo>
                  <a:pt x="929901" y="50670"/>
                  <a:pt x="1067253" y="-1993"/>
                  <a:pt x="1273077" y="0"/>
                </a:cubicBezTo>
                <a:cubicBezTo>
                  <a:pt x="1507620" y="-24857"/>
                  <a:pt x="1747799" y="-10413"/>
                  <a:pt x="1909615" y="0"/>
                </a:cubicBezTo>
                <a:cubicBezTo>
                  <a:pt x="2041097" y="-21585"/>
                  <a:pt x="2422417" y="-28022"/>
                  <a:pt x="2673461" y="0"/>
                </a:cubicBezTo>
                <a:cubicBezTo>
                  <a:pt x="2948394" y="-4560"/>
                  <a:pt x="3134893" y="36981"/>
                  <a:pt x="3373653" y="0"/>
                </a:cubicBezTo>
                <a:cubicBezTo>
                  <a:pt x="3634761" y="-15887"/>
                  <a:pt x="3700843" y="23167"/>
                  <a:pt x="3819230" y="0"/>
                </a:cubicBezTo>
                <a:cubicBezTo>
                  <a:pt x="3977295" y="2943"/>
                  <a:pt x="4128910" y="-53150"/>
                  <a:pt x="4392114" y="0"/>
                </a:cubicBezTo>
                <a:cubicBezTo>
                  <a:pt x="4672763" y="9214"/>
                  <a:pt x="4999833" y="38501"/>
                  <a:pt x="5155960" y="0"/>
                </a:cubicBezTo>
                <a:cubicBezTo>
                  <a:pt x="5343367" y="-6557"/>
                  <a:pt x="5597661" y="6622"/>
                  <a:pt x="5792499" y="0"/>
                </a:cubicBezTo>
                <a:cubicBezTo>
                  <a:pt x="6020774" y="43813"/>
                  <a:pt x="6148830" y="-13954"/>
                  <a:pt x="6365383" y="0"/>
                </a:cubicBezTo>
                <a:cubicBezTo>
                  <a:pt x="6364517" y="8091"/>
                  <a:pt x="6365728" y="20268"/>
                  <a:pt x="6365383" y="27432"/>
                </a:cubicBezTo>
                <a:cubicBezTo>
                  <a:pt x="6144545" y="15144"/>
                  <a:pt x="6006673" y="-7419"/>
                  <a:pt x="5856152" y="27432"/>
                </a:cubicBezTo>
                <a:cubicBezTo>
                  <a:pt x="5638446" y="81548"/>
                  <a:pt x="5413846" y="52067"/>
                  <a:pt x="5092306" y="27432"/>
                </a:cubicBezTo>
                <a:cubicBezTo>
                  <a:pt x="4768499" y="43350"/>
                  <a:pt x="4708569" y="3163"/>
                  <a:pt x="4583076" y="27432"/>
                </a:cubicBezTo>
                <a:cubicBezTo>
                  <a:pt x="4475482" y="66269"/>
                  <a:pt x="4242792" y="42702"/>
                  <a:pt x="4137499" y="27432"/>
                </a:cubicBezTo>
                <a:cubicBezTo>
                  <a:pt x="4003968" y="24039"/>
                  <a:pt x="3882646" y="-3026"/>
                  <a:pt x="3691922" y="27432"/>
                </a:cubicBezTo>
                <a:cubicBezTo>
                  <a:pt x="3501639" y="8096"/>
                  <a:pt x="3270842" y="-14942"/>
                  <a:pt x="2991730" y="27432"/>
                </a:cubicBezTo>
                <a:cubicBezTo>
                  <a:pt x="2712135" y="55419"/>
                  <a:pt x="2758697" y="31955"/>
                  <a:pt x="2546153" y="27432"/>
                </a:cubicBezTo>
                <a:cubicBezTo>
                  <a:pt x="2362220" y="-818"/>
                  <a:pt x="2130397" y="57099"/>
                  <a:pt x="1909615" y="27432"/>
                </a:cubicBezTo>
                <a:cubicBezTo>
                  <a:pt x="1714835" y="-15389"/>
                  <a:pt x="1636770" y="40318"/>
                  <a:pt x="1400384" y="27432"/>
                </a:cubicBezTo>
                <a:cubicBezTo>
                  <a:pt x="1161504" y="29515"/>
                  <a:pt x="1060819" y="7773"/>
                  <a:pt x="763846" y="27432"/>
                </a:cubicBezTo>
                <a:cubicBezTo>
                  <a:pt x="465096" y="43671"/>
                  <a:pt x="165309" y="15831"/>
                  <a:pt x="0" y="27432"/>
                </a:cubicBezTo>
                <a:cubicBezTo>
                  <a:pt x="-2013" y="18874"/>
                  <a:pt x="-525" y="8614"/>
                  <a:pt x="0" y="0"/>
                </a:cubicBezTo>
                <a:close/>
              </a:path>
              <a:path w="6365383" h="27432" stroke="0" extrusionOk="0">
                <a:moveTo>
                  <a:pt x="0" y="0"/>
                </a:moveTo>
                <a:cubicBezTo>
                  <a:pt x="84020" y="9133"/>
                  <a:pt x="339524" y="24523"/>
                  <a:pt x="572884" y="0"/>
                </a:cubicBezTo>
                <a:cubicBezTo>
                  <a:pt x="803790" y="-14011"/>
                  <a:pt x="837492" y="-10007"/>
                  <a:pt x="1018461" y="0"/>
                </a:cubicBezTo>
                <a:cubicBezTo>
                  <a:pt x="1188530" y="8943"/>
                  <a:pt x="1571061" y="17361"/>
                  <a:pt x="1782307" y="0"/>
                </a:cubicBezTo>
                <a:cubicBezTo>
                  <a:pt x="1967448" y="-16010"/>
                  <a:pt x="2153334" y="-25629"/>
                  <a:pt x="2355192" y="0"/>
                </a:cubicBezTo>
                <a:cubicBezTo>
                  <a:pt x="2541804" y="20205"/>
                  <a:pt x="2779440" y="53811"/>
                  <a:pt x="2928076" y="0"/>
                </a:cubicBezTo>
                <a:cubicBezTo>
                  <a:pt x="3024078" y="-16903"/>
                  <a:pt x="3337092" y="43483"/>
                  <a:pt x="3691922" y="0"/>
                </a:cubicBezTo>
                <a:cubicBezTo>
                  <a:pt x="4060895" y="-1064"/>
                  <a:pt x="4072166" y="-17195"/>
                  <a:pt x="4201153" y="0"/>
                </a:cubicBezTo>
                <a:cubicBezTo>
                  <a:pt x="4349835" y="-22516"/>
                  <a:pt x="4800106" y="-64797"/>
                  <a:pt x="4964999" y="0"/>
                </a:cubicBezTo>
                <a:cubicBezTo>
                  <a:pt x="5186764" y="15779"/>
                  <a:pt x="5564421" y="-10544"/>
                  <a:pt x="5728845" y="0"/>
                </a:cubicBezTo>
                <a:cubicBezTo>
                  <a:pt x="5915953" y="5493"/>
                  <a:pt x="6171384" y="-48026"/>
                  <a:pt x="6365383" y="0"/>
                </a:cubicBezTo>
                <a:cubicBezTo>
                  <a:pt x="6366596" y="6455"/>
                  <a:pt x="6365588" y="14391"/>
                  <a:pt x="6365383" y="27432"/>
                </a:cubicBezTo>
                <a:cubicBezTo>
                  <a:pt x="6172514" y="805"/>
                  <a:pt x="6006523" y="20734"/>
                  <a:pt x="5665191" y="27432"/>
                </a:cubicBezTo>
                <a:cubicBezTo>
                  <a:pt x="5322179" y="66687"/>
                  <a:pt x="5219376" y="21111"/>
                  <a:pt x="4901345" y="27432"/>
                </a:cubicBezTo>
                <a:cubicBezTo>
                  <a:pt x="4621310" y="-13654"/>
                  <a:pt x="4455192" y="54857"/>
                  <a:pt x="4137499" y="27432"/>
                </a:cubicBezTo>
                <a:cubicBezTo>
                  <a:pt x="3853317" y="12285"/>
                  <a:pt x="3862894" y="26263"/>
                  <a:pt x="3628268" y="27432"/>
                </a:cubicBezTo>
                <a:cubicBezTo>
                  <a:pt x="3418779" y="32610"/>
                  <a:pt x="3174456" y="83656"/>
                  <a:pt x="2991730" y="27432"/>
                </a:cubicBezTo>
                <a:cubicBezTo>
                  <a:pt x="2801278" y="6667"/>
                  <a:pt x="2497351" y="22891"/>
                  <a:pt x="2227884" y="27432"/>
                </a:cubicBezTo>
                <a:cubicBezTo>
                  <a:pt x="1986101" y="16297"/>
                  <a:pt x="1767219" y="-7535"/>
                  <a:pt x="1591346" y="27432"/>
                </a:cubicBezTo>
                <a:cubicBezTo>
                  <a:pt x="1447183" y="73731"/>
                  <a:pt x="1315973" y="39477"/>
                  <a:pt x="1145769" y="27432"/>
                </a:cubicBezTo>
                <a:cubicBezTo>
                  <a:pt x="990245" y="8882"/>
                  <a:pt x="810845" y="16910"/>
                  <a:pt x="636538" y="27432"/>
                </a:cubicBezTo>
                <a:cubicBezTo>
                  <a:pt x="482916" y="17795"/>
                  <a:pt x="183027" y="-17710"/>
                  <a:pt x="0" y="27432"/>
                </a:cubicBezTo>
                <a:cubicBezTo>
                  <a:pt x="491" y="19542"/>
                  <a:pt x="-1038" y="8534"/>
                  <a:pt x="0" y="0"/>
                </a:cubicBezTo>
                <a:close/>
              </a:path>
              <a:path w="6365383" h="27432" fill="none" stroke="0" extrusionOk="0">
                <a:moveTo>
                  <a:pt x="0" y="0"/>
                </a:moveTo>
                <a:cubicBezTo>
                  <a:pt x="296223" y="15991"/>
                  <a:pt x="333462" y="-23795"/>
                  <a:pt x="636538" y="0"/>
                </a:cubicBezTo>
                <a:cubicBezTo>
                  <a:pt x="970197" y="30961"/>
                  <a:pt x="1039864" y="3183"/>
                  <a:pt x="1273077" y="0"/>
                </a:cubicBezTo>
                <a:cubicBezTo>
                  <a:pt x="1449809" y="24819"/>
                  <a:pt x="1735152" y="23060"/>
                  <a:pt x="1909615" y="0"/>
                </a:cubicBezTo>
                <a:cubicBezTo>
                  <a:pt x="2016351" y="-41665"/>
                  <a:pt x="2415001" y="34773"/>
                  <a:pt x="2673461" y="0"/>
                </a:cubicBezTo>
                <a:cubicBezTo>
                  <a:pt x="2996983" y="-13411"/>
                  <a:pt x="3130707" y="3741"/>
                  <a:pt x="3373653" y="0"/>
                </a:cubicBezTo>
                <a:cubicBezTo>
                  <a:pt x="3601951" y="-16140"/>
                  <a:pt x="3689909" y="23222"/>
                  <a:pt x="3819230" y="0"/>
                </a:cubicBezTo>
                <a:cubicBezTo>
                  <a:pt x="3931872" y="-29406"/>
                  <a:pt x="4119438" y="24094"/>
                  <a:pt x="4392114" y="0"/>
                </a:cubicBezTo>
                <a:cubicBezTo>
                  <a:pt x="4665359" y="21557"/>
                  <a:pt x="4978709" y="13267"/>
                  <a:pt x="5155960" y="0"/>
                </a:cubicBezTo>
                <a:cubicBezTo>
                  <a:pt x="5299518" y="-18386"/>
                  <a:pt x="5605020" y="-6762"/>
                  <a:pt x="5792499" y="0"/>
                </a:cubicBezTo>
                <a:cubicBezTo>
                  <a:pt x="6013281" y="43398"/>
                  <a:pt x="6167567" y="36727"/>
                  <a:pt x="6365383" y="0"/>
                </a:cubicBezTo>
                <a:cubicBezTo>
                  <a:pt x="6365697" y="8368"/>
                  <a:pt x="6365332" y="21050"/>
                  <a:pt x="6365383" y="27432"/>
                </a:cubicBezTo>
                <a:cubicBezTo>
                  <a:pt x="6154893" y="8454"/>
                  <a:pt x="6014206" y="-8372"/>
                  <a:pt x="5856152" y="27432"/>
                </a:cubicBezTo>
                <a:cubicBezTo>
                  <a:pt x="5659455" y="59503"/>
                  <a:pt x="5350806" y="-35991"/>
                  <a:pt x="5092306" y="27432"/>
                </a:cubicBezTo>
                <a:cubicBezTo>
                  <a:pt x="4756309" y="48260"/>
                  <a:pt x="4699746" y="-4780"/>
                  <a:pt x="4583076" y="27432"/>
                </a:cubicBezTo>
                <a:cubicBezTo>
                  <a:pt x="4462137" y="30142"/>
                  <a:pt x="4226168" y="50236"/>
                  <a:pt x="4137499" y="27432"/>
                </a:cubicBezTo>
                <a:cubicBezTo>
                  <a:pt x="4018570" y="42181"/>
                  <a:pt x="3887179" y="34623"/>
                  <a:pt x="3691922" y="27432"/>
                </a:cubicBezTo>
                <a:cubicBezTo>
                  <a:pt x="3499755" y="32935"/>
                  <a:pt x="3281056" y="-9158"/>
                  <a:pt x="2991730" y="27432"/>
                </a:cubicBezTo>
                <a:cubicBezTo>
                  <a:pt x="2716073" y="57462"/>
                  <a:pt x="2755481" y="34494"/>
                  <a:pt x="2546153" y="27432"/>
                </a:cubicBezTo>
                <a:cubicBezTo>
                  <a:pt x="2356479" y="62622"/>
                  <a:pt x="2079190" y="73729"/>
                  <a:pt x="1909615" y="27432"/>
                </a:cubicBezTo>
                <a:cubicBezTo>
                  <a:pt x="1715819" y="-26444"/>
                  <a:pt x="1631368" y="48131"/>
                  <a:pt x="1400384" y="27432"/>
                </a:cubicBezTo>
                <a:cubicBezTo>
                  <a:pt x="1177327" y="16190"/>
                  <a:pt x="1065236" y="24992"/>
                  <a:pt x="763846" y="27432"/>
                </a:cubicBezTo>
                <a:cubicBezTo>
                  <a:pt x="448643" y="60691"/>
                  <a:pt x="160833" y="2330"/>
                  <a:pt x="0" y="27432"/>
                </a:cubicBezTo>
                <a:cubicBezTo>
                  <a:pt x="1559" y="18666"/>
                  <a:pt x="-585" y="7580"/>
                  <a:pt x="0" y="0"/>
                </a:cubicBezTo>
                <a:close/>
              </a:path>
            </a:pathLst>
          </a:custGeom>
          <a:solidFill>
            <a:srgbClr val="FFFFFF"/>
          </a:solidFill>
          <a:ln w="41275" cap="rnd">
            <a:solidFill>
              <a:srgbClr val="FFFFFF"/>
            </a:solidFill>
            <a:round/>
            <a:extLst>
              <a:ext uri="{C807C97D-BFC1-408E-A445-0C87EB9F89A2}">
                <ask:lineSketchStyleProps xmlns:ask="http://schemas.microsoft.com/office/drawing/2018/sketchyshapes" sd="1219033472">
                  <a:custGeom>
                    <a:avLst/>
                    <a:gdLst>
                      <a:gd name="connsiteX0" fmla="*/ 0 w 6365383"/>
                      <a:gd name="connsiteY0" fmla="*/ 0 h 27432"/>
                      <a:gd name="connsiteX1" fmla="*/ 636538 w 6365383"/>
                      <a:gd name="connsiteY1" fmla="*/ 0 h 27432"/>
                      <a:gd name="connsiteX2" fmla="*/ 1273077 w 6365383"/>
                      <a:gd name="connsiteY2" fmla="*/ 0 h 27432"/>
                      <a:gd name="connsiteX3" fmla="*/ 1909615 w 6365383"/>
                      <a:gd name="connsiteY3" fmla="*/ 0 h 27432"/>
                      <a:gd name="connsiteX4" fmla="*/ 2673461 w 6365383"/>
                      <a:gd name="connsiteY4" fmla="*/ 0 h 27432"/>
                      <a:gd name="connsiteX5" fmla="*/ 3373653 w 6365383"/>
                      <a:gd name="connsiteY5" fmla="*/ 0 h 27432"/>
                      <a:gd name="connsiteX6" fmla="*/ 3819230 w 6365383"/>
                      <a:gd name="connsiteY6" fmla="*/ 0 h 27432"/>
                      <a:gd name="connsiteX7" fmla="*/ 4392114 w 6365383"/>
                      <a:gd name="connsiteY7" fmla="*/ 0 h 27432"/>
                      <a:gd name="connsiteX8" fmla="*/ 5155960 w 6365383"/>
                      <a:gd name="connsiteY8" fmla="*/ 0 h 27432"/>
                      <a:gd name="connsiteX9" fmla="*/ 5792499 w 6365383"/>
                      <a:gd name="connsiteY9" fmla="*/ 0 h 27432"/>
                      <a:gd name="connsiteX10" fmla="*/ 6365383 w 6365383"/>
                      <a:gd name="connsiteY10" fmla="*/ 0 h 27432"/>
                      <a:gd name="connsiteX11" fmla="*/ 6365383 w 6365383"/>
                      <a:gd name="connsiteY11" fmla="*/ 27432 h 27432"/>
                      <a:gd name="connsiteX12" fmla="*/ 5856152 w 6365383"/>
                      <a:gd name="connsiteY12" fmla="*/ 27432 h 27432"/>
                      <a:gd name="connsiteX13" fmla="*/ 5092306 w 6365383"/>
                      <a:gd name="connsiteY13" fmla="*/ 27432 h 27432"/>
                      <a:gd name="connsiteX14" fmla="*/ 4583076 w 6365383"/>
                      <a:gd name="connsiteY14" fmla="*/ 27432 h 27432"/>
                      <a:gd name="connsiteX15" fmla="*/ 4137499 w 6365383"/>
                      <a:gd name="connsiteY15" fmla="*/ 27432 h 27432"/>
                      <a:gd name="connsiteX16" fmla="*/ 3691922 w 6365383"/>
                      <a:gd name="connsiteY16" fmla="*/ 27432 h 27432"/>
                      <a:gd name="connsiteX17" fmla="*/ 2991730 w 6365383"/>
                      <a:gd name="connsiteY17" fmla="*/ 27432 h 27432"/>
                      <a:gd name="connsiteX18" fmla="*/ 2546153 w 6365383"/>
                      <a:gd name="connsiteY18" fmla="*/ 27432 h 27432"/>
                      <a:gd name="connsiteX19" fmla="*/ 1909615 w 6365383"/>
                      <a:gd name="connsiteY19" fmla="*/ 27432 h 27432"/>
                      <a:gd name="connsiteX20" fmla="*/ 1400384 w 6365383"/>
                      <a:gd name="connsiteY20" fmla="*/ 27432 h 27432"/>
                      <a:gd name="connsiteX21" fmla="*/ 763846 w 6365383"/>
                      <a:gd name="connsiteY21" fmla="*/ 27432 h 27432"/>
                      <a:gd name="connsiteX22" fmla="*/ 0 w 6365383"/>
                      <a:gd name="connsiteY22" fmla="*/ 27432 h 27432"/>
                      <a:gd name="connsiteX23" fmla="*/ 0 w 6365383"/>
                      <a:gd name="connsiteY23"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365383" h="27432" fill="none" extrusionOk="0">
                        <a:moveTo>
                          <a:pt x="0" y="0"/>
                        </a:moveTo>
                        <a:cubicBezTo>
                          <a:pt x="305169" y="21509"/>
                          <a:pt x="334704" y="-24261"/>
                          <a:pt x="636538" y="0"/>
                        </a:cubicBezTo>
                        <a:cubicBezTo>
                          <a:pt x="938372" y="24261"/>
                          <a:pt x="1068606" y="2269"/>
                          <a:pt x="1273077" y="0"/>
                        </a:cubicBezTo>
                        <a:cubicBezTo>
                          <a:pt x="1477548" y="-2269"/>
                          <a:pt x="1738189" y="6272"/>
                          <a:pt x="1909615" y="0"/>
                        </a:cubicBezTo>
                        <a:cubicBezTo>
                          <a:pt x="2081041" y="-6272"/>
                          <a:pt x="2377015" y="16623"/>
                          <a:pt x="2673461" y="0"/>
                        </a:cubicBezTo>
                        <a:cubicBezTo>
                          <a:pt x="2969907" y="-16623"/>
                          <a:pt x="3126114" y="13194"/>
                          <a:pt x="3373653" y="0"/>
                        </a:cubicBezTo>
                        <a:cubicBezTo>
                          <a:pt x="3621192" y="-13194"/>
                          <a:pt x="3704499" y="9486"/>
                          <a:pt x="3819230" y="0"/>
                        </a:cubicBezTo>
                        <a:cubicBezTo>
                          <a:pt x="3933961" y="-9486"/>
                          <a:pt x="4142691" y="-8221"/>
                          <a:pt x="4392114" y="0"/>
                        </a:cubicBezTo>
                        <a:cubicBezTo>
                          <a:pt x="4641537" y="8221"/>
                          <a:pt x="4974506" y="12257"/>
                          <a:pt x="5155960" y="0"/>
                        </a:cubicBezTo>
                        <a:cubicBezTo>
                          <a:pt x="5337414" y="-12257"/>
                          <a:pt x="5585731" y="-22537"/>
                          <a:pt x="5792499" y="0"/>
                        </a:cubicBezTo>
                        <a:cubicBezTo>
                          <a:pt x="5999267" y="22537"/>
                          <a:pt x="6164726" y="7303"/>
                          <a:pt x="6365383" y="0"/>
                        </a:cubicBezTo>
                        <a:cubicBezTo>
                          <a:pt x="6365125" y="7487"/>
                          <a:pt x="6364462" y="19984"/>
                          <a:pt x="6365383" y="27432"/>
                        </a:cubicBezTo>
                        <a:cubicBezTo>
                          <a:pt x="6132222" y="28304"/>
                          <a:pt x="6011986" y="2071"/>
                          <a:pt x="5856152" y="27432"/>
                        </a:cubicBezTo>
                        <a:cubicBezTo>
                          <a:pt x="5700318" y="52793"/>
                          <a:pt x="5410732" y="5357"/>
                          <a:pt x="5092306" y="27432"/>
                        </a:cubicBezTo>
                        <a:cubicBezTo>
                          <a:pt x="4773880" y="49507"/>
                          <a:pt x="4705351" y="6645"/>
                          <a:pt x="4583076" y="27432"/>
                        </a:cubicBezTo>
                        <a:cubicBezTo>
                          <a:pt x="4460801" y="48220"/>
                          <a:pt x="4239915" y="42209"/>
                          <a:pt x="4137499" y="27432"/>
                        </a:cubicBezTo>
                        <a:cubicBezTo>
                          <a:pt x="4035083" y="12655"/>
                          <a:pt x="3883665" y="32012"/>
                          <a:pt x="3691922" y="27432"/>
                        </a:cubicBezTo>
                        <a:cubicBezTo>
                          <a:pt x="3500179" y="22852"/>
                          <a:pt x="3265830" y="-126"/>
                          <a:pt x="2991730" y="27432"/>
                        </a:cubicBezTo>
                        <a:cubicBezTo>
                          <a:pt x="2717630" y="54990"/>
                          <a:pt x="2757122" y="34407"/>
                          <a:pt x="2546153" y="27432"/>
                        </a:cubicBezTo>
                        <a:cubicBezTo>
                          <a:pt x="2335184" y="20457"/>
                          <a:pt x="2107331" y="58889"/>
                          <a:pt x="1909615" y="27432"/>
                        </a:cubicBezTo>
                        <a:cubicBezTo>
                          <a:pt x="1711899" y="-4025"/>
                          <a:pt x="1634641" y="48316"/>
                          <a:pt x="1400384" y="27432"/>
                        </a:cubicBezTo>
                        <a:cubicBezTo>
                          <a:pt x="1166127" y="6548"/>
                          <a:pt x="1068288" y="15776"/>
                          <a:pt x="763846" y="27432"/>
                        </a:cubicBezTo>
                        <a:cubicBezTo>
                          <a:pt x="459404" y="39088"/>
                          <a:pt x="170017" y="14515"/>
                          <a:pt x="0" y="27432"/>
                        </a:cubicBezTo>
                        <a:cubicBezTo>
                          <a:pt x="-14" y="18173"/>
                          <a:pt x="-517" y="8990"/>
                          <a:pt x="0" y="0"/>
                        </a:cubicBezTo>
                        <a:close/>
                      </a:path>
                      <a:path w="6365383" h="27432" stroke="0" extrusionOk="0">
                        <a:moveTo>
                          <a:pt x="0" y="0"/>
                        </a:moveTo>
                        <a:cubicBezTo>
                          <a:pt x="114610" y="-2215"/>
                          <a:pt x="340315" y="12554"/>
                          <a:pt x="572884" y="0"/>
                        </a:cubicBezTo>
                        <a:cubicBezTo>
                          <a:pt x="805453" y="-12554"/>
                          <a:pt x="832891" y="-10424"/>
                          <a:pt x="1018461" y="0"/>
                        </a:cubicBezTo>
                        <a:cubicBezTo>
                          <a:pt x="1204031" y="10424"/>
                          <a:pt x="1590875" y="8682"/>
                          <a:pt x="1782307" y="0"/>
                        </a:cubicBezTo>
                        <a:cubicBezTo>
                          <a:pt x="1973739" y="-8682"/>
                          <a:pt x="2150876" y="5508"/>
                          <a:pt x="2355192" y="0"/>
                        </a:cubicBezTo>
                        <a:cubicBezTo>
                          <a:pt x="2559508" y="-5508"/>
                          <a:pt x="2790194" y="26965"/>
                          <a:pt x="2928076" y="0"/>
                        </a:cubicBezTo>
                        <a:cubicBezTo>
                          <a:pt x="3065958" y="-26965"/>
                          <a:pt x="3321537" y="819"/>
                          <a:pt x="3691922" y="0"/>
                        </a:cubicBezTo>
                        <a:cubicBezTo>
                          <a:pt x="4062307" y="-819"/>
                          <a:pt x="4072238" y="-15327"/>
                          <a:pt x="4201153" y="0"/>
                        </a:cubicBezTo>
                        <a:cubicBezTo>
                          <a:pt x="4330068" y="15327"/>
                          <a:pt x="4772079" y="-35646"/>
                          <a:pt x="4964999" y="0"/>
                        </a:cubicBezTo>
                        <a:cubicBezTo>
                          <a:pt x="5157919" y="35646"/>
                          <a:pt x="5543915" y="6802"/>
                          <a:pt x="5728845" y="0"/>
                        </a:cubicBezTo>
                        <a:cubicBezTo>
                          <a:pt x="5913775" y="-6802"/>
                          <a:pt x="6142952" y="-21408"/>
                          <a:pt x="6365383" y="0"/>
                        </a:cubicBezTo>
                        <a:cubicBezTo>
                          <a:pt x="6364552" y="6329"/>
                          <a:pt x="6365787" y="16858"/>
                          <a:pt x="6365383" y="27432"/>
                        </a:cubicBezTo>
                        <a:cubicBezTo>
                          <a:pt x="6176931" y="320"/>
                          <a:pt x="5998736" y="11244"/>
                          <a:pt x="5665191" y="27432"/>
                        </a:cubicBezTo>
                        <a:cubicBezTo>
                          <a:pt x="5331646" y="43620"/>
                          <a:pt x="5198011" y="28615"/>
                          <a:pt x="4901345" y="27432"/>
                        </a:cubicBezTo>
                        <a:cubicBezTo>
                          <a:pt x="4604679" y="26249"/>
                          <a:pt x="4422931" y="40617"/>
                          <a:pt x="4137499" y="27432"/>
                        </a:cubicBezTo>
                        <a:cubicBezTo>
                          <a:pt x="3852067" y="14247"/>
                          <a:pt x="3861939" y="26581"/>
                          <a:pt x="3628268" y="27432"/>
                        </a:cubicBezTo>
                        <a:cubicBezTo>
                          <a:pt x="3394597" y="28283"/>
                          <a:pt x="3171361" y="44132"/>
                          <a:pt x="2991730" y="27432"/>
                        </a:cubicBezTo>
                        <a:cubicBezTo>
                          <a:pt x="2812099" y="10732"/>
                          <a:pt x="2469344" y="24737"/>
                          <a:pt x="2227884" y="27432"/>
                        </a:cubicBezTo>
                        <a:cubicBezTo>
                          <a:pt x="1986424" y="30127"/>
                          <a:pt x="1748067" y="6359"/>
                          <a:pt x="1591346" y="27432"/>
                        </a:cubicBezTo>
                        <a:cubicBezTo>
                          <a:pt x="1434625" y="48505"/>
                          <a:pt x="1307456" y="39663"/>
                          <a:pt x="1145769" y="27432"/>
                        </a:cubicBezTo>
                        <a:cubicBezTo>
                          <a:pt x="984082" y="15201"/>
                          <a:pt x="800279" y="41647"/>
                          <a:pt x="636538" y="27432"/>
                        </a:cubicBezTo>
                        <a:cubicBezTo>
                          <a:pt x="472797" y="13217"/>
                          <a:pt x="160022" y="2213"/>
                          <a:pt x="0" y="27432"/>
                        </a:cubicBezTo>
                        <a:cubicBezTo>
                          <a:pt x="-177" y="19307"/>
                          <a:pt x="-1145" y="9170"/>
                          <a:pt x="0" y="0"/>
                        </a:cubicBezTo>
                        <a:close/>
                      </a:path>
                    </a:pathLst>
                  </a:cu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2883816484"/>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uppo 16">
            <a:extLst>
              <a:ext uri="{FF2B5EF4-FFF2-40B4-BE49-F238E27FC236}">
                <a16:creationId xmlns:a16="http://schemas.microsoft.com/office/drawing/2014/main" id="{D5AB2B97-1E5C-4545-902A-944C5A0C74A3}"/>
              </a:ext>
            </a:extLst>
          </p:cNvPr>
          <p:cNvGrpSpPr/>
          <p:nvPr/>
        </p:nvGrpSpPr>
        <p:grpSpPr>
          <a:xfrm>
            <a:off x="4329146" y="9679208"/>
            <a:ext cx="13958844" cy="666567"/>
            <a:chOff x="4329156" y="9649198"/>
            <a:chExt cx="13958844" cy="666567"/>
          </a:xfrm>
        </p:grpSpPr>
        <p:pic>
          <p:nvPicPr>
            <p:cNvPr id="4" name="Picture 12">
              <a:extLst>
                <a:ext uri="{FF2B5EF4-FFF2-40B4-BE49-F238E27FC236}">
                  <a16:creationId xmlns:a16="http://schemas.microsoft.com/office/drawing/2014/main" id="{F8755364-13D3-400C-8220-75C3882C5FE7}"/>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5" name="TextBox 16">
              <a:extLst>
                <a:ext uri="{FF2B5EF4-FFF2-40B4-BE49-F238E27FC236}">
                  <a16:creationId xmlns:a16="http://schemas.microsoft.com/office/drawing/2014/main" id="{87330550-0973-4960-9F34-48D1B3D061D4}"/>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grpSp>
        <p:nvGrpSpPr>
          <p:cNvPr id="6" name="Gruppo 2">
            <a:extLst>
              <a:ext uri="{FF2B5EF4-FFF2-40B4-BE49-F238E27FC236}">
                <a16:creationId xmlns:a16="http://schemas.microsoft.com/office/drawing/2014/main" id="{191AC69C-6BAD-42C7-B9CD-91C545EA5B98}"/>
              </a:ext>
            </a:extLst>
          </p:cNvPr>
          <p:cNvGrpSpPr/>
          <p:nvPr/>
        </p:nvGrpSpPr>
        <p:grpSpPr>
          <a:xfrm>
            <a:off x="-12" y="138554"/>
            <a:ext cx="18288002" cy="681138"/>
            <a:chOff x="-12" y="138554"/>
            <a:chExt cx="18288002" cy="681138"/>
          </a:xfrm>
        </p:grpSpPr>
        <p:grpSp>
          <p:nvGrpSpPr>
            <p:cNvPr id="7" name="Gruppo 1">
              <a:extLst>
                <a:ext uri="{FF2B5EF4-FFF2-40B4-BE49-F238E27FC236}">
                  <a16:creationId xmlns:a16="http://schemas.microsoft.com/office/drawing/2014/main" id="{A93216A2-9A2C-4855-9C5A-9B07FE640001}"/>
                </a:ext>
              </a:extLst>
            </p:cNvPr>
            <p:cNvGrpSpPr/>
            <p:nvPr/>
          </p:nvGrpSpPr>
          <p:grpSpPr>
            <a:xfrm>
              <a:off x="0" y="153125"/>
              <a:ext cx="17907000" cy="666567"/>
              <a:chOff x="0" y="153125"/>
              <a:chExt cx="17907000" cy="666567"/>
            </a:xfrm>
          </p:grpSpPr>
          <p:grpSp>
            <p:nvGrpSpPr>
              <p:cNvPr id="9" name="Gruppo 15">
                <a:extLst>
                  <a:ext uri="{FF2B5EF4-FFF2-40B4-BE49-F238E27FC236}">
                    <a16:creationId xmlns:a16="http://schemas.microsoft.com/office/drawing/2014/main" id="{5D6DD7D2-CC56-4D1E-B0CF-285CAAACC093}"/>
                  </a:ext>
                </a:extLst>
              </p:cNvPr>
              <p:cNvGrpSpPr/>
              <p:nvPr/>
            </p:nvGrpSpPr>
            <p:grpSpPr>
              <a:xfrm>
                <a:off x="0" y="153125"/>
                <a:ext cx="13958844" cy="666567"/>
                <a:chOff x="0" y="153125"/>
                <a:chExt cx="13958844" cy="666567"/>
              </a:xfrm>
            </p:grpSpPr>
            <p:pic>
              <p:nvPicPr>
                <p:cNvPr id="11" name="Picture 10">
                  <a:extLst>
                    <a:ext uri="{FF2B5EF4-FFF2-40B4-BE49-F238E27FC236}">
                      <a16:creationId xmlns:a16="http://schemas.microsoft.com/office/drawing/2014/main" id="{48728059-A083-44B4-9DDD-F9E870FFCD7F}"/>
                    </a:ext>
                  </a:extLst>
                </p:cNvPr>
                <p:cNvPicPr>
                  <a:picLocks noChangeAspect="1"/>
                </p:cNvPicPr>
                <p:nvPr/>
              </p:nvPicPr>
              <p:blipFill>
                <a:blip r:embed="rId4"/>
                <a:srcRect l="134" t="91287" b="3943"/>
                <a:stretch>
                  <a:fillRect/>
                </a:stretch>
              </p:blipFill>
              <p:spPr>
                <a:xfrm>
                  <a:off x="0" y="153125"/>
                  <a:ext cx="13958844" cy="666567"/>
                </a:xfrm>
                <a:prstGeom prst="rect">
                  <a:avLst/>
                </a:prstGeom>
              </p:spPr>
            </p:pic>
            <p:sp>
              <p:nvSpPr>
                <p:cNvPr id="12" name="TextBox 11">
                  <a:extLst>
                    <a:ext uri="{FF2B5EF4-FFF2-40B4-BE49-F238E27FC236}">
                      <a16:creationId xmlns:a16="http://schemas.microsoft.com/office/drawing/2014/main" id="{A7C83B3F-E079-4786-85EF-4C97E0AB2798}"/>
                    </a:ext>
                  </a:extLst>
                </p:cNvPr>
                <p:cNvSpPr txBox="1"/>
                <p:nvPr/>
              </p:nvSpPr>
              <p:spPr>
                <a:xfrm>
                  <a:off x="228600" y="257980"/>
                  <a:ext cx="9296400" cy="456856"/>
                </a:xfrm>
                <a:prstGeom prst="rect">
                  <a:avLst/>
                </a:prstGeom>
              </p:spPr>
              <p:txBody>
                <a:bodyPr wrap="square" lIns="0" tIns="0" rIns="0" bIns="0" rtlCol="0" anchor="t">
                  <a:spAutoFit/>
                </a:bodyPr>
                <a:lstStyle/>
                <a:p>
                  <a:pPr>
                    <a:lnSpc>
                      <a:spcPts val="3919"/>
                    </a:lnSpc>
                    <a:spcBef>
                      <a:spcPct val="0"/>
                    </a:spcBef>
                  </a:pPr>
                  <a:endParaRPr lang="en-US" sz="2800" b="1">
                    <a:solidFill>
                      <a:srgbClr val="FFFFFF"/>
                    </a:solidFill>
                    <a:latin typeface="Arial" panose="020B0604020202020204" pitchFamily="34" charset="0"/>
                    <a:cs typeface="Arial" panose="020B0604020202020204" pitchFamily="34" charset="0"/>
                  </a:endParaRPr>
                </a:p>
              </p:txBody>
            </p:sp>
          </p:grpSp>
          <p:sp>
            <p:nvSpPr>
              <p:cNvPr id="10" name="TextBox 9">
                <a:extLst>
                  <a:ext uri="{FF2B5EF4-FFF2-40B4-BE49-F238E27FC236}">
                    <a16:creationId xmlns:a16="http://schemas.microsoft.com/office/drawing/2014/main" id="{9EB7C3CF-B63F-4622-8477-43C095EB5C99}"/>
                  </a:ext>
                </a:extLst>
              </p:cNvPr>
              <p:cNvSpPr txBox="1"/>
              <p:nvPr/>
            </p:nvSpPr>
            <p:spPr>
              <a:xfrm>
                <a:off x="12154296" y="257980"/>
                <a:ext cx="5752704" cy="456856"/>
              </a:xfrm>
              <a:prstGeom prst="rect">
                <a:avLst/>
              </a:prstGeom>
            </p:spPr>
            <p:txBody>
              <a:bodyPr wrap="square" lIns="0" tIns="0" rIns="0" bIns="0" rtlCol="0" anchor="t">
                <a:spAutoFit/>
              </a:bodyPr>
              <a:lstStyle/>
              <a:p>
                <a:pPr algn="r">
                  <a:lnSpc>
                    <a:spcPts val="3919"/>
                  </a:lnSpc>
                  <a:spcBef>
                    <a:spcPct val="0"/>
                  </a:spcBef>
                </a:pPr>
                <a:endParaRPr lang="en-US" sz="2800">
                  <a:solidFill>
                    <a:schemeClr val="tx1">
                      <a:lumMod val="75000"/>
                      <a:lumOff val="25000"/>
                    </a:schemeClr>
                  </a:solidFill>
                  <a:latin typeface="Arial" panose="020B0604020202020204" pitchFamily="34" charset="0"/>
                  <a:cs typeface="Arial" panose="020B0604020202020204" pitchFamily="34" charset="0"/>
                </a:endParaRPr>
              </a:p>
            </p:txBody>
          </p:sp>
        </p:grpSp>
        <p:sp>
          <p:nvSpPr>
            <p:cNvPr id="8" name="Rettangolo 13">
              <a:extLst>
                <a:ext uri="{FF2B5EF4-FFF2-40B4-BE49-F238E27FC236}">
                  <a16:creationId xmlns:a16="http://schemas.microsoft.com/office/drawing/2014/main" id="{6E509BE2-BA97-4214-BC33-05F8A3A76CCF}"/>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3" name="TextBox 12">
            <a:extLst>
              <a:ext uri="{FF2B5EF4-FFF2-40B4-BE49-F238E27FC236}">
                <a16:creationId xmlns:a16="http://schemas.microsoft.com/office/drawing/2014/main" id="{BEDE7CD6-84DB-4D44-9E7A-DABD3ED6EFDE}"/>
              </a:ext>
            </a:extLst>
          </p:cNvPr>
          <p:cNvSpPr txBox="1"/>
          <p:nvPr/>
        </p:nvSpPr>
        <p:spPr>
          <a:xfrm>
            <a:off x="0" y="1225426"/>
            <a:ext cx="18288012" cy="1077218"/>
          </a:xfrm>
          <a:prstGeom prst="rect">
            <a:avLst/>
          </a:prstGeom>
          <a:noFill/>
        </p:spPr>
        <p:txBody>
          <a:bodyPr wrap="square">
            <a:spAutoFit/>
          </a:bodyPr>
          <a:lstStyle/>
          <a:p>
            <a:pPr algn="ctr"/>
            <a:r>
              <a:rPr lang="sv-SE" sz="6400" b="1" err="1">
                <a:solidFill>
                  <a:srgbClr val="CC0033"/>
                </a:solidFill>
                <a:latin typeface="+mj-lt"/>
                <a:cs typeface="Arial" panose="020B0604020202020204" pitchFamily="34" charset="0"/>
              </a:rPr>
              <a:t>Introduction</a:t>
            </a:r>
            <a:r>
              <a:rPr lang="sv-SE" sz="6400" b="1">
                <a:solidFill>
                  <a:srgbClr val="CC0033"/>
                </a:solidFill>
                <a:latin typeface="+mj-lt"/>
                <a:cs typeface="Arial" panose="020B0604020202020204" pitchFamily="34" charset="0"/>
              </a:rPr>
              <a:t> to LCA</a:t>
            </a:r>
          </a:p>
        </p:txBody>
      </p:sp>
      <p:pic>
        <p:nvPicPr>
          <p:cNvPr id="14" name="Picture 12">
            <a:extLst>
              <a:ext uri="{FF2B5EF4-FFF2-40B4-BE49-F238E27FC236}">
                <a16:creationId xmlns:a16="http://schemas.microsoft.com/office/drawing/2014/main" id="{E13EF228-E145-43FD-88BA-954C33532B80}"/>
              </a:ext>
            </a:extLst>
          </p:cNvPr>
          <p:cNvPicPr>
            <a:picLocks noChangeAspect="1"/>
          </p:cNvPicPr>
          <p:nvPr/>
        </p:nvPicPr>
        <p:blipFill>
          <a:blip r:embed="rId5"/>
          <a:srcRect/>
          <a:stretch>
            <a:fillRect/>
          </a:stretch>
        </p:blipFill>
        <p:spPr>
          <a:xfrm>
            <a:off x="0" y="8901113"/>
            <a:ext cx="5715000" cy="1385887"/>
          </a:xfrm>
          <a:prstGeom prst="rect">
            <a:avLst/>
          </a:prstGeom>
        </p:spPr>
      </p:pic>
      <p:sp>
        <p:nvSpPr>
          <p:cNvPr id="17" name="Content Placeholder 5">
            <a:extLst>
              <a:ext uri="{FF2B5EF4-FFF2-40B4-BE49-F238E27FC236}">
                <a16:creationId xmlns:a16="http://schemas.microsoft.com/office/drawing/2014/main" id="{7ADB66E6-CDF0-42F3-BE64-90D0202DCE03}"/>
              </a:ext>
            </a:extLst>
          </p:cNvPr>
          <p:cNvSpPr txBox="1">
            <a:spLocks/>
          </p:cNvSpPr>
          <p:nvPr/>
        </p:nvSpPr>
        <p:spPr>
          <a:xfrm>
            <a:off x="2064857" y="3565437"/>
            <a:ext cx="14153322" cy="4525963"/>
          </a:xfrm>
          <a:prstGeom prst="rect">
            <a:avLst/>
          </a:prstGeom>
        </p:spPr>
        <p:txBody>
          <a:bodyPr lIns="91440" tIns="45720" rIns="91440" bIns="45720" anchor="t"/>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sv-SE" sz="4800" kern="100">
                <a:solidFill>
                  <a:srgbClr val="404040"/>
                </a:solidFill>
                <a:latin typeface="+mj-lt"/>
              </a:rPr>
              <a:t>Life Cycle </a:t>
            </a:r>
            <a:r>
              <a:rPr lang="sv-SE" sz="4800" kern="100" err="1">
                <a:solidFill>
                  <a:srgbClr val="404040"/>
                </a:solidFill>
                <a:latin typeface="+mj-lt"/>
              </a:rPr>
              <a:t>Assessment</a:t>
            </a:r>
            <a:r>
              <a:rPr lang="sv-SE" sz="4800" kern="100">
                <a:solidFill>
                  <a:srgbClr val="404040"/>
                </a:solidFill>
                <a:latin typeface="+mj-lt"/>
              </a:rPr>
              <a:t> (LCA) is a </a:t>
            </a:r>
            <a:r>
              <a:rPr lang="sv-SE" sz="4800" kern="100" err="1">
                <a:solidFill>
                  <a:srgbClr val="404040"/>
                </a:solidFill>
                <a:latin typeface="+mj-lt"/>
              </a:rPr>
              <a:t>methodology</a:t>
            </a:r>
            <a:r>
              <a:rPr lang="sv-SE" sz="4800" kern="100">
                <a:solidFill>
                  <a:srgbClr val="404040"/>
                </a:solidFill>
                <a:latin typeface="+mj-lt"/>
              </a:rPr>
              <a:t> </a:t>
            </a:r>
            <a:r>
              <a:rPr lang="sv-SE" sz="4800" kern="100" err="1">
                <a:solidFill>
                  <a:srgbClr val="404040"/>
                </a:solidFill>
                <a:latin typeface="+mj-lt"/>
              </a:rPr>
              <a:t>used</a:t>
            </a:r>
            <a:r>
              <a:rPr lang="sv-SE" sz="4800" kern="100">
                <a:solidFill>
                  <a:srgbClr val="404040"/>
                </a:solidFill>
                <a:latin typeface="+mj-lt"/>
              </a:rPr>
              <a:t> to </a:t>
            </a:r>
            <a:r>
              <a:rPr lang="sv-SE" sz="4800" kern="100" err="1">
                <a:solidFill>
                  <a:srgbClr val="404040"/>
                </a:solidFill>
                <a:latin typeface="+mj-lt"/>
              </a:rPr>
              <a:t>assess</a:t>
            </a:r>
            <a:r>
              <a:rPr lang="sv-SE" sz="4800" kern="100">
                <a:solidFill>
                  <a:srgbClr val="404040"/>
                </a:solidFill>
                <a:latin typeface="+mj-lt"/>
              </a:rPr>
              <a:t> the </a:t>
            </a:r>
            <a:r>
              <a:rPr lang="sv-SE" sz="4800" kern="100" err="1">
                <a:solidFill>
                  <a:srgbClr val="404040"/>
                </a:solidFill>
                <a:latin typeface="+mj-lt"/>
              </a:rPr>
              <a:t>environmental</a:t>
            </a:r>
            <a:r>
              <a:rPr lang="sv-SE" sz="4800" kern="100">
                <a:solidFill>
                  <a:srgbClr val="404040"/>
                </a:solidFill>
                <a:latin typeface="+mj-lt"/>
              </a:rPr>
              <a:t> </a:t>
            </a:r>
            <a:r>
              <a:rPr lang="sv-SE" sz="4800" kern="100" err="1">
                <a:solidFill>
                  <a:srgbClr val="404040"/>
                </a:solidFill>
                <a:latin typeface="+mj-lt"/>
              </a:rPr>
              <a:t>impact</a:t>
            </a:r>
            <a:r>
              <a:rPr lang="sv-SE" sz="4800" kern="100">
                <a:solidFill>
                  <a:srgbClr val="404040"/>
                </a:solidFill>
                <a:latin typeface="+mj-lt"/>
              </a:rPr>
              <a:t> </a:t>
            </a:r>
            <a:r>
              <a:rPr lang="sv-SE" sz="4800" kern="100" err="1">
                <a:solidFill>
                  <a:srgbClr val="404040"/>
                </a:solidFill>
                <a:latin typeface="+mj-lt"/>
              </a:rPr>
              <a:t>of</a:t>
            </a:r>
            <a:r>
              <a:rPr lang="sv-SE" sz="4800" kern="100">
                <a:solidFill>
                  <a:srgbClr val="404040"/>
                </a:solidFill>
                <a:latin typeface="+mj-lt"/>
              </a:rPr>
              <a:t> a </a:t>
            </a:r>
            <a:r>
              <a:rPr lang="sv-SE" sz="4800" kern="100" err="1">
                <a:solidFill>
                  <a:srgbClr val="404040"/>
                </a:solidFill>
                <a:latin typeface="+mj-lt"/>
              </a:rPr>
              <a:t>product</a:t>
            </a:r>
            <a:r>
              <a:rPr lang="sv-SE" sz="4800" kern="100">
                <a:solidFill>
                  <a:srgbClr val="404040"/>
                </a:solidFill>
                <a:latin typeface="+mj-lt"/>
              </a:rPr>
              <a:t> or service </a:t>
            </a:r>
            <a:r>
              <a:rPr lang="sv-SE" sz="4800" kern="100" err="1">
                <a:solidFill>
                  <a:srgbClr val="404040"/>
                </a:solidFill>
                <a:latin typeface="+mj-lt"/>
              </a:rPr>
              <a:t>throughout</a:t>
            </a:r>
            <a:r>
              <a:rPr lang="sv-SE" sz="4800" kern="100">
                <a:solidFill>
                  <a:srgbClr val="404040"/>
                </a:solidFill>
                <a:latin typeface="+mj-lt"/>
              </a:rPr>
              <a:t> </a:t>
            </a:r>
            <a:r>
              <a:rPr lang="sv-SE" sz="4800" kern="100" err="1">
                <a:solidFill>
                  <a:srgbClr val="404040"/>
                </a:solidFill>
                <a:latin typeface="+mj-lt"/>
              </a:rPr>
              <a:t>its</a:t>
            </a:r>
            <a:r>
              <a:rPr lang="sv-SE" sz="4800" kern="100">
                <a:solidFill>
                  <a:srgbClr val="404040"/>
                </a:solidFill>
                <a:latin typeface="+mj-lt"/>
              </a:rPr>
              <a:t> </a:t>
            </a:r>
            <a:r>
              <a:rPr lang="sv-SE" sz="4800" kern="100" err="1">
                <a:solidFill>
                  <a:srgbClr val="404040"/>
                </a:solidFill>
                <a:latin typeface="+mj-lt"/>
              </a:rPr>
              <a:t>life</a:t>
            </a:r>
            <a:r>
              <a:rPr lang="sv-SE" sz="4800" kern="100">
                <a:solidFill>
                  <a:srgbClr val="404040"/>
                </a:solidFill>
                <a:latin typeface="+mj-lt"/>
              </a:rPr>
              <a:t> </a:t>
            </a:r>
            <a:r>
              <a:rPr lang="sv-SE" sz="4800" kern="100" err="1">
                <a:solidFill>
                  <a:srgbClr val="404040"/>
                </a:solidFill>
                <a:latin typeface="+mj-lt"/>
              </a:rPr>
              <a:t>cycle</a:t>
            </a:r>
            <a:r>
              <a:rPr lang="sv-SE" sz="4800" kern="100">
                <a:solidFill>
                  <a:srgbClr val="404040"/>
                </a:solidFill>
                <a:latin typeface="+mj-lt"/>
              </a:rPr>
              <a:t> i.e. from </a:t>
            </a:r>
            <a:r>
              <a:rPr lang="sv-SE" sz="4800" kern="100" err="1">
                <a:solidFill>
                  <a:srgbClr val="404040"/>
                </a:solidFill>
                <a:latin typeface="+mj-lt"/>
              </a:rPr>
              <a:t>raw</a:t>
            </a:r>
            <a:r>
              <a:rPr lang="sv-SE" sz="4800" kern="100">
                <a:solidFill>
                  <a:srgbClr val="404040"/>
                </a:solidFill>
                <a:latin typeface="+mj-lt"/>
              </a:rPr>
              <a:t> material </a:t>
            </a:r>
            <a:r>
              <a:rPr lang="sv-SE" sz="4800" kern="100" err="1">
                <a:solidFill>
                  <a:srgbClr val="404040"/>
                </a:solidFill>
                <a:latin typeface="+mj-lt"/>
              </a:rPr>
              <a:t>extraction</a:t>
            </a:r>
            <a:r>
              <a:rPr lang="sv-SE" sz="4800" kern="100">
                <a:solidFill>
                  <a:srgbClr val="404040"/>
                </a:solidFill>
                <a:latin typeface="+mj-lt"/>
              </a:rPr>
              <a:t> to </a:t>
            </a:r>
            <a:r>
              <a:rPr lang="sv-SE" sz="4800" kern="100" err="1">
                <a:solidFill>
                  <a:srgbClr val="404040"/>
                </a:solidFill>
                <a:latin typeface="+mj-lt"/>
              </a:rPr>
              <a:t>its</a:t>
            </a:r>
            <a:r>
              <a:rPr lang="sv-SE" sz="4800" kern="100">
                <a:solidFill>
                  <a:srgbClr val="404040"/>
                </a:solidFill>
                <a:latin typeface="+mj-lt"/>
              </a:rPr>
              <a:t> </a:t>
            </a:r>
            <a:r>
              <a:rPr lang="sv-SE" sz="4800" kern="100" err="1">
                <a:solidFill>
                  <a:srgbClr val="404040"/>
                </a:solidFill>
                <a:latin typeface="+mj-lt"/>
              </a:rPr>
              <a:t>waste</a:t>
            </a:r>
            <a:r>
              <a:rPr lang="sv-SE" sz="4800" kern="100">
                <a:solidFill>
                  <a:srgbClr val="404040"/>
                </a:solidFill>
                <a:latin typeface="+mj-lt"/>
              </a:rPr>
              <a:t> management (</a:t>
            </a:r>
            <a:r>
              <a:rPr lang="sv-SE" sz="4800" kern="100" err="1">
                <a:solidFill>
                  <a:srgbClr val="404040"/>
                </a:solidFill>
                <a:latin typeface="+mj-lt"/>
              </a:rPr>
              <a:t>cradle</a:t>
            </a:r>
            <a:r>
              <a:rPr lang="sv-SE" sz="4800" kern="100">
                <a:solidFill>
                  <a:srgbClr val="404040"/>
                </a:solidFill>
                <a:latin typeface="+mj-lt"/>
              </a:rPr>
              <a:t>-to grave). </a:t>
            </a:r>
          </a:p>
        </p:txBody>
      </p:sp>
    </p:spTree>
    <p:extLst>
      <p:ext uri="{BB962C8B-B14F-4D97-AF65-F5344CB8AC3E}">
        <p14:creationId xmlns:p14="http://schemas.microsoft.com/office/powerpoint/2010/main" val="1998152352"/>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sv-SE"/>
              <a:t>LCA - Life Cycle Assessment</a:t>
            </a:r>
          </a:p>
        </p:txBody>
      </p:sp>
      <p:pic>
        <p:nvPicPr>
          <p:cNvPr id="4" name="Picture 4" descr="R3web-99_Page_1_Image_0001A"/>
          <p:cNvPicPr>
            <a:picLocks noChangeAspect="1" noChangeArrowheads="1"/>
          </p:cNvPicPr>
          <p:nvPr>
            <p:custDataLst>
              <p:tags r:id="rId1"/>
            </p:custDataLst>
          </p:nvPr>
        </p:nvPicPr>
        <p:blipFill>
          <a:blip r:embed="rId4">
            <a:extLst>
              <a:ext uri="{28A0092B-C50C-407E-A947-70E740481C1C}">
                <a14:useLocalDpi xmlns:a14="http://schemas.microsoft.com/office/drawing/2010/main" val="0"/>
              </a:ext>
            </a:extLst>
          </a:blip>
          <a:srcRect/>
          <a:stretch>
            <a:fillRect/>
          </a:stretch>
        </p:blipFill>
        <p:spPr bwMode="auto">
          <a:xfrm>
            <a:off x="3835818" y="1986158"/>
            <a:ext cx="10616342" cy="5773557"/>
          </a:xfrm>
          <a:prstGeom prst="rect">
            <a:avLst/>
          </a:prstGeom>
          <a:noFill/>
          <a:extLst>
            <a:ext uri="{909E8E84-426E-40DD-AFC4-6F175D3DCCD1}">
              <a14:hiddenFill xmlns:a14="http://schemas.microsoft.com/office/drawing/2010/main">
                <a:solidFill>
                  <a:srgbClr val="FFFFFF"/>
                </a:solidFill>
              </a14:hiddenFill>
            </a:ext>
          </a:extLst>
        </p:spPr>
      </p:pic>
      <p:grpSp>
        <p:nvGrpSpPr>
          <p:cNvPr id="7" name="Gruppo 16">
            <a:extLst>
              <a:ext uri="{FF2B5EF4-FFF2-40B4-BE49-F238E27FC236}">
                <a16:creationId xmlns:a16="http://schemas.microsoft.com/office/drawing/2014/main" id="{4A248C0C-F8CA-4BD3-B522-4609F81D17DA}"/>
              </a:ext>
            </a:extLst>
          </p:cNvPr>
          <p:cNvGrpSpPr/>
          <p:nvPr/>
        </p:nvGrpSpPr>
        <p:grpSpPr>
          <a:xfrm>
            <a:off x="4329146" y="9679208"/>
            <a:ext cx="13958844" cy="666567"/>
            <a:chOff x="4329156" y="9649198"/>
            <a:chExt cx="13958844" cy="666567"/>
          </a:xfrm>
        </p:grpSpPr>
        <p:pic>
          <p:nvPicPr>
            <p:cNvPr id="8" name="Picture 12">
              <a:extLst>
                <a:ext uri="{FF2B5EF4-FFF2-40B4-BE49-F238E27FC236}">
                  <a16:creationId xmlns:a16="http://schemas.microsoft.com/office/drawing/2014/main" id="{2B3E0882-C02A-4328-852A-E936EB03DEA2}"/>
                </a:ext>
              </a:extLst>
            </p:cNvPr>
            <p:cNvPicPr>
              <a:picLocks noChangeAspect="1"/>
            </p:cNvPicPr>
            <p:nvPr/>
          </p:nvPicPr>
          <p:blipFill>
            <a:blip r:embed="rId5"/>
            <a:srcRect l="134" t="91287" b="3943"/>
            <a:stretch>
              <a:fillRect/>
            </a:stretch>
          </p:blipFill>
          <p:spPr>
            <a:xfrm rot="-10800000">
              <a:off x="4329156" y="9649198"/>
              <a:ext cx="13958844" cy="666567"/>
            </a:xfrm>
            <a:prstGeom prst="rect">
              <a:avLst/>
            </a:prstGeom>
          </p:spPr>
        </p:pic>
        <p:sp>
          <p:nvSpPr>
            <p:cNvPr id="9" name="TextBox 16">
              <a:extLst>
                <a:ext uri="{FF2B5EF4-FFF2-40B4-BE49-F238E27FC236}">
                  <a16:creationId xmlns:a16="http://schemas.microsoft.com/office/drawing/2014/main" id="{BA927DA8-369D-4EE5-A8D3-DFAC765B1F12}"/>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grpSp>
        <p:nvGrpSpPr>
          <p:cNvPr id="10" name="Gruppo 2">
            <a:extLst>
              <a:ext uri="{FF2B5EF4-FFF2-40B4-BE49-F238E27FC236}">
                <a16:creationId xmlns:a16="http://schemas.microsoft.com/office/drawing/2014/main" id="{CAD00C8C-0E74-4674-9A92-441EA251C21F}"/>
              </a:ext>
            </a:extLst>
          </p:cNvPr>
          <p:cNvGrpSpPr/>
          <p:nvPr/>
        </p:nvGrpSpPr>
        <p:grpSpPr>
          <a:xfrm>
            <a:off x="-12" y="138554"/>
            <a:ext cx="18288002" cy="681138"/>
            <a:chOff x="-12" y="138554"/>
            <a:chExt cx="18288002" cy="681138"/>
          </a:xfrm>
        </p:grpSpPr>
        <p:grpSp>
          <p:nvGrpSpPr>
            <p:cNvPr id="11" name="Gruppo 1">
              <a:extLst>
                <a:ext uri="{FF2B5EF4-FFF2-40B4-BE49-F238E27FC236}">
                  <a16:creationId xmlns:a16="http://schemas.microsoft.com/office/drawing/2014/main" id="{C2C89C32-1190-446A-9223-D587C38456E8}"/>
                </a:ext>
              </a:extLst>
            </p:cNvPr>
            <p:cNvGrpSpPr/>
            <p:nvPr/>
          </p:nvGrpSpPr>
          <p:grpSpPr>
            <a:xfrm>
              <a:off x="0" y="153125"/>
              <a:ext cx="17907000" cy="666567"/>
              <a:chOff x="0" y="153125"/>
              <a:chExt cx="17907000" cy="666567"/>
            </a:xfrm>
          </p:grpSpPr>
          <p:grpSp>
            <p:nvGrpSpPr>
              <p:cNvPr id="13" name="Gruppo 15">
                <a:extLst>
                  <a:ext uri="{FF2B5EF4-FFF2-40B4-BE49-F238E27FC236}">
                    <a16:creationId xmlns:a16="http://schemas.microsoft.com/office/drawing/2014/main" id="{78C36172-43D0-4508-9680-B011F947AF80}"/>
                  </a:ext>
                </a:extLst>
              </p:cNvPr>
              <p:cNvGrpSpPr/>
              <p:nvPr/>
            </p:nvGrpSpPr>
            <p:grpSpPr>
              <a:xfrm>
                <a:off x="0" y="153125"/>
                <a:ext cx="13958844" cy="666567"/>
                <a:chOff x="0" y="153125"/>
                <a:chExt cx="13958844" cy="666567"/>
              </a:xfrm>
            </p:grpSpPr>
            <p:pic>
              <p:nvPicPr>
                <p:cNvPr id="15" name="Picture 14">
                  <a:extLst>
                    <a:ext uri="{FF2B5EF4-FFF2-40B4-BE49-F238E27FC236}">
                      <a16:creationId xmlns:a16="http://schemas.microsoft.com/office/drawing/2014/main" id="{3A515F0A-9925-49F8-829D-F2660F3B487B}"/>
                    </a:ext>
                  </a:extLst>
                </p:cNvPr>
                <p:cNvPicPr>
                  <a:picLocks noChangeAspect="1"/>
                </p:cNvPicPr>
                <p:nvPr/>
              </p:nvPicPr>
              <p:blipFill>
                <a:blip r:embed="rId6"/>
                <a:srcRect l="134" t="91287" b="3943"/>
                <a:stretch>
                  <a:fillRect/>
                </a:stretch>
              </p:blipFill>
              <p:spPr>
                <a:xfrm>
                  <a:off x="0" y="153125"/>
                  <a:ext cx="13958844" cy="666567"/>
                </a:xfrm>
                <a:prstGeom prst="rect">
                  <a:avLst/>
                </a:prstGeom>
              </p:spPr>
            </p:pic>
            <p:sp>
              <p:nvSpPr>
                <p:cNvPr id="16" name="TextBox 15">
                  <a:extLst>
                    <a:ext uri="{FF2B5EF4-FFF2-40B4-BE49-F238E27FC236}">
                      <a16:creationId xmlns:a16="http://schemas.microsoft.com/office/drawing/2014/main" id="{EDA0F5E3-A2C5-41C5-A9C8-D52C5ACD7C57}"/>
                    </a:ext>
                  </a:extLst>
                </p:cNvPr>
                <p:cNvSpPr txBox="1"/>
                <p:nvPr/>
              </p:nvSpPr>
              <p:spPr>
                <a:xfrm>
                  <a:off x="228600" y="257980"/>
                  <a:ext cx="9296400" cy="456856"/>
                </a:xfrm>
                <a:prstGeom prst="rect">
                  <a:avLst/>
                </a:prstGeom>
              </p:spPr>
              <p:txBody>
                <a:bodyPr wrap="square" lIns="0" tIns="0" rIns="0" bIns="0" rtlCol="0" anchor="t">
                  <a:spAutoFit/>
                </a:bodyPr>
                <a:lstStyle/>
                <a:p>
                  <a:pPr>
                    <a:lnSpc>
                      <a:spcPts val="3919"/>
                    </a:lnSpc>
                    <a:spcBef>
                      <a:spcPct val="0"/>
                    </a:spcBef>
                  </a:pPr>
                  <a:endParaRPr lang="en-US" sz="2800" b="1">
                    <a:solidFill>
                      <a:srgbClr val="FFFFFF"/>
                    </a:solidFill>
                    <a:latin typeface="Arial" panose="020B0604020202020204" pitchFamily="34" charset="0"/>
                    <a:cs typeface="Arial" panose="020B0604020202020204" pitchFamily="34" charset="0"/>
                  </a:endParaRPr>
                </a:p>
              </p:txBody>
            </p:sp>
          </p:grpSp>
          <p:sp>
            <p:nvSpPr>
              <p:cNvPr id="14" name="TextBox 13">
                <a:extLst>
                  <a:ext uri="{FF2B5EF4-FFF2-40B4-BE49-F238E27FC236}">
                    <a16:creationId xmlns:a16="http://schemas.microsoft.com/office/drawing/2014/main" id="{E05A4A9A-F7A8-4DB5-A1ED-F85D5B71577C}"/>
                  </a:ext>
                </a:extLst>
              </p:cNvPr>
              <p:cNvSpPr txBox="1"/>
              <p:nvPr/>
            </p:nvSpPr>
            <p:spPr>
              <a:xfrm>
                <a:off x="12154296" y="257980"/>
                <a:ext cx="5752704" cy="456856"/>
              </a:xfrm>
              <a:prstGeom prst="rect">
                <a:avLst/>
              </a:prstGeom>
            </p:spPr>
            <p:txBody>
              <a:bodyPr wrap="square" lIns="0" tIns="0" rIns="0" bIns="0" rtlCol="0" anchor="t">
                <a:spAutoFit/>
              </a:bodyPr>
              <a:lstStyle/>
              <a:p>
                <a:pPr algn="r">
                  <a:lnSpc>
                    <a:spcPts val="3919"/>
                  </a:lnSpc>
                  <a:spcBef>
                    <a:spcPct val="0"/>
                  </a:spcBef>
                </a:pPr>
                <a:endParaRPr lang="en-US" sz="2800">
                  <a:solidFill>
                    <a:schemeClr val="tx1">
                      <a:lumMod val="75000"/>
                      <a:lumOff val="25000"/>
                    </a:schemeClr>
                  </a:solidFill>
                  <a:latin typeface="Arial" panose="020B0604020202020204" pitchFamily="34" charset="0"/>
                  <a:cs typeface="Arial" panose="020B0604020202020204" pitchFamily="34" charset="0"/>
                </a:endParaRPr>
              </a:p>
            </p:txBody>
          </p:sp>
        </p:grpSp>
        <p:sp>
          <p:nvSpPr>
            <p:cNvPr id="12" name="Rettangolo 13">
              <a:extLst>
                <a:ext uri="{FF2B5EF4-FFF2-40B4-BE49-F238E27FC236}">
                  <a16:creationId xmlns:a16="http://schemas.microsoft.com/office/drawing/2014/main" id="{EF895AD0-C5B2-4B54-ACC5-76CA061B025D}"/>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7" name="TextBox 16">
            <a:extLst>
              <a:ext uri="{FF2B5EF4-FFF2-40B4-BE49-F238E27FC236}">
                <a16:creationId xmlns:a16="http://schemas.microsoft.com/office/drawing/2014/main" id="{462F1DE1-00C0-4658-98BF-1BB7BC82002D}"/>
              </a:ext>
            </a:extLst>
          </p:cNvPr>
          <p:cNvSpPr txBox="1"/>
          <p:nvPr/>
        </p:nvSpPr>
        <p:spPr>
          <a:xfrm>
            <a:off x="-251673" y="946300"/>
            <a:ext cx="18288012" cy="1077218"/>
          </a:xfrm>
          <a:prstGeom prst="rect">
            <a:avLst/>
          </a:prstGeom>
          <a:noFill/>
        </p:spPr>
        <p:txBody>
          <a:bodyPr wrap="square">
            <a:spAutoFit/>
          </a:bodyPr>
          <a:lstStyle/>
          <a:p>
            <a:pPr algn="ctr"/>
            <a:r>
              <a:rPr lang="sv-SE" sz="6400" b="1">
                <a:solidFill>
                  <a:srgbClr val="CC0033"/>
                </a:solidFill>
                <a:latin typeface="+mj-lt"/>
                <a:cs typeface="Arial" panose="020B0604020202020204" pitchFamily="34" charset="0"/>
              </a:rPr>
              <a:t>The </a:t>
            </a:r>
            <a:r>
              <a:rPr lang="en-GB" sz="6400" b="1">
                <a:solidFill>
                  <a:srgbClr val="CC0033"/>
                </a:solidFill>
                <a:latin typeface="+mj-lt"/>
                <a:cs typeface="Arial" panose="020B0604020202020204" pitchFamily="34" charset="0"/>
              </a:rPr>
              <a:t>concept of </a:t>
            </a:r>
            <a:r>
              <a:rPr lang="sv-SE" sz="6400" b="1">
                <a:solidFill>
                  <a:srgbClr val="CC0033"/>
                </a:solidFill>
                <a:latin typeface="+mj-lt"/>
                <a:cs typeface="Arial" panose="020B0604020202020204" pitchFamily="34" charset="0"/>
              </a:rPr>
              <a:t>LCA</a:t>
            </a:r>
          </a:p>
        </p:txBody>
      </p:sp>
      <p:pic>
        <p:nvPicPr>
          <p:cNvPr id="18" name="Picture 12">
            <a:extLst>
              <a:ext uri="{FF2B5EF4-FFF2-40B4-BE49-F238E27FC236}">
                <a16:creationId xmlns:a16="http://schemas.microsoft.com/office/drawing/2014/main" id="{6FFFDA39-1866-4B6B-9018-B5DC479A04A9}"/>
              </a:ext>
            </a:extLst>
          </p:cNvPr>
          <p:cNvPicPr>
            <a:picLocks noChangeAspect="1"/>
          </p:cNvPicPr>
          <p:nvPr/>
        </p:nvPicPr>
        <p:blipFill>
          <a:blip r:embed="rId7"/>
          <a:srcRect/>
          <a:stretch>
            <a:fillRect/>
          </a:stretch>
        </p:blipFill>
        <p:spPr>
          <a:xfrm>
            <a:off x="53328" y="8901113"/>
            <a:ext cx="5715000" cy="1385887"/>
          </a:xfrm>
          <a:prstGeom prst="rect">
            <a:avLst/>
          </a:prstGeom>
        </p:spPr>
      </p:pic>
      <p:sp>
        <p:nvSpPr>
          <p:cNvPr id="19" name="TextBox 18">
            <a:extLst>
              <a:ext uri="{FF2B5EF4-FFF2-40B4-BE49-F238E27FC236}">
                <a16:creationId xmlns:a16="http://schemas.microsoft.com/office/drawing/2014/main" id="{D1027738-9582-4CDD-A1E5-4D735FABD85E}"/>
              </a:ext>
            </a:extLst>
          </p:cNvPr>
          <p:cNvSpPr txBox="1"/>
          <p:nvPr/>
        </p:nvSpPr>
        <p:spPr>
          <a:xfrm>
            <a:off x="949471" y="7641375"/>
            <a:ext cx="16389036" cy="1569660"/>
          </a:xfrm>
          <a:prstGeom prst="rect">
            <a:avLst/>
          </a:prstGeom>
          <a:noFill/>
        </p:spPr>
        <p:txBody>
          <a:bodyPr wrap="square">
            <a:spAutoFit/>
          </a:bodyPr>
          <a:lstStyle/>
          <a:p>
            <a:pPr algn="ctr"/>
            <a:r>
              <a:rPr lang="en-GB" sz="3200" b="1"/>
              <a:t>Cradle-to-Grave</a:t>
            </a:r>
          </a:p>
          <a:p>
            <a:pPr algn="ctr"/>
            <a:r>
              <a:rPr lang="en-GB" sz="3200"/>
              <a:t>Life cycle of a wooden chair, starting from growing the trees (cradle) and ending by incineration of the chair after its use stage (grave).</a:t>
            </a:r>
            <a:endParaRPr lang="sv-SE" sz="3200"/>
          </a:p>
        </p:txBody>
      </p:sp>
    </p:spTree>
    <p:extLst>
      <p:ext uri="{BB962C8B-B14F-4D97-AF65-F5344CB8AC3E}">
        <p14:creationId xmlns:p14="http://schemas.microsoft.com/office/powerpoint/2010/main" val="3174714725"/>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65E180D1-CAAF-4992-9685-E49B93657437}"/>
              </a:ext>
            </a:extLst>
          </p:cNvPr>
          <p:cNvGrpSpPr/>
          <p:nvPr/>
        </p:nvGrpSpPr>
        <p:grpSpPr>
          <a:xfrm>
            <a:off x="10045147" y="1832941"/>
            <a:ext cx="7991191" cy="6939998"/>
            <a:chOff x="1783080" y="874776"/>
            <a:chExt cx="5577840" cy="5108448"/>
          </a:xfrm>
        </p:grpSpPr>
        <p:pic>
          <p:nvPicPr>
            <p:cNvPr id="9" name="Picture 8">
              <a:extLst>
                <a:ext uri="{FF2B5EF4-FFF2-40B4-BE49-F238E27FC236}">
                  <a16:creationId xmlns:a16="http://schemas.microsoft.com/office/drawing/2014/main" id="{92D1ACCE-F3F9-4709-8D4D-CA9B1BD7873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83080" y="874776"/>
              <a:ext cx="5577840" cy="5108448"/>
            </a:xfrm>
            <a:prstGeom prst="rect">
              <a:avLst/>
            </a:prstGeom>
            <a:ln>
              <a:noFill/>
            </a:ln>
          </p:spPr>
        </p:pic>
        <p:sp>
          <p:nvSpPr>
            <p:cNvPr id="10" name="Rectangle 9">
              <a:extLst>
                <a:ext uri="{FF2B5EF4-FFF2-40B4-BE49-F238E27FC236}">
                  <a16:creationId xmlns:a16="http://schemas.microsoft.com/office/drawing/2014/main" id="{B9F6F67E-53BC-4501-9807-3B4370D5E5F9}"/>
                </a:ext>
              </a:extLst>
            </p:cNvPr>
            <p:cNvSpPr/>
            <p:nvPr/>
          </p:nvSpPr>
          <p:spPr bwMode="auto">
            <a:xfrm>
              <a:off x="1783080" y="909315"/>
              <a:ext cx="5577840" cy="5073909"/>
            </a:xfrm>
            <a:prstGeom prst="rect">
              <a:avLst/>
            </a:prstGeom>
            <a:noFill/>
            <a:ln w="38100" cap="flat" cmpd="sng" algn="ctr">
              <a:noFill/>
              <a:prstDash val="solid"/>
              <a:round/>
              <a:headEnd type="none" w="med" len="med"/>
              <a:tailEnd type="none" w="med" len="med"/>
            </a:ln>
            <a:effectLst/>
          </p:spPr>
          <p:txBody>
            <a:bodyPr vert="horz" wrap="none" lIns="120207" tIns="60104" rIns="120207" bIns="60104" numCol="1" rtlCol="0" anchor="ctr" anchorCtr="0" compatLnSpc="1">
              <a:prstTxWarp prst="textNoShape">
                <a:avLst/>
              </a:prstTxWarp>
            </a:bodyPr>
            <a:lstStyle/>
            <a:p>
              <a:pPr algn="ctr" defTabSz="1202070" fontAlgn="base">
                <a:spcBef>
                  <a:spcPct val="0"/>
                </a:spcBef>
                <a:spcAft>
                  <a:spcPct val="0"/>
                </a:spcAft>
              </a:pPr>
              <a:endParaRPr lang="en-GB" sz="2400">
                <a:latin typeface="Verdana" pitchFamily="34" charset="0"/>
              </a:endParaRPr>
            </a:p>
          </p:txBody>
        </p:sp>
      </p:grpSp>
      <p:grpSp>
        <p:nvGrpSpPr>
          <p:cNvPr id="13" name="Gruppo 2">
            <a:extLst>
              <a:ext uri="{FF2B5EF4-FFF2-40B4-BE49-F238E27FC236}">
                <a16:creationId xmlns:a16="http://schemas.microsoft.com/office/drawing/2014/main" id="{0897D44C-C345-48ED-8721-79B4361F70CC}"/>
              </a:ext>
            </a:extLst>
          </p:cNvPr>
          <p:cNvGrpSpPr/>
          <p:nvPr/>
        </p:nvGrpSpPr>
        <p:grpSpPr>
          <a:xfrm>
            <a:off x="-12" y="-116279"/>
            <a:ext cx="18288002" cy="681138"/>
            <a:chOff x="-12" y="138554"/>
            <a:chExt cx="18288002" cy="681138"/>
          </a:xfrm>
        </p:grpSpPr>
        <p:grpSp>
          <p:nvGrpSpPr>
            <p:cNvPr id="14" name="Gruppo 1">
              <a:extLst>
                <a:ext uri="{FF2B5EF4-FFF2-40B4-BE49-F238E27FC236}">
                  <a16:creationId xmlns:a16="http://schemas.microsoft.com/office/drawing/2014/main" id="{1BCA6E59-AA32-4FA5-8178-C098E9D1E1C8}"/>
                </a:ext>
              </a:extLst>
            </p:cNvPr>
            <p:cNvGrpSpPr/>
            <p:nvPr/>
          </p:nvGrpSpPr>
          <p:grpSpPr>
            <a:xfrm>
              <a:off x="0" y="153125"/>
              <a:ext cx="17907000" cy="666567"/>
              <a:chOff x="0" y="153125"/>
              <a:chExt cx="17907000" cy="666567"/>
            </a:xfrm>
          </p:grpSpPr>
          <p:grpSp>
            <p:nvGrpSpPr>
              <p:cNvPr id="16" name="Gruppo 15">
                <a:extLst>
                  <a:ext uri="{FF2B5EF4-FFF2-40B4-BE49-F238E27FC236}">
                    <a16:creationId xmlns:a16="http://schemas.microsoft.com/office/drawing/2014/main" id="{5CD400C3-F811-41D6-AC18-9145D42DD0BC}"/>
                  </a:ext>
                </a:extLst>
              </p:cNvPr>
              <p:cNvGrpSpPr/>
              <p:nvPr/>
            </p:nvGrpSpPr>
            <p:grpSpPr>
              <a:xfrm>
                <a:off x="0" y="153125"/>
                <a:ext cx="13958844" cy="666567"/>
                <a:chOff x="0" y="153125"/>
                <a:chExt cx="13958844" cy="666567"/>
              </a:xfrm>
            </p:grpSpPr>
            <p:pic>
              <p:nvPicPr>
                <p:cNvPr id="18" name="Picture 17">
                  <a:extLst>
                    <a:ext uri="{FF2B5EF4-FFF2-40B4-BE49-F238E27FC236}">
                      <a16:creationId xmlns:a16="http://schemas.microsoft.com/office/drawing/2014/main" id="{3A001D50-D6C0-4477-A8DF-D2B10EF50618}"/>
                    </a:ext>
                  </a:extLst>
                </p:cNvPr>
                <p:cNvPicPr>
                  <a:picLocks noChangeAspect="1"/>
                </p:cNvPicPr>
                <p:nvPr/>
              </p:nvPicPr>
              <p:blipFill>
                <a:blip r:embed="rId4"/>
                <a:srcRect l="134" t="91287" b="3943"/>
                <a:stretch>
                  <a:fillRect/>
                </a:stretch>
              </p:blipFill>
              <p:spPr>
                <a:xfrm>
                  <a:off x="0" y="153125"/>
                  <a:ext cx="13958844" cy="666567"/>
                </a:xfrm>
                <a:prstGeom prst="rect">
                  <a:avLst/>
                </a:prstGeom>
              </p:spPr>
            </p:pic>
            <p:sp>
              <p:nvSpPr>
                <p:cNvPr id="19" name="TextBox 18">
                  <a:extLst>
                    <a:ext uri="{FF2B5EF4-FFF2-40B4-BE49-F238E27FC236}">
                      <a16:creationId xmlns:a16="http://schemas.microsoft.com/office/drawing/2014/main" id="{0577ADC8-8AA2-4BD7-BC77-01A8BE9BCEC5}"/>
                    </a:ext>
                  </a:extLst>
                </p:cNvPr>
                <p:cNvSpPr txBox="1"/>
                <p:nvPr/>
              </p:nvSpPr>
              <p:spPr>
                <a:xfrm>
                  <a:off x="228600" y="257980"/>
                  <a:ext cx="9296400" cy="456856"/>
                </a:xfrm>
                <a:prstGeom prst="rect">
                  <a:avLst/>
                </a:prstGeom>
              </p:spPr>
              <p:txBody>
                <a:bodyPr wrap="square" lIns="0" tIns="0" rIns="0" bIns="0" rtlCol="0" anchor="t">
                  <a:spAutoFit/>
                </a:bodyPr>
                <a:lstStyle/>
                <a:p>
                  <a:pPr>
                    <a:lnSpc>
                      <a:spcPts val="3919"/>
                    </a:lnSpc>
                    <a:spcBef>
                      <a:spcPct val="0"/>
                    </a:spcBef>
                  </a:pPr>
                  <a:endParaRPr lang="en-US" sz="2800" b="1">
                    <a:solidFill>
                      <a:srgbClr val="FFFFFF"/>
                    </a:solidFill>
                    <a:latin typeface="Arial" panose="020B0604020202020204" pitchFamily="34" charset="0"/>
                    <a:cs typeface="Arial" panose="020B0604020202020204" pitchFamily="34" charset="0"/>
                  </a:endParaRPr>
                </a:p>
              </p:txBody>
            </p:sp>
          </p:grpSp>
          <p:sp>
            <p:nvSpPr>
              <p:cNvPr id="17" name="TextBox 16">
                <a:extLst>
                  <a:ext uri="{FF2B5EF4-FFF2-40B4-BE49-F238E27FC236}">
                    <a16:creationId xmlns:a16="http://schemas.microsoft.com/office/drawing/2014/main" id="{08DB4396-A607-43F3-A61B-299EB6FF0C9C}"/>
                  </a:ext>
                </a:extLst>
              </p:cNvPr>
              <p:cNvSpPr txBox="1"/>
              <p:nvPr/>
            </p:nvSpPr>
            <p:spPr>
              <a:xfrm>
                <a:off x="12154296" y="257980"/>
                <a:ext cx="5752704" cy="456856"/>
              </a:xfrm>
              <a:prstGeom prst="rect">
                <a:avLst/>
              </a:prstGeom>
            </p:spPr>
            <p:txBody>
              <a:bodyPr wrap="square" lIns="0" tIns="0" rIns="0" bIns="0" rtlCol="0" anchor="t">
                <a:spAutoFit/>
              </a:bodyPr>
              <a:lstStyle/>
              <a:p>
                <a:pPr algn="r">
                  <a:lnSpc>
                    <a:spcPts val="3919"/>
                  </a:lnSpc>
                  <a:spcBef>
                    <a:spcPct val="0"/>
                  </a:spcBef>
                </a:pPr>
                <a:endParaRPr lang="en-US" sz="2800">
                  <a:solidFill>
                    <a:schemeClr val="tx1">
                      <a:lumMod val="75000"/>
                      <a:lumOff val="25000"/>
                    </a:schemeClr>
                  </a:solidFill>
                  <a:latin typeface="Arial" panose="020B0604020202020204" pitchFamily="34" charset="0"/>
                  <a:cs typeface="Arial" panose="020B0604020202020204" pitchFamily="34" charset="0"/>
                </a:endParaRPr>
              </a:p>
            </p:txBody>
          </p:sp>
        </p:grpSp>
        <p:sp>
          <p:nvSpPr>
            <p:cNvPr id="15" name="Rettangolo 13">
              <a:extLst>
                <a:ext uri="{FF2B5EF4-FFF2-40B4-BE49-F238E27FC236}">
                  <a16:creationId xmlns:a16="http://schemas.microsoft.com/office/drawing/2014/main" id="{6BC287CC-E8CF-48A8-93E1-08869AD51ED2}"/>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0" name="TextBox 19">
            <a:extLst>
              <a:ext uri="{FF2B5EF4-FFF2-40B4-BE49-F238E27FC236}">
                <a16:creationId xmlns:a16="http://schemas.microsoft.com/office/drawing/2014/main" id="{52A6F971-F057-4266-92E3-F0A0AF39C293}"/>
              </a:ext>
            </a:extLst>
          </p:cNvPr>
          <p:cNvSpPr txBox="1"/>
          <p:nvPr/>
        </p:nvSpPr>
        <p:spPr>
          <a:xfrm>
            <a:off x="-251674" y="960063"/>
            <a:ext cx="18288012" cy="1107996"/>
          </a:xfrm>
          <a:prstGeom prst="rect">
            <a:avLst/>
          </a:prstGeom>
          <a:noFill/>
        </p:spPr>
        <p:txBody>
          <a:bodyPr wrap="square">
            <a:spAutoFit/>
          </a:bodyPr>
          <a:lstStyle/>
          <a:p>
            <a:pPr algn="ctr"/>
            <a:r>
              <a:rPr lang="en-US" sz="6400" b="1">
                <a:solidFill>
                  <a:srgbClr val="CC0033"/>
                </a:solidFill>
                <a:latin typeface="+mj-lt"/>
                <a:cs typeface="Arial" panose="020B0604020202020204" pitchFamily="34" charset="0"/>
              </a:rPr>
              <a:t>Why </a:t>
            </a:r>
            <a:r>
              <a:rPr lang="sv-SE" sz="6400" b="1">
                <a:solidFill>
                  <a:srgbClr val="CC0033"/>
                </a:solidFill>
                <a:latin typeface="+mj-lt"/>
                <a:cs typeface="Arial" panose="020B0604020202020204" pitchFamily="34" charset="0"/>
              </a:rPr>
              <a:t>LCA?</a:t>
            </a:r>
          </a:p>
        </p:txBody>
      </p:sp>
      <p:pic>
        <p:nvPicPr>
          <p:cNvPr id="21" name="Picture 12">
            <a:extLst>
              <a:ext uri="{FF2B5EF4-FFF2-40B4-BE49-F238E27FC236}">
                <a16:creationId xmlns:a16="http://schemas.microsoft.com/office/drawing/2014/main" id="{9C01C828-B8FB-4D74-B0BF-8194C9BD9281}"/>
              </a:ext>
            </a:extLst>
          </p:cNvPr>
          <p:cNvPicPr>
            <a:picLocks noChangeAspect="1"/>
          </p:cNvPicPr>
          <p:nvPr/>
        </p:nvPicPr>
        <p:blipFill>
          <a:blip r:embed="rId5"/>
          <a:srcRect/>
          <a:stretch>
            <a:fillRect/>
          </a:stretch>
        </p:blipFill>
        <p:spPr>
          <a:xfrm>
            <a:off x="0" y="8901113"/>
            <a:ext cx="5715000" cy="1385887"/>
          </a:xfrm>
          <a:prstGeom prst="rect">
            <a:avLst/>
          </a:prstGeom>
        </p:spPr>
      </p:pic>
      <p:grpSp>
        <p:nvGrpSpPr>
          <p:cNvPr id="22" name="Gruppo 16">
            <a:extLst>
              <a:ext uri="{FF2B5EF4-FFF2-40B4-BE49-F238E27FC236}">
                <a16:creationId xmlns:a16="http://schemas.microsoft.com/office/drawing/2014/main" id="{59945C53-B73C-46B4-9A93-917BA9F492BF}"/>
              </a:ext>
            </a:extLst>
          </p:cNvPr>
          <p:cNvGrpSpPr/>
          <p:nvPr/>
        </p:nvGrpSpPr>
        <p:grpSpPr>
          <a:xfrm>
            <a:off x="4329146" y="9679208"/>
            <a:ext cx="13958844" cy="666567"/>
            <a:chOff x="4329156" y="9649198"/>
            <a:chExt cx="13958844" cy="666567"/>
          </a:xfrm>
        </p:grpSpPr>
        <p:pic>
          <p:nvPicPr>
            <p:cNvPr id="23" name="Picture 12">
              <a:extLst>
                <a:ext uri="{FF2B5EF4-FFF2-40B4-BE49-F238E27FC236}">
                  <a16:creationId xmlns:a16="http://schemas.microsoft.com/office/drawing/2014/main" id="{A89FA735-C2C1-49E6-82CB-91550E356BDA}"/>
                </a:ext>
              </a:extLst>
            </p:cNvPr>
            <p:cNvPicPr>
              <a:picLocks noChangeAspect="1"/>
            </p:cNvPicPr>
            <p:nvPr/>
          </p:nvPicPr>
          <p:blipFill>
            <a:blip r:embed="rId6"/>
            <a:srcRect l="134" t="91287" b="3943"/>
            <a:stretch>
              <a:fillRect/>
            </a:stretch>
          </p:blipFill>
          <p:spPr>
            <a:xfrm rot="-10800000">
              <a:off x="4329156" y="9649198"/>
              <a:ext cx="13958844" cy="666567"/>
            </a:xfrm>
            <a:prstGeom prst="rect">
              <a:avLst/>
            </a:prstGeom>
          </p:spPr>
        </p:pic>
        <p:sp>
          <p:nvSpPr>
            <p:cNvPr id="25" name="TextBox 16">
              <a:extLst>
                <a:ext uri="{FF2B5EF4-FFF2-40B4-BE49-F238E27FC236}">
                  <a16:creationId xmlns:a16="http://schemas.microsoft.com/office/drawing/2014/main" id="{31279B52-3C58-4DA6-BE7F-7D9E27044213}"/>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graphicFrame>
        <p:nvGraphicFramePr>
          <p:cNvPr id="2" name="Diagram 1">
            <a:extLst>
              <a:ext uri="{FF2B5EF4-FFF2-40B4-BE49-F238E27FC236}">
                <a16:creationId xmlns:a16="http://schemas.microsoft.com/office/drawing/2014/main" id="{44031436-140C-F2E8-7348-68A173D685B5}"/>
              </a:ext>
            </a:extLst>
          </p:cNvPr>
          <p:cNvGraphicFramePr/>
          <p:nvPr>
            <p:extLst>
              <p:ext uri="{D42A27DB-BD31-4B8C-83A1-F6EECF244321}">
                <p14:modId xmlns:p14="http://schemas.microsoft.com/office/powerpoint/2010/main" val="686788596"/>
              </p:ext>
            </p:extLst>
          </p:nvPr>
        </p:nvGraphicFramePr>
        <p:xfrm>
          <a:off x="1072425" y="2822410"/>
          <a:ext cx="8452575" cy="5353598"/>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411520139"/>
      </p:ext>
    </p:extLst>
  </p:cSld>
  <p:clrMapOvr>
    <a:masterClrMapping/>
  </p:clrMapOvr>
  <p:transition/>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2">
            <a:extLst>
              <a:ext uri="{FF2B5EF4-FFF2-40B4-BE49-F238E27FC236}">
                <a16:creationId xmlns:a16="http://schemas.microsoft.com/office/drawing/2014/main" id="{E0C6A2C6-83E7-44DA-ADC4-998335DC2A73}"/>
              </a:ext>
            </a:extLst>
          </p:cNvPr>
          <p:cNvPicPr>
            <a:picLocks noChangeAspect="1"/>
          </p:cNvPicPr>
          <p:nvPr/>
        </p:nvPicPr>
        <p:blipFill>
          <a:blip r:embed="rId3"/>
          <a:srcRect/>
          <a:stretch>
            <a:fillRect/>
          </a:stretch>
        </p:blipFill>
        <p:spPr>
          <a:xfrm>
            <a:off x="-24063" y="8901113"/>
            <a:ext cx="5715000" cy="1385887"/>
          </a:xfrm>
          <a:prstGeom prst="rect">
            <a:avLst/>
          </a:prstGeom>
        </p:spPr>
      </p:pic>
      <p:grpSp>
        <p:nvGrpSpPr>
          <p:cNvPr id="6" name="Gruppo 16">
            <a:extLst>
              <a:ext uri="{FF2B5EF4-FFF2-40B4-BE49-F238E27FC236}">
                <a16:creationId xmlns:a16="http://schemas.microsoft.com/office/drawing/2014/main" id="{CF308EA6-94D1-4A0D-95D9-91A9897D8E66}"/>
              </a:ext>
            </a:extLst>
          </p:cNvPr>
          <p:cNvGrpSpPr/>
          <p:nvPr/>
        </p:nvGrpSpPr>
        <p:grpSpPr>
          <a:xfrm>
            <a:off x="4329146" y="9803150"/>
            <a:ext cx="13958844" cy="666567"/>
            <a:chOff x="4329156" y="9649198"/>
            <a:chExt cx="13958844" cy="666567"/>
          </a:xfrm>
        </p:grpSpPr>
        <p:pic>
          <p:nvPicPr>
            <p:cNvPr id="7" name="Picture 12">
              <a:extLst>
                <a:ext uri="{FF2B5EF4-FFF2-40B4-BE49-F238E27FC236}">
                  <a16:creationId xmlns:a16="http://schemas.microsoft.com/office/drawing/2014/main" id="{1C887068-E994-4BE2-B877-DA3D1F6DDCD0}"/>
                </a:ext>
              </a:extLst>
            </p:cNvPr>
            <p:cNvPicPr>
              <a:picLocks noChangeAspect="1"/>
            </p:cNvPicPr>
            <p:nvPr/>
          </p:nvPicPr>
          <p:blipFill>
            <a:blip r:embed="rId4"/>
            <a:srcRect l="134" t="91287" b="3943"/>
            <a:stretch>
              <a:fillRect/>
            </a:stretch>
          </p:blipFill>
          <p:spPr>
            <a:xfrm rot="-10800000">
              <a:off x="4329156" y="9649198"/>
              <a:ext cx="13958844" cy="666567"/>
            </a:xfrm>
            <a:prstGeom prst="rect">
              <a:avLst/>
            </a:prstGeom>
          </p:spPr>
        </p:pic>
        <p:sp>
          <p:nvSpPr>
            <p:cNvPr id="8" name="TextBox 16">
              <a:extLst>
                <a:ext uri="{FF2B5EF4-FFF2-40B4-BE49-F238E27FC236}">
                  <a16:creationId xmlns:a16="http://schemas.microsoft.com/office/drawing/2014/main" id="{CDBEFB6D-122C-4ED0-B824-30A6550C1A47}"/>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grpSp>
        <p:nvGrpSpPr>
          <p:cNvPr id="9" name="Gruppo 2">
            <a:extLst>
              <a:ext uri="{FF2B5EF4-FFF2-40B4-BE49-F238E27FC236}">
                <a16:creationId xmlns:a16="http://schemas.microsoft.com/office/drawing/2014/main" id="{38012AC8-D9A9-49A9-8463-87C179B3C7BC}"/>
              </a:ext>
            </a:extLst>
          </p:cNvPr>
          <p:cNvGrpSpPr/>
          <p:nvPr/>
        </p:nvGrpSpPr>
        <p:grpSpPr>
          <a:xfrm>
            <a:off x="-12" y="138554"/>
            <a:ext cx="18288002" cy="681138"/>
            <a:chOff x="-12" y="138554"/>
            <a:chExt cx="18288002" cy="681138"/>
          </a:xfrm>
        </p:grpSpPr>
        <p:grpSp>
          <p:nvGrpSpPr>
            <p:cNvPr id="10" name="Gruppo 1">
              <a:extLst>
                <a:ext uri="{FF2B5EF4-FFF2-40B4-BE49-F238E27FC236}">
                  <a16:creationId xmlns:a16="http://schemas.microsoft.com/office/drawing/2014/main" id="{BB05B550-77E7-40C9-87C8-528BC64A4ACD}"/>
                </a:ext>
              </a:extLst>
            </p:cNvPr>
            <p:cNvGrpSpPr/>
            <p:nvPr/>
          </p:nvGrpSpPr>
          <p:grpSpPr>
            <a:xfrm>
              <a:off x="0" y="153125"/>
              <a:ext cx="17907000" cy="666567"/>
              <a:chOff x="0" y="153125"/>
              <a:chExt cx="17907000" cy="666567"/>
            </a:xfrm>
          </p:grpSpPr>
          <p:grpSp>
            <p:nvGrpSpPr>
              <p:cNvPr id="12" name="Gruppo 15">
                <a:extLst>
                  <a:ext uri="{FF2B5EF4-FFF2-40B4-BE49-F238E27FC236}">
                    <a16:creationId xmlns:a16="http://schemas.microsoft.com/office/drawing/2014/main" id="{0E31F724-9E6B-44FD-8683-692D6D17FCC2}"/>
                  </a:ext>
                </a:extLst>
              </p:cNvPr>
              <p:cNvGrpSpPr/>
              <p:nvPr/>
            </p:nvGrpSpPr>
            <p:grpSpPr>
              <a:xfrm>
                <a:off x="0" y="153125"/>
                <a:ext cx="13958844" cy="666567"/>
                <a:chOff x="0" y="153125"/>
                <a:chExt cx="13958844" cy="666567"/>
              </a:xfrm>
            </p:grpSpPr>
            <p:pic>
              <p:nvPicPr>
                <p:cNvPr id="14" name="Picture 13">
                  <a:extLst>
                    <a:ext uri="{FF2B5EF4-FFF2-40B4-BE49-F238E27FC236}">
                      <a16:creationId xmlns:a16="http://schemas.microsoft.com/office/drawing/2014/main" id="{41C5F8DD-2A93-418F-AF5D-3C413CFCDE1E}"/>
                    </a:ext>
                  </a:extLst>
                </p:cNvPr>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5" name="TextBox 14">
                  <a:extLst>
                    <a:ext uri="{FF2B5EF4-FFF2-40B4-BE49-F238E27FC236}">
                      <a16:creationId xmlns:a16="http://schemas.microsoft.com/office/drawing/2014/main" id="{5D30B828-C0AF-42D5-8492-86BFAB190B1E}"/>
                    </a:ext>
                  </a:extLst>
                </p:cNvPr>
                <p:cNvSpPr txBox="1"/>
                <p:nvPr/>
              </p:nvSpPr>
              <p:spPr>
                <a:xfrm>
                  <a:off x="228600" y="257980"/>
                  <a:ext cx="9296400" cy="456856"/>
                </a:xfrm>
                <a:prstGeom prst="rect">
                  <a:avLst/>
                </a:prstGeom>
              </p:spPr>
              <p:txBody>
                <a:bodyPr wrap="square" lIns="0" tIns="0" rIns="0" bIns="0" rtlCol="0" anchor="t">
                  <a:spAutoFit/>
                </a:bodyPr>
                <a:lstStyle/>
                <a:p>
                  <a:pPr>
                    <a:lnSpc>
                      <a:spcPts val="3919"/>
                    </a:lnSpc>
                    <a:spcBef>
                      <a:spcPct val="0"/>
                    </a:spcBef>
                  </a:pPr>
                  <a:endParaRPr lang="en-US" sz="2800" b="1">
                    <a:solidFill>
                      <a:srgbClr val="FFFFFF"/>
                    </a:solidFill>
                    <a:latin typeface="Arial" panose="020B0604020202020204" pitchFamily="34" charset="0"/>
                    <a:cs typeface="Arial" panose="020B0604020202020204" pitchFamily="34" charset="0"/>
                  </a:endParaRPr>
                </a:p>
              </p:txBody>
            </p:sp>
          </p:grpSp>
          <p:sp>
            <p:nvSpPr>
              <p:cNvPr id="13" name="TextBox 12">
                <a:extLst>
                  <a:ext uri="{FF2B5EF4-FFF2-40B4-BE49-F238E27FC236}">
                    <a16:creationId xmlns:a16="http://schemas.microsoft.com/office/drawing/2014/main" id="{99737B78-CF76-42AF-A1C1-F01DADBAFE76}"/>
                  </a:ext>
                </a:extLst>
              </p:cNvPr>
              <p:cNvSpPr txBox="1"/>
              <p:nvPr/>
            </p:nvSpPr>
            <p:spPr>
              <a:xfrm>
                <a:off x="12154296" y="257980"/>
                <a:ext cx="5752704" cy="456856"/>
              </a:xfrm>
              <a:prstGeom prst="rect">
                <a:avLst/>
              </a:prstGeom>
            </p:spPr>
            <p:txBody>
              <a:bodyPr wrap="square" lIns="0" tIns="0" rIns="0" bIns="0" rtlCol="0" anchor="t">
                <a:spAutoFit/>
              </a:bodyPr>
              <a:lstStyle/>
              <a:p>
                <a:pPr algn="r">
                  <a:lnSpc>
                    <a:spcPts val="3919"/>
                  </a:lnSpc>
                  <a:spcBef>
                    <a:spcPct val="0"/>
                  </a:spcBef>
                </a:pPr>
                <a:endParaRPr lang="en-US" sz="2800">
                  <a:solidFill>
                    <a:schemeClr val="tx1">
                      <a:lumMod val="75000"/>
                      <a:lumOff val="25000"/>
                    </a:schemeClr>
                  </a:solidFill>
                  <a:latin typeface="Arial" panose="020B0604020202020204" pitchFamily="34" charset="0"/>
                  <a:cs typeface="Arial" panose="020B0604020202020204" pitchFamily="34" charset="0"/>
                </a:endParaRPr>
              </a:p>
            </p:txBody>
          </p:sp>
        </p:grpSp>
        <p:sp>
          <p:nvSpPr>
            <p:cNvPr id="11" name="Rettangolo 13">
              <a:extLst>
                <a:ext uri="{FF2B5EF4-FFF2-40B4-BE49-F238E27FC236}">
                  <a16:creationId xmlns:a16="http://schemas.microsoft.com/office/drawing/2014/main" id="{4B941378-F497-47A3-98FD-857253A872CF}"/>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6" name="TextBox 15">
            <a:extLst>
              <a:ext uri="{FF2B5EF4-FFF2-40B4-BE49-F238E27FC236}">
                <a16:creationId xmlns:a16="http://schemas.microsoft.com/office/drawing/2014/main" id="{9625B94D-82FD-4CCE-889B-FA8189339684}"/>
              </a:ext>
            </a:extLst>
          </p:cNvPr>
          <p:cNvSpPr txBox="1"/>
          <p:nvPr/>
        </p:nvSpPr>
        <p:spPr>
          <a:xfrm>
            <a:off x="-22" y="819692"/>
            <a:ext cx="18288012" cy="2062103"/>
          </a:xfrm>
          <a:prstGeom prst="rect">
            <a:avLst/>
          </a:prstGeom>
          <a:noFill/>
        </p:spPr>
        <p:txBody>
          <a:bodyPr wrap="square">
            <a:spAutoFit/>
          </a:bodyPr>
          <a:lstStyle/>
          <a:p>
            <a:pPr algn="ctr"/>
            <a:r>
              <a:rPr lang="sv-SE" sz="6400" b="1">
                <a:solidFill>
                  <a:srgbClr val="CC0033"/>
                </a:solidFill>
                <a:latin typeface="+mj-lt"/>
                <a:cs typeface="Arial" panose="020B0604020202020204" pitchFamily="34" charset="0"/>
              </a:rPr>
              <a:t>LCA: </a:t>
            </a:r>
            <a:r>
              <a:rPr lang="sv-SE" sz="6400" b="1" err="1">
                <a:solidFill>
                  <a:srgbClr val="CC0033"/>
                </a:solidFill>
                <a:latin typeface="+mj-lt"/>
                <a:cs typeface="Arial" panose="020B0604020202020204" pitchFamily="34" charset="0"/>
              </a:rPr>
              <a:t>What</a:t>
            </a:r>
            <a:r>
              <a:rPr lang="sv-SE" sz="6400" b="1">
                <a:solidFill>
                  <a:srgbClr val="CC0033"/>
                </a:solidFill>
                <a:latin typeface="+mj-lt"/>
                <a:cs typeface="Arial" panose="020B0604020202020204" pitchFamily="34" charset="0"/>
              </a:rPr>
              <a:t> is best for the </a:t>
            </a:r>
            <a:r>
              <a:rPr lang="sv-SE" sz="6400" b="1" err="1">
                <a:solidFill>
                  <a:srgbClr val="CC0033"/>
                </a:solidFill>
                <a:latin typeface="+mj-lt"/>
                <a:cs typeface="Arial" panose="020B0604020202020204" pitchFamily="34" charset="0"/>
              </a:rPr>
              <a:t>environment</a:t>
            </a:r>
            <a:r>
              <a:rPr lang="sv-SE" sz="6400" b="1">
                <a:solidFill>
                  <a:srgbClr val="CC0033"/>
                </a:solidFill>
                <a:latin typeface="+mj-lt"/>
                <a:cs typeface="Arial" panose="020B0604020202020204" pitchFamily="34" charset="0"/>
              </a:rPr>
              <a:t> </a:t>
            </a:r>
          </a:p>
          <a:p>
            <a:pPr algn="ctr"/>
            <a:r>
              <a:rPr lang="sv-SE" sz="6400" b="1">
                <a:solidFill>
                  <a:srgbClr val="CC0033"/>
                </a:solidFill>
                <a:latin typeface="+mj-lt"/>
                <a:cs typeface="Arial" panose="020B0604020202020204" pitchFamily="34" charset="0"/>
              </a:rPr>
              <a:t>in a </a:t>
            </a:r>
            <a:r>
              <a:rPr lang="sv-SE" sz="6400" b="1" err="1">
                <a:solidFill>
                  <a:srgbClr val="CC0033"/>
                </a:solidFill>
                <a:latin typeface="+mj-lt"/>
                <a:cs typeface="Arial" panose="020B0604020202020204" pitchFamily="34" charset="0"/>
              </a:rPr>
              <a:t>life</a:t>
            </a:r>
            <a:r>
              <a:rPr lang="sv-SE" sz="6400" b="1">
                <a:solidFill>
                  <a:srgbClr val="CC0033"/>
                </a:solidFill>
                <a:latin typeface="+mj-lt"/>
                <a:cs typeface="Arial" panose="020B0604020202020204" pitchFamily="34" charset="0"/>
              </a:rPr>
              <a:t> </a:t>
            </a:r>
            <a:r>
              <a:rPr lang="sv-SE" sz="6400" b="1" err="1">
                <a:solidFill>
                  <a:srgbClr val="CC0033"/>
                </a:solidFill>
                <a:latin typeface="+mj-lt"/>
                <a:cs typeface="Arial" panose="020B0604020202020204" pitchFamily="34" charset="0"/>
              </a:rPr>
              <a:t>cycle</a:t>
            </a:r>
            <a:r>
              <a:rPr lang="sv-SE" sz="6400" b="1">
                <a:solidFill>
                  <a:srgbClr val="CC0033"/>
                </a:solidFill>
                <a:latin typeface="+mj-lt"/>
                <a:cs typeface="Arial" panose="020B0604020202020204" pitchFamily="34" charset="0"/>
              </a:rPr>
              <a:t> </a:t>
            </a:r>
            <a:r>
              <a:rPr lang="sv-SE" sz="6400" b="1" err="1">
                <a:solidFill>
                  <a:srgbClr val="CC0033"/>
                </a:solidFill>
                <a:latin typeface="+mj-lt"/>
                <a:cs typeface="Arial" panose="020B0604020202020204" pitchFamily="34" charset="0"/>
              </a:rPr>
              <a:t>perspective</a:t>
            </a:r>
            <a:r>
              <a:rPr lang="sv-SE" sz="6400" b="1">
                <a:solidFill>
                  <a:srgbClr val="CC0033"/>
                </a:solidFill>
                <a:latin typeface="+mj-lt"/>
                <a:cs typeface="Arial" panose="020B0604020202020204" pitchFamily="34" charset="0"/>
              </a:rPr>
              <a:t>?</a:t>
            </a:r>
          </a:p>
        </p:txBody>
      </p:sp>
      <p:sp>
        <p:nvSpPr>
          <p:cNvPr id="4" name="Content Placeholder 5">
            <a:extLst>
              <a:ext uri="{FF2B5EF4-FFF2-40B4-BE49-F238E27FC236}">
                <a16:creationId xmlns:a16="http://schemas.microsoft.com/office/drawing/2014/main" id="{7CB1D617-B034-3EAE-C7D7-822CF5109789}"/>
              </a:ext>
            </a:extLst>
          </p:cNvPr>
          <p:cNvSpPr txBox="1">
            <a:spLocks/>
          </p:cNvSpPr>
          <p:nvPr/>
        </p:nvSpPr>
        <p:spPr>
          <a:xfrm>
            <a:off x="544484" y="2943365"/>
            <a:ext cx="8511339" cy="1796784"/>
          </a:xfrm>
          <a:prstGeom prst="rect">
            <a:avLst/>
          </a:prstGeom>
        </p:spPr>
        <p:txBody>
          <a:bodyPr lIns="91440" tIns="45720" rIns="91440" bIns="45720" anchor="t"/>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sv-SE" sz="3600" kern="100">
                <a:solidFill>
                  <a:srgbClr val="404040"/>
                </a:solidFill>
                <a:latin typeface="+mj-lt"/>
              </a:rPr>
              <a:t>LCA </a:t>
            </a:r>
            <a:r>
              <a:rPr lang="sv-SE" sz="3600" kern="100" err="1">
                <a:solidFill>
                  <a:srgbClr val="404040"/>
                </a:solidFill>
                <a:latin typeface="+mj-lt"/>
              </a:rPr>
              <a:t>can</a:t>
            </a:r>
            <a:r>
              <a:rPr lang="sv-SE" sz="3600" kern="100">
                <a:solidFill>
                  <a:srgbClr val="404040"/>
                </a:solidFill>
                <a:latin typeface="+mj-lt"/>
              </a:rPr>
              <a:t> be </a:t>
            </a:r>
            <a:r>
              <a:rPr lang="sv-SE" sz="3600" kern="100" err="1">
                <a:solidFill>
                  <a:srgbClr val="404040"/>
                </a:solidFill>
                <a:latin typeface="+mj-lt"/>
              </a:rPr>
              <a:t>used</a:t>
            </a:r>
            <a:r>
              <a:rPr lang="sv-SE" sz="3600" kern="100">
                <a:solidFill>
                  <a:srgbClr val="404040"/>
                </a:solidFill>
                <a:latin typeface="+mj-lt"/>
              </a:rPr>
              <a:t> to </a:t>
            </a:r>
            <a:r>
              <a:rPr lang="sv-SE" sz="3600" kern="100" err="1">
                <a:solidFill>
                  <a:srgbClr val="404040"/>
                </a:solidFill>
                <a:latin typeface="+mj-lt"/>
              </a:rPr>
              <a:t>compare</a:t>
            </a:r>
            <a:r>
              <a:rPr lang="sv-SE" sz="3600" kern="100">
                <a:solidFill>
                  <a:srgbClr val="404040"/>
                </a:solidFill>
                <a:latin typeface="+mj-lt"/>
              </a:rPr>
              <a:t> the </a:t>
            </a:r>
            <a:r>
              <a:rPr lang="sv-SE" sz="3600" kern="100" err="1">
                <a:solidFill>
                  <a:srgbClr val="404040"/>
                </a:solidFill>
                <a:latin typeface="+mj-lt"/>
              </a:rPr>
              <a:t>environmental</a:t>
            </a:r>
            <a:r>
              <a:rPr lang="sv-SE" sz="3600" kern="100">
                <a:solidFill>
                  <a:srgbClr val="404040"/>
                </a:solidFill>
                <a:latin typeface="+mj-lt"/>
              </a:rPr>
              <a:t> </a:t>
            </a:r>
            <a:r>
              <a:rPr lang="sv-SE" sz="3600" kern="100" err="1">
                <a:solidFill>
                  <a:srgbClr val="404040"/>
                </a:solidFill>
                <a:latin typeface="+mj-lt"/>
              </a:rPr>
              <a:t>impact</a:t>
            </a:r>
            <a:r>
              <a:rPr lang="sv-SE" sz="3600" kern="100">
                <a:solidFill>
                  <a:srgbClr val="404040"/>
                </a:solidFill>
                <a:latin typeface="+mj-lt"/>
              </a:rPr>
              <a:t> </a:t>
            </a:r>
            <a:r>
              <a:rPr lang="sv-SE" sz="3600" kern="100" err="1">
                <a:solidFill>
                  <a:srgbClr val="404040"/>
                </a:solidFill>
                <a:latin typeface="+mj-lt"/>
              </a:rPr>
              <a:t>of</a:t>
            </a:r>
            <a:r>
              <a:rPr lang="sv-SE" sz="3600" kern="100">
                <a:solidFill>
                  <a:srgbClr val="404040"/>
                </a:solidFill>
                <a:latin typeface="+mj-lt"/>
              </a:rPr>
              <a:t> different </a:t>
            </a:r>
            <a:r>
              <a:rPr lang="sv-SE" sz="3600" kern="100" err="1">
                <a:solidFill>
                  <a:srgbClr val="404040"/>
                </a:solidFill>
                <a:latin typeface="+mj-lt"/>
              </a:rPr>
              <a:t>products</a:t>
            </a:r>
            <a:r>
              <a:rPr lang="sv-SE" sz="3600" kern="100">
                <a:solidFill>
                  <a:srgbClr val="404040"/>
                </a:solidFill>
                <a:latin typeface="+mj-lt"/>
              </a:rPr>
              <a:t> or scenarios. For </a:t>
            </a:r>
            <a:r>
              <a:rPr lang="en-US" sz="3600" kern="100">
                <a:solidFill>
                  <a:srgbClr val="404040"/>
                </a:solidFill>
                <a:latin typeface="+mj-lt"/>
              </a:rPr>
              <a:t>example</a:t>
            </a:r>
            <a:r>
              <a:rPr lang="sv-SE" sz="3600" kern="100">
                <a:solidFill>
                  <a:srgbClr val="404040"/>
                </a:solidFill>
                <a:latin typeface="+mj-lt"/>
              </a:rPr>
              <a:t>:</a:t>
            </a:r>
          </a:p>
        </p:txBody>
      </p:sp>
      <p:sp>
        <p:nvSpPr>
          <p:cNvPr id="21" name="Rectangle: Top Corners Rounded 20">
            <a:extLst>
              <a:ext uri="{FF2B5EF4-FFF2-40B4-BE49-F238E27FC236}">
                <a16:creationId xmlns:a16="http://schemas.microsoft.com/office/drawing/2014/main" id="{D31F2A93-A61E-47A9-EDD1-725924056E62}"/>
              </a:ext>
            </a:extLst>
          </p:cNvPr>
          <p:cNvSpPr/>
          <p:nvPr/>
        </p:nvSpPr>
        <p:spPr>
          <a:xfrm>
            <a:off x="544483" y="4875800"/>
            <a:ext cx="8386156" cy="3751519"/>
          </a:xfrm>
          <a:prstGeom prst="round2SameRect">
            <a:avLst>
              <a:gd name="adj1" fmla="val 8000"/>
              <a:gd name="adj2" fmla="val 0"/>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3" name="Content Placeholder 2"/>
          <p:cNvSpPr>
            <a:spLocks noGrp="1"/>
          </p:cNvSpPr>
          <p:nvPr>
            <p:ph idx="1"/>
          </p:nvPr>
        </p:nvSpPr>
        <p:spPr>
          <a:xfrm>
            <a:off x="544482" y="5366258"/>
            <a:ext cx="7966496" cy="2908747"/>
          </a:xfrm>
          <a:ln>
            <a:noFill/>
          </a:ln>
        </p:spPr>
        <p:txBody>
          <a:bodyPr>
            <a:normAutofit lnSpcReduction="10000"/>
          </a:bodyPr>
          <a:lstStyle/>
          <a:p>
            <a:pPr lvl="1">
              <a:lnSpc>
                <a:spcPct val="110000"/>
              </a:lnSpc>
              <a:buFont typeface="Arial" panose="020B0604020202020204" pitchFamily="34" charset="0"/>
              <a:buChar char="•"/>
            </a:pPr>
            <a:r>
              <a:rPr lang="en-GB" sz="3000" noProof="0" dirty="0"/>
              <a:t>Paper bags, plastic bags or textile bags?</a:t>
            </a:r>
          </a:p>
          <a:p>
            <a:pPr lvl="1">
              <a:lnSpc>
                <a:spcPct val="110000"/>
              </a:lnSpc>
              <a:buFont typeface="Arial" panose="020B0604020202020204" pitchFamily="34" charset="0"/>
              <a:buChar char="•"/>
            </a:pPr>
            <a:r>
              <a:rPr lang="en-GB" sz="3000" noProof="0" dirty="0"/>
              <a:t>Paper towels or electric hand driers?</a:t>
            </a:r>
          </a:p>
          <a:p>
            <a:pPr lvl="1">
              <a:lnSpc>
                <a:spcPct val="110000"/>
              </a:lnSpc>
              <a:buFont typeface="Arial" panose="020B0604020202020204" pitchFamily="34" charset="0"/>
              <a:buChar char="•"/>
            </a:pPr>
            <a:r>
              <a:rPr lang="en-GB" sz="3000" noProof="0" dirty="0"/>
              <a:t>Paper, plastic or </a:t>
            </a:r>
            <a:r>
              <a:rPr lang="en-GB" sz="3000" noProof="0" dirty="0" err="1"/>
              <a:t>porcelaine</a:t>
            </a:r>
            <a:r>
              <a:rPr lang="en-GB" sz="3000" noProof="0" dirty="0"/>
              <a:t> cup?</a:t>
            </a:r>
          </a:p>
          <a:p>
            <a:pPr lvl="1">
              <a:lnSpc>
                <a:spcPct val="110000"/>
              </a:lnSpc>
              <a:buFont typeface="Arial" panose="020B0604020202020204" pitchFamily="34" charset="0"/>
              <a:buChar char="•"/>
            </a:pPr>
            <a:r>
              <a:rPr lang="en-GB" sz="3000" noProof="0" dirty="0"/>
              <a:t>Eating meat or vegetables?</a:t>
            </a:r>
          </a:p>
          <a:p>
            <a:pPr lvl="1">
              <a:lnSpc>
                <a:spcPct val="110000"/>
              </a:lnSpc>
              <a:buFont typeface="Arial" panose="020B0604020202020204" pitchFamily="34" charset="0"/>
              <a:buChar char="•"/>
            </a:pPr>
            <a:r>
              <a:rPr lang="en-GB" sz="3000" noProof="0" dirty="0"/>
              <a:t>Recycling or combustion of waste?</a:t>
            </a:r>
          </a:p>
        </p:txBody>
      </p:sp>
      <p:pic>
        <p:nvPicPr>
          <p:cNvPr id="5" name="Picture 4" descr="A picture containing circle, graphics, darkness&#10;&#10;Description automatically generated">
            <a:extLst>
              <a:ext uri="{FF2B5EF4-FFF2-40B4-BE49-F238E27FC236}">
                <a16:creationId xmlns:a16="http://schemas.microsoft.com/office/drawing/2014/main" id="{A011EDF6-13B3-EADE-F7C9-09C13C2F0B02}"/>
              </a:ext>
            </a:extLst>
          </p:cNvPr>
          <p:cNvPicPr>
            <a:picLocks noChangeAspect="1"/>
          </p:cNvPicPr>
          <p:nvPr/>
        </p:nvPicPr>
        <p:blipFill rotWithShape="1">
          <a:blip r:embed="rId6">
            <a:extLst>
              <a:ext uri="{28A0092B-C50C-407E-A947-70E740481C1C}">
                <a14:useLocalDpi xmlns:a14="http://schemas.microsoft.com/office/drawing/2010/main" val="0"/>
              </a:ext>
            </a:extLst>
          </a:blip>
          <a:srcRect l="5073" t="5114" r="8683" b="2856"/>
          <a:stretch/>
        </p:blipFill>
        <p:spPr>
          <a:xfrm>
            <a:off x="9524999" y="2986651"/>
            <a:ext cx="8511339" cy="6480657"/>
          </a:xfrm>
          <a:prstGeom prst="rect">
            <a:avLst/>
          </a:prstGeom>
        </p:spPr>
      </p:pic>
    </p:spTree>
    <p:extLst>
      <p:ext uri="{BB962C8B-B14F-4D97-AF65-F5344CB8AC3E}">
        <p14:creationId xmlns:p14="http://schemas.microsoft.com/office/powerpoint/2010/main" val="478297012"/>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078757" y="3066468"/>
            <a:ext cx="10287000" cy="4525963"/>
          </a:xfrm>
        </p:spPr>
        <p:txBody>
          <a:bodyPr>
            <a:normAutofit fontScale="85000" lnSpcReduction="20000"/>
          </a:bodyPr>
          <a:lstStyle/>
          <a:p>
            <a:pPr marL="0" indent="0">
              <a:buNone/>
            </a:pPr>
            <a:r>
              <a:rPr lang="en-GB" sz="3500" noProof="0" dirty="0"/>
              <a:t>There are two international standards for LCA:</a:t>
            </a:r>
          </a:p>
          <a:p>
            <a:pPr marL="0" indent="0">
              <a:buNone/>
            </a:pPr>
            <a:endParaRPr lang="en-GB" sz="3500" noProof="0" dirty="0"/>
          </a:p>
          <a:p>
            <a:pPr marL="0" indent="0">
              <a:buNone/>
            </a:pPr>
            <a:r>
              <a:rPr lang="en-GB" sz="3500" noProof="0" dirty="0">
                <a:hlinkClick r:id="rId3"/>
              </a:rPr>
              <a:t>14040:2006</a:t>
            </a:r>
            <a:r>
              <a:rPr lang="en-GB" sz="3500" noProof="0" dirty="0"/>
              <a:t>, </a:t>
            </a:r>
            <a:r>
              <a:rPr lang="en-GB" sz="3500" i="1" noProof="0" dirty="0"/>
              <a:t>Environmental management – Life cycle assessment – Principles and framework</a:t>
            </a:r>
          </a:p>
          <a:p>
            <a:pPr marL="0" indent="0">
              <a:buNone/>
            </a:pPr>
            <a:r>
              <a:rPr lang="en-GB" sz="3500" noProof="0" dirty="0"/>
              <a:t>Contains, for example, methodology, requirements for reporting and review of LCA studies</a:t>
            </a:r>
          </a:p>
          <a:p>
            <a:pPr marL="0" indent="0">
              <a:buNone/>
            </a:pPr>
            <a:endParaRPr lang="en-GB" sz="3500" noProof="0" dirty="0"/>
          </a:p>
          <a:p>
            <a:pPr marL="0" indent="0">
              <a:buNone/>
            </a:pPr>
            <a:r>
              <a:rPr lang="en-GB" sz="3500" noProof="0" dirty="0">
                <a:hlinkClick r:id="rId4"/>
              </a:rPr>
              <a:t>ISO 14044:2006</a:t>
            </a:r>
            <a:r>
              <a:rPr lang="en-GB" sz="3500" noProof="0" dirty="0"/>
              <a:t>, </a:t>
            </a:r>
            <a:r>
              <a:rPr lang="en-GB" sz="3500" i="1" noProof="0" dirty="0"/>
              <a:t>Environmental management – Life cycle assessment – Requirements and guidelines</a:t>
            </a:r>
          </a:p>
          <a:p>
            <a:pPr marL="0" indent="0">
              <a:buNone/>
            </a:pPr>
            <a:r>
              <a:rPr lang="en-GB" sz="3500" noProof="0" dirty="0"/>
              <a:t>Specifies the requirements for performing an LCA</a:t>
            </a:r>
          </a:p>
          <a:p>
            <a:pPr marL="0" indent="0">
              <a:buNone/>
            </a:pPr>
            <a:endParaRPr lang="en-GB" noProof="0" dirty="0"/>
          </a:p>
        </p:txBody>
      </p:sp>
      <p:pic>
        <p:nvPicPr>
          <p:cNvPr id="5"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2573002" y="2420393"/>
            <a:ext cx="4599665" cy="648072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extBox 5">
            <a:extLst>
              <a:ext uri="{FF2B5EF4-FFF2-40B4-BE49-F238E27FC236}">
                <a16:creationId xmlns:a16="http://schemas.microsoft.com/office/drawing/2014/main" id="{038E3703-B62D-4E4B-AFC6-1E825D729011}"/>
              </a:ext>
            </a:extLst>
          </p:cNvPr>
          <p:cNvSpPr txBox="1"/>
          <p:nvPr/>
        </p:nvSpPr>
        <p:spPr>
          <a:xfrm>
            <a:off x="2849733" y="8310074"/>
            <a:ext cx="12364992" cy="507831"/>
          </a:xfrm>
          <a:prstGeom prst="rect">
            <a:avLst/>
          </a:prstGeom>
          <a:noFill/>
        </p:spPr>
        <p:txBody>
          <a:bodyPr wrap="square" rtlCol="0">
            <a:spAutoFit/>
          </a:bodyPr>
          <a:lstStyle/>
          <a:p>
            <a:r>
              <a:rPr lang="sv-SE" sz="2700"/>
              <a:t>.</a:t>
            </a:r>
          </a:p>
        </p:txBody>
      </p:sp>
      <p:grpSp>
        <p:nvGrpSpPr>
          <p:cNvPr id="10" name="Gruppo 2">
            <a:extLst>
              <a:ext uri="{FF2B5EF4-FFF2-40B4-BE49-F238E27FC236}">
                <a16:creationId xmlns:a16="http://schemas.microsoft.com/office/drawing/2014/main" id="{4E34B035-B87F-42BB-B763-DED4464609D4}"/>
              </a:ext>
            </a:extLst>
          </p:cNvPr>
          <p:cNvGrpSpPr/>
          <p:nvPr/>
        </p:nvGrpSpPr>
        <p:grpSpPr>
          <a:xfrm>
            <a:off x="-12" y="138554"/>
            <a:ext cx="18288002" cy="681138"/>
            <a:chOff x="-12" y="138554"/>
            <a:chExt cx="18288002" cy="681138"/>
          </a:xfrm>
        </p:grpSpPr>
        <p:grpSp>
          <p:nvGrpSpPr>
            <p:cNvPr id="11" name="Gruppo 1">
              <a:extLst>
                <a:ext uri="{FF2B5EF4-FFF2-40B4-BE49-F238E27FC236}">
                  <a16:creationId xmlns:a16="http://schemas.microsoft.com/office/drawing/2014/main" id="{B226DFF3-6A6F-424D-B049-3C7892336979}"/>
                </a:ext>
              </a:extLst>
            </p:cNvPr>
            <p:cNvGrpSpPr/>
            <p:nvPr/>
          </p:nvGrpSpPr>
          <p:grpSpPr>
            <a:xfrm>
              <a:off x="0" y="153125"/>
              <a:ext cx="17907000" cy="666567"/>
              <a:chOff x="0" y="153125"/>
              <a:chExt cx="17907000" cy="666567"/>
            </a:xfrm>
          </p:grpSpPr>
          <p:grpSp>
            <p:nvGrpSpPr>
              <p:cNvPr id="13" name="Gruppo 15">
                <a:extLst>
                  <a:ext uri="{FF2B5EF4-FFF2-40B4-BE49-F238E27FC236}">
                    <a16:creationId xmlns:a16="http://schemas.microsoft.com/office/drawing/2014/main" id="{6AFBCF3E-C208-46CD-81BD-971FFCB7CEF3}"/>
                  </a:ext>
                </a:extLst>
              </p:cNvPr>
              <p:cNvGrpSpPr/>
              <p:nvPr/>
            </p:nvGrpSpPr>
            <p:grpSpPr>
              <a:xfrm>
                <a:off x="0" y="153125"/>
                <a:ext cx="13958844" cy="666567"/>
                <a:chOff x="0" y="153125"/>
                <a:chExt cx="13958844" cy="666567"/>
              </a:xfrm>
            </p:grpSpPr>
            <p:pic>
              <p:nvPicPr>
                <p:cNvPr id="15" name="Picture 14">
                  <a:extLst>
                    <a:ext uri="{FF2B5EF4-FFF2-40B4-BE49-F238E27FC236}">
                      <a16:creationId xmlns:a16="http://schemas.microsoft.com/office/drawing/2014/main" id="{FEA3CDCB-E3F4-4A57-8EE3-35BBDFFB7F34}"/>
                    </a:ext>
                  </a:extLst>
                </p:cNvPr>
                <p:cNvPicPr>
                  <a:picLocks noChangeAspect="1"/>
                </p:cNvPicPr>
                <p:nvPr/>
              </p:nvPicPr>
              <p:blipFill>
                <a:blip r:embed="rId6"/>
                <a:srcRect l="134" t="91287" b="3943"/>
                <a:stretch>
                  <a:fillRect/>
                </a:stretch>
              </p:blipFill>
              <p:spPr>
                <a:xfrm>
                  <a:off x="0" y="153125"/>
                  <a:ext cx="13958844" cy="666567"/>
                </a:xfrm>
                <a:prstGeom prst="rect">
                  <a:avLst/>
                </a:prstGeom>
              </p:spPr>
            </p:pic>
            <p:sp>
              <p:nvSpPr>
                <p:cNvPr id="16" name="TextBox 15">
                  <a:extLst>
                    <a:ext uri="{FF2B5EF4-FFF2-40B4-BE49-F238E27FC236}">
                      <a16:creationId xmlns:a16="http://schemas.microsoft.com/office/drawing/2014/main" id="{9B3CD409-4E9B-4A2C-A343-CA2764B53E0E}"/>
                    </a:ext>
                  </a:extLst>
                </p:cNvPr>
                <p:cNvSpPr txBox="1"/>
                <p:nvPr/>
              </p:nvSpPr>
              <p:spPr>
                <a:xfrm>
                  <a:off x="228600" y="257980"/>
                  <a:ext cx="9296400" cy="456856"/>
                </a:xfrm>
                <a:prstGeom prst="rect">
                  <a:avLst/>
                </a:prstGeom>
              </p:spPr>
              <p:txBody>
                <a:bodyPr wrap="square" lIns="0" tIns="0" rIns="0" bIns="0" rtlCol="0" anchor="t">
                  <a:spAutoFit/>
                </a:bodyPr>
                <a:lstStyle/>
                <a:p>
                  <a:pPr>
                    <a:lnSpc>
                      <a:spcPts val="3919"/>
                    </a:lnSpc>
                    <a:spcBef>
                      <a:spcPct val="0"/>
                    </a:spcBef>
                  </a:pPr>
                  <a:endParaRPr lang="en-US" sz="2800" b="1">
                    <a:solidFill>
                      <a:srgbClr val="FFFFFF"/>
                    </a:solidFill>
                    <a:latin typeface="Arial" panose="020B0604020202020204" pitchFamily="34" charset="0"/>
                    <a:cs typeface="Arial" panose="020B0604020202020204" pitchFamily="34" charset="0"/>
                  </a:endParaRPr>
                </a:p>
              </p:txBody>
            </p:sp>
          </p:grpSp>
          <p:sp>
            <p:nvSpPr>
              <p:cNvPr id="14" name="TextBox 13">
                <a:extLst>
                  <a:ext uri="{FF2B5EF4-FFF2-40B4-BE49-F238E27FC236}">
                    <a16:creationId xmlns:a16="http://schemas.microsoft.com/office/drawing/2014/main" id="{3C94BE23-192E-4479-8935-D64342A7E016}"/>
                  </a:ext>
                </a:extLst>
              </p:cNvPr>
              <p:cNvSpPr txBox="1"/>
              <p:nvPr/>
            </p:nvSpPr>
            <p:spPr>
              <a:xfrm>
                <a:off x="12154296" y="257980"/>
                <a:ext cx="5752704" cy="456856"/>
              </a:xfrm>
              <a:prstGeom prst="rect">
                <a:avLst/>
              </a:prstGeom>
            </p:spPr>
            <p:txBody>
              <a:bodyPr wrap="square" lIns="0" tIns="0" rIns="0" bIns="0" rtlCol="0" anchor="t">
                <a:spAutoFit/>
              </a:bodyPr>
              <a:lstStyle/>
              <a:p>
                <a:pPr algn="r">
                  <a:lnSpc>
                    <a:spcPts val="3919"/>
                  </a:lnSpc>
                  <a:spcBef>
                    <a:spcPct val="0"/>
                  </a:spcBef>
                </a:pPr>
                <a:endParaRPr lang="en-US" sz="2800">
                  <a:solidFill>
                    <a:schemeClr val="tx1">
                      <a:lumMod val="75000"/>
                      <a:lumOff val="25000"/>
                    </a:schemeClr>
                  </a:solidFill>
                  <a:latin typeface="Arial" panose="020B0604020202020204" pitchFamily="34" charset="0"/>
                  <a:cs typeface="Arial" panose="020B0604020202020204" pitchFamily="34" charset="0"/>
                </a:endParaRPr>
              </a:p>
            </p:txBody>
          </p:sp>
        </p:grpSp>
        <p:sp>
          <p:nvSpPr>
            <p:cNvPr id="12" name="Rettangolo 13">
              <a:extLst>
                <a:ext uri="{FF2B5EF4-FFF2-40B4-BE49-F238E27FC236}">
                  <a16:creationId xmlns:a16="http://schemas.microsoft.com/office/drawing/2014/main" id="{71517D3C-EE84-4A7C-8870-BBAC1C5DF8B1}"/>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7" name="TextBox 16">
            <a:extLst>
              <a:ext uri="{FF2B5EF4-FFF2-40B4-BE49-F238E27FC236}">
                <a16:creationId xmlns:a16="http://schemas.microsoft.com/office/drawing/2014/main" id="{7D62F5E0-2AE9-4359-8F39-6F257828AC23}"/>
              </a:ext>
            </a:extLst>
          </p:cNvPr>
          <p:cNvSpPr txBox="1"/>
          <p:nvPr/>
        </p:nvSpPr>
        <p:spPr>
          <a:xfrm>
            <a:off x="-251673" y="946300"/>
            <a:ext cx="18288012" cy="1077218"/>
          </a:xfrm>
          <a:prstGeom prst="rect">
            <a:avLst/>
          </a:prstGeom>
          <a:noFill/>
        </p:spPr>
        <p:txBody>
          <a:bodyPr wrap="square">
            <a:spAutoFit/>
          </a:bodyPr>
          <a:lstStyle/>
          <a:p>
            <a:pPr algn="ctr"/>
            <a:r>
              <a:rPr lang="sv-SE" sz="6400" b="1">
                <a:solidFill>
                  <a:srgbClr val="CC0033"/>
                </a:solidFill>
                <a:latin typeface="+mj-lt"/>
                <a:cs typeface="Arial" panose="020B0604020202020204" pitchFamily="34" charset="0"/>
              </a:rPr>
              <a:t>ISO – standards for LCA</a:t>
            </a:r>
          </a:p>
        </p:txBody>
      </p:sp>
      <p:pic>
        <p:nvPicPr>
          <p:cNvPr id="18" name="Picture 12">
            <a:extLst>
              <a:ext uri="{FF2B5EF4-FFF2-40B4-BE49-F238E27FC236}">
                <a16:creationId xmlns:a16="http://schemas.microsoft.com/office/drawing/2014/main" id="{8C275BFB-E157-4647-A719-5B4908F72A5A}"/>
              </a:ext>
            </a:extLst>
          </p:cNvPr>
          <p:cNvPicPr>
            <a:picLocks noChangeAspect="1"/>
          </p:cNvPicPr>
          <p:nvPr/>
        </p:nvPicPr>
        <p:blipFill>
          <a:blip r:embed="rId7"/>
          <a:srcRect/>
          <a:stretch>
            <a:fillRect/>
          </a:stretch>
        </p:blipFill>
        <p:spPr>
          <a:xfrm>
            <a:off x="0" y="8901113"/>
            <a:ext cx="5715000" cy="1385887"/>
          </a:xfrm>
          <a:prstGeom prst="rect">
            <a:avLst/>
          </a:prstGeom>
        </p:spPr>
      </p:pic>
      <p:grpSp>
        <p:nvGrpSpPr>
          <p:cNvPr id="19" name="Gruppo 16">
            <a:extLst>
              <a:ext uri="{FF2B5EF4-FFF2-40B4-BE49-F238E27FC236}">
                <a16:creationId xmlns:a16="http://schemas.microsoft.com/office/drawing/2014/main" id="{E13415F3-171E-428E-B2A4-2B1055BAFC4F}"/>
              </a:ext>
            </a:extLst>
          </p:cNvPr>
          <p:cNvGrpSpPr/>
          <p:nvPr/>
        </p:nvGrpSpPr>
        <p:grpSpPr>
          <a:xfrm>
            <a:off x="4329146" y="9679208"/>
            <a:ext cx="13958844" cy="666567"/>
            <a:chOff x="4329156" y="9649198"/>
            <a:chExt cx="13958844" cy="666567"/>
          </a:xfrm>
        </p:grpSpPr>
        <p:pic>
          <p:nvPicPr>
            <p:cNvPr id="20" name="Picture 12">
              <a:extLst>
                <a:ext uri="{FF2B5EF4-FFF2-40B4-BE49-F238E27FC236}">
                  <a16:creationId xmlns:a16="http://schemas.microsoft.com/office/drawing/2014/main" id="{2245C983-9B8A-4393-BCCF-8D3F0419ECBE}"/>
                </a:ext>
              </a:extLst>
            </p:cNvPr>
            <p:cNvPicPr>
              <a:picLocks noChangeAspect="1"/>
            </p:cNvPicPr>
            <p:nvPr/>
          </p:nvPicPr>
          <p:blipFill>
            <a:blip r:embed="rId8"/>
            <a:srcRect l="134" t="91287" b="3943"/>
            <a:stretch>
              <a:fillRect/>
            </a:stretch>
          </p:blipFill>
          <p:spPr>
            <a:xfrm rot="-10800000">
              <a:off x="4329156" y="9649198"/>
              <a:ext cx="13958844" cy="666567"/>
            </a:xfrm>
            <a:prstGeom prst="rect">
              <a:avLst/>
            </a:prstGeom>
          </p:spPr>
        </p:pic>
        <p:sp>
          <p:nvSpPr>
            <p:cNvPr id="21" name="TextBox 16">
              <a:extLst>
                <a:ext uri="{FF2B5EF4-FFF2-40B4-BE49-F238E27FC236}">
                  <a16:creationId xmlns:a16="http://schemas.microsoft.com/office/drawing/2014/main" id="{FFB233C5-A2CB-4861-A6C9-C14132B3B00D}"/>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spTree>
    <p:extLst>
      <p:ext uri="{BB962C8B-B14F-4D97-AF65-F5344CB8AC3E}">
        <p14:creationId xmlns:p14="http://schemas.microsoft.com/office/powerpoint/2010/main" val="3776099843"/>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972CEB-03C9-4A2E-993E-4FE35D214D19}"/>
              </a:ext>
            </a:extLst>
          </p:cNvPr>
          <p:cNvSpPr>
            <a:spLocks noGrp="1"/>
          </p:cNvSpPr>
          <p:nvPr>
            <p:ph type="title"/>
          </p:nvPr>
        </p:nvSpPr>
        <p:spPr>
          <a:xfrm>
            <a:off x="457200" y="773001"/>
            <a:ext cx="8229600" cy="1143000"/>
          </a:xfrm>
        </p:spPr>
        <p:txBody>
          <a:bodyPr/>
          <a:lstStyle/>
          <a:p>
            <a:r>
              <a:rPr lang="en-GB" sz="6400" b="1" noProof="0" dirty="0">
                <a:solidFill>
                  <a:srgbClr val="CC0033"/>
                </a:solidFill>
                <a:ea typeface="+mn-ea"/>
                <a:cs typeface="Arial" panose="020B0604020202020204" pitchFamily="34" charset="0"/>
              </a:rPr>
              <a:t>4 steps of LCA</a:t>
            </a:r>
          </a:p>
        </p:txBody>
      </p:sp>
      <p:sp>
        <p:nvSpPr>
          <p:cNvPr id="4" name="Rectangle 3">
            <a:extLst>
              <a:ext uri="{FF2B5EF4-FFF2-40B4-BE49-F238E27FC236}">
                <a16:creationId xmlns:a16="http://schemas.microsoft.com/office/drawing/2014/main" id="{E6A70E79-3087-4CCE-86BF-CAF8BEC9B2E5}"/>
              </a:ext>
            </a:extLst>
          </p:cNvPr>
          <p:cNvSpPr/>
          <p:nvPr/>
        </p:nvSpPr>
        <p:spPr>
          <a:xfrm>
            <a:off x="1624819" y="2683412"/>
            <a:ext cx="2876843" cy="1522829"/>
          </a:xfrm>
          <a:prstGeom prst="rect">
            <a:avLst/>
          </a:prstGeom>
          <a:solidFill>
            <a:srgbClr val="C2E0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solidFill>
                  <a:schemeClr val="accent5">
                    <a:lumMod val="25000"/>
                  </a:schemeClr>
                </a:solidFill>
              </a:rPr>
              <a:t>Goal and scope definition</a:t>
            </a:r>
          </a:p>
        </p:txBody>
      </p:sp>
      <p:sp>
        <p:nvSpPr>
          <p:cNvPr id="5" name="Rectangle 4">
            <a:extLst>
              <a:ext uri="{FF2B5EF4-FFF2-40B4-BE49-F238E27FC236}">
                <a16:creationId xmlns:a16="http://schemas.microsoft.com/office/drawing/2014/main" id="{A86A7F12-0C07-4E8D-8EF4-BA74246A5F8F}"/>
              </a:ext>
            </a:extLst>
          </p:cNvPr>
          <p:cNvSpPr/>
          <p:nvPr/>
        </p:nvSpPr>
        <p:spPr>
          <a:xfrm>
            <a:off x="1624819" y="4684542"/>
            <a:ext cx="2876843" cy="1522800"/>
          </a:xfrm>
          <a:prstGeom prst="rect">
            <a:avLst/>
          </a:prstGeom>
          <a:solidFill>
            <a:srgbClr val="C2E0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solidFill>
                  <a:schemeClr val="accent5">
                    <a:lumMod val="25000"/>
                  </a:schemeClr>
                </a:solidFill>
              </a:rPr>
              <a:t>Inventory analysis </a:t>
            </a:r>
          </a:p>
        </p:txBody>
      </p:sp>
      <p:sp>
        <p:nvSpPr>
          <p:cNvPr id="6" name="Rectangle 5">
            <a:extLst>
              <a:ext uri="{FF2B5EF4-FFF2-40B4-BE49-F238E27FC236}">
                <a16:creationId xmlns:a16="http://schemas.microsoft.com/office/drawing/2014/main" id="{3F45E239-D345-41F3-878C-CDCE8B7422B6}"/>
              </a:ext>
            </a:extLst>
          </p:cNvPr>
          <p:cNvSpPr/>
          <p:nvPr/>
        </p:nvSpPr>
        <p:spPr>
          <a:xfrm>
            <a:off x="1624819" y="6746004"/>
            <a:ext cx="2876843" cy="1522800"/>
          </a:xfrm>
          <a:prstGeom prst="rect">
            <a:avLst/>
          </a:prstGeom>
          <a:solidFill>
            <a:srgbClr val="C2E0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solidFill>
                  <a:schemeClr val="accent5">
                    <a:lumMod val="25000"/>
                  </a:schemeClr>
                </a:solidFill>
              </a:rPr>
              <a:t>Impact assessment</a:t>
            </a:r>
          </a:p>
        </p:txBody>
      </p:sp>
      <p:sp>
        <p:nvSpPr>
          <p:cNvPr id="7" name="Rectangle 6">
            <a:extLst>
              <a:ext uri="{FF2B5EF4-FFF2-40B4-BE49-F238E27FC236}">
                <a16:creationId xmlns:a16="http://schemas.microsoft.com/office/drawing/2014/main" id="{E0B91936-C9FE-4616-A3D0-33A150FFFC51}"/>
              </a:ext>
            </a:extLst>
          </p:cNvPr>
          <p:cNvSpPr/>
          <p:nvPr/>
        </p:nvSpPr>
        <p:spPr>
          <a:xfrm>
            <a:off x="5948290" y="2683412"/>
            <a:ext cx="2419643" cy="5585391"/>
          </a:xfrm>
          <a:prstGeom prst="rect">
            <a:avLst/>
          </a:prstGeom>
          <a:solidFill>
            <a:srgbClr val="C2E0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2000" b="1">
                <a:solidFill>
                  <a:schemeClr val="accent5">
                    <a:lumMod val="25000"/>
                  </a:schemeClr>
                </a:solidFill>
              </a:rPr>
              <a:t>Interpretation</a:t>
            </a:r>
            <a:endParaRPr lang="en-GB" sz="2000" b="1">
              <a:solidFill>
                <a:schemeClr val="accent5">
                  <a:lumMod val="25000"/>
                </a:schemeClr>
              </a:solidFill>
            </a:endParaRPr>
          </a:p>
        </p:txBody>
      </p:sp>
      <p:cxnSp>
        <p:nvCxnSpPr>
          <p:cNvPr id="11" name="Straight Arrow Connector 10">
            <a:extLst>
              <a:ext uri="{FF2B5EF4-FFF2-40B4-BE49-F238E27FC236}">
                <a16:creationId xmlns:a16="http://schemas.microsoft.com/office/drawing/2014/main" id="{8F9FA150-0F6A-4B8A-85F5-FC25CD328525}"/>
              </a:ext>
            </a:extLst>
          </p:cNvPr>
          <p:cNvCxnSpPr>
            <a:cxnSpLocks/>
          </p:cNvCxnSpPr>
          <p:nvPr/>
        </p:nvCxnSpPr>
        <p:spPr>
          <a:xfrm>
            <a:off x="3063241" y="4206241"/>
            <a:ext cx="0" cy="478301"/>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1068EAE0-FF92-4833-8CD3-65D33AFC52EC}"/>
              </a:ext>
            </a:extLst>
          </p:cNvPr>
          <p:cNvCxnSpPr>
            <a:cxnSpLocks/>
          </p:cNvCxnSpPr>
          <p:nvPr/>
        </p:nvCxnSpPr>
        <p:spPr>
          <a:xfrm>
            <a:off x="3063241" y="6207342"/>
            <a:ext cx="0" cy="538662"/>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8ABDC721-F9B4-462F-90E0-B093A076E14B}"/>
              </a:ext>
            </a:extLst>
          </p:cNvPr>
          <p:cNvCxnSpPr>
            <a:cxnSpLocks/>
          </p:cNvCxnSpPr>
          <p:nvPr/>
        </p:nvCxnSpPr>
        <p:spPr>
          <a:xfrm>
            <a:off x="4501661" y="5595412"/>
            <a:ext cx="1446628"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A87DAAD7-1B06-494D-BDA1-F547335A7739}"/>
              </a:ext>
            </a:extLst>
          </p:cNvPr>
          <p:cNvCxnSpPr>
            <a:cxnSpLocks/>
          </p:cNvCxnSpPr>
          <p:nvPr/>
        </p:nvCxnSpPr>
        <p:spPr>
          <a:xfrm flipV="1">
            <a:off x="4501662" y="7682394"/>
            <a:ext cx="1446628" cy="3025"/>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2E7E4F23-6930-43B8-B715-1CF9E77B4A02}"/>
              </a:ext>
            </a:extLst>
          </p:cNvPr>
          <p:cNvCxnSpPr>
            <a:cxnSpLocks/>
          </p:cNvCxnSpPr>
          <p:nvPr/>
        </p:nvCxnSpPr>
        <p:spPr>
          <a:xfrm>
            <a:off x="4501660" y="3367454"/>
            <a:ext cx="1446628" cy="0"/>
          </a:xfrm>
          <a:prstGeom prst="straightConnector1">
            <a:avLst/>
          </a:prstGeom>
          <a:ln w="1905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DD2C1AB3-DD14-4D92-954B-6C9018BE933C}"/>
              </a:ext>
            </a:extLst>
          </p:cNvPr>
          <p:cNvCxnSpPr>
            <a:cxnSpLocks/>
          </p:cNvCxnSpPr>
          <p:nvPr/>
        </p:nvCxnSpPr>
        <p:spPr>
          <a:xfrm flipH="1">
            <a:off x="4501661" y="3606018"/>
            <a:ext cx="1446627" cy="0"/>
          </a:xfrm>
          <a:prstGeom prst="straightConnector1">
            <a:avLst/>
          </a:prstGeom>
          <a:ln w="1905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2767A311-8E20-4666-8504-05A9196E2DB5}"/>
              </a:ext>
            </a:extLst>
          </p:cNvPr>
          <p:cNvCxnSpPr>
            <a:cxnSpLocks/>
          </p:cNvCxnSpPr>
          <p:nvPr/>
        </p:nvCxnSpPr>
        <p:spPr>
          <a:xfrm flipH="1">
            <a:off x="4501662" y="7382782"/>
            <a:ext cx="1446626" cy="3545"/>
          </a:xfrm>
          <a:prstGeom prst="straightConnector1">
            <a:avLst/>
          </a:prstGeom>
          <a:ln w="1905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A8898FAD-5A69-4BDE-A98B-7D7ED42F7992}"/>
              </a:ext>
            </a:extLst>
          </p:cNvPr>
          <p:cNvCxnSpPr>
            <a:cxnSpLocks/>
          </p:cNvCxnSpPr>
          <p:nvPr/>
        </p:nvCxnSpPr>
        <p:spPr>
          <a:xfrm flipH="1">
            <a:off x="4501661" y="5329477"/>
            <a:ext cx="1446627" cy="18185"/>
          </a:xfrm>
          <a:prstGeom prst="straightConnector1">
            <a:avLst/>
          </a:prstGeom>
          <a:ln w="1905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63FEE4DE-963D-4BB0-8409-8E03215877AF}"/>
              </a:ext>
            </a:extLst>
          </p:cNvPr>
          <p:cNvCxnSpPr>
            <a:cxnSpLocks/>
          </p:cNvCxnSpPr>
          <p:nvPr/>
        </p:nvCxnSpPr>
        <p:spPr>
          <a:xfrm flipV="1">
            <a:off x="3370386" y="4206241"/>
            <a:ext cx="0" cy="478301"/>
          </a:xfrm>
          <a:prstGeom prst="straightConnector1">
            <a:avLst/>
          </a:prstGeom>
          <a:ln w="1905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76B7FD5C-4A96-4533-9EAE-3BAE12B07F51}"/>
              </a:ext>
            </a:extLst>
          </p:cNvPr>
          <p:cNvCxnSpPr>
            <a:cxnSpLocks/>
          </p:cNvCxnSpPr>
          <p:nvPr/>
        </p:nvCxnSpPr>
        <p:spPr>
          <a:xfrm flipV="1">
            <a:off x="3370386" y="6207343"/>
            <a:ext cx="0" cy="538661"/>
          </a:xfrm>
          <a:prstGeom prst="straightConnector1">
            <a:avLst/>
          </a:prstGeom>
          <a:ln w="19050">
            <a:prstDash val="dash"/>
            <a:tailEnd type="triangle"/>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6184154D-EF70-4169-9504-4CAF63EF0BBA}"/>
              </a:ext>
            </a:extLst>
          </p:cNvPr>
          <p:cNvSpPr txBox="1"/>
          <p:nvPr/>
        </p:nvSpPr>
        <p:spPr>
          <a:xfrm>
            <a:off x="9144000" y="1921287"/>
            <a:ext cx="7948246" cy="7109639"/>
          </a:xfrm>
          <a:prstGeom prst="rect">
            <a:avLst/>
          </a:prstGeom>
          <a:noFill/>
        </p:spPr>
        <p:txBody>
          <a:bodyPr wrap="square" rtlCol="0">
            <a:spAutoFit/>
          </a:bodyPr>
          <a:lstStyle/>
          <a:p>
            <a:pPr marL="342900" indent="-342900">
              <a:buAutoNum type="arabicPeriod"/>
            </a:pPr>
            <a:r>
              <a:rPr lang="en-US" sz="2400" b="1" dirty="0"/>
              <a:t>Goal and scope definition</a:t>
            </a:r>
          </a:p>
          <a:p>
            <a:pPr marL="742950" lvl="1" indent="-285750">
              <a:buFont typeface="Arial" panose="020B0604020202020204" pitchFamily="34" charset="0"/>
              <a:buChar char="•"/>
            </a:pPr>
            <a:r>
              <a:rPr lang="en-US" sz="2400" dirty="0"/>
              <a:t>Define the product system and the purpose of the study. </a:t>
            </a:r>
          </a:p>
          <a:p>
            <a:pPr lvl="1"/>
            <a:endParaRPr lang="en-GB" sz="2400" dirty="0"/>
          </a:p>
          <a:p>
            <a:pPr marL="342900" indent="-342900">
              <a:buAutoNum type="arabicPeriod"/>
            </a:pPr>
            <a:r>
              <a:rPr lang="en-GB" sz="2400" b="1" dirty="0"/>
              <a:t>Inventory analysis</a:t>
            </a:r>
          </a:p>
          <a:p>
            <a:pPr marL="800100" lvl="1" indent="-342900">
              <a:buFont typeface="Arial" panose="020B0604020202020204" pitchFamily="34" charset="0"/>
              <a:buChar char="•"/>
            </a:pPr>
            <a:r>
              <a:rPr lang="en-GB" sz="2400" dirty="0"/>
              <a:t>Calculate the amount of resource use and emission of the system in relation to the functional unit. </a:t>
            </a:r>
          </a:p>
          <a:p>
            <a:pPr marL="800100" lvl="1" indent="-342900">
              <a:buFont typeface="Arial" panose="020B0604020202020204" pitchFamily="34" charset="0"/>
              <a:buChar char="•"/>
            </a:pPr>
            <a:endParaRPr lang="en-GB" sz="2400" dirty="0"/>
          </a:p>
          <a:p>
            <a:pPr marL="342900" indent="-342900">
              <a:buAutoNum type="arabicPeriod"/>
            </a:pPr>
            <a:r>
              <a:rPr lang="en-GB" sz="2400" b="1" dirty="0"/>
              <a:t>Impact assessment </a:t>
            </a:r>
          </a:p>
          <a:p>
            <a:pPr marL="800100" lvl="1" indent="-342900">
              <a:buFont typeface="Arial" panose="020B0604020202020204" pitchFamily="34" charset="0"/>
              <a:buChar char="•"/>
            </a:pPr>
            <a:r>
              <a:rPr lang="en-GB" sz="2400" dirty="0"/>
              <a:t>Convert the result from the inventory step into environmental impact of the product throughout its life cycle. </a:t>
            </a:r>
          </a:p>
          <a:p>
            <a:pPr marL="800100" lvl="1" indent="-342900">
              <a:buFont typeface="Arial" panose="020B0604020202020204" pitchFamily="34" charset="0"/>
              <a:buChar char="•"/>
            </a:pPr>
            <a:endParaRPr lang="en-GB" sz="2400" dirty="0"/>
          </a:p>
          <a:p>
            <a:pPr marL="342900" indent="-342900">
              <a:buAutoNum type="arabicPeriod"/>
            </a:pPr>
            <a:r>
              <a:rPr lang="en-GB" sz="2400" b="1" dirty="0"/>
              <a:t>Interpretation </a:t>
            </a:r>
          </a:p>
          <a:p>
            <a:pPr marL="742950" lvl="1" indent="-285750">
              <a:buFont typeface="Arial" panose="020B0604020202020204" pitchFamily="34" charset="0"/>
              <a:buChar char="•"/>
            </a:pPr>
            <a:r>
              <a:rPr lang="en-GB" sz="2400" dirty="0"/>
              <a:t>Assessing results in order to reach conclusions and recommendations. </a:t>
            </a:r>
          </a:p>
          <a:p>
            <a:pPr marL="742950" lvl="1" indent="-285750">
              <a:buFont typeface="Arial" panose="020B0604020202020204" pitchFamily="34" charset="0"/>
              <a:buChar char="•"/>
            </a:pPr>
            <a:r>
              <a:rPr lang="en-GB" sz="2400" dirty="0"/>
              <a:t>Interpretation is an iterative process, so it is possible to reformulate the goal and scope in case unexpected result is encountered.</a:t>
            </a:r>
            <a:endParaRPr lang="sv-SE" sz="2400" dirty="0"/>
          </a:p>
        </p:txBody>
      </p:sp>
      <p:sp>
        <p:nvSpPr>
          <p:cNvPr id="58" name="TextBox 57">
            <a:extLst>
              <a:ext uri="{FF2B5EF4-FFF2-40B4-BE49-F238E27FC236}">
                <a16:creationId xmlns:a16="http://schemas.microsoft.com/office/drawing/2014/main" id="{2B11EFA9-160D-4DEB-A351-F5C59CFF1AE1}"/>
              </a:ext>
            </a:extLst>
          </p:cNvPr>
          <p:cNvSpPr txBox="1"/>
          <p:nvPr/>
        </p:nvSpPr>
        <p:spPr>
          <a:xfrm>
            <a:off x="1624818" y="8643038"/>
            <a:ext cx="7336301" cy="769441"/>
          </a:xfrm>
          <a:prstGeom prst="rect">
            <a:avLst/>
          </a:prstGeom>
          <a:noFill/>
        </p:spPr>
        <p:txBody>
          <a:bodyPr wrap="square" rtlCol="0">
            <a:spAutoFit/>
          </a:bodyPr>
          <a:lstStyle/>
          <a:p>
            <a:r>
              <a:rPr lang="sv-SE" sz="1400" err="1"/>
              <a:t>Further</a:t>
            </a:r>
            <a:r>
              <a:rPr lang="sv-SE" sz="1400"/>
              <a:t> </a:t>
            </a:r>
            <a:r>
              <a:rPr lang="sv-SE" sz="1400" err="1"/>
              <a:t>reading</a:t>
            </a:r>
            <a:r>
              <a:rPr lang="sv-SE" sz="1400"/>
              <a:t>: </a:t>
            </a:r>
            <a:r>
              <a:rPr lang="en-GB" sz="1400" i="0">
                <a:solidFill>
                  <a:srgbClr val="171717"/>
                </a:solidFill>
                <a:effectLst/>
              </a:rPr>
              <a:t>The Hitch Hiker's Guide to LCA : an orientation in life cycle assessment methodology and application by </a:t>
            </a:r>
            <a:r>
              <a:rPr lang="en-GB" sz="1400" i="0" err="1">
                <a:solidFill>
                  <a:srgbClr val="171717"/>
                </a:solidFill>
                <a:effectLst/>
              </a:rPr>
              <a:t>Henrikke</a:t>
            </a:r>
            <a:r>
              <a:rPr lang="en-GB" sz="1400" i="0">
                <a:solidFill>
                  <a:srgbClr val="171717"/>
                </a:solidFill>
                <a:effectLst/>
              </a:rPr>
              <a:t> </a:t>
            </a:r>
            <a:r>
              <a:rPr lang="en-GB" sz="1400" b="0" i="0">
                <a:solidFill>
                  <a:srgbClr val="171717"/>
                </a:solidFill>
                <a:effectLst/>
              </a:rPr>
              <a:t>Baumann, Anne-Marie Tillman</a:t>
            </a:r>
            <a:endParaRPr lang="en-GB" sz="1400" i="0">
              <a:solidFill>
                <a:srgbClr val="171717"/>
              </a:solidFill>
              <a:effectLst/>
            </a:endParaRPr>
          </a:p>
          <a:p>
            <a:endParaRPr lang="en-GB" sz="1600"/>
          </a:p>
        </p:txBody>
      </p:sp>
      <p:grpSp>
        <p:nvGrpSpPr>
          <p:cNvPr id="3" name="Gruppo 2">
            <a:extLst>
              <a:ext uri="{FF2B5EF4-FFF2-40B4-BE49-F238E27FC236}">
                <a16:creationId xmlns:a16="http://schemas.microsoft.com/office/drawing/2014/main" id="{701C0263-6B9A-5301-8828-F99773FBACF4}"/>
              </a:ext>
            </a:extLst>
          </p:cNvPr>
          <p:cNvGrpSpPr/>
          <p:nvPr/>
        </p:nvGrpSpPr>
        <p:grpSpPr>
          <a:xfrm>
            <a:off x="-12" y="138554"/>
            <a:ext cx="18288002" cy="681138"/>
            <a:chOff x="-12" y="138554"/>
            <a:chExt cx="18288002" cy="681138"/>
          </a:xfrm>
        </p:grpSpPr>
        <p:grpSp>
          <p:nvGrpSpPr>
            <p:cNvPr id="8" name="Gruppo 1">
              <a:extLst>
                <a:ext uri="{FF2B5EF4-FFF2-40B4-BE49-F238E27FC236}">
                  <a16:creationId xmlns:a16="http://schemas.microsoft.com/office/drawing/2014/main" id="{C32377F7-A817-EF96-F6BD-547AD886C9DE}"/>
                </a:ext>
              </a:extLst>
            </p:cNvPr>
            <p:cNvGrpSpPr/>
            <p:nvPr/>
          </p:nvGrpSpPr>
          <p:grpSpPr>
            <a:xfrm>
              <a:off x="0" y="153125"/>
              <a:ext cx="17907000" cy="666567"/>
              <a:chOff x="0" y="153125"/>
              <a:chExt cx="17907000" cy="666567"/>
            </a:xfrm>
          </p:grpSpPr>
          <p:grpSp>
            <p:nvGrpSpPr>
              <p:cNvPr id="10" name="Gruppo 15">
                <a:extLst>
                  <a:ext uri="{FF2B5EF4-FFF2-40B4-BE49-F238E27FC236}">
                    <a16:creationId xmlns:a16="http://schemas.microsoft.com/office/drawing/2014/main" id="{9AF2388A-7E58-B0D5-AA96-CF6A3937F9D7}"/>
                  </a:ext>
                </a:extLst>
              </p:cNvPr>
              <p:cNvGrpSpPr/>
              <p:nvPr/>
            </p:nvGrpSpPr>
            <p:grpSpPr>
              <a:xfrm>
                <a:off x="0" y="153125"/>
                <a:ext cx="13958844" cy="666567"/>
                <a:chOff x="0" y="153125"/>
                <a:chExt cx="13958844" cy="666567"/>
              </a:xfrm>
            </p:grpSpPr>
            <p:pic>
              <p:nvPicPr>
                <p:cNvPr id="14" name="Picture 13">
                  <a:extLst>
                    <a:ext uri="{FF2B5EF4-FFF2-40B4-BE49-F238E27FC236}">
                      <a16:creationId xmlns:a16="http://schemas.microsoft.com/office/drawing/2014/main" id="{C1E9A896-6654-1C58-8EE8-B539D2341BA1}"/>
                    </a:ext>
                  </a:extLst>
                </p:cNvPr>
                <p:cNvPicPr>
                  <a:picLocks noChangeAspect="1"/>
                </p:cNvPicPr>
                <p:nvPr/>
              </p:nvPicPr>
              <p:blipFill>
                <a:blip r:embed="rId3"/>
                <a:srcRect l="134" t="91287" b="3943"/>
                <a:stretch>
                  <a:fillRect/>
                </a:stretch>
              </p:blipFill>
              <p:spPr>
                <a:xfrm>
                  <a:off x="0" y="153125"/>
                  <a:ext cx="13958844" cy="666567"/>
                </a:xfrm>
                <a:prstGeom prst="rect">
                  <a:avLst/>
                </a:prstGeom>
              </p:spPr>
            </p:pic>
            <p:sp>
              <p:nvSpPr>
                <p:cNvPr id="16" name="TextBox 15">
                  <a:extLst>
                    <a:ext uri="{FF2B5EF4-FFF2-40B4-BE49-F238E27FC236}">
                      <a16:creationId xmlns:a16="http://schemas.microsoft.com/office/drawing/2014/main" id="{99EBE05A-E16A-7268-F4DC-9220FCC39BCD}"/>
                    </a:ext>
                  </a:extLst>
                </p:cNvPr>
                <p:cNvSpPr txBox="1"/>
                <p:nvPr/>
              </p:nvSpPr>
              <p:spPr>
                <a:xfrm>
                  <a:off x="228600" y="257980"/>
                  <a:ext cx="9296400" cy="456856"/>
                </a:xfrm>
                <a:prstGeom prst="rect">
                  <a:avLst/>
                </a:prstGeom>
              </p:spPr>
              <p:txBody>
                <a:bodyPr wrap="square" lIns="0" tIns="0" rIns="0" bIns="0" rtlCol="0" anchor="t">
                  <a:spAutoFit/>
                </a:bodyPr>
                <a:lstStyle/>
                <a:p>
                  <a:pPr>
                    <a:lnSpc>
                      <a:spcPts val="3919"/>
                    </a:lnSpc>
                    <a:spcBef>
                      <a:spcPct val="0"/>
                    </a:spcBef>
                  </a:pPr>
                  <a:endParaRPr lang="en-US" sz="2800" b="1">
                    <a:solidFill>
                      <a:srgbClr val="FFFFFF"/>
                    </a:solidFill>
                    <a:latin typeface="Arial" panose="020B0604020202020204" pitchFamily="34" charset="0"/>
                    <a:cs typeface="Arial" panose="020B0604020202020204" pitchFamily="34" charset="0"/>
                  </a:endParaRPr>
                </a:p>
              </p:txBody>
            </p:sp>
          </p:grpSp>
          <p:sp>
            <p:nvSpPr>
              <p:cNvPr id="12" name="TextBox 11">
                <a:extLst>
                  <a:ext uri="{FF2B5EF4-FFF2-40B4-BE49-F238E27FC236}">
                    <a16:creationId xmlns:a16="http://schemas.microsoft.com/office/drawing/2014/main" id="{56DE495E-26E1-68DD-687D-622917927974}"/>
                  </a:ext>
                </a:extLst>
              </p:cNvPr>
              <p:cNvSpPr txBox="1"/>
              <p:nvPr/>
            </p:nvSpPr>
            <p:spPr>
              <a:xfrm>
                <a:off x="12154296" y="257980"/>
                <a:ext cx="5752704" cy="456856"/>
              </a:xfrm>
              <a:prstGeom prst="rect">
                <a:avLst/>
              </a:prstGeom>
            </p:spPr>
            <p:txBody>
              <a:bodyPr wrap="square" lIns="0" tIns="0" rIns="0" bIns="0" rtlCol="0" anchor="t">
                <a:spAutoFit/>
              </a:bodyPr>
              <a:lstStyle/>
              <a:p>
                <a:pPr algn="r">
                  <a:lnSpc>
                    <a:spcPts val="3919"/>
                  </a:lnSpc>
                  <a:spcBef>
                    <a:spcPct val="0"/>
                  </a:spcBef>
                </a:pPr>
                <a:endParaRPr lang="en-US" sz="2800">
                  <a:solidFill>
                    <a:schemeClr val="tx1">
                      <a:lumMod val="75000"/>
                      <a:lumOff val="25000"/>
                    </a:schemeClr>
                  </a:solidFill>
                  <a:latin typeface="Arial" panose="020B0604020202020204" pitchFamily="34" charset="0"/>
                  <a:cs typeface="Arial" panose="020B0604020202020204" pitchFamily="34" charset="0"/>
                </a:endParaRPr>
              </a:p>
            </p:txBody>
          </p:sp>
        </p:grpSp>
        <p:sp>
          <p:nvSpPr>
            <p:cNvPr id="9" name="Rettangolo 13">
              <a:extLst>
                <a:ext uri="{FF2B5EF4-FFF2-40B4-BE49-F238E27FC236}">
                  <a16:creationId xmlns:a16="http://schemas.microsoft.com/office/drawing/2014/main" id="{F861F08C-C667-F642-4327-43DE88DE0F0B}"/>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17" name="Picture 12">
            <a:extLst>
              <a:ext uri="{FF2B5EF4-FFF2-40B4-BE49-F238E27FC236}">
                <a16:creationId xmlns:a16="http://schemas.microsoft.com/office/drawing/2014/main" id="{113644E3-6F1F-B7C8-4F94-4C8AC7FB8EA6}"/>
              </a:ext>
            </a:extLst>
          </p:cNvPr>
          <p:cNvPicPr>
            <a:picLocks noChangeAspect="1"/>
          </p:cNvPicPr>
          <p:nvPr/>
        </p:nvPicPr>
        <p:blipFill>
          <a:blip r:embed="rId4"/>
          <a:srcRect/>
          <a:stretch>
            <a:fillRect/>
          </a:stretch>
        </p:blipFill>
        <p:spPr>
          <a:xfrm>
            <a:off x="0" y="8901113"/>
            <a:ext cx="5715000" cy="1385887"/>
          </a:xfrm>
          <a:prstGeom prst="rect">
            <a:avLst/>
          </a:prstGeom>
        </p:spPr>
      </p:pic>
      <p:grpSp>
        <p:nvGrpSpPr>
          <p:cNvPr id="18" name="Gruppo 16">
            <a:extLst>
              <a:ext uri="{FF2B5EF4-FFF2-40B4-BE49-F238E27FC236}">
                <a16:creationId xmlns:a16="http://schemas.microsoft.com/office/drawing/2014/main" id="{7826E656-A60B-3194-1194-F7FCAA7FF2BF}"/>
              </a:ext>
            </a:extLst>
          </p:cNvPr>
          <p:cNvGrpSpPr/>
          <p:nvPr/>
        </p:nvGrpSpPr>
        <p:grpSpPr>
          <a:xfrm>
            <a:off x="4329146" y="9679208"/>
            <a:ext cx="13958844" cy="666567"/>
            <a:chOff x="4329156" y="9649198"/>
            <a:chExt cx="13958844" cy="666567"/>
          </a:xfrm>
        </p:grpSpPr>
        <p:pic>
          <p:nvPicPr>
            <p:cNvPr id="20" name="Picture 12">
              <a:extLst>
                <a:ext uri="{FF2B5EF4-FFF2-40B4-BE49-F238E27FC236}">
                  <a16:creationId xmlns:a16="http://schemas.microsoft.com/office/drawing/2014/main" id="{E1271EA8-A9D3-36AD-E136-7F15C74FDD57}"/>
                </a:ext>
              </a:extLst>
            </p:cNvPr>
            <p:cNvPicPr>
              <a:picLocks noChangeAspect="1"/>
            </p:cNvPicPr>
            <p:nvPr/>
          </p:nvPicPr>
          <p:blipFill>
            <a:blip r:embed="rId5"/>
            <a:srcRect l="134" t="91287" b="3943"/>
            <a:stretch>
              <a:fillRect/>
            </a:stretch>
          </p:blipFill>
          <p:spPr>
            <a:xfrm rot="-10800000">
              <a:off x="4329156" y="9649198"/>
              <a:ext cx="13958844" cy="666567"/>
            </a:xfrm>
            <a:prstGeom prst="rect">
              <a:avLst/>
            </a:prstGeom>
          </p:spPr>
        </p:pic>
        <p:sp>
          <p:nvSpPr>
            <p:cNvPr id="21" name="TextBox 16">
              <a:extLst>
                <a:ext uri="{FF2B5EF4-FFF2-40B4-BE49-F238E27FC236}">
                  <a16:creationId xmlns:a16="http://schemas.microsoft.com/office/drawing/2014/main" id="{5DE17997-3B09-DEC4-94F9-73736EC7BC0A}"/>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spTree>
    <p:extLst>
      <p:ext uri="{BB962C8B-B14F-4D97-AF65-F5344CB8AC3E}">
        <p14:creationId xmlns:p14="http://schemas.microsoft.com/office/powerpoint/2010/main" val="3384400"/>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39679020-EBB7-4A5F-A310-7672714C8343}"/>
              </a:ext>
            </a:extLst>
          </p:cNvPr>
          <p:cNvSpPr>
            <a:spLocks noGrp="1"/>
          </p:cNvSpPr>
          <p:nvPr>
            <p:ph idx="1"/>
          </p:nvPr>
        </p:nvSpPr>
        <p:spPr>
          <a:xfrm>
            <a:off x="1301674" y="4359691"/>
            <a:ext cx="15537353" cy="4924820"/>
          </a:xfrm>
        </p:spPr>
        <p:txBody>
          <a:bodyPr>
            <a:normAutofit fontScale="70000" lnSpcReduction="20000"/>
          </a:bodyPr>
          <a:lstStyle/>
          <a:p>
            <a:pPr marL="0" indent="0">
              <a:buNone/>
            </a:pPr>
            <a:r>
              <a:rPr lang="en-GB" sz="3400" b="1" noProof="0" dirty="0">
                <a:solidFill>
                  <a:schemeClr val="accent1"/>
                </a:solidFill>
              </a:rPr>
              <a:t>Scope </a:t>
            </a:r>
            <a:br>
              <a:rPr lang="en-GB" sz="3000" noProof="0" dirty="0"/>
            </a:br>
            <a:endParaRPr lang="en-GB" sz="2600" noProof="0" dirty="0"/>
          </a:p>
          <a:p>
            <a:r>
              <a:rPr lang="en-GB" sz="3000" b="1" noProof="0" dirty="0"/>
              <a:t>System boundary: </a:t>
            </a:r>
            <a:r>
              <a:rPr lang="en-GB" sz="3000" noProof="0" dirty="0"/>
              <a:t>include which processes in the product life cycle are to be included. The boundaries should be set in relation to natural system (cradle-to-grave, cradle-to-gate. Cradle-to-cradle etc.), geographical location, time, within technical boundary itself (infrastructure, personnel to be included or not, allocation problem etc.). </a:t>
            </a:r>
          </a:p>
          <a:p>
            <a:pPr marL="0" indent="0">
              <a:buNone/>
            </a:pPr>
            <a:endParaRPr lang="en-GB" sz="3000" noProof="0" dirty="0"/>
          </a:p>
          <a:p>
            <a:pPr marL="0" indent="0">
              <a:buNone/>
            </a:pPr>
            <a:r>
              <a:rPr lang="en-GB" sz="3000" noProof="0" dirty="0"/>
              <a:t>    The system boundary is then visualized by a flowchart/system diagram.</a:t>
            </a:r>
          </a:p>
          <a:p>
            <a:pPr marL="0" indent="0">
              <a:buNone/>
            </a:pPr>
            <a:endParaRPr lang="en-GB" sz="3000" noProof="0" dirty="0"/>
          </a:p>
          <a:p>
            <a:r>
              <a:rPr lang="en-GB" sz="3000" b="1" noProof="0" dirty="0"/>
              <a:t>Functional unit</a:t>
            </a:r>
            <a:r>
              <a:rPr lang="en-GB" sz="3000" noProof="0" dirty="0"/>
              <a:t>: a measure of the performance of the output of the study in which the environmental performance of the product is related to. All input-, output- and intermediate flows are quantified with the functional unit as reference.</a:t>
            </a:r>
          </a:p>
          <a:p>
            <a:pPr marL="0" indent="0">
              <a:buNone/>
            </a:pPr>
            <a:endParaRPr lang="en-GB" sz="3000" noProof="0" dirty="0"/>
          </a:p>
          <a:p>
            <a:r>
              <a:rPr lang="en-GB" sz="3000" b="1" noProof="0" dirty="0"/>
              <a:t>Examples</a:t>
            </a:r>
          </a:p>
          <a:p>
            <a:pPr lvl="1"/>
            <a:r>
              <a:rPr lang="en-GB" sz="3000" noProof="0" dirty="0"/>
              <a:t>LCA of paint: The functional unit could be a unit area covered by the paint in a special environment during a specific time e.g. 1 </a:t>
            </a:r>
            <a:r>
              <a:rPr lang="en-GB" altLang="en-US" sz="3000" noProof="0" dirty="0"/>
              <a:t>m</a:t>
            </a:r>
            <a:r>
              <a:rPr lang="en-GB" altLang="en-US" sz="3000" baseline="30000" noProof="0" dirty="0"/>
              <a:t>2 </a:t>
            </a:r>
            <a:r>
              <a:rPr lang="en-GB" altLang="en-US" sz="3000" noProof="0" dirty="0"/>
              <a:t>of a wall covered by the paint for 1 year. </a:t>
            </a:r>
          </a:p>
          <a:p>
            <a:pPr lvl="1"/>
            <a:r>
              <a:rPr lang="en-GB" sz="3000" noProof="0" dirty="0"/>
              <a:t>LCA of packaging: Functional unit could be the unit of the packages e.g. 1 piece of a  packaging that can contain 1 </a:t>
            </a:r>
            <a:r>
              <a:rPr lang="en-GB" sz="3000" noProof="0" dirty="0" err="1"/>
              <a:t>liter</a:t>
            </a:r>
            <a:r>
              <a:rPr lang="en-GB" sz="3000" noProof="0" dirty="0"/>
              <a:t> of packaged drink).</a:t>
            </a:r>
          </a:p>
          <a:p>
            <a:pPr marL="1371600" lvl="2" indent="0">
              <a:buNone/>
            </a:pPr>
            <a:endParaRPr lang="en-GB" sz="2700" noProof="0" dirty="0"/>
          </a:p>
          <a:p>
            <a:endParaRPr lang="en-GB" noProof="0" dirty="0"/>
          </a:p>
          <a:p>
            <a:endParaRPr lang="en-GB" noProof="0" dirty="0"/>
          </a:p>
        </p:txBody>
      </p:sp>
      <p:grpSp>
        <p:nvGrpSpPr>
          <p:cNvPr id="22" name="Gruppo 2">
            <a:extLst>
              <a:ext uri="{FF2B5EF4-FFF2-40B4-BE49-F238E27FC236}">
                <a16:creationId xmlns:a16="http://schemas.microsoft.com/office/drawing/2014/main" id="{04DCEA99-CD53-41B1-BC07-962DFDCB6E80}"/>
              </a:ext>
            </a:extLst>
          </p:cNvPr>
          <p:cNvGrpSpPr/>
          <p:nvPr/>
        </p:nvGrpSpPr>
        <p:grpSpPr>
          <a:xfrm>
            <a:off x="-12" y="138554"/>
            <a:ext cx="18288002" cy="681138"/>
            <a:chOff x="-12" y="138554"/>
            <a:chExt cx="18288002" cy="681138"/>
          </a:xfrm>
        </p:grpSpPr>
        <p:grpSp>
          <p:nvGrpSpPr>
            <p:cNvPr id="23" name="Gruppo 1">
              <a:extLst>
                <a:ext uri="{FF2B5EF4-FFF2-40B4-BE49-F238E27FC236}">
                  <a16:creationId xmlns:a16="http://schemas.microsoft.com/office/drawing/2014/main" id="{B4E0E689-23BD-409A-BF15-BDF255A37277}"/>
                </a:ext>
              </a:extLst>
            </p:cNvPr>
            <p:cNvGrpSpPr/>
            <p:nvPr/>
          </p:nvGrpSpPr>
          <p:grpSpPr>
            <a:xfrm>
              <a:off x="0" y="153125"/>
              <a:ext cx="17907000" cy="666567"/>
              <a:chOff x="0" y="153125"/>
              <a:chExt cx="17907000" cy="666567"/>
            </a:xfrm>
          </p:grpSpPr>
          <p:grpSp>
            <p:nvGrpSpPr>
              <p:cNvPr id="25" name="Gruppo 15">
                <a:extLst>
                  <a:ext uri="{FF2B5EF4-FFF2-40B4-BE49-F238E27FC236}">
                    <a16:creationId xmlns:a16="http://schemas.microsoft.com/office/drawing/2014/main" id="{7A17CD4A-F5F5-4627-B655-8DAC0C4E6A19}"/>
                  </a:ext>
                </a:extLst>
              </p:cNvPr>
              <p:cNvGrpSpPr/>
              <p:nvPr/>
            </p:nvGrpSpPr>
            <p:grpSpPr>
              <a:xfrm>
                <a:off x="0" y="153125"/>
                <a:ext cx="13958844" cy="666567"/>
                <a:chOff x="0" y="153125"/>
                <a:chExt cx="13958844" cy="666567"/>
              </a:xfrm>
            </p:grpSpPr>
            <p:pic>
              <p:nvPicPr>
                <p:cNvPr id="27" name="Picture 26">
                  <a:extLst>
                    <a:ext uri="{FF2B5EF4-FFF2-40B4-BE49-F238E27FC236}">
                      <a16:creationId xmlns:a16="http://schemas.microsoft.com/office/drawing/2014/main" id="{16325998-6E65-49C1-8A98-B3DD10701D0B}"/>
                    </a:ext>
                  </a:extLst>
                </p:cNvPr>
                <p:cNvPicPr>
                  <a:picLocks noChangeAspect="1"/>
                </p:cNvPicPr>
                <p:nvPr/>
              </p:nvPicPr>
              <p:blipFill>
                <a:blip r:embed="rId3"/>
                <a:srcRect l="134" t="91287" b="3943"/>
                <a:stretch>
                  <a:fillRect/>
                </a:stretch>
              </p:blipFill>
              <p:spPr>
                <a:xfrm>
                  <a:off x="0" y="153125"/>
                  <a:ext cx="13958844" cy="666567"/>
                </a:xfrm>
                <a:prstGeom prst="rect">
                  <a:avLst/>
                </a:prstGeom>
              </p:spPr>
            </p:pic>
            <p:sp>
              <p:nvSpPr>
                <p:cNvPr id="28" name="TextBox 27">
                  <a:extLst>
                    <a:ext uri="{FF2B5EF4-FFF2-40B4-BE49-F238E27FC236}">
                      <a16:creationId xmlns:a16="http://schemas.microsoft.com/office/drawing/2014/main" id="{20021009-879D-4F7E-8C49-BB4E1D73A6C2}"/>
                    </a:ext>
                  </a:extLst>
                </p:cNvPr>
                <p:cNvSpPr txBox="1"/>
                <p:nvPr/>
              </p:nvSpPr>
              <p:spPr>
                <a:xfrm>
                  <a:off x="228600" y="257980"/>
                  <a:ext cx="9296400" cy="456856"/>
                </a:xfrm>
                <a:prstGeom prst="rect">
                  <a:avLst/>
                </a:prstGeom>
              </p:spPr>
              <p:txBody>
                <a:bodyPr wrap="square" lIns="0" tIns="0" rIns="0" bIns="0" rtlCol="0" anchor="t">
                  <a:spAutoFit/>
                </a:bodyPr>
                <a:lstStyle/>
                <a:p>
                  <a:pPr>
                    <a:lnSpc>
                      <a:spcPts val="3919"/>
                    </a:lnSpc>
                    <a:spcBef>
                      <a:spcPct val="0"/>
                    </a:spcBef>
                  </a:pPr>
                  <a:endParaRPr lang="en-US" sz="2800" b="1">
                    <a:solidFill>
                      <a:srgbClr val="FFFFFF"/>
                    </a:solidFill>
                    <a:latin typeface="Arial" panose="020B0604020202020204" pitchFamily="34" charset="0"/>
                    <a:cs typeface="Arial" panose="020B0604020202020204" pitchFamily="34" charset="0"/>
                  </a:endParaRPr>
                </a:p>
              </p:txBody>
            </p:sp>
          </p:grpSp>
          <p:sp>
            <p:nvSpPr>
              <p:cNvPr id="26" name="TextBox 25">
                <a:extLst>
                  <a:ext uri="{FF2B5EF4-FFF2-40B4-BE49-F238E27FC236}">
                    <a16:creationId xmlns:a16="http://schemas.microsoft.com/office/drawing/2014/main" id="{DBEC45B4-7B80-4E80-9616-48D0B3AA795D}"/>
                  </a:ext>
                </a:extLst>
              </p:cNvPr>
              <p:cNvSpPr txBox="1"/>
              <p:nvPr/>
            </p:nvSpPr>
            <p:spPr>
              <a:xfrm>
                <a:off x="12154296" y="257980"/>
                <a:ext cx="5752704" cy="456856"/>
              </a:xfrm>
              <a:prstGeom prst="rect">
                <a:avLst/>
              </a:prstGeom>
            </p:spPr>
            <p:txBody>
              <a:bodyPr wrap="square" lIns="0" tIns="0" rIns="0" bIns="0" rtlCol="0" anchor="t">
                <a:spAutoFit/>
              </a:bodyPr>
              <a:lstStyle/>
              <a:p>
                <a:pPr algn="r">
                  <a:lnSpc>
                    <a:spcPts val="3919"/>
                  </a:lnSpc>
                  <a:spcBef>
                    <a:spcPct val="0"/>
                  </a:spcBef>
                </a:pPr>
                <a:endParaRPr lang="en-US" sz="2800">
                  <a:solidFill>
                    <a:schemeClr val="tx1">
                      <a:lumMod val="75000"/>
                      <a:lumOff val="25000"/>
                    </a:schemeClr>
                  </a:solidFill>
                  <a:latin typeface="Arial" panose="020B0604020202020204" pitchFamily="34" charset="0"/>
                  <a:cs typeface="Arial" panose="020B0604020202020204" pitchFamily="34" charset="0"/>
                </a:endParaRPr>
              </a:p>
            </p:txBody>
          </p:sp>
        </p:grpSp>
        <p:sp>
          <p:nvSpPr>
            <p:cNvPr id="24" name="Rettangolo 13">
              <a:extLst>
                <a:ext uri="{FF2B5EF4-FFF2-40B4-BE49-F238E27FC236}">
                  <a16:creationId xmlns:a16="http://schemas.microsoft.com/office/drawing/2014/main" id="{118D860C-F98C-4C87-AD26-1260B465CB68}"/>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9" name="TextBox 28">
            <a:extLst>
              <a:ext uri="{FF2B5EF4-FFF2-40B4-BE49-F238E27FC236}">
                <a16:creationId xmlns:a16="http://schemas.microsoft.com/office/drawing/2014/main" id="{DAA3FD46-2268-49C4-8812-7BCF8F03FBC2}"/>
              </a:ext>
            </a:extLst>
          </p:cNvPr>
          <p:cNvSpPr txBox="1"/>
          <p:nvPr/>
        </p:nvSpPr>
        <p:spPr>
          <a:xfrm>
            <a:off x="-278636" y="1068047"/>
            <a:ext cx="18288012" cy="1077218"/>
          </a:xfrm>
          <a:prstGeom prst="rect">
            <a:avLst/>
          </a:prstGeom>
          <a:noFill/>
        </p:spPr>
        <p:txBody>
          <a:bodyPr wrap="square">
            <a:spAutoFit/>
          </a:bodyPr>
          <a:lstStyle/>
          <a:p>
            <a:pPr algn="ctr"/>
            <a:r>
              <a:rPr lang="sv-SE" sz="6400" b="1">
                <a:solidFill>
                  <a:srgbClr val="CC0033"/>
                </a:solidFill>
                <a:latin typeface="+mj-lt"/>
                <a:cs typeface="Arial" panose="020B0604020202020204" pitchFamily="34" charset="0"/>
              </a:rPr>
              <a:t>Step 1: </a:t>
            </a:r>
            <a:r>
              <a:rPr lang="sv-SE" sz="6400" b="1" err="1">
                <a:solidFill>
                  <a:srgbClr val="CC0033"/>
                </a:solidFill>
                <a:latin typeface="+mj-lt"/>
                <a:cs typeface="Arial" panose="020B0604020202020204" pitchFamily="34" charset="0"/>
              </a:rPr>
              <a:t>Defining</a:t>
            </a:r>
            <a:r>
              <a:rPr lang="sv-SE" sz="6400" b="1">
                <a:solidFill>
                  <a:srgbClr val="CC0033"/>
                </a:solidFill>
                <a:latin typeface="+mj-lt"/>
                <a:cs typeface="Arial" panose="020B0604020202020204" pitchFamily="34" charset="0"/>
              </a:rPr>
              <a:t> </a:t>
            </a:r>
            <a:r>
              <a:rPr lang="sv-SE" sz="6400" b="1" err="1">
                <a:solidFill>
                  <a:srgbClr val="CC0033"/>
                </a:solidFill>
                <a:latin typeface="+mj-lt"/>
                <a:cs typeface="Arial" panose="020B0604020202020204" pitchFamily="34" charset="0"/>
              </a:rPr>
              <a:t>goal</a:t>
            </a:r>
            <a:r>
              <a:rPr lang="sv-SE" sz="6400" b="1">
                <a:solidFill>
                  <a:srgbClr val="CC0033"/>
                </a:solidFill>
                <a:latin typeface="+mj-lt"/>
                <a:cs typeface="Arial" panose="020B0604020202020204" pitchFamily="34" charset="0"/>
              </a:rPr>
              <a:t> and </a:t>
            </a:r>
            <a:r>
              <a:rPr lang="sv-SE" sz="6400" b="1" err="1">
                <a:solidFill>
                  <a:srgbClr val="CC0033"/>
                </a:solidFill>
                <a:latin typeface="+mj-lt"/>
                <a:cs typeface="Arial" panose="020B0604020202020204" pitchFamily="34" charset="0"/>
              </a:rPr>
              <a:t>scope</a:t>
            </a:r>
            <a:endParaRPr lang="sv-SE" sz="6400" b="1">
              <a:solidFill>
                <a:srgbClr val="CC0033"/>
              </a:solidFill>
              <a:latin typeface="+mj-lt"/>
              <a:cs typeface="Arial" panose="020B0604020202020204" pitchFamily="34" charset="0"/>
            </a:endParaRPr>
          </a:p>
        </p:txBody>
      </p:sp>
      <p:pic>
        <p:nvPicPr>
          <p:cNvPr id="30" name="Picture 12">
            <a:extLst>
              <a:ext uri="{FF2B5EF4-FFF2-40B4-BE49-F238E27FC236}">
                <a16:creationId xmlns:a16="http://schemas.microsoft.com/office/drawing/2014/main" id="{EE20C181-47DD-4D16-9557-50DC24CE2E8D}"/>
              </a:ext>
            </a:extLst>
          </p:cNvPr>
          <p:cNvPicPr>
            <a:picLocks noChangeAspect="1"/>
          </p:cNvPicPr>
          <p:nvPr/>
        </p:nvPicPr>
        <p:blipFill>
          <a:blip r:embed="rId4"/>
          <a:srcRect/>
          <a:stretch>
            <a:fillRect/>
          </a:stretch>
        </p:blipFill>
        <p:spPr>
          <a:xfrm>
            <a:off x="0" y="8901113"/>
            <a:ext cx="5715000" cy="1385887"/>
          </a:xfrm>
          <a:prstGeom prst="rect">
            <a:avLst/>
          </a:prstGeom>
        </p:spPr>
      </p:pic>
      <p:grpSp>
        <p:nvGrpSpPr>
          <p:cNvPr id="31" name="Gruppo 16">
            <a:extLst>
              <a:ext uri="{FF2B5EF4-FFF2-40B4-BE49-F238E27FC236}">
                <a16:creationId xmlns:a16="http://schemas.microsoft.com/office/drawing/2014/main" id="{37B258E3-B7F3-4EA9-A8FA-AB2E10A9553F}"/>
              </a:ext>
            </a:extLst>
          </p:cNvPr>
          <p:cNvGrpSpPr/>
          <p:nvPr/>
        </p:nvGrpSpPr>
        <p:grpSpPr>
          <a:xfrm>
            <a:off x="4329146" y="9679208"/>
            <a:ext cx="13958844" cy="666567"/>
            <a:chOff x="4329156" y="9649198"/>
            <a:chExt cx="13958844" cy="666567"/>
          </a:xfrm>
        </p:grpSpPr>
        <p:pic>
          <p:nvPicPr>
            <p:cNvPr id="32" name="Picture 12">
              <a:extLst>
                <a:ext uri="{FF2B5EF4-FFF2-40B4-BE49-F238E27FC236}">
                  <a16:creationId xmlns:a16="http://schemas.microsoft.com/office/drawing/2014/main" id="{DF5D43FC-984C-4CD1-A9F6-353AAE12CF73}"/>
                </a:ext>
              </a:extLst>
            </p:cNvPr>
            <p:cNvPicPr>
              <a:picLocks noChangeAspect="1"/>
            </p:cNvPicPr>
            <p:nvPr/>
          </p:nvPicPr>
          <p:blipFill>
            <a:blip r:embed="rId5"/>
            <a:srcRect l="134" t="91287" b="3943"/>
            <a:stretch>
              <a:fillRect/>
            </a:stretch>
          </p:blipFill>
          <p:spPr>
            <a:xfrm rot="-10800000">
              <a:off x="4329156" y="9649198"/>
              <a:ext cx="13958844" cy="666567"/>
            </a:xfrm>
            <a:prstGeom prst="rect">
              <a:avLst/>
            </a:prstGeom>
          </p:spPr>
        </p:pic>
        <p:sp>
          <p:nvSpPr>
            <p:cNvPr id="33" name="TextBox 16">
              <a:extLst>
                <a:ext uri="{FF2B5EF4-FFF2-40B4-BE49-F238E27FC236}">
                  <a16:creationId xmlns:a16="http://schemas.microsoft.com/office/drawing/2014/main" id="{7381287C-AA48-46D3-BD8C-ADADB074402B}"/>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sp>
        <p:nvSpPr>
          <p:cNvPr id="16" name="TextBox 15">
            <a:extLst>
              <a:ext uri="{FF2B5EF4-FFF2-40B4-BE49-F238E27FC236}">
                <a16:creationId xmlns:a16="http://schemas.microsoft.com/office/drawing/2014/main" id="{4DDAA1AA-74E1-4FA4-B1A5-C433DB2C10BD}"/>
              </a:ext>
            </a:extLst>
          </p:cNvPr>
          <p:cNvSpPr txBox="1"/>
          <p:nvPr/>
        </p:nvSpPr>
        <p:spPr>
          <a:xfrm>
            <a:off x="1301673" y="3193093"/>
            <a:ext cx="15129391" cy="1061829"/>
          </a:xfrm>
          <a:prstGeom prst="rect">
            <a:avLst/>
          </a:prstGeom>
          <a:noFill/>
        </p:spPr>
        <p:txBody>
          <a:bodyPr wrap="square">
            <a:spAutoFit/>
          </a:bodyPr>
          <a:lstStyle/>
          <a:p>
            <a:r>
              <a:rPr lang="en-GB" sz="2400" b="1">
                <a:solidFill>
                  <a:schemeClr val="accent1"/>
                </a:solidFill>
              </a:rPr>
              <a:t>Goal </a:t>
            </a:r>
          </a:p>
          <a:p>
            <a:endParaRPr lang="en-GB" b="1"/>
          </a:p>
          <a:p>
            <a:pPr marL="342900" indent="-342900">
              <a:buFont typeface="Arial" panose="020B0604020202020204" pitchFamily="34" charset="0"/>
              <a:buChar char="•"/>
            </a:pPr>
            <a:r>
              <a:rPr lang="en-GB" sz="2100" b="1"/>
              <a:t>Purpose of the study:</a:t>
            </a:r>
            <a:r>
              <a:rPr lang="en-GB" sz="2100"/>
              <a:t> the reason why LCA is carried out and who are the intended audience </a:t>
            </a:r>
          </a:p>
        </p:txBody>
      </p:sp>
      <p:sp>
        <p:nvSpPr>
          <p:cNvPr id="2" name="TextBox 1">
            <a:extLst>
              <a:ext uri="{FF2B5EF4-FFF2-40B4-BE49-F238E27FC236}">
                <a16:creationId xmlns:a16="http://schemas.microsoft.com/office/drawing/2014/main" id="{5770B2C9-0087-5D4C-8041-63F54B981DE2}"/>
              </a:ext>
            </a:extLst>
          </p:cNvPr>
          <p:cNvSpPr txBox="1"/>
          <p:nvPr/>
        </p:nvSpPr>
        <p:spPr>
          <a:xfrm>
            <a:off x="1429729" y="2222614"/>
            <a:ext cx="14925208" cy="954107"/>
          </a:xfrm>
          <a:prstGeom prst="rect">
            <a:avLst/>
          </a:prstGeom>
          <a:solidFill>
            <a:srgbClr val="C2E0C2"/>
          </a:solidFill>
        </p:spPr>
        <p:txBody>
          <a:bodyPr wrap="square" rtlCol="0">
            <a:spAutoFit/>
          </a:bodyPr>
          <a:lstStyle/>
          <a:p>
            <a:pPr marL="0" indent="0" algn="ctr">
              <a:buNone/>
            </a:pPr>
            <a:r>
              <a:rPr lang="sv-SE" sz="2800"/>
              <a:t>The </a:t>
            </a:r>
            <a:r>
              <a:rPr lang="sv-SE" sz="2800" err="1"/>
              <a:t>requirements</a:t>
            </a:r>
            <a:r>
              <a:rPr lang="sv-SE" sz="2800"/>
              <a:t> </a:t>
            </a:r>
            <a:r>
              <a:rPr lang="sv-SE" sz="2800" err="1"/>
              <a:t>of</a:t>
            </a:r>
            <a:r>
              <a:rPr lang="sv-SE" sz="2800"/>
              <a:t> on </a:t>
            </a:r>
            <a:r>
              <a:rPr lang="sv-SE" sz="2800" err="1"/>
              <a:t>modelling</a:t>
            </a:r>
            <a:r>
              <a:rPr lang="sv-SE" sz="2800"/>
              <a:t> to be </a:t>
            </a:r>
            <a:r>
              <a:rPr lang="sv-SE" sz="2800" err="1"/>
              <a:t>done</a:t>
            </a:r>
            <a:r>
              <a:rPr lang="sv-SE" sz="2800"/>
              <a:t> </a:t>
            </a:r>
            <a:r>
              <a:rPr lang="sv-SE" sz="2800" err="1"/>
              <a:t>are</a:t>
            </a:r>
            <a:r>
              <a:rPr lang="sv-SE" sz="2800"/>
              <a:t> </a:t>
            </a:r>
            <a:r>
              <a:rPr lang="sv-SE" sz="2800" err="1"/>
              <a:t>specified</a:t>
            </a:r>
            <a:r>
              <a:rPr lang="sv-SE" sz="2800"/>
              <a:t> in </a:t>
            </a:r>
            <a:r>
              <a:rPr lang="sv-SE" sz="2800" err="1"/>
              <a:t>goal</a:t>
            </a:r>
            <a:r>
              <a:rPr lang="sv-SE" sz="2800"/>
              <a:t> and </a:t>
            </a:r>
            <a:r>
              <a:rPr lang="sv-SE" sz="2800" err="1"/>
              <a:t>scope</a:t>
            </a:r>
            <a:r>
              <a:rPr lang="sv-SE" sz="2800"/>
              <a:t> definition. In </a:t>
            </a:r>
            <a:r>
              <a:rPr lang="sv-SE" sz="2800" err="1"/>
              <a:t>this</a:t>
            </a:r>
            <a:r>
              <a:rPr lang="sv-SE" sz="2800"/>
              <a:t> step, the </a:t>
            </a:r>
            <a:r>
              <a:rPr lang="sv-SE" sz="2800" err="1"/>
              <a:t>purpose</a:t>
            </a:r>
            <a:r>
              <a:rPr lang="sv-SE" sz="2800"/>
              <a:t> </a:t>
            </a:r>
            <a:r>
              <a:rPr lang="sv-SE" sz="2800" err="1"/>
              <a:t>of</a:t>
            </a:r>
            <a:r>
              <a:rPr lang="sv-SE" sz="2800"/>
              <a:t> the </a:t>
            </a:r>
            <a:r>
              <a:rPr lang="sv-SE" sz="2800" err="1"/>
              <a:t>study</a:t>
            </a:r>
            <a:r>
              <a:rPr lang="sv-SE" sz="2800"/>
              <a:t> and the </a:t>
            </a:r>
            <a:r>
              <a:rPr lang="sv-SE" sz="2800" err="1"/>
              <a:t>question</a:t>
            </a:r>
            <a:r>
              <a:rPr lang="sv-SE" sz="2800"/>
              <a:t> to be </a:t>
            </a:r>
            <a:r>
              <a:rPr lang="sv-SE" sz="2800" err="1"/>
              <a:t>answered</a:t>
            </a:r>
            <a:r>
              <a:rPr lang="sv-SE" sz="2800"/>
              <a:t> </a:t>
            </a:r>
            <a:r>
              <a:rPr lang="sv-SE" sz="2800" err="1"/>
              <a:t>are</a:t>
            </a:r>
            <a:r>
              <a:rPr lang="sv-SE" sz="2800"/>
              <a:t> </a:t>
            </a:r>
            <a:r>
              <a:rPr lang="sv-SE" sz="2800" err="1"/>
              <a:t>formulated</a:t>
            </a:r>
            <a:r>
              <a:rPr lang="sv-SE" sz="2800"/>
              <a:t>.</a:t>
            </a:r>
          </a:p>
        </p:txBody>
      </p:sp>
    </p:spTree>
    <p:extLst>
      <p:ext uri="{BB962C8B-B14F-4D97-AF65-F5344CB8AC3E}">
        <p14:creationId xmlns:p14="http://schemas.microsoft.com/office/powerpoint/2010/main" val="1569406050"/>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39679020-EBB7-4A5F-A310-7672714C8343}"/>
              </a:ext>
            </a:extLst>
          </p:cNvPr>
          <p:cNvSpPr>
            <a:spLocks noGrp="1"/>
          </p:cNvSpPr>
          <p:nvPr>
            <p:ph idx="1"/>
          </p:nvPr>
        </p:nvSpPr>
        <p:spPr>
          <a:xfrm>
            <a:off x="1096693" y="2482091"/>
            <a:ext cx="15537353" cy="4924820"/>
          </a:xfrm>
        </p:spPr>
        <p:txBody>
          <a:bodyPr>
            <a:normAutofit fontScale="25000" lnSpcReduction="20000"/>
          </a:bodyPr>
          <a:lstStyle/>
          <a:p>
            <a:pPr marL="0" indent="0">
              <a:buNone/>
            </a:pPr>
            <a:r>
              <a:rPr lang="en-GB" sz="11200" b="1" noProof="0" dirty="0">
                <a:solidFill>
                  <a:schemeClr val="accent1"/>
                </a:solidFill>
              </a:rPr>
              <a:t>Scope cont.</a:t>
            </a:r>
            <a:br>
              <a:rPr lang="en-GB" sz="5500" noProof="0" dirty="0"/>
            </a:br>
            <a:endParaRPr lang="en-GB" sz="5500" noProof="0" dirty="0"/>
          </a:p>
          <a:p>
            <a:r>
              <a:rPr lang="en-GB" sz="9600" b="1" noProof="0" dirty="0"/>
              <a:t>Choice of impact categories and method of impact assessment:</a:t>
            </a:r>
            <a:r>
              <a:rPr lang="en-GB" sz="9600" noProof="0" dirty="0"/>
              <a:t> </a:t>
            </a:r>
          </a:p>
          <a:p>
            <a:pPr lvl="1"/>
            <a:r>
              <a:rPr lang="en-GB" sz="9600" noProof="0" dirty="0"/>
              <a:t>Environmental impact categories that are considered relevant to the life cycle of the studied product are selected. Some examples of impact categories are: Climate Change, Eutrophication, Acidification, Ozon depletion and Depletion of abiotic resources. </a:t>
            </a:r>
          </a:p>
          <a:p>
            <a:pPr lvl="1"/>
            <a:r>
              <a:rPr lang="en-GB" sz="9600" noProof="0" dirty="0"/>
              <a:t>An impact assessment method also need to be selected. There are several different assessment methods. </a:t>
            </a:r>
          </a:p>
          <a:p>
            <a:pPr marL="457200" lvl="1" indent="0">
              <a:buNone/>
            </a:pPr>
            <a:endParaRPr lang="en-GB" sz="9600" noProof="0" dirty="0"/>
          </a:p>
          <a:p>
            <a:r>
              <a:rPr lang="en-GB" sz="9600" noProof="0" dirty="0"/>
              <a:t>Type of LCA: Attributional LCA (ALCA) and Consequential LCA (CLCA). </a:t>
            </a:r>
          </a:p>
          <a:p>
            <a:endParaRPr lang="en-GB" sz="9600" noProof="0" dirty="0"/>
          </a:p>
          <a:p>
            <a:r>
              <a:rPr lang="en-GB" sz="9600" noProof="0" dirty="0"/>
              <a:t>Further reading: The Hitch Hiker's Guide to LCA : an orientation in life cycle assessment methodology and application by </a:t>
            </a:r>
            <a:r>
              <a:rPr lang="en-GB" sz="9600" noProof="0" dirty="0" err="1"/>
              <a:t>Henrikke</a:t>
            </a:r>
            <a:r>
              <a:rPr lang="en-GB" sz="9600" noProof="0" dirty="0"/>
              <a:t> Baumann, Anne-Marie Tillman.</a:t>
            </a:r>
          </a:p>
          <a:p>
            <a:pPr marL="0" indent="0">
              <a:buNone/>
            </a:pPr>
            <a:endParaRPr lang="en-GB" sz="5500" noProof="0" dirty="0"/>
          </a:p>
          <a:p>
            <a:endParaRPr lang="en-GB" sz="2100" noProof="0" dirty="0"/>
          </a:p>
          <a:p>
            <a:endParaRPr lang="en-GB" sz="1800" noProof="0" dirty="0"/>
          </a:p>
          <a:p>
            <a:pPr marL="0" indent="0">
              <a:buNone/>
            </a:pPr>
            <a:r>
              <a:rPr lang="en-GB" sz="1800" noProof="0" dirty="0"/>
              <a:t>   </a:t>
            </a:r>
          </a:p>
          <a:p>
            <a:pPr marL="1371600" lvl="2" indent="0">
              <a:buNone/>
            </a:pPr>
            <a:endParaRPr lang="en-GB" sz="1600" noProof="0" dirty="0"/>
          </a:p>
          <a:p>
            <a:endParaRPr lang="en-GB" sz="2000" noProof="0" dirty="0"/>
          </a:p>
          <a:p>
            <a:endParaRPr lang="en-GB" sz="2000" noProof="0" dirty="0"/>
          </a:p>
        </p:txBody>
      </p:sp>
      <p:grpSp>
        <p:nvGrpSpPr>
          <p:cNvPr id="22" name="Gruppo 2">
            <a:extLst>
              <a:ext uri="{FF2B5EF4-FFF2-40B4-BE49-F238E27FC236}">
                <a16:creationId xmlns:a16="http://schemas.microsoft.com/office/drawing/2014/main" id="{04DCEA99-CD53-41B1-BC07-962DFDCB6E80}"/>
              </a:ext>
            </a:extLst>
          </p:cNvPr>
          <p:cNvGrpSpPr/>
          <p:nvPr/>
        </p:nvGrpSpPr>
        <p:grpSpPr>
          <a:xfrm>
            <a:off x="-12" y="138554"/>
            <a:ext cx="18288002" cy="681138"/>
            <a:chOff x="-12" y="138554"/>
            <a:chExt cx="18288002" cy="681138"/>
          </a:xfrm>
        </p:grpSpPr>
        <p:grpSp>
          <p:nvGrpSpPr>
            <p:cNvPr id="23" name="Gruppo 1">
              <a:extLst>
                <a:ext uri="{FF2B5EF4-FFF2-40B4-BE49-F238E27FC236}">
                  <a16:creationId xmlns:a16="http://schemas.microsoft.com/office/drawing/2014/main" id="{B4E0E689-23BD-409A-BF15-BDF255A37277}"/>
                </a:ext>
              </a:extLst>
            </p:cNvPr>
            <p:cNvGrpSpPr/>
            <p:nvPr/>
          </p:nvGrpSpPr>
          <p:grpSpPr>
            <a:xfrm>
              <a:off x="0" y="153125"/>
              <a:ext cx="17907000" cy="666567"/>
              <a:chOff x="0" y="153125"/>
              <a:chExt cx="17907000" cy="666567"/>
            </a:xfrm>
          </p:grpSpPr>
          <p:grpSp>
            <p:nvGrpSpPr>
              <p:cNvPr id="25" name="Gruppo 15">
                <a:extLst>
                  <a:ext uri="{FF2B5EF4-FFF2-40B4-BE49-F238E27FC236}">
                    <a16:creationId xmlns:a16="http://schemas.microsoft.com/office/drawing/2014/main" id="{7A17CD4A-F5F5-4627-B655-8DAC0C4E6A19}"/>
                  </a:ext>
                </a:extLst>
              </p:cNvPr>
              <p:cNvGrpSpPr/>
              <p:nvPr/>
            </p:nvGrpSpPr>
            <p:grpSpPr>
              <a:xfrm>
                <a:off x="0" y="153125"/>
                <a:ext cx="13958844" cy="666567"/>
                <a:chOff x="0" y="153125"/>
                <a:chExt cx="13958844" cy="666567"/>
              </a:xfrm>
            </p:grpSpPr>
            <p:pic>
              <p:nvPicPr>
                <p:cNvPr id="27" name="Picture 26">
                  <a:extLst>
                    <a:ext uri="{FF2B5EF4-FFF2-40B4-BE49-F238E27FC236}">
                      <a16:creationId xmlns:a16="http://schemas.microsoft.com/office/drawing/2014/main" id="{16325998-6E65-49C1-8A98-B3DD10701D0B}"/>
                    </a:ext>
                  </a:extLst>
                </p:cNvPr>
                <p:cNvPicPr>
                  <a:picLocks noChangeAspect="1"/>
                </p:cNvPicPr>
                <p:nvPr/>
              </p:nvPicPr>
              <p:blipFill>
                <a:blip r:embed="rId3"/>
                <a:srcRect l="134" t="91287" b="3943"/>
                <a:stretch>
                  <a:fillRect/>
                </a:stretch>
              </p:blipFill>
              <p:spPr>
                <a:xfrm>
                  <a:off x="0" y="153125"/>
                  <a:ext cx="13958844" cy="666567"/>
                </a:xfrm>
                <a:prstGeom prst="rect">
                  <a:avLst/>
                </a:prstGeom>
              </p:spPr>
            </p:pic>
            <p:sp>
              <p:nvSpPr>
                <p:cNvPr id="28" name="TextBox 27">
                  <a:extLst>
                    <a:ext uri="{FF2B5EF4-FFF2-40B4-BE49-F238E27FC236}">
                      <a16:creationId xmlns:a16="http://schemas.microsoft.com/office/drawing/2014/main" id="{20021009-879D-4F7E-8C49-BB4E1D73A6C2}"/>
                    </a:ext>
                  </a:extLst>
                </p:cNvPr>
                <p:cNvSpPr txBox="1"/>
                <p:nvPr/>
              </p:nvSpPr>
              <p:spPr>
                <a:xfrm>
                  <a:off x="228600" y="257980"/>
                  <a:ext cx="9296400" cy="456856"/>
                </a:xfrm>
                <a:prstGeom prst="rect">
                  <a:avLst/>
                </a:prstGeom>
              </p:spPr>
              <p:txBody>
                <a:bodyPr wrap="square" lIns="0" tIns="0" rIns="0" bIns="0" rtlCol="0" anchor="t">
                  <a:spAutoFit/>
                </a:bodyPr>
                <a:lstStyle/>
                <a:p>
                  <a:pPr>
                    <a:lnSpc>
                      <a:spcPts val="3919"/>
                    </a:lnSpc>
                    <a:spcBef>
                      <a:spcPct val="0"/>
                    </a:spcBef>
                  </a:pPr>
                  <a:endParaRPr lang="en-US" sz="2800" b="1">
                    <a:solidFill>
                      <a:srgbClr val="FFFFFF"/>
                    </a:solidFill>
                    <a:latin typeface="Arial" panose="020B0604020202020204" pitchFamily="34" charset="0"/>
                    <a:cs typeface="Arial" panose="020B0604020202020204" pitchFamily="34" charset="0"/>
                  </a:endParaRPr>
                </a:p>
              </p:txBody>
            </p:sp>
          </p:grpSp>
          <p:sp>
            <p:nvSpPr>
              <p:cNvPr id="26" name="TextBox 25">
                <a:extLst>
                  <a:ext uri="{FF2B5EF4-FFF2-40B4-BE49-F238E27FC236}">
                    <a16:creationId xmlns:a16="http://schemas.microsoft.com/office/drawing/2014/main" id="{DBEC45B4-7B80-4E80-9616-48D0B3AA795D}"/>
                  </a:ext>
                </a:extLst>
              </p:cNvPr>
              <p:cNvSpPr txBox="1"/>
              <p:nvPr/>
            </p:nvSpPr>
            <p:spPr>
              <a:xfrm>
                <a:off x="12154296" y="257980"/>
                <a:ext cx="5752704" cy="456856"/>
              </a:xfrm>
              <a:prstGeom prst="rect">
                <a:avLst/>
              </a:prstGeom>
            </p:spPr>
            <p:txBody>
              <a:bodyPr wrap="square" lIns="0" tIns="0" rIns="0" bIns="0" rtlCol="0" anchor="t">
                <a:spAutoFit/>
              </a:bodyPr>
              <a:lstStyle/>
              <a:p>
                <a:pPr algn="r">
                  <a:lnSpc>
                    <a:spcPts val="3919"/>
                  </a:lnSpc>
                  <a:spcBef>
                    <a:spcPct val="0"/>
                  </a:spcBef>
                </a:pPr>
                <a:endParaRPr lang="en-US" sz="2800">
                  <a:solidFill>
                    <a:schemeClr val="tx1">
                      <a:lumMod val="75000"/>
                      <a:lumOff val="25000"/>
                    </a:schemeClr>
                  </a:solidFill>
                  <a:latin typeface="Arial" panose="020B0604020202020204" pitchFamily="34" charset="0"/>
                  <a:cs typeface="Arial" panose="020B0604020202020204" pitchFamily="34" charset="0"/>
                </a:endParaRPr>
              </a:p>
            </p:txBody>
          </p:sp>
        </p:grpSp>
        <p:sp>
          <p:nvSpPr>
            <p:cNvPr id="24" name="Rettangolo 13">
              <a:extLst>
                <a:ext uri="{FF2B5EF4-FFF2-40B4-BE49-F238E27FC236}">
                  <a16:creationId xmlns:a16="http://schemas.microsoft.com/office/drawing/2014/main" id="{118D860C-F98C-4C87-AD26-1260B465CB68}"/>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9" name="TextBox 28">
            <a:extLst>
              <a:ext uri="{FF2B5EF4-FFF2-40B4-BE49-F238E27FC236}">
                <a16:creationId xmlns:a16="http://schemas.microsoft.com/office/drawing/2014/main" id="{DAA3FD46-2268-49C4-8812-7BCF8F03FBC2}"/>
              </a:ext>
            </a:extLst>
          </p:cNvPr>
          <p:cNvSpPr txBox="1"/>
          <p:nvPr/>
        </p:nvSpPr>
        <p:spPr>
          <a:xfrm>
            <a:off x="-278636" y="1068047"/>
            <a:ext cx="18288012" cy="1077218"/>
          </a:xfrm>
          <a:prstGeom prst="rect">
            <a:avLst/>
          </a:prstGeom>
          <a:noFill/>
        </p:spPr>
        <p:txBody>
          <a:bodyPr wrap="square">
            <a:spAutoFit/>
          </a:bodyPr>
          <a:lstStyle/>
          <a:p>
            <a:pPr algn="ctr"/>
            <a:r>
              <a:rPr lang="sv-SE" sz="6400" b="1">
                <a:solidFill>
                  <a:srgbClr val="CC0033"/>
                </a:solidFill>
                <a:latin typeface="+mj-lt"/>
                <a:cs typeface="Arial" panose="020B0604020202020204" pitchFamily="34" charset="0"/>
              </a:rPr>
              <a:t>Step 1: </a:t>
            </a:r>
            <a:r>
              <a:rPr lang="sv-SE" sz="6400" b="1" err="1">
                <a:solidFill>
                  <a:srgbClr val="CC0033"/>
                </a:solidFill>
                <a:latin typeface="+mj-lt"/>
                <a:cs typeface="Arial" panose="020B0604020202020204" pitchFamily="34" charset="0"/>
              </a:rPr>
              <a:t>Defining</a:t>
            </a:r>
            <a:r>
              <a:rPr lang="sv-SE" sz="6400" b="1">
                <a:solidFill>
                  <a:srgbClr val="CC0033"/>
                </a:solidFill>
                <a:latin typeface="+mj-lt"/>
                <a:cs typeface="Arial" panose="020B0604020202020204" pitchFamily="34" charset="0"/>
              </a:rPr>
              <a:t> </a:t>
            </a:r>
            <a:r>
              <a:rPr lang="sv-SE" sz="6400" b="1" err="1">
                <a:solidFill>
                  <a:srgbClr val="CC0033"/>
                </a:solidFill>
                <a:latin typeface="+mj-lt"/>
                <a:cs typeface="Arial" panose="020B0604020202020204" pitchFamily="34" charset="0"/>
              </a:rPr>
              <a:t>goal</a:t>
            </a:r>
            <a:r>
              <a:rPr lang="sv-SE" sz="6400" b="1">
                <a:solidFill>
                  <a:srgbClr val="CC0033"/>
                </a:solidFill>
                <a:latin typeface="+mj-lt"/>
                <a:cs typeface="Arial" panose="020B0604020202020204" pitchFamily="34" charset="0"/>
              </a:rPr>
              <a:t> and </a:t>
            </a:r>
            <a:r>
              <a:rPr lang="sv-SE" sz="6400" b="1" err="1">
                <a:solidFill>
                  <a:srgbClr val="CC0033"/>
                </a:solidFill>
                <a:latin typeface="+mj-lt"/>
                <a:cs typeface="Arial" panose="020B0604020202020204" pitchFamily="34" charset="0"/>
              </a:rPr>
              <a:t>scope</a:t>
            </a:r>
            <a:endParaRPr lang="sv-SE" sz="6400" b="1">
              <a:solidFill>
                <a:srgbClr val="CC0033"/>
              </a:solidFill>
              <a:latin typeface="+mj-lt"/>
              <a:cs typeface="Arial" panose="020B0604020202020204" pitchFamily="34" charset="0"/>
            </a:endParaRPr>
          </a:p>
        </p:txBody>
      </p:sp>
      <p:pic>
        <p:nvPicPr>
          <p:cNvPr id="30" name="Picture 12">
            <a:extLst>
              <a:ext uri="{FF2B5EF4-FFF2-40B4-BE49-F238E27FC236}">
                <a16:creationId xmlns:a16="http://schemas.microsoft.com/office/drawing/2014/main" id="{EE20C181-47DD-4D16-9557-50DC24CE2E8D}"/>
              </a:ext>
            </a:extLst>
          </p:cNvPr>
          <p:cNvPicPr>
            <a:picLocks noChangeAspect="1"/>
          </p:cNvPicPr>
          <p:nvPr/>
        </p:nvPicPr>
        <p:blipFill>
          <a:blip r:embed="rId4"/>
          <a:srcRect/>
          <a:stretch>
            <a:fillRect/>
          </a:stretch>
        </p:blipFill>
        <p:spPr>
          <a:xfrm>
            <a:off x="0" y="8901113"/>
            <a:ext cx="5715000" cy="1385887"/>
          </a:xfrm>
          <a:prstGeom prst="rect">
            <a:avLst/>
          </a:prstGeom>
        </p:spPr>
      </p:pic>
      <p:grpSp>
        <p:nvGrpSpPr>
          <p:cNvPr id="31" name="Gruppo 16">
            <a:extLst>
              <a:ext uri="{FF2B5EF4-FFF2-40B4-BE49-F238E27FC236}">
                <a16:creationId xmlns:a16="http://schemas.microsoft.com/office/drawing/2014/main" id="{37B258E3-B7F3-4EA9-A8FA-AB2E10A9553F}"/>
              </a:ext>
            </a:extLst>
          </p:cNvPr>
          <p:cNvGrpSpPr/>
          <p:nvPr/>
        </p:nvGrpSpPr>
        <p:grpSpPr>
          <a:xfrm>
            <a:off x="4329146" y="9679208"/>
            <a:ext cx="13958844" cy="666567"/>
            <a:chOff x="4329156" y="9649198"/>
            <a:chExt cx="13958844" cy="666567"/>
          </a:xfrm>
        </p:grpSpPr>
        <p:pic>
          <p:nvPicPr>
            <p:cNvPr id="32" name="Picture 12">
              <a:extLst>
                <a:ext uri="{FF2B5EF4-FFF2-40B4-BE49-F238E27FC236}">
                  <a16:creationId xmlns:a16="http://schemas.microsoft.com/office/drawing/2014/main" id="{DF5D43FC-984C-4CD1-A9F6-353AAE12CF73}"/>
                </a:ext>
              </a:extLst>
            </p:cNvPr>
            <p:cNvPicPr>
              <a:picLocks noChangeAspect="1"/>
            </p:cNvPicPr>
            <p:nvPr/>
          </p:nvPicPr>
          <p:blipFill>
            <a:blip r:embed="rId5"/>
            <a:srcRect l="134" t="91287" b="3943"/>
            <a:stretch>
              <a:fillRect/>
            </a:stretch>
          </p:blipFill>
          <p:spPr>
            <a:xfrm rot="-10800000">
              <a:off x="4329156" y="9649198"/>
              <a:ext cx="13958844" cy="666567"/>
            </a:xfrm>
            <a:prstGeom prst="rect">
              <a:avLst/>
            </a:prstGeom>
          </p:spPr>
        </p:pic>
        <p:sp>
          <p:nvSpPr>
            <p:cNvPr id="33" name="TextBox 16">
              <a:extLst>
                <a:ext uri="{FF2B5EF4-FFF2-40B4-BE49-F238E27FC236}">
                  <a16:creationId xmlns:a16="http://schemas.microsoft.com/office/drawing/2014/main" id="{7381287C-AA48-46D3-BD8C-ADADB074402B}"/>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spTree>
    <p:extLst>
      <p:ext uri="{BB962C8B-B14F-4D97-AF65-F5344CB8AC3E}">
        <p14:creationId xmlns:p14="http://schemas.microsoft.com/office/powerpoint/2010/main" val="759208260"/>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39679020-EBB7-4A5F-A310-7672714C8343}"/>
              </a:ext>
            </a:extLst>
          </p:cNvPr>
          <p:cNvSpPr>
            <a:spLocks noGrp="1"/>
          </p:cNvSpPr>
          <p:nvPr>
            <p:ph idx="1"/>
          </p:nvPr>
        </p:nvSpPr>
        <p:spPr>
          <a:xfrm>
            <a:off x="1164323" y="2093043"/>
            <a:ext cx="15232313" cy="4924820"/>
          </a:xfrm>
        </p:spPr>
        <p:txBody>
          <a:bodyPr>
            <a:normAutofit lnSpcReduction="10000"/>
          </a:bodyPr>
          <a:lstStyle/>
          <a:p>
            <a:pPr marL="0" indent="0">
              <a:buNone/>
            </a:pPr>
            <a:r>
              <a:rPr lang="en-GB" sz="3000" b="1" noProof="0" dirty="0"/>
              <a:t>Impact assessment methods</a:t>
            </a:r>
          </a:p>
          <a:p>
            <a:pPr marL="0" indent="0">
              <a:buNone/>
            </a:pPr>
            <a:r>
              <a:rPr lang="en-GB" sz="3000" noProof="0" dirty="0"/>
              <a:t>Impact assessment methods are different ways of assessing the environmental impact of a product throughout its life cycle. Example of some impact assessment methods are:</a:t>
            </a:r>
          </a:p>
          <a:p>
            <a:pPr marL="0" indent="0">
              <a:buNone/>
            </a:pPr>
            <a:endParaRPr lang="en-GB" sz="3000" b="1" noProof="0" dirty="0"/>
          </a:p>
          <a:p>
            <a:r>
              <a:rPr lang="en-GB" sz="3000" noProof="0" dirty="0"/>
              <a:t>CML (Centrum </a:t>
            </a:r>
            <a:r>
              <a:rPr lang="en-GB" sz="3000" noProof="0" dirty="0" err="1"/>
              <a:t>voor</a:t>
            </a:r>
            <a:r>
              <a:rPr lang="en-GB" sz="3000" noProof="0" dirty="0"/>
              <a:t> </a:t>
            </a:r>
            <a:r>
              <a:rPr lang="en-GB" sz="3000" noProof="0" dirty="0" err="1"/>
              <a:t>Milieuwetenschappen</a:t>
            </a:r>
            <a:r>
              <a:rPr lang="en-GB" sz="3000" noProof="0" dirty="0"/>
              <a:t> in Leiden/Centre of Environmental Science at Leiden University in the Netherlands)</a:t>
            </a:r>
          </a:p>
          <a:p>
            <a:r>
              <a:rPr lang="en-GB" sz="3000" noProof="0" dirty="0"/>
              <a:t>IPCC (Intergovernmental Panel on Climate Change)</a:t>
            </a:r>
          </a:p>
          <a:p>
            <a:r>
              <a:rPr lang="en-GB" sz="3000" noProof="0" dirty="0"/>
              <a:t>EF (Environmental Footprint)</a:t>
            </a:r>
            <a:endParaRPr lang="en-GB" sz="3100" noProof="0" dirty="0"/>
          </a:p>
          <a:p>
            <a:r>
              <a:rPr lang="en-GB" sz="3100" noProof="0" dirty="0"/>
              <a:t>EN15804+A2 (European standard for the sustainability of construction work and services) </a:t>
            </a:r>
          </a:p>
        </p:txBody>
      </p:sp>
      <p:grpSp>
        <p:nvGrpSpPr>
          <p:cNvPr id="22" name="Gruppo 2">
            <a:extLst>
              <a:ext uri="{FF2B5EF4-FFF2-40B4-BE49-F238E27FC236}">
                <a16:creationId xmlns:a16="http://schemas.microsoft.com/office/drawing/2014/main" id="{04DCEA99-CD53-41B1-BC07-962DFDCB6E80}"/>
              </a:ext>
            </a:extLst>
          </p:cNvPr>
          <p:cNvGrpSpPr/>
          <p:nvPr/>
        </p:nvGrpSpPr>
        <p:grpSpPr>
          <a:xfrm>
            <a:off x="-12" y="138554"/>
            <a:ext cx="18288002" cy="681138"/>
            <a:chOff x="-12" y="138554"/>
            <a:chExt cx="18288002" cy="681138"/>
          </a:xfrm>
        </p:grpSpPr>
        <p:grpSp>
          <p:nvGrpSpPr>
            <p:cNvPr id="23" name="Gruppo 1">
              <a:extLst>
                <a:ext uri="{FF2B5EF4-FFF2-40B4-BE49-F238E27FC236}">
                  <a16:creationId xmlns:a16="http://schemas.microsoft.com/office/drawing/2014/main" id="{B4E0E689-23BD-409A-BF15-BDF255A37277}"/>
                </a:ext>
              </a:extLst>
            </p:cNvPr>
            <p:cNvGrpSpPr/>
            <p:nvPr/>
          </p:nvGrpSpPr>
          <p:grpSpPr>
            <a:xfrm>
              <a:off x="0" y="153125"/>
              <a:ext cx="17907000" cy="666567"/>
              <a:chOff x="0" y="153125"/>
              <a:chExt cx="17907000" cy="666567"/>
            </a:xfrm>
          </p:grpSpPr>
          <p:grpSp>
            <p:nvGrpSpPr>
              <p:cNvPr id="25" name="Gruppo 15">
                <a:extLst>
                  <a:ext uri="{FF2B5EF4-FFF2-40B4-BE49-F238E27FC236}">
                    <a16:creationId xmlns:a16="http://schemas.microsoft.com/office/drawing/2014/main" id="{7A17CD4A-F5F5-4627-B655-8DAC0C4E6A19}"/>
                  </a:ext>
                </a:extLst>
              </p:cNvPr>
              <p:cNvGrpSpPr/>
              <p:nvPr/>
            </p:nvGrpSpPr>
            <p:grpSpPr>
              <a:xfrm>
                <a:off x="0" y="153125"/>
                <a:ext cx="13958844" cy="666567"/>
                <a:chOff x="0" y="153125"/>
                <a:chExt cx="13958844" cy="666567"/>
              </a:xfrm>
            </p:grpSpPr>
            <p:pic>
              <p:nvPicPr>
                <p:cNvPr id="27" name="Picture 26">
                  <a:extLst>
                    <a:ext uri="{FF2B5EF4-FFF2-40B4-BE49-F238E27FC236}">
                      <a16:creationId xmlns:a16="http://schemas.microsoft.com/office/drawing/2014/main" id="{16325998-6E65-49C1-8A98-B3DD10701D0B}"/>
                    </a:ext>
                  </a:extLst>
                </p:cNvPr>
                <p:cNvPicPr>
                  <a:picLocks noChangeAspect="1"/>
                </p:cNvPicPr>
                <p:nvPr/>
              </p:nvPicPr>
              <p:blipFill>
                <a:blip r:embed="rId3"/>
                <a:srcRect l="134" t="91287" b="3943"/>
                <a:stretch>
                  <a:fillRect/>
                </a:stretch>
              </p:blipFill>
              <p:spPr>
                <a:xfrm>
                  <a:off x="0" y="153125"/>
                  <a:ext cx="13958844" cy="666567"/>
                </a:xfrm>
                <a:prstGeom prst="rect">
                  <a:avLst/>
                </a:prstGeom>
              </p:spPr>
            </p:pic>
            <p:sp>
              <p:nvSpPr>
                <p:cNvPr id="28" name="TextBox 27">
                  <a:extLst>
                    <a:ext uri="{FF2B5EF4-FFF2-40B4-BE49-F238E27FC236}">
                      <a16:creationId xmlns:a16="http://schemas.microsoft.com/office/drawing/2014/main" id="{20021009-879D-4F7E-8C49-BB4E1D73A6C2}"/>
                    </a:ext>
                  </a:extLst>
                </p:cNvPr>
                <p:cNvSpPr txBox="1"/>
                <p:nvPr/>
              </p:nvSpPr>
              <p:spPr>
                <a:xfrm>
                  <a:off x="228600" y="257980"/>
                  <a:ext cx="9296400" cy="456856"/>
                </a:xfrm>
                <a:prstGeom prst="rect">
                  <a:avLst/>
                </a:prstGeom>
              </p:spPr>
              <p:txBody>
                <a:bodyPr wrap="square" lIns="0" tIns="0" rIns="0" bIns="0" rtlCol="0" anchor="t">
                  <a:spAutoFit/>
                </a:bodyPr>
                <a:lstStyle/>
                <a:p>
                  <a:pPr>
                    <a:lnSpc>
                      <a:spcPts val="3919"/>
                    </a:lnSpc>
                    <a:spcBef>
                      <a:spcPct val="0"/>
                    </a:spcBef>
                  </a:pPr>
                  <a:endParaRPr lang="en-US" sz="2800" b="1">
                    <a:solidFill>
                      <a:srgbClr val="FFFFFF"/>
                    </a:solidFill>
                    <a:latin typeface="Arial" panose="020B0604020202020204" pitchFamily="34" charset="0"/>
                    <a:cs typeface="Arial" panose="020B0604020202020204" pitchFamily="34" charset="0"/>
                  </a:endParaRPr>
                </a:p>
              </p:txBody>
            </p:sp>
          </p:grpSp>
          <p:sp>
            <p:nvSpPr>
              <p:cNvPr id="26" name="TextBox 25">
                <a:extLst>
                  <a:ext uri="{FF2B5EF4-FFF2-40B4-BE49-F238E27FC236}">
                    <a16:creationId xmlns:a16="http://schemas.microsoft.com/office/drawing/2014/main" id="{DBEC45B4-7B80-4E80-9616-48D0B3AA795D}"/>
                  </a:ext>
                </a:extLst>
              </p:cNvPr>
              <p:cNvSpPr txBox="1"/>
              <p:nvPr/>
            </p:nvSpPr>
            <p:spPr>
              <a:xfrm>
                <a:off x="12154296" y="257980"/>
                <a:ext cx="5752704" cy="456856"/>
              </a:xfrm>
              <a:prstGeom prst="rect">
                <a:avLst/>
              </a:prstGeom>
            </p:spPr>
            <p:txBody>
              <a:bodyPr wrap="square" lIns="0" tIns="0" rIns="0" bIns="0" rtlCol="0" anchor="t">
                <a:spAutoFit/>
              </a:bodyPr>
              <a:lstStyle/>
              <a:p>
                <a:pPr algn="r">
                  <a:lnSpc>
                    <a:spcPts val="3919"/>
                  </a:lnSpc>
                  <a:spcBef>
                    <a:spcPct val="0"/>
                  </a:spcBef>
                </a:pPr>
                <a:endParaRPr lang="en-US" sz="2800">
                  <a:solidFill>
                    <a:schemeClr val="tx1">
                      <a:lumMod val="75000"/>
                      <a:lumOff val="25000"/>
                    </a:schemeClr>
                  </a:solidFill>
                  <a:latin typeface="Arial" panose="020B0604020202020204" pitchFamily="34" charset="0"/>
                  <a:cs typeface="Arial" panose="020B0604020202020204" pitchFamily="34" charset="0"/>
                </a:endParaRPr>
              </a:p>
            </p:txBody>
          </p:sp>
        </p:grpSp>
        <p:sp>
          <p:nvSpPr>
            <p:cNvPr id="24" name="Rettangolo 13">
              <a:extLst>
                <a:ext uri="{FF2B5EF4-FFF2-40B4-BE49-F238E27FC236}">
                  <a16:creationId xmlns:a16="http://schemas.microsoft.com/office/drawing/2014/main" id="{118D860C-F98C-4C87-AD26-1260B465CB68}"/>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30" name="Picture 12">
            <a:extLst>
              <a:ext uri="{FF2B5EF4-FFF2-40B4-BE49-F238E27FC236}">
                <a16:creationId xmlns:a16="http://schemas.microsoft.com/office/drawing/2014/main" id="{EE20C181-47DD-4D16-9557-50DC24CE2E8D}"/>
              </a:ext>
            </a:extLst>
          </p:cNvPr>
          <p:cNvPicPr>
            <a:picLocks noChangeAspect="1"/>
          </p:cNvPicPr>
          <p:nvPr/>
        </p:nvPicPr>
        <p:blipFill>
          <a:blip r:embed="rId4"/>
          <a:srcRect/>
          <a:stretch>
            <a:fillRect/>
          </a:stretch>
        </p:blipFill>
        <p:spPr>
          <a:xfrm>
            <a:off x="0" y="8901113"/>
            <a:ext cx="5715000" cy="1385887"/>
          </a:xfrm>
          <a:prstGeom prst="rect">
            <a:avLst/>
          </a:prstGeom>
        </p:spPr>
      </p:pic>
      <p:grpSp>
        <p:nvGrpSpPr>
          <p:cNvPr id="31" name="Gruppo 16">
            <a:extLst>
              <a:ext uri="{FF2B5EF4-FFF2-40B4-BE49-F238E27FC236}">
                <a16:creationId xmlns:a16="http://schemas.microsoft.com/office/drawing/2014/main" id="{37B258E3-B7F3-4EA9-A8FA-AB2E10A9553F}"/>
              </a:ext>
            </a:extLst>
          </p:cNvPr>
          <p:cNvGrpSpPr/>
          <p:nvPr/>
        </p:nvGrpSpPr>
        <p:grpSpPr>
          <a:xfrm>
            <a:off x="4329146" y="9679208"/>
            <a:ext cx="13958844" cy="666567"/>
            <a:chOff x="4329156" y="9649198"/>
            <a:chExt cx="13958844" cy="666567"/>
          </a:xfrm>
        </p:grpSpPr>
        <p:pic>
          <p:nvPicPr>
            <p:cNvPr id="32" name="Picture 12">
              <a:extLst>
                <a:ext uri="{FF2B5EF4-FFF2-40B4-BE49-F238E27FC236}">
                  <a16:creationId xmlns:a16="http://schemas.microsoft.com/office/drawing/2014/main" id="{DF5D43FC-984C-4CD1-A9F6-353AAE12CF73}"/>
                </a:ext>
              </a:extLst>
            </p:cNvPr>
            <p:cNvPicPr>
              <a:picLocks noChangeAspect="1"/>
            </p:cNvPicPr>
            <p:nvPr/>
          </p:nvPicPr>
          <p:blipFill>
            <a:blip r:embed="rId5"/>
            <a:srcRect l="134" t="91287" b="3943"/>
            <a:stretch>
              <a:fillRect/>
            </a:stretch>
          </p:blipFill>
          <p:spPr>
            <a:xfrm rot="-10800000">
              <a:off x="4329156" y="9649198"/>
              <a:ext cx="13958844" cy="666567"/>
            </a:xfrm>
            <a:prstGeom prst="rect">
              <a:avLst/>
            </a:prstGeom>
          </p:spPr>
        </p:pic>
        <p:sp>
          <p:nvSpPr>
            <p:cNvPr id="33" name="TextBox 16">
              <a:extLst>
                <a:ext uri="{FF2B5EF4-FFF2-40B4-BE49-F238E27FC236}">
                  <a16:creationId xmlns:a16="http://schemas.microsoft.com/office/drawing/2014/main" id="{7381287C-AA48-46D3-BD8C-ADADB074402B}"/>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spTree>
    <p:extLst>
      <p:ext uri="{BB962C8B-B14F-4D97-AF65-F5344CB8AC3E}">
        <p14:creationId xmlns:p14="http://schemas.microsoft.com/office/powerpoint/2010/main" val="22904708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6"/>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marL="0" marR="0" lvl="0" indent="0" algn="ctr" defTabSz="914400" rtl="0" eaLnBrk="1" fontAlgn="auto" latinLnBrk="0" hangingPunct="1">
                <a:lnSpc>
                  <a:spcPts val="3919"/>
                </a:lnSpc>
                <a:spcBef>
                  <a:spcPct val="0"/>
                </a:spcBef>
                <a:spcAft>
                  <a:spcPts val="0"/>
                </a:spcAft>
                <a:buClrTx/>
                <a:buSzTx/>
                <a:buFontTx/>
                <a:buNone/>
                <a:tabLst/>
                <a:defRPr/>
              </a:pPr>
              <a:r>
                <a:rPr kumimoji="0" lang="en-GB" sz="2800" b="1" i="0" u="none" strike="noStrike" kern="1200" cap="none" spc="0" normalizeH="0" baseline="0" dirty="0">
                  <a:ln>
                    <a:noFill/>
                  </a:ln>
                  <a:solidFill>
                    <a:srgbClr val="FFFFFF"/>
                  </a:solidFill>
                  <a:effectLst/>
                  <a:uLnTx/>
                  <a:uFillTx/>
                  <a:latin typeface="OCR A Extended" panose="02010509020102010303" pitchFamily="50" charset="0"/>
                  <a:ea typeface="+mn-ea"/>
                  <a:cs typeface="+mn-cs"/>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4"/>
          <a:srcRect/>
          <a:stretch>
            <a:fillRect/>
          </a:stretch>
        </p:blipFill>
        <p:spPr>
          <a:xfrm>
            <a:off x="0" y="9447976"/>
            <a:ext cx="3459892" cy="839024"/>
          </a:xfrm>
          <a:prstGeom prst="rect">
            <a:avLst/>
          </a:prstGeom>
        </p:spPr>
      </p:pic>
      <p:grpSp>
        <p:nvGrpSpPr>
          <p:cNvPr id="3" name="Gruppo 2">
            <a:extLst>
              <a:ext uri="{FF2B5EF4-FFF2-40B4-BE49-F238E27FC236}">
                <a16:creationId xmlns:a16="http://schemas.microsoft.com/office/drawing/2014/main" id="{1C29CBCA-BE0A-4EF6-AC69-329941E1DCFD}"/>
              </a:ext>
            </a:extLst>
          </p:cNvPr>
          <p:cNvGrpSpPr/>
          <p:nvPr/>
        </p:nvGrpSpPr>
        <p:grpSpPr>
          <a:xfrm>
            <a:off x="-12" y="138554"/>
            <a:ext cx="18288002" cy="681138"/>
            <a:chOff x="-12" y="138554"/>
            <a:chExt cx="18288002" cy="681138"/>
          </a:xfrm>
        </p:grpSpPr>
        <p:grpSp>
          <p:nvGrpSpPr>
            <p:cNvPr id="2" name="Gruppo 1">
              <a:extLst>
                <a:ext uri="{FF2B5EF4-FFF2-40B4-BE49-F238E27FC236}">
                  <a16:creationId xmlns:a16="http://schemas.microsoft.com/office/drawing/2014/main" id="{24E9C7AF-0093-476F-826C-A2702AB72892}"/>
                </a:ext>
              </a:extLst>
            </p:cNvPr>
            <p:cNvGrpSpPr/>
            <p:nvPr/>
          </p:nvGrpSpPr>
          <p:grpSpPr>
            <a:xfrm>
              <a:off x="0" y="153125"/>
              <a:ext cx="17907000" cy="666567"/>
              <a:chOff x="0" y="153125"/>
              <a:chExt cx="17907000" cy="666567"/>
            </a:xfrm>
          </p:grpSpPr>
          <p:grpSp>
            <p:nvGrpSpPr>
              <p:cNvPr id="16" name="Gruppo 15">
                <a:extLst>
                  <a:ext uri="{FF2B5EF4-FFF2-40B4-BE49-F238E27FC236}">
                    <a16:creationId xmlns:a16="http://schemas.microsoft.com/office/drawing/2014/main" id="{DAC42A46-917D-41AB-8F07-E15E54D0F7D4}"/>
                  </a:ext>
                </a:extLst>
              </p:cNvPr>
              <p:cNvGrpSpPr/>
              <p:nvPr/>
            </p:nvGrpSpPr>
            <p:grpSpPr>
              <a:xfrm>
                <a:off x="0" y="153125"/>
                <a:ext cx="13958844" cy="666567"/>
                <a:chOff x="0" y="153125"/>
                <a:chExt cx="13958844" cy="666567"/>
              </a:xfrm>
            </p:grpSpPr>
            <p:pic>
              <p:nvPicPr>
                <p:cNvPr id="10" name="Picture 10"/>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1" name="TextBox 11"/>
                <p:cNvSpPr txBox="1"/>
                <p:nvPr/>
              </p:nvSpPr>
              <p:spPr>
                <a:xfrm>
                  <a:off x="228600" y="257980"/>
                  <a:ext cx="9296400" cy="456856"/>
                </a:xfrm>
                <a:prstGeom prst="rect">
                  <a:avLst/>
                </a:prstGeom>
              </p:spPr>
              <p:txBody>
                <a:bodyPr wrap="square" lIns="0" tIns="0" rIns="0" bIns="0" rtlCol="0" anchor="t">
                  <a:spAutoFit/>
                </a:bodyPr>
                <a:lstStyle/>
                <a:p>
                  <a:pPr marL="0" marR="0" lvl="0" indent="0" algn="l" defTabSz="914400" rtl="0" eaLnBrk="1" fontAlgn="auto" latinLnBrk="0" hangingPunct="1">
                    <a:lnSpc>
                      <a:spcPts val="3919"/>
                    </a:lnSpc>
                    <a:spcBef>
                      <a:spcPct val="0"/>
                    </a:spcBef>
                    <a:spcAft>
                      <a:spcPts val="0"/>
                    </a:spcAft>
                    <a:buClrTx/>
                    <a:buSzTx/>
                    <a:buFontTx/>
                    <a:buNone/>
                    <a:tabLst/>
                    <a:defRPr/>
                  </a:pPr>
                  <a:endParaRPr kumimoji="0" lang="en-GB" sz="2800" b="1"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2" name="TextBox 11">
                <a:extLst>
                  <a:ext uri="{FF2B5EF4-FFF2-40B4-BE49-F238E27FC236}">
                    <a16:creationId xmlns:a16="http://schemas.microsoft.com/office/drawing/2014/main" id="{1BD9B5F4-614C-4EB6-8C5B-120A5420CE43}"/>
                  </a:ext>
                </a:extLst>
              </p:cNvPr>
              <p:cNvSpPr txBox="1"/>
              <p:nvPr/>
            </p:nvSpPr>
            <p:spPr>
              <a:xfrm>
                <a:off x="12154296" y="257980"/>
                <a:ext cx="5752704" cy="456856"/>
              </a:xfrm>
              <a:prstGeom prst="rect">
                <a:avLst/>
              </a:prstGeom>
            </p:spPr>
            <p:txBody>
              <a:bodyPr wrap="square" lIns="0" tIns="0" rIns="0" bIns="0" rtlCol="0" anchor="t">
                <a:spAutoFit/>
              </a:bodyPr>
              <a:lstStyle/>
              <a:p>
                <a:pPr marL="0" marR="0" lvl="0" indent="0" algn="r" defTabSz="914400" rtl="0" eaLnBrk="1" fontAlgn="auto" latinLnBrk="0" hangingPunct="1">
                  <a:lnSpc>
                    <a:spcPts val="3919"/>
                  </a:lnSpc>
                  <a:spcBef>
                    <a:spcPct val="0"/>
                  </a:spcBef>
                  <a:spcAft>
                    <a:spcPts val="0"/>
                  </a:spcAft>
                  <a:buClrTx/>
                  <a:buSzTx/>
                  <a:buFontTx/>
                  <a:buNone/>
                  <a:tabLst/>
                  <a:defRPr/>
                </a:pPr>
                <a:endParaRPr kumimoji="0" lang="en-GB" sz="2800" b="0" i="0" u="none" strike="noStrike" kern="1200" cap="none" spc="0" normalizeH="0" baseline="0" dirty="0">
                  <a:ln>
                    <a:noFill/>
                  </a:ln>
                  <a:solidFill>
                    <a:srgbClr val="2F2F2F">
                      <a:lumMod val="75000"/>
                      <a:lumOff val="25000"/>
                    </a:srgbClr>
                  </a:solidFill>
                  <a:effectLst/>
                  <a:uLnTx/>
                  <a:uFillTx/>
                  <a:latin typeface="Arial" panose="020B0604020202020204" pitchFamily="34" charset="0"/>
                  <a:ea typeface="+mn-ea"/>
                  <a:cs typeface="Arial" panose="020B0604020202020204" pitchFamily="34" charset="0"/>
                </a:endParaRPr>
              </a:p>
            </p:txBody>
          </p:sp>
        </p:grpSp>
        <p:sp>
          <p:nvSpPr>
            <p:cNvPr id="14" name="Rettangolo 13">
              <a:extLst>
                <a:ext uri="{FF2B5EF4-FFF2-40B4-BE49-F238E27FC236}">
                  <a16:creationId xmlns:a16="http://schemas.microsoft.com/office/drawing/2014/main" id="{55199736-B8B6-4C9A-8BAF-233E07A0CA89}"/>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srgbClr val="FFFFFF"/>
                </a:solidFill>
                <a:effectLst/>
                <a:uLnTx/>
                <a:uFillTx/>
                <a:latin typeface="Arial"/>
                <a:ea typeface="+mn-ea"/>
                <a:cs typeface="+mn-cs"/>
              </a:endParaRPr>
            </a:p>
          </p:txBody>
        </p:sp>
      </p:grpSp>
      <p:sp>
        <p:nvSpPr>
          <p:cNvPr id="13" name="TextBox 13"/>
          <p:cNvSpPr txBox="1"/>
          <p:nvPr/>
        </p:nvSpPr>
        <p:spPr>
          <a:xfrm>
            <a:off x="1923254" y="763220"/>
            <a:ext cx="13563599" cy="1052468"/>
          </a:xfrm>
          <a:prstGeom prst="rect">
            <a:avLst/>
          </a:prstGeom>
        </p:spPr>
        <p:txBody>
          <a:bodyPr wrap="square" lIns="0" tIns="0" rIns="0" bIns="0" rtlCol="0" anchor="t">
            <a:spAutoFit/>
          </a:bodyPr>
          <a:lstStyle/>
          <a:p>
            <a:pPr marL="0" marR="0" lvl="0" indent="0" algn="ctr" defTabSz="914400" rtl="0" eaLnBrk="1" fontAlgn="auto" latinLnBrk="0" hangingPunct="1">
              <a:lnSpc>
                <a:spcPts val="8960"/>
              </a:lnSpc>
              <a:spcBef>
                <a:spcPct val="0"/>
              </a:spcBef>
              <a:spcAft>
                <a:spcPts val="0"/>
              </a:spcAft>
              <a:buClrTx/>
              <a:buSzTx/>
              <a:buFontTx/>
              <a:buNone/>
              <a:tabLst/>
              <a:defRPr/>
            </a:pPr>
            <a:r>
              <a:rPr kumimoji="0" lang="en-GB" sz="6400" b="1" i="1" u="none" strike="noStrike" kern="1200" cap="none" spc="0" normalizeH="0" baseline="0" dirty="0">
                <a:ln>
                  <a:noFill/>
                </a:ln>
                <a:solidFill>
                  <a:srgbClr val="CC0033"/>
                </a:solidFill>
                <a:effectLst/>
                <a:uLnTx/>
                <a:uFillTx/>
                <a:latin typeface="Arial"/>
                <a:ea typeface="+mn-ea"/>
                <a:cs typeface="Arial" panose="020B0604020202020204" pitchFamily="34" charset="0"/>
              </a:rPr>
              <a:t>Did you know?</a:t>
            </a:r>
          </a:p>
        </p:txBody>
      </p:sp>
      <p:sp>
        <p:nvSpPr>
          <p:cNvPr id="5" name="TextBox 4">
            <a:extLst>
              <a:ext uri="{FF2B5EF4-FFF2-40B4-BE49-F238E27FC236}">
                <a16:creationId xmlns:a16="http://schemas.microsoft.com/office/drawing/2014/main" id="{1AD04ADB-F755-4165-815C-C8E53AEBE407}"/>
              </a:ext>
            </a:extLst>
          </p:cNvPr>
          <p:cNvSpPr txBox="1"/>
          <p:nvPr/>
        </p:nvSpPr>
        <p:spPr>
          <a:xfrm>
            <a:off x="647272" y="2114240"/>
            <a:ext cx="10135455" cy="523220"/>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800" b="0" i="0" u="none" strike="noStrike" kern="1200" cap="none" spc="0" normalizeH="0" baseline="0" dirty="0">
                <a:ln>
                  <a:noFill/>
                </a:ln>
                <a:solidFill>
                  <a:srgbClr val="2F2F2F"/>
                </a:solidFill>
                <a:effectLst/>
                <a:uLnTx/>
                <a:uFillTx/>
                <a:latin typeface="Arial"/>
                <a:ea typeface="+mn-ea"/>
                <a:cs typeface="+mn-cs"/>
              </a:rPr>
              <a:t>The largest market of ceramic is concentrated in this country:</a:t>
            </a:r>
          </a:p>
        </p:txBody>
      </p:sp>
      <p:sp>
        <p:nvSpPr>
          <p:cNvPr id="4" name="Wave 3">
            <a:extLst>
              <a:ext uri="{FF2B5EF4-FFF2-40B4-BE49-F238E27FC236}">
                <a16:creationId xmlns:a16="http://schemas.microsoft.com/office/drawing/2014/main" id="{3C949247-B54C-4A95-81C8-9E9EA63ACC57}"/>
              </a:ext>
            </a:extLst>
          </p:cNvPr>
          <p:cNvSpPr/>
          <p:nvPr/>
        </p:nvSpPr>
        <p:spPr>
          <a:xfrm>
            <a:off x="12705981" y="1782108"/>
            <a:ext cx="3056021" cy="1052468"/>
          </a:xfrm>
          <a:prstGeom prst="wav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dirty="0">
                <a:ln>
                  <a:noFill/>
                </a:ln>
                <a:solidFill>
                  <a:srgbClr val="FFFFFF"/>
                </a:solidFill>
                <a:effectLst/>
                <a:uLnTx/>
                <a:uFillTx/>
                <a:latin typeface="Arial"/>
                <a:ea typeface="+mn-ea"/>
                <a:cs typeface="+mn-cs"/>
              </a:rPr>
              <a:t>SPAIN</a:t>
            </a:r>
          </a:p>
        </p:txBody>
      </p:sp>
      <p:sp>
        <p:nvSpPr>
          <p:cNvPr id="6" name="Rectangle 5">
            <a:extLst>
              <a:ext uri="{FF2B5EF4-FFF2-40B4-BE49-F238E27FC236}">
                <a16:creationId xmlns:a16="http://schemas.microsoft.com/office/drawing/2014/main" id="{0FD9A665-B060-47EE-BE9A-9BA783C0D181}"/>
              </a:ext>
            </a:extLst>
          </p:cNvPr>
          <p:cNvSpPr/>
          <p:nvPr/>
        </p:nvSpPr>
        <p:spPr>
          <a:xfrm>
            <a:off x="670098" y="2984348"/>
            <a:ext cx="15257941" cy="1052468"/>
          </a:xfrm>
          <a:prstGeom prst="rect">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dirty="0">
                <a:ln>
                  <a:noFill/>
                </a:ln>
                <a:solidFill>
                  <a:srgbClr val="2F2F2F"/>
                </a:solidFill>
                <a:effectLst/>
                <a:uLnTx/>
                <a:uFillTx/>
                <a:latin typeface="Arial"/>
                <a:ea typeface="+mn-ea"/>
                <a:cs typeface="+mn-cs"/>
              </a:rPr>
              <a:t>There are 40 manufacture facilities of frits in Europe, 21 in Spain followed by 9 in Ital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dirty="0">
                <a:ln>
                  <a:noFill/>
                </a:ln>
                <a:solidFill>
                  <a:srgbClr val="2F2F2F"/>
                </a:solidFill>
                <a:effectLst/>
                <a:uLnTx/>
                <a:uFillTx/>
                <a:latin typeface="Arial"/>
                <a:ea typeface="+mn-ea"/>
                <a:cs typeface="+mn-cs"/>
              </a:rPr>
              <a:t>The estimated annual production of frit in Europe is between 0.9 and 1.125 million metric tonne</a:t>
            </a:r>
            <a:endParaRPr kumimoji="0" lang="en-GB" sz="1800" b="0" i="0" u="none" strike="noStrike" kern="1200" cap="none" spc="0" normalizeH="0" baseline="0" dirty="0">
              <a:ln>
                <a:noFill/>
              </a:ln>
              <a:solidFill>
                <a:srgbClr val="FFFFFF"/>
              </a:solidFill>
              <a:effectLst/>
              <a:uLnTx/>
              <a:uFillTx/>
              <a:latin typeface="Arial"/>
              <a:ea typeface="+mn-ea"/>
              <a:cs typeface="+mn-cs"/>
            </a:endParaRPr>
          </a:p>
        </p:txBody>
      </p:sp>
      <p:sp>
        <p:nvSpPr>
          <p:cNvPr id="26" name="TextBox 25">
            <a:extLst>
              <a:ext uri="{FF2B5EF4-FFF2-40B4-BE49-F238E27FC236}">
                <a16:creationId xmlns:a16="http://schemas.microsoft.com/office/drawing/2014/main" id="{234FE021-978A-4FF9-A6B5-4D3D973BA55A}"/>
              </a:ext>
            </a:extLst>
          </p:cNvPr>
          <p:cNvSpPr txBox="1"/>
          <p:nvPr/>
        </p:nvSpPr>
        <p:spPr>
          <a:xfrm>
            <a:off x="801301" y="7074242"/>
            <a:ext cx="10135455" cy="523220"/>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800" b="0" i="0" u="none" strike="noStrike" kern="1200" cap="none" spc="0" normalizeH="0" baseline="0" dirty="0">
                <a:ln>
                  <a:noFill/>
                </a:ln>
                <a:solidFill>
                  <a:srgbClr val="2F2F2F"/>
                </a:solidFill>
                <a:effectLst/>
                <a:uLnTx/>
                <a:uFillTx/>
                <a:latin typeface="Arial"/>
                <a:ea typeface="+mn-ea"/>
                <a:cs typeface="+mn-cs"/>
              </a:rPr>
              <a:t>The price of fertilizers €/tonne bulk </a:t>
            </a:r>
            <a:r>
              <a:rPr kumimoji="0" lang="en-GB" sz="2800" b="0" i="0" u="none" strike="noStrike" kern="1200" cap="none" spc="0" normalizeH="0" baseline="0" dirty="0" err="1">
                <a:ln>
                  <a:noFill/>
                </a:ln>
                <a:solidFill>
                  <a:srgbClr val="2F2F2F"/>
                </a:solidFill>
                <a:effectLst/>
                <a:uLnTx/>
                <a:uFillTx/>
                <a:latin typeface="Arial"/>
                <a:ea typeface="+mn-ea"/>
                <a:cs typeface="+mn-cs"/>
              </a:rPr>
              <a:t>uin</a:t>
            </a:r>
            <a:r>
              <a:rPr kumimoji="0" lang="en-GB" sz="2800" b="0" i="0" u="none" strike="noStrike" kern="1200" cap="none" spc="0" normalizeH="0" baseline="0" dirty="0">
                <a:ln>
                  <a:noFill/>
                </a:ln>
                <a:solidFill>
                  <a:srgbClr val="2F2F2F"/>
                </a:solidFill>
                <a:effectLst/>
                <a:uLnTx/>
                <a:uFillTx/>
                <a:latin typeface="Arial"/>
                <a:ea typeface="+mn-ea"/>
                <a:cs typeface="+mn-cs"/>
              </a:rPr>
              <a:t> 202 ranges between</a:t>
            </a:r>
          </a:p>
        </p:txBody>
      </p:sp>
      <p:sp>
        <p:nvSpPr>
          <p:cNvPr id="27" name="Wave 26">
            <a:extLst>
              <a:ext uri="{FF2B5EF4-FFF2-40B4-BE49-F238E27FC236}">
                <a16:creationId xmlns:a16="http://schemas.microsoft.com/office/drawing/2014/main" id="{33E374F7-4B02-4093-ADD5-068DDC1A6158}"/>
              </a:ext>
            </a:extLst>
          </p:cNvPr>
          <p:cNvSpPr/>
          <p:nvPr/>
        </p:nvSpPr>
        <p:spPr>
          <a:xfrm>
            <a:off x="12466874" y="6730878"/>
            <a:ext cx="3866309" cy="1289978"/>
          </a:xfrm>
          <a:prstGeom prst="wav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dirty="0">
                <a:ln>
                  <a:noFill/>
                </a:ln>
                <a:solidFill>
                  <a:srgbClr val="FFFFFF"/>
                </a:solidFill>
                <a:effectLst/>
                <a:uLnTx/>
                <a:uFillTx/>
                <a:latin typeface="Arial"/>
                <a:ea typeface="+mn-ea"/>
                <a:cs typeface="+mn-cs"/>
              </a:rPr>
              <a:t>150-370 €/ton (in 2020)</a:t>
            </a:r>
          </a:p>
        </p:txBody>
      </p:sp>
      <p:sp>
        <p:nvSpPr>
          <p:cNvPr id="7" name="Rectangle 6">
            <a:extLst>
              <a:ext uri="{FF2B5EF4-FFF2-40B4-BE49-F238E27FC236}">
                <a16:creationId xmlns:a16="http://schemas.microsoft.com/office/drawing/2014/main" id="{496B33CA-43D5-51F9-750E-D568F6531C7C}"/>
              </a:ext>
            </a:extLst>
          </p:cNvPr>
          <p:cNvSpPr/>
          <p:nvPr/>
        </p:nvSpPr>
        <p:spPr>
          <a:xfrm>
            <a:off x="670098" y="8116996"/>
            <a:ext cx="16723949" cy="1286823"/>
          </a:xfrm>
          <a:prstGeom prst="rect">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dirty="0">
                <a:ln>
                  <a:noFill/>
                </a:ln>
                <a:solidFill>
                  <a:srgbClr val="2F2F2F"/>
                </a:solidFill>
                <a:effectLst/>
                <a:uLnTx/>
                <a:uFillTx/>
                <a:latin typeface="Arial"/>
                <a:ea typeface="+mn-ea"/>
                <a:cs typeface="+mn-cs"/>
              </a:rPr>
              <a:t>There has been a steep increase in the price of fertilizers since 2020. In 2022, the price was in the range of 500-800€/ton. This is due to the increase in the price of raw materials such as ammonia, phosphorous, sulphur, and natural gas.</a:t>
            </a:r>
          </a:p>
        </p:txBody>
      </p:sp>
      <p:sp>
        <p:nvSpPr>
          <p:cNvPr id="9" name="TextBox 8">
            <a:extLst>
              <a:ext uri="{FF2B5EF4-FFF2-40B4-BE49-F238E27FC236}">
                <a16:creationId xmlns:a16="http://schemas.microsoft.com/office/drawing/2014/main" id="{DE47C2BD-0124-BCDF-53DD-5BE93754F23D}"/>
              </a:ext>
            </a:extLst>
          </p:cNvPr>
          <p:cNvSpPr txBox="1"/>
          <p:nvPr/>
        </p:nvSpPr>
        <p:spPr>
          <a:xfrm>
            <a:off x="505280" y="4370690"/>
            <a:ext cx="14525368" cy="523220"/>
          </a:xfrm>
          <a:prstGeom prst="rect">
            <a:avLst/>
          </a:prstGeom>
          <a:noFill/>
        </p:spPr>
        <p:txBody>
          <a:bodyPr wrap="square">
            <a:spAutoFit/>
          </a:bodyPr>
          <a:lstStyle/>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800" b="0" i="0" u="none" strike="noStrike" kern="1200" cap="none" spc="0" normalizeH="0" baseline="0" dirty="0">
                <a:ln>
                  <a:noFill/>
                </a:ln>
                <a:solidFill>
                  <a:srgbClr val="2F2F2F"/>
                </a:solidFill>
                <a:effectLst/>
                <a:uLnTx/>
                <a:uFillTx/>
                <a:latin typeface="Arial"/>
                <a:ea typeface="+mn-ea"/>
                <a:cs typeface="+mn-cs"/>
              </a:rPr>
              <a:t>The major raw material used in the cement industry (in mass flow)</a:t>
            </a:r>
            <a:endParaRPr kumimoji="0" lang="en-GB" sz="1800" b="0" i="0" u="none" strike="noStrike" kern="1200" cap="none" spc="0" normalizeH="0" baseline="0" dirty="0">
              <a:ln>
                <a:noFill/>
              </a:ln>
              <a:solidFill>
                <a:srgbClr val="2F2F2F"/>
              </a:solidFill>
              <a:effectLst/>
              <a:uLnTx/>
              <a:uFillTx/>
              <a:latin typeface="Arial"/>
              <a:ea typeface="+mn-ea"/>
              <a:cs typeface="+mn-cs"/>
            </a:endParaRPr>
          </a:p>
        </p:txBody>
      </p:sp>
      <p:sp>
        <p:nvSpPr>
          <p:cNvPr id="15" name="Wave 14">
            <a:extLst>
              <a:ext uri="{FF2B5EF4-FFF2-40B4-BE49-F238E27FC236}">
                <a16:creationId xmlns:a16="http://schemas.microsoft.com/office/drawing/2014/main" id="{6F3771B9-9EB7-AA02-2494-77D50CA2357D}"/>
              </a:ext>
            </a:extLst>
          </p:cNvPr>
          <p:cNvSpPr/>
          <p:nvPr/>
        </p:nvSpPr>
        <p:spPr>
          <a:xfrm>
            <a:off x="12750188" y="4106182"/>
            <a:ext cx="3056021" cy="1052468"/>
          </a:xfrm>
          <a:prstGeom prst="wav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dirty="0">
                <a:ln>
                  <a:noFill/>
                </a:ln>
                <a:solidFill>
                  <a:srgbClr val="FFFFFF"/>
                </a:solidFill>
                <a:effectLst/>
                <a:uLnTx/>
                <a:uFillTx/>
                <a:latin typeface="Arial"/>
                <a:ea typeface="+mn-ea"/>
                <a:cs typeface="+mn-cs"/>
              </a:rPr>
              <a:t>Gypsum</a:t>
            </a:r>
          </a:p>
        </p:txBody>
      </p:sp>
      <p:sp>
        <p:nvSpPr>
          <p:cNvPr id="21" name="Rectangle 20">
            <a:extLst>
              <a:ext uri="{FF2B5EF4-FFF2-40B4-BE49-F238E27FC236}">
                <a16:creationId xmlns:a16="http://schemas.microsoft.com/office/drawing/2014/main" id="{451DDA03-12AC-9632-A7FB-E5A40B9254F7}"/>
              </a:ext>
            </a:extLst>
          </p:cNvPr>
          <p:cNvSpPr/>
          <p:nvPr/>
        </p:nvSpPr>
        <p:spPr>
          <a:xfrm>
            <a:off x="544496" y="5291068"/>
            <a:ext cx="17074493" cy="1385887"/>
          </a:xfrm>
          <a:prstGeom prst="rect">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dirty="0">
                <a:ln>
                  <a:noFill/>
                </a:ln>
                <a:solidFill>
                  <a:srgbClr val="2F2F2F"/>
                </a:solidFill>
                <a:effectLst/>
                <a:uLnTx/>
                <a:uFillTx/>
                <a:latin typeface="Arial"/>
                <a:ea typeface="+mn-ea"/>
                <a:cs typeface="+mn-cs"/>
              </a:rPr>
              <a:t>Gypsum is a mineral composed of calcium sulphate dihydrate. Gypsum, Limestone and Marl are used in the cement industry in quantities of 100 thousand in order of magnitude. Sand is used in quantities of thousand in order of magnitude. </a:t>
            </a:r>
          </a:p>
        </p:txBody>
      </p:sp>
    </p:spTree>
    <p:extLst>
      <p:ext uri="{BB962C8B-B14F-4D97-AF65-F5344CB8AC3E}">
        <p14:creationId xmlns:p14="http://schemas.microsoft.com/office/powerpoint/2010/main" val="4058420308"/>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2">
            <a:extLst>
              <a:ext uri="{FF2B5EF4-FFF2-40B4-BE49-F238E27FC236}">
                <a16:creationId xmlns:a16="http://schemas.microsoft.com/office/drawing/2014/main" id="{C3A85BC6-D0E0-418B-A40B-4D9548DE0D08}"/>
              </a:ext>
            </a:extLst>
          </p:cNvPr>
          <p:cNvSpPr txBox="1">
            <a:spLocks noChangeArrowheads="1"/>
          </p:cNvSpPr>
          <p:nvPr/>
        </p:nvSpPr>
        <p:spPr bwMode="auto">
          <a:xfrm>
            <a:off x="13586029" y="9114314"/>
            <a:ext cx="4896677" cy="5233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buFontTx/>
              <a:buNone/>
            </a:pPr>
            <a:r>
              <a:rPr lang="en-GB" altLang="en-US" sz="2801"/>
              <a:t>Reference: ISO 14040-2006</a:t>
            </a:r>
          </a:p>
        </p:txBody>
      </p:sp>
      <p:grpSp>
        <p:nvGrpSpPr>
          <p:cNvPr id="42" name="Gruppo 2">
            <a:extLst>
              <a:ext uri="{FF2B5EF4-FFF2-40B4-BE49-F238E27FC236}">
                <a16:creationId xmlns:a16="http://schemas.microsoft.com/office/drawing/2014/main" id="{6B4025AE-7F72-4365-9919-B34BA7B68EDB}"/>
              </a:ext>
            </a:extLst>
          </p:cNvPr>
          <p:cNvGrpSpPr/>
          <p:nvPr/>
        </p:nvGrpSpPr>
        <p:grpSpPr>
          <a:xfrm>
            <a:off x="-12" y="138554"/>
            <a:ext cx="18288002" cy="681138"/>
            <a:chOff x="-12" y="138554"/>
            <a:chExt cx="18288002" cy="681138"/>
          </a:xfrm>
        </p:grpSpPr>
        <p:grpSp>
          <p:nvGrpSpPr>
            <p:cNvPr id="43" name="Gruppo 1">
              <a:extLst>
                <a:ext uri="{FF2B5EF4-FFF2-40B4-BE49-F238E27FC236}">
                  <a16:creationId xmlns:a16="http://schemas.microsoft.com/office/drawing/2014/main" id="{FA502D7E-443D-4515-AFFC-75769AB4A34F}"/>
                </a:ext>
              </a:extLst>
            </p:cNvPr>
            <p:cNvGrpSpPr/>
            <p:nvPr/>
          </p:nvGrpSpPr>
          <p:grpSpPr>
            <a:xfrm>
              <a:off x="0" y="153125"/>
              <a:ext cx="17907000" cy="666567"/>
              <a:chOff x="0" y="153125"/>
              <a:chExt cx="17907000" cy="666567"/>
            </a:xfrm>
          </p:grpSpPr>
          <p:pic>
            <p:nvPicPr>
              <p:cNvPr id="47" name="Picture 46">
                <a:extLst>
                  <a:ext uri="{FF2B5EF4-FFF2-40B4-BE49-F238E27FC236}">
                    <a16:creationId xmlns:a16="http://schemas.microsoft.com/office/drawing/2014/main" id="{60BA42B2-40B8-450C-A708-350231839EAC}"/>
                  </a:ext>
                </a:extLst>
              </p:cNvPr>
              <p:cNvPicPr>
                <a:picLocks noChangeAspect="1"/>
              </p:cNvPicPr>
              <p:nvPr/>
            </p:nvPicPr>
            <p:blipFill>
              <a:blip r:embed="rId3"/>
              <a:srcRect l="134" t="91287" b="3943"/>
              <a:stretch>
                <a:fillRect/>
              </a:stretch>
            </p:blipFill>
            <p:spPr>
              <a:xfrm>
                <a:off x="0" y="153125"/>
                <a:ext cx="13958844" cy="666567"/>
              </a:xfrm>
              <a:prstGeom prst="rect">
                <a:avLst/>
              </a:prstGeom>
            </p:spPr>
          </p:pic>
          <p:sp>
            <p:nvSpPr>
              <p:cNvPr id="46" name="TextBox 45">
                <a:extLst>
                  <a:ext uri="{FF2B5EF4-FFF2-40B4-BE49-F238E27FC236}">
                    <a16:creationId xmlns:a16="http://schemas.microsoft.com/office/drawing/2014/main" id="{96898C78-2647-4423-942B-5A4857589077}"/>
                  </a:ext>
                </a:extLst>
              </p:cNvPr>
              <p:cNvSpPr txBox="1"/>
              <p:nvPr/>
            </p:nvSpPr>
            <p:spPr>
              <a:xfrm>
                <a:off x="12154296" y="257980"/>
                <a:ext cx="5752704" cy="456856"/>
              </a:xfrm>
              <a:prstGeom prst="rect">
                <a:avLst/>
              </a:prstGeom>
            </p:spPr>
            <p:txBody>
              <a:bodyPr wrap="square" lIns="0" tIns="0" rIns="0" bIns="0" rtlCol="0" anchor="t">
                <a:spAutoFit/>
              </a:bodyPr>
              <a:lstStyle/>
              <a:p>
                <a:pPr algn="r">
                  <a:lnSpc>
                    <a:spcPts val="3919"/>
                  </a:lnSpc>
                  <a:spcBef>
                    <a:spcPct val="0"/>
                  </a:spcBef>
                </a:pPr>
                <a:endParaRPr lang="en-US" sz="2800">
                  <a:solidFill>
                    <a:schemeClr val="tx1">
                      <a:lumMod val="75000"/>
                      <a:lumOff val="25000"/>
                    </a:schemeClr>
                  </a:solidFill>
                  <a:latin typeface="Arial" panose="020B0604020202020204" pitchFamily="34" charset="0"/>
                  <a:cs typeface="Arial" panose="020B0604020202020204" pitchFamily="34" charset="0"/>
                </a:endParaRPr>
              </a:p>
            </p:txBody>
          </p:sp>
        </p:grpSp>
        <p:sp>
          <p:nvSpPr>
            <p:cNvPr id="44" name="Rettangolo 13">
              <a:extLst>
                <a:ext uri="{FF2B5EF4-FFF2-40B4-BE49-F238E27FC236}">
                  <a16:creationId xmlns:a16="http://schemas.microsoft.com/office/drawing/2014/main" id="{0CFD38BF-3F8E-4DCB-9CE3-792C7FAA28D3}"/>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49" name="TextBox 48">
            <a:extLst>
              <a:ext uri="{FF2B5EF4-FFF2-40B4-BE49-F238E27FC236}">
                <a16:creationId xmlns:a16="http://schemas.microsoft.com/office/drawing/2014/main" id="{CF176D36-8683-4226-BAD9-8E6C6C26D843}"/>
              </a:ext>
            </a:extLst>
          </p:cNvPr>
          <p:cNvSpPr txBox="1"/>
          <p:nvPr/>
        </p:nvSpPr>
        <p:spPr>
          <a:xfrm>
            <a:off x="-197886" y="930486"/>
            <a:ext cx="18288012" cy="1077218"/>
          </a:xfrm>
          <a:prstGeom prst="rect">
            <a:avLst/>
          </a:prstGeom>
          <a:noFill/>
        </p:spPr>
        <p:txBody>
          <a:bodyPr wrap="square">
            <a:spAutoFit/>
          </a:bodyPr>
          <a:lstStyle/>
          <a:p>
            <a:pPr algn="ctr"/>
            <a:r>
              <a:rPr lang="sv-SE" sz="6400" b="1">
                <a:solidFill>
                  <a:srgbClr val="CC0033"/>
                </a:solidFill>
                <a:latin typeface="+mj-lt"/>
                <a:cs typeface="Arial" panose="020B0604020202020204" pitchFamily="34" charset="0"/>
              </a:rPr>
              <a:t> Product system</a:t>
            </a:r>
          </a:p>
        </p:txBody>
      </p:sp>
      <p:pic>
        <p:nvPicPr>
          <p:cNvPr id="50" name="Picture 12">
            <a:extLst>
              <a:ext uri="{FF2B5EF4-FFF2-40B4-BE49-F238E27FC236}">
                <a16:creationId xmlns:a16="http://schemas.microsoft.com/office/drawing/2014/main" id="{11BAD5E0-D79A-497C-B30A-62986D735251}"/>
              </a:ext>
            </a:extLst>
          </p:cNvPr>
          <p:cNvPicPr>
            <a:picLocks noChangeAspect="1"/>
          </p:cNvPicPr>
          <p:nvPr/>
        </p:nvPicPr>
        <p:blipFill>
          <a:blip r:embed="rId4"/>
          <a:srcRect/>
          <a:stretch>
            <a:fillRect/>
          </a:stretch>
        </p:blipFill>
        <p:spPr>
          <a:xfrm>
            <a:off x="0" y="8901113"/>
            <a:ext cx="5715000" cy="1385887"/>
          </a:xfrm>
          <a:prstGeom prst="rect">
            <a:avLst/>
          </a:prstGeom>
        </p:spPr>
      </p:pic>
      <p:grpSp>
        <p:nvGrpSpPr>
          <p:cNvPr id="51" name="Gruppo 16">
            <a:extLst>
              <a:ext uri="{FF2B5EF4-FFF2-40B4-BE49-F238E27FC236}">
                <a16:creationId xmlns:a16="http://schemas.microsoft.com/office/drawing/2014/main" id="{B2B6F8B4-E42A-413F-88B1-676A13A177E0}"/>
              </a:ext>
            </a:extLst>
          </p:cNvPr>
          <p:cNvGrpSpPr/>
          <p:nvPr/>
        </p:nvGrpSpPr>
        <p:grpSpPr>
          <a:xfrm>
            <a:off x="4329146" y="9679208"/>
            <a:ext cx="13958844" cy="666567"/>
            <a:chOff x="4329156" y="9649198"/>
            <a:chExt cx="13958844" cy="666567"/>
          </a:xfrm>
        </p:grpSpPr>
        <p:pic>
          <p:nvPicPr>
            <p:cNvPr id="52" name="Picture 12">
              <a:extLst>
                <a:ext uri="{FF2B5EF4-FFF2-40B4-BE49-F238E27FC236}">
                  <a16:creationId xmlns:a16="http://schemas.microsoft.com/office/drawing/2014/main" id="{400BFA2B-E7E9-47AA-BE91-E5347787A50F}"/>
                </a:ext>
              </a:extLst>
            </p:cNvPr>
            <p:cNvPicPr>
              <a:picLocks noChangeAspect="1"/>
            </p:cNvPicPr>
            <p:nvPr/>
          </p:nvPicPr>
          <p:blipFill>
            <a:blip r:embed="rId5"/>
            <a:srcRect l="134" t="91287" b="3943"/>
            <a:stretch>
              <a:fillRect/>
            </a:stretch>
          </p:blipFill>
          <p:spPr>
            <a:xfrm rot="-10800000">
              <a:off x="4329156" y="9649198"/>
              <a:ext cx="13958844" cy="666567"/>
            </a:xfrm>
            <a:prstGeom prst="rect">
              <a:avLst/>
            </a:prstGeom>
          </p:spPr>
        </p:pic>
        <p:sp>
          <p:nvSpPr>
            <p:cNvPr id="53" name="TextBox 16">
              <a:extLst>
                <a:ext uri="{FF2B5EF4-FFF2-40B4-BE49-F238E27FC236}">
                  <a16:creationId xmlns:a16="http://schemas.microsoft.com/office/drawing/2014/main" id="{82D82C80-EAF9-42DA-8557-E892699459B4}"/>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grpSp>
        <p:nvGrpSpPr>
          <p:cNvPr id="3" name="Group 2">
            <a:extLst>
              <a:ext uri="{FF2B5EF4-FFF2-40B4-BE49-F238E27FC236}">
                <a16:creationId xmlns:a16="http://schemas.microsoft.com/office/drawing/2014/main" id="{7D3A9FCF-0238-7C47-9E83-10B869AE2FB5}"/>
              </a:ext>
            </a:extLst>
          </p:cNvPr>
          <p:cNvGrpSpPr/>
          <p:nvPr/>
        </p:nvGrpSpPr>
        <p:grpSpPr>
          <a:xfrm>
            <a:off x="8702592" y="2630356"/>
            <a:ext cx="8439811" cy="5439040"/>
            <a:chOff x="8702592" y="2630356"/>
            <a:chExt cx="8439811" cy="5439040"/>
          </a:xfrm>
        </p:grpSpPr>
        <p:graphicFrame>
          <p:nvGraphicFramePr>
            <p:cNvPr id="9" name="Diagram 8">
              <a:extLst>
                <a:ext uri="{FF2B5EF4-FFF2-40B4-BE49-F238E27FC236}">
                  <a16:creationId xmlns:a16="http://schemas.microsoft.com/office/drawing/2014/main" id="{06E656C4-7E32-4B36-B2CB-6D916D19323E}"/>
                </a:ext>
              </a:extLst>
            </p:cNvPr>
            <p:cNvGraphicFramePr/>
            <p:nvPr/>
          </p:nvGraphicFramePr>
          <p:xfrm>
            <a:off x="9981895" y="2630356"/>
            <a:ext cx="5638800" cy="5439040"/>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10" name="Arrow: Right 9">
              <a:extLst>
                <a:ext uri="{FF2B5EF4-FFF2-40B4-BE49-F238E27FC236}">
                  <a16:creationId xmlns:a16="http://schemas.microsoft.com/office/drawing/2014/main" id="{DC17456D-F23C-40A1-8D56-DAE461B96848}"/>
                </a:ext>
              </a:extLst>
            </p:cNvPr>
            <p:cNvSpPr/>
            <p:nvPr/>
          </p:nvSpPr>
          <p:spPr>
            <a:xfrm>
              <a:off x="10738918" y="3109312"/>
              <a:ext cx="820770" cy="49381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2700"/>
            </a:p>
          </p:txBody>
        </p:sp>
        <p:sp>
          <p:nvSpPr>
            <p:cNvPr id="11" name="Arrow: Right 10">
              <a:extLst>
                <a:ext uri="{FF2B5EF4-FFF2-40B4-BE49-F238E27FC236}">
                  <a16:creationId xmlns:a16="http://schemas.microsoft.com/office/drawing/2014/main" id="{FC441E62-2D4D-473A-83F6-0227FF6B6C15}"/>
                </a:ext>
              </a:extLst>
            </p:cNvPr>
            <p:cNvSpPr/>
            <p:nvPr/>
          </p:nvSpPr>
          <p:spPr>
            <a:xfrm>
              <a:off x="14033263" y="3124888"/>
              <a:ext cx="820770" cy="49381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2700"/>
            </a:p>
          </p:txBody>
        </p:sp>
        <p:sp>
          <p:nvSpPr>
            <p:cNvPr id="12" name="Arrow: Right 11">
              <a:extLst>
                <a:ext uri="{FF2B5EF4-FFF2-40B4-BE49-F238E27FC236}">
                  <a16:creationId xmlns:a16="http://schemas.microsoft.com/office/drawing/2014/main" id="{04B61BBD-6A62-4622-8E5B-34069BF4DD78}"/>
                </a:ext>
              </a:extLst>
            </p:cNvPr>
            <p:cNvSpPr/>
            <p:nvPr/>
          </p:nvSpPr>
          <p:spPr>
            <a:xfrm>
              <a:off x="10738918" y="5098711"/>
              <a:ext cx="820770" cy="49381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2700"/>
            </a:p>
          </p:txBody>
        </p:sp>
        <p:sp>
          <p:nvSpPr>
            <p:cNvPr id="13" name="Arrow: Right 12">
              <a:extLst>
                <a:ext uri="{FF2B5EF4-FFF2-40B4-BE49-F238E27FC236}">
                  <a16:creationId xmlns:a16="http://schemas.microsoft.com/office/drawing/2014/main" id="{03090BC0-6C0F-4340-8DF7-A108FB6FC9D0}"/>
                </a:ext>
              </a:extLst>
            </p:cNvPr>
            <p:cNvSpPr/>
            <p:nvPr/>
          </p:nvSpPr>
          <p:spPr>
            <a:xfrm>
              <a:off x="14033263" y="5102319"/>
              <a:ext cx="820770" cy="49381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2700"/>
            </a:p>
          </p:txBody>
        </p:sp>
        <p:sp>
          <p:nvSpPr>
            <p:cNvPr id="14" name="Arrow: Right 13">
              <a:extLst>
                <a:ext uri="{FF2B5EF4-FFF2-40B4-BE49-F238E27FC236}">
                  <a16:creationId xmlns:a16="http://schemas.microsoft.com/office/drawing/2014/main" id="{2D2B50F3-D9C7-4D30-BECB-46FC72DDAB59}"/>
                </a:ext>
              </a:extLst>
            </p:cNvPr>
            <p:cNvSpPr/>
            <p:nvPr/>
          </p:nvSpPr>
          <p:spPr>
            <a:xfrm>
              <a:off x="10741959" y="7189646"/>
              <a:ext cx="820770" cy="49381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2700"/>
            </a:p>
          </p:txBody>
        </p:sp>
        <p:sp>
          <p:nvSpPr>
            <p:cNvPr id="15" name="Arrow: Right 14">
              <a:extLst>
                <a:ext uri="{FF2B5EF4-FFF2-40B4-BE49-F238E27FC236}">
                  <a16:creationId xmlns:a16="http://schemas.microsoft.com/office/drawing/2014/main" id="{D5067A08-FF3E-46B7-BFA1-1C1F841B8906}"/>
                </a:ext>
              </a:extLst>
            </p:cNvPr>
            <p:cNvSpPr/>
            <p:nvPr/>
          </p:nvSpPr>
          <p:spPr>
            <a:xfrm>
              <a:off x="14033263" y="7189646"/>
              <a:ext cx="820770" cy="49381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2700"/>
            </a:p>
          </p:txBody>
        </p:sp>
        <p:sp>
          <p:nvSpPr>
            <p:cNvPr id="18" name="Rectangle: Rounded Corners 17">
              <a:extLst>
                <a:ext uri="{FF2B5EF4-FFF2-40B4-BE49-F238E27FC236}">
                  <a16:creationId xmlns:a16="http://schemas.microsoft.com/office/drawing/2014/main" id="{2457277E-B073-4EB7-98BD-13527B3E892F}"/>
                </a:ext>
              </a:extLst>
            </p:cNvPr>
            <p:cNvSpPr/>
            <p:nvPr/>
          </p:nvSpPr>
          <p:spPr>
            <a:xfrm>
              <a:off x="8744281" y="2937202"/>
              <a:ext cx="1964610" cy="823961"/>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2700">
                  <a:solidFill>
                    <a:schemeClr val="tx1"/>
                  </a:solidFill>
                </a:rPr>
                <a:t>Input </a:t>
              </a:r>
              <a:r>
                <a:rPr lang="sv-SE" sz="2700" err="1">
                  <a:solidFill>
                    <a:schemeClr val="tx1"/>
                  </a:solidFill>
                </a:rPr>
                <a:t>flows</a:t>
              </a:r>
              <a:endParaRPr lang="sv-SE" sz="2700">
                <a:solidFill>
                  <a:schemeClr val="tx1"/>
                </a:solidFill>
              </a:endParaRPr>
            </a:p>
          </p:txBody>
        </p:sp>
        <p:sp>
          <p:nvSpPr>
            <p:cNvPr id="19" name="Rectangle: Rounded Corners 18">
              <a:extLst>
                <a:ext uri="{FF2B5EF4-FFF2-40B4-BE49-F238E27FC236}">
                  <a16:creationId xmlns:a16="http://schemas.microsoft.com/office/drawing/2014/main" id="{AC0CAA0B-C55A-402A-B8C4-DC1118BE3ED9}"/>
                </a:ext>
              </a:extLst>
            </p:cNvPr>
            <p:cNvSpPr/>
            <p:nvPr/>
          </p:nvSpPr>
          <p:spPr>
            <a:xfrm>
              <a:off x="8702592" y="7012811"/>
              <a:ext cx="1964610" cy="823961"/>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2700">
                  <a:solidFill>
                    <a:schemeClr val="tx1"/>
                  </a:solidFill>
                </a:rPr>
                <a:t>Input </a:t>
              </a:r>
              <a:r>
                <a:rPr lang="sv-SE" sz="2700" err="1">
                  <a:solidFill>
                    <a:schemeClr val="tx1"/>
                  </a:solidFill>
                </a:rPr>
                <a:t>flows</a:t>
              </a:r>
              <a:endParaRPr lang="sv-SE" sz="2700">
                <a:solidFill>
                  <a:schemeClr val="tx1"/>
                </a:solidFill>
              </a:endParaRPr>
            </a:p>
          </p:txBody>
        </p:sp>
        <p:sp>
          <p:nvSpPr>
            <p:cNvPr id="20" name="Rectangle: Rounded Corners 19">
              <a:extLst>
                <a:ext uri="{FF2B5EF4-FFF2-40B4-BE49-F238E27FC236}">
                  <a16:creationId xmlns:a16="http://schemas.microsoft.com/office/drawing/2014/main" id="{2329C94E-3AC6-470C-A7E9-EB476700CBC8}"/>
                </a:ext>
              </a:extLst>
            </p:cNvPr>
            <p:cNvSpPr/>
            <p:nvPr/>
          </p:nvSpPr>
          <p:spPr>
            <a:xfrm>
              <a:off x="8745059" y="4901116"/>
              <a:ext cx="1964610" cy="823961"/>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2700">
                  <a:solidFill>
                    <a:schemeClr val="tx1"/>
                  </a:solidFill>
                </a:rPr>
                <a:t>Input </a:t>
              </a:r>
              <a:r>
                <a:rPr lang="sv-SE" sz="2700" err="1">
                  <a:solidFill>
                    <a:schemeClr val="tx1"/>
                  </a:solidFill>
                </a:rPr>
                <a:t>flows</a:t>
              </a:r>
              <a:endParaRPr lang="sv-SE" sz="2700">
                <a:solidFill>
                  <a:schemeClr val="tx1"/>
                </a:solidFill>
              </a:endParaRPr>
            </a:p>
          </p:txBody>
        </p:sp>
        <p:sp>
          <p:nvSpPr>
            <p:cNvPr id="21" name="Rectangle: Rounded Corners 20">
              <a:extLst>
                <a:ext uri="{FF2B5EF4-FFF2-40B4-BE49-F238E27FC236}">
                  <a16:creationId xmlns:a16="http://schemas.microsoft.com/office/drawing/2014/main" id="{6EA8DBC7-2549-4122-92BB-13A96AF9084F}"/>
                </a:ext>
              </a:extLst>
            </p:cNvPr>
            <p:cNvSpPr/>
            <p:nvPr/>
          </p:nvSpPr>
          <p:spPr>
            <a:xfrm>
              <a:off x="14854031" y="2944241"/>
              <a:ext cx="2288372" cy="823961"/>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2700">
                  <a:solidFill>
                    <a:schemeClr val="tx1"/>
                  </a:solidFill>
                </a:rPr>
                <a:t>Output </a:t>
              </a:r>
              <a:r>
                <a:rPr lang="sv-SE" sz="2700" err="1">
                  <a:solidFill>
                    <a:schemeClr val="tx1"/>
                  </a:solidFill>
                </a:rPr>
                <a:t>flows</a:t>
              </a:r>
              <a:endParaRPr lang="sv-SE" sz="2700">
                <a:solidFill>
                  <a:schemeClr val="tx1"/>
                </a:solidFill>
              </a:endParaRPr>
            </a:p>
          </p:txBody>
        </p:sp>
        <p:sp>
          <p:nvSpPr>
            <p:cNvPr id="22" name="Rectangle: Rounded Corners 21">
              <a:extLst>
                <a:ext uri="{FF2B5EF4-FFF2-40B4-BE49-F238E27FC236}">
                  <a16:creationId xmlns:a16="http://schemas.microsoft.com/office/drawing/2014/main" id="{24878DE9-A17C-4602-B9B3-7DCA62F378CD}"/>
                </a:ext>
              </a:extLst>
            </p:cNvPr>
            <p:cNvSpPr/>
            <p:nvPr/>
          </p:nvSpPr>
          <p:spPr>
            <a:xfrm>
              <a:off x="14854031" y="4937246"/>
              <a:ext cx="2288372" cy="823961"/>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2700">
                  <a:solidFill>
                    <a:schemeClr val="tx1"/>
                  </a:solidFill>
                </a:rPr>
                <a:t>Output </a:t>
              </a:r>
              <a:r>
                <a:rPr lang="sv-SE" sz="2700" err="1">
                  <a:solidFill>
                    <a:schemeClr val="tx1"/>
                  </a:solidFill>
                </a:rPr>
                <a:t>flows</a:t>
              </a:r>
              <a:endParaRPr lang="sv-SE" sz="2700">
                <a:solidFill>
                  <a:schemeClr val="tx1"/>
                </a:solidFill>
              </a:endParaRPr>
            </a:p>
          </p:txBody>
        </p:sp>
        <p:sp>
          <p:nvSpPr>
            <p:cNvPr id="23" name="Rectangle: Rounded Corners 22">
              <a:extLst>
                <a:ext uri="{FF2B5EF4-FFF2-40B4-BE49-F238E27FC236}">
                  <a16:creationId xmlns:a16="http://schemas.microsoft.com/office/drawing/2014/main" id="{CBDAAC8E-7238-4EDC-895E-31EC5C86AD7C}"/>
                </a:ext>
              </a:extLst>
            </p:cNvPr>
            <p:cNvSpPr/>
            <p:nvPr/>
          </p:nvSpPr>
          <p:spPr>
            <a:xfrm>
              <a:off x="14854031" y="7021384"/>
              <a:ext cx="2288372" cy="823961"/>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2700">
                  <a:solidFill>
                    <a:schemeClr val="tx1"/>
                  </a:solidFill>
                </a:rPr>
                <a:t>Output </a:t>
              </a:r>
              <a:r>
                <a:rPr lang="sv-SE" sz="2700" err="1">
                  <a:solidFill>
                    <a:schemeClr val="tx1"/>
                  </a:solidFill>
                </a:rPr>
                <a:t>flows</a:t>
              </a:r>
              <a:endParaRPr lang="sv-SE" sz="2700">
                <a:solidFill>
                  <a:schemeClr val="tx1"/>
                </a:solidFill>
              </a:endParaRPr>
            </a:p>
          </p:txBody>
        </p:sp>
        <p:sp>
          <p:nvSpPr>
            <p:cNvPr id="24" name="Rectangle: Rounded Corners 23">
              <a:extLst>
                <a:ext uri="{FF2B5EF4-FFF2-40B4-BE49-F238E27FC236}">
                  <a16:creationId xmlns:a16="http://schemas.microsoft.com/office/drawing/2014/main" id="{F3A87F6D-0CBA-48AA-B4E3-B4ECF47BD28D}"/>
                </a:ext>
              </a:extLst>
            </p:cNvPr>
            <p:cNvSpPr/>
            <p:nvPr/>
          </p:nvSpPr>
          <p:spPr>
            <a:xfrm>
              <a:off x="9238114" y="3954108"/>
              <a:ext cx="3514622" cy="647653"/>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2700" i="1" err="1">
                  <a:solidFill>
                    <a:schemeClr val="tx1"/>
                  </a:solidFill>
                </a:rPr>
                <a:t>Intermediate</a:t>
              </a:r>
              <a:r>
                <a:rPr lang="sv-SE" sz="2700" i="1">
                  <a:solidFill>
                    <a:schemeClr val="tx1"/>
                  </a:solidFill>
                </a:rPr>
                <a:t> </a:t>
              </a:r>
              <a:r>
                <a:rPr lang="sv-SE" sz="2700" i="1" err="1">
                  <a:solidFill>
                    <a:schemeClr val="tx1"/>
                  </a:solidFill>
                </a:rPr>
                <a:t>flows</a:t>
              </a:r>
              <a:endParaRPr lang="sv-SE" sz="2700" i="1">
                <a:solidFill>
                  <a:schemeClr val="tx1"/>
                </a:solidFill>
              </a:endParaRPr>
            </a:p>
          </p:txBody>
        </p:sp>
        <p:sp>
          <p:nvSpPr>
            <p:cNvPr id="2" name="Rectangle: Rounded Corners 1">
              <a:extLst>
                <a:ext uri="{FF2B5EF4-FFF2-40B4-BE49-F238E27FC236}">
                  <a16:creationId xmlns:a16="http://schemas.microsoft.com/office/drawing/2014/main" id="{33A1B4CB-70CF-FA8C-1CA1-F463EA36DD9A}"/>
                </a:ext>
              </a:extLst>
            </p:cNvPr>
            <p:cNvSpPr/>
            <p:nvPr/>
          </p:nvSpPr>
          <p:spPr>
            <a:xfrm>
              <a:off x="9250815" y="5965755"/>
              <a:ext cx="3514622" cy="647653"/>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2700" i="1" err="1">
                  <a:solidFill>
                    <a:schemeClr val="tx1"/>
                  </a:solidFill>
                </a:rPr>
                <a:t>Intermediate</a:t>
              </a:r>
              <a:r>
                <a:rPr lang="sv-SE" sz="2700" i="1">
                  <a:solidFill>
                    <a:schemeClr val="tx1"/>
                  </a:solidFill>
                </a:rPr>
                <a:t> </a:t>
              </a:r>
              <a:r>
                <a:rPr lang="sv-SE" sz="2700" i="1" err="1">
                  <a:solidFill>
                    <a:schemeClr val="tx1"/>
                  </a:solidFill>
                </a:rPr>
                <a:t>flows</a:t>
              </a:r>
              <a:endParaRPr lang="sv-SE" sz="2700" i="1">
                <a:solidFill>
                  <a:schemeClr val="tx1"/>
                </a:solidFill>
              </a:endParaRPr>
            </a:p>
          </p:txBody>
        </p:sp>
      </p:grpSp>
      <p:sp>
        <p:nvSpPr>
          <p:cNvPr id="4" name="Content Placeholder 2">
            <a:extLst>
              <a:ext uri="{FF2B5EF4-FFF2-40B4-BE49-F238E27FC236}">
                <a16:creationId xmlns:a16="http://schemas.microsoft.com/office/drawing/2014/main" id="{9328B1A2-82E9-FF8B-E433-4FC546A84E44}"/>
              </a:ext>
            </a:extLst>
          </p:cNvPr>
          <p:cNvSpPr txBox="1">
            <a:spLocks/>
          </p:cNvSpPr>
          <p:nvPr/>
        </p:nvSpPr>
        <p:spPr>
          <a:xfrm>
            <a:off x="951827" y="2519228"/>
            <a:ext cx="7233707" cy="6483958"/>
          </a:xfrm>
          <a:prstGeom prst="rect">
            <a:avLst/>
          </a:prstGeom>
        </p:spPr>
        <p:txBody>
          <a:bodyPr vert="horz" lIns="137160" tIns="68580" rIns="137160" bIns="68580" rtlCol="0">
            <a:noAutofit/>
          </a:bodyPr>
          <a:lstStyle>
            <a:lvl1pPr marL="228600" indent="-228600" algn="l" defTabSz="914400" rtl="0" eaLnBrk="1" latinLnBrk="0" hangingPunct="1">
              <a:lnSpc>
                <a:spcPct val="90000"/>
              </a:lnSpc>
              <a:spcBef>
                <a:spcPts val="1000"/>
              </a:spcBef>
              <a:buClr>
                <a:schemeClr val="accent1"/>
              </a:buClr>
              <a:buSzPct val="100000"/>
              <a:buFont typeface="Calibri" panose="020F0502020204030204" pitchFamily="34" charset="0"/>
              <a:buChar char="●"/>
              <a:defRPr sz="1800" kern="1200">
                <a:solidFill>
                  <a:schemeClr val="accent2"/>
                </a:solidFill>
                <a:latin typeface="+mn-lt"/>
                <a:ea typeface="+mn-ea"/>
                <a:cs typeface="+mn-cs"/>
              </a:defRPr>
            </a:lvl1pPr>
            <a:lvl2pPr marL="685800" indent="-228600" algn="l" defTabSz="914400" rtl="0" eaLnBrk="1" latinLnBrk="0" hangingPunct="1">
              <a:lnSpc>
                <a:spcPct val="90000"/>
              </a:lnSpc>
              <a:spcBef>
                <a:spcPts val="500"/>
              </a:spcBef>
              <a:buClr>
                <a:schemeClr val="accent1"/>
              </a:buClr>
              <a:buSzPct val="100000"/>
              <a:buFont typeface="Calibri" panose="020F0502020204030204" pitchFamily="34" charset="0"/>
              <a:buChar char="●"/>
              <a:defRPr sz="1600" kern="1200">
                <a:solidFill>
                  <a:schemeClr val="accent2"/>
                </a:solidFill>
                <a:latin typeface="+mn-lt"/>
                <a:ea typeface="+mn-ea"/>
                <a:cs typeface="+mn-cs"/>
              </a:defRPr>
            </a:lvl2pPr>
            <a:lvl3pPr marL="1143000" indent="-228600" algn="l" defTabSz="914400" rtl="0" eaLnBrk="1" latinLnBrk="0" hangingPunct="1">
              <a:lnSpc>
                <a:spcPct val="90000"/>
              </a:lnSpc>
              <a:spcBef>
                <a:spcPts val="500"/>
              </a:spcBef>
              <a:buClr>
                <a:schemeClr val="accent1"/>
              </a:buClr>
              <a:buSzPct val="100000"/>
              <a:buFont typeface="Calibri" panose="020F0502020204030204" pitchFamily="34" charset="0"/>
              <a:buChar char="●"/>
              <a:defRPr sz="1400" kern="1200">
                <a:solidFill>
                  <a:schemeClr val="accent2"/>
                </a:solidFill>
                <a:latin typeface="+mn-lt"/>
                <a:ea typeface="+mn-ea"/>
                <a:cs typeface="+mn-cs"/>
              </a:defRPr>
            </a:lvl3pPr>
            <a:lvl4pPr marL="1600200" indent="-228600" algn="l" defTabSz="914400" rtl="0" eaLnBrk="1" latinLnBrk="0" hangingPunct="1">
              <a:lnSpc>
                <a:spcPct val="90000"/>
              </a:lnSpc>
              <a:spcBef>
                <a:spcPts val="500"/>
              </a:spcBef>
              <a:buClr>
                <a:schemeClr val="accent1"/>
              </a:buClr>
              <a:buSzPct val="100000"/>
              <a:buFont typeface="Calibri" panose="020F0502020204030204" pitchFamily="34" charset="0"/>
              <a:buChar char="●"/>
              <a:defRPr sz="1200" kern="1200">
                <a:solidFill>
                  <a:schemeClr val="accent2"/>
                </a:solidFill>
                <a:latin typeface="+mn-lt"/>
                <a:ea typeface="+mn-ea"/>
                <a:cs typeface="+mn-cs"/>
              </a:defRPr>
            </a:lvl4pPr>
            <a:lvl5pPr marL="2057400" indent="-228600" algn="l" defTabSz="914400" rtl="0" eaLnBrk="1" latinLnBrk="0" hangingPunct="1">
              <a:lnSpc>
                <a:spcPct val="90000"/>
              </a:lnSpc>
              <a:spcBef>
                <a:spcPts val="500"/>
              </a:spcBef>
              <a:buClr>
                <a:schemeClr val="accent1"/>
              </a:buClr>
              <a:buSzPct val="100000"/>
              <a:buFont typeface="Calibri" panose="020F0502020204030204" pitchFamily="34" charset="0"/>
              <a:buChar char="●"/>
              <a:defRPr sz="1200" kern="1200">
                <a:solidFill>
                  <a:schemeClr val="accent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800" dirty="0">
                <a:solidFill>
                  <a:schemeClr val="tx1"/>
                </a:solidFill>
              </a:rPr>
              <a:t> </a:t>
            </a:r>
            <a:r>
              <a:rPr lang="en-US" sz="3000" dirty="0">
                <a:solidFill>
                  <a:schemeClr val="tx1"/>
                </a:solidFill>
              </a:rPr>
              <a:t>In LCA, a system boundary is defined in order to create a product system. </a:t>
            </a:r>
            <a:br>
              <a:rPr lang="en-US" sz="3000" dirty="0">
                <a:solidFill>
                  <a:schemeClr val="tx1"/>
                </a:solidFill>
              </a:rPr>
            </a:br>
            <a:endParaRPr lang="en-US" sz="3000" dirty="0">
              <a:solidFill>
                <a:schemeClr val="tx1"/>
              </a:solidFill>
            </a:endParaRPr>
          </a:p>
          <a:p>
            <a:r>
              <a:rPr lang="en-US" sz="3000" dirty="0">
                <a:solidFill>
                  <a:schemeClr val="tx1"/>
                </a:solidFill>
              </a:rPr>
              <a:t> Product systems are divided into a set of unit processes.</a:t>
            </a:r>
          </a:p>
          <a:p>
            <a:pPr marL="0" indent="0">
              <a:buNone/>
            </a:pPr>
            <a:endParaRPr lang="en-US" sz="3000" dirty="0">
              <a:solidFill>
                <a:schemeClr val="tx1"/>
              </a:solidFill>
            </a:endParaRPr>
          </a:p>
          <a:p>
            <a:r>
              <a:rPr lang="en-US" sz="3000" dirty="0">
                <a:solidFill>
                  <a:schemeClr val="tx1"/>
                </a:solidFill>
              </a:rPr>
              <a:t> Unit processes are the </a:t>
            </a:r>
            <a:r>
              <a:rPr lang="en-US" sz="3000" b="1" dirty="0">
                <a:solidFill>
                  <a:schemeClr val="tx1"/>
                </a:solidFill>
              </a:rPr>
              <a:t>smallest element </a:t>
            </a:r>
            <a:r>
              <a:rPr lang="en-US" sz="3000" dirty="0">
                <a:solidFill>
                  <a:schemeClr val="tx1"/>
                </a:solidFill>
              </a:rPr>
              <a:t>in the product system for which input and output data are quantified.</a:t>
            </a:r>
          </a:p>
          <a:p>
            <a:pPr marL="0" indent="0">
              <a:buNone/>
            </a:pPr>
            <a:endParaRPr lang="en-US" sz="3000" dirty="0">
              <a:solidFill>
                <a:schemeClr val="tx1"/>
              </a:solidFill>
            </a:endParaRPr>
          </a:p>
          <a:p>
            <a:r>
              <a:rPr lang="en-US" sz="3000" dirty="0">
                <a:solidFill>
                  <a:schemeClr val="tx1"/>
                </a:solidFill>
              </a:rPr>
              <a:t> Flows between unit processes are called </a:t>
            </a:r>
            <a:r>
              <a:rPr lang="en-US" sz="3000" b="1" dirty="0">
                <a:solidFill>
                  <a:schemeClr val="tx1"/>
                </a:solidFill>
              </a:rPr>
              <a:t>intermediate flows</a:t>
            </a:r>
            <a:r>
              <a:rPr lang="en-US" sz="3000" dirty="0">
                <a:solidFill>
                  <a:schemeClr val="tx1"/>
                </a:solidFill>
              </a:rPr>
              <a:t>.</a:t>
            </a:r>
          </a:p>
        </p:txBody>
      </p:sp>
    </p:spTree>
    <p:extLst>
      <p:ext uri="{BB962C8B-B14F-4D97-AF65-F5344CB8AC3E}">
        <p14:creationId xmlns:p14="http://schemas.microsoft.com/office/powerpoint/2010/main" val="690228051"/>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32FC6C45-EFED-96CD-37E4-3FCC002C23F7}"/>
              </a:ext>
            </a:extLst>
          </p:cNvPr>
          <p:cNvGrpSpPr/>
          <p:nvPr/>
        </p:nvGrpSpPr>
        <p:grpSpPr>
          <a:xfrm>
            <a:off x="9143989" y="3191000"/>
            <a:ext cx="8130002" cy="4451115"/>
            <a:chOff x="9193140" y="2577024"/>
            <a:chExt cx="8130002" cy="4451115"/>
          </a:xfrm>
        </p:grpSpPr>
        <p:sp>
          <p:nvSpPr>
            <p:cNvPr id="6" name="TextBox 5">
              <a:extLst>
                <a:ext uri="{FF2B5EF4-FFF2-40B4-BE49-F238E27FC236}">
                  <a16:creationId xmlns:a16="http://schemas.microsoft.com/office/drawing/2014/main" id="{37D3BAF1-F55C-4B98-9E31-AB7B1F48B3E4}"/>
                </a:ext>
              </a:extLst>
            </p:cNvPr>
            <p:cNvSpPr txBox="1"/>
            <p:nvPr/>
          </p:nvSpPr>
          <p:spPr>
            <a:xfrm>
              <a:off x="11500021" y="2577024"/>
              <a:ext cx="2998572" cy="2862322"/>
            </a:xfrm>
            <a:prstGeom prst="rect">
              <a:avLst/>
            </a:prstGeom>
            <a:solidFill>
              <a:schemeClr val="accent4">
                <a:lumMod val="40000"/>
                <a:lumOff val="60000"/>
              </a:schemeClr>
            </a:solidFill>
            <a:ln w="57150">
              <a:solidFill>
                <a:srgbClr val="CC002F"/>
              </a:solidFill>
            </a:ln>
          </p:spPr>
          <p:txBody>
            <a:bodyPr wrap="square" rtlCol="0">
              <a:spAutoFit/>
            </a:bodyPr>
            <a:lstStyle/>
            <a:p>
              <a:pPr algn="ctr"/>
              <a:endParaRPr lang="sv-SE" sz="3600" b="1"/>
            </a:p>
            <a:p>
              <a:pPr algn="ctr"/>
              <a:endParaRPr lang="sv-SE" sz="3600" b="1"/>
            </a:p>
            <a:p>
              <a:pPr algn="ctr"/>
              <a:r>
                <a:rPr lang="sv-SE" sz="3600" b="1" err="1"/>
                <a:t>Unit</a:t>
              </a:r>
              <a:r>
                <a:rPr lang="sv-SE" sz="3600" b="1"/>
                <a:t> process</a:t>
              </a:r>
            </a:p>
            <a:p>
              <a:pPr algn="ctr"/>
              <a:endParaRPr lang="sv-SE" sz="3600" b="1"/>
            </a:p>
            <a:p>
              <a:pPr algn="ctr"/>
              <a:endParaRPr lang="sv-SE" sz="3600" b="1"/>
            </a:p>
          </p:txBody>
        </p:sp>
        <p:cxnSp>
          <p:nvCxnSpPr>
            <p:cNvPr id="7" name="Straight Arrow Connector 6">
              <a:extLst>
                <a:ext uri="{FF2B5EF4-FFF2-40B4-BE49-F238E27FC236}">
                  <a16:creationId xmlns:a16="http://schemas.microsoft.com/office/drawing/2014/main" id="{64186E70-1B75-4643-A825-6E6B26BE1445}"/>
                </a:ext>
              </a:extLst>
            </p:cNvPr>
            <p:cNvCxnSpPr/>
            <p:nvPr/>
          </p:nvCxnSpPr>
          <p:spPr>
            <a:xfrm>
              <a:off x="9193140" y="3178387"/>
              <a:ext cx="2339546" cy="0"/>
            </a:xfrm>
            <a:prstGeom prst="straightConnector1">
              <a:avLst/>
            </a:prstGeom>
            <a:ln w="76200">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A757B8A4-CD69-4D5C-A223-B43D000C6241}"/>
                </a:ext>
              </a:extLst>
            </p:cNvPr>
            <p:cNvCxnSpPr/>
            <p:nvPr/>
          </p:nvCxnSpPr>
          <p:spPr>
            <a:xfrm>
              <a:off x="9193140" y="4636486"/>
              <a:ext cx="2339546" cy="0"/>
            </a:xfrm>
            <a:prstGeom prst="straightConnector1">
              <a:avLst/>
            </a:prstGeom>
            <a:ln w="76200">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883D257E-9963-40A2-A4B3-A20917E0801E}"/>
                </a:ext>
              </a:extLst>
            </p:cNvPr>
            <p:cNvSpPr txBox="1"/>
            <p:nvPr/>
          </p:nvSpPr>
          <p:spPr>
            <a:xfrm>
              <a:off x="9246457" y="3145435"/>
              <a:ext cx="2065403" cy="646331"/>
            </a:xfrm>
            <a:prstGeom prst="rect">
              <a:avLst/>
            </a:prstGeom>
            <a:noFill/>
          </p:spPr>
          <p:txBody>
            <a:bodyPr wrap="square" rtlCol="0">
              <a:spAutoFit/>
            </a:bodyPr>
            <a:lstStyle/>
            <a:p>
              <a:r>
                <a:rPr lang="sv-SE" sz="3600"/>
                <a:t>Material</a:t>
              </a:r>
            </a:p>
          </p:txBody>
        </p:sp>
        <p:sp>
          <p:nvSpPr>
            <p:cNvPr id="10" name="TextBox 9">
              <a:extLst>
                <a:ext uri="{FF2B5EF4-FFF2-40B4-BE49-F238E27FC236}">
                  <a16:creationId xmlns:a16="http://schemas.microsoft.com/office/drawing/2014/main" id="{F7EBD723-5F68-41E5-9B6B-988239B64EB7}"/>
                </a:ext>
              </a:extLst>
            </p:cNvPr>
            <p:cNvSpPr txBox="1"/>
            <p:nvPr/>
          </p:nvSpPr>
          <p:spPr>
            <a:xfrm>
              <a:off x="9209902" y="4671044"/>
              <a:ext cx="1894703" cy="646331"/>
            </a:xfrm>
            <a:prstGeom prst="rect">
              <a:avLst/>
            </a:prstGeom>
            <a:noFill/>
          </p:spPr>
          <p:txBody>
            <a:bodyPr wrap="square" rtlCol="0">
              <a:spAutoFit/>
            </a:bodyPr>
            <a:lstStyle/>
            <a:p>
              <a:r>
                <a:rPr lang="sv-SE" sz="3600"/>
                <a:t>Energy</a:t>
              </a:r>
            </a:p>
          </p:txBody>
        </p:sp>
        <p:cxnSp>
          <p:nvCxnSpPr>
            <p:cNvPr id="11" name="Straight Arrow Connector 10">
              <a:extLst>
                <a:ext uri="{FF2B5EF4-FFF2-40B4-BE49-F238E27FC236}">
                  <a16:creationId xmlns:a16="http://schemas.microsoft.com/office/drawing/2014/main" id="{5AE7B947-FE90-4F1A-8175-42226C2D9C7F}"/>
                </a:ext>
              </a:extLst>
            </p:cNvPr>
            <p:cNvCxnSpPr/>
            <p:nvPr/>
          </p:nvCxnSpPr>
          <p:spPr>
            <a:xfrm>
              <a:off x="14482116" y="3144061"/>
              <a:ext cx="2339546" cy="0"/>
            </a:xfrm>
            <a:prstGeom prst="straightConnector1">
              <a:avLst/>
            </a:prstGeom>
            <a:ln w="76200">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8B4DC4AF-8A35-4CC4-BBD5-70008DE85091}"/>
                </a:ext>
              </a:extLst>
            </p:cNvPr>
            <p:cNvCxnSpPr/>
            <p:nvPr/>
          </p:nvCxnSpPr>
          <p:spPr>
            <a:xfrm>
              <a:off x="14547735" y="4611770"/>
              <a:ext cx="2339546" cy="0"/>
            </a:xfrm>
            <a:prstGeom prst="straightConnector1">
              <a:avLst/>
            </a:prstGeom>
            <a:ln w="76200">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29C192F6-DC1D-4B96-AE8F-925357B457D9}"/>
                </a:ext>
              </a:extLst>
            </p:cNvPr>
            <p:cNvSpPr txBox="1"/>
            <p:nvPr/>
          </p:nvSpPr>
          <p:spPr>
            <a:xfrm>
              <a:off x="14686753" y="3152297"/>
              <a:ext cx="2504300" cy="646331"/>
            </a:xfrm>
            <a:prstGeom prst="rect">
              <a:avLst/>
            </a:prstGeom>
            <a:noFill/>
          </p:spPr>
          <p:txBody>
            <a:bodyPr wrap="square" rtlCol="0">
              <a:spAutoFit/>
            </a:bodyPr>
            <a:lstStyle/>
            <a:p>
              <a:r>
                <a:rPr lang="sv-SE" sz="3600"/>
                <a:t>Emissions</a:t>
              </a:r>
            </a:p>
          </p:txBody>
        </p:sp>
        <p:sp>
          <p:nvSpPr>
            <p:cNvPr id="14" name="TextBox 13">
              <a:extLst>
                <a:ext uri="{FF2B5EF4-FFF2-40B4-BE49-F238E27FC236}">
                  <a16:creationId xmlns:a16="http://schemas.microsoft.com/office/drawing/2014/main" id="{F8B167EE-CD92-4525-8B7B-B7BBB70C7032}"/>
                </a:ext>
              </a:extLst>
            </p:cNvPr>
            <p:cNvSpPr txBox="1"/>
            <p:nvPr/>
          </p:nvSpPr>
          <p:spPr>
            <a:xfrm>
              <a:off x="14818842" y="4636486"/>
              <a:ext cx="2504300" cy="646331"/>
            </a:xfrm>
            <a:prstGeom prst="rect">
              <a:avLst/>
            </a:prstGeom>
            <a:noFill/>
          </p:spPr>
          <p:txBody>
            <a:bodyPr wrap="square" rtlCol="0">
              <a:spAutoFit/>
            </a:bodyPr>
            <a:lstStyle/>
            <a:p>
              <a:r>
                <a:rPr lang="sv-SE" sz="3600"/>
                <a:t>Wastes</a:t>
              </a:r>
            </a:p>
          </p:txBody>
        </p:sp>
        <p:sp>
          <p:nvSpPr>
            <p:cNvPr id="15" name="TextBox 14">
              <a:extLst>
                <a:ext uri="{FF2B5EF4-FFF2-40B4-BE49-F238E27FC236}">
                  <a16:creationId xmlns:a16="http://schemas.microsoft.com/office/drawing/2014/main" id="{4533691D-3030-44BD-BB06-FEF3BCFDAD65}"/>
                </a:ext>
              </a:extLst>
            </p:cNvPr>
            <p:cNvSpPr txBox="1"/>
            <p:nvPr/>
          </p:nvSpPr>
          <p:spPr>
            <a:xfrm>
              <a:off x="10106856" y="6015548"/>
              <a:ext cx="2174786" cy="646331"/>
            </a:xfrm>
            <a:prstGeom prst="rect">
              <a:avLst/>
            </a:prstGeom>
            <a:noFill/>
          </p:spPr>
          <p:txBody>
            <a:bodyPr wrap="square" rtlCol="0">
              <a:spAutoFit/>
            </a:bodyPr>
            <a:lstStyle/>
            <a:p>
              <a:r>
                <a:rPr lang="sv-SE" sz="3600"/>
                <a:t>Products</a:t>
              </a:r>
            </a:p>
          </p:txBody>
        </p:sp>
        <p:cxnSp>
          <p:nvCxnSpPr>
            <p:cNvPr id="16" name="Straight Arrow Connector 15">
              <a:extLst>
                <a:ext uri="{FF2B5EF4-FFF2-40B4-BE49-F238E27FC236}">
                  <a16:creationId xmlns:a16="http://schemas.microsoft.com/office/drawing/2014/main" id="{C0B72B33-12CA-49ED-8BF8-CE44B7284B4F}"/>
                </a:ext>
              </a:extLst>
            </p:cNvPr>
            <p:cNvCxnSpPr/>
            <p:nvPr/>
          </p:nvCxnSpPr>
          <p:spPr>
            <a:xfrm>
              <a:off x="12323278" y="5421417"/>
              <a:ext cx="0" cy="1606722"/>
            </a:xfrm>
            <a:prstGeom prst="straightConnector1">
              <a:avLst/>
            </a:prstGeom>
            <a:ln w="76200">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7390B045-BB7F-4E9E-AE9F-21F882FFE2CD}"/>
                </a:ext>
              </a:extLst>
            </p:cNvPr>
            <p:cNvCxnSpPr/>
            <p:nvPr/>
          </p:nvCxnSpPr>
          <p:spPr>
            <a:xfrm>
              <a:off x="13715471" y="5421417"/>
              <a:ext cx="0" cy="1606722"/>
            </a:xfrm>
            <a:prstGeom prst="straightConnector1">
              <a:avLst/>
            </a:prstGeom>
            <a:ln w="76200">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D4DC8345-BEC8-4478-9116-262C918E76DA}"/>
                </a:ext>
              </a:extLst>
            </p:cNvPr>
            <p:cNvSpPr txBox="1"/>
            <p:nvPr/>
          </p:nvSpPr>
          <p:spPr>
            <a:xfrm>
              <a:off x="13787187" y="6015548"/>
              <a:ext cx="3007052" cy="646331"/>
            </a:xfrm>
            <a:prstGeom prst="rect">
              <a:avLst/>
            </a:prstGeom>
            <a:noFill/>
          </p:spPr>
          <p:txBody>
            <a:bodyPr wrap="square" rtlCol="0">
              <a:spAutoFit/>
            </a:bodyPr>
            <a:lstStyle/>
            <a:p>
              <a:r>
                <a:rPr lang="sv-SE" sz="3600"/>
                <a:t>Co-</a:t>
              </a:r>
              <a:r>
                <a:rPr lang="sv-SE" sz="3600" err="1"/>
                <a:t>products</a:t>
              </a:r>
              <a:endParaRPr lang="sv-SE" sz="3600"/>
            </a:p>
          </p:txBody>
        </p:sp>
      </p:grpSp>
      <p:grpSp>
        <p:nvGrpSpPr>
          <p:cNvPr id="22" name="Gruppo 2">
            <a:extLst>
              <a:ext uri="{FF2B5EF4-FFF2-40B4-BE49-F238E27FC236}">
                <a16:creationId xmlns:a16="http://schemas.microsoft.com/office/drawing/2014/main" id="{4E53BAFB-0EF9-46A2-A0A5-AF269D46E1D7}"/>
              </a:ext>
            </a:extLst>
          </p:cNvPr>
          <p:cNvGrpSpPr/>
          <p:nvPr/>
        </p:nvGrpSpPr>
        <p:grpSpPr>
          <a:xfrm>
            <a:off x="-12" y="138554"/>
            <a:ext cx="18288002" cy="681138"/>
            <a:chOff x="-12" y="138554"/>
            <a:chExt cx="18288002" cy="681138"/>
          </a:xfrm>
        </p:grpSpPr>
        <p:grpSp>
          <p:nvGrpSpPr>
            <p:cNvPr id="23" name="Gruppo 1">
              <a:extLst>
                <a:ext uri="{FF2B5EF4-FFF2-40B4-BE49-F238E27FC236}">
                  <a16:creationId xmlns:a16="http://schemas.microsoft.com/office/drawing/2014/main" id="{189384C3-6111-4B61-B907-11790EC8C705}"/>
                </a:ext>
              </a:extLst>
            </p:cNvPr>
            <p:cNvGrpSpPr/>
            <p:nvPr/>
          </p:nvGrpSpPr>
          <p:grpSpPr>
            <a:xfrm>
              <a:off x="0" y="153125"/>
              <a:ext cx="17907000" cy="666567"/>
              <a:chOff x="0" y="153125"/>
              <a:chExt cx="17907000" cy="666567"/>
            </a:xfrm>
          </p:grpSpPr>
          <p:pic>
            <p:nvPicPr>
              <p:cNvPr id="27" name="Picture 26">
                <a:extLst>
                  <a:ext uri="{FF2B5EF4-FFF2-40B4-BE49-F238E27FC236}">
                    <a16:creationId xmlns:a16="http://schemas.microsoft.com/office/drawing/2014/main" id="{C15D0089-801D-4D21-AFCA-06C83C029716}"/>
                  </a:ext>
                </a:extLst>
              </p:cNvPr>
              <p:cNvPicPr>
                <a:picLocks noChangeAspect="1"/>
              </p:cNvPicPr>
              <p:nvPr/>
            </p:nvPicPr>
            <p:blipFill>
              <a:blip r:embed="rId3"/>
              <a:srcRect l="134" t="91287" b="3943"/>
              <a:stretch>
                <a:fillRect/>
              </a:stretch>
            </p:blipFill>
            <p:spPr>
              <a:xfrm>
                <a:off x="0" y="153125"/>
                <a:ext cx="13958844" cy="666567"/>
              </a:xfrm>
              <a:prstGeom prst="rect">
                <a:avLst/>
              </a:prstGeom>
            </p:spPr>
          </p:pic>
          <p:sp>
            <p:nvSpPr>
              <p:cNvPr id="26" name="TextBox 25">
                <a:extLst>
                  <a:ext uri="{FF2B5EF4-FFF2-40B4-BE49-F238E27FC236}">
                    <a16:creationId xmlns:a16="http://schemas.microsoft.com/office/drawing/2014/main" id="{C613CD1B-9F36-4F81-B5F4-41D34A630A3C}"/>
                  </a:ext>
                </a:extLst>
              </p:cNvPr>
              <p:cNvSpPr txBox="1"/>
              <p:nvPr/>
            </p:nvSpPr>
            <p:spPr>
              <a:xfrm>
                <a:off x="12154296" y="257980"/>
                <a:ext cx="5752704" cy="456856"/>
              </a:xfrm>
              <a:prstGeom prst="rect">
                <a:avLst/>
              </a:prstGeom>
            </p:spPr>
            <p:txBody>
              <a:bodyPr wrap="square" lIns="0" tIns="0" rIns="0" bIns="0" rtlCol="0" anchor="t">
                <a:spAutoFit/>
              </a:bodyPr>
              <a:lstStyle/>
              <a:p>
                <a:pPr algn="r">
                  <a:lnSpc>
                    <a:spcPts val="3919"/>
                  </a:lnSpc>
                  <a:spcBef>
                    <a:spcPct val="0"/>
                  </a:spcBef>
                </a:pPr>
                <a:endParaRPr lang="en-US" sz="2800">
                  <a:solidFill>
                    <a:schemeClr val="tx1">
                      <a:lumMod val="75000"/>
                      <a:lumOff val="25000"/>
                    </a:schemeClr>
                  </a:solidFill>
                  <a:latin typeface="Arial" panose="020B0604020202020204" pitchFamily="34" charset="0"/>
                  <a:cs typeface="Arial" panose="020B0604020202020204" pitchFamily="34" charset="0"/>
                </a:endParaRPr>
              </a:p>
            </p:txBody>
          </p:sp>
        </p:grpSp>
        <p:sp>
          <p:nvSpPr>
            <p:cNvPr id="24" name="Rettangolo 13">
              <a:extLst>
                <a:ext uri="{FF2B5EF4-FFF2-40B4-BE49-F238E27FC236}">
                  <a16:creationId xmlns:a16="http://schemas.microsoft.com/office/drawing/2014/main" id="{2722C56D-2542-46FD-9186-B0A2D592ABE4}"/>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9" name="TextBox 28">
            <a:extLst>
              <a:ext uri="{FF2B5EF4-FFF2-40B4-BE49-F238E27FC236}">
                <a16:creationId xmlns:a16="http://schemas.microsoft.com/office/drawing/2014/main" id="{0CC0C330-18A9-485E-A7B1-DE0968ED0E9F}"/>
              </a:ext>
            </a:extLst>
          </p:cNvPr>
          <p:cNvSpPr txBox="1"/>
          <p:nvPr/>
        </p:nvSpPr>
        <p:spPr>
          <a:xfrm>
            <a:off x="-251673" y="946300"/>
            <a:ext cx="18288012" cy="1077218"/>
          </a:xfrm>
          <a:prstGeom prst="rect">
            <a:avLst/>
          </a:prstGeom>
          <a:noFill/>
        </p:spPr>
        <p:txBody>
          <a:bodyPr wrap="square">
            <a:spAutoFit/>
          </a:bodyPr>
          <a:lstStyle/>
          <a:p>
            <a:pPr algn="ctr"/>
            <a:r>
              <a:rPr lang="sv-SE" sz="6400" b="1" err="1">
                <a:solidFill>
                  <a:srgbClr val="CC0033"/>
                </a:solidFill>
                <a:latin typeface="+mj-lt"/>
                <a:cs typeface="Arial" panose="020B0604020202020204" pitchFamily="34" charset="0"/>
              </a:rPr>
              <a:t>Unit</a:t>
            </a:r>
            <a:r>
              <a:rPr lang="sv-SE" sz="6000"/>
              <a:t> </a:t>
            </a:r>
            <a:r>
              <a:rPr lang="sv-SE" sz="6400" b="1">
                <a:solidFill>
                  <a:srgbClr val="CC0033"/>
                </a:solidFill>
                <a:latin typeface="+mj-lt"/>
                <a:cs typeface="Arial" panose="020B0604020202020204" pitchFamily="34" charset="0"/>
              </a:rPr>
              <a:t>process</a:t>
            </a:r>
          </a:p>
        </p:txBody>
      </p:sp>
      <p:pic>
        <p:nvPicPr>
          <p:cNvPr id="30" name="Picture 12">
            <a:extLst>
              <a:ext uri="{FF2B5EF4-FFF2-40B4-BE49-F238E27FC236}">
                <a16:creationId xmlns:a16="http://schemas.microsoft.com/office/drawing/2014/main" id="{EDE8B8F4-375A-4FD4-8255-4097B927E585}"/>
              </a:ext>
            </a:extLst>
          </p:cNvPr>
          <p:cNvPicPr>
            <a:picLocks noChangeAspect="1"/>
          </p:cNvPicPr>
          <p:nvPr/>
        </p:nvPicPr>
        <p:blipFill>
          <a:blip r:embed="rId4"/>
          <a:srcRect/>
          <a:stretch>
            <a:fillRect/>
          </a:stretch>
        </p:blipFill>
        <p:spPr>
          <a:xfrm>
            <a:off x="0" y="8901113"/>
            <a:ext cx="5715000" cy="1385887"/>
          </a:xfrm>
          <a:prstGeom prst="rect">
            <a:avLst/>
          </a:prstGeom>
        </p:spPr>
      </p:pic>
      <p:grpSp>
        <p:nvGrpSpPr>
          <p:cNvPr id="31" name="Gruppo 16">
            <a:extLst>
              <a:ext uri="{FF2B5EF4-FFF2-40B4-BE49-F238E27FC236}">
                <a16:creationId xmlns:a16="http://schemas.microsoft.com/office/drawing/2014/main" id="{F3BAC0C1-48BA-4538-BC42-457A38E8DCE2}"/>
              </a:ext>
            </a:extLst>
          </p:cNvPr>
          <p:cNvGrpSpPr/>
          <p:nvPr/>
        </p:nvGrpSpPr>
        <p:grpSpPr>
          <a:xfrm>
            <a:off x="4329146" y="9679208"/>
            <a:ext cx="13958844" cy="666567"/>
            <a:chOff x="4329156" y="9649198"/>
            <a:chExt cx="13958844" cy="666567"/>
          </a:xfrm>
        </p:grpSpPr>
        <p:pic>
          <p:nvPicPr>
            <p:cNvPr id="32" name="Picture 12">
              <a:extLst>
                <a:ext uri="{FF2B5EF4-FFF2-40B4-BE49-F238E27FC236}">
                  <a16:creationId xmlns:a16="http://schemas.microsoft.com/office/drawing/2014/main" id="{0E1DCBCE-2FA4-45D1-A559-AE68D8E65E52}"/>
                </a:ext>
              </a:extLst>
            </p:cNvPr>
            <p:cNvPicPr>
              <a:picLocks noChangeAspect="1"/>
            </p:cNvPicPr>
            <p:nvPr/>
          </p:nvPicPr>
          <p:blipFill>
            <a:blip r:embed="rId5"/>
            <a:srcRect l="134" t="91287" b="3943"/>
            <a:stretch>
              <a:fillRect/>
            </a:stretch>
          </p:blipFill>
          <p:spPr>
            <a:xfrm rot="-10800000">
              <a:off x="4329156" y="9649198"/>
              <a:ext cx="13958844" cy="666567"/>
            </a:xfrm>
            <a:prstGeom prst="rect">
              <a:avLst/>
            </a:prstGeom>
          </p:spPr>
        </p:pic>
        <p:sp>
          <p:nvSpPr>
            <p:cNvPr id="33" name="TextBox 16">
              <a:extLst>
                <a:ext uri="{FF2B5EF4-FFF2-40B4-BE49-F238E27FC236}">
                  <a16:creationId xmlns:a16="http://schemas.microsoft.com/office/drawing/2014/main" id="{B194290C-75D1-4739-AB84-E92050605BD5}"/>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sp>
        <p:nvSpPr>
          <p:cNvPr id="3" name="TextBox 2">
            <a:extLst>
              <a:ext uri="{FF2B5EF4-FFF2-40B4-BE49-F238E27FC236}">
                <a16:creationId xmlns:a16="http://schemas.microsoft.com/office/drawing/2014/main" id="{1340F8D6-9ECA-366F-5029-7D27512092D7}"/>
              </a:ext>
            </a:extLst>
          </p:cNvPr>
          <p:cNvSpPr txBox="1"/>
          <p:nvPr/>
        </p:nvSpPr>
        <p:spPr>
          <a:xfrm>
            <a:off x="1176025" y="3916089"/>
            <a:ext cx="7050350" cy="230832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3600" b="1"/>
              <a:t>Inputs and output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3600"/>
              <a:t>For each unit process we collect the inputs and outputs that are shown in the figure. </a:t>
            </a:r>
          </a:p>
        </p:txBody>
      </p:sp>
    </p:spTree>
    <p:extLst>
      <p:ext uri="{BB962C8B-B14F-4D97-AF65-F5344CB8AC3E}">
        <p14:creationId xmlns:p14="http://schemas.microsoft.com/office/powerpoint/2010/main" val="3139737150"/>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uppo 2">
            <a:extLst>
              <a:ext uri="{FF2B5EF4-FFF2-40B4-BE49-F238E27FC236}">
                <a16:creationId xmlns:a16="http://schemas.microsoft.com/office/drawing/2014/main" id="{0BF5F7AC-8D08-4F9B-80F9-D144B3013AF7}"/>
              </a:ext>
            </a:extLst>
          </p:cNvPr>
          <p:cNvGrpSpPr/>
          <p:nvPr/>
        </p:nvGrpSpPr>
        <p:grpSpPr>
          <a:xfrm>
            <a:off x="-12" y="138554"/>
            <a:ext cx="18288002" cy="681138"/>
            <a:chOff x="-12" y="138554"/>
            <a:chExt cx="18288002" cy="681138"/>
          </a:xfrm>
        </p:grpSpPr>
        <p:grpSp>
          <p:nvGrpSpPr>
            <p:cNvPr id="22" name="Gruppo 1">
              <a:extLst>
                <a:ext uri="{FF2B5EF4-FFF2-40B4-BE49-F238E27FC236}">
                  <a16:creationId xmlns:a16="http://schemas.microsoft.com/office/drawing/2014/main" id="{ABF67B99-8C86-4D18-98EE-AEEF381CE0AC}"/>
                </a:ext>
              </a:extLst>
            </p:cNvPr>
            <p:cNvGrpSpPr/>
            <p:nvPr/>
          </p:nvGrpSpPr>
          <p:grpSpPr>
            <a:xfrm>
              <a:off x="0" y="153125"/>
              <a:ext cx="17907000" cy="666567"/>
              <a:chOff x="0" y="153125"/>
              <a:chExt cx="17907000" cy="666567"/>
            </a:xfrm>
          </p:grpSpPr>
          <p:pic>
            <p:nvPicPr>
              <p:cNvPr id="26" name="Picture 25">
                <a:extLst>
                  <a:ext uri="{FF2B5EF4-FFF2-40B4-BE49-F238E27FC236}">
                    <a16:creationId xmlns:a16="http://schemas.microsoft.com/office/drawing/2014/main" id="{2906B2FD-7B62-451F-80AE-69F0379ED48F}"/>
                  </a:ext>
                </a:extLst>
              </p:cNvPr>
              <p:cNvPicPr>
                <a:picLocks noChangeAspect="1"/>
              </p:cNvPicPr>
              <p:nvPr/>
            </p:nvPicPr>
            <p:blipFill>
              <a:blip r:embed="rId3"/>
              <a:srcRect l="134" t="91287" b="3943"/>
              <a:stretch>
                <a:fillRect/>
              </a:stretch>
            </p:blipFill>
            <p:spPr>
              <a:xfrm>
                <a:off x="0" y="153125"/>
                <a:ext cx="13958844" cy="666567"/>
              </a:xfrm>
              <a:prstGeom prst="rect">
                <a:avLst/>
              </a:prstGeom>
            </p:spPr>
          </p:pic>
          <p:sp>
            <p:nvSpPr>
              <p:cNvPr id="25" name="TextBox 24">
                <a:extLst>
                  <a:ext uri="{FF2B5EF4-FFF2-40B4-BE49-F238E27FC236}">
                    <a16:creationId xmlns:a16="http://schemas.microsoft.com/office/drawing/2014/main" id="{61C02DFB-3DCA-4C43-88E6-53F1B569621B}"/>
                  </a:ext>
                </a:extLst>
              </p:cNvPr>
              <p:cNvSpPr txBox="1"/>
              <p:nvPr/>
            </p:nvSpPr>
            <p:spPr>
              <a:xfrm>
                <a:off x="12154296" y="257980"/>
                <a:ext cx="5752704" cy="456856"/>
              </a:xfrm>
              <a:prstGeom prst="rect">
                <a:avLst/>
              </a:prstGeom>
            </p:spPr>
            <p:txBody>
              <a:bodyPr wrap="square" lIns="0" tIns="0" rIns="0" bIns="0" rtlCol="0" anchor="t">
                <a:spAutoFit/>
              </a:bodyPr>
              <a:lstStyle/>
              <a:p>
                <a:pPr algn="r">
                  <a:lnSpc>
                    <a:spcPts val="3919"/>
                  </a:lnSpc>
                  <a:spcBef>
                    <a:spcPct val="0"/>
                  </a:spcBef>
                </a:pPr>
                <a:endParaRPr lang="en-US" sz="2800">
                  <a:solidFill>
                    <a:schemeClr val="tx1">
                      <a:lumMod val="75000"/>
                      <a:lumOff val="25000"/>
                    </a:schemeClr>
                  </a:solidFill>
                  <a:latin typeface="Arial" panose="020B0604020202020204" pitchFamily="34" charset="0"/>
                  <a:cs typeface="Arial" panose="020B0604020202020204" pitchFamily="34" charset="0"/>
                </a:endParaRPr>
              </a:p>
            </p:txBody>
          </p:sp>
        </p:grpSp>
        <p:sp>
          <p:nvSpPr>
            <p:cNvPr id="23" name="Rettangolo 13">
              <a:extLst>
                <a:ext uri="{FF2B5EF4-FFF2-40B4-BE49-F238E27FC236}">
                  <a16:creationId xmlns:a16="http://schemas.microsoft.com/office/drawing/2014/main" id="{8463190F-FFFB-4FD7-A386-3984105EF0AD}"/>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8" name="TextBox 27">
            <a:extLst>
              <a:ext uri="{FF2B5EF4-FFF2-40B4-BE49-F238E27FC236}">
                <a16:creationId xmlns:a16="http://schemas.microsoft.com/office/drawing/2014/main" id="{50CB39D9-DA83-414D-A4C1-CA4B3241CA9F}"/>
              </a:ext>
            </a:extLst>
          </p:cNvPr>
          <p:cNvSpPr txBox="1"/>
          <p:nvPr/>
        </p:nvSpPr>
        <p:spPr>
          <a:xfrm>
            <a:off x="-251673" y="943763"/>
            <a:ext cx="18288012" cy="1077218"/>
          </a:xfrm>
          <a:prstGeom prst="rect">
            <a:avLst/>
          </a:prstGeom>
          <a:noFill/>
        </p:spPr>
        <p:txBody>
          <a:bodyPr wrap="square">
            <a:spAutoFit/>
          </a:bodyPr>
          <a:lstStyle/>
          <a:p>
            <a:pPr algn="ctr"/>
            <a:r>
              <a:rPr lang="sv-SE" sz="6400" b="1">
                <a:solidFill>
                  <a:srgbClr val="CC0033"/>
                </a:solidFill>
                <a:latin typeface="+mj-lt"/>
                <a:cs typeface="Arial" panose="020B0604020202020204" pitchFamily="34" charset="0"/>
              </a:rPr>
              <a:t>Step 2: Life </a:t>
            </a:r>
            <a:r>
              <a:rPr lang="sv-SE" sz="6400" b="1" err="1">
                <a:solidFill>
                  <a:srgbClr val="CC0033"/>
                </a:solidFill>
                <a:latin typeface="+mj-lt"/>
                <a:cs typeface="Arial" panose="020B0604020202020204" pitchFamily="34" charset="0"/>
              </a:rPr>
              <a:t>Cycle</a:t>
            </a:r>
            <a:r>
              <a:rPr lang="sv-SE" sz="6400" b="1">
                <a:solidFill>
                  <a:srgbClr val="CC0033"/>
                </a:solidFill>
                <a:latin typeface="+mj-lt"/>
                <a:cs typeface="Arial" panose="020B0604020202020204" pitchFamily="34" charset="0"/>
              </a:rPr>
              <a:t> </a:t>
            </a:r>
            <a:r>
              <a:rPr lang="sv-SE" sz="6400" b="1" err="1">
                <a:solidFill>
                  <a:srgbClr val="CC0033"/>
                </a:solidFill>
                <a:latin typeface="+mj-lt"/>
                <a:cs typeface="Arial" panose="020B0604020202020204" pitchFamily="34" charset="0"/>
              </a:rPr>
              <a:t>Inventory</a:t>
            </a:r>
            <a:r>
              <a:rPr lang="sv-SE" sz="6400" b="1">
                <a:solidFill>
                  <a:srgbClr val="CC0033"/>
                </a:solidFill>
                <a:latin typeface="+mj-lt"/>
                <a:cs typeface="Arial" panose="020B0604020202020204" pitchFamily="34" charset="0"/>
              </a:rPr>
              <a:t> </a:t>
            </a:r>
            <a:r>
              <a:rPr lang="sv-SE" sz="6400" b="1" err="1">
                <a:solidFill>
                  <a:srgbClr val="CC0033"/>
                </a:solidFill>
                <a:latin typeface="+mj-lt"/>
                <a:cs typeface="Arial" panose="020B0604020202020204" pitchFamily="34" charset="0"/>
              </a:rPr>
              <a:t>analysis</a:t>
            </a:r>
            <a:r>
              <a:rPr lang="sv-SE" sz="6400" b="1">
                <a:solidFill>
                  <a:srgbClr val="CC0033"/>
                </a:solidFill>
                <a:latin typeface="+mj-lt"/>
                <a:cs typeface="Arial" panose="020B0604020202020204" pitchFamily="34" charset="0"/>
              </a:rPr>
              <a:t> (LCI)</a:t>
            </a:r>
          </a:p>
        </p:txBody>
      </p:sp>
      <p:pic>
        <p:nvPicPr>
          <p:cNvPr id="29" name="Picture 12">
            <a:extLst>
              <a:ext uri="{FF2B5EF4-FFF2-40B4-BE49-F238E27FC236}">
                <a16:creationId xmlns:a16="http://schemas.microsoft.com/office/drawing/2014/main" id="{BDCEFD69-B235-4C4C-BE39-966182499341}"/>
              </a:ext>
            </a:extLst>
          </p:cNvPr>
          <p:cNvPicPr>
            <a:picLocks noChangeAspect="1"/>
          </p:cNvPicPr>
          <p:nvPr/>
        </p:nvPicPr>
        <p:blipFill>
          <a:blip r:embed="rId4"/>
          <a:srcRect/>
          <a:stretch>
            <a:fillRect/>
          </a:stretch>
        </p:blipFill>
        <p:spPr>
          <a:xfrm>
            <a:off x="0" y="8901113"/>
            <a:ext cx="5715000" cy="1385887"/>
          </a:xfrm>
          <a:prstGeom prst="rect">
            <a:avLst/>
          </a:prstGeom>
        </p:spPr>
      </p:pic>
      <p:grpSp>
        <p:nvGrpSpPr>
          <p:cNvPr id="30" name="Gruppo 16">
            <a:extLst>
              <a:ext uri="{FF2B5EF4-FFF2-40B4-BE49-F238E27FC236}">
                <a16:creationId xmlns:a16="http://schemas.microsoft.com/office/drawing/2014/main" id="{DFC60C89-850E-48EE-B0AF-CC3DD0E5737C}"/>
              </a:ext>
            </a:extLst>
          </p:cNvPr>
          <p:cNvGrpSpPr/>
          <p:nvPr/>
        </p:nvGrpSpPr>
        <p:grpSpPr>
          <a:xfrm>
            <a:off x="4329146" y="9679208"/>
            <a:ext cx="13958844" cy="666567"/>
            <a:chOff x="4329156" y="9649198"/>
            <a:chExt cx="13958844" cy="666567"/>
          </a:xfrm>
        </p:grpSpPr>
        <p:pic>
          <p:nvPicPr>
            <p:cNvPr id="31" name="Picture 12">
              <a:extLst>
                <a:ext uri="{FF2B5EF4-FFF2-40B4-BE49-F238E27FC236}">
                  <a16:creationId xmlns:a16="http://schemas.microsoft.com/office/drawing/2014/main" id="{A0754B1F-AD19-47BB-B93C-A9DCA96951E2}"/>
                </a:ext>
              </a:extLst>
            </p:cNvPr>
            <p:cNvPicPr>
              <a:picLocks noChangeAspect="1"/>
            </p:cNvPicPr>
            <p:nvPr/>
          </p:nvPicPr>
          <p:blipFill>
            <a:blip r:embed="rId5"/>
            <a:srcRect l="134" t="91287" b="3943"/>
            <a:stretch>
              <a:fillRect/>
            </a:stretch>
          </p:blipFill>
          <p:spPr>
            <a:xfrm rot="-10800000">
              <a:off x="4329156" y="9649198"/>
              <a:ext cx="13958844" cy="666567"/>
            </a:xfrm>
            <a:prstGeom prst="rect">
              <a:avLst/>
            </a:prstGeom>
          </p:spPr>
        </p:pic>
        <p:sp>
          <p:nvSpPr>
            <p:cNvPr id="32" name="TextBox 16">
              <a:extLst>
                <a:ext uri="{FF2B5EF4-FFF2-40B4-BE49-F238E27FC236}">
                  <a16:creationId xmlns:a16="http://schemas.microsoft.com/office/drawing/2014/main" id="{0678AD78-B5F3-4712-9678-ADEAC0047B80}"/>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sp>
        <p:nvSpPr>
          <p:cNvPr id="2" name="TextBox 1">
            <a:extLst>
              <a:ext uri="{FF2B5EF4-FFF2-40B4-BE49-F238E27FC236}">
                <a16:creationId xmlns:a16="http://schemas.microsoft.com/office/drawing/2014/main" id="{FF211D84-2245-063F-8FE7-0BAA119A8706}"/>
              </a:ext>
            </a:extLst>
          </p:cNvPr>
          <p:cNvSpPr txBox="1"/>
          <p:nvPr/>
        </p:nvSpPr>
        <p:spPr>
          <a:xfrm>
            <a:off x="1914599" y="2282970"/>
            <a:ext cx="13955468" cy="954107"/>
          </a:xfrm>
          <a:prstGeom prst="rect">
            <a:avLst/>
          </a:prstGeom>
          <a:solidFill>
            <a:schemeClr val="accent2">
              <a:lumMod val="60000"/>
              <a:lumOff val="40000"/>
            </a:schemeClr>
          </a:solidFill>
        </p:spPr>
        <p:txBody>
          <a:bodyPr wrap="square" rIns="90000" anchor="ctr" anchorCtr="0">
            <a:spAutoFit/>
          </a:bodyPr>
          <a:lstStyle/>
          <a:p>
            <a:pPr algn="ctr"/>
            <a:r>
              <a:rPr lang="en-US" sz="2800" b="0" i="0">
                <a:solidFill>
                  <a:srgbClr val="000000"/>
                </a:solidFill>
                <a:effectLst/>
                <a:latin typeface="Arial" panose="020B0604020202020204" pitchFamily="34" charset="0"/>
              </a:rPr>
              <a:t>The </a:t>
            </a:r>
            <a:r>
              <a:rPr lang="en-US" sz="2800" b="1" i="0">
                <a:solidFill>
                  <a:srgbClr val="000000"/>
                </a:solidFill>
                <a:effectLst/>
                <a:latin typeface="Arial" panose="020B0604020202020204" pitchFamily="34" charset="0"/>
              </a:rPr>
              <a:t>Life Cycle Inventory (LCI)</a:t>
            </a:r>
            <a:r>
              <a:rPr lang="en-US" sz="2800" b="0" i="0">
                <a:solidFill>
                  <a:srgbClr val="000000"/>
                </a:solidFill>
                <a:effectLst/>
                <a:latin typeface="Arial" panose="020B0604020202020204" pitchFamily="34" charset="0"/>
              </a:rPr>
              <a:t> phase involves the data collection and the calculation procedure for the quantification of inputs and outputs of the studied system.</a:t>
            </a:r>
            <a:endParaRPr lang="sv-SE" sz="2800"/>
          </a:p>
        </p:txBody>
      </p:sp>
      <p:grpSp>
        <p:nvGrpSpPr>
          <p:cNvPr id="19" name="Group 18">
            <a:extLst>
              <a:ext uri="{FF2B5EF4-FFF2-40B4-BE49-F238E27FC236}">
                <a16:creationId xmlns:a16="http://schemas.microsoft.com/office/drawing/2014/main" id="{1AAEEF3C-03B8-7F11-B10E-0CFF0526BC3D}"/>
              </a:ext>
            </a:extLst>
          </p:cNvPr>
          <p:cNvGrpSpPr/>
          <p:nvPr/>
        </p:nvGrpSpPr>
        <p:grpSpPr>
          <a:xfrm>
            <a:off x="1707566" y="1883279"/>
            <a:ext cx="14369534" cy="5508612"/>
            <a:chOff x="1964160" y="3541358"/>
            <a:chExt cx="14369534" cy="5508612"/>
          </a:xfrm>
        </p:grpSpPr>
        <p:graphicFrame>
          <p:nvGraphicFramePr>
            <p:cNvPr id="5" name="Diagram 4"/>
            <p:cNvGraphicFramePr/>
            <p:nvPr/>
          </p:nvGraphicFramePr>
          <p:xfrm>
            <a:off x="1964160" y="3541358"/>
            <a:ext cx="14369534" cy="5508612"/>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grpSp>
          <p:nvGrpSpPr>
            <p:cNvPr id="8" name="Group 7">
              <a:extLst>
                <a:ext uri="{FF2B5EF4-FFF2-40B4-BE49-F238E27FC236}">
                  <a16:creationId xmlns:a16="http://schemas.microsoft.com/office/drawing/2014/main" id="{0C756C56-0EA1-3565-4BDB-EB37CCC73168}"/>
                </a:ext>
              </a:extLst>
            </p:cNvPr>
            <p:cNvGrpSpPr/>
            <p:nvPr/>
          </p:nvGrpSpPr>
          <p:grpSpPr>
            <a:xfrm>
              <a:off x="7310385" y="7611599"/>
              <a:ext cx="1188158" cy="746397"/>
              <a:chOff x="5297362" y="1621863"/>
              <a:chExt cx="3774809" cy="2264885"/>
            </a:xfrm>
            <a:scene3d>
              <a:camera prst="orthographicFront"/>
              <a:lightRig rig="flat" dir="t"/>
            </a:scene3d>
          </p:grpSpPr>
          <p:sp>
            <p:nvSpPr>
              <p:cNvPr id="9" name="Rectangle: Rounded Corners 8">
                <a:extLst>
                  <a:ext uri="{FF2B5EF4-FFF2-40B4-BE49-F238E27FC236}">
                    <a16:creationId xmlns:a16="http://schemas.microsoft.com/office/drawing/2014/main" id="{62A15880-D51F-FE1F-307C-19B863F7F83B}"/>
                  </a:ext>
                </a:extLst>
              </p:cNvPr>
              <p:cNvSpPr/>
              <p:nvPr/>
            </p:nvSpPr>
            <p:spPr>
              <a:xfrm>
                <a:off x="5297362" y="1621863"/>
                <a:ext cx="3774809" cy="2264885"/>
              </a:xfrm>
              <a:prstGeom prst="roundRect">
                <a:avLst>
                  <a:gd name="adj" fmla="val 10000"/>
                </a:avLst>
              </a:prstGeom>
              <a:sp3d prstMaterial="plastic">
                <a:bevelT w="120900" h="88900"/>
                <a:bevelB w="88900" h="31750" prst="angle"/>
              </a:sp3d>
            </p:spPr>
            <p:style>
              <a:lnRef idx="0">
                <a:schemeClr val="lt1">
                  <a:hueOff val="0"/>
                  <a:satOff val="0"/>
                  <a:lumOff val="0"/>
                  <a:alphaOff val="0"/>
                </a:schemeClr>
              </a:lnRef>
              <a:fillRef idx="3">
                <a:schemeClr val="accent1">
                  <a:shade val="80000"/>
                  <a:hueOff val="312772"/>
                  <a:satOff val="-24292"/>
                  <a:lumOff val="18155"/>
                  <a:alphaOff val="0"/>
                </a:schemeClr>
              </a:fillRef>
              <a:effectRef idx="2">
                <a:schemeClr val="accent1">
                  <a:shade val="80000"/>
                  <a:hueOff val="312772"/>
                  <a:satOff val="-24292"/>
                  <a:lumOff val="18155"/>
                  <a:alphaOff val="0"/>
                </a:schemeClr>
              </a:effectRef>
              <a:fontRef idx="minor">
                <a:schemeClr val="lt1"/>
              </a:fontRef>
            </p:style>
          </p:sp>
          <p:sp>
            <p:nvSpPr>
              <p:cNvPr id="10" name="Rectangle: Rounded Corners 4">
                <a:extLst>
                  <a:ext uri="{FF2B5EF4-FFF2-40B4-BE49-F238E27FC236}">
                    <a16:creationId xmlns:a16="http://schemas.microsoft.com/office/drawing/2014/main" id="{3AEB108A-A806-9112-BC95-DA63E6AC8EAD}"/>
                  </a:ext>
                </a:extLst>
              </p:cNvPr>
              <p:cNvSpPr txBox="1"/>
              <p:nvPr/>
            </p:nvSpPr>
            <p:spPr>
              <a:xfrm>
                <a:off x="5363698" y="1688199"/>
                <a:ext cx="3642136" cy="2132214"/>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sv-SE" sz="2800"/>
                  <a:t>LCA</a:t>
                </a:r>
                <a:endParaRPr lang="sv-SE" sz="2800" kern="1200"/>
              </a:p>
            </p:txBody>
          </p:sp>
        </p:grpSp>
        <p:grpSp>
          <p:nvGrpSpPr>
            <p:cNvPr id="11" name="Group 10">
              <a:extLst>
                <a:ext uri="{FF2B5EF4-FFF2-40B4-BE49-F238E27FC236}">
                  <a16:creationId xmlns:a16="http://schemas.microsoft.com/office/drawing/2014/main" id="{C0A164B4-FC7F-488E-D83A-E3298C4253E4}"/>
                </a:ext>
              </a:extLst>
            </p:cNvPr>
            <p:cNvGrpSpPr/>
            <p:nvPr/>
          </p:nvGrpSpPr>
          <p:grpSpPr>
            <a:xfrm>
              <a:off x="8601301" y="7602875"/>
              <a:ext cx="1188158" cy="746397"/>
              <a:chOff x="5297362" y="1621863"/>
              <a:chExt cx="3774809" cy="2264885"/>
            </a:xfrm>
            <a:scene3d>
              <a:camera prst="orthographicFront"/>
              <a:lightRig rig="flat" dir="t"/>
            </a:scene3d>
          </p:grpSpPr>
          <p:sp>
            <p:nvSpPr>
              <p:cNvPr id="12" name="Rectangle: Rounded Corners 11">
                <a:extLst>
                  <a:ext uri="{FF2B5EF4-FFF2-40B4-BE49-F238E27FC236}">
                    <a16:creationId xmlns:a16="http://schemas.microsoft.com/office/drawing/2014/main" id="{AF746B44-213D-22EC-8CE9-88D3749CE134}"/>
                  </a:ext>
                </a:extLst>
              </p:cNvPr>
              <p:cNvSpPr/>
              <p:nvPr/>
            </p:nvSpPr>
            <p:spPr>
              <a:xfrm>
                <a:off x="5297362" y="1621863"/>
                <a:ext cx="3774809" cy="2264885"/>
              </a:xfrm>
              <a:prstGeom prst="roundRect">
                <a:avLst>
                  <a:gd name="adj" fmla="val 10000"/>
                </a:avLst>
              </a:prstGeom>
              <a:sp3d prstMaterial="plastic">
                <a:bevelT w="120900" h="88900"/>
                <a:bevelB w="88900" h="31750" prst="angle"/>
              </a:sp3d>
            </p:spPr>
            <p:style>
              <a:lnRef idx="0">
                <a:schemeClr val="lt1">
                  <a:hueOff val="0"/>
                  <a:satOff val="0"/>
                  <a:lumOff val="0"/>
                  <a:alphaOff val="0"/>
                </a:schemeClr>
              </a:lnRef>
              <a:fillRef idx="3">
                <a:schemeClr val="accent1">
                  <a:shade val="80000"/>
                  <a:hueOff val="312772"/>
                  <a:satOff val="-24292"/>
                  <a:lumOff val="18155"/>
                  <a:alphaOff val="0"/>
                </a:schemeClr>
              </a:fillRef>
              <a:effectRef idx="2">
                <a:schemeClr val="accent1">
                  <a:shade val="80000"/>
                  <a:hueOff val="312772"/>
                  <a:satOff val="-24292"/>
                  <a:lumOff val="18155"/>
                  <a:alphaOff val="0"/>
                </a:schemeClr>
              </a:effectRef>
              <a:fontRef idx="minor">
                <a:schemeClr val="lt1"/>
              </a:fontRef>
            </p:style>
          </p:sp>
          <p:sp>
            <p:nvSpPr>
              <p:cNvPr id="13" name="Rectangle: Rounded Corners 4">
                <a:extLst>
                  <a:ext uri="{FF2B5EF4-FFF2-40B4-BE49-F238E27FC236}">
                    <a16:creationId xmlns:a16="http://schemas.microsoft.com/office/drawing/2014/main" id="{6AC4FCB9-78FF-4BD8-172D-466B6D277E45}"/>
                  </a:ext>
                </a:extLst>
              </p:cNvPr>
              <p:cNvSpPr txBox="1"/>
              <p:nvPr/>
            </p:nvSpPr>
            <p:spPr>
              <a:xfrm>
                <a:off x="5363698" y="1688199"/>
                <a:ext cx="3642136" cy="2132214"/>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sv-SE" sz="2800"/>
                  <a:t>LCC</a:t>
                </a:r>
                <a:endParaRPr lang="sv-SE" sz="2800" kern="1200"/>
              </a:p>
            </p:txBody>
          </p:sp>
        </p:grpSp>
        <p:grpSp>
          <p:nvGrpSpPr>
            <p:cNvPr id="14" name="Group 13">
              <a:extLst>
                <a:ext uri="{FF2B5EF4-FFF2-40B4-BE49-F238E27FC236}">
                  <a16:creationId xmlns:a16="http://schemas.microsoft.com/office/drawing/2014/main" id="{8082056E-560C-40C4-12A3-619DEF4A55E7}"/>
                </a:ext>
              </a:extLst>
            </p:cNvPr>
            <p:cNvGrpSpPr/>
            <p:nvPr/>
          </p:nvGrpSpPr>
          <p:grpSpPr>
            <a:xfrm>
              <a:off x="9892217" y="7612136"/>
              <a:ext cx="1188158" cy="746397"/>
              <a:chOff x="5297362" y="1621863"/>
              <a:chExt cx="3774809" cy="2264885"/>
            </a:xfrm>
            <a:scene3d>
              <a:camera prst="orthographicFront"/>
              <a:lightRig rig="flat" dir="t"/>
            </a:scene3d>
          </p:grpSpPr>
          <p:sp>
            <p:nvSpPr>
              <p:cNvPr id="15" name="Rectangle: Rounded Corners 14">
                <a:extLst>
                  <a:ext uri="{FF2B5EF4-FFF2-40B4-BE49-F238E27FC236}">
                    <a16:creationId xmlns:a16="http://schemas.microsoft.com/office/drawing/2014/main" id="{BE50968C-00BC-B013-1338-C2C3A2F33331}"/>
                  </a:ext>
                </a:extLst>
              </p:cNvPr>
              <p:cNvSpPr/>
              <p:nvPr/>
            </p:nvSpPr>
            <p:spPr>
              <a:xfrm>
                <a:off x="5297362" y="1621863"/>
                <a:ext cx="3774809" cy="2264885"/>
              </a:xfrm>
              <a:prstGeom prst="roundRect">
                <a:avLst>
                  <a:gd name="adj" fmla="val 10000"/>
                </a:avLst>
              </a:prstGeom>
              <a:sp3d prstMaterial="plastic">
                <a:bevelT w="120900" h="88900"/>
                <a:bevelB w="88900" h="31750" prst="angle"/>
              </a:sp3d>
            </p:spPr>
            <p:style>
              <a:lnRef idx="0">
                <a:schemeClr val="lt1">
                  <a:hueOff val="0"/>
                  <a:satOff val="0"/>
                  <a:lumOff val="0"/>
                  <a:alphaOff val="0"/>
                </a:schemeClr>
              </a:lnRef>
              <a:fillRef idx="3">
                <a:schemeClr val="accent1">
                  <a:shade val="80000"/>
                  <a:hueOff val="312772"/>
                  <a:satOff val="-24292"/>
                  <a:lumOff val="18155"/>
                  <a:alphaOff val="0"/>
                </a:schemeClr>
              </a:fillRef>
              <a:effectRef idx="2">
                <a:schemeClr val="accent1">
                  <a:shade val="80000"/>
                  <a:hueOff val="312772"/>
                  <a:satOff val="-24292"/>
                  <a:lumOff val="18155"/>
                  <a:alphaOff val="0"/>
                </a:schemeClr>
              </a:effectRef>
              <a:fontRef idx="minor">
                <a:schemeClr val="lt1"/>
              </a:fontRef>
            </p:style>
          </p:sp>
          <p:sp>
            <p:nvSpPr>
              <p:cNvPr id="16" name="Rectangle: Rounded Corners 4">
                <a:extLst>
                  <a:ext uri="{FF2B5EF4-FFF2-40B4-BE49-F238E27FC236}">
                    <a16:creationId xmlns:a16="http://schemas.microsoft.com/office/drawing/2014/main" id="{B09DDFD1-8A89-B18E-191D-A9A7EC0593DB}"/>
                  </a:ext>
                </a:extLst>
              </p:cNvPr>
              <p:cNvSpPr txBox="1"/>
              <p:nvPr/>
            </p:nvSpPr>
            <p:spPr>
              <a:xfrm>
                <a:off x="5363698" y="1688199"/>
                <a:ext cx="3642136" cy="2132214"/>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sv-SE" sz="2400"/>
                  <a:t>S-LCA</a:t>
                </a:r>
                <a:endParaRPr lang="sv-SE" sz="2400" kern="1200"/>
              </a:p>
            </p:txBody>
          </p:sp>
        </p:grpSp>
      </p:grpSp>
    </p:spTree>
    <p:extLst>
      <p:ext uri="{BB962C8B-B14F-4D97-AF65-F5344CB8AC3E}">
        <p14:creationId xmlns:p14="http://schemas.microsoft.com/office/powerpoint/2010/main" val="591907685"/>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6"/>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4"/>
          <a:srcRect/>
          <a:stretch>
            <a:fillRect/>
          </a:stretch>
        </p:blipFill>
        <p:spPr>
          <a:xfrm>
            <a:off x="0" y="8901113"/>
            <a:ext cx="5715000" cy="1385887"/>
          </a:xfrm>
          <a:prstGeom prst="rect">
            <a:avLst/>
          </a:prstGeom>
        </p:spPr>
      </p:pic>
      <p:grpSp>
        <p:nvGrpSpPr>
          <p:cNvPr id="3" name="Gruppo 2">
            <a:extLst>
              <a:ext uri="{FF2B5EF4-FFF2-40B4-BE49-F238E27FC236}">
                <a16:creationId xmlns:a16="http://schemas.microsoft.com/office/drawing/2014/main" id="{C0CB46E5-A192-4AF6-A215-57B5AF0E57B2}"/>
              </a:ext>
            </a:extLst>
          </p:cNvPr>
          <p:cNvGrpSpPr/>
          <p:nvPr/>
        </p:nvGrpSpPr>
        <p:grpSpPr>
          <a:xfrm>
            <a:off x="-12" y="138554"/>
            <a:ext cx="18288002" cy="681138"/>
            <a:chOff x="-12" y="138554"/>
            <a:chExt cx="18288002" cy="681138"/>
          </a:xfrm>
        </p:grpSpPr>
        <p:pic>
          <p:nvPicPr>
            <p:cNvPr id="10" name="Picture 10"/>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21" name="Rettangolo 20">
              <a:extLst>
                <a:ext uri="{FF2B5EF4-FFF2-40B4-BE49-F238E27FC236}">
                  <a16:creationId xmlns:a16="http://schemas.microsoft.com/office/drawing/2014/main" id="{6723B04D-1530-4E4F-9078-5B001D7D0872}"/>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extBox 13">
            <a:extLst>
              <a:ext uri="{FF2B5EF4-FFF2-40B4-BE49-F238E27FC236}">
                <a16:creationId xmlns:a16="http://schemas.microsoft.com/office/drawing/2014/main" id="{BF7380F8-A0BA-48D8-B402-CE01FBE77537}"/>
              </a:ext>
            </a:extLst>
          </p:cNvPr>
          <p:cNvSpPr txBox="1"/>
          <p:nvPr/>
        </p:nvSpPr>
        <p:spPr>
          <a:xfrm>
            <a:off x="838188" y="1046466"/>
            <a:ext cx="15468611" cy="1052468"/>
          </a:xfrm>
          <a:prstGeom prst="rect">
            <a:avLst/>
          </a:prstGeom>
        </p:spPr>
        <p:txBody>
          <a:bodyPr wrap="square" lIns="0" tIns="0" rIns="0" bIns="0" rtlCol="0" anchor="t">
            <a:spAutoFit/>
          </a:bodyPr>
          <a:lstStyle/>
          <a:p>
            <a:pPr>
              <a:lnSpc>
                <a:spcPts val="8960"/>
              </a:lnSpc>
              <a:spcBef>
                <a:spcPct val="0"/>
              </a:spcBef>
            </a:pPr>
            <a:r>
              <a:rPr lang="en-US" sz="6400" b="1">
                <a:solidFill>
                  <a:srgbClr val="CC0033"/>
                </a:solidFill>
                <a:latin typeface="+mj-lt"/>
                <a:cs typeface="Arial" panose="020B0604020202020204" pitchFamily="34" charset="0"/>
              </a:rPr>
              <a:t>Data needed for LCA</a:t>
            </a:r>
          </a:p>
        </p:txBody>
      </p:sp>
      <p:sp>
        <p:nvSpPr>
          <p:cNvPr id="22" name="TextBox 14">
            <a:extLst>
              <a:ext uri="{FF2B5EF4-FFF2-40B4-BE49-F238E27FC236}">
                <a16:creationId xmlns:a16="http://schemas.microsoft.com/office/drawing/2014/main" id="{828D142A-1809-4AAF-9F4A-EB1DF1F9C388}"/>
              </a:ext>
            </a:extLst>
          </p:cNvPr>
          <p:cNvSpPr txBox="1"/>
          <p:nvPr/>
        </p:nvSpPr>
        <p:spPr>
          <a:xfrm>
            <a:off x="838188" y="2476500"/>
            <a:ext cx="16611600" cy="4761881"/>
          </a:xfrm>
          <a:prstGeom prst="rect">
            <a:avLst/>
          </a:prstGeom>
        </p:spPr>
        <p:txBody>
          <a:bodyPr wrap="square" lIns="0" tIns="0" rIns="0" bIns="0" rtlCol="0" anchor="t">
            <a:spAutoFit/>
          </a:bodyPr>
          <a:lstStyle/>
          <a:p>
            <a:pPr marL="457200" indent="-457200">
              <a:lnSpc>
                <a:spcPct val="150000"/>
              </a:lnSpc>
              <a:buFont typeface="Arial" panose="020B0604020202020204" pitchFamily="34" charset="0"/>
              <a:buChar char="•"/>
            </a:pPr>
            <a:r>
              <a:rPr lang="en-US" sz="3000" b="1">
                <a:cs typeface="Arial" panose="020B0604020202020204" pitchFamily="34" charset="0"/>
              </a:rPr>
              <a:t>LCA – Life-cycle assessment</a:t>
            </a:r>
          </a:p>
          <a:p>
            <a:pPr marL="914400" lvl="1" indent="-457200">
              <a:lnSpc>
                <a:spcPct val="150000"/>
              </a:lnSpc>
              <a:buFont typeface="Arial" panose="020B0604020202020204" pitchFamily="34" charset="0"/>
              <a:buChar char="•"/>
            </a:pPr>
            <a:r>
              <a:rPr lang="en-US" sz="3000">
                <a:cs typeface="Arial" panose="020B0604020202020204" pitchFamily="34" charset="0"/>
              </a:rPr>
              <a:t>Material and energy consumption</a:t>
            </a:r>
          </a:p>
          <a:p>
            <a:pPr marL="914400" lvl="1" indent="-457200">
              <a:lnSpc>
                <a:spcPct val="150000"/>
              </a:lnSpc>
              <a:buFont typeface="Arial" panose="020B0604020202020204" pitchFamily="34" charset="0"/>
              <a:buChar char="•"/>
            </a:pPr>
            <a:r>
              <a:rPr lang="en-US" sz="3000">
                <a:cs typeface="Arial" panose="020B0604020202020204" pitchFamily="34" charset="0"/>
              </a:rPr>
              <a:t>Co-products and losses</a:t>
            </a:r>
          </a:p>
          <a:p>
            <a:pPr marL="914400" lvl="1" indent="-457200">
              <a:lnSpc>
                <a:spcPct val="150000"/>
              </a:lnSpc>
              <a:buFont typeface="Arial" panose="020B0604020202020204" pitchFamily="34" charset="0"/>
              <a:buChar char="•"/>
            </a:pPr>
            <a:r>
              <a:rPr lang="en-US" sz="3000">
                <a:cs typeface="Arial" panose="020B0604020202020204" pitchFamily="34" charset="0"/>
              </a:rPr>
              <a:t>Direct emissions</a:t>
            </a:r>
          </a:p>
          <a:p>
            <a:pPr marL="914400" lvl="1" indent="-457200">
              <a:lnSpc>
                <a:spcPct val="150000"/>
              </a:lnSpc>
              <a:buFont typeface="Arial" panose="020B0604020202020204" pitchFamily="34" charset="0"/>
              <a:buChar char="•"/>
            </a:pPr>
            <a:r>
              <a:rPr lang="en-US" sz="3000">
                <a:cs typeface="Arial" panose="020B0604020202020204" pitchFamily="34" charset="0"/>
              </a:rPr>
              <a:t>Waste flows and handling method</a:t>
            </a:r>
          </a:p>
          <a:p>
            <a:pPr marL="914400" lvl="1" indent="-457200">
              <a:lnSpc>
                <a:spcPct val="150000"/>
              </a:lnSpc>
              <a:buFont typeface="Arial" panose="020B0604020202020204" pitchFamily="34" charset="0"/>
              <a:buChar char="•"/>
            </a:pPr>
            <a:r>
              <a:rPr lang="en-US" sz="3000">
                <a:cs typeface="Arial" panose="020B0604020202020204" pitchFamily="34" charset="0"/>
              </a:rPr>
              <a:t>Transport type and distance</a:t>
            </a:r>
          </a:p>
          <a:p>
            <a:pPr marL="914400" lvl="1" indent="-457200">
              <a:lnSpc>
                <a:spcPct val="150000"/>
              </a:lnSpc>
              <a:buFont typeface="Arial" panose="020B0604020202020204" pitchFamily="34" charset="0"/>
              <a:buChar char="•"/>
            </a:pPr>
            <a:r>
              <a:rPr lang="en-US" sz="3000">
                <a:cs typeface="Arial" panose="020B0604020202020204" pitchFamily="34" charset="0"/>
              </a:rPr>
              <a:t>Country of origin of material and energy</a:t>
            </a:r>
          </a:p>
        </p:txBody>
      </p:sp>
    </p:spTree>
    <p:extLst>
      <p:ext uri="{BB962C8B-B14F-4D97-AF65-F5344CB8AC3E}">
        <p14:creationId xmlns:p14="http://schemas.microsoft.com/office/powerpoint/2010/main" val="1300310891"/>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6"/>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4"/>
          <a:srcRect/>
          <a:stretch>
            <a:fillRect/>
          </a:stretch>
        </p:blipFill>
        <p:spPr>
          <a:xfrm>
            <a:off x="0" y="8901113"/>
            <a:ext cx="5715000" cy="1385887"/>
          </a:xfrm>
          <a:prstGeom prst="rect">
            <a:avLst/>
          </a:prstGeom>
        </p:spPr>
      </p:pic>
      <p:grpSp>
        <p:nvGrpSpPr>
          <p:cNvPr id="3" name="Gruppo 2">
            <a:extLst>
              <a:ext uri="{FF2B5EF4-FFF2-40B4-BE49-F238E27FC236}">
                <a16:creationId xmlns:a16="http://schemas.microsoft.com/office/drawing/2014/main" id="{C0CB46E5-A192-4AF6-A215-57B5AF0E57B2}"/>
              </a:ext>
            </a:extLst>
          </p:cNvPr>
          <p:cNvGrpSpPr/>
          <p:nvPr/>
        </p:nvGrpSpPr>
        <p:grpSpPr>
          <a:xfrm>
            <a:off x="-12" y="138554"/>
            <a:ext cx="18288002" cy="681138"/>
            <a:chOff x="-12" y="138554"/>
            <a:chExt cx="18288002" cy="681138"/>
          </a:xfrm>
        </p:grpSpPr>
        <p:pic>
          <p:nvPicPr>
            <p:cNvPr id="10" name="Picture 10"/>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21" name="Rettangolo 20">
              <a:extLst>
                <a:ext uri="{FF2B5EF4-FFF2-40B4-BE49-F238E27FC236}">
                  <a16:creationId xmlns:a16="http://schemas.microsoft.com/office/drawing/2014/main" id="{6723B04D-1530-4E4F-9078-5B001D7D0872}"/>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extBox 13">
            <a:extLst>
              <a:ext uri="{FF2B5EF4-FFF2-40B4-BE49-F238E27FC236}">
                <a16:creationId xmlns:a16="http://schemas.microsoft.com/office/drawing/2014/main" id="{BF7380F8-A0BA-48D8-B402-CE01FBE77537}"/>
              </a:ext>
            </a:extLst>
          </p:cNvPr>
          <p:cNvSpPr txBox="1"/>
          <p:nvPr/>
        </p:nvSpPr>
        <p:spPr>
          <a:xfrm>
            <a:off x="838188" y="1258486"/>
            <a:ext cx="14477999" cy="1052468"/>
          </a:xfrm>
          <a:prstGeom prst="rect">
            <a:avLst/>
          </a:prstGeom>
        </p:spPr>
        <p:txBody>
          <a:bodyPr wrap="square" lIns="0" tIns="0" rIns="0" bIns="0" rtlCol="0" anchor="t">
            <a:spAutoFit/>
          </a:bodyPr>
          <a:lstStyle/>
          <a:p>
            <a:pPr>
              <a:lnSpc>
                <a:spcPts val="8960"/>
              </a:lnSpc>
              <a:spcBef>
                <a:spcPct val="0"/>
              </a:spcBef>
            </a:pPr>
            <a:r>
              <a:rPr lang="en-US" sz="6400" b="1">
                <a:solidFill>
                  <a:srgbClr val="CC0033"/>
                </a:solidFill>
                <a:latin typeface="+mj-lt"/>
                <a:cs typeface="Arial" panose="020B0604020202020204" pitchFamily="34" charset="0"/>
              </a:rPr>
              <a:t>Data needed for LCC</a:t>
            </a:r>
          </a:p>
        </p:txBody>
      </p:sp>
      <p:sp>
        <p:nvSpPr>
          <p:cNvPr id="22" name="TextBox 14">
            <a:extLst>
              <a:ext uri="{FF2B5EF4-FFF2-40B4-BE49-F238E27FC236}">
                <a16:creationId xmlns:a16="http://schemas.microsoft.com/office/drawing/2014/main" id="{828D142A-1809-4AAF-9F4A-EB1DF1F9C388}"/>
              </a:ext>
            </a:extLst>
          </p:cNvPr>
          <p:cNvSpPr txBox="1"/>
          <p:nvPr/>
        </p:nvSpPr>
        <p:spPr>
          <a:xfrm>
            <a:off x="838188" y="2476500"/>
            <a:ext cx="16611600" cy="4069384"/>
          </a:xfrm>
          <a:prstGeom prst="rect">
            <a:avLst/>
          </a:prstGeom>
        </p:spPr>
        <p:txBody>
          <a:bodyPr wrap="square" lIns="0" tIns="0" rIns="0" bIns="0" rtlCol="0" anchor="t">
            <a:spAutoFit/>
          </a:bodyPr>
          <a:lstStyle/>
          <a:p>
            <a:pPr marL="457200" indent="-457200">
              <a:lnSpc>
                <a:spcPct val="150000"/>
              </a:lnSpc>
              <a:buFont typeface="Arial" panose="020B0604020202020204" pitchFamily="34" charset="0"/>
              <a:buChar char="•"/>
            </a:pPr>
            <a:r>
              <a:rPr lang="en-US" sz="3000" b="1">
                <a:cs typeface="Arial" panose="020B0604020202020204" pitchFamily="34" charset="0"/>
              </a:rPr>
              <a:t>LCC – Life-cycle costing</a:t>
            </a:r>
          </a:p>
          <a:p>
            <a:pPr marL="914400" lvl="1" indent="-457200">
              <a:lnSpc>
                <a:spcPct val="150000"/>
              </a:lnSpc>
              <a:buFont typeface="Arial" panose="020B0604020202020204" pitchFamily="34" charset="0"/>
              <a:buChar char="•"/>
            </a:pPr>
            <a:r>
              <a:rPr lang="en-US" sz="3000">
                <a:cs typeface="Arial" panose="020B0604020202020204" pitchFamily="34" charset="0"/>
              </a:rPr>
              <a:t>Capital costs (CAPEX): New equipment, installation …</a:t>
            </a:r>
          </a:p>
          <a:p>
            <a:pPr marL="914400" lvl="1" indent="-457200">
              <a:lnSpc>
                <a:spcPct val="150000"/>
              </a:lnSpc>
              <a:buFont typeface="Arial" panose="020B0604020202020204" pitchFamily="34" charset="0"/>
              <a:buChar char="•"/>
            </a:pPr>
            <a:r>
              <a:rPr lang="en-US" sz="3000">
                <a:cs typeface="Arial" panose="020B0604020202020204" pitchFamily="34" charset="0"/>
              </a:rPr>
              <a:t>Operational costs (OPEX): Raw material cost, energy costs, wages, maintenance… </a:t>
            </a:r>
          </a:p>
          <a:p>
            <a:pPr marL="914400" lvl="1" indent="-457200">
              <a:lnSpc>
                <a:spcPct val="150000"/>
              </a:lnSpc>
              <a:buFont typeface="Arial" panose="020B0604020202020204" pitchFamily="34" charset="0"/>
              <a:buChar char="•"/>
            </a:pPr>
            <a:r>
              <a:rPr lang="en-US" sz="3000">
                <a:cs typeface="Arial" panose="020B0604020202020204" pitchFamily="34" charset="0"/>
              </a:rPr>
              <a:t>Overhead costs: Costs not directly related to goods or services (example: insurances)</a:t>
            </a:r>
          </a:p>
          <a:p>
            <a:pPr marL="914400" lvl="1" indent="-457200">
              <a:lnSpc>
                <a:spcPct val="150000"/>
              </a:lnSpc>
              <a:buFont typeface="Arial" panose="020B0604020202020204" pitchFamily="34" charset="0"/>
              <a:buChar char="•"/>
            </a:pPr>
            <a:r>
              <a:rPr lang="en-US" sz="3000">
                <a:cs typeface="Arial" panose="020B0604020202020204" pitchFamily="34" charset="0"/>
              </a:rPr>
              <a:t>Externalities: Indirect cost or benefit to an uninvolved third party (example: Air pollution from motor vehicles)</a:t>
            </a:r>
          </a:p>
        </p:txBody>
      </p:sp>
    </p:spTree>
    <p:extLst>
      <p:ext uri="{BB962C8B-B14F-4D97-AF65-F5344CB8AC3E}">
        <p14:creationId xmlns:p14="http://schemas.microsoft.com/office/powerpoint/2010/main" val="4199153295"/>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6"/>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4"/>
          <a:srcRect/>
          <a:stretch>
            <a:fillRect/>
          </a:stretch>
        </p:blipFill>
        <p:spPr>
          <a:xfrm>
            <a:off x="0" y="8901113"/>
            <a:ext cx="5715000" cy="1385887"/>
          </a:xfrm>
          <a:prstGeom prst="rect">
            <a:avLst/>
          </a:prstGeom>
        </p:spPr>
      </p:pic>
      <p:grpSp>
        <p:nvGrpSpPr>
          <p:cNvPr id="3" name="Gruppo 2">
            <a:extLst>
              <a:ext uri="{FF2B5EF4-FFF2-40B4-BE49-F238E27FC236}">
                <a16:creationId xmlns:a16="http://schemas.microsoft.com/office/drawing/2014/main" id="{C0CB46E5-A192-4AF6-A215-57B5AF0E57B2}"/>
              </a:ext>
            </a:extLst>
          </p:cNvPr>
          <p:cNvGrpSpPr/>
          <p:nvPr/>
        </p:nvGrpSpPr>
        <p:grpSpPr>
          <a:xfrm>
            <a:off x="-12" y="138554"/>
            <a:ext cx="18288002" cy="681138"/>
            <a:chOff x="-12" y="138554"/>
            <a:chExt cx="18288002" cy="681138"/>
          </a:xfrm>
        </p:grpSpPr>
        <p:pic>
          <p:nvPicPr>
            <p:cNvPr id="10" name="Picture 10"/>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21" name="Rettangolo 20">
              <a:extLst>
                <a:ext uri="{FF2B5EF4-FFF2-40B4-BE49-F238E27FC236}">
                  <a16:creationId xmlns:a16="http://schemas.microsoft.com/office/drawing/2014/main" id="{6723B04D-1530-4E4F-9078-5B001D7D0872}"/>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extBox 13">
            <a:extLst>
              <a:ext uri="{FF2B5EF4-FFF2-40B4-BE49-F238E27FC236}">
                <a16:creationId xmlns:a16="http://schemas.microsoft.com/office/drawing/2014/main" id="{BF7380F8-A0BA-48D8-B402-CE01FBE77537}"/>
              </a:ext>
            </a:extLst>
          </p:cNvPr>
          <p:cNvSpPr txBox="1"/>
          <p:nvPr/>
        </p:nvSpPr>
        <p:spPr>
          <a:xfrm>
            <a:off x="838188" y="1118900"/>
            <a:ext cx="14477999" cy="1052468"/>
          </a:xfrm>
          <a:prstGeom prst="rect">
            <a:avLst/>
          </a:prstGeom>
        </p:spPr>
        <p:txBody>
          <a:bodyPr wrap="square" lIns="0" tIns="0" rIns="0" bIns="0" rtlCol="0" anchor="t">
            <a:spAutoFit/>
          </a:bodyPr>
          <a:lstStyle/>
          <a:p>
            <a:pPr>
              <a:lnSpc>
                <a:spcPts val="8960"/>
              </a:lnSpc>
              <a:spcBef>
                <a:spcPct val="0"/>
              </a:spcBef>
            </a:pPr>
            <a:r>
              <a:rPr lang="en-US" sz="6400" b="1">
                <a:solidFill>
                  <a:srgbClr val="CC0033"/>
                </a:solidFill>
                <a:latin typeface="+mj-lt"/>
                <a:cs typeface="Arial" panose="020B0604020202020204" pitchFamily="34" charset="0"/>
              </a:rPr>
              <a:t>Data needed for S-LCA</a:t>
            </a:r>
          </a:p>
        </p:txBody>
      </p:sp>
      <p:sp>
        <p:nvSpPr>
          <p:cNvPr id="22" name="TextBox 14">
            <a:extLst>
              <a:ext uri="{FF2B5EF4-FFF2-40B4-BE49-F238E27FC236}">
                <a16:creationId xmlns:a16="http://schemas.microsoft.com/office/drawing/2014/main" id="{828D142A-1809-4AAF-9F4A-EB1DF1F9C388}"/>
              </a:ext>
            </a:extLst>
          </p:cNvPr>
          <p:cNvSpPr txBox="1"/>
          <p:nvPr/>
        </p:nvSpPr>
        <p:spPr>
          <a:xfrm>
            <a:off x="838188" y="2476500"/>
            <a:ext cx="16611600" cy="4761881"/>
          </a:xfrm>
          <a:prstGeom prst="rect">
            <a:avLst/>
          </a:prstGeom>
        </p:spPr>
        <p:txBody>
          <a:bodyPr wrap="square" lIns="0" tIns="0" rIns="0" bIns="0" rtlCol="0" anchor="t">
            <a:spAutoFit/>
          </a:bodyPr>
          <a:lstStyle/>
          <a:p>
            <a:pPr marL="457200" indent="-457200">
              <a:lnSpc>
                <a:spcPct val="150000"/>
              </a:lnSpc>
              <a:buFont typeface="Arial" panose="020B0604020202020204" pitchFamily="34" charset="0"/>
              <a:buChar char="•"/>
            </a:pPr>
            <a:r>
              <a:rPr lang="en-US" sz="3000" b="1">
                <a:cs typeface="Arial" panose="020B0604020202020204" pitchFamily="34" charset="0"/>
              </a:rPr>
              <a:t>S-LCA – Social Life-cycle assessment</a:t>
            </a:r>
          </a:p>
          <a:p>
            <a:pPr marL="914400" lvl="1" indent="-457200">
              <a:lnSpc>
                <a:spcPct val="150000"/>
              </a:lnSpc>
              <a:buFont typeface="Arial" panose="020B0604020202020204" pitchFamily="34" charset="0"/>
              <a:buChar char="•"/>
            </a:pPr>
            <a:r>
              <a:rPr lang="en-US" sz="3000">
                <a:cs typeface="Arial" panose="020B0604020202020204" pitchFamily="34" charset="0"/>
              </a:rPr>
              <a:t>What type of stakeholders are relevant for the study e.g. children, worker, consumer, value chain actors, local community and society </a:t>
            </a:r>
          </a:p>
          <a:p>
            <a:pPr marL="914400" lvl="1" indent="-457200">
              <a:lnSpc>
                <a:spcPct val="150000"/>
              </a:lnSpc>
              <a:buFont typeface="Arial" panose="020B0604020202020204" pitchFamily="34" charset="0"/>
              <a:buChar char="•"/>
            </a:pPr>
            <a:r>
              <a:rPr lang="en-US" sz="3000">
                <a:cs typeface="Arial" panose="020B0604020202020204" pitchFamily="34" charset="0"/>
              </a:rPr>
              <a:t>In addition to data needed for LCA and LCC, S-LCA can include site specific information (country of origin, laws, politics) as well as subjective information (what are the employees’ opinions, interview with managers).</a:t>
            </a:r>
          </a:p>
          <a:p>
            <a:pPr marL="914400" lvl="1" indent="-457200">
              <a:lnSpc>
                <a:spcPct val="150000"/>
              </a:lnSpc>
              <a:buFont typeface="Arial" panose="020B0604020202020204" pitchFamily="34" charset="0"/>
              <a:buChar char="•"/>
            </a:pPr>
            <a:r>
              <a:rPr lang="en-US" sz="3000">
                <a:cs typeface="Arial" panose="020B0604020202020204" pitchFamily="34" charset="0"/>
              </a:rPr>
              <a:t>Result is not only quantitative, but also qualitative.</a:t>
            </a:r>
          </a:p>
        </p:txBody>
      </p:sp>
    </p:spTree>
    <p:extLst>
      <p:ext uri="{BB962C8B-B14F-4D97-AF65-F5344CB8AC3E}">
        <p14:creationId xmlns:p14="http://schemas.microsoft.com/office/powerpoint/2010/main" val="963417179"/>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p:cNvSpPr txBox="1">
            <a:spLocks/>
          </p:cNvSpPr>
          <p:nvPr/>
        </p:nvSpPr>
        <p:spPr>
          <a:xfrm>
            <a:off x="1039404" y="2915112"/>
            <a:ext cx="16395156" cy="1442448"/>
          </a:xfrm>
          <a:prstGeom prst="rect">
            <a:avLst/>
          </a:prstGeom>
        </p:spPr>
        <p:txBody>
          <a:bodyPr>
            <a:normAutofit/>
          </a:bodyPr>
          <a:lstStyle>
            <a:lvl1pPr marL="228600" indent="-228600" algn="l" defTabSz="914400" rtl="0" eaLnBrk="1" latinLnBrk="0" hangingPunct="1">
              <a:lnSpc>
                <a:spcPct val="90000"/>
              </a:lnSpc>
              <a:spcBef>
                <a:spcPts val="1000"/>
              </a:spcBef>
              <a:buClr>
                <a:schemeClr val="accent1"/>
              </a:buClr>
              <a:buSzPct val="100000"/>
              <a:buFont typeface="Calibri" panose="020F0502020204030204" pitchFamily="34" charset="0"/>
              <a:buChar char="●"/>
              <a:defRPr sz="1800" kern="1200">
                <a:solidFill>
                  <a:schemeClr val="accent2"/>
                </a:solidFill>
                <a:latin typeface="+mn-lt"/>
                <a:ea typeface="+mn-ea"/>
                <a:cs typeface="+mn-cs"/>
              </a:defRPr>
            </a:lvl1pPr>
            <a:lvl2pPr marL="685800" indent="-228600" algn="l" defTabSz="914400" rtl="0" eaLnBrk="1" latinLnBrk="0" hangingPunct="1">
              <a:lnSpc>
                <a:spcPct val="90000"/>
              </a:lnSpc>
              <a:spcBef>
                <a:spcPts val="500"/>
              </a:spcBef>
              <a:buClr>
                <a:schemeClr val="accent1"/>
              </a:buClr>
              <a:buSzPct val="100000"/>
              <a:buFont typeface="Calibri" panose="020F0502020204030204" pitchFamily="34" charset="0"/>
              <a:buChar char="●"/>
              <a:defRPr sz="1600" kern="1200">
                <a:solidFill>
                  <a:schemeClr val="accent2"/>
                </a:solidFill>
                <a:latin typeface="+mn-lt"/>
                <a:ea typeface="+mn-ea"/>
                <a:cs typeface="+mn-cs"/>
              </a:defRPr>
            </a:lvl2pPr>
            <a:lvl3pPr marL="1143000" indent="-228600" algn="l" defTabSz="914400" rtl="0" eaLnBrk="1" latinLnBrk="0" hangingPunct="1">
              <a:lnSpc>
                <a:spcPct val="90000"/>
              </a:lnSpc>
              <a:spcBef>
                <a:spcPts val="500"/>
              </a:spcBef>
              <a:buClr>
                <a:schemeClr val="accent1"/>
              </a:buClr>
              <a:buSzPct val="100000"/>
              <a:buFont typeface="Calibri" panose="020F0502020204030204" pitchFamily="34" charset="0"/>
              <a:buChar char="●"/>
              <a:defRPr sz="1400" kern="1200">
                <a:solidFill>
                  <a:schemeClr val="accent2"/>
                </a:solidFill>
                <a:latin typeface="+mn-lt"/>
                <a:ea typeface="+mn-ea"/>
                <a:cs typeface="+mn-cs"/>
              </a:defRPr>
            </a:lvl3pPr>
            <a:lvl4pPr marL="1600200" indent="-228600" algn="l" defTabSz="914400" rtl="0" eaLnBrk="1" latinLnBrk="0" hangingPunct="1">
              <a:lnSpc>
                <a:spcPct val="90000"/>
              </a:lnSpc>
              <a:spcBef>
                <a:spcPts val="500"/>
              </a:spcBef>
              <a:buClr>
                <a:schemeClr val="accent1"/>
              </a:buClr>
              <a:buSzPct val="100000"/>
              <a:buFont typeface="Calibri" panose="020F0502020204030204" pitchFamily="34" charset="0"/>
              <a:buChar char="●"/>
              <a:defRPr sz="1200" kern="1200">
                <a:solidFill>
                  <a:schemeClr val="accent2"/>
                </a:solidFill>
                <a:latin typeface="+mn-lt"/>
                <a:ea typeface="+mn-ea"/>
                <a:cs typeface="+mn-cs"/>
              </a:defRPr>
            </a:lvl4pPr>
            <a:lvl5pPr marL="2057400" indent="-228600" algn="l" defTabSz="914400" rtl="0" eaLnBrk="1" latinLnBrk="0" hangingPunct="1">
              <a:lnSpc>
                <a:spcPct val="90000"/>
              </a:lnSpc>
              <a:spcBef>
                <a:spcPts val="500"/>
              </a:spcBef>
              <a:buClr>
                <a:schemeClr val="accent1"/>
              </a:buClr>
              <a:buSzPct val="100000"/>
              <a:buFont typeface="Calibri" panose="020F0502020204030204" pitchFamily="34" charset="0"/>
              <a:buChar char="●"/>
              <a:defRPr sz="1200" kern="1200">
                <a:solidFill>
                  <a:schemeClr val="accent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sv-SE" sz="2700">
              <a:solidFill>
                <a:schemeClr val="tx1"/>
              </a:solidFill>
            </a:endParaRPr>
          </a:p>
        </p:txBody>
      </p:sp>
      <p:grpSp>
        <p:nvGrpSpPr>
          <p:cNvPr id="12" name="Group 11">
            <a:extLst>
              <a:ext uri="{FF2B5EF4-FFF2-40B4-BE49-F238E27FC236}">
                <a16:creationId xmlns:a16="http://schemas.microsoft.com/office/drawing/2014/main" id="{5D26827C-D4FA-779A-243B-E0CFF4027A33}"/>
              </a:ext>
            </a:extLst>
          </p:cNvPr>
          <p:cNvGrpSpPr/>
          <p:nvPr/>
        </p:nvGrpSpPr>
        <p:grpSpPr>
          <a:xfrm>
            <a:off x="435501" y="3944646"/>
            <a:ext cx="13523343" cy="4536504"/>
            <a:chOff x="1981278" y="4046757"/>
            <a:chExt cx="13523343" cy="4536504"/>
          </a:xfrm>
        </p:grpSpPr>
        <p:graphicFrame>
          <p:nvGraphicFramePr>
            <p:cNvPr id="5" name="Diagram 4"/>
            <p:cNvGraphicFramePr/>
            <p:nvPr>
              <p:extLst>
                <p:ext uri="{D42A27DB-BD31-4B8C-83A1-F6EECF244321}">
                  <p14:modId xmlns:p14="http://schemas.microsoft.com/office/powerpoint/2010/main" val="2701732048"/>
                </p:ext>
              </p:extLst>
            </p:nvPr>
          </p:nvGraphicFramePr>
          <p:xfrm>
            <a:off x="1981278" y="4318834"/>
            <a:ext cx="6735756" cy="403627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Right Brace 6"/>
            <p:cNvSpPr/>
            <p:nvPr/>
          </p:nvSpPr>
          <p:spPr>
            <a:xfrm>
              <a:off x="8284986" y="4046757"/>
              <a:ext cx="432048" cy="3132348"/>
            </a:xfrm>
            <a:prstGeom prst="rightBrace">
              <a:avLst/>
            </a:prstGeom>
            <a:ln w="57150"/>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sz="2700"/>
            </a:p>
          </p:txBody>
        </p:sp>
        <p:sp>
          <p:nvSpPr>
            <p:cNvPr id="8" name="Content Placeholder 2"/>
            <p:cNvSpPr txBox="1">
              <a:spLocks/>
            </p:cNvSpPr>
            <p:nvPr/>
          </p:nvSpPr>
          <p:spPr>
            <a:xfrm>
              <a:off x="8892333" y="4910853"/>
              <a:ext cx="6612288" cy="1404156"/>
            </a:xfrm>
            <a:prstGeom prst="rect">
              <a:avLst/>
            </a:prstGeom>
          </p:spPr>
          <p:txBody>
            <a:bodyPr vert="horz" lIns="0" tIns="0" rIns="0" bIns="0" rtlCol="0" anchor="ctr">
              <a:normAutofit/>
            </a:bodyPr>
            <a:lstStyle>
              <a:lvl1pPr marL="288000" indent="-288000" algn="l" defTabSz="914400" rtl="0" eaLnBrk="1" latinLnBrk="0" hangingPunct="1">
                <a:lnSpc>
                  <a:spcPct val="118000"/>
                </a:lnSpc>
                <a:spcBef>
                  <a:spcPct val="20000"/>
                </a:spcBef>
                <a:buFontTx/>
                <a:buBlip>
                  <a:blip r:embed="rId8"/>
                </a:buBlip>
                <a:defRPr sz="1800" b="0" kern="1200">
                  <a:solidFill>
                    <a:schemeClr val="accent2"/>
                  </a:solidFill>
                  <a:latin typeface="+mn-lt"/>
                  <a:ea typeface="+mn-ea"/>
                  <a:cs typeface="+mn-cs"/>
                </a:defRPr>
              </a:lvl1pPr>
              <a:lvl2pPr marL="538163" indent="-250825" algn="l" defTabSz="914400" rtl="0" eaLnBrk="1" latinLnBrk="0" hangingPunct="1">
                <a:lnSpc>
                  <a:spcPct val="118000"/>
                </a:lnSpc>
                <a:spcBef>
                  <a:spcPct val="20000"/>
                </a:spcBef>
                <a:buFont typeface="Arial" panose="020B0604020202020204" pitchFamily="34" charset="0"/>
                <a:buChar char="–"/>
                <a:defRPr sz="1600" b="0" kern="1200">
                  <a:solidFill>
                    <a:schemeClr val="accent2"/>
                  </a:solidFill>
                  <a:latin typeface="+mn-lt"/>
                  <a:ea typeface="+mn-ea"/>
                  <a:cs typeface="+mn-cs"/>
                </a:defRPr>
              </a:lvl2pPr>
              <a:lvl3pPr marL="715963" indent="-177800" algn="l" defTabSz="914400" rtl="0" eaLnBrk="1" latinLnBrk="0" hangingPunct="1">
                <a:lnSpc>
                  <a:spcPct val="118000"/>
                </a:lnSpc>
                <a:spcBef>
                  <a:spcPct val="20000"/>
                </a:spcBef>
                <a:buFont typeface="Arial" panose="020B0604020202020204" pitchFamily="34" charset="0"/>
                <a:buChar char="•"/>
                <a:defRPr sz="1400" b="0" kern="1200">
                  <a:solidFill>
                    <a:schemeClr val="accent2"/>
                  </a:solidFill>
                  <a:latin typeface="+mn-lt"/>
                  <a:ea typeface="+mn-ea"/>
                  <a:cs typeface="+mn-cs"/>
                </a:defRPr>
              </a:lvl3pPr>
              <a:lvl4pPr marL="900113" indent="-184150" algn="l" defTabSz="914400" rtl="0" eaLnBrk="1" latinLnBrk="0" hangingPunct="1">
                <a:lnSpc>
                  <a:spcPct val="114000"/>
                </a:lnSpc>
                <a:spcBef>
                  <a:spcPct val="20000"/>
                </a:spcBef>
                <a:buFont typeface="Arial" panose="020B0604020202020204" pitchFamily="34" charset="0"/>
                <a:buChar char="–"/>
                <a:defRPr sz="1200" b="0" kern="1200">
                  <a:solidFill>
                    <a:schemeClr val="accent2"/>
                  </a:solidFill>
                  <a:latin typeface="+mn-lt"/>
                  <a:ea typeface="+mn-ea"/>
                  <a:cs typeface="+mn-cs"/>
                </a:defRPr>
              </a:lvl4pPr>
              <a:lvl5pPr marL="1076325" indent="-176213" algn="l" defTabSz="914400" rtl="0" eaLnBrk="1" latinLnBrk="0" hangingPunct="1">
                <a:lnSpc>
                  <a:spcPct val="114000"/>
                </a:lnSpc>
                <a:spcBef>
                  <a:spcPct val="20000"/>
                </a:spcBef>
                <a:buFont typeface="Arial" panose="020B0604020202020204" pitchFamily="34" charset="0"/>
                <a:buChar char="»"/>
                <a:defRPr sz="1200" b="0" kern="1200">
                  <a:solidFill>
                    <a:schemeClr val="accent2"/>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sv-SE" sz="2850" err="1">
                  <a:solidFill>
                    <a:schemeClr val="tx1"/>
                  </a:solidFill>
                </a:rPr>
                <a:t>Required</a:t>
              </a:r>
              <a:r>
                <a:rPr lang="sv-SE" sz="2850">
                  <a:solidFill>
                    <a:schemeClr val="tx1"/>
                  </a:solidFill>
                </a:rPr>
                <a:t> </a:t>
              </a:r>
              <a:r>
                <a:rPr lang="sv-SE" sz="2850" err="1">
                  <a:solidFill>
                    <a:schemeClr val="tx1"/>
                  </a:solidFill>
                </a:rPr>
                <a:t>according</a:t>
              </a:r>
              <a:r>
                <a:rPr lang="sv-SE" sz="2850">
                  <a:solidFill>
                    <a:schemeClr val="tx1"/>
                  </a:solidFill>
                </a:rPr>
                <a:t> to LCA standard</a:t>
              </a:r>
            </a:p>
          </p:txBody>
        </p:sp>
        <p:sp>
          <p:nvSpPr>
            <p:cNvPr id="9" name="Content Placeholder 2"/>
            <p:cNvSpPr txBox="1">
              <a:spLocks/>
            </p:cNvSpPr>
            <p:nvPr/>
          </p:nvSpPr>
          <p:spPr>
            <a:xfrm>
              <a:off x="8892333" y="7179105"/>
              <a:ext cx="3429756" cy="1404156"/>
            </a:xfrm>
            <a:prstGeom prst="rect">
              <a:avLst/>
            </a:prstGeom>
          </p:spPr>
          <p:txBody>
            <a:bodyPr vert="horz" lIns="0" tIns="0" rIns="0" bIns="0" rtlCol="0" anchor="ctr">
              <a:normAutofit/>
            </a:bodyPr>
            <a:lstStyle>
              <a:lvl1pPr marL="288000" indent="-288000" algn="l" defTabSz="914400" rtl="0" eaLnBrk="1" latinLnBrk="0" hangingPunct="1">
                <a:lnSpc>
                  <a:spcPct val="118000"/>
                </a:lnSpc>
                <a:spcBef>
                  <a:spcPct val="20000"/>
                </a:spcBef>
                <a:buFontTx/>
                <a:buBlip>
                  <a:blip r:embed="rId8"/>
                </a:buBlip>
                <a:defRPr sz="1800" b="0" kern="1200">
                  <a:solidFill>
                    <a:schemeClr val="accent2"/>
                  </a:solidFill>
                  <a:latin typeface="+mn-lt"/>
                  <a:ea typeface="+mn-ea"/>
                  <a:cs typeface="+mn-cs"/>
                </a:defRPr>
              </a:lvl1pPr>
              <a:lvl2pPr marL="538163" indent="-250825" algn="l" defTabSz="914400" rtl="0" eaLnBrk="1" latinLnBrk="0" hangingPunct="1">
                <a:lnSpc>
                  <a:spcPct val="118000"/>
                </a:lnSpc>
                <a:spcBef>
                  <a:spcPct val="20000"/>
                </a:spcBef>
                <a:buFont typeface="Arial" panose="020B0604020202020204" pitchFamily="34" charset="0"/>
                <a:buChar char="–"/>
                <a:defRPr sz="1600" b="0" kern="1200">
                  <a:solidFill>
                    <a:schemeClr val="accent2"/>
                  </a:solidFill>
                  <a:latin typeface="+mn-lt"/>
                  <a:ea typeface="+mn-ea"/>
                  <a:cs typeface="+mn-cs"/>
                </a:defRPr>
              </a:lvl2pPr>
              <a:lvl3pPr marL="715963" indent="-177800" algn="l" defTabSz="914400" rtl="0" eaLnBrk="1" latinLnBrk="0" hangingPunct="1">
                <a:lnSpc>
                  <a:spcPct val="118000"/>
                </a:lnSpc>
                <a:spcBef>
                  <a:spcPct val="20000"/>
                </a:spcBef>
                <a:buFont typeface="Arial" panose="020B0604020202020204" pitchFamily="34" charset="0"/>
                <a:buChar char="•"/>
                <a:defRPr sz="1400" b="0" kern="1200">
                  <a:solidFill>
                    <a:schemeClr val="accent2"/>
                  </a:solidFill>
                  <a:latin typeface="+mn-lt"/>
                  <a:ea typeface="+mn-ea"/>
                  <a:cs typeface="+mn-cs"/>
                </a:defRPr>
              </a:lvl3pPr>
              <a:lvl4pPr marL="900113" indent="-184150" algn="l" defTabSz="914400" rtl="0" eaLnBrk="1" latinLnBrk="0" hangingPunct="1">
                <a:lnSpc>
                  <a:spcPct val="114000"/>
                </a:lnSpc>
                <a:spcBef>
                  <a:spcPct val="20000"/>
                </a:spcBef>
                <a:buFont typeface="Arial" panose="020B0604020202020204" pitchFamily="34" charset="0"/>
                <a:buChar char="–"/>
                <a:defRPr sz="1200" b="0" kern="1200">
                  <a:solidFill>
                    <a:schemeClr val="accent2"/>
                  </a:solidFill>
                  <a:latin typeface="+mn-lt"/>
                  <a:ea typeface="+mn-ea"/>
                  <a:cs typeface="+mn-cs"/>
                </a:defRPr>
              </a:lvl4pPr>
              <a:lvl5pPr marL="1076325" indent="-176213" algn="l" defTabSz="914400" rtl="0" eaLnBrk="1" latinLnBrk="0" hangingPunct="1">
                <a:lnSpc>
                  <a:spcPct val="114000"/>
                </a:lnSpc>
                <a:spcBef>
                  <a:spcPct val="20000"/>
                </a:spcBef>
                <a:buFont typeface="Arial" panose="020B0604020202020204" pitchFamily="34" charset="0"/>
                <a:buChar char="»"/>
                <a:defRPr sz="1200" b="0" kern="1200">
                  <a:solidFill>
                    <a:schemeClr val="accent2"/>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sv-SE" sz="2850" err="1">
                  <a:solidFill>
                    <a:schemeClr val="tx1"/>
                  </a:solidFill>
                </a:rPr>
                <a:t>Optional</a:t>
              </a:r>
              <a:endParaRPr lang="sv-SE" sz="2850">
                <a:solidFill>
                  <a:schemeClr val="tx1"/>
                </a:solidFill>
              </a:endParaRPr>
            </a:p>
          </p:txBody>
        </p:sp>
        <p:sp>
          <p:nvSpPr>
            <p:cNvPr id="10" name="Right Brace 9"/>
            <p:cNvSpPr/>
            <p:nvPr/>
          </p:nvSpPr>
          <p:spPr>
            <a:xfrm>
              <a:off x="8284986" y="7245687"/>
              <a:ext cx="432048" cy="1337574"/>
            </a:xfrm>
            <a:prstGeom prst="rightBrace">
              <a:avLst/>
            </a:prstGeom>
            <a:ln w="57150"/>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sz="2700"/>
            </a:p>
          </p:txBody>
        </p:sp>
      </p:grpSp>
      <p:grpSp>
        <p:nvGrpSpPr>
          <p:cNvPr id="26" name="Gruppo 2">
            <a:extLst>
              <a:ext uri="{FF2B5EF4-FFF2-40B4-BE49-F238E27FC236}">
                <a16:creationId xmlns:a16="http://schemas.microsoft.com/office/drawing/2014/main" id="{527C8E6B-C877-4A33-BC33-2B0A08A69E45}"/>
              </a:ext>
            </a:extLst>
          </p:cNvPr>
          <p:cNvGrpSpPr/>
          <p:nvPr/>
        </p:nvGrpSpPr>
        <p:grpSpPr>
          <a:xfrm>
            <a:off x="-12" y="138554"/>
            <a:ext cx="18288002" cy="681138"/>
            <a:chOff x="-12" y="138554"/>
            <a:chExt cx="18288002" cy="681138"/>
          </a:xfrm>
        </p:grpSpPr>
        <p:grpSp>
          <p:nvGrpSpPr>
            <p:cNvPr id="27" name="Gruppo 1">
              <a:extLst>
                <a:ext uri="{FF2B5EF4-FFF2-40B4-BE49-F238E27FC236}">
                  <a16:creationId xmlns:a16="http://schemas.microsoft.com/office/drawing/2014/main" id="{8767D892-0312-4590-8AB6-30A9F01D8E49}"/>
                </a:ext>
              </a:extLst>
            </p:cNvPr>
            <p:cNvGrpSpPr/>
            <p:nvPr/>
          </p:nvGrpSpPr>
          <p:grpSpPr>
            <a:xfrm>
              <a:off x="0" y="153125"/>
              <a:ext cx="17907000" cy="666567"/>
              <a:chOff x="0" y="153125"/>
              <a:chExt cx="17907000" cy="666567"/>
            </a:xfrm>
          </p:grpSpPr>
          <p:pic>
            <p:nvPicPr>
              <p:cNvPr id="31" name="Picture 30">
                <a:extLst>
                  <a:ext uri="{FF2B5EF4-FFF2-40B4-BE49-F238E27FC236}">
                    <a16:creationId xmlns:a16="http://schemas.microsoft.com/office/drawing/2014/main" id="{C85125D5-6469-40F1-8BA9-74CE51E35504}"/>
                  </a:ext>
                </a:extLst>
              </p:cNvPr>
              <p:cNvPicPr>
                <a:picLocks noChangeAspect="1"/>
              </p:cNvPicPr>
              <p:nvPr/>
            </p:nvPicPr>
            <p:blipFill>
              <a:blip r:embed="rId9"/>
              <a:srcRect l="134" t="91287" b="3943"/>
              <a:stretch>
                <a:fillRect/>
              </a:stretch>
            </p:blipFill>
            <p:spPr>
              <a:xfrm>
                <a:off x="0" y="153125"/>
                <a:ext cx="13958844" cy="666567"/>
              </a:xfrm>
              <a:prstGeom prst="rect">
                <a:avLst/>
              </a:prstGeom>
            </p:spPr>
          </p:pic>
          <p:sp>
            <p:nvSpPr>
              <p:cNvPr id="30" name="TextBox 29">
                <a:extLst>
                  <a:ext uri="{FF2B5EF4-FFF2-40B4-BE49-F238E27FC236}">
                    <a16:creationId xmlns:a16="http://schemas.microsoft.com/office/drawing/2014/main" id="{F0A4224B-6EB4-425F-8FA6-FF178C746CF6}"/>
                  </a:ext>
                </a:extLst>
              </p:cNvPr>
              <p:cNvSpPr txBox="1"/>
              <p:nvPr/>
            </p:nvSpPr>
            <p:spPr>
              <a:xfrm>
                <a:off x="12154296" y="257980"/>
                <a:ext cx="5752704" cy="456856"/>
              </a:xfrm>
              <a:prstGeom prst="rect">
                <a:avLst/>
              </a:prstGeom>
            </p:spPr>
            <p:txBody>
              <a:bodyPr wrap="square" lIns="0" tIns="0" rIns="0" bIns="0" rtlCol="0" anchor="t">
                <a:spAutoFit/>
              </a:bodyPr>
              <a:lstStyle/>
              <a:p>
                <a:pPr algn="r">
                  <a:lnSpc>
                    <a:spcPts val="3919"/>
                  </a:lnSpc>
                  <a:spcBef>
                    <a:spcPct val="0"/>
                  </a:spcBef>
                </a:pPr>
                <a:endParaRPr lang="en-US" sz="2800">
                  <a:solidFill>
                    <a:schemeClr val="tx1">
                      <a:lumMod val="75000"/>
                      <a:lumOff val="25000"/>
                    </a:schemeClr>
                  </a:solidFill>
                  <a:latin typeface="Arial" panose="020B0604020202020204" pitchFamily="34" charset="0"/>
                  <a:cs typeface="Arial" panose="020B0604020202020204" pitchFamily="34" charset="0"/>
                </a:endParaRPr>
              </a:p>
            </p:txBody>
          </p:sp>
        </p:grpSp>
        <p:sp>
          <p:nvSpPr>
            <p:cNvPr id="28" name="Rettangolo 13">
              <a:extLst>
                <a:ext uri="{FF2B5EF4-FFF2-40B4-BE49-F238E27FC236}">
                  <a16:creationId xmlns:a16="http://schemas.microsoft.com/office/drawing/2014/main" id="{998F22F2-CF51-497A-BB78-21D4C4713264}"/>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33" name="TextBox 32">
            <a:extLst>
              <a:ext uri="{FF2B5EF4-FFF2-40B4-BE49-F238E27FC236}">
                <a16:creationId xmlns:a16="http://schemas.microsoft.com/office/drawing/2014/main" id="{88F01897-C3A3-4731-9A27-4520374E18AE}"/>
              </a:ext>
            </a:extLst>
          </p:cNvPr>
          <p:cNvSpPr txBox="1"/>
          <p:nvPr/>
        </p:nvSpPr>
        <p:spPr>
          <a:xfrm>
            <a:off x="-251673" y="946300"/>
            <a:ext cx="18288012" cy="1077218"/>
          </a:xfrm>
          <a:prstGeom prst="rect">
            <a:avLst/>
          </a:prstGeom>
          <a:noFill/>
        </p:spPr>
        <p:txBody>
          <a:bodyPr wrap="square">
            <a:spAutoFit/>
          </a:bodyPr>
          <a:lstStyle/>
          <a:p>
            <a:pPr algn="ctr"/>
            <a:r>
              <a:rPr lang="sv-SE" sz="6400" b="1">
                <a:solidFill>
                  <a:srgbClr val="CC0033"/>
                </a:solidFill>
                <a:latin typeface="+mj-lt"/>
                <a:cs typeface="Arial" panose="020B0604020202020204" pitchFamily="34" charset="0"/>
              </a:rPr>
              <a:t>Step 3: Life </a:t>
            </a:r>
            <a:r>
              <a:rPr lang="sv-SE" sz="6400" b="1" err="1">
                <a:solidFill>
                  <a:srgbClr val="CC0033"/>
                </a:solidFill>
                <a:latin typeface="+mj-lt"/>
                <a:cs typeface="Arial" panose="020B0604020202020204" pitchFamily="34" charset="0"/>
              </a:rPr>
              <a:t>Cycle</a:t>
            </a:r>
            <a:r>
              <a:rPr lang="sv-SE" sz="6400" b="1">
                <a:solidFill>
                  <a:srgbClr val="CC0033"/>
                </a:solidFill>
                <a:latin typeface="+mj-lt"/>
                <a:cs typeface="Arial" panose="020B0604020202020204" pitchFamily="34" charset="0"/>
              </a:rPr>
              <a:t> </a:t>
            </a:r>
            <a:r>
              <a:rPr lang="sv-SE" sz="6400" b="1" err="1">
                <a:solidFill>
                  <a:srgbClr val="CC0033"/>
                </a:solidFill>
                <a:latin typeface="+mj-lt"/>
                <a:cs typeface="Arial" panose="020B0604020202020204" pitchFamily="34" charset="0"/>
              </a:rPr>
              <a:t>Impact</a:t>
            </a:r>
            <a:r>
              <a:rPr lang="sv-SE" sz="6400" b="1">
                <a:solidFill>
                  <a:srgbClr val="CC0033"/>
                </a:solidFill>
                <a:latin typeface="+mj-lt"/>
                <a:cs typeface="Arial" panose="020B0604020202020204" pitchFamily="34" charset="0"/>
              </a:rPr>
              <a:t> </a:t>
            </a:r>
            <a:r>
              <a:rPr lang="sv-SE" sz="6400" b="1" err="1">
                <a:solidFill>
                  <a:srgbClr val="CC0033"/>
                </a:solidFill>
                <a:latin typeface="+mj-lt"/>
                <a:cs typeface="Arial" panose="020B0604020202020204" pitchFamily="34" charset="0"/>
              </a:rPr>
              <a:t>Assessment</a:t>
            </a:r>
            <a:r>
              <a:rPr lang="sv-SE" sz="6400" b="1">
                <a:solidFill>
                  <a:srgbClr val="CC0033"/>
                </a:solidFill>
                <a:latin typeface="+mj-lt"/>
                <a:cs typeface="Arial" panose="020B0604020202020204" pitchFamily="34" charset="0"/>
              </a:rPr>
              <a:t> (LCIA)</a:t>
            </a:r>
          </a:p>
        </p:txBody>
      </p:sp>
      <p:pic>
        <p:nvPicPr>
          <p:cNvPr id="34" name="Picture 12">
            <a:extLst>
              <a:ext uri="{FF2B5EF4-FFF2-40B4-BE49-F238E27FC236}">
                <a16:creationId xmlns:a16="http://schemas.microsoft.com/office/drawing/2014/main" id="{BDE5EC8C-452C-45CC-9CDC-FE9E0063DA0E}"/>
              </a:ext>
            </a:extLst>
          </p:cNvPr>
          <p:cNvPicPr>
            <a:picLocks noChangeAspect="1"/>
          </p:cNvPicPr>
          <p:nvPr/>
        </p:nvPicPr>
        <p:blipFill>
          <a:blip r:embed="rId10"/>
          <a:srcRect/>
          <a:stretch>
            <a:fillRect/>
          </a:stretch>
        </p:blipFill>
        <p:spPr>
          <a:xfrm>
            <a:off x="0" y="8901113"/>
            <a:ext cx="5715000" cy="1385887"/>
          </a:xfrm>
          <a:prstGeom prst="rect">
            <a:avLst/>
          </a:prstGeom>
        </p:spPr>
      </p:pic>
      <p:grpSp>
        <p:nvGrpSpPr>
          <p:cNvPr id="35" name="Gruppo 16">
            <a:extLst>
              <a:ext uri="{FF2B5EF4-FFF2-40B4-BE49-F238E27FC236}">
                <a16:creationId xmlns:a16="http://schemas.microsoft.com/office/drawing/2014/main" id="{0E7D23FD-6F3B-4727-93D2-2ACE7772B9F9}"/>
              </a:ext>
            </a:extLst>
          </p:cNvPr>
          <p:cNvGrpSpPr/>
          <p:nvPr/>
        </p:nvGrpSpPr>
        <p:grpSpPr>
          <a:xfrm>
            <a:off x="4329146" y="9679208"/>
            <a:ext cx="13958844" cy="666567"/>
            <a:chOff x="4329156" y="9649198"/>
            <a:chExt cx="13958844" cy="666567"/>
          </a:xfrm>
        </p:grpSpPr>
        <p:pic>
          <p:nvPicPr>
            <p:cNvPr id="36" name="Picture 12">
              <a:extLst>
                <a:ext uri="{FF2B5EF4-FFF2-40B4-BE49-F238E27FC236}">
                  <a16:creationId xmlns:a16="http://schemas.microsoft.com/office/drawing/2014/main" id="{C98B5AC5-E91D-4049-A80E-30007002D995}"/>
                </a:ext>
              </a:extLst>
            </p:cNvPr>
            <p:cNvPicPr>
              <a:picLocks noChangeAspect="1"/>
            </p:cNvPicPr>
            <p:nvPr/>
          </p:nvPicPr>
          <p:blipFill>
            <a:blip r:embed="rId11"/>
            <a:srcRect l="134" t="91287" b="3943"/>
            <a:stretch>
              <a:fillRect/>
            </a:stretch>
          </p:blipFill>
          <p:spPr>
            <a:xfrm rot="-10800000">
              <a:off x="4329156" y="9649198"/>
              <a:ext cx="13958844" cy="666567"/>
            </a:xfrm>
            <a:prstGeom prst="rect">
              <a:avLst/>
            </a:prstGeom>
          </p:spPr>
        </p:pic>
        <p:sp>
          <p:nvSpPr>
            <p:cNvPr id="37" name="TextBox 16">
              <a:extLst>
                <a:ext uri="{FF2B5EF4-FFF2-40B4-BE49-F238E27FC236}">
                  <a16:creationId xmlns:a16="http://schemas.microsoft.com/office/drawing/2014/main" id="{31D73D37-DFE9-449D-8DED-8FD3F6FB87AD}"/>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sp>
        <p:nvSpPr>
          <p:cNvPr id="11" name="TextBox 10">
            <a:extLst>
              <a:ext uri="{FF2B5EF4-FFF2-40B4-BE49-F238E27FC236}">
                <a16:creationId xmlns:a16="http://schemas.microsoft.com/office/drawing/2014/main" id="{67D3BBEB-FFCC-BAD5-050C-C7624C37CACD}"/>
              </a:ext>
            </a:extLst>
          </p:cNvPr>
          <p:cNvSpPr txBox="1"/>
          <p:nvPr/>
        </p:nvSpPr>
        <p:spPr>
          <a:xfrm>
            <a:off x="1429729" y="2222614"/>
            <a:ext cx="14925208" cy="1384995"/>
          </a:xfrm>
          <a:prstGeom prst="rect">
            <a:avLst/>
          </a:prstGeom>
          <a:solidFill>
            <a:srgbClr val="C2E0C2"/>
          </a:solidFill>
        </p:spPr>
        <p:txBody>
          <a:bodyPr wrap="square" rtlCol="0">
            <a:spAutoFit/>
          </a:bodyPr>
          <a:lstStyle/>
          <a:p>
            <a:pPr marL="0" indent="0" algn="ctr">
              <a:buNone/>
            </a:pPr>
            <a:r>
              <a:rPr lang="en-US" sz="2800"/>
              <a:t>Life cycle impact assessment describes the impact of resource use and emissions quantified in the inventory analysis i.e. convert the results of the data collection into environmentally relevant information (environmental impact rather than emissions and resource use).</a:t>
            </a:r>
            <a:endParaRPr lang="sv-SE" sz="2800"/>
          </a:p>
        </p:txBody>
      </p:sp>
    </p:spTree>
    <p:extLst>
      <p:ext uri="{BB962C8B-B14F-4D97-AF65-F5344CB8AC3E}">
        <p14:creationId xmlns:p14="http://schemas.microsoft.com/office/powerpoint/2010/main" val="1881020193"/>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429728" y="4160584"/>
            <a:ext cx="13579558" cy="4209942"/>
          </a:xfrm>
        </p:spPr>
        <p:txBody>
          <a:bodyPr>
            <a:normAutofit fontScale="92500" lnSpcReduction="20000"/>
          </a:bodyPr>
          <a:lstStyle/>
          <a:p>
            <a:r>
              <a:rPr lang="en-GB" noProof="0" dirty="0"/>
              <a:t>Results are analysed in relation to the goal and scope definition, where conclusions are made </a:t>
            </a:r>
            <a:br>
              <a:rPr lang="en-GB" noProof="0" dirty="0"/>
            </a:br>
            <a:endParaRPr lang="en-GB" noProof="0" dirty="0"/>
          </a:p>
          <a:p>
            <a:r>
              <a:rPr lang="en-GB" noProof="0" dirty="0"/>
              <a:t>Scenario and sensitivity analysis are performed.</a:t>
            </a:r>
          </a:p>
          <a:p>
            <a:pPr marL="0" indent="0">
              <a:buNone/>
            </a:pPr>
            <a:endParaRPr lang="en-GB" noProof="0" dirty="0"/>
          </a:p>
          <a:p>
            <a:r>
              <a:rPr lang="en-GB" noProof="0" dirty="0"/>
              <a:t>Communication of the results: </a:t>
            </a:r>
            <a:r>
              <a:rPr lang="en-GB" sz="3200" noProof="0" dirty="0"/>
              <a:t>readily understandable, complete and consistent presentation of the material are provided. </a:t>
            </a:r>
          </a:p>
          <a:p>
            <a:pPr marL="0" indent="0">
              <a:buNone/>
            </a:pPr>
            <a:endParaRPr lang="en-GB" noProof="0" dirty="0"/>
          </a:p>
          <a:p>
            <a:r>
              <a:rPr lang="en-GB" sz="3200" noProof="0" dirty="0"/>
              <a:t>Explain limitations and provide recommendations</a:t>
            </a:r>
          </a:p>
          <a:p>
            <a:endParaRPr lang="en-GB" sz="3200" noProof="0" dirty="0"/>
          </a:p>
        </p:txBody>
      </p:sp>
      <p:grpSp>
        <p:nvGrpSpPr>
          <p:cNvPr id="39" name="Gruppo 2">
            <a:extLst>
              <a:ext uri="{FF2B5EF4-FFF2-40B4-BE49-F238E27FC236}">
                <a16:creationId xmlns:a16="http://schemas.microsoft.com/office/drawing/2014/main" id="{38B1D242-7B25-4974-BC4A-769E49A00C96}"/>
              </a:ext>
            </a:extLst>
          </p:cNvPr>
          <p:cNvGrpSpPr/>
          <p:nvPr/>
        </p:nvGrpSpPr>
        <p:grpSpPr>
          <a:xfrm>
            <a:off x="-12" y="138554"/>
            <a:ext cx="18288002" cy="681138"/>
            <a:chOff x="-12" y="138554"/>
            <a:chExt cx="18288002" cy="681138"/>
          </a:xfrm>
        </p:grpSpPr>
        <p:grpSp>
          <p:nvGrpSpPr>
            <p:cNvPr id="40" name="Gruppo 1">
              <a:extLst>
                <a:ext uri="{FF2B5EF4-FFF2-40B4-BE49-F238E27FC236}">
                  <a16:creationId xmlns:a16="http://schemas.microsoft.com/office/drawing/2014/main" id="{7AF2CCC7-B16E-4D5B-9994-3FB8432C7F2D}"/>
                </a:ext>
              </a:extLst>
            </p:cNvPr>
            <p:cNvGrpSpPr/>
            <p:nvPr/>
          </p:nvGrpSpPr>
          <p:grpSpPr>
            <a:xfrm>
              <a:off x="0" y="153125"/>
              <a:ext cx="17907000" cy="666567"/>
              <a:chOff x="0" y="153125"/>
              <a:chExt cx="17907000" cy="666567"/>
            </a:xfrm>
          </p:grpSpPr>
          <p:grpSp>
            <p:nvGrpSpPr>
              <p:cNvPr id="42" name="Gruppo 15">
                <a:extLst>
                  <a:ext uri="{FF2B5EF4-FFF2-40B4-BE49-F238E27FC236}">
                    <a16:creationId xmlns:a16="http://schemas.microsoft.com/office/drawing/2014/main" id="{6769BB9B-CA13-40C2-84B2-F849E41D8861}"/>
                  </a:ext>
                </a:extLst>
              </p:cNvPr>
              <p:cNvGrpSpPr/>
              <p:nvPr/>
            </p:nvGrpSpPr>
            <p:grpSpPr>
              <a:xfrm>
                <a:off x="0" y="153125"/>
                <a:ext cx="13958844" cy="666567"/>
                <a:chOff x="0" y="153125"/>
                <a:chExt cx="13958844" cy="666567"/>
              </a:xfrm>
            </p:grpSpPr>
            <p:pic>
              <p:nvPicPr>
                <p:cNvPr id="44" name="Picture 43">
                  <a:extLst>
                    <a:ext uri="{FF2B5EF4-FFF2-40B4-BE49-F238E27FC236}">
                      <a16:creationId xmlns:a16="http://schemas.microsoft.com/office/drawing/2014/main" id="{40886255-E161-4B2D-97DA-D8B55F7C43F6}"/>
                    </a:ext>
                  </a:extLst>
                </p:cNvPr>
                <p:cNvPicPr>
                  <a:picLocks noChangeAspect="1"/>
                </p:cNvPicPr>
                <p:nvPr/>
              </p:nvPicPr>
              <p:blipFill>
                <a:blip r:embed="rId3"/>
                <a:srcRect l="134" t="91287" b="3943"/>
                <a:stretch>
                  <a:fillRect/>
                </a:stretch>
              </p:blipFill>
              <p:spPr>
                <a:xfrm>
                  <a:off x="0" y="153125"/>
                  <a:ext cx="13958844" cy="666567"/>
                </a:xfrm>
                <a:prstGeom prst="rect">
                  <a:avLst/>
                </a:prstGeom>
              </p:spPr>
            </p:pic>
            <p:sp>
              <p:nvSpPr>
                <p:cNvPr id="45" name="TextBox 44">
                  <a:extLst>
                    <a:ext uri="{FF2B5EF4-FFF2-40B4-BE49-F238E27FC236}">
                      <a16:creationId xmlns:a16="http://schemas.microsoft.com/office/drawing/2014/main" id="{71C32AA8-F471-4379-B629-382A888CED0E}"/>
                    </a:ext>
                  </a:extLst>
                </p:cNvPr>
                <p:cNvSpPr txBox="1"/>
                <p:nvPr/>
              </p:nvSpPr>
              <p:spPr>
                <a:xfrm>
                  <a:off x="228600" y="257980"/>
                  <a:ext cx="9296400" cy="456856"/>
                </a:xfrm>
                <a:prstGeom prst="rect">
                  <a:avLst/>
                </a:prstGeom>
              </p:spPr>
              <p:txBody>
                <a:bodyPr wrap="square" lIns="0" tIns="0" rIns="0" bIns="0" rtlCol="0" anchor="t">
                  <a:spAutoFit/>
                </a:bodyPr>
                <a:lstStyle/>
                <a:p>
                  <a:pPr>
                    <a:lnSpc>
                      <a:spcPts val="3919"/>
                    </a:lnSpc>
                    <a:spcBef>
                      <a:spcPct val="0"/>
                    </a:spcBef>
                  </a:pPr>
                  <a:endParaRPr lang="en-US" sz="2800" b="1">
                    <a:solidFill>
                      <a:srgbClr val="FFFFFF"/>
                    </a:solidFill>
                    <a:latin typeface="Arial" panose="020B0604020202020204" pitchFamily="34" charset="0"/>
                    <a:cs typeface="Arial" panose="020B0604020202020204" pitchFamily="34" charset="0"/>
                  </a:endParaRPr>
                </a:p>
              </p:txBody>
            </p:sp>
          </p:grpSp>
          <p:sp>
            <p:nvSpPr>
              <p:cNvPr id="43" name="TextBox 42">
                <a:extLst>
                  <a:ext uri="{FF2B5EF4-FFF2-40B4-BE49-F238E27FC236}">
                    <a16:creationId xmlns:a16="http://schemas.microsoft.com/office/drawing/2014/main" id="{4CE1AF84-7B25-4AE8-A797-765A8D6BB6D9}"/>
                  </a:ext>
                </a:extLst>
              </p:cNvPr>
              <p:cNvSpPr txBox="1"/>
              <p:nvPr/>
            </p:nvSpPr>
            <p:spPr>
              <a:xfrm>
                <a:off x="12154296" y="257980"/>
                <a:ext cx="5752704" cy="456856"/>
              </a:xfrm>
              <a:prstGeom prst="rect">
                <a:avLst/>
              </a:prstGeom>
            </p:spPr>
            <p:txBody>
              <a:bodyPr wrap="square" lIns="0" tIns="0" rIns="0" bIns="0" rtlCol="0" anchor="t">
                <a:spAutoFit/>
              </a:bodyPr>
              <a:lstStyle/>
              <a:p>
                <a:pPr algn="r">
                  <a:lnSpc>
                    <a:spcPts val="3919"/>
                  </a:lnSpc>
                  <a:spcBef>
                    <a:spcPct val="0"/>
                  </a:spcBef>
                </a:pPr>
                <a:endParaRPr lang="en-US" sz="2800">
                  <a:solidFill>
                    <a:schemeClr val="tx1">
                      <a:lumMod val="75000"/>
                      <a:lumOff val="25000"/>
                    </a:schemeClr>
                  </a:solidFill>
                  <a:latin typeface="Arial" panose="020B0604020202020204" pitchFamily="34" charset="0"/>
                  <a:cs typeface="Arial" panose="020B0604020202020204" pitchFamily="34" charset="0"/>
                </a:endParaRPr>
              </a:p>
            </p:txBody>
          </p:sp>
        </p:grpSp>
        <p:sp>
          <p:nvSpPr>
            <p:cNvPr id="41" name="Rettangolo 13">
              <a:extLst>
                <a:ext uri="{FF2B5EF4-FFF2-40B4-BE49-F238E27FC236}">
                  <a16:creationId xmlns:a16="http://schemas.microsoft.com/office/drawing/2014/main" id="{AE9726C3-1C31-459F-9B68-94B8580007DB}"/>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46" name="TextBox 45">
            <a:extLst>
              <a:ext uri="{FF2B5EF4-FFF2-40B4-BE49-F238E27FC236}">
                <a16:creationId xmlns:a16="http://schemas.microsoft.com/office/drawing/2014/main" id="{6F6E0EFF-3E92-40B8-9857-6A35572BA43C}"/>
              </a:ext>
            </a:extLst>
          </p:cNvPr>
          <p:cNvSpPr txBox="1"/>
          <p:nvPr/>
        </p:nvSpPr>
        <p:spPr>
          <a:xfrm>
            <a:off x="-251673" y="946300"/>
            <a:ext cx="18288012" cy="1077218"/>
          </a:xfrm>
          <a:prstGeom prst="rect">
            <a:avLst/>
          </a:prstGeom>
          <a:noFill/>
        </p:spPr>
        <p:txBody>
          <a:bodyPr wrap="square">
            <a:spAutoFit/>
          </a:bodyPr>
          <a:lstStyle/>
          <a:p>
            <a:pPr algn="ctr"/>
            <a:r>
              <a:rPr lang="sv-SE" sz="6400" b="1">
                <a:solidFill>
                  <a:srgbClr val="CC0033"/>
                </a:solidFill>
                <a:latin typeface="+mj-lt"/>
                <a:cs typeface="Arial" panose="020B0604020202020204" pitchFamily="34" charset="0"/>
              </a:rPr>
              <a:t>Step 4: Life </a:t>
            </a:r>
            <a:r>
              <a:rPr lang="sv-SE" sz="6400" b="1" err="1">
                <a:solidFill>
                  <a:srgbClr val="CC0033"/>
                </a:solidFill>
                <a:latin typeface="+mj-lt"/>
                <a:cs typeface="Arial" panose="020B0604020202020204" pitchFamily="34" charset="0"/>
              </a:rPr>
              <a:t>cycle</a:t>
            </a:r>
            <a:r>
              <a:rPr lang="sv-SE" sz="6400" b="1">
                <a:solidFill>
                  <a:srgbClr val="CC0033"/>
                </a:solidFill>
                <a:latin typeface="+mj-lt"/>
                <a:cs typeface="Arial" panose="020B0604020202020204" pitchFamily="34" charset="0"/>
              </a:rPr>
              <a:t> interpretation</a:t>
            </a:r>
          </a:p>
        </p:txBody>
      </p:sp>
      <p:pic>
        <p:nvPicPr>
          <p:cNvPr id="47" name="Picture 12">
            <a:extLst>
              <a:ext uri="{FF2B5EF4-FFF2-40B4-BE49-F238E27FC236}">
                <a16:creationId xmlns:a16="http://schemas.microsoft.com/office/drawing/2014/main" id="{A2A0669A-2382-4A9D-B240-4CC5E3A53531}"/>
              </a:ext>
            </a:extLst>
          </p:cNvPr>
          <p:cNvPicPr>
            <a:picLocks noChangeAspect="1"/>
          </p:cNvPicPr>
          <p:nvPr/>
        </p:nvPicPr>
        <p:blipFill>
          <a:blip r:embed="rId4"/>
          <a:srcRect/>
          <a:stretch>
            <a:fillRect/>
          </a:stretch>
        </p:blipFill>
        <p:spPr>
          <a:xfrm>
            <a:off x="0" y="8901113"/>
            <a:ext cx="5715000" cy="1385887"/>
          </a:xfrm>
          <a:prstGeom prst="rect">
            <a:avLst/>
          </a:prstGeom>
        </p:spPr>
      </p:pic>
      <p:grpSp>
        <p:nvGrpSpPr>
          <p:cNvPr id="48" name="Gruppo 16">
            <a:extLst>
              <a:ext uri="{FF2B5EF4-FFF2-40B4-BE49-F238E27FC236}">
                <a16:creationId xmlns:a16="http://schemas.microsoft.com/office/drawing/2014/main" id="{9C869071-9A44-4D04-80DE-B2D29952CAFC}"/>
              </a:ext>
            </a:extLst>
          </p:cNvPr>
          <p:cNvGrpSpPr/>
          <p:nvPr/>
        </p:nvGrpSpPr>
        <p:grpSpPr>
          <a:xfrm>
            <a:off x="4329146" y="9679208"/>
            <a:ext cx="13958844" cy="666567"/>
            <a:chOff x="4329156" y="9649198"/>
            <a:chExt cx="13958844" cy="666567"/>
          </a:xfrm>
        </p:grpSpPr>
        <p:pic>
          <p:nvPicPr>
            <p:cNvPr id="49" name="Picture 12">
              <a:extLst>
                <a:ext uri="{FF2B5EF4-FFF2-40B4-BE49-F238E27FC236}">
                  <a16:creationId xmlns:a16="http://schemas.microsoft.com/office/drawing/2014/main" id="{D4A10241-ACD2-4495-B99C-C484ABB995F7}"/>
                </a:ext>
              </a:extLst>
            </p:cNvPr>
            <p:cNvPicPr>
              <a:picLocks noChangeAspect="1"/>
            </p:cNvPicPr>
            <p:nvPr/>
          </p:nvPicPr>
          <p:blipFill>
            <a:blip r:embed="rId5"/>
            <a:srcRect l="134" t="91287" b="3943"/>
            <a:stretch>
              <a:fillRect/>
            </a:stretch>
          </p:blipFill>
          <p:spPr>
            <a:xfrm rot="-10800000">
              <a:off x="4329156" y="9649198"/>
              <a:ext cx="13958844" cy="666567"/>
            </a:xfrm>
            <a:prstGeom prst="rect">
              <a:avLst/>
            </a:prstGeom>
          </p:spPr>
        </p:pic>
        <p:sp>
          <p:nvSpPr>
            <p:cNvPr id="50" name="TextBox 16">
              <a:extLst>
                <a:ext uri="{FF2B5EF4-FFF2-40B4-BE49-F238E27FC236}">
                  <a16:creationId xmlns:a16="http://schemas.microsoft.com/office/drawing/2014/main" id="{9D88F84E-3438-4FE4-8393-010631DAF86A}"/>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sp>
        <p:nvSpPr>
          <p:cNvPr id="18" name="TextBox 17">
            <a:extLst>
              <a:ext uri="{FF2B5EF4-FFF2-40B4-BE49-F238E27FC236}">
                <a16:creationId xmlns:a16="http://schemas.microsoft.com/office/drawing/2014/main" id="{1AA2E1B3-2CB0-4558-839C-E743FB847FE5}"/>
              </a:ext>
            </a:extLst>
          </p:cNvPr>
          <p:cNvSpPr txBox="1"/>
          <p:nvPr/>
        </p:nvSpPr>
        <p:spPr>
          <a:xfrm>
            <a:off x="1123926" y="2150126"/>
            <a:ext cx="16040125" cy="1415772"/>
          </a:xfrm>
          <a:prstGeom prst="rect">
            <a:avLst/>
          </a:prstGeom>
          <a:solidFill>
            <a:srgbClr val="C2E0C2"/>
          </a:solidFill>
        </p:spPr>
        <p:txBody>
          <a:bodyPr wrap="square" rtlCol="0">
            <a:spAutoFit/>
          </a:bodyPr>
          <a:lstStyle/>
          <a:p>
            <a:pPr algn="ctr"/>
            <a:r>
              <a:rPr lang="sv-SE" sz="2800"/>
              <a:t>In the interpretation </a:t>
            </a:r>
            <a:r>
              <a:rPr lang="sv-SE" sz="2800" err="1"/>
              <a:t>stage</a:t>
            </a:r>
            <a:r>
              <a:rPr lang="sv-SE" sz="2800"/>
              <a:t>, </a:t>
            </a:r>
            <a:r>
              <a:rPr lang="sv-SE" sz="2800" err="1"/>
              <a:t>we</a:t>
            </a:r>
            <a:r>
              <a:rPr lang="sv-SE" sz="2800"/>
              <a:t> </a:t>
            </a:r>
            <a:r>
              <a:rPr lang="sv-SE" sz="2800" err="1"/>
              <a:t>reach</a:t>
            </a:r>
            <a:r>
              <a:rPr lang="sv-SE" sz="2800"/>
              <a:t> </a:t>
            </a:r>
            <a:r>
              <a:rPr lang="sv-SE" sz="2800" err="1"/>
              <a:t>meaningful</a:t>
            </a:r>
            <a:r>
              <a:rPr lang="sv-SE" sz="2800"/>
              <a:t> </a:t>
            </a:r>
            <a:r>
              <a:rPr lang="sv-SE" sz="2800" err="1"/>
              <a:t>conclusions</a:t>
            </a:r>
            <a:r>
              <a:rPr lang="sv-SE" sz="2800"/>
              <a:t> and </a:t>
            </a:r>
            <a:r>
              <a:rPr lang="sv-SE" sz="2800" err="1"/>
              <a:t>recommendations</a:t>
            </a:r>
            <a:r>
              <a:rPr lang="sv-SE" sz="2800"/>
              <a:t> </a:t>
            </a:r>
            <a:r>
              <a:rPr lang="sv-SE" sz="2800" err="1"/>
              <a:t>using</a:t>
            </a:r>
            <a:r>
              <a:rPr lang="sv-SE" sz="2800"/>
              <a:t> </a:t>
            </a:r>
            <a:r>
              <a:rPr lang="sv-SE" sz="2800" err="1"/>
              <a:t>our</a:t>
            </a:r>
            <a:r>
              <a:rPr lang="sv-SE" sz="2800"/>
              <a:t> </a:t>
            </a:r>
            <a:r>
              <a:rPr lang="sv-SE" sz="3000" err="1"/>
              <a:t>results</a:t>
            </a:r>
            <a:r>
              <a:rPr lang="sv-SE" sz="2800"/>
              <a:t>. For </a:t>
            </a:r>
            <a:r>
              <a:rPr lang="sv-SE" sz="2800" err="1"/>
              <a:t>example</a:t>
            </a:r>
            <a:r>
              <a:rPr lang="sv-SE" sz="2800"/>
              <a:t>, </a:t>
            </a:r>
            <a:r>
              <a:rPr lang="sv-SE" sz="2800" err="1"/>
              <a:t>if</a:t>
            </a:r>
            <a:r>
              <a:rPr lang="sv-SE" sz="2800"/>
              <a:t> the </a:t>
            </a:r>
            <a:r>
              <a:rPr lang="sv-SE" sz="2800" err="1"/>
              <a:t>results</a:t>
            </a:r>
            <a:r>
              <a:rPr lang="sv-SE" sz="2800"/>
              <a:t> show </a:t>
            </a:r>
            <a:r>
              <a:rPr lang="sv-SE" sz="2800" err="1"/>
              <a:t>that</a:t>
            </a:r>
            <a:r>
              <a:rPr lang="sv-SE" sz="2800"/>
              <a:t> a </a:t>
            </a:r>
            <a:r>
              <a:rPr lang="sv-SE" sz="2800" err="1"/>
              <a:t>specific</a:t>
            </a:r>
            <a:r>
              <a:rPr lang="sv-SE" sz="2800"/>
              <a:t> </a:t>
            </a:r>
            <a:r>
              <a:rPr lang="sv-SE" sz="2800" err="1"/>
              <a:t>chemical</a:t>
            </a:r>
            <a:r>
              <a:rPr lang="sv-SE" sz="2800"/>
              <a:t> </a:t>
            </a:r>
            <a:r>
              <a:rPr lang="sv-SE" sz="2800" err="1"/>
              <a:t>causes</a:t>
            </a:r>
            <a:r>
              <a:rPr lang="sv-SE" sz="2800"/>
              <a:t> </a:t>
            </a:r>
            <a:r>
              <a:rPr lang="sv-SE" sz="2800" err="1"/>
              <a:t>most</a:t>
            </a:r>
            <a:r>
              <a:rPr lang="sv-SE" sz="2800"/>
              <a:t> </a:t>
            </a:r>
            <a:r>
              <a:rPr lang="sv-SE" sz="2800" err="1"/>
              <a:t>of</a:t>
            </a:r>
            <a:r>
              <a:rPr lang="sv-SE" sz="2800"/>
              <a:t> the </a:t>
            </a:r>
            <a:r>
              <a:rPr lang="sv-SE" sz="2800" err="1"/>
              <a:t>burdens</a:t>
            </a:r>
            <a:r>
              <a:rPr lang="sv-SE" sz="2800"/>
              <a:t> in </a:t>
            </a:r>
            <a:r>
              <a:rPr lang="sv-SE" sz="2800" err="1"/>
              <a:t>our</a:t>
            </a:r>
            <a:r>
              <a:rPr lang="sv-SE" sz="2800"/>
              <a:t> </a:t>
            </a:r>
            <a:r>
              <a:rPr lang="sv-SE" sz="2800" err="1"/>
              <a:t>production</a:t>
            </a:r>
            <a:r>
              <a:rPr lang="sv-SE" sz="2800"/>
              <a:t> </a:t>
            </a:r>
            <a:r>
              <a:rPr lang="sv-SE" sz="2800" err="1"/>
              <a:t>stage</a:t>
            </a:r>
            <a:r>
              <a:rPr lang="sv-SE" sz="2800"/>
              <a:t> </a:t>
            </a:r>
            <a:r>
              <a:rPr lang="sv-SE" sz="2800" err="1"/>
              <a:t>we</a:t>
            </a:r>
            <a:r>
              <a:rPr lang="sv-SE" sz="2800"/>
              <a:t> </a:t>
            </a:r>
            <a:r>
              <a:rPr lang="sv-SE" sz="2800" err="1"/>
              <a:t>can</a:t>
            </a:r>
            <a:r>
              <a:rPr lang="sv-SE" sz="2800"/>
              <a:t> </a:t>
            </a:r>
            <a:r>
              <a:rPr lang="sv-SE" sz="2800" err="1"/>
              <a:t>suggest</a:t>
            </a:r>
            <a:r>
              <a:rPr lang="sv-SE" sz="2800"/>
              <a:t> </a:t>
            </a:r>
            <a:r>
              <a:rPr lang="sv-SE" sz="2800" err="1"/>
              <a:t>changing</a:t>
            </a:r>
            <a:r>
              <a:rPr lang="sv-SE" sz="2800"/>
              <a:t> </a:t>
            </a:r>
            <a:r>
              <a:rPr lang="sv-SE" sz="2800" err="1"/>
              <a:t>that</a:t>
            </a:r>
            <a:r>
              <a:rPr lang="sv-SE" sz="2800"/>
              <a:t> </a:t>
            </a:r>
            <a:r>
              <a:rPr lang="sv-SE" sz="2800" err="1"/>
              <a:t>chemical</a:t>
            </a:r>
            <a:r>
              <a:rPr lang="sv-SE" sz="2800"/>
              <a:t> </a:t>
            </a:r>
            <a:r>
              <a:rPr lang="sv-SE" sz="2800" err="1"/>
              <a:t>with</a:t>
            </a:r>
            <a:r>
              <a:rPr lang="sv-SE" sz="2800"/>
              <a:t> </a:t>
            </a:r>
            <a:r>
              <a:rPr lang="sv-SE" sz="2800" err="1"/>
              <a:t>its</a:t>
            </a:r>
            <a:r>
              <a:rPr lang="sv-SE" sz="2800"/>
              <a:t> </a:t>
            </a:r>
            <a:r>
              <a:rPr lang="sv-SE" sz="2800" err="1"/>
              <a:t>environmetally</a:t>
            </a:r>
            <a:r>
              <a:rPr lang="sv-SE" sz="2800"/>
              <a:t> </a:t>
            </a:r>
            <a:r>
              <a:rPr lang="sv-SE" sz="2800" err="1"/>
              <a:t>friendly</a:t>
            </a:r>
            <a:r>
              <a:rPr lang="sv-SE" sz="2800"/>
              <a:t> </a:t>
            </a:r>
            <a:r>
              <a:rPr lang="sv-SE" sz="2800" err="1"/>
              <a:t>counterpart</a:t>
            </a:r>
            <a:r>
              <a:rPr lang="sv-SE" sz="2800"/>
              <a:t>.</a:t>
            </a:r>
          </a:p>
        </p:txBody>
      </p:sp>
    </p:spTree>
    <p:extLst>
      <p:ext uri="{BB962C8B-B14F-4D97-AF65-F5344CB8AC3E}">
        <p14:creationId xmlns:p14="http://schemas.microsoft.com/office/powerpoint/2010/main" val="2282672585"/>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20461" y="2291718"/>
            <a:ext cx="15259916" cy="6882447"/>
          </a:xfrm>
        </p:spPr>
        <p:txBody>
          <a:bodyPr>
            <a:normAutofit/>
          </a:bodyPr>
          <a:lstStyle/>
          <a:p>
            <a:r>
              <a:rPr lang="en-GB" noProof="0" dirty="0"/>
              <a:t>LCA result is not definitive and can depend on a lot of things which lead to different results. </a:t>
            </a:r>
          </a:p>
          <a:p>
            <a:pPr lvl="1"/>
            <a:r>
              <a:rPr lang="en-GB" sz="2400" noProof="0" dirty="0"/>
              <a:t>Different assumptions and scenarios </a:t>
            </a:r>
          </a:p>
          <a:p>
            <a:pPr lvl="1"/>
            <a:r>
              <a:rPr lang="en-GB" sz="2400" noProof="0" dirty="0"/>
              <a:t>Different scope in terms of system boundaries and the studied impact categories </a:t>
            </a:r>
          </a:p>
          <a:p>
            <a:pPr lvl="1"/>
            <a:r>
              <a:rPr lang="en-GB" sz="2400" noProof="0" dirty="0"/>
              <a:t>Different approaches in LCA </a:t>
            </a:r>
            <a:br>
              <a:rPr lang="en-GB" noProof="0" dirty="0"/>
            </a:br>
            <a:endParaRPr lang="en-GB" noProof="0" dirty="0"/>
          </a:p>
          <a:p>
            <a:r>
              <a:rPr lang="en-GB" noProof="0" dirty="0"/>
              <a:t>Interpretation can depend on which environmental impact is in focus. One product may do better in one impact category but not in other categories. </a:t>
            </a:r>
          </a:p>
          <a:p>
            <a:pPr marL="0" indent="0">
              <a:buNone/>
            </a:pPr>
            <a:endParaRPr lang="en-GB" noProof="0" dirty="0"/>
          </a:p>
          <a:p>
            <a:r>
              <a:rPr lang="en-GB" noProof="0" dirty="0"/>
              <a:t>There are always uncertainties in the LCA results. </a:t>
            </a:r>
          </a:p>
          <a:p>
            <a:pPr marL="0" indent="0">
              <a:buNone/>
            </a:pPr>
            <a:endParaRPr lang="en-GB" noProof="0" dirty="0"/>
          </a:p>
          <a:p>
            <a:r>
              <a:rPr lang="en-GB" noProof="0" dirty="0"/>
              <a:t>In order for the LCA results to be </a:t>
            </a:r>
            <a:r>
              <a:rPr lang="en-GB" noProof="0" dirty="0" err="1"/>
              <a:t>comparables</a:t>
            </a:r>
            <a:r>
              <a:rPr lang="en-GB" noProof="0" dirty="0"/>
              <a:t>, methodology needs to be harmonised. </a:t>
            </a:r>
          </a:p>
        </p:txBody>
      </p:sp>
      <p:grpSp>
        <p:nvGrpSpPr>
          <p:cNvPr id="39" name="Gruppo 2">
            <a:extLst>
              <a:ext uri="{FF2B5EF4-FFF2-40B4-BE49-F238E27FC236}">
                <a16:creationId xmlns:a16="http://schemas.microsoft.com/office/drawing/2014/main" id="{38B1D242-7B25-4974-BC4A-769E49A00C96}"/>
              </a:ext>
            </a:extLst>
          </p:cNvPr>
          <p:cNvGrpSpPr/>
          <p:nvPr/>
        </p:nvGrpSpPr>
        <p:grpSpPr>
          <a:xfrm>
            <a:off x="-12" y="138554"/>
            <a:ext cx="18288002" cy="681138"/>
            <a:chOff x="-12" y="138554"/>
            <a:chExt cx="18288002" cy="681138"/>
          </a:xfrm>
        </p:grpSpPr>
        <p:grpSp>
          <p:nvGrpSpPr>
            <p:cNvPr id="40" name="Gruppo 1">
              <a:extLst>
                <a:ext uri="{FF2B5EF4-FFF2-40B4-BE49-F238E27FC236}">
                  <a16:creationId xmlns:a16="http://schemas.microsoft.com/office/drawing/2014/main" id="{7AF2CCC7-B16E-4D5B-9994-3FB8432C7F2D}"/>
                </a:ext>
              </a:extLst>
            </p:cNvPr>
            <p:cNvGrpSpPr/>
            <p:nvPr/>
          </p:nvGrpSpPr>
          <p:grpSpPr>
            <a:xfrm>
              <a:off x="0" y="153125"/>
              <a:ext cx="17907000" cy="666567"/>
              <a:chOff x="0" y="153125"/>
              <a:chExt cx="17907000" cy="666567"/>
            </a:xfrm>
          </p:grpSpPr>
          <p:grpSp>
            <p:nvGrpSpPr>
              <p:cNvPr id="42" name="Gruppo 15">
                <a:extLst>
                  <a:ext uri="{FF2B5EF4-FFF2-40B4-BE49-F238E27FC236}">
                    <a16:creationId xmlns:a16="http://schemas.microsoft.com/office/drawing/2014/main" id="{6769BB9B-CA13-40C2-84B2-F849E41D8861}"/>
                  </a:ext>
                </a:extLst>
              </p:cNvPr>
              <p:cNvGrpSpPr/>
              <p:nvPr/>
            </p:nvGrpSpPr>
            <p:grpSpPr>
              <a:xfrm>
                <a:off x="0" y="153125"/>
                <a:ext cx="13958844" cy="666567"/>
                <a:chOff x="0" y="153125"/>
                <a:chExt cx="13958844" cy="666567"/>
              </a:xfrm>
            </p:grpSpPr>
            <p:pic>
              <p:nvPicPr>
                <p:cNvPr id="44" name="Picture 43">
                  <a:extLst>
                    <a:ext uri="{FF2B5EF4-FFF2-40B4-BE49-F238E27FC236}">
                      <a16:creationId xmlns:a16="http://schemas.microsoft.com/office/drawing/2014/main" id="{40886255-E161-4B2D-97DA-D8B55F7C43F6}"/>
                    </a:ext>
                  </a:extLst>
                </p:cNvPr>
                <p:cNvPicPr>
                  <a:picLocks noChangeAspect="1"/>
                </p:cNvPicPr>
                <p:nvPr/>
              </p:nvPicPr>
              <p:blipFill>
                <a:blip r:embed="rId3"/>
                <a:srcRect l="134" t="91287" b="3943"/>
                <a:stretch>
                  <a:fillRect/>
                </a:stretch>
              </p:blipFill>
              <p:spPr>
                <a:xfrm>
                  <a:off x="0" y="153125"/>
                  <a:ext cx="13958844" cy="666567"/>
                </a:xfrm>
                <a:prstGeom prst="rect">
                  <a:avLst/>
                </a:prstGeom>
              </p:spPr>
            </p:pic>
            <p:sp>
              <p:nvSpPr>
                <p:cNvPr id="45" name="TextBox 44">
                  <a:extLst>
                    <a:ext uri="{FF2B5EF4-FFF2-40B4-BE49-F238E27FC236}">
                      <a16:creationId xmlns:a16="http://schemas.microsoft.com/office/drawing/2014/main" id="{71C32AA8-F471-4379-B629-382A888CED0E}"/>
                    </a:ext>
                  </a:extLst>
                </p:cNvPr>
                <p:cNvSpPr txBox="1"/>
                <p:nvPr/>
              </p:nvSpPr>
              <p:spPr>
                <a:xfrm>
                  <a:off x="228600" y="257980"/>
                  <a:ext cx="9296400" cy="456856"/>
                </a:xfrm>
                <a:prstGeom prst="rect">
                  <a:avLst/>
                </a:prstGeom>
              </p:spPr>
              <p:txBody>
                <a:bodyPr wrap="square" lIns="0" tIns="0" rIns="0" bIns="0" rtlCol="0" anchor="t">
                  <a:spAutoFit/>
                </a:bodyPr>
                <a:lstStyle/>
                <a:p>
                  <a:pPr>
                    <a:lnSpc>
                      <a:spcPts val="3919"/>
                    </a:lnSpc>
                    <a:spcBef>
                      <a:spcPct val="0"/>
                    </a:spcBef>
                  </a:pPr>
                  <a:endParaRPr lang="en-US" sz="2800" b="1">
                    <a:solidFill>
                      <a:srgbClr val="FFFFFF"/>
                    </a:solidFill>
                    <a:latin typeface="Arial" panose="020B0604020202020204" pitchFamily="34" charset="0"/>
                    <a:cs typeface="Arial" panose="020B0604020202020204" pitchFamily="34" charset="0"/>
                  </a:endParaRPr>
                </a:p>
              </p:txBody>
            </p:sp>
          </p:grpSp>
          <p:sp>
            <p:nvSpPr>
              <p:cNvPr id="43" name="TextBox 42">
                <a:extLst>
                  <a:ext uri="{FF2B5EF4-FFF2-40B4-BE49-F238E27FC236}">
                    <a16:creationId xmlns:a16="http://schemas.microsoft.com/office/drawing/2014/main" id="{4CE1AF84-7B25-4AE8-A797-765A8D6BB6D9}"/>
                  </a:ext>
                </a:extLst>
              </p:cNvPr>
              <p:cNvSpPr txBox="1"/>
              <p:nvPr/>
            </p:nvSpPr>
            <p:spPr>
              <a:xfrm>
                <a:off x="12154296" y="257980"/>
                <a:ext cx="5752704" cy="456856"/>
              </a:xfrm>
              <a:prstGeom prst="rect">
                <a:avLst/>
              </a:prstGeom>
            </p:spPr>
            <p:txBody>
              <a:bodyPr wrap="square" lIns="0" tIns="0" rIns="0" bIns="0" rtlCol="0" anchor="t">
                <a:spAutoFit/>
              </a:bodyPr>
              <a:lstStyle/>
              <a:p>
                <a:pPr algn="r">
                  <a:lnSpc>
                    <a:spcPts val="3919"/>
                  </a:lnSpc>
                  <a:spcBef>
                    <a:spcPct val="0"/>
                  </a:spcBef>
                </a:pPr>
                <a:endParaRPr lang="en-US" sz="2800">
                  <a:solidFill>
                    <a:schemeClr val="tx1">
                      <a:lumMod val="75000"/>
                      <a:lumOff val="25000"/>
                    </a:schemeClr>
                  </a:solidFill>
                  <a:latin typeface="Arial" panose="020B0604020202020204" pitchFamily="34" charset="0"/>
                  <a:cs typeface="Arial" panose="020B0604020202020204" pitchFamily="34" charset="0"/>
                </a:endParaRPr>
              </a:p>
            </p:txBody>
          </p:sp>
        </p:grpSp>
        <p:sp>
          <p:nvSpPr>
            <p:cNvPr id="41" name="Rettangolo 13">
              <a:extLst>
                <a:ext uri="{FF2B5EF4-FFF2-40B4-BE49-F238E27FC236}">
                  <a16:creationId xmlns:a16="http://schemas.microsoft.com/office/drawing/2014/main" id="{AE9726C3-1C31-459F-9B68-94B8580007DB}"/>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46" name="TextBox 45">
            <a:extLst>
              <a:ext uri="{FF2B5EF4-FFF2-40B4-BE49-F238E27FC236}">
                <a16:creationId xmlns:a16="http://schemas.microsoft.com/office/drawing/2014/main" id="{6F6E0EFF-3E92-40B8-9857-6A35572BA43C}"/>
              </a:ext>
            </a:extLst>
          </p:cNvPr>
          <p:cNvSpPr txBox="1"/>
          <p:nvPr/>
        </p:nvSpPr>
        <p:spPr>
          <a:xfrm>
            <a:off x="-381012" y="987889"/>
            <a:ext cx="18288012" cy="1077218"/>
          </a:xfrm>
          <a:prstGeom prst="rect">
            <a:avLst/>
          </a:prstGeom>
          <a:noFill/>
        </p:spPr>
        <p:txBody>
          <a:bodyPr wrap="square">
            <a:spAutoFit/>
          </a:bodyPr>
          <a:lstStyle/>
          <a:p>
            <a:pPr algn="ctr"/>
            <a:r>
              <a:rPr lang="sv-SE" sz="6400" b="1" err="1">
                <a:solidFill>
                  <a:srgbClr val="CC0033"/>
                </a:solidFill>
                <a:latin typeface="+mj-lt"/>
                <a:cs typeface="Arial" panose="020B0604020202020204" pitchFamily="34" charset="0"/>
              </a:rPr>
              <a:t>Keep</a:t>
            </a:r>
            <a:r>
              <a:rPr lang="sv-SE" sz="6400" b="1">
                <a:solidFill>
                  <a:srgbClr val="CC0033"/>
                </a:solidFill>
                <a:latin typeface="+mj-lt"/>
                <a:cs typeface="Arial" panose="020B0604020202020204" pitchFamily="34" charset="0"/>
              </a:rPr>
              <a:t> in mind…</a:t>
            </a:r>
          </a:p>
        </p:txBody>
      </p:sp>
      <p:pic>
        <p:nvPicPr>
          <p:cNvPr id="47" name="Picture 12">
            <a:extLst>
              <a:ext uri="{FF2B5EF4-FFF2-40B4-BE49-F238E27FC236}">
                <a16:creationId xmlns:a16="http://schemas.microsoft.com/office/drawing/2014/main" id="{A2A0669A-2382-4A9D-B240-4CC5E3A53531}"/>
              </a:ext>
            </a:extLst>
          </p:cNvPr>
          <p:cNvPicPr>
            <a:picLocks noChangeAspect="1"/>
          </p:cNvPicPr>
          <p:nvPr/>
        </p:nvPicPr>
        <p:blipFill>
          <a:blip r:embed="rId4"/>
          <a:srcRect/>
          <a:stretch>
            <a:fillRect/>
          </a:stretch>
        </p:blipFill>
        <p:spPr>
          <a:xfrm>
            <a:off x="0" y="8901113"/>
            <a:ext cx="5715000" cy="1385887"/>
          </a:xfrm>
          <a:prstGeom prst="rect">
            <a:avLst/>
          </a:prstGeom>
        </p:spPr>
      </p:pic>
      <p:grpSp>
        <p:nvGrpSpPr>
          <p:cNvPr id="48" name="Gruppo 16">
            <a:extLst>
              <a:ext uri="{FF2B5EF4-FFF2-40B4-BE49-F238E27FC236}">
                <a16:creationId xmlns:a16="http://schemas.microsoft.com/office/drawing/2014/main" id="{9C869071-9A44-4D04-80DE-B2D29952CAFC}"/>
              </a:ext>
            </a:extLst>
          </p:cNvPr>
          <p:cNvGrpSpPr/>
          <p:nvPr/>
        </p:nvGrpSpPr>
        <p:grpSpPr>
          <a:xfrm>
            <a:off x="4329146" y="9679208"/>
            <a:ext cx="13958844" cy="666567"/>
            <a:chOff x="4329156" y="9649198"/>
            <a:chExt cx="13958844" cy="666567"/>
          </a:xfrm>
        </p:grpSpPr>
        <p:pic>
          <p:nvPicPr>
            <p:cNvPr id="49" name="Picture 12">
              <a:extLst>
                <a:ext uri="{FF2B5EF4-FFF2-40B4-BE49-F238E27FC236}">
                  <a16:creationId xmlns:a16="http://schemas.microsoft.com/office/drawing/2014/main" id="{D4A10241-ACD2-4495-B99C-C484ABB995F7}"/>
                </a:ext>
              </a:extLst>
            </p:cNvPr>
            <p:cNvPicPr>
              <a:picLocks noChangeAspect="1"/>
            </p:cNvPicPr>
            <p:nvPr/>
          </p:nvPicPr>
          <p:blipFill>
            <a:blip r:embed="rId5"/>
            <a:srcRect l="134" t="91287" b="3943"/>
            <a:stretch>
              <a:fillRect/>
            </a:stretch>
          </p:blipFill>
          <p:spPr>
            <a:xfrm rot="-10800000">
              <a:off x="4329156" y="9649198"/>
              <a:ext cx="13958844" cy="666567"/>
            </a:xfrm>
            <a:prstGeom prst="rect">
              <a:avLst/>
            </a:prstGeom>
          </p:spPr>
        </p:pic>
        <p:sp>
          <p:nvSpPr>
            <p:cNvPr id="50" name="TextBox 16">
              <a:extLst>
                <a:ext uri="{FF2B5EF4-FFF2-40B4-BE49-F238E27FC236}">
                  <a16:creationId xmlns:a16="http://schemas.microsoft.com/office/drawing/2014/main" id="{9D88F84E-3438-4FE4-8393-010631DAF86A}"/>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spTree>
    <p:extLst>
      <p:ext uri="{BB962C8B-B14F-4D97-AF65-F5344CB8AC3E}">
        <p14:creationId xmlns:p14="http://schemas.microsoft.com/office/powerpoint/2010/main" val="297490724"/>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D48A8F52-BE7C-4537-850A-46A0D28071FC}"/>
              </a:ext>
            </a:extLst>
          </p:cNvPr>
          <p:cNvSpPr>
            <a:spLocks noGrp="1"/>
          </p:cNvSpPr>
          <p:nvPr>
            <p:ph idx="1"/>
          </p:nvPr>
        </p:nvSpPr>
        <p:spPr>
          <a:xfrm>
            <a:off x="914388" y="2873591"/>
            <a:ext cx="12542531" cy="4525963"/>
          </a:xfrm>
        </p:spPr>
        <p:txBody>
          <a:bodyPr/>
          <a:lstStyle/>
          <a:p>
            <a:pPr marL="0" indent="0">
              <a:buNone/>
            </a:pPr>
            <a:r>
              <a:rPr lang="en-GB" sz="4200" noProof="0" dirty="0"/>
              <a:t>Which is more environmentally friendly?</a:t>
            </a:r>
          </a:p>
          <a:p>
            <a:pPr marL="0" indent="0">
              <a:buNone/>
            </a:pPr>
            <a:endParaRPr lang="en-GB" sz="4200" noProof="0" dirty="0"/>
          </a:p>
          <a:p>
            <a:r>
              <a:rPr lang="en-GB" noProof="0" dirty="0"/>
              <a:t>Single-use diapers</a:t>
            </a:r>
          </a:p>
          <a:p>
            <a:r>
              <a:rPr lang="en-GB" noProof="0" dirty="0"/>
              <a:t>Reusable (washable) diapers</a:t>
            </a:r>
          </a:p>
          <a:p>
            <a:r>
              <a:rPr lang="en-GB" noProof="0" dirty="0"/>
              <a:t>Well, it depends ….</a:t>
            </a:r>
          </a:p>
          <a:p>
            <a:pPr marL="0" indent="0">
              <a:buNone/>
            </a:pPr>
            <a:endParaRPr lang="en-GB" noProof="0" dirty="0"/>
          </a:p>
        </p:txBody>
      </p:sp>
      <p:sp>
        <p:nvSpPr>
          <p:cNvPr id="8" name="Platshållare för sidfot 3">
            <a:extLst>
              <a:ext uri="{FF2B5EF4-FFF2-40B4-BE49-F238E27FC236}">
                <a16:creationId xmlns:a16="http://schemas.microsoft.com/office/drawing/2014/main" id="{CB91EC9E-05C9-45AB-9962-19D7B3A28C28}"/>
              </a:ext>
            </a:extLst>
          </p:cNvPr>
          <p:cNvSpPr>
            <a:spLocks noGrp="1"/>
          </p:cNvSpPr>
          <p:nvPr>
            <p:ph type="ftr" sz="quarter" idx="11"/>
          </p:nvPr>
        </p:nvSpPr>
        <p:spPr>
          <a:xfrm>
            <a:off x="994751" y="9552600"/>
            <a:ext cx="6172200" cy="307155"/>
          </a:xfrm>
        </p:spPr>
        <p:txBody>
          <a:bodyPr/>
          <a:lstStyle/>
          <a:p>
            <a:r>
              <a:rPr lang="sv-SE"/>
              <a:t>LCA - Life </a:t>
            </a:r>
            <a:r>
              <a:rPr lang="sv-SE" err="1"/>
              <a:t>Cycle</a:t>
            </a:r>
            <a:r>
              <a:rPr lang="sv-SE"/>
              <a:t> </a:t>
            </a:r>
            <a:r>
              <a:rPr lang="sv-SE" err="1"/>
              <a:t>Assessment</a:t>
            </a:r>
            <a:endParaRPr lang="sv-SE"/>
          </a:p>
        </p:txBody>
      </p:sp>
      <p:grpSp>
        <p:nvGrpSpPr>
          <p:cNvPr id="9" name="Gruppo 16">
            <a:extLst>
              <a:ext uri="{FF2B5EF4-FFF2-40B4-BE49-F238E27FC236}">
                <a16:creationId xmlns:a16="http://schemas.microsoft.com/office/drawing/2014/main" id="{7F5AE602-3D69-4787-90B0-10BC6F242433}"/>
              </a:ext>
            </a:extLst>
          </p:cNvPr>
          <p:cNvGrpSpPr/>
          <p:nvPr/>
        </p:nvGrpSpPr>
        <p:grpSpPr>
          <a:xfrm>
            <a:off x="4329146" y="9679208"/>
            <a:ext cx="13958844" cy="666567"/>
            <a:chOff x="4329156" y="9649198"/>
            <a:chExt cx="13958844" cy="666567"/>
          </a:xfrm>
        </p:grpSpPr>
        <p:pic>
          <p:nvPicPr>
            <p:cNvPr id="10" name="Picture 12">
              <a:extLst>
                <a:ext uri="{FF2B5EF4-FFF2-40B4-BE49-F238E27FC236}">
                  <a16:creationId xmlns:a16="http://schemas.microsoft.com/office/drawing/2014/main" id="{7FD1779F-6C24-4647-9A58-3673D450A129}"/>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11" name="TextBox 16">
              <a:extLst>
                <a:ext uri="{FF2B5EF4-FFF2-40B4-BE49-F238E27FC236}">
                  <a16:creationId xmlns:a16="http://schemas.microsoft.com/office/drawing/2014/main" id="{3739C17C-D9CF-4CAF-BD52-207E2418E29D}"/>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grpSp>
        <p:nvGrpSpPr>
          <p:cNvPr id="12" name="Gruppo 2">
            <a:extLst>
              <a:ext uri="{FF2B5EF4-FFF2-40B4-BE49-F238E27FC236}">
                <a16:creationId xmlns:a16="http://schemas.microsoft.com/office/drawing/2014/main" id="{8E16E3F9-348A-468B-8BBC-0B99B8DCD762}"/>
              </a:ext>
            </a:extLst>
          </p:cNvPr>
          <p:cNvGrpSpPr/>
          <p:nvPr/>
        </p:nvGrpSpPr>
        <p:grpSpPr>
          <a:xfrm>
            <a:off x="-12" y="138554"/>
            <a:ext cx="18288002" cy="681138"/>
            <a:chOff x="-12" y="138554"/>
            <a:chExt cx="18288002" cy="681138"/>
          </a:xfrm>
        </p:grpSpPr>
        <p:grpSp>
          <p:nvGrpSpPr>
            <p:cNvPr id="13" name="Gruppo 1">
              <a:extLst>
                <a:ext uri="{FF2B5EF4-FFF2-40B4-BE49-F238E27FC236}">
                  <a16:creationId xmlns:a16="http://schemas.microsoft.com/office/drawing/2014/main" id="{BC60B496-B931-4476-BBCD-64D54A71AA2C}"/>
                </a:ext>
              </a:extLst>
            </p:cNvPr>
            <p:cNvGrpSpPr/>
            <p:nvPr/>
          </p:nvGrpSpPr>
          <p:grpSpPr>
            <a:xfrm>
              <a:off x="0" y="153125"/>
              <a:ext cx="17907000" cy="666567"/>
              <a:chOff x="0" y="153125"/>
              <a:chExt cx="17907000" cy="666567"/>
            </a:xfrm>
          </p:grpSpPr>
          <p:grpSp>
            <p:nvGrpSpPr>
              <p:cNvPr id="15" name="Gruppo 15">
                <a:extLst>
                  <a:ext uri="{FF2B5EF4-FFF2-40B4-BE49-F238E27FC236}">
                    <a16:creationId xmlns:a16="http://schemas.microsoft.com/office/drawing/2014/main" id="{E6491DC5-D433-482E-B376-4E0AC0805659}"/>
                  </a:ext>
                </a:extLst>
              </p:cNvPr>
              <p:cNvGrpSpPr/>
              <p:nvPr/>
            </p:nvGrpSpPr>
            <p:grpSpPr>
              <a:xfrm>
                <a:off x="0" y="153125"/>
                <a:ext cx="13958844" cy="666567"/>
                <a:chOff x="0" y="153125"/>
                <a:chExt cx="13958844" cy="666567"/>
              </a:xfrm>
            </p:grpSpPr>
            <p:pic>
              <p:nvPicPr>
                <p:cNvPr id="17" name="Picture 16">
                  <a:extLst>
                    <a:ext uri="{FF2B5EF4-FFF2-40B4-BE49-F238E27FC236}">
                      <a16:creationId xmlns:a16="http://schemas.microsoft.com/office/drawing/2014/main" id="{90F717E4-24CC-4D38-B054-30C72ACE3D22}"/>
                    </a:ext>
                  </a:extLst>
                </p:cNvPr>
                <p:cNvPicPr>
                  <a:picLocks noChangeAspect="1"/>
                </p:cNvPicPr>
                <p:nvPr/>
              </p:nvPicPr>
              <p:blipFill>
                <a:blip r:embed="rId4"/>
                <a:srcRect l="134" t="91287" b="3943"/>
                <a:stretch>
                  <a:fillRect/>
                </a:stretch>
              </p:blipFill>
              <p:spPr>
                <a:xfrm>
                  <a:off x="0" y="153125"/>
                  <a:ext cx="13958844" cy="666567"/>
                </a:xfrm>
                <a:prstGeom prst="rect">
                  <a:avLst/>
                </a:prstGeom>
              </p:spPr>
            </p:pic>
            <p:sp>
              <p:nvSpPr>
                <p:cNvPr id="18" name="TextBox 17">
                  <a:extLst>
                    <a:ext uri="{FF2B5EF4-FFF2-40B4-BE49-F238E27FC236}">
                      <a16:creationId xmlns:a16="http://schemas.microsoft.com/office/drawing/2014/main" id="{9C941EE4-D71D-4A24-91F0-E4D332F69F0A}"/>
                    </a:ext>
                  </a:extLst>
                </p:cNvPr>
                <p:cNvSpPr txBox="1"/>
                <p:nvPr/>
              </p:nvSpPr>
              <p:spPr>
                <a:xfrm>
                  <a:off x="228600" y="257980"/>
                  <a:ext cx="9296400" cy="456856"/>
                </a:xfrm>
                <a:prstGeom prst="rect">
                  <a:avLst/>
                </a:prstGeom>
              </p:spPr>
              <p:txBody>
                <a:bodyPr wrap="square" lIns="0" tIns="0" rIns="0" bIns="0" rtlCol="0" anchor="t">
                  <a:spAutoFit/>
                </a:bodyPr>
                <a:lstStyle/>
                <a:p>
                  <a:pPr>
                    <a:lnSpc>
                      <a:spcPts val="3919"/>
                    </a:lnSpc>
                    <a:spcBef>
                      <a:spcPct val="0"/>
                    </a:spcBef>
                  </a:pPr>
                  <a:endParaRPr lang="en-US" sz="2800" b="1">
                    <a:solidFill>
                      <a:srgbClr val="FFFFFF"/>
                    </a:solidFill>
                    <a:latin typeface="Arial" panose="020B0604020202020204" pitchFamily="34" charset="0"/>
                    <a:cs typeface="Arial" panose="020B0604020202020204" pitchFamily="34" charset="0"/>
                  </a:endParaRPr>
                </a:p>
              </p:txBody>
            </p:sp>
          </p:grpSp>
          <p:sp>
            <p:nvSpPr>
              <p:cNvPr id="16" name="TextBox 15">
                <a:extLst>
                  <a:ext uri="{FF2B5EF4-FFF2-40B4-BE49-F238E27FC236}">
                    <a16:creationId xmlns:a16="http://schemas.microsoft.com/office/drawing/2014/main" id="{751F6362-C4CA-4F4C-8AB0-693C17F53EFB}"/>
                  </a:ext>
                </a:extLst>
              </p:cNvPr>
              <p:cNvSpPr txBox="1"/>
              <p:nvPr/>
            </p:nvSpPr>
            <p:spPr>
              <a:xfrm>
                <a:off x="12154296" y="257980"/>
                <a:ext cx="5752704" cy="456856"/>
              </a:xfrm>
              <a:prstGeom prst="rect">
                <a:avLst/>
              </a:prstGeom>
            </p:spPr>
            <p:txBody>
              <a:bodyPr wrap="square" lIns="0" tIns="0" rIns="0" bIns="0" rtlCol="0" anchor="t">
                <a:spAutoFit/>
              </a:bodyPr>
              <a:lstStyle/>
              <a:p>
                <a:pPr algn="r">
                  <a:lnSpc>
                    <a:spcPts val="3919"/>
                  </a:lnSpc>
                  <a:spcBef>
                    <a:spcPct val="0"/>
                  </a:spcBef>
                </a:pPr>
                <a:endParaRPr lang="en-US" sz="2800">
                  <a:solidFill>
                    <a:schemeClr val="tx1">
                      <a:lumMod val="75000"/>
                      <a:lumOff val="25000"/>
                    </a:schemeClr>
                  </a:solidFill>
                  <a:latin typeface="Arial" panose="020B0604020202020204" pitchFamily="34" charset="0"/>
                  <a:cs typeface="Arial" panose="020B0604020202020204" pitchFamily="34" charset="0"/>
                </a:endParaRPr>
              </a:p>
            </p:txBody>
          </p:sp>
        </p:grpSp>
        <p:sp>
          <p:nvSpPr>
            <p:cNvPr id="14" name="Rettangolo 13">
              <a:extLst>
                <a:ext uri="{FF2B5EF4-FFF2-40B4-BE49-F238E27FC236}">
                  <a16:creationId xmlns:a16="http://schemas.microsoft.com/office/drawing/2014/main" id="{9B48926F-5180-4778-9F9D-0B193BD56165}"/>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9" name="TextBox 18">
            <a:extLst>
              <a:ext uri="{FF2B5EF4-FFF2-40B4-BE49-F238E27FC236}">
                <a16:creationId xmlns:a16="http://schemas.microsoft.com/office/drawing/2014/main" id="{2696A283-6888-4A6D-ADE1-53E430F0E65E}"/>
              </a:ext>
            </a:extLst>
          </p:cNvPr>
          <p:cNvSpPr txBox="1"/>
          <p:nvPr/>
        </p:nvSpPr>
        <p:spPr>
          <a:xfrm>
            <a:off x="-251673" y="946300"/>
            <a:ext cx="18288012" cy="1077218"/>
          </a:xfrm>
          <a:prstGeom prst="rect">
            <a:avLst/>
          </a:prstGeom>
          <a:noFill/>
        </p:spPr>
        <p:txBody>
          <a:bodyPr wrap="square">
            <a:spAutoFit/>
          </a:bodyPr>
          <a:lstStyle/>
          <a:p>
            <a:pPr algn="ctr"/>
            <a:r>
              <a:rPr lang="sv-SE" sz="6400" b="1">
                <a:solidFill>
                  <a:srgbClr val="CC0033"/>
                </a:solidFill>
                <a:latin typeface="+mj-lt"/>
                <a:cs typeface="Arial" panose="020B0604020202020204" pitchFamily="34" charset="0"/>
              </a:rPr>
              <a:t>A </a:t>
            </a:r>
            <a:r>
              <a:rPr lang="sv-SE" sz="6400" b="1" err="1">
                <a:solidFill>
                  <a:srgbClr val="CC0033"/>
                </a:solidFill>
                <a:latin typeface="+mj-lt"/>
                <a:cs typeface="Arial" panose="020B0604020202020204" pitchFamily="34" charset="0"/>
              </a:rPr>
              <a:t>quick</a:t>
            </a:r>
            <a:r>
              <a:rPr lang="sv-SE" sz="6400" b="1">
                <a:solidFill>
                  <a:srgbClr val="CC0033"/>
                </a:solidFill>
                <a:latin typeface="+mj-lt"/>
                <a:cs typeface="Arial" panose="020B0604020202020204" pitchFamily="34" charset="0"/>
              </a:rPr>
              <a:t> </a:t>
            </a:r>
            <a:r>
              <a:rPr lang="sv-SE" sz="6400" b="1" err="1">
                <a:solidFill>
                  <a:srgbClr val="CC0033"/>
                </a:solidFill>
                <a:latin typeface="+mj-lt"/>
                <a:cs typeface="Arial" panose="020B0604020202020204" pitchFamily="34" charset="0"/>
              </a:rPr>
              <a:t>question</a:t>
            </a:r>
            <a:endParaRPr lang="sv-SE" sz="6400" b="1">
              <a:solidFill>
                <a:srgbClr val="CC0033"/>
              </a:solidFill>
              <a:latin typeface="+mj-lt"/>
              <a:cs typeface="Arial" panose="020B0604020202020204" pitchFamily="34" charset="0"/>
            </a:endParaRPr>
          </a:p>
        </p:txBody>
      </p:sp>
      <p:pic>
        <p:nvPicPr>
          <p:cNvPr id="20" name="Picture 12">
            <a:extLst>
              <a:ext uri="{FF2B5EF4-FFF2-40B4-BE49-F238E27FC236}">
                <a16:creationId xmlns:a16="http://schemas.microsoft.com/office/drawing/2014/main" id="{98A0BF94-2540-4BA8-A5D1-066B4099799C}"/>
              </a:ext>
            </a:extLst>
          </p:cNvPr>
          <p:cNvPicPr>
            <a:picLocks noChangeAspect="1"/>
          </p:cNvPicPr>
          <p:nvPr/>
        </p:nvPicPr>
        <p:blipFill>
          <a:blip r:embed="rId5"/>
          <a:srcRect/>
          <a:stretch>
            <a:fillRect/>
          </a:stretch>
        </p:blipFill>
        <p:spPr>
          <a:xfrm>
            <a:off x="0" y="8901113"/>
            <a:ext cx="5715000" cy="1385887"/>
          </a:xfrm>
          <a:prstGeom prst="rect">
            <a:avLst/>
          </a:prstGeom>
        </p:spPr>
      </p:pic>
    </p:spTree>
    <p:extLst>
      <p:ext uri="{BB962C8B-B14F-4D97-AF65-F5344CB8AC3E}">
        <p14:creationId xmlns:p14="http://schemas.microsoft.com/office/powerpoint/2010/main" val="341637030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6"/>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marL="0" marR="0" lvl="0" indent="0" algn="ctr" defTabSz="914400" rtl="0" eaLnBrk="1" fontAlgn="auto" latinLnBrk="0" hangingPunct="1">
                <a:lnSpc>
                  <a:spcPts val="3919"/>
                </a:lnSpc>
                <a:spcBef>
                  <a:spcPct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OCR A Extended" panose="02010509020102010303" pitchFamily="50" charset="0"/>
                  <a:ea typeface="+mn-ea"/>
                  <a:cs typeface="+mn-cs"/>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4"/>
          <a:srcRect/>
          <a:stretch>
            <a:fillRect/>
          </a:stretch>
        </p:blipFill>
        <p:spPr>
          <a:xfrm>
            <a:off x="0" y="9447976"/>
            <a:ext cx="3459892" cy="839024"/>
          </a:xfrm>
          <a:prstGeom prst="rect">
            <a:avLst/>
          </a:prstGeom>
        </p:spPr>
      </p:pic>
      <p:grpSp>
        <p:nvGrpSpPr>
          <p:cNvPr id="3" name="Gruppo 2">
            <a:extLst>
              <a:ext uri="{FF2B5EF4-FFF2-40B4-BE49-F238E27FC236}">
                <a16:creationId xmlns:a16="http://schemas.microsoft.com/office/drawing/2014/main" id="{1C29CBCA-BE0A-4EF6-AC69-329941E1DCFD}"/>
              </a:ext>
            </a:extLst>
          </p:cNvPr>
          <p:cNvGrpSpPr/>
          <p:nvPr/>
        </p:nvGrpSpPr>
        <p:grpSpPr>
          <a:xfrm>
            <a:off x="-12" y="138554"/>
            <a:ext cx="18288002" cy="681138"/>
            <a:chOff x="-12" y="138554"/>
            <a:chExt cx="18288002" cy="681138"/>
          </a:xfrm>
        </p:grpSpPr>
        <p:grpSp>
          <p:nvGrpSpPr>
            <p:cNvPr id="2" name="Gruppo 1">
              <a:extLst>
                <a:ext uri="{FF2B5EF4-FFF2-40B4-BE49-F238E27FC236}">
                  <a16:creationId xmlns:a16="http://schemas.microsoft.com/office/drawing/2014/main" id="{24E9C7AF-0093-476F-826C-A2702AB72892}"/>
                </a:ext>
              </a:extLst>
            </p:cNvPr>
            <p:cNvGrpSpPr/>
            <p:nvPr/>
          </p:nvGrpSpPr>
          <p:grpSpPr>
            <a:xfrm>
              <a:off x="0" y="153125"/>
              <a:ext cx="17907000" cy="666567"/>
              <a:chOff x="0" y="153125"/>
              <a:chExt cx="17907000" cy="666567"/>
            </a:xfrm>
          </p:grpSpPr>
          <p:grpSp>
            <p:nvGrpSpPr>
              <p:cNvPr id="16" name="Gruppo 15">
                <a:extLst>
                  <a:ext uri="{FF2B5EF4-FFF2-40B4-BE49-F238E27FC236}">
                    <a16:creationId xmlns:a16="http://schemas.microsoft.com/office/drawing/2014/main" id="{DAC42A46-917D-41AB-8F07-E15E54D0F7D4}"/>
                  </a:ext>
                </a:extLst>
              </p:cNvPr>
              <p:cNvGrpSpPr/>
              <p:nvPr/>
            </p:nvGrpSpPr>
            <p:grpSpPr>
              <a:xfrm>
                <a:off x="0" y="153125"/>
                <a:ext cx="13958844" cy="666567"/>
                <a:chOff x="0" y="153125"/>
                <a:chExt cx="13958844" cy="666567"/>
              </a:xfrm>
            </p:grpSpPr>
            <p:pic>
              <p:nvPicPr>
                <p:cNvPr id="10" name="Picture 10"/>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1" name="TextBox 11"/>
                <p:cNvSpPr txBox="1"/>
                <p:nvPr/>
              </p:nvSpPr>
              <p:spPr>
                <a:xfrm>
                  <a:off x="228600" y="257980"/>
                  <a:ext cx="9296400" cy="456856"/>
                </a:xfrm>
                <a:prstGeom prst="rect">
                  <a:avLst/>
                </a:prstGeom>
              </p:spPr>
              <p:txBody>
                <a:bodyPr wrap="square" lIns="0" tIns="0" rIns="0" bIns="0" rtlCol="0" anchor="t">
                  <a:spAutoFit/>
                </a:bodyPr>
                <a:lstStyle/>
                <a:p>
                  <a:pPr marL="0" marR="0" lvl="0" indent="0" algn="l" defTabSz="914400" rtl="0" eaLnBrk="1" fontAlgn="auto" latinLnBrk="0" hangingPunct="1">
                    <a:lnSpc>
                      <a:spcPts val="3919"/>
                    </a:lnSpc>
                    <a:spcBef>
                      <a:spcPct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2" name="TextBox 11">
                <a:extLst>
                  <a:ext uri="{FF2B5EF4-FFF2-40B4-BE49-F238E27FC236}">
                    <a16:creationId xmlns:a16="http://schemas.microsoft.com/office/drawing/2014/main" id="{1BD9B5F4-614C-4EB6-8C5B-120A5420CE43}"/>
                  </a:ext>
                </a:extLst>
              </p:cNvPr>
              <p:cNvSpPr txBox="1"/>
              <p:nvPr/>
            </p:nvSpPr>
            <p:spPr>
              <a:xfrm>
                <a:off x="12154296" y="257980"/>
                <a:ext cx="5752704" cy="456856"/>
              </a:xfrm>
              <a:prstGeom prst="rect">
                <a:avLst/>
              </a:prstGeom>
            </p:spPr>
            <p:txBody>
              <a:bodyPr wrap="square" lIns="0" tIns="0" rIns="0" bIns="0" rtlCol="0" anchor="t">
                <a:spAutoFit/>
              </a:bodyPr>
              <a:lstStyle/>
              <a:p>
                <a:pPr marL="0" marR="0" lvl="0" indent="0" algn="r" defTabSz="914400" rtl="0" eaLnBrk="1" fontAlgn="auto" latinLnBrk="0" hangingPunct="1">
                  <a:lnSpc>
                    <a:spcPts val="3919"/>
                  </a:lnSpc>
                  <a:spcBef>
                    <a:spcPct val="0"/>
                  </a:spcBef>
                  <a:spcAft>
                    <a:spcPts val="0"/>
                  </a:spcAft>
                  <a:buClrTx/>
                  <a:buSzTx/>
                  <a:buFontTx/>
                  <a:buNone/>
                  <a:tabLst/>
                  <a:defRPr/>
                </a:pPr>
                <a:endParaRPr kumimoji="0" lang="en-US" sz="2800" b="0" i="0" u="none" strike="noStrike" kern="1200" cap="none" spc="0" normalizeH="0" baseline="0" noProof="0">
                  <a:ln>
                    <a:noFill/>
                  </a:ln>
                  <a:solidFill>
                    <a:srgbClr val="2F2F2F">
                      <a:lumMod val="75000"/>
                      <a:lumOff val="25000"/>
                    </a:srgbClr>
                  </a:solidFill>
                  <a:effectLst/>
                  <a:uLnTx/>
                  <a:uFillTx/>
                  <a:latin typeface="Arial" panose="020B0604020202020204" pitchFamily="34" charset="0"/>
                  <a:ea typeface="+mn-ea"/>
                  <a:cs typeface="Arial" panose="020B0604020202020204" pitchFamily="34" charset="0"/>
                </a:endParaRPr>
              </a:p>
            </p:txBody>
          </p:sp>
        </p:grpSp>
        <p:sp>
          <p:nvSpPr>
            <p:cNvPr id="14" name="Rettangolo 13">
              <a:extLst>
                <a:ext uri="{FF2B5EF4-FFF2-40B4-BE49-F238E27FC236}">
                  <a16:creationId xmlns:a16="http://schemas.microsoft.com/office/drawing/2014/main" id="{55199736-B8B6-4C9A-8BAF-233E07A0CA89}"/>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3" name="TextBox 13"/>
          <p:cNvSpPr txBox="1"/>
          <p:nvPr/>
        </p:nvSpPr>
        <p:spPr>
          <a:xfrm>
            <a:off x="1905000" y="1010312"/>
            <a:ext cx="13563599" cy="1052468"/>
          </a:xfrm>
          <a:prstGeom prst="rect">
            <a:avLst/>
          </a:prstGeom>
        </p:spPr>
        <p:txBody>
          <a:bodyPr wrap="square" lIns="0" tIns="0" rIns="0" bIns="0" rtlCol="0" anchor="t">
            <a:spAutoFit/>
          </a:bodyPr>
          <a:lstStyle/>
          <a:p>
            <a:pPr marL="0" marR="0" lvl="0" indent="0" algn="ctr" defTabSz="914400" rtl="0" eaLnBrk="1" fontAlgn="auto" latinLnBrk="0" hangingPunct="1">
              <a:lnSpc>
                <a:spcPts val="8960"/>
              </a:lnSpc>
              <a:spcBef>
                <a:spcPct val="0"/>
              </a:spcBef>
              <a:spcAft>
                <a:spcPts val="0"/>
              </a:spcAft>
              <a:buClrTx/>
              <a:buSzTx/>
              <a:buFontTx/>
              <a:buNone/>
              <a:tabLst/>
              <a:defRPr/>
            </a:pPr>
            <a:r>
              <a:rPr kumimoji="0" lang="en-US" sz="6400" b="1" i="1" u="none" strike="noStrike" kern="1200" cap="none" spc="0" normalizeH="0" baseline="0" noProof="0">
                <a:ln>
                  <a:noFill/>
                </a:ln>
                <a:solidFill>
                  <a:srgbClr val="CC0033"/>
                </a:solidFill>
                <a:effectLst/>
                <a:uLnTx/>
                <a:uFillTx/>
                <a:latin typeface="Arial"/>
                <a:ea typeface="+mn-ea"/>
                <a:cs typeface="Arial" panose="020B0604020202020204" pitchFamily="34" charset="0"/>
              </a:rPr>
              <a:t>Did you know?</a:t>
            </a:r>
          </a:p>
        </p:txBody>
      </p:sp>
      <p:sp>
        <p:nvSpPr>
          <p:cNvPr id="5" name="TextBox 4">
            <a:extLst>
              <a:ext uri="{FF2B5EF4-FFF2-40B4-BE49-F238E27FC236}">
                <a16:creationId xmlns:a16="http://schemas.microsoft.com/office/drawing/2014/main" id="{1AD04ADB-F755-4165-815C-C8E53AEBE407}"/>
              </a:ext>
            </a:extLst>
          </p:cNvPr>
          <p:cNvSpPr txBox="1"/>
          <p:nvPr/>
        </p:nvSpPr>
        <p:spPr>
          <a:xfrm>
            <a:off x="1631429" y="2681518"/>
            <a:ext cx="11170171" cy="954107"/>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rgbClr val="2F2F2F"/>
                </a:solidFill>
                <a:effectLst/>
                <a:uLnTx/>
                <a:uFillTx/>
                <a:latin typeface="Arial"/>
                <a:ea typeface="+mn-ea"/>
                <a:cs typeface="+mn-cs"/>
              </a:rPr>
              <a:t>The </a:t>
            </a:r>
            <a:r>
              <a:rPr kumimoji="0" lang="en-US" sz="2800" b="0" i="0" u="none" strike="noStrike" kern="1200" cap="none" spc="0" normalizeH="0" baseline="0" dirty="0">
                <a:ln>
                  <a:noFill/>
                </a:ln>
                <a:solidFill>
                  <a:srgbClr val="2F2F2F"/>
                </a:solidFill>
                <a:effectLst/>
                <a:uLnTx/>
                <a:uFillTx/>
                <a:latin typeface="Arial"/>
                <a:ea typeface="+mn-ea"/>
                <a:cs typeface="+mn-cs"/>
              </a:rPr>
              <a:t>world’s direct industrial CO</a:t>
            </a:r>
            <a:r>
              <a:rPr kumimoji="0" lang="en-US" sz="2800" b="0" i="0" u="none" strike="noStrike" kern="1200" cap="none" spc="0" normalizeH="0" baseline="-25000" dirty="0">
                <a:ln>
                  <a:noFill/>
                </a:ln>
                <a:solidFill>
                  <a:srgbClr val="2F2F2F"/>
                </a:solidFill>
                <a:effectLst/>
                <a:uLnTx/>
                <a:uFillTx/>
                <a:latin typeface="Arial"/>
                <a:ea typeface="+mn-ea"/>
                <a:cs typeface="+mn-cs"/>
              </a:rPr>
              <a:t>2</a:t>
            </a:r>
            <a:r>
              <a:rPr kumimoji="0" lang="en-US" sz="2800" b="0" i="0" u="none" strike="noStrike" kern="1200" cap="none" spc="0" normalizeH="0" baseline="0" dirty="0">
                <a:ln>
                  <a:noFill/>
                </a:ln>
                <a:solidFill>
                  <a:srgbClr val="2F2F2F"/>
                </a:solidFill>
                <a:effectLst/>
                <a:uLnTx/>
                <a:uFillTx/>
                <a:latin typeface="Arial"/>
                <a:ea typeface="+mn-ea"/>
                <a:cs typeface="+mn-cs"/>
              </a:rPr>
              <a:t> emissions that can be contributed to </a:t>
            </a:r>
            <a:r>
              <a:rPr kumimoji="0" lang="en-US" sz="2800" b="0" i="0" u="none" strike="noStrike" kern="1200" cap="none" spc="0" normalizeH="0" baseline="0" dirty="0" err="1">
                <a:ln>
                  <a:noFill/>
                </a:ln>
                <a:solidFill>
                  <a:srgbClr val="2F2F2F"/>
                </a:solidFill>
                <a:effectLst/>
                <a:uLnTx/>
                <a:uFillTx/>
                <a:latin typeface="Arial"/>
                <a:ea typeface="+mn-ea"/>
                <a:cs typeface="+mn-cs"/>
              </a:rPr>
              <a:t>aluminium</a:t>
            </a:r>
            <a:r>
              <a:rPr kumimoji="0" lang="en-US" sz="2800" b="0" i="0" u="none" strike="noStrike" kern="1200" cap="none" spc="0" normalizeH="0" baseline="0" dirty="0">
                <a:ln>
                  <a:noFill/>
                </a:ln>
                <a:solidFill>
                  <a:srgbClr val="2F2F2F"/>
                </a:solidFill>
                <a:effectLst/>
                <a:uLnTx/>
                <a:uFillTx/>
                <a:latin typeface="Arial"/>
                <a:ea typeface="+mn-ea"/>
                <a:cs typeface="+mn-cs"/>
              </a:rPr>
              <a:t> production:</a:t>
            </a:r>
          </a:p>
        </p:txBody>
      </p:sp>
      <p:sp>
        <p:nvSpPr>
          <p:cNvPr id="4" name="Wave 3">
            <a:extLst>
              <a:ext uri="{FF2B5EF4-FFF2-40B4-BE49-F238E27FC236}">
                <a16:creationId xmlns:a16="http://schemas.microsoft.com/office/drawing/2014/main" id="{3C949247-B54C-4A95-81C8-9E9EA63ACC57}"/>
              </a:ext>
            </a:extLst>
          </p:cNvPr>
          <p:cNvSpPr/>
          <p:nvPr/>
        </p:nvSpPr>
        <p:spPr>
          <a:xfrm>
            <a:off x="13958843" y="2515981"/>
            <a:ext cx="3056021" cy="1052468"/>
          </a:xfrm>
          <a:prstGeom prst="wav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400" b="1" i="0" u="none" strike="noStrike" kern="1200" cap="none" spc="0" normalizeH="0" baseline="0" noProof="0">
                <a:ln>
                  <a:noFill/>
                </a:ln>
                <a:solidFill>
                  <a:srgbClr val="FFFFFF"/>
                </a:solidFill>
                <a:effectLst/>
                <a:uLnTx/>
                <a:uFillTx/>
                <a:latin typeface="Arial"/>
                <a:ea typeface="+mn-ea"/>
                <a:cs typeface="+mn-cs"/>
              </a:rPr>
              <a:t>3%</a:t>
            </a:r>
          </a:p>
        </p:txBody>
      </p:sp>
      <p:sp>
        <p:nvSpPr>
          <p:cNvPr id="6" name="Rectangle 5">
            <a:extLst>
              <a:ext uri="{FF2B5EF4-FFF2-40B4-BE49-F238E27FC236}">
                <a16:creationId xmlns:a16="http://schemas.microsoft.com/office/drawing/2014/main" id="{0FD9A665-B060-47EE-BE9A-9BA783C0D181}"/>
              </a:ext>
            </a:extLst>
          </p:cNvPr>
          <p:cNvSpPr/>
          <p:nvPr/>
        </p:nvSpPr>
        <p:spPr>
          <a:xfrm>
            <a:off x="1515018" y="3875989"/>
            <a:ext cx="15257941" cy="1612561"/>
          </a:xfrm>
          <a:prstGeom prst="rect">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2F2F2F"/>
                </a:solidFill>
                <a:effectLst/>
                <a:uLnTx/>
                <a:uFillTx/>
                <a:latin typeface="Arial"/>
                <a:ea typeface="+mn-ea"/>
                <a:cs typeface="+mn-cs"/>
              </a:rPr>
              <a:t>The sector was directly responsible for 275 Mt of CO2 emissions in 2021,  of the world’s 9.4 Gt of direct industrial CO2 emissions in 2021. If indirect emissions from electricity consumption are included, the emissions from </a:t>
            </a:r>
            <a:r>
              <a:rPr kumimoji="0" lang="en-US" sz="2400" b="0" i="0" u="none" strike="noStrike" kern="1200" cap="none" spc="0" normalizeH="0" baseline="0" noProof="0" dirty="0" err="1">
                <a:ln>
                  <a:noFill/>
                </a:ln>
                <a:solidFill>
                  <a:srgbClr val="2F2F2F"/>
                </a:solidFill>
                <a:effectLst/>
                <a:uLnTx/>
                <a:uFillTx/>
                <a:latin typeface="Arial"/>
                <a:ea typeface="+mn-ea"/>
                <a:cs typeface="+mn-cs"/>
              </a:rPr>
              <a:t>aluminium</a:t>
            </a:r>
            <a:r>
              <a:rPr kumimoji="0" lang="en-US" sz="2400" b="0" i="0" u="none" strike="noStrike" kern="1200" cap="none" spc="0" normalizeH="0" baseline="0" noProof="0" dirty="0">
                <a:ln>
                  <a:noFill/>
                </a:ln>
                <a:solidFill>
                  <a:srgbClr val="2F2F2F"/>
                </a:solidFill>
                <a:effectLst/>
                <a:uLnTx/>
                <a:uFillTx/>
                <a:latin typeface="Arial"/>
                <a:ea typeface="+mn-ea"/>
                <a:cs typeface="+mn-cs"/>
              </a:rPr>
              <a:t> jump to around 1.1 Gt of CO2.</a:t>
            </a:r>
            <a:endParaRPr kumimoji="0" lang="sv-SE" sz="2400" b="0" i="0" u="none" strike="noStrike" kern="1200" cap="none" spc="0" normalizeH="0" baseline="0" noProof="0" dirty="0">
              <a:ln>
                <a:noFill/>
              </a:ln>
              <a:solidFill>
                <a:srgbClr val="2F2F2F"/>
              </a:solidFill>
              <a:effectLst/>
              <a:uLnTx/>
              <a:uFillTx/>
              <a:latin typeface="Arial"/>
              <a:ea typeface="+mn-ea"/>
              <a:cs typeface="+mn-cs"/>
            </a:endParaRPr>
          </a:p>
        </p:txBody>
      </p:sp>
      <p:sp>
        <p:nvSpPr>
          <p:cNvPr id="26" name="TextBox 25">
            <a:extLst>
              <a:ext uri="{FF2B5EF4-FFF2-40B4-BE49-F238E27FC236}">
                <a16:creationId xmlns:a16="http://schemas.microsoft.com/office/drawing/2014/main" id="{234FE021-978A-4FF9-A6B5-4D3D973BA55A}"/>
              </a:ext>
            </a:extLst>
          </p:cNvPr>
          <p:cNvSpPr txBox="1"/>
          <p:nvPr/>
        </p:nvSpPr>
        <p:spPr>
          <a:xfrm>
            <a:off x="899442" y="5961609"/>
            <a:ext cx="10135455" cy="954107"/>
          </a:xfrm>
          <a:prstGeom prst="rect">
            <a:avLst/>
          </a:prstGeom>
          <a:noFill/>
        </p:spPr>
        <p:txBody>
          <a:bodyPr wrap="square" rtlCol="0">
            <a:spAutoFit/>
          </a:bodyPr>
          <a:lstStyle/>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800" b="0" i="0" u="none" strike="noStrike" kern="1200" cap="none" spc="0" normalizeH="0" baseline="0" dirty="0">
                <a:ln>
                  <a:noFill/>
                </a:ln>
                <a:solidFill>
                  <a:srgbClr val="2F2F2F"/>
                </a:solidFill>
                <a:effectLst/>
                <a:uLnTx/>
                <a:uFillTx/>
                <a:latin typeface="Arial"/>
                <a:ea typeface="+mn-ea"/>
                <a:cs typeface="+mn-cs"/>
              </a:rPr>
              <a:t>The energy demand that comes from coal to produce steel on a global scale:</a:t>
            </a:r>
          </a:p>
        </p:txBody>
      </p:sp>
      <p:sp>
        <p:nvSpPr>
          <p:cNvPr id="27" name="Wave 26">
            <a:extLst>
              <a:ext uri="{FF2B5EF4-FFF2-40B4-BE49-F238E27FC236}">
                <a16:creationId xmlns:a16="http://schemas.microsoft.com/office/drawing/2014/main" id="{33E374F7-4B02-4093-ADD5-068DDC1A6158}"/>
              </a:ext>
            </a:extLst>
          </p:cNvPr>
          <p:cNvSpPr/>
          <p:nvPr/>
        </p:nvSpPr>
        <p:spPr>
          <a:xfrm>
            <a:off x="12025689" y="5733152"/>
            <a:ext cx="3866309" cy="1289978"/>
          </a:xfrm>
          <a:prstGeom prst="wav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400" b="1" i="0" u="none" strike="noStrike" kern="1200" cap="none" spc="0" normalizeH="0" baseline="0" noProof="0">
                <a:ln>
                  <a:noFill/>
                </a:ln>
                <a:solidFill>
                  <a:srgbClr val="FFFFFF"/>
                </a:solidFill>
                <a:effectLst/>
                <a:uLnTx/>
                <a:uFillTx/>
                <a:latin typeface="Arial"/>
                <a:ea typeface="+mn-ea"/>
                <a:cs typeface="+mn-cs"/>
              </a:rPr>
              <a:t>75%</a:t>
            </a:r>
          </a:p>
        </p:txBody>
      </p:sp>
      <p:sp>
        <p:nvSpPr>
          <p:cNvPr id="7" name="Rectangle 6">
            <a:extLst>
              <a:ext uri="{FF2B5EF4-FFF2-40B4-BE49-F238E27FC236}">
                <a16:creationId xmlns:a16="http://schemas.microsoft.com/office/drawing/2014/main" id="{496B33CA-43D5-51F9-750E-D568F6531C7C}"/>
              </a:ext>
            </a:extLst>
          </p:cNvPr>
          <p:cNvSpPr/>
          <p:nvPr/>
        </p:nvSpPr>
        <p:spPr>
          <a:xfrm>
            <a:off x="617838" y="7388775"/>
            <a:ext cx="16776209" cy="1720733"/>
          </a:xfrm>
          <a:prstGeom prst="rect">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2F2F2F"/>
                </a:solidFill>
                <a:effectLst/>
                <a:uLnTx/>
                <a:uFillTx/>
                <a:latin typeface="Arial"/>
                <a:ea typeface="+mn-ea"/>
                <a:cs typeface="+mn-cs"/>
              </a:rPr>
              <a:t>Coal currently meets around 75% of the energy demand of the sector. Reducing reliance on coal and increasing electricity use are essential for the steel industry to get on track with the Net Zero Scenario. One innovative solution is direct reduction of iron utilizing hydrogen instead of coal and coke. This is being developed in the HYBRIT project in Sweden.</a:t>
            </a:r>
            <a:endParaRPr kumimoji="0" lang="sv-SE" sz="2400" b="0" i="0" u="none" strike="noStrike" kern="1200" cap="none" spc="0" normalizeH="0" baseline="0" noProof="0" dirty="0">
              <a:ln>
                <a:noFill/>
              </a:ln>
              <a:solidFill>
                <a:srgbClr val="2F2F2F"/>
              </a:solidFill>
              <a:effectLst/>
              <a:uLnTx/>
              <a:uFillTx/>
              <a:latin typeface="Arial"/>
              <a:ea typeface="+mn-ea"/>
              <a:cs typeface="+mn-cs"/>
            </a:endParaRPr>
          </a:p>
        </p:txBody>
      </p:sp>
    </p:spTree>
    <p:extLst>
      <p:ext uri="{BB962C8B-B14F-4D97-AF65-F5344CB8AC3E}">
        <p14:creationId xmlns:p14="http://schemas.microsoft.com/office/powerpoint/2010/main" val="1190182014"/>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61F6C95-FAD2-4548-856B-A81134B0B2A6}"/>
              </a:ext>
            </a:extLst>
          </p:cNvPr>
          <p:cNvSpPr>
            <a:spLocks noGrp="1"/>
          </p:cNvSpPr>
          <p:nvPr>
            <p:ph idx="1"/>
          </p:nvPr>
        </p:nvSpPr>
        <p:spPr>
          <a:xfrm>
            <a:off x="914389" y="2880518"/>
            <a:ext cx="8229600" cy="4525963"/>
          </a:xfrm>
        </p:spPr>
        <p:txBody>
          <a:bodyPr>
            <a:normAutofit fontScale="85000" lnSpcReduction="20000"/>
          </a:bodyPr>
          <a:lstStyle/>
          <a:p>
            <a:r>
              <a:rPr lang="en-GB" noProof="0" dirty="0"/>
              <a:t>Products with multiple functions</a:t>
            </a:r>
          </a:p>
          <a:p>
            <a:pPr lvl="1"/>
            <a:r>
              <a:rPr lang="en-GB" noProof="0" dirty="0"/>
              <a:t>Smart phones </a:t>
            </a:r>
          </a:p>
          <a:p>
            <a:pPr lvl="1"/>
            <a:r>
              <a:rPr lang="en-GB" noProof="0" dirty="0"/>
              <a:t>All-in-one printers</a:t>
            </a:r>
          </a:p>
          <a:p>
            <a:pPr lvl="1"/>
            <a:r>
              <a:rPr lang="en-GB" noProof="0" dirty="0"/>
              <a:t>Beer</a:t>
            </a:r>
          </a:p>
          <a:p>
            <a:r>
              <a:rPr lang="en-GB" b="1" noProof="0" dirty="0"/>
              <a:t>Main function: </a:t>
            </a:r>
            <a:r>
              <a:rPr lang="en-GB" noProof="0" dirty="0"/>
              <a:t>high relevance to the LCA`s goal</a:t>
            </a:r>
          </a:p>
          <a:p>
            <a:endParaRPr lang="en-GB" noProof="0" dirty="0"/>
          </a:p>
          <a:p>
            <a:r>
              <a:rPr lang="en-GB" noProof="0" dirty="0"/>
              <a:t>In small groups you will discuss</a:t>
            </a:r>
          </a:p>
          <a:p>
            <a:pPr lvl="1"/>
            <a:r>
              <a:rPr lang="en-GB" noProof="0" dirty="0"/>
              <a:t>What is the function of a ”beer”? </a:t>
            </a:r>
          </a:p>
          <a:p>
            <a:pPr lvl="1"/>
            <a:r>
              <a:rPr lang="en-GB" noProof="0" dirty="0"/>
              <a:t>What is your suggested functional unit for beer?</a:t>
            </a:r>
          </a:p>
          <a:p>
            <a:pPr lvl="1"/>
            <a:r>
              <a:rPr lang="en-GB" noProof="0" dirty="0"/>
              <a:t>Each group will present their notes from the discussion</a:t>
            </a:r>
          </a:p>
        </p:txBody>
      </p:sp>
      <p:grpSp>
        <p:nvGrpSpPr>
          <p:cNvPr id="20" name="Gruppo 2">
            <a:extLst>
              <a:ext uri="{FF2B5EF4-FFF2-40B4-BE49-F238E27FC236}">
                <a16:creationId xmlns:a16="http://schemas.microsoft.com/office/drawing/2014/main" id="{4E8CB152-ABA9-46A2-9D56-1EBA009FF6AA}"/>
              </a:ext>
            </a:extLst>
          </p:cNvPr>
          <p:cNvGrpSpPr/>
          <p:nvPr/>
        </p:nvGrpSpPr>
        <p:grpSpPr>
          <a:xfrm>
            <a:off x="-12" y="138554"/>
            <a:ext cx="18288002" cy="681138"/>
            <a:chOff x="-12" y="138554"/>
            <a:chExt cx="18288002" cy="681138"/>
          </a:xfrm>
        </p:grpSpPr>
        <p:grpSp>
          <p:nvGrpSpPr>
            <p:cNvPr id="21" name="Gruppo 1">
              <a:extLst>
                <a:ext uri="{FF2B5EF4-FFF2-40B4-BE49-F238E27FC236}">
                  <a16:creationId xmlns:a16="http://schemas.microsoft.com/office/drawing/2014/main" id="{924B1D71-C348-469B-8379-362408D07AE0}"/>
                </a:ext>
              </a:extLst>
            </p:cNvPr>
            <p:cNvGrpSpPr/>
            <p:nvPr/>
          </p:nvGrpSpPr>
          <p:grpSpPr>
            <a:xfrm>
              <a:off x="0" y="153125"/>
              <a:ext cx="17907000" cy="666567"/>
              <a:chOff x="0" y="153125"/>
              <a:chExt cx="17907000" cy="666567"/>
            </a:xfrm>
          </p:grpSpPr>
          <p:grpSp>
            <p:nvGrpSpPr>
              <p:cNvPr id="23" name="Gruppo 15">
                <a:extLst>
                  <a:ext uri="{FF2B5EF4-FFF2-40B4-BE49-F238E27FC236}">
                    <a16:creationId xmlns:a16="http://schemas.microsoft.com/office/drawing/2014/main" id="{3BABAE2B-EB6C-43F9-8969-E6F00F006074}"/>
                  </a:ext>
                </a:extLst>
              </p:cNvPr>
              <p:cNvGrpSpPr/>
              <p:nvPr/>
            </p:nvGrpSpPr>
            <p:grpSpPr>
              <a:xfrm>
                <a:off x="0" y="153125"/>
                <a:ext cx="13958844" cy="666567"/>
                <a:chOff x="0" y="153125"/>
                <a:chExt cx="13958844" cy="666567"/>
              </a:xfrm>
            </p:grpSpPr>
            <p:pic>
              <p:nvPicPr>
                <p:cNvPr id="25" name="Picture 24">
                  <a:extLst>
                    <a:ext uri="{FF2B5EF4-FFF2-40B4-BE49-F238E27FC236}">
                      <a16:creationId xmlns:a16="http://schemas.microsoft.com/office/drawing/2014/main" id="{D7546B25-FE2C-461B-9839-C87E08A4FF2C}"/>
                    </a:ext>
                  </a:extLst>
                </p:cNvPr>
                <p:cNvPicPr>
                  <a:picLocks noChangeAspect="1"/>
                </p:cNvPicPr>
                <p:nvPr/>
              </p:nvPicPr>
              <p:blipFill>
                <a:blip r:embed="rId3"/>
                <a:srcRect l="134" t="91287" b="3943"/>
                <a:stretch>
                  <a:fillRect/>
                </a:stretch>
              </p:blipFill>
              <p:spPr>
                <a:xfrm>
                  <a:off x="0" y="153125"/>
                  <a:ext cx="13958844" cy="666567"/>
                </a:xfrm>
                <a:prstGeom prst="rect">
                  <a:avLst/>
                </a:prstGeom>
              </p:spPr>
            </p:pic>
            <p:sp>
              <p:nvSpPr>
                <p:cNvPr id="26" name="TextBox 25">
                  <a:extLst>
                    <a:ext uri="{FF2B5EF4-FFF2-40B4-BE49-F238E27FC236}">
                      <a16:creationId xmlns:a16="http://schemas.microsoft.com/office/drawing/2014/main" id="{061BE004-6B62-49E7-B3BB-4AFF41AAAC89}"/>
                    </a:ext>
                  </a:extLst>
                </p:cNvPr>
                <p:cNvSpPr txBox="1"/>
                <p:nvPr/>
              </p:nvSpPr>
              <p:spPr>
                <a:xfrm>
                  <a:off x="228600" y="257980"/>
                  <a:ext cx="9296400" cy="456856"/>
                </a:xfrm>
                <a:prstGeom prst="rect">
                  <a:avLst/>
                </a:prstGeom>
              </p:spPr>
              <p:txBody>
                <a:bodyPr wrap="square" lIns="0" tIns="0" rIns="0" bIns="0" rtlCol="0" anchor="t">
                  <a:spAutoFit/>
                </a:bodyPr>
                <a:lstStyle/>
                <a:p>
                  <a:pPr>
                    <a:lnSpc>
                      <a:spcPts val="3919"/>
                    </a:lnSpc>
                    <a:spcBef>
                      <a:spcPct val="0"/>
                    </a:spcBef>
                  </a:pPr>
                  <a:endParaRPr lang="en-US" sz="2800" b="1">
                    <a:solidFill>
                      <a:srgbClr val="FFFFFF"/>
                    </a:solidFill>
                    <a:latin typeface="Arial" panose="020B0604020202020204" pitchFamily="34" charset="0"/>
                    <a:cs typeface="Arial" panose="020B0604020202020204" pitchFamily="34" charset="0"/>
                  </a:endParaRPr>
                </a:p>
              </p:txBody>
            </p:sp>
          </p:grpSp>
          <p:sp>
            <p:nvSpPr>
              <p:cNvPr id="24" name="TextBox 23">
                <a:extLst>
                  <a:ext uri="{FF2B5EF4-FFF2-40B4-BE49-F238E27FC236}">
                    <a16:creationId xmlns:a16="http://schemas.microsoft.com/office/drawing/2014/main" id="{C7E8437D-AF63-4E80-BB84-0496D90B6103}"/>
                  </a:ext>
                </a:extLst>
              </p:cNvPr>
              <p:cNvSpPr txBox="1"/>
              <p:nvPr/>
            </p:nvSpPr>
            <p:spPr>
              <a:xfrm>
                <a:off x="12154296" y="257980"/>
                <a:ext cx="5752704" cy="456856"/>
              </a:xfrm>
              <a:prstGeom prst="rect">
                <a:avLst/>
              </a:prstGeom>
            </p:spPr>
            <p:txBody>
              <a:bodyPr wrap="square" lIns="0" tIns="0" rIns="0" bIns="0" rtlCol="0" anchor="t">
                <a:spAutoFit/>
              </a:bodyPr>
              <a:lstStyle/>
              <a:p>
                <a:pPr algn="r">
                  <a:lnSpc>
                    <a:spcPts val="3919"/>
                  </a:lnSpc>
                  <a:spcBef>
                    <a:spcPct val="0"/>
                  </a:spcBef>
                </a:pPr>
                <a:endParaRPr lang="en-US" sz="2800">
                  <a:solidFill>
                    <a:schemeClr val="tx1">
                      <a:lumMod val="75000"/>
                      <a:lumOff val="25000"/>
                    </a:schemeClr>
                  </a:solidFill>
                  <a:latin typeface="Arial" panose="020B0604020202020204" pitchFamily="34" charset="0"/>
                  <a:cs typeface="Arial" panose="020B0604020202020204" pitchFamily="34" charset="0"/>
                </a:endParaRPr>
              </a:p>
            </p:txBody>
          </p:sp>
        </p:grpSp>
        <p:sp>
          <p:nvSpPr>
            <p:cNvPr id="22" name="Rettangolo 13">
              <a:extLst>
                <a:ext uri="{FF2B5EF4-FFF2-40B4-BE49-F238E27FC236}">
                  <a16:creationId xmlns:a16="http://schemas.microsoft.com/office/drawing/2014/main" id="{606C0CBC-CB12-4518-B0AC-CD1CB2CA7482}"/>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7" name="TextBox 26">
            <a:extLst>
              <a:ext uri="{FF2B5EF4-FFF2-40B4-BE49-F238E27FC236}">
                <a16:creationId xmlns:a16="http://schemas.microsoft.com/office/drawing/2014/main" id="{E939449D-2B80-40F4-BF00-F9FB5DD3E281}"/>
              </a:ext>
            </a:extLst>
          </p:cNvPr>
          <p:cNvSpPr txBox="1"/>
          <p:nvPr/>
        </p:nvSpPr>
        <p:spPr>
          <a:xfrm>
            <a:off x="-251673" y="946300"/>
            <a:ext cx="18288012" cy="1077218"/>
          </a:xfrm>
          <a:prstGeom prst="rect">
            <a:avLst/>
          </a:prstGeom>
          <a:noFill/>
        </p:spPr>
        <p:txBody>
          <a:bodyPr wrap="square">
            <a:spAutoFit/>
          </a:bodyPr>
          <a:lstStyle/>
          <a:p>
            <a:pPr algn="ctr"/>
            <a:r>
              <a:rPr lang="sv-SE" sz="6400" b="1">
                <a:solidFill>
                  <a:srgbClr val="CC0033"/>
                </a:solidFill>
                <a:latin typeface="+mj-lt"/>
                <a:cs typeface="Arial" panose="020B0604020202020204" pitchFamily="34" charset="0"/>
              </a:rPr>
              <a:t>Group </a:t>
            </a:r>
            <a:r>
              <a:rPr lang="sv-SE" sz="6400" b="1" err="1">
                <a:solidFill>
                  <a:srgbClr val="CC0033"/>
                </a:solidFill>
                <a:latin typeface="+mj-lt"/>
                <a:cs typeface="Arial" panose="020B0604020202020204" pitchFamily="34" charset="0"/>
              </a:rPr>
              <a:t>activity</a:t>
            </a:r>
            <a:endParaRPr lang="sv-SE" sz="6400" b="1">
              <a:solidFill>
                <a:srgbClr val="CC0033"/>
              </a:solidFill>
              <a:latin typeface="+mj-lt"/>
              <a:cs typeface="Arial" panose="020B0604020202020204" pitchFamily="34" charset="0"/>
            </a:endParaRPr>
          </a:p>
        </p:txBody>
      </p:sp>
      <p:pic>
        <p:nvPicPr>
          <p:cNvPr id="28" name="Picture 12">
            <a:extLst>
              <a:ext uri="{FF2B5EF4-FFF2-40B4-BE49-F238E27FC236}">
                <a16:creationId xmlns:a16="http://schemas.microsoft.com/office/drawing/2014/main" id="{BEAC8B6C-C4EC-40B9-901C-FC2B1D20E92A}"/>
              </a:ext>
            </a:extLst>
          </p:cNvPr>
          <p:cNvPicPr>
            <a:picLocks noChangeAspect="1"/>
          </p:cNvPicPr>
          <p:nvPr/>
        </p:nvPicPr>
        <p:blipFill>
          <a:blip r:embed="rId4"/>
          <a:srcRect/>
          <a:stretch>
            <a:fillRect/>
          </a:stretch>
        </p:blipFill>
        <p:spPr>
          <a:xfrm>
            <a:off x="0" y="8901113"/>
            <a:ext cx="5715000" cy="1385887"/>
          </a:xfrm>
          <a:prstGeom prst="rect">
            <a:avLst/>
          </a:prstGeom>
        </p:spPr>
      </p:pic>
      <p:grpSp>
        <p:nvGrpSpPr>
          <p:cNvPr id="29" name="Gruppo 16">
            <a:extLst>
              <a:ext uri="{FF2B5EF4-FFF2-40B4-BE49-F238E27FC236}">
                <a16:creationId xmlns:a16="http://schemas.microsoft.com/office/drawing/2014/main" id="{64DAE06D-04CE-4353-9A4E-6FB4DA5F8860}"/>
              </a:ext>
            </a:extLst>
          </p:cNvPr>
          <p:cNvGrpSpPr/>
          <p:nvPr/>
        </p:nvGrpSpPr>
        <p:grpSpPr>
          <a:xfrm>
            <a:off x="4329146" y="9679208"/>
            <a:ext cx="13958844" cy="666567"/>
            <a:chOff x="4329156" y="9649198"/>
            <a:chExt cx="13958844" cy="666567"/>
          </a:xfrm>
        </p:grpSpPr>
        <p:pic>
          <p:nvPicPr>
            <p:cNvPr id="30" name="Picture 12">
              <a:extLst>
                <a:ext uri="{FF2B5EF4-FFF2-40B4-BE49-F238E27FC236}">
                  <a16:creationId xmlns:a16="http://schemas.microsoft.com/office/drawing/2014/main" id="{D1B979F3-AA92-491F-83B1-A5B703EF0522}"/>
                </a:ext>
              </a:extLst>
            </p:cNvPr>
            <p:cNvPicPr>
              <a:picLocks noChangeAspect="1"/>
            </p:cNvPicPr>
            <p:nvPr/>
          </p:nvPicPr>
          <p:blipFill>
            <a:blip r:embed="rId5"/>
            <a:srcRect l="134" t="91287" b="3943"/>
            <a:stretch>
              <a:fillRect/>
            </a:stretch>
          </p:blipFill>
          <p:spPr>
            <a:xfrm rot="-10800000">
              <a:off x="4329156" y="9649198"/>
              <a:ext cx="13958844" cy="666567"/>
            </a:xfrm>
            <a:prstGeom prst="rect">
              <a:avLst/>
            </a:prstGeom>
          </p:spPr>
        </p:pic>
        <p:sp>
          <p:nvSpPr>
            <p:cNvPr id="31" name="TextBox 16">
              <a:extLst>
                <a:ext uri="{FF2B5EF4-FFF2-40B4-BE49-F238E27FC236}">
                  <a16:creationId xmlns:a16="http://schemas.microsoft.com/office/drawing/2014/main" id="{54F084BB-4A27-419D-BB40-060E095FEA0C}"/>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pic>
        <p:nvPicPr>
          <p:cNvPr id="32" name="Picture 31">
            <a:extLst>
              <a:ext uri="{FF2B5EF4-FFF2-40B4-BE49-F238E27FC236}">
                <a16:creationId xmlns:a16="http://schemas.microsoft.com/office/drawing/2014/main" id="{7FCA8B22-BC73-4963-988E-B6A14EBDA027}"/>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9301119" y="2433856"/>
            <a:ext cx="3326616" cy="3326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 name="Picture 32">
            <a:extLst>
              <a:ext uri="{FF2B5EF4-FFF2-40B4-BE49-F238E27FC236}">
                <a16:creationId xmlns:a16="http://schemas.microsoft.com/office/drawing/2014/main" id="{6D10F22C-C724-4217-8786-8DDF60A44A69}"/>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14788089" y="2476995"/>
            <a:ext cx="2585522" cy="2979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33">
            <a:extLst>
              <a:ext uri="{FF2B5EF4-FFF2-40B4-BE49-F238E27FC236}">
                <a16:creationId xmlns:a16="http://schemas.microsoft.com/office/drawing/2014/main" id="{6F781AA6-3044-4FFF-B191-0F64BC6F17E6}"/>
              </a:ext>
            </a:extLst>
          </p:cNvPr>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12204114" y="5309324"/>
            <a:ext cx="2795464" cy="4194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509077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58" name="Rectangle 57">
            <a:extLst>
              <a:ext uri="{FF2B5EF4-FFF2-40B4-BE49-F238E27FC236}">
                <a16:creationId xmlns:a16="http://schemas.microsoft.com/office/drawing/2014/main" id="{289ED1AA-8684-4D37-B208-8777E1A7780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8283428" cy="10287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0" name="Graphic 33">
            <a:extLst>
              <a:ext uri="{FF2B5EF4-FFF2-40B4-BE49-F238E27FC236}">
                <a16:creationId xmlns:a16="http://schemas.microsoft.com/office/drawing/2014/main" id="{4180E01B-B1F4-437C-807D-1C930718EE6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966176" y="0"/>
            <a:ext cx="14355646" cy="10287000"/>
          </a:xfrm>
          <a:custGeom>
            <a:avLst/>
            <a:gdLst>
              <a:gd name="connsiteX0" fmla="*/ 7178288 w 7187261"/>
              <a:gd name="connsiteY0" fmla="*/ 2604802 h 5150263"/>
              <a:gd name="connsiteX1" fmla="*/ 7169335 w 7187261"/>
              <a:gd name="connsiteY1" fmla="*/ 2328577 h 5150263"/>
              <a:gd name="connsiteX2" fmla="*/ 7060845 w 7187261"/>
              <a:gd name="connsiteY2" fmla="*/ 1661160 h 5150263"/>
              <a:gd name="connsiteX3" fmla="*/ 6212263 w 7187261"/>
              <a:gd name="connsiteY3" fmla="*/ 243840 h 5150263"/>
              <a:gd name="connsiteX4" fmla="*/ 5953564 w 7187261"/>
              <a:gd name="connsiteY4" fmla="*/ 0 h 5150263"/>
              <a:gd name="connsiteX5" fmla="*/ 1408615 w 7187261"/>
              <a:gd name="connsiteY5" fmla="*/ 0 h 5150263"/>
              <a:gd name="connsiteX6" fmla="*/ 805111 w 7187261"/>
              <a:gd name="connsiteY6" fmla="*/ 676275 h 5150263"/>
              <a:gd name="connsiteX7" fmla="*/ 104928 w 7187261"/>
              <a:gd name="connsiteY7" fmla="*/ 2183035 h 5150263"/>
              <a:gd name="connsiteX8" fmla="*/ 51588 w 7187261"/>
              <a:gd name="connsiteY8" fmla="*/ 2400014 h 5150263"/>
              <a:gd name="connsiteX9" fmla="*/ 41301 w 7187261"/>
              <a:gd name="connsiteY9" fmla="*/ 2424208 h 5150263"/>
              <a:gd name="connsiteX10" fmla="*/ 119692 w 7187261"/>
              <a:gd name="connsiteY10" fmla="*/ 1834801 h 5150263"/>
              <a:gd name="connsiteX11" fmla="*/ 870071 w 7187261"/>
              <a:gd name="connsiteY11" fmla="*/ 462248 h 5150263"/>
              <a:gd name="connsiteX12" fmla="*/ 1389279 w 7187261"/>
              <a:gd name="connsiteY12" fmla="*/ 476 h 5150263"/>
              <a:gd name="connsiteX13" fmla="*/ 1320223 w 7187261"/>
              <a:gd name="connsiteY13" fmla="*/ 476 h 5150263"/>
              <a:gd name="connsiteX14" fmla="*/ 423158 w 7187261"/>
              <a:gd name="connsiteY14" fmla="*/ 989743 h 5150263"/>
              <a:gd name="connsiteX15" fmla="*/ 25585 w 7187261"/>
              <a:gd name="connsiteY15" fmla="*/ 2113693 h 5150263"/>
              <a:gd name="connsiteX16" fmla="*/ 2344 w 7187261"/>
              <a:gd name="connsiteY16" fmla="*/ 2725865 h 5150263"/>
              <a:gd name="connsiteX17" fmla="*/ 447256 w 7187261"/>
              <a:gd name="connsiteY17" fmla="*/ 4210717 h 5150263"/>
              <a:gd name="connsiteX18" fmla="*/ 1138962 w 7187261"/>
              <a:gd name="connsiteY18" fmla="*/ 4988910 h 5150263"/>
              <a:gd name="connsiteX19" fmla="*/ 1348512 w 7187261"/>
              <a:gd name="connsiteY19" fmla="*/ 5146834 h 5150263"/>
              <a:gd name="connsiteX20" fmla="*/ 1422712 w 7187261"/>
              <a:gd name="connsiteY20" fmla="*/ 5146834 h 5150263"/>
              <a:gd name="connsiteX21" fmla="*/ 480594 w 7187261"/>
              <a:gd name="connsiteY21" fmla="*/ 4187952 h 5150263"/>
              <a:gd name="connsiteX22" fmla="*/ 398679 w 7187261"/>
              <a:gd name="connsiteY22" fmla="*/ 4046125 h 5150263"/>
              <a:gd name="connsiteX23" fmla="*/ 411823 w 7187261"/>
              <a:gd name="connsiteY23" fmla="*/ 4053078 h 5150263"/>
              <a:gd name="connsiteX24" fmla="*/ 1439380 w 7187261"/>
              <a:gd name="connsiteY24" fmla="*/ 5147405 h 5150263"/>
              <a:gd name="connsiteX25" fmla="*/ 5710010 w 7187261"/>
              <a:gd name="connsiteY25" fmla="*/ 5150263 h 5150263"/>
              <a:gd name="connsiteX26" fmla="*/ 5999665 w 7187261"/>
              <a:gd name="connsiteY26" fmla="*/ 4910900 h 5150263"/>
              <a:gd name="connsiteX27" fmla="*/ 6954165 w 7187261"/>
              <a:gd name="connsiteY27" fmla="*/ 3545777 h 5150263"/>
              <a:gd name="connsiteX28" fmla="*/ 7137712 w 7187261"/>
              <a:gd name="connsiteY28" fmla="*/ 2799207 h 5150263"/>
              <a:gd name="connsiteX29" fmla="*/ 7142951 w 7187261"/>
              <a:gd name="connsiteY29" fmla="*/ 2754535 h 5150263"/>
              <a:gd name="connsiteX30" fmla="*/ 7149428 w 7187261"/>
              <a:gd name="connsiteY30" fmla="*/ 2774823 h 5150263"/>
              <a:gd name="connsiteX31" fmla="*/ 7066465 w 7187261"/>
              <a:gd name="connsiteY31" fmla="*/ 3465672 h 5150263"/>
              <a:gd name="connsiteX32" fmla="*/ 6452578 w 7187261"/>
              <a:gd name="connsiteY32" fmla="*/ 4552760 h 5150263"/>
              <a:gd name="connsiteX33" fmla="*/ 5752110 w 7187261"/>
              <a:gd name="connsiteY33" fmla="*/ 5150263 h 5150263"/>
              <a:gd name="connsiteX34" fmla="*/ 5827643 w 7187261"/>
              <a:gd name="connsiteY34" fmla="*/ 5150263 h 5150263"/>
              <a:gd name="connsiteX35" fmla="*/ 6642793 w 7187261"/>
              <a:gd name="connsiteY35" fmla="*/ 4389406 h 5150263"/>
              <a:gd name="connsiteX36" fmla="*/ 7102469 w 7187261"/>
              <a:gd name="connsiteY36" fmla="*/ 3490817 h 5150263"/>
              <a:gd name="connsiteX37" fmla="*/ 7187242 w 7187261"/>
              <a:gd name="connsiteY37" fmla="*/ 2990183 h 5150263"/>
              <a:gd name="connsiteX38" fmla="*/ 7178288 w 7187261"/>
              <a:gd name="connsiteY38" fmla="*/ 2604802 h 5150263"/>
              <a:gd name="connsiteX39" fmla="*/ 6342565 w 7187261"/>
              <a:gd name="connsiteY39" fmla="*/ 441389 h 5150263"/>
              <a:gd name="connsiteX40" fmla="*/ 7126567 w 7187261"/>
              <a:gd name="connsiteY40" fmla="*/ 2355056 h 5150263"/>
              <a:gd name="connsiteX41" fmla="*/ 6342565 w 7187261"/>
              <a:gd name="connsiteY41" fmla="*/ 441389 h 5150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187261" h="5150263">
                <a:moveTo>
                  <a:pt x="7178288" y="2604802"/>
                </a:moveTo>
                <a:cubicBezTo>
                  <a:pt x="7168763" y="2513076"/>
                  <a:pt x="7174478" y="2420684"/>
                  <a:pt x="7169335" y="2328577"/>
                </a:cubicBezTo>
                <a:cubicBezTo>
                  <a:pt x="7156952" y="2102882"/>
                  <a:pt x="7120586" y="1879149"/>
                  <a:pt x="7060845" y="1661160"/>
                </a:cubicBezTo>
                <a:cubicBezTo>
                  <a:pt x="6910588" y="1121007"/>
                  <a:pt x="6617428" y="631374"/>
                  <a:pt x="6212263" y="243840"/>
                </a:cubicBezTo>
                <a:cubicBezTo>
                  <a:pt x="6126538" y="162496"/>
                  <a:pt x="6040813" y="80201"/>
                  <a:pt x="5953564" y="0"/>
                </a:cubicBezTo>
                <a:lnTo>
                  <a:pt x="1408615" y="0"/>
                </a:lnTo>
                <a:cubicBezTo>
                  <a:pt x="1180967" y="200316"/>
                  <a:pt x="978332" y="427387"/>
                  <a:pt x="805111" y="676275"/>
                </a:cubicBezTo>
                <a:cubicBezTo>
                  <a:pt x="481261" y="1136523"/>
                  <a:pt x="252089" y="1640872"/>
                  <a:pt x="104928" y="2183035"/>
                </a:cubicBezTo>
                <a:cubicBezTo>
                  <a:pt x="85878" y="2254853"/>
                  <a:pt x="69495" y="2327720"/>
                  <a:pt x="51588" y="2400014"/>
                </a:cubicBezTo>
                <a:cubicBezTo>
                  <a:pt x="49683" y="2407634"/>
                  <a:pt x="51588" y="2416969"/>
                  <a:pt x="41301" y="2424208"/>
                </a:cubicBezTo>
                <a:cubicBezTo>
                  <a:pt x="45900" y="2225469"/>
                  <a:pt x="72186" y="2027834"/>
                  <a:pt x="119692" y="1834801"/>
                </a:cubicBezTo>
                <a:cubicBezTo>
                  <a:pt x="247993" y="1310926"/>
                  <a:pt x="506121" y="857726"/>
                  <a:pt x="870071" y="462248"/>
                </a:cubicBezTo>
                <a:cubicBezTo>
                  <a:pt x="1027729" y="291823"/>
                  <a:pt x="1201617" y="137169"/>
                  <a:pt x="1389279" y="476"/>
                </a:cubicBezTo>
                <a:lnTo>
                  <a:pt x="1320223" y="476"/>
                </a:lnTo>
                <a:cubicBezTo>
                  <a:pt x="960844" y="274320"/>
                  <a:pt x="656330" y="599123"/>
                  <a:pt x="423158" y="989743"/>
                </a:cubicBezTo>
                <a:cubicBezTo>
                  <a:pt x="215608" y="1337596"/>
                  <a:pt x="80258" y="1711357"/>
                  <a:pt x="25585" y="2113693"/>
                </a:cubicBezTo>
                <a:cubicBezTo>
                  <a:pt x="-2705" y="2316480"/>
                  <a:pt x="-2228" y="2521077"/>
                  <a:pt x="2344" y="2725865"/>
                </a:cubicBezTo>
                <a:cubicBezTo>
                  <a:pt x="14155" y="3261932"/>
                  <a:pt x="170650" y="3754565"/>
                  <a:pt x="447256" y="4210717"/>
                </a:cubicBezTo>
                <a:cubicBezTo>
                  <a:pt x="629851" y="4511612"/>
                  <a:pt x="866356" y="4767167"/>
                  <a:pt x="1138962" y="4988910"/>
                </a:cubicBezTo>
                <a:cubicBezTo>
                  <a:pt x="1207161" y="5044345"/>
                  <a:pt x="1277008" y="5096990"/>
                  <a:pt x="1348512" y="5146834"/>
                </a:cubicBezTo>
                <a:lnTo>
                  <a:pt x="1422712" y="5146834"/>
                </a:lnTo>
                <a:cubicBezTo>
                  <a:pt x="1043426" y="4892802"/>
                  <a:pt x="724720" y="4577334"/>
                  <a:pt x="480594" y="4187952"/>
                </a:cubicBezTo>
                <a:cubicBezTo>
                  <a:pt x="452019" y="4141851"/>
                  <a:pt x="423444" y="4095179"/>
                  <a:pt x="398679" y="4046125"/>
                </a:cubicBezTo>
                <a:cubicBezTo>
                  <a:pt x="407442" y="4043267"/>
                  <a:pt x="409156" y="4048982"/>
                  <a:pt x="411823" y="4053078"/>
                </a:cubicBezTo>
                <a:cubicBezTo>
                  <a:pt x="683572" y="4484656"/>
                  <a:pt x="1033139" y="4842701"/>
                  <a:pt x="1439380" y="5147405"/>
                </a:cubicBezTo>
                <a:lnTo>
                  <a:pt x="5710010" y="5150263"/>
                </a:lnTo>
                <a:cubicBezTo>
                  <a:pt x="5810594" y="5075482"/>
                  <a:pt x="5907272" y="4995587"/>
                  <a:pt x="5999665" y="4910900"/>
                </a:cubicBezTo>
                <a:cubicBezTo>
                  <a:pt x="6418765" y="4526661"/>
                  <a:pt x="6746901" y="4078129"/>
                  <a:pt x="6954165" y="3545777"/>
                </a:cubicBezTo>
                <a:cubicBezTo>
                  <a:pt x="7048234" y="3306175"/>
                  <a:pt x="7109956" y="3055115"/>
                  <a:pt x="7137712" y="2799207"/>
                </a:cubicBezTo>
                <a:cubicBezTo>
                  <a:pt x="7139236" y="2784920"/>
                  <a:pt x="7141046" y="2770632"/>
                  <a:pt x="7142951" y="2754535"/>
                </a:cubicBezTo>
                <a:cubicBezTo>
                  <a:pt x="7151714" y="2760440"/>
                  <a:pt x="7149237" y="2768441"/>
                  <a:pt x="7149428" y="2774823"/>
                </a:cubicBezTo>
                <a:cubicBezTo>
                  <a:pt x="7156743" y="3007967"/>
                  <a:pt x="7128777" y="3240881"/>
                  <a:pt x="7066465" y="3465672"/>
                </a:cubicBezTo>
                <a:cubicBezTo>
                  <a:pt x="6952165" y="3878580"/>
                  <a:pt x="6737948" y="4235863"/>
                  <a:pt x="6452578" y="4552760"/>
                </a:cubicBezTo>
                <a:cubicBezTo>
                  <a:pt x="6244553" y="4783836"/>
                  <a:pt x="6008809" y="4980242"/>
                  <a:pt x="5752110" y="5150263"/>
                </a:cubicBezTo>
                <a:lnTo>
                  <a:pt x="5827643" y="5150263"/>
                </a:lnTo>
                <a:cubicBezTo>
                  <a:pt x="6136539" y="4938904"/>
                  <a:pt x="6412192" y="4689348"/>
                  <a:pt x="6642793" y="4389406"/>
                </a:cubicBezTo>
                <a:cubicBezTo>
                  <a:pt x="6851295" y="4118324"/>
                  <a:pt x="7009125" y="3820859"/>
                  <a:pt x="7102469" y="3490817"/>
                </a:cubicBezTo>
                <a:cubicBezTo>
                  <a:pt x="7148646" y="3327473"/>
                  <a:pt x="7177069" y="3159624"/>
                  <a:pt x="7187242" y="2990183"/>
                </a:cubicBezTo>
                <a:cubicBezTo>
                  <a:pt x="7187623" y="2984087"/>
                  <a:pt x="7182384" y="2642330"/>
                  <a:pt x="7178288" y="2604802"/>
                </a:cubicBezTo>
                <a:close/>
                <a:moveTo>
                  <a:pt x="6342565" y="441389"/>
                </a:moveTo>
                <a:cubicBezTo>
                  <a:pt x="6829797" y="986533"/>
                  <a:pt x="7091135" y="1624422"/>
                  <a:pt x="7126567" y="2355056"/>
                </a:cubicBezTo>
                <a:cubicBezTo>
                  <a:pt x="7001123" y="1661827"/>
                  <a:pt x="6756426" y="1017365"/>
                  <a:pt x="6342565" y="441389"/>
                </a:cubicBez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Arial"/>
              <a:ea typeface="+mn-ea"/>
              <a:cs typeface="+mn-cs"/>
            </a:endParaRPr>
          </a:p>
        </p:txBody>
      </p:sp>
      <p:sp>
        <p:nvSpPr>
          <p:cNvPr id="4" name="Title 3">
            <a:extLst>
              <a:ext uri="{FF2B5EF4-FFF2-40B4-BE49-F238E27FC236}">
                <a16:creationId xmlns:a16="http://schemas.microsoft.com/office/drawing/2014/main" id="{B009CD84-DA40-4CAA-8A89-DD6DAA862368}"/>
              </a:ext>
            </a:extLst>
          </p:cNvPr>
          <p:cNvSpPr>
            <a:spLocks noGrp="1"/>
          </p:cNvSpPr>
          <p:nvPr>
            <p:ph type="title"/>
          </p:nvPr>
        </p:nvSpPr>
        <p:spPr>
          <a:xfrm>
            <a:off x="2819400" y="1485900"/>
            <a:ext cx="13502422" cy="4348463"/>
          </a:xfrm>
        </p:spPr>
        <p:txBody>
          <a:bodyPr vert="horz" lIns="91440" tIns="45720" rIns="91440" bIns="45720" rtlCol="0" anchor="b">
            <a:normAutofit/>
          </a:bodyPr>
          <a:lstStyle/>
          <a:p>
            <a:pPr indent="457200">
              <a:lnSpc>
                <a:spcPct val="90000"/>
              </a:lnSpc>
              <a:spcAft>
                <a:spcPts val="600"/>
              </a:spcAft>
            </a:pPr>
            <a:r>
              <a:rPr lang="en-GB" sz="8000" b="1" kern="1200" noProof="0" dirty="0">
                <a:solidFill>
                  <a:srgbClr val="FFFFFF"/>
                </a:solidFill>
                <a:latin typeface="+mj-lt"/>
                <a:ea typeface="+mj-ea"/>
                <a:cs typeface="+mj-cs"/>
              </a:rPr>
              <a:t>5.2 Environmental Life </a:t>
            </a:r>
            <a:r>
              <a:rPr lang="en-GB" sz="8000" b="1" noProof="0" dirty="0">
                <a:solidFill>
                  <a:srgbClr val="FFFFFF"/>
                </a:solidFill>
              </a:rPr>
              <a:t>C</a:t>
            </a:r>
            <a:r>
              <a:rPr lang="en-GB" sz="8000" b="1" kern="1200" noProof="0" dirty="0">
                <a:solidFill>
                  <a:srgbClr val="FFFFFF"/>
                </a:solidFill>
                <a:latin typeface="+mj-lt"/>
                <a:ea typeface="+mj-ea"/>
                <a:cs typeface="+mj-cs"/>
              </a:rPr>
              <a:t>ycle </a:t>
            </a:r>
            <a:r>
              <a:rPr lang="en-GB" sz="8000" b="1" noProof="0" dirty="0">
                <a:solidFill>
                  <a:srgbClr val="FFFFFF"/>
                </a:solidFill>
              </a:rPr>
              <a:t>C</a:t>
            </a:r>
            <a:r>
              <a:rPr lang="en-GB" sz="8000" b="1" kern="1200" noProof="0" dirty="0">
                <a:solidFill>
                  <a:srgbClr val="FFFFFF"/>
                </a:solidFill>
                <a:latin typeface="+mj-lt"/>
                <a:ea typeface="+mj-ea"/>
                <a:cs typeface="+mj-cs"/>
              </a:rPr>
              <a:t>ost (</a:t>
            </a:r>
            <a:r>
              <a:rPr lang="en-GB" sz="8000" b="1" kern="1200" noProof="0" dirty="0" err="1">
                <a:solidFill>
                  <a:srgbClr val="FFFFFF"/>
                </a:solidFill>
                <a:latin typeface="+mj-lt"/>
                <a:ea typeface="+mj-ea"/>
                <a:cs typeface="+mj-cs"/>
              </a:rPr>
              <a:t>eLCC</a:t>
            </a:r>
            <a:r>
              <a:rPr lang="en-GB" sz="8000" b="1" kern="1200" noProof="0" dirty="0">
                <a:solidFill>
                  <a:srgbClr val="FFFFFF"/>
                </a:solidFill>
                <a:latin typeface="+mj-lt"/>
                <a:ea typeface="+mj-ea"/>
                <a:cs typeface="+mj-cs"/>
              </a:rPr>
              <a:t>)</a:t>
            </a:r>
          </a:p>
        </p:txBody>
      </p:sp>
      <p:sp>
        <p:nvSpPr>
          <p:cNvPr id="62" name="sketch line">
            <a:extLst>
              <a:ext uri="{FF2B5EF4-FFF2-40B4-BE49-F238E27FC236}">
                <a16:creationId xmlns:a16="http://schemas.microsoft.com/office/drawing/2014/main" id="{41F77738-2AF0-4750-A0C7-F97C2C17590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961309" y="6260247"/>
            <a:ext cx="6365383" cy="27432"/>
          </a:xfrm>
          <a:custGeom>
            <a:avLst/>
            <a:gdLst>
              <a:gd name="connsiteX0" fmla="*/ 0 w 6365383"/>
              <a:gd name="connsiteY0" fmla="*/ 0 h 27432"/>
              <a:gd name="connsiteX1" fmla="*/ 636538 w 6365383"/>
              <a:gd name="connsiteY1" fmla="*/ 0 h 27432"/>
              <a:gd name="connsiteX2" fmla="*/ 1273077 w 6365383"/>
              <a:gd name="connsiteY2" fmla="*/ 0 h 27432"/>
              <a:gd name="connsiteX3" fmla="*/ 1909615 w 6365383"/>
              <a:gd name="connsiteY3" fmla="*/ 0 h 27432"/>
              <a:gd name="connsiteX4" fmla="*/ 2673461 w 6365383"/>
              <a:gd name="connsiteY4" fmla="*/ 0 h 27432"/>
              <a:gd name="connsiteX5" fmla="*/ 3373653 w 6365383"/>
              <a:gd name="connsiteY5" fmla="*/ 0 h 27432"/>
              <a:gd name="connsiteX6" fmla="*/ 3819230 w 6365383"/>
              <a:gd name="connsiteY6" fmla="*/ 0 h 27432"/>
              <a:gd name="connsiteX7" fmla="*/ 4392114 w 6365383"/>
              <a:gd name="connsiteY7" fmla="*/ 0 h 27432"/>
              <a:gd name="connsiteX8" fmla="*/ 5155960 w 6365383"/>
              <a:gd name="connsiteY8" fmla="*/ 0 h 27432"/>
              <a:gd name="connsiteX9" fmla="*/ 5792499 w 6365383"/>
              <a:gd name="connsiteY9" fmla="*/ 0 h 27432"/>
              <a:gd name="connsiteX10" fmla="*/ 6365383 w 6365383"/>
              <a:gd name="connsiteY10" fmla="*/ 0 h 27432"/>
              <a:gd name="connsiteX11" fmla="*/ 6365383 w 6365383"/>
              <a:gd name="connsiteY11" fmla="*/ 27432 h 27432"/>
              <a:gd name="connsiteX12" fmla="*/ 5856152 w 6365383"/>
              <a:gd name="connsiteY12" fmla="*/ 27432 h 27432"/>
              <a:gd name="connsiteX13" fmla="*/ 5092306 w 6365383"/>
              <a:gd name="connsiteY13" fmla="*/ 27432 h 27432"/>
              <a:gd name="connsiteX14" fmla="*/ 4583076 w 6365383"/>
              <a:gd name="connsiteY14" fmla="*/ 27432 h 27432"/>
              <a:gd name="connsiteX15" fmla="*/ 4137499 w 6365383"/>
              <a:gd name="connsiteY15" fmla="*/ 27432 h 27432"/>
              <a:gd name="connsiteX16" fmla="*/ 3691922 w 6365383"/>
              <a:gd name="connsiteY16" fmla="*/ 27432 h 27432"/>
              <a:gd name="connsiteX17" fmla="*/ 2991730 w 6365383"/>
              <a:gd name="connsiteY17" fmla="*/ 27432 h 27432"/>
              <a:gd name="connsiteX18" fmla="*/ 2546153 w 6365383"/>
              <a:gd name="connsiteY18" fmla="*/ 27432 h 27432"/>
              <a:gd name="connsiteX19" fmla="*/ 1909615 w 6365383"/>
              <a:gd name="connsiteY19" fmla="*/ 27432 h 27432"/>
              <a:gd name="connsiteX20" fmla="*/ 1400384 w 6365383"/>
              <a:gd name="connsiteY20" fmla="*/ 27432 h 27432"/>
              <a:gd name="connsiteX21" fmla="*/ 763846 w 6365383"/>
              <a:gd name="connsiteY21" fmla="*/ 27432 h 27432"/>
              <a:gd name="connsiteX22" fmla="*/ 0 w 6365383"/>
              <a:gd name="connsiteY22" fmla="*/ 27432 h 27432"/>
              <a:gd name="connsiteX23" fmla="*/ 0 w 6365383"/>
              <a:gd name="connsiteY23" fmla="*/ 0 h 27432"/>
              <a:gd name="connsiteX0" fmla="*/ 0 w 6365383"/>
              <a:gd name="connsiteY0" fmla="*/ 0 h 27432"/>
              <a:gd name="connsiteX1" fmla="*/ 572884 w 6365383"/>
              <a:gd name="connsiteY1" fmla="*/ 0 h 27432"/>
              <a:gd name="connsiteX2" fmla="*/ 1018461 w 6365383"/>
              <a:gd name="connsiteY2" fmla="*/ 0 h 27432"/>
              <a:gd name="connsiteX3" fmla="*/ 1782307 w 6365383"/>
              <a:gd name="connsiteY3" fmla="*/ 0 h 27432"/>
              <a:gd name="connsiteX4" fmla="*/ 2355192 w 6365383"/>
              <a:gd name="connsiteY4" fmla="*/ 0 h 27432"/>
              <a:gd name="connsiteX5" fmla="*/ 2928076 w 6365383"/>
              <a:gd name="connsiteY5" fmla="*/ 0 h 27432"/>
              <a:gd name="connsiteX6" fmla="*/ 3691922 w 6365383"/>
              <a:gd name="connsiteY6" fmla="*/ 0 h 27432"/>
              <a:gd name="connsiteX7" fmla="*/ 4201153 w 6365383"/>
              <a:gd name="connsiteY7" fmla="*/ 0 h 27432"/>
              <a:gd name="connsiteX8" fmla="*/ 4964999 w 6365383"/>
              <a:gd name="connsiteY8" fmla="*/ 0 h 27432"/>
              <a:gd name="connsiteX9" fmla="*/ 5728845 w 6365383"/>
              <a:gd name="connsiteY9" fmla="*/ 0 h 27432"/>
              <a:gd name="connsiteX10" fmla="*/ 6365383 w 6365383"/>
              <a:gd name="connsiteY10" fmla="*/ 0 h 27432"/>
              <a:gd name="connsiteX11" fmla="*/ 6365383 w 6365383"/>
              <a:gd name="connsiteY11" fmla="*/ 27432 h 27432"/>
              <a:gd name="connsiteX12" fmla="*/ 5665191 w 6365383"/>
              <a:gd name="connsiteY12" fmla="*/ 27432 h 27432"/>
              <a:gd name="connsiteX13" fmla="*/ 4901345 w 6365383"/>
              <a:gd name="connsiteY13" fmla="*/ 27432 h 27432"/>
              <a:gd name="connsiteX14" fmla="*/ 4137499 w 6365383"/>
              <a:gd name="connsiteY14" fmla="*/ 27432 h 27432"/>
              <a:gd name="connsiteX15" fmla="*/ 3628268 w 6365383"/>
              <a:gd name="connsiteY15" fmla="*/ 27432 h 27432"/>
              <a:gd name="connsiteX16" fmla="*/ 2991730 w 6365383"/>
              <a:gd name="connsiteY16" fmla="*/ 27432 h 27432"/>
              <a:gd name="connsiteX17" fmla="*/ 2227884 w 6365383"/>
              <a:gd name="connsiteY17" fmla="*/ 27432 h 27432"/>
              <a:gd name="connsiteX18" fmla="*/ 1591346 w 6365383"/>
              <a:gd name="connsiteY18" fmla="*/ 27432 h 27432"/>
              <a:gd name="connsiteX19" fmla="*/ 1145769 w 6365383"/>
              <a:gd name="connsiteY19" fmla="*/ 27432 h 27432"/>
              <a:gd name="connsiteX20" fmla="*/ 636538 w 6365383"/>
              <a:gd name="connsiteY20" fmla="*/ 27432 h 27432"/>
              <a:gd name="connsiteX21" fmla="*/ 0 w 6365383"/>
              <a:gd name="connsiteY21" fmla="*/ 27432 h 27432"/>
              <a:gd name="connsiteX22" fmla="*/ 0 w 6365383"/>
              <a:gd name="connsiteY22"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365383" h="27432" fill="none" extrusionOk="0">
                <a:moveTo>
                  <a:pt x="0" y="0"/>
                </a:moveTo>
                <a:cubicBezTo>
                  <a:pt x="311910" y="25756"/>
                  <a:pt x="328854" y="-22977"/>
                  <a:pt x="636538" y="0"/>
                </a:cubicBezTo>
                <a:cubicBezTo>
                  <a:pt x="929901" y="50670"/>
                  <a:pt x="1067253" y="-1993"/>
                  <a:pt x="1273077" y="0"/>
                </a:cubicBezTo>
                <a:cubicBezTo>
                  <a:pt x="1507620" y="-24857"/>
                  <a:pt x="1747799" y="-10413"/>
                  <a:pt x="1909615" y="0"/>
                </a:cubicBezTo>
                <a:cubicBezTo>
                  <a:pt x="2041097" y="-21585"/>
                  <a:pt x="2422417" y="-28022"/>
                  <a:pt x="2673461" y="0"/>
                </a:cubicBezTo>
                <a:cubicBezTo>
                  <a:pt x="2948394" y="-4560"/>
                  <a:pt x="3134893" y="36981"/>
                  <a:pt x="3373653" y="0"/>
                </a:cubicBezTo>
                <a:cubicBezTo>
                  <a:pt x="3634761" y="-15887"/>
                  <a:pt x="3700843" y="23167"/>
                  <a:pt x="3819230" y="0"/>
                </a:cubicBezTo>
                <a:cubicBezTo>
                  <a:pt x="3977295" y="2943"/>
                  <a:pt x="4128910" y="-53150"/>
                  <a:pt x="4392114" y="0"/>
                </a:cubicBezTo>
                <a:cubicBezTo>
                  <a:pt x="4672763" y="9214"/>
                  <a:pt x="4999833" y="38501"/>
                  <a:pt x="5155960" y="0"/>
                </a:cubicBezTo>
                <a:cubicBezTo>
                  <a:pt x="5343367" y="-6557"/>
                  <a:pt x="5597661" y="6622"/>
                  <a:pt x="5792499" y="0"/>
                </a:cubicBezTo>
                <a:cubicBezTo>
                  <a:pt x="6020774" y="43813"/>
                  <a:pt x="6148830" y="-13954"/>
                  <a:pt x="6365383" y="0"/>
                </a:cubicBezTo>
                <a:cubicBezTo>
                  <a:pt x="6364517" y="8091"/>
                  <a:pt x="6365728" y="20268"/>
                  <a:pt x="6365383" y="27432"/>
                </a:cubicBezTo>
                <a:cubicBezTo>
                  <a:pt x="6144545" y="15144"/>
                  <a:pt x="6006673" y="-7419"/>
                  <a:pt x="5856152" y="27432"/>
                </a:cubicBezTo>
                <a:cubicBezTo>
                  <a:pt x="5638446" y="81548"/>
                  <a:pt x="5413846" y="52067"/>
                  <a:pt x="5092306" y="27432"/>
                </a:cubicBezTo>
                <a:cubicBezTo>
                  <a:pt x="4768499" y="43350"/>
                  <a:pt x="4708569" y="3163"/>
                  <a:pt x="4583076" y="27432"/>
                </a:cubicBezTo>
                <a:cubicBezTo>
                  <a:pt x="4475482" y="66269"/>
                  <a:pt x="4242792" y="42702"/>
                  <a:pt x="4137499" y="27432"/>
                </a:cubicBezTo>
                <a:cubicBezTo>
                  <a:pt x="4003968" y="24039"/>
                  <a:pt x="3882646" y="-3026"/>
                  <a:pt x="3691922" y="27432"/>
                </a:cubicBezTo>
                <a:cubicBezTo>
                  <a:pt x="3501639" y="8096"/>
                  <a:pt x="3270842" y="-14942"/>
                  <a:pt x="2991730" y="27432"/>
                </a:cubicBezTo>
                <a:cubicBezTo>
                  <a:pt x="2712135" y="55419"/>
                  <a:pt x="2758697" y="31955"/>
                  <a:pt x="2546153" y="27432"/>
                </a:cubicBezTo>
                <a:cubicBezTo>
                  <a:pt x="2362220" y="-818"/>
                  <a:pt x="2130397" y="57099"/>
                  <a:pt x="1909615" y="27432"/>
                </a:cubicBezTo>
                <a:cubicBezTo>
                  <a:pt x="1714835" y="-15389"/>
                  <a:pt x="1636770" y="40318"/>
                  <a:pt x="1400384" y="27432"/>
                </a:cubicBezTo>
                <a:cubicBezTo>
                  <a:pt x="1161504" y="29515"/>
                  <a:pt x="1060819" y="7773"/>
                  <a:pt x="763846" y="27432"/>
                </a:cubicBezTo>
                <a:cubicBezTo>
                  <a:pt x="465096" y="43671"/>
                  <a:pt x="165309" y="15831"/>
                  <a:pt x="0" y="27432"/>
                </a:cubicBezTo>
                <a:cubicBezTo>
                  <a:pt x="-2013" y="18874"/>
                  <a:pt x="-525" y="8614"/>
                  <a:pt x="0" y="0"/>
                </a:cubicBezTo>
                <a:close/>
              </a:path>
              <a:path w="6365383" h="27432" stroke="0" extrusionOk="0">
                <a:moveTo>
                  <a:pt x="0" y="0"/>
                </a:moveTo>
                <a:cubicBezTo>
                  <a:pt x="84020" y="9133"/>
                  <a:pt x="339524" y="24523"/>
                  <a:pt x="572884" y="0"/>
                </a:cubicBezTo>
                <a:cubicBezTo>
                  <a:pt x="803790" y="-14011"/>
                  <a:pt x="837492" y="-10007"/>
                  <a:pt x="1018461" y="0"/>
                </a:cubicBezTo>
                <a:cubicBezTo>
                  <a:pt x="1188530" y="8943"/>
                  <a:pt x="1571061" y="17361"/>
                  <a:pt x="1782307" y="0"/>
                </a:cubicBezTo>
                <a:cubicBezTo>
                  <a:pt x="1967448" y="-16010"/>
                  <a:pt x="2153334" y="-25629"/>
                  <a:pt x="2355192" y="0"/>
                </a:cubicBezTo>
                <a:cubicBezTo>
                  <a:pt x="2541804" y="20205"/>
                  <a:pt x="2779440" y="53811"/>
                  <a:pt x="2928076" y="0"/>
                </a:cubicBezTo>
                <a:cubicBezTo>
                  <a:pt x="3024078" y="-16903"/>
                  <a:pt x="3337092" y="43483"/>
                  <a:pt x="3691922" y="0"/>
                </a:cubicBezTo>
                <a:cubicBezTo>
                  <a:pt x="4060895" y="-1064"/>
                  <a:pt x="4072166" y="-17195"/>
                  <a:pt x="4201153" y="0"/>
                </a:cubicBezTo>
                <a:cubicBezTo>
                  <a:pt x="4349835" y="-22516"/>
                  <a:pt x="4800106" y="-64797"/>
                  <a:pt x="4964999" y="0"/>
                </a:cubicBezTo>
                <a:cubicBezTo>
                  <a:pt x="5186764" y="15779"/>
                  <a:pt x="5564421" y="-10544"/>
                  <a:pt x="5728845" y="0"/>
                </a:cubicBezTo>
                <a:cubicBezTo>
                  <a:pt x="5915953" y="5493"/>
                  <a:pt x="6171384" y="-48026"/>
                  <a:pt x="6365383" y="0"/>
                </a:cubicBezTo>
                <a:cubicBezTo>
                  <a:pt x="6366596" y="6455"/>
                  <a:pt x="6365588" y="14391"/>
                  <a:pt x="6365383" y="27432"/>
                </a:cubicBezTo>
                <a:cubicBezTo>
                  <a:pt x="6172514" y="805"/>
                  <a:pt x="6006523" y="20734"/>
                  <a:pt x="5665191" y="27432"/>
                </a:cubicBezTo>
                <a:cubicBezTo>
                  <a:pt x="5322179" y="66687"/>
                  <a:pt x="5219376" y="21111"/>
                  <a:pt x="4901345" y="27432"/>
                </a:cubicBezTo>
                <a:cubicBezTo>
                  <a:pt x="4621310" y="-13654"/>
                  <a:pt x="4455192" y="54857"/>
                  <a:pt x="4137499" y="27432"/>
                </a:cubicBezTo>
                <a:cubicBezTo>
                  <a:pt x="3853317" y="12285"/>
                  <a:pt x="3862894" y="26263"/>
                  <a:pt x="3628268" y="27432"/>
                </a:cubicBezTo>
                <a:cubicBezTo>
                  <a:pt x="3418779" y="32610"/>
                  <a:pt x="3174456" y="83656"/>
                  <a:pt x="2991730" y="27432"/>
                </a:cubicBezTo>
                <a:cubicBezTo>
                  <a:pt x="2801278" y="6667"/>
                  <a:pt x="2497351" y="22891"/>
                  <a:pt x="2227884" y="27432"/>
                </a:cubicBezTo>
                <a:cubicBezTo>
                  <a:pt x="1986101" y="16297"/>
                  <a:pt x="1767219" y="-7535"/>
                  <a:pt x="1591346" y="27432"/>
                </a:cubicBezTo>
                <a:cubicBezTo>
                  <a:pt x="1447183" y="73731"/>
                  <a:pt x="1315973" y="39477"/>
                  <a:pt x="1145769" y="27432"/>
                </a:cubicBezTo>
                <a:cubicBezTo>
                  <a:pt x="990245" y="8882"/>
                  <a:pt x="810845" y="16910"/>
                  <a:pt x="636538" y="27432"/>
                </a:cubicBezTo>
                <a:cubicBezTo>
                  <a:pt x="482916" y="17795"/>
                  <a:pt x="183027" y="-17710"/>
                  <a:pt x="0" y="27432"/>
                </a:cubicBezTo>
                <a:cubicBezTo>
                  <a:pt x="491" y="19542"/>
                  <a:pt x="-1038" y="8534"/>
                  <a:pt x="0" y="0"/>
                </a:cubicBezTo>
                <a:close/>
              </a:path>
              <a:path w="6365383" h="27432" fill="none" stroke="0" extrusionOk="0">
                <a:moveTo>
                  <a:pt x="0" y="0"/>
                </a:moveTo>
                <a:cubicBezTo>
                  <a:pt x="296223" y="15991"/>
                  <a:pt x="333462" y="-23795"/>
                  <a:pt x="636538" y="0"/>
                </a:cubicBezTo>
                <a:cubicBezTo>
                  <a:pt x="970197" y="30961"/>
                  <a:pt x="1039864" y="3183"/>
                  <a:pt x="1273077" y="0"/>
                </a:cubicBezTo>
                <a:cubicBezTo>
                  <a:pt x="1449809" y="24819"/>
                  <a:pt x="1735152" y="23060"/>
                  <a:pt x="1909615" y="0"/>
                </a:cubicBezTo>
                <a:cubicBezTo>
                  <a:pt x="2016351" y="-41665"/>
                  <a:pt x="2415001" y="34773"/>
                  <a:pt x="2673461" y="0"/>
                </a:cubicBezTo>
                <a:cubicBezTo>
                  <a:pt x="2996983" y="-13411"/>
                  <a:pt x="3130707" y="3741"/>
                  <a:pt x="3373653" y="0"/>
                </a:cubicBezTo>
                <a:cubicBezTo>
                  <a:pt x="3601951" y="-16140"/>
                  <a:pt x="3689909" y="23222"/>
                  <a:pt x="3819230" y="0"/>
                </a:cubicBezTo>
                <a:cubicBezTo>
                  <a:pt x="3931872" y="-29406"/>
                  <a:pt x="4119438" y="24094"/>
                  <a:pt x="4392114" y="0"/>
                </a:cubicBezTo>
                <a:cubicBezTo>
                  <a:pt x="4665359" y="21557"/>
                  <a:pt x="4978709" y="13267"/>
                  <a:pt x="5155960" y="0"/>
                </a:cubicBezTo>
                <a:cubicBezTo>
                  <a:pt x="5299518" y="-18386"/>
                  <a:pt x="5605020" y="-6762"/>
                  <a:pt x="5792499" y="0"/>
                </a:cubicBezTo>
                <a:cubicBezTo>
                  <a:pt x="6013281" y="43398"/>
                  <a:pt x="6167567" y="36727"/>
                  <a:pt x="6365383" y="0"/>
                </a:cubicBezTo>
                <a:cubicBezTo>
                  <a:pt x="6365697" y="8368"/>
                  <a:pt x="6365332" y="21050"/>
                  <a:pt x="6365383" y="27432"/>
                </a:cubicBezTo>
                <a:cubicBezTo>
                  <a:pt x="6154893" y="8454"/>
                  <a:pt x="6014206" y="-8372"/>
                  <a:pt x="5856152" y="27432"/>
                </a:cubicBezTo>
                <a:cubicBezTo>
                  <a:pt x="5659455" y="59503"/>
                  <a:pt x="5350806" y="-35991"/>
                  <a:pt x="5092306" y="27432"/>
                </a:cubicBezTo>
                <a:cubicBezTo>
                  <a:pt x="4756309" y="48260"/>
                  <a:pt x="4699746" y="-4780"/>
                  <a:pt x="4583076" y="27432"/>
                </a:cubicBezTo>
                <a:cubicBezTo>
                  <a:pt x="4462137" y="30142"/>
                  <a:pt x="4226168" y="50236"/>
                  <a:pt x="4137499" y="27432"/>
                </a:cubicBezTo>
                <a:cubicBezTo>
                  <a:pt x="4018570" y="42181"/>
                  <a:pt x="3887179" y="34623"/>
                  <a:pt x="3691922" y="27432"/>
                </a:cubicBezTo>
                <a:cubicBezTo>
                  <a:pt x="3499755" y="32935"/>
                  <a:pt x="3281056" y="-9158"/>
                  <a:pt x="2991730" y="27432"/>
                </a:cubicBezTo>
                <a:cubicBezTo>
                  <a:pt x="2716073" y="57462"/>
                  <a:pt x="2755481" y="34494"/>
                  <a:pt x="2546153" y="27432"/>
                </a:cubicBezTo>
                <a:cubicBezTo>
                  <a:pt x="2356479" y="62622"/>
                  <a:pt x="2079190" y="73729"/>
                  <a:pt x="1909615" y="27432"/>
                </a:cubicBezTo>
                <a:cubicBezTo>
                  <a:pt x="1715819" y="-26444"/>
                  <a:pt x="1631368" y="48131"/>
                  <a:pt x="1400384" y="27432"/>
                </a:cubicBezTo>
                <a:cubicBezTo>
                  <a:pt x="1177327" y="16190"/>
                  <a:pt x="1065236" y="24992"/>
                  <a:pt x="763846" y="27432"/>
                </a:cubicBezTo>
                <a:cubicBezTo>
                  <a:pt x="448643" y="60691"/>
                  <a:pt x="160833" y="2330"/>
                  <a:pt x="0" y="27432"/>
                </a:cubicBezTo>
                <a:cubicBezTo>
                  <a:pt x="1559" y="18666"/>
                  <a:pt x="-585" y="7580"/>
                  <a:pt x="0" y="0"/>
                </a:cubicBezTo>
                <a:close/>
              </a:path>
            </a:pathLst>
          </a:custGeom>
          <a:solidFill>
            <a:srgbClr val="FFFFFF"/>
          </a:solidFill>
          <a:ln w="41275" cap="rnd">
            <a:solidFill>
              <a:srgbClr val="FFFFFF"/>
            </a:solidFill>
            <a:round/>
            <a:extLst>
              <a:ext uri="{C807C97D-BFC1-408E-A445-0C87EB9F89A2}">
                <ask:lineSketchStyleProps xmlns:ask="http://schemas.microsoft.com/office/drawing/2018/sketchyshapes" sd="1219033472">
                  <a:custGeom>
                    <a:avLst/>
                    <a:gdLst>
                      <a:gd name="connsiteX0" fmla="*/ 0 w 6365383"/>
                      <a:gd name="connsiteY0" fmla="*/ 0 h 27432"/>
                      <a:gd name="connsiteX1" fmla="*/ 636538 w 6365383"/>
                      <a:gd name="connsiteY1" fmla="*/ 0 h 27432"/>
                      <a:gd name="connsiteX2" fmla="*/ 1273077 w 6365383"/>
                      <a:gd name="connsiteY2" fmla="*/ 0 h 27432"/>
                      <a:gd name="connsiteX3" fmla="*/ 1909615 w 6365383"/>
                      <a:gd name="connsiteY3" fmla="*/ 0 h 27432"/>
                      <a:gd name="connsiteX4" fmla="*/ 2673461 w 6365383"/>
                      <a:gd name="connsiteY4" fmla="*/ 0 h 27432"/>
                      <a:gd name="connsiteX5" fmla="*/ 3373653 w 6365383"/>
                      <a:gd name="connsiteY5" fmla="*/ 0 h 27432"/>
                      <a:gd name="connsiteX6" fmla="*/ 3819230 w 6365383"/>
                      <a:gd name="connsiteY6" fmla="*/ 0 h 27432"/>
                      <a:gd name="connsiteX7" fmla="*/ 4392114 w 6365383"/>
                      <a:gd name="connsiteY7" fmla="*/ 0 h 27432"/>
                      <a:gd name="connsiteX8" fmla="*/ 5155960 w 6365383"/>
                      <a:gd name="connsiteY8" fmla="*/ 0 h 27432"/>
                      <a:gd name="connsiteX9" fmla="*/ 5792499 w 6365383"/>
                      <a:gd name="connsiteY9" fmla="*/ 0 h 27432"/>
                      <a:gd name="connsiteX10" fmla="*/ 6365383 w 6365383"/>
                      <a:gd name="connsiteY10" fmla="*/ 0 h 27432"/>
                      <a:gd name="connsiteX11" fmla="*/ 6365383 w 6365383"/>
                      <a:gd name="connsiteY11" fmla="*/ 27432 h 27432"/>
                      <a:gd name="connsiteX12" fmla="*/ 5856152 w 6365383"/>
                      <a:gd name="connsiteY12" fmla="*/ 27432 h 27432"/>
                      <a:gd name="connsiteX13" fmla="*/ 5092306 w 6365383"/>
                      <a:gd name="connsiteY13" fmla="*/ 27432 h 27432"/>
                      <a:gd name="connsiteX14" fmla="*/ 4583076 w 6365383"/>
                      <a:gd name="connsiteY14" fmla="*/ 27432 h 27432"/>
                      <a:gd name="connsiteX15" fmla="*/ 4137499 w 6365383"/>
                      <a:gd name="connsiteY15" fmla="*/ 27432 h 27432"/>
                      <a:gd name="connsiteX16" fmla="*/ 3691922 w 6365383"/>
                      <a:gd name="connsiteY16" fmla="*/ 27432 h 27432"/>
                      <a:gd name="connsiteX17" fmla="*/ 2991730 w 6365383"/>
                      <a:gd name="connsiteY17" fmla="*/ 27432 h 27432"/>
                      <a:gd name="connsiteX18" fmla="*/ 2546153 w 6365383"/>
                      <a:gd name="connsiteY18" fmla="*/ 27432 h 27432"/>
                      <a:gd name="connsiteX19" fmla="*/ 1909615 w 6365383"/>
                      <a:gd name="connsiteY19" fmla="*/ 27432 h 27432"/>
                      <a:gd name="connsiteX20" fmla="*/ 1400384 w 6365383"/>
                      <a:gd name="connsiteY20" fmla="*/ 27432 h 27432"/>
                      <a:gd name="connsiteX21" fmla="*/ 763846 w 6365383"/>
                      <a:gd name="connsiteY21" fmla="*/ 27432 h 27432"/>
                      <a:gd name="connsiteX22" fmla="*/ 0 w 6365383"/>
                      <a:gd name="connsiteY22" fmla="*/ 27432 h 27432"/>
                      <a:gd name="connsiteX23" fmla="*/ 0 w 6365383"/>
                      <a:gd name="connsiteY23"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365383" h="27432" fill="none" extrusionOk="0">
                        <a:moveTo>
                          <a:pt x="0" y="0"/>
                        </a:moveTo>
                        <a:cubicBezTo>
                          <a:pt x="305169" y="21509"/>
                          <a:pt x="334704" y="-24261"/>
                          <a:pt x="636538" y="0"/>
                        </a:cubicBezTo>
                        <a:cubicBezTo>
                          <a:pt x="938372" y="24261"/>
                          <a:pt x="1068606" y="2269"/>
                          <a:pt x="1273077" y="0"/>
                        </a:cubicBezTo>
                        <a:cubicBezTo>
                          <a:pt x="1477548" y="-2269"/>
                          <a:pt x="1738189" y="6272"/>
                          <a:pt x="1909615" y="0"/>
                        </a:cubicBezTo>
                        <a:cubicBezTo>
                          <a:pt x="2081041" y="-6272"/>
                          <a:pt x="2377015" y="16623"/>
                          <a:pt x="2673461" y="0"/>
                        </a:cubicBezTo>
                        <a:cubicBezTo>
                          <a:pt x="2969907" y="-16623"/>
                          <a:pt x="3126114" y="13194"/>
                          <a:pt x="3373653" y="0"/>
                        </a:cubicBezTo>
                        <a:cubicBezTo>
                          <a:pt x="3621192" y="-13194"/>
                          <a:pt x="3704499" y="9486"/>
                          <a:pt x="3819230" y="0"/>
                        </a:cubicBezTo>
                        <a:cubicBezTo>
                          <a:pt x="3933961" y="-9486"/>
                          <a:pt x="4142691" y="-8221"/>
                          <a:pt x="4392114" y="0"/>
                        </a:cubicBezTo>
                        <a:cubicBezTo>
                          <a:pt x="4641537" y="8221"/>
                          <a:pt x="4974506" y="12257"/>
                          <a:pt x="5155960" y="0"/>
                        </a:cubicBezTo>
                        <a:cubicBezTo>
                          <a:pt x="5337414" y="-12257"/>
                          <a:pt x="5585731" y="-22537"/>
                          <a:pt x="5792499" y="0"/>
                        </a:cubicBezTo>
                        <a:cubicBezTo>
                          <a:pt x="5999267" y="22537"/>
                          <a:pt x="6164726" y="7303"/>
                          <a:pt x="6365383" y="0"/>
                        </a:cubicBezTo>
                        <a:cubicBezTo>
                          <a:pt x="6365125" y="7487"/>
                          <a:pt x="6364462" y="19984"/>
                          <a:pt x="6365383" y="27432"/>
                        </a:cubicBezTo>
                        <a:cubicBezTo>
                          <a:pt x="6132222" y="28304"/>
                          <a:pt x="6011986" y="2071"/>
                          <a:pt x="5856152" y="27432"/>
                        </a:cubicBezTo>
                        <a:cubicBezTo>
                          <a:pt x="5700318" y="52793"/>
                          <a:pt x="5410732" y="5357"/>
                          <a:pt x="5092306" y="27432"/>
                        </a:cubicBezTo>
                        <a:cubicBezTo>
                          <a:pt x="4773880" y="49507"/>
                          <a:pt x="4705351" y="6645"/>
                          <a:pt x="4583076" y="27432"/>
                        </a:cubicBezTo>
                        <a:cubicBezTo>
                          <a:pt x="4460801" y="48220"/>
                          <a:pt x="4239915" y="42209"/>
                          <a:pt x="4137499" y="27432"/>
                        </a:cubicBezTo>
                        <a:cubicBezTo>
                          <a:pt x="4035083" y="12655"/>
                          <a:pt x="3883665" y="32012"/>
                          <a:pt x="3691922" y="27432"/>
                        </a:cubicBezTo>
                        <a:cubicBezTo>
                          <a:pt x="3500179" y="22852"/>
                          <a:pt x="3265830" y="-126"/>
                          <a:pt x="2991730" y="27432"/>
                        </a:cubicBezTo>
                        <a:cubicBezTo>
                          <a:pt x="2717630" y="54990"/>
                          <a:pt x="2757122" y="34407"/>
                          <a:pt x="2546153" y="27432"/>
                        </a:cubicBezTo>
                        <a:cubicBezTo>
                          <a:pt x="2335184" y="20457"/>
                          <a:pt x="2107331" y="58889"/>
                          <a:pt x="1909615" y="27432"/>
                        </a:cubicBezTo>
                        <a:cubicBezTo>
                          <a:pt x="1711899" y="-4025"/>
                          <a:pt x="1634641" y="48316"/>
                          <a:pt x="1400384" y="27432"/>
                        </a:cubicBezTo>
                        <a:cubicBezTo>
                          <a:pt x="1166127" y="6548"/>
                          <a:pt x="1068288" y="15776"/>
                          <a:pt x="763846" y="27432"/>
                        </a:cubicBezTo>
                        <a:cubicBezTo>
                          <a:pt x="459404" y="39088"/>
                          <a:pt x="170017" y="14515"/>
                          <a:pt x="0" y="27432"/>
                        </a:cubicBezTo>
                        <a:cubicBezTo>
                          <a:pt x="-14" y="18173"/>
                          <a:pt x="-517" y="8990"/>
                          <a:pt x="0" y="0"/>
                        </a:cubicBezTo>
                        <a:close/>
                      </a:path>
                      <a:path w="6365383" h="27432" stroke="0" extrusionOk="0">
                        <a:moveTo>
                          <a:pt x="0" y="0"/>
                        </a:moveTo>
                        <a:cubicBezTo>
                          <a:pt x="114610" y="-2215"/>
                          <a:pt x="340315" y="12554"/>
                          <a:pt x="572884" y="0"/>
                        </a:cubicBezTo>
                        <a:cubicBezTo>
                          <a:pt x="805453" y="-12554"/>
                          <a:pt x="832891" y="-10424"/>
                          <a:pt x="1018461" y="0"/>
                        </a:cubicBezTo>
                        <a:cubicBezTo>
                          <a:pt x="1204031" y="10424"/>
                          <a:pt x="1590875" y="8682"/>
                          <a:pt x="1782307" y="0"/>
                        </a:cubicBezTo>
                        <a:cubicBezTo>
                          <a:pt x="1973739" y="-8682"/>
                          <a:pt x="2150876" y="5508"/>
                          <a:pt x="2355192" y="0"/>
                        </a:cubicBezTo>
                        <a:cubicBezTo>
                          <a:pt x="2559508" y="-5508"/>
                          <a:pt x="2790194" y="26965"/>
                          <a:pt x="2928076" y="0"/>
                        </a:cubicBezTo>
                        <a:cubicBezTo>
                          <a:pt x="3065958" y="-26965"/>
                          <a:pt x="3321537" y="819"/>
                          <a:pt x="3691922" y="0"/>
                        </a:cubicBezTo>
                        <a:cubicBezTo>
                          <a:pt x="4062307" y="-819"/>
                          <a:pt x="4072238" y="-15327"/>
                          <a:pt x="4201153" y="0"/>
                        </a:cubicBezTo>
                        <a:cubicBezTo>
                          <a:pt x="4330068" y="15327"/>
                          <a:pt x="4772079" y="-35646"/>
                          <a:pt x="4964999" y="0"/>
                        </a:cubicBezTo>
                        <a:cubicBezTo>
                          <a:pt x="5157919" y="35646"/>
                          <a:pt x="5543915" y="6802"/>
                          <a:pt x="5728845" y="0"/>
                        </a:cubicBezTo>
                        <a:cubicBezTo>
                          <a:pt x="5913775" y="-6802"/>
                          <a:pt x="6142952" y="-21408"/>
                          <a:pt x="6365383" y="0"/>
                        </a:cubicBezTo>
                        <a:cubicBezTo>
                          <a:pt x="6364552" y="6329"/>
                          <a:pt x="6365787" y="16858"/>
                          <a:pt x="6365383" y="27432"/>
                        </a:cubicBezTo>
                        <a:cubicBezTo>
                          <a:pt x="6176931" y="320"/>
                          <a:pt x="5998736" y="11244"/>
                          <a:pt x="5665191" y="27432"/>
                        </a:cubicBezTo>
                        <a:cubicBezTo>
                          <a:pt x="5331646" y="43620"/>
                          <a:pt x="5198011" y="28615"/>
                          <a:pt x="4901345" y="27432"/>
                        </a:cubicBezTo>
                        <a:cubicBezTo>
                          <a:pt x="4604679" y="26249"/>
                          <a:pt x="4422931" y="40617"/>
                          <a:pt x="4137499" y="27432"/>
                        </a:cubicBezTo>
                        <a:cubicBezTo>
                          <a:pt x="3852067" y="14247"/>
                          <a:pt x="3861939" y="26581"/>
                          <a:pt x="3628268" y="27432"/>
                        </a:cubicBezTo>
                        <a:cubicBezTo>
                          <a:pt x="3394597" y="28283"/>
                          <a:pt x="3171361" y="44132"/>
                          <a:pt x="2991730" y="27432"/>
                        </a:cubicBezTo>
                        <a:cubicBezTo>
                          <a:pt x="2812099" y="10732"/>
                          <a:pt x="2469344" y="24737"/>
                          <a:pt x="2227884" y="27432"/>
                        </a:cubicBezTo>
                        <a:cubicBezTo>
                          <a:pt x="1986424" y="30127"/>
                          <a:pt x="1748067" y="6359"/>
                          <a:pt x="1591346" y="27432"/>
                        </a:cubicBezTo>
                        <a:cubicBezTo>
                          <a:pt x="1434625" y="48505"/>
                          <a:pt x="1307456" y="39663"/>
                          <a:pt x="1145769" y="27432"/>
                        </a:cubicBezTo>
                        <a:cubicBezTo>
                          <a:pt x="984082" y="15201"/>
                          <a:pt x="800279" y="41647"/>
                          <a:pt x="636538" y="27432"/>
                        </a:cubicBezTo>
                        <a:cubicBezTo>
                          <a:pt x="472797" y="13217"/>
                          <a:pt x="160022" y="2213"/>
                          <a:pt x="0" y="27432"/>
                        </a:cubicBezTo>
                        <a:cubicBezTo>
                          <a:pt x="-177" y="19307"/>
                          <a:pt x="-1145" y="9170"/>
                          <a:pt x="0" y="0"/>
                        </a:cubicBezTo>
                        <a:close/>
                      </a:path>
                    </a:pathLst>
                  </a:cu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535830060"/>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6"/>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4"/>
          <a:srcRect/>
          <a:stretch>
            <a:fillRect/>
          </a:stretch>
        </p:blipFill>
        <p:spPr>
          <a:xfrm>
            <a:off x="0" y="8901113"/>
            <a:ext cx="5715000" cy="1385887"/>
          </a:xfrm>
          <a:prstGeom prst="rect">
            <a:avLst/>
          </a:prstGeom>
        </p:spPr>
      </p:pic>
      <p:grpSp>
        <p:nvGrpSpPr>
          <p:cNvPr id="3" name="Gruppo 2">
            <a:extLst>
              <a:ext uri="{FF2B5EF4-FFF2-40B4-BE49-F238E27FC236}">
                <a16:creationId xmlns:a16="http://schemas.microsoft.com/office/drawing/2014/main" id="{D0B44AFC-EABA-48CF-A7A8-348076F88921}"/>
              </a:ext>
            </a:extLst>
          </p:cNvPr>
          <p:cNvGrpSpPr/>
          <p:nvPr/>
        </p:nvGrpSpPr>
        <p:grpSpPr>
          <a:xfrm>
            <a:off x="-12" y="138554"/>
            <a:ext cx="18288002" cy="681138"/>
            <a:chOff x="-12" y="138554"/>
            <a:chExt cx="18288002" cy="681138"/>
          </a:xfrm>
        </p:grpSpPr>
        <p:grpSp>
          <p:nvGrpSpPr>
            <p:cNvPr id="16" name="Gruppo 15">
              <a:extLst>
                <a:ext uri="{FF2B5EF4-FFF2-40B4-BE49-F238E27FC236}">
                  <a16:creationId xmlns:a16="http://schemas.microsoft.com/office/drawing/2014/main" id="{DAC42A46-917D-41AB-8F07-E15E54D0F7D4}"/>
                </a:ext>
              </a:extLst>
            </p:cNvPr>
            <p:cNvGrpSpPr/>
            <p:nvPr/>
          </p:nvGrpSpPr>
          <p:grpSpPr>
            <a:xfrm>
              <a:off x="0" y="153125"/>
              <a:ext cx="13958844" cy="666567"/>
              <a:chOff x="0" y="153125"/>
              <a:chExt cx="13958844" cy="666567"/>
            </a:xfrm>
          </p:grpSpPr>
          <p:pic>
            <p:nvPicPr>
              <p:cNvPr id="10" name="Picture 10"/>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1" name="TextBox 11"/>
              <p:cNvSpPr txBox="1"/>
              <p:nvPr/>
            </p:nvSpPr>
            <p:spPr>
              <a:xfrm>
                <a:off x="228600" y="257980"/>
                <a:ext cx="8806218" cy="456856"/>
              </a:xfrm>
              <a:prstGeom prst="rect">
                <a:avLst/>
              </a:prstGeom>
            </p:spPr>
            <p:txBody>
              <a:bodyPr wrap="square" lIns="0" tIns="0" rIns="0" bIns="0" rtlCol="0" anchor="t">
                <a:spAutoFit/>
              </a:bodyPr>
              <a:lstStyle/>
              <a:p>
                <a:pPr>
                  <a:lnSpc>
                    <a:spcPts val="3919"/>
                  </a:lnSpc>
                  <a:spcBef>
                    <a:spcPct val="0"/>
                  </a:spcBef>
                </a:pPr>
                <a:endParaRPr lang="en-US" sz="2800" b="1">
                  <a:solidFill>
                    <a:srgbClr val="FFFFFF"/>
                  </a:solidFill>
                  <a:latin typeface="Arial" panose="020B0604020202020204" pitchFamily="34" charset="0"/>
                  <a:cs typeface="Arial" panose="020B0604020202020204" pitchFamily="34" charset="0"/>
                </a:endParaRPr>
              </a:p>
            </p:txBody>
          </p:sp>
        </p:grpSp>
        <p:sp>
          <p:nvSpPr>
            <p:cNvPr id="15" name="Rettangolo 14">
              <a:extLst>
                <a:ext uri="{FF2B5EF4-FFF2-40B4-BE49-F238E27FC236}">
                  <a16:creationId xmlns:a16="http://schemas.microsoft.com/office/drawing/2014/main" id="{AFFDA913-633F-49C2-9D71-573FB327981F}"/>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7" name="TextBox 13">
            <a:extLst>
              <a:ext uri="{FF2B5EF4-FFF2-40B4-BE49-F238E27FC236}">
                <a16:creationId xmlns:a16="http://schemas.microsoft.com/office/drawing/2014/main" id="{C7197FAA-9C82-4C25-B208-2BF8170DA3D1}"/>
              </a:ext>
            </a:extLst>
          </p:cNvPr>
          <p:cNvSpPr txBox="1"/>
          <p:nvPr/>
        </p:nvSpPr>
        <p:spPr>
          <a:xfrm>
            <a:off x="838188" y="850387"/>
            <a:ext cx="17068812" cy="1052468"/>
          </a:xfrm>
          <a:prstGeom prst="rect">
            <a:avLst/>
          </a:prstGeom>
        </p:spPr>
        <p:txBody>
          <a:bodyPr wrap="square" lIns="0" tIns="0" rIns="0" bIns="0" rtlCol="0" anchor="t">
            <a:spAutoFit/>
          </a:bodyPr>
          <a:lstStyle/>
          <a:p>
            <a:pPr algn="ctr">
              <a:lnSpc>
                <a:spcPts val="8960"/>
              </a:lnSpc>
              <a:spcBef>
                <a:spcPct val="0"/>
              </a:spcBef>
            </a:pPr>
            <a:r>
              <a:rPr lang="en-US" sz="6400" b="1" dirty="0">
                <a:solidFill>
                  <a:srgbClr val="CC0033"/>
                </a:solidFill>
                <a:latin typeface="+mj-lt"/>
                <a:cs typeface="Arial" panose="020B0604020202020204" pitchFamily="34" charset="0"/>
              </a:rPr>
              <a:t>Environmental Life Cycle Cost (</a:t>
            </a:r>
            <a:r>
              <a:rPr lang="en-US" sz="6400" b="1" dirty="0" err="1">
                <a:solidFill>
                  <a:srgbClr val="CC0033"/>
                </a:solidFill>
                <a:latin typeface="+mj-lt"/>
                <a:cs typeface="Arial" panose="020B0604020202020204" pitchFamily="34" charset="0"/>
              </a:rPr>
              <a:t>eLCC</a:t>
            </a:r>
            <a:r>
              <a:rPr lang="en-US" sz="6400" b="1" dirty="0">
                <a:solidFill>
                  <a:srgbClr val="CC0033"/>
                </a:solidFill>
                <a:latin typeface="+mj-lt"/>
                <a:cs typeface="Arial" panose="020B0604020202020204" pitchFamily="34" charset="0"/>
              </a:rPr>
              <a:t>)</a:t>
            </a:r>
          </a:p>
        </p:txBody>
      </p:sp>
      <p:pic>
        <p:nvPicPr>
          <p:cNvPr id="2" name="Content Placeholder 6" descr="Questions with solid fill">
            <a:extLst>
              <a:ext uri="{FF2B5EF4-FFF2-40B4-BE49-F238E27FC236}">
                <a16:creationId xmlns:a16="http://schemas.microsoft.com/office/drawing/2014/main" id="{AAD8647A-B944-7FE4-ED77-163A7D350015}"/>
              </a:ext>
            </a:extLst>
          </p:cNvPr>
          <p:cNvPicPr>
            <a:picLocks noGrp="1"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073239" y="2759947"/>
            <a:ext cx="1325487" cy="1325487"/>
          </a:xfrm>
          <a:prstGeom prst="rect">
            <a:avLst/>
          </a:prstGeom>
        </p:spPr>
      </p:pic>
      <p:sp>
        <p:nvSpPr>
          <p:cNvPr id="4" name="TextBox 2">
            <a:extLst>
              <a:ext uri="{FF2B5EF4-FFF2-40B4-BE49-F238E27FC236}">
                <a16:creationId xmlns:a16="http://schemas.microsoft.com/office/drawing/2014/main" id="{89C0D10C-6C8E-7699-B70A-8B75EE8BB5BE}"/>
              </a:ext>
            </a:extLst>
          </p:cNvPr>
          <p:cNvSpPr txBox="1"/>
          <p:nvPr/>
        </p:nvSpPr>
        <p:spPr>
          <a:xfrm>
            <a:off x="3464988" y="2191095"/>
            <a:ext cx="11352537" cy="2400657"/>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457200" indent="-457200">
              <a:buFont typeface="Arial"/>
              <a:buChar char="•"/>
            </a:pPr>
            <a:r>
              <a:rPr lang="en-GB" sz="2400" dirty="0">
                <a:cs typeface="Arial"/>
              </a:rPr>
              <a:t>Costs are evaluated using a life cycle perspective including externalities and damage cost. </a:t>
            </a:r>
          </a:p>
          <a:p>
            <a:pPr marL="457200" indent="-457200">
              <a:buFont typeface="Arial"/>
              <a:buChar char="•"/>
            </a:pPr>
            <a:r>
              <a:rPr lang="en-GB" sz="2400" dirty="0">
                <a:cs typeface="Arial"/>
              </a:rPr>
              <a:t>It is built upon data used in the LCA, but also incorporate financial data specific for the items being evaluated. </a:t>
            </a:r>
          </a:p>
          <a:p>
            <a:pPr marL="457200" indent="-457200">
              <a:buFont typeface="Arial"/>
              <a:buChar char="•"/>
            </a:pPr>
            <a:r>
              <a:rPr lang="en-GB" sz="2400" dirty="0">
                <a:cs typeface="Arial"/>
              </a:rPr>
              <a:t>Fixed and operational cost of the product system are considered and for the </a:t>
            </a:r>
            <a:r>
              <a:rPr lang="en-GB" sz="2400" dirty="0" err="1">
                <a:cs typeface="Arial"/>
              </a:rPr>
              <a:t>Retrofeed</a:t>
            </a:r>
            <a:r>
              <a:rPr lang="en-GB" sz="2400" dirty="0">
                <a:cs typeface="Arial"/>
              </a:rPr>
              <a:t> project the cost given in the table is included</a:t>
            </a:r>
            <a:r>
              <a:rPr lang="en-GB" sz="3000" dirty="0">
                <a:cs typeface="Arial"/>
              </a:rPr>
              <a:t>. </a:t>
            </a:r>
          </a:p>
        </p:txBody>
      </p:sp>
      <p:sp>
        <p:nvSpPr>
          <p:cNvPr id="13" name="TextBox 12">
            <a:extLst>
              <a:ext uri="{FF2B5EF4-FFF2-40B4-BE49-F238E27FC236}">
                <a16:creationId xmlns:a16="http://schemas.microsoft.com/office/drawing/2014/main" id="{7C3F1288-5977-F034-1CAE-2FCF19A857EA}"/>
              </a:ext>
            </a:extLst>
          </p:cNvPr>
          <p:cNvSpPr txBox="1"/>
          <p:nvPr/>
        </p:nvSpPr>
        <p:spPr>
          <a:xfrm>
            <a:off x="614149" y="2956549"/>
            <a:ext cx="1664277" cy="369332"/>
          </a:xfrm>
          <a:prstGeom prst="rect">
            <a:avLst/>
          </a:prstGeom>
          <a:noFill/>
        </p:spPr>
        <p:txBody>
          <a:bodyPr wrap="square" rtlCol="0">
            <a:spAutoFit/>
          </a:bodyPr>
          <a:lstStyle/>
          <a:p>
            <a:r>
              <a:rPr lang="sv-SE"/>
              <a:t>WHAT IS IT?</a:t>
            </a:r>
            <a:endParaRPr lang="en-GB"/>
          </a:p>
        </p:txBody>
      </p:sp>
      <p:graphicFrame>
        <p:nvGraphicFramePr>
          <p:cNvPr id="22" name="Tabell 21">
            <a:extLst>
              <a:ext uri="{FF2B5EF4-FFF2-40B4-BE49-F238E27FC236}">
                <a16:creationId xmlns:a16="http://schemas.microsoft.com/office/drawing/2014/main" id="{36415068-01E0-18C4-B07A-3CD28E257712}"/>
              </a:ext>
            </a:extLst>
          </p:cNvPr>
          <p:cNvGraphicFramePr>
            <a:graphicFrameLocks noGrp="1"/>
          </p:cNvGraphicFramePr>
          <p:nvPr>
            <p:extLst>
              <p:ext uri="{D42A27DB-BD31-4B8C-83A1-F6EECF244321}">
                <p14:modId xmlns:p14="http://schemas.microsoft.com/office/powerpoint/2010/main" val="2930315784"/>
              </p:ext>
            </p:extLst>
          </p:nvPr>
        </p:nvGraphicFramePr>
        <p:xfrm>
          <a:off x="3751568" y="4812279"/>
          <a:ext cx="9747864" cy="4267200"/>
        </p:xfrm>
        <a:graphic>
          <a:graphicData uri="http://schemas.openxmlformats.org/drawingml/2006/table">
            <a:tbl>
              <a:tblPr firstRow="1" firstCol="1" bandRow="1">
                <a:tableStyleId>{5C22544A-7EE6-4342-B048-85BDC9FD1C3A}</a:tableStyleId>
              </a:tblPr>
              <a:tblGrid>
                <a:gridCol w="377768">
                  <a:extLst>
                    <a:ext uri="{9D8B030D-6E8A-4147-A177-3AD203B41FA5}">
                      <a16:colId xmlns:a16="http://schemas.microsoft.com/office/drawing/2014/main" val="2057160712"/>
                    </a:ext>
                  </a:extLst>
                </a:gridCol>
                <a:gridCol w="9370096">
                  <a:extLst>
                    <a:ext uri="{9D8B030D-6E8A-4147-A177-3AD203B41FA5}">
                      <a16:colId xmlns:a16="http://schemas.microsoft.com/office/drawing/2014/main" val="2360999157"/>
                    </a:ext>
                  </a:extLst>
                </a:gridCol>
              </a:tblGrid>
              <a:tr h="0">
                <a:tc gridSpan="2">
                  <a:txBody>
                    <a:bodyPr/>
                    <a:lstStyle/>
                    <a:p>
                      <a:r>
                        <a:rPr lang="en-US" sz="2000" kern="100" dirty="0">
                          <a:effectLst/>
                        </a:rPr>
                        <a:t>Fixed cost</a:t>
                      </a:r>
                      <a:endParaRPr lang="sv-SE" sz="2000" kern="100" dirty="0">
                        <a:solidFill>
                          <a:srgbClr val="404040"/>
                        </a:solidFill>
                        <a:effectLst/>
                        <a:latin typeface="Liberation Serif"/>
                        <a:ea typeface="Noto Sans CJK SC"/>
                        <a:cs typeface="Lohit Devanagari"/>
                      </a:endParaRPr>
                    </a:p>
                  </a:txBody>
                  <a:tcPr marL="68580" marR="68580" marT="0" marB="0"/>
                </a:tc>
                <a:tc hMerge="1">
                  <a:txBody>
                    <a:bodyPr/>
                    <a:lstStyle/>
                    <a:p>
                      <a:endParaRPr lang="sv-SE"/>
                    </a:p>
                  </a:txBody>
                  <a:tcPr/>
                </a:tc>
                <a:extLst>
                  <a:ext uri="{0D108BD9-81ED-4DB2-BD59-A6C34878D82A}">
                    <a16:rowId xmlns:a16="http://schemas.microsoft.com/office/drawing/2014/main" val="3586957858"/>
                  </a:ext>
                </a:extLst>
              </a:tr>
              <a:tr h="0">
                <a:tc>
                  <a:txBody>
                    <a:bodyPr/>
                    <a:lstStyle/>
                    <a:p>
                      <a:r>
                        <a:rPr lang="en-US" sz="2400" kern="100" dirty="0">
                          <a:effectLst/>
                        </a:rPr>
                        <a:t> </a:t>
                      </a:r>
                      <a:endParaRPr lang="sv-SE" sz="2400" kern="100" dirty="0">
                        <a:solidFill>
                          <a:srgbClr val="404040"/>
                        </a:solidFill>
                        <a:effectLst/>
                        <a:latin typeface="Liberation Serif"/>
                        <a:ea typeface="Noto Sans CJK SC"/>
                        <a:cs typeface="Lohit Devanagari"/>
                      </a:endParaRPr>
                    </a:p>
                  </a:txBody>
                  <a:tcPr marL="68580" marR="68580" marT="0" marB="0"/>
                </a:tc>
                <a:tc>
                  <a:txBody>
                    <a:bodyPr/>
                    <a:lstStyle/>
                    <a:p>
                      <a:r>
                        <a:rPr lang="en-US" sz="2000" kern="100">
                          <a:effectLst/>
                        </a:rPr>
                        <a:t>Investment and interest</a:t>
                      </a:r>
                      <a:endParaRPr lang="sv-SE" sz="2000" kern="100" dirty="0">
                        <a:solidFill>
                          <a:srgbClr val="404040"/>
                        </a:solidFill>
                        <a:effectLst/>
                        <a:latin typeface="Liberation Serif"/>
                        <a:ea typeface="Noto Sans CJK SC"/>
                        <a:cs typeface="Lohit Devanagari"/>
                      </a:endParaRPr>
                    </a:p>
                  </a:txBody>
                  <a:tcPr marL="68580" marR="68580" marT="0" marB="0"/>
                </a:tc>
                <a:extLst>
                  <a:ext uri="{0D108BD9-81ED-4DB2-BD59-A6C34878D82A}">
                    <a16:rowId xmlns:a16="http://schemas.microsoft.com/office/drawing/2014/main" val="551437130"/>
                  </a:ext>
                </a:extLst>
              </a:tr>
              <a:tr h="0">
                <a:tc>
                  <a:txBody>
                    <a:bodyPr/>
                    <a:lstStyle/>
                    <a:p>
                      <a:r>
                        <a:rPr lang="en-US" sz="2400" kern="100">
                          <a:effectLst/>
                        </a:rPr>
                        <a:t> </a:t>
                      </a:r>
                      <a:endParaRPr lang="sv-SE" sz="2400" kern="100">
                        <a:solidFill>
                          <a:srgbClr val="404040"/>
                        </a:solidFill>
                        <a:effectLst/>
                        <a:latin typeface="Liberation Serif"/>
                        <a:ea typeface="Noto Sans CJK SC"/>
                        <a:cs typeface="Lohit Devanagari"/>
                      </a:endParaRPr>
                    </a:p>
                  </a:txBody>
                  <a:tcPr marL="68580" marR="68580" marT="0" marB="0"/>
                </a:tc>
                <a:tc>
                  <a:txBody>
                    <a:bodyPr/>
                    <a:lstStyle/>
                    <a:p>
                      <a:r>
                        <a:rPr lang="en-US" sz="2000" kern="100">
                          <a:effectLst/>
                        </a:rPr>
                        <a:t>Maintenance</a:t>
                      </a:r>
                      <a:endParaRPr lang="sv-SE" sz="2000" kern="100">
                        <a:solidFill>
                          <a:srgbClr val="404040"/>
                        </a:solidFill>
                        <a:effectLst/>
                        <a:latin typeface="Liberation Serif"/>
                        <a:ea typeface="Noto Sans CJK SC"/>
                        <a:cs typeface="Lohit Devanagari"/>
                      </a:endParaRPr>
                    </a:p>
                  </a:txBody>
                  <a:tcPr marL="68580" marR="68580" marT="0" marB="0"/>
                </a:tc>
                <a:extLst>
                  <a:ext uri="{0D108BD9-81ED-4DB2-BD59-A6C34878D82A}">
                    <a16:rowId xmlns:a16="http://schemas.microsoft.com/office/drawing/2014/main" val="2484068859"/>
                  </a:ext>
                </a:extLst>
              </a:tr>
              <a:tr h="0">
                <a:tc>
                  <a:txBody>
                    <a:bodyPr/>
                    <a:lstStyle/>
                    <a:p>
                      <a:r>
                        <a:rPr lang="en-US" sz="2400" kern="100">
                          <a:effectLst/>
                        </a:rPr>
                        <a:t> </a:t>
                      </a:r>
                      <a:endParaRPr lang="sv-SE" sz="2400" kern="100">
                        <a:solidFill>
                          <a:srgbClr val="404040"/>
                        </a:solidFill>
                        <a:effectLst/>
                        <a:latin typeface="Liberation Serif"/>
                        <a:ea typeface="Noto Sans CJK SC"/>
                        <a:cs typeface="Lohit Devanagari"/>
                      </a:endParaRPr>
                    </a:p>
                  </a:txBody>
                  <a:tcPr marL="68580" marR="68580" marT="0" marB="0"/>
                </a:tc>
                <a:tc>
                  <a:txBody>
                    <a:bodyPr/>
                    <a:lstStyle/>
                    <a:p>
                      <a:r>
                        <a:rPr lang="en-US" sz="2000" kern="100" dirty="0">
                          <a:effectLst/>
                        </a:rPr>
                        <a:t>Cost of staff</a:t>
                      </a:r>
                      <a:endParaRPr lang="sv-SE" sz="2000" kern="100" dirty="0">
                        <a:solidFill>
                          <a:srgbClr val="404040"/>
                        </a:solidFill>
                        <a:effectLst/>
                        <a:latin typeface="Liberation Serif"/>
                        <a:ea typeface="Noto Sans CJK SC"/>
                        <a:cs typeface="Lohit Devanagari"/>
                      </a:endParaRPr>
                    </a:p>
                  </a:txBody>
                  <a:tcPr marL="68580" marR="68580" marT="0" marB="0"/>
                </a:tc>
                <a:extLst>
                  <a:ext uri="{0D108BD9-81ED-4DB2-BD59-A6C34878D82A}">
                    <a16:rowId xmlns:a16="http://schemas.microsoft.com/office/drawing/2014/main" val="1707502730"/>
                  </a:ext>
                </a:extLst>
              </a:tr>
              <a:tr h="0">
                <a:tc>
                  <a:txBody>
                    <a:bodyPr/>
                    <a:lstStyle/>
                    <a:p>
                      <a:r>
                        <a:rPr lang="en-US" sz="2400" kern="100" dirty="0">
                          <a:effectLst/>
                        </a:rPr>
                        <a:t> </a:t>
                      </a:r>
                      <a:endParaRPr lang="sv-SE" sz="2400" kern="100" dirty="0">
                        <a:solidFill>
                          <a:srgbClr val="404040"/>
                        </a:solidFill>
                        <a:effectLst/>
                        <a:latin typeface="Liberation Serif"/>
                        <a:ea typeface="Noto Sans CJK SC"/>
                        <a:cs typeface="Lohit Devanagari"/>
                      </a:endParaRPr>
                    </a:p>
                  </a:txBody>
                  <a:tcPr marL="68580" marR="68580" marT="0" marB="0"/>
                </a:tc>
                <a:tc>
                  <a:txBody>
                    <a:bodyPr/>
                    <a:lstStyle/>
                    <a:p>
                      <a:r>
                        <a:rPr lang="en-US" sz="2000" kern="100" dirty="0">
                          <a:effectLst/>
                        </a:rPr>
                        <a:t>Other: cost of permits, contracted costs and overhead e.g. R&amp;D</a:t>
                      </a:r>
                      <a:endParaRPr lang="sv-SE" sz="2000" kern="100" dirty="0">
                        <a:solidFill>
                          <a:srgbClr val="404040"/>
                        </a:solidFill>
                        <a:effectLst/>
                        <a:latin typeface="Liberation Serif"/>
                        <a:ea typeface="Noto Sans CJK SC"/>
                        <a:cs typeface="Lohit Devanagari"/>
                      </a:endParaRPr>
                    </a:p>
                  </a:txBody>
                  <a:tcPr marL="68580" marR="68580" marT="0" marB="0"/>
                </a:tc>
                <a:extLst>
                  <a:ext uri="{0D108BD9-81ED-4DB2-BD59-A6C34878D82A}">
                    <a16:rowId xmlns:a16="http://schemas.microsoft.com/office/drawing/2014/main" val="3042637799"/>
                  </a:ext>
                </a:extLst>
              </a:tr>
              <a:tr h="0">
                <a:tc gridSpan="2">
                  <a:txBody>
                    <a:bodyPr/>
                    <a:lstStyle/>
                    <a:p>
                      <a:r>
                        <a:rPr lang="en-US" sz="2000" kern="100" dirty="0">
                          <a:effectLst/>
                        </a:rPr>
                        <a:t>Variable cost</a:t>
                      </a:r>
                      <a:endParaRPr lang="sv-SE" sz="2000" kern="100" dirty="0">
                        <a:solidFill>
                          <a:srgbClr val="404040"/>
                        </a:solidFill>
                        <a:effectLst/>
                        <a:latin typeface="Liberation Serif"/>
                        <a:ea typeface="Noto Sans CJK SC"/>
                        <a:cs typeface="Lohit Devanagari"/>
                      </a:endParaRPr>
                    </a:p>
                  </a:txBody>
                  <a:tcPr marL="68580" marR="68580" marT="0" marB="0"/>
                </a:tc>
                <a:tc hMerge="1">
                  <a:txBody>
                    <a:bodyPr/>
                    <a:lstStyle/>
                    <a:p>
                      <a:endParaRPr lang="sv-SE"/>
                    </a:p>
                  </a:txBody>
                  <a:tcPr/>
                </a:tc>
                <a:extLst>
                  <a:ext uri="{0D108BD9-81ED-4DB2-BD59-A6C34878D82A}">
                    <a16:rowId xmlns:a16="http://schemas.microsoft.com/office/drawing/2014/main" val="1031637642"/>
                  </a:ext>
                </a:extLst>
              </a:tr>
              <a:tr h="0">
                <a:tc>
                  <a:txBody>
                    <a:bodyPr/>
                    <a:lstStyle/>
                    <a:p>
                      <a:r>
                        <a:rPr lang="en-US" sz="2400" kern="100" dirty="0">
                          <a:effectLst/>
                        </a:rPr>
                        <a:t> </a:t>
                      </a:r>
                      <a:endParaRPr lang="sv-SE" sz="2400" kern="100" dirty="0">
                        <a:solidFill>
                          <a:srgbClr val="404040"/>
                        </a:solidFill>
                        <a:effectLst/>
                        <a:latin typeface="Liberation Serif"/>
                        <a:ea typeface="Noto Sans CJK SC"/>
                        <a:cs typeface="Lohit Devanagari"/>
                      </a:endParaRPr>
                    </a:p>
                  </a:txBody>
                  <a:tcPr marL="68580" marR="68580" marT="0" marB="0"/>
                </a:tc>
                <a:tc>
                  <a:txBody>
                    <a:bodyPr/>
                    <a:lstStyle/>
                    <a:p>
                      <a:r>
                        <a:rPr lang="en-US" sz="2000" kern="100" dirty="0">
                          <a:effectLst/>
                        </a:rPr>
                        <a:t>Energy</a:t>
                      </a:r>
                      <a:endParaRPr lang="sv-SE" sz="2000" kern="100" dirty="0">
                        <a:solidFill>
                          <a:srgbClr val="404040"/>
                        </a:solidFill>
                        <a:effectLst/>
                        <a:latin typeface="Liberation Serif"/>
                        <a:ea typeface="Noto Sans CJK SC"/>
                        <a:cs typeface="Lohit Devanagari"/>
                      </a:endParaRPr>
                    </a:p>
                  </a:txBody>
                  <a:tcPr marL="68580" marR="68580" marT="0" marB="0"/>
                </a:tc>
                <a:extLst>
                  <a:ext uri="{0D108BD9-81ED-4DB2-BD59-A6C34878D82A}">
                    <a16:rowId xmlns:a16="http://schemas.microsoft.com/office/drawing/2014/main" val="1706302295"/>
                  </a:ext>
                </a:extLst>
              </a:tr>
              <a:tr h="0">
                <a:tc>
                  <a:txBody>
                    <a:bodyPr/>
                    <a:lstStyle/>
                    <a:p>
                      <a:r>
                        <a:rPr lang="en-US" sz="2400" kern="100" dirty="0">
                          <a:effectLst/>
                        </a:rPr>
                        <a:t> </a:t>
                      </a:r>
                      <a:endParaRPr lang="sv-SE" sz="2400" kern="100" dirty="0">
                        <a:solidFill>
                          <a:srgbClr val="404040"/>
                        </a:solidFill>
                        <a:effectLst/>
                        <a:latin typeface="Liberation Serif"/>
                        <a:ea typeface="Noto Sans CJK SC"/>
                        <a:cs typeface="Lohit Devanagari"/>
                      </a:endParaRPr>
                    </a:p>
                  </a:txBody>
                  <a:tcPr marL="68580" marR="68580" marT="0" marB="0"/>
                </a:tc>
                <a:tc>
                  <a:txBody>
                    <a:bodyPr/>
                    <a:lstStyle/>
                    <a:p>
                      <a:r>
                        <a:rPr lang="en-US" sz="2000" kern="100">
                          <a:effectLst/>
                        </a:rPr>
                        <a:t>Raw materials</a:t>
                      </a:r>
                      <a:endParaRPr lang="sv-SE" sz="2000" kern="100" dirty="0">
                        <a:solidFill>
                          <a:srgbClr val="404040"/>
                        </a:solidFill>
                        <a:effectLst/>
                        <a:latin typeface="Liberation Serif"/>
                        <a:ea typeface="Noto Sans CJK SC"/>
                        <a:cs typeface="Lohit Devanagari"/>
                      </a:endParaRPr>
                    </a:p>
                  </a:txBody>
                  <a:tcPr marL="68580" marR="68580" marT="0" marB="0"/>
                </a:tc>
                <a:extLst>
                  <a:ext uri="{0D108BD9-81ED-4DB2-BD59-A6C34878D82A}">
                    <a16:rowId xmlns:a16="http://schemas.microsoft.com/office/drawing/2014/main" val="2580741076"/>
                  </a:ext>
                </a:extLst>
              </a:tr>
              <a:tr h="0">
                <a:tc>
                  <a:txBody>
                    <a:bodyPr/>
                    <a:lstStyle/>
                    <a:p>
                      <a:r>
                        <a:rPr lang="en-US" sz="2400" kern="100" dirty="0">
                          <a:effectLst/>
                        </a:rPr>
                        <a:t> </a:t>
                      </a:r>
                      <a:endParaRPr lang="sv-SE" sz="2400" kern="100" dirty="0">
                        <a:solidFill>
                          <a:srgbClr val="404040"/>
                        </a:solidFill>
                        <a:effectLst/>
                        <a:latin typeface="Liberation Serif"/>
                        <a:ea typeface="Noto Sans CJK SC"/>
                        <a:cs typeface="Lohit Devanagari"/>
                      </a:endParaRPr>
                    </a:p>
                  </a:txBody>
                  <a:tcPr marL="68580" marR="68580" marT="0" marB="0"/>
                </a:tc>
                <a:tc>
                  <a:txBody>
                    <a:bodyPr/>
                    <a:lstStyle/>
                    <a:p>
                      <a:r>
                        <a:rPr lang="en-US" sz="2000" kern="100" dirty="0">
                          <a:effectLst/>
                        </a:rPr>
                        <a:t>Auxiliaries</a:t>
                      </a:r>
                      <a:endParaRPr lang="sv-SE" sz="2000" kern="100" dirty="0">
                        <a:solidFill>
                          <a:srgbClr val="404040"/>
                        </a:solidFill>
                        <a:effectLst/>
                        <a:latin typeface="Liberation Serif"/>
                        <a:ea typeface="Noto Sans CJK SC"/>
                        <a:cs typeface="Lohit Devanagari"/>
                      </a:endParaRPr>
                    </a:p>
                  </a:txBody>
                  <a:tcPr marL="68580" marR="68580" marT="0" marB="0"/>
                </a:tc>
                <a:extLst>
                  <a:ext uri="{0D108BD9-81ED-4DB2-BD59-A6C34878D82A}">
                    <a16:rowId xmlns:a16="http://schemas.microsoft.com/office/drawing/2014/main" val="50342675"/>
                  </a:ext>
                </a:extLst>
              </a:tr>
              <a:tr h="0">
                <a:tc>
                  <a:txBody>
                    <a:bodyPr/>
                    <a:lstStyle/>
                    <a:p>
                      <a:r>
                        <a:rPr lang="en-US" sz="2400" kern="100" dirty="0">
                          <a:effectLst/>
                        </a:rPr>
                        <a:t> </a:t>
                      </a:r>
                      <a:endParaRPr lang="sv-SE" sz="2400" kern="100" dirty="0">
                        <a:solidFill>
                          <a:srgbClr val="404040"/>
                        </a:solidFill>
                        <a:effectLst/>
                        <a:latin typeface="Liberation Serif"/>
                        <a:ea typeface="Noto Sans CJK SC"/>
                        <a:cs typeface="Lohit Devanagari"/>
                      </a:endParaRPr>
                    </a:p>
                  </a:txBody>
                  <a:tcPr marL="68580" marR="68580" marT="0" marB="0"/>
                </a:tc>
                <a:tc>
                  <a:txBody>
                    <a:bodyPr/>
                    <a:lstStyle/>
                    <a:p>
                      <a:r>
                        <a:rPr lang="en-US" sz="2000" kern="100" dirty="0">
                          <a:effectLst/>
                        </a:rPr>
                        <a:t>Waste management</a:t>
                      </a:r>
                      <a:endParaRPr lang="sv-SE" sz="2000" kern="100" dirty="0">
                        <a:solidFill>
                          <a:srgbClr val="404040"/>
                        </a:solidFill>
                        <a:effectLst/>
                        <a:latin typeface="Liberation Serif"/>
                        <a:ea typeface="Noto Sans CJK SC"/>
                        <a:cs typeface="Lohit Devanagari"/>
                      </a:endParaRPr>
                    </a:p>
                  </a:txBody>
                  <a:tcPr marL="68580" marR="68580" marT="0" marB="0"/>
                </a:tc>
                <a:extLst>
                  <a:ext uri="{0D108BD9-81ED-4DB2-BD59-A6C34878D82A}">
                    <a16:rowId xmlns:a16="http://schemas.microsoft.com/office/drawing/2014/main" val="3831768331"/>
                  </a:ext>
                </a:extLst>
              </a:tr>
              <a:tr h="0">
                <a:tc>
                  <a:txBody>
                    <a:bodyPr/>
                    <a:lstStyle/>
                    <a:p>
                      <a:r>
                        <a:rPr lang="en-US" sz="2400" kern="100" dirty="0">
                          <a:effectLst/>
                        </a:rPr>
                        <a:t> </a:t>
                      </a:r>
                      <a:endParaRPr lang="sv-SE" sz="2400" kern="100" dirty="0">
                        <a:solidFill>
                          <a:srgbClr val="404040"/>
                        </a:solidFill>
                        <a:effectLst/>
                        <a:latin typeface="Liberation Serif"/>
                        <a:ea typeface="Noto Sans CJK SC"/>
                        <a:cs typeface="Lohit Devanagari"/>
                      </a:endParaRPr>
                    </a:p>
                  </a:txBody>
                  <a:tcPr marL="68580" marR="68580" marT="0" marB="0"/>
                </a:tc>
                <a:tc>
                  <a:txBody>
                    <a:bodyPr/>
                    <a:lstStyle/>
                    <a:p>
                      <a:r>
                        <a:rPr lang="en-US" sz="2000" kern="100" dirty="0">
                          <a:effectLst/>
                        </a:rPr>
                        <a:t>Transportation</a:t>
                      </a:r>
                      <a:endParaRPr lang="sv-SE" sz="2000" kern="100" dirty="0">
                        <a:solidFill>
                          <a:srgbClr val="404040"/>
                        </a:solidFill>
                        <a:effectLst/>
                        <a:latin typeface="Liberation Serif"/>
                        <a:ea typeface="Noto Sans CJK SC"/>
                        <a:cs typeface="Lohit Devanagari"/>
                      </a:endParaRPr>
                    </a:p>
                  </a:txBody>
                  <a:tcPr marL="68580" marR="68580" marT="0" marB="0"/>
                </a:tc>
                <a:extLst>
                  <a:ext uri="{0D108BD9-81ED-4DB2-BD59-A6C34878D82A}">
                    <a16:rowId xmlns:a16="http://schemas.microsoft.com/office/drawing/2014/main" val="3096020286"/>
                  </a:ext>
                </a:extLst>
              </a:tr>
              <a:tr h="0">
                <a:tc>
                  <a:txBody>
                    <a:bodyPr/>
                    <a:lstStyle/>
                    <a:p>
                      <a:r>
                        <a:rPr lang="en-US" sz="2400" kern="100" dirty="0">
                          <a:effectLst/>
                        </a:rPr>
                        <a:t> </a:t>
                      </a:r>
                      <a:endParaRPr lang="sv-SE" sz="2400" kern="100" dirty="0">
                        <a:solidFill>
                          <a:srgbClr val="404040"/>
                        </a:solidFill>
                        <a:effectLst/>
                        <a:latin typeface="Liberation Serif"/>
                        <a:ea typeface="Noto Sans CJK SC"/>
                        <a:cs typeface="Lohit Devanagari"/>
                      </a:endParaRPr>
                    </a:p>
                  </a:txBody>
                  <a:tcPr marL="68580" marR="68580" marT="0" marB="0"/>
                </a:tc>
                <a:tc>
                  <a:txBody>
                    <a:bodyPr/>
                    <a:lstStyle/>
                    <a:p>
                      <a:r>
                        <a:rPr lang="en-US" sz="2000" kern="100" dirty="0">
                          <a:effectLst/>
                        </a:rPr>
                        <a:t>Revenue from by-products (income)</a:t>
                      </a:r>
                      <a:endParaRPr lang="sv-SE" sz="2000" kern="100" dirty="0">
                        <a:solidFill>
                          <a:srgbClr val="404040"/>
                        </a:solidFill>
                        <a:effectLst/>
                        <a:latin typeface="Liberation Serif"/>
                        <a:ea typeface="Noto Sans CJK SC"/>
                        <a:cs typeface="Lohit Devanagari"/>
                      </a:endParaRPr>
                    </a:p>
                  </a:txBody>
                  <a:tcPr marL="68580" marR="68580" marT="0" marB="0"/>
                </a:tc>
                <a:extLst>
                  <a:ext uri="{0D108BD9-81ED-4DB2-BD59-A6C34878D82A}">
                    <a16:rowId xmlns:a16="http://schemas.microsoft.com/office/drawing/2014/main" val="748580867"/>
                  </a:ext>
                </a:extLst>
              </a:tr>
            </a:tbl>
          </a:graphicData>
        </a:graphic>
      </p:graphicFrame>
    </p:spTree>
    <p:extLst>
      <p:ext uri="{BB962C8B-B14F-4D97-AF65-F5344CB8AC3E}">
        <p14:creationId xmlns:p14="http://schemas.microsoft.com/office/powerpoint/2010/main" val="3787926432"/>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6"/>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4"/>
          <a:srcRect/>
          <a:stretch>
            <a:fillRect/>
          </a:stretch>
        </p:blipFill>
        <p:spPr>
          <a:xfrm>
            <a:off x="0" y="8901113"/>
            <a:ext cx="5715000" cy="1385887"/>
          </a:xfrm>
          <a:prstGeom prst="rect">
            <a:avLst/>
          </a:prstGeom>
        </p:spPr>
      </p:pic>
      <p:grpSp>
        <p:nvGrpSpPr>
          <p:cNvPr id="3" name="Gruppo 2">
            <a:extLst>
              <a:ext uri="{FF2B5EF4-FFF2-40B4-BE49-F238E27FC236}">
                <a16:creationId xmlns:a16="http://schemas.microsoft.com/office/drawing/2014/main" id="{D0B44AFC-EABA-48CF-A7A8-348076F88921}"/>
              </a:ext>
            </a:extLst>
          </p:cNvPr>
          <p:cNvGrpSpPr/>
          <p:nvPr/>
        </p:nvGrpSpPr>
        <p:grpSpPr>
          <a:xfrm>
            <a:off x="-12" y="138554"/>
            <a:ext cx="18288002" cy="681138"/>
            <a:chOff x="-12" y="138554"/>
            <a:chExt cx="18288002" cy="681138"/>
          </a:xfrm>
        </p:grpSpPr>
        <p:grpSp>
          <p:nvGrpSpPr>
            <p:cNvPr id="16" name="Gruppo 15">
              <a:extLst>
                <a:ext uri="{FF2B5EF4-FFF2-40B4-BE49-F238E27FC236}">
                  <a16:creationId xmlns:a16="http://schemas.microsoft.com/office/drawing/2014/main" id="{DAC42A46-917D-41AB-8F07-E15E54D0F7D4}"/>
                </a:ext>
              </a:extLst>
            </p:cNvPr>
            <p:cNvGrpSpPr/>
            <p:nvPr/>
          </p:nvGrpSpPr>
          <p:grpSpPr>
            <a:xfrm>
              <a:off x="0" y="153125"/>
              <a:ext cx="13958844" cy="666567"/>
              <a:chOff x="0" y="153125"/>
              <a:chExt cx="13958844" cy="666567"/>
            </a:xfrm>
          </p:grpSpPr>
          <p:pic>
            <p:nvPicPr>
              <p:cNvPr id="10" name="Picture 10"/>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1" name="TextBox 11"/>
              <p:cNvSpPr txBox="1"/>
              <p:nvPr/>
            </p:nvSpPr>
            <p:spPr>
              <a:xfrm>
                <a:off x="228600" y="257980"/>
                <a:ext cx="8806218" cy="456856"/>
              </a:xfrm>
              <a:prstGeom prst="rect">
                <a:avLst/>
              </a:prstGeom>
            </p:spPr>
            <p:txBody>
              <a:bodyPr wrap="square" lIns="0" tIns="0" rIns="0" bIns="0" rtlCol="0" anchor="t">
                <a:spAutoFit/>
              </a:bodyPr>
              <a:lstStyle/>
              <a:p>
                <a:pPr>
                  <a:lnSpc>
                    <a:spcPts val="3919"/>
                  </a:lnSpc>
                  <a:spcBef>
                    <a:spcPct val="0"/>
                  </a:spcBef>
                </a:pPr>
                <a:endParaRPr lang="en-US" sz="2800" b="1">
                  <a:solidFill>
                    <a:srgbClr val="FFFFFF"/>
                  </a:solidFill>
                  <a:latin typeface="Arial" panose="020B0604020202020204" pitchFamily="34" charset="0"/>
                  <a:cs typeface="Arial" panose="020B0604020202020204" pitchFamily="34" charset="0"/>
                </a:endParaRPr>
              </a:p>
            </p:txBody>
          </p:sp>
        </p:grpSp>
        <p:sp>
          <p:nvSpPr>
            <p:cNvPr id="15" name="Rettangolo 14">
              <a:extLst>
                <a:ext uri="{FF2B5EF4-FFF2-40B4-BE49-F238E27FC236}">
                  <a16:creationId xmlns:a16="http://schemas.microsoft.com/office/drawing/2014/main" id="{AFFDA913-633F-49C2-9D71-573FB327981F}"/>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7" name="TextBox 13">
            <a:extLst>
              <a:ext uri="{FF2B5EF4-FFF2-40B4-BE49-F238E27FC236}">
                <a16:creationId xmlns:a16="http://schemas.microsoft.com/office/drawing/2014/main" id="{C7197FAA-9C82-4C25-B208-2BF8170DA3D1}"/>
              </a:ext>
            </a:extLst>
          </p:cNvPr>
          <p:cNvSpPr txBox="1"/>
          <p:nvPr/>
        </p:nvSpPr>
        <p:spPr>
          <a:xfrm>
            <a:off x="838188" y="850387"/>
            <a:ext cx="17068812" cy="1052468"/>
          </a:xfrm>
          <a:prstGeom prst="rect">
            <a:avLst/>
          </a:prstGeom>
        </p:spPr>
        <p:txBody>
          <a:bodyPr wrap="square" lIns="0" tIns="0" rIns="0" bIns="0" rtlCol="0" anchor="t">
            <a:spAutoFit/>
          </a:bodyPr>
          <a:lstStyle/>
          <a:p>
            <a:pPr algn="ctr">
              <a:lnSpc>
                <a:spcPts val="8960"/>
              </a:lnSpc>
              <a:spcBef>
                <a:spcPct val="0"/>
              </a:spcBef>
            </a:pPr>
            <a:r>
              <a:rPr lang="en-US" sz="6400" b="1" dirty="0">
                <a:solidFill>
                  <a:srgbClr val="CC0033"/>
                </a:solidFill>
                <a:latin typeface="+mj-lt"/>
                <a:cs typeface="Arial" panose="020B0604020202020204" pitchFamily="34" charset="0"/>
              </a:rPr>
              <a:t>Environmental Life Cycle Cost (</a:t>
            </a:r>
            <a:r>
              <a:rPr lang="en-US" sz="6400" b="1" dirty="0" err="1">
                <a:solidFill>
                  <a:srgbClr val="CC0033"/>
                </a:solidFill>
                <a:latin typeface="+mj-lt"/>
                <a:cs typeface="Arial" panose="020B0604020202020204" pitchFamily="34" charset="0"/>
              </a:rPr>
              <a:t>eLCC</a:t>
            </a:r>
            <a:r>
              <a:rPr lang="en-US" sz="6400" b="1" dirty="0">
                <a:solidFill>
                  <a:srgbClr val="CC0033"/>
                </a:solidFill>
                <a:latin typeface="+mj-lt"/>
                <a:cs typeface="Arial" panose="020B0604020202020204" pitchFamily="34" charset="0"/>
              </a:rPr>
              <a:t>)</a:t>
            </a:r>
          </a:p>
        </p:txBody>
      </p:sp>
      <p:grpSp>
        <p:nvGrpSpPr>
          <p:cNvPr id="5" name="Group 4">
            <a:extLst>
              <a:ext uri="{FF2B5EF4-FFF2-40B4-BE49-F238E27FC236}">
                <a16:creationId xmlns:a16="http://schemas.microsoft.com/office/drawing/2014/main" id="{6D96D3AE-7D8D-2269-DC8A-B4F448921A26}"/>
              </a:ext>
            </a:extLst>
          </p:cNvPr>
          <p:cNvGrpSpPr/>
          <p:nvPr/>
        </p:nvGrpSpPr>
        <p:grpSpPr>
          <a:xfrm>
            <a:off x="2136969" y="6343806"/>
            <a:ext cx="13729197" cy="1390143"/>
            <a:chOff x="704033" y="4147413"/>
            <a:chExt cx="13729197" cy="1390143"/>
          </a:xfrm>
        </p:grpSpPr>
        <p:pic>
          <p:nvPicPr>
            <p:cNvPr id="8" name="Graphic 4" descr="Aspiration with solid fill">
              <a:extLst>
                <a:ext uri="{FF2B5EF4-FFF2-40B4-BE49-F238E27FC236}">
                  <a16:creationId xmlns:a16="http://schemas.microsoft.com/office/drawing/2014/main" id="{B97B2C99-BEA0-CD0C-2636-39B5B96DE946}"/>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04033" y="4508856"/>
              <a:ext cx="1028700" cy="1028700"/>
            </a:xfrm>
            <a:prstGeom prst="rect">
              <a:avLst/>
            </a:prstGeom>
          </p:spPr>
        </p:pic>
        <p:sp>
          <p:nvSpPr>
            <p:cNvPr id="9" name="TextBox 5">
              <a:extLst>
                <a:ext uri="{FF2B5EF4-FFF2-40B4-BE49-F238E27FC236}">
                  <a16:creationId xmlns:a16="http://schemas.microsoft.com/office/drawing/2014/main" id="{C9EFDC16-D673-993D-3A9F-909A9190466C}"/>
                </a:ext>
              </a:extLst>
            </p:cNvPr>
            <p:cNvSpPr txBox="1"/>
            <p:nvPr/>
          </p:nvSpPr>
          <p:spPr>
            <a:xfrm>
              <a:off x="2171915" y="4147413"/>
              <a:ext cx="12261315" cy="1015663"/>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457200" indent="-457200">
                <a:buFont typeface="Arial"/>
                <a:buChar char="•"/>
              </a:pPr>
              <a:r>
                <a:rPr lang="sv-SE" sz="3000" dirty="0" err="1">
                  <a:cs typeface="Arial"/>
                </a:rPr>
                <a:t>What</a:t>
              </a:r>
              <a:r>
                <a:rPr lang="sv-SE" sz="3000" dirty="0">
                  <a:cs typeface="Arial"/>
                </a:rPr>
                <a:t> </a:t>
              </a:r>
              <a:r>
                <a:rPr lang="sv-SE" sz="3000" dirty="0" err="1">
                  <a:cs typeface="Arial"/>
                </a:rPr>
                <a:t>are</a:t>
              </a:r>
              <a:r>
                <a:rPr lang="sv-SE" sz="3000" dirty="0">
                  <a:cs typeface="Arial"/>
                </a:rPr>
                <a:t> the hot </a:t>
              </a:r>
              <a:r>
                <a:rPr lang="sv-SE" sz="3000" dirty="0" err="1">
                  <a:cs typeface="Arial"/>
                </a:rPr>
                <a:t>spots</a:t>
              </a:r>
              <a:r>
                <a:rPr lang="sv-SE" sz="3000" dirty="0">
                  <a:cs typeface="Arial"/>
                </a:rPr>
                <a:t> </a:t>
              </a:r>
              <a:r>
                <a:rPr lang="sv-SE" sz="3000" dirty="0" err="1">
                  <a:cs typeface="Arial"/>
                </a:rPr>
                <a:t>regarding</a:t>
              </a:r>
              <a:r>
                <a:rPr lang="sv-SE" sz="3000" dirty="0">
                  <a:cs typeface="Arial"/>
                </a:rPr>
                <a:t> </a:t>
              </a:r>
              <a:r>
                <a:rPr lang="sv-SE" sz="3000" dirty="0" err="1">
                  <a:cs typeface="Arial"/>
                </a:rPr>
                <a:t>cost</a:t>
              </a:r>
              <a:r>
                <a:rPr lang="sv-SE" sz="3000" dirty="0">
                  <a:cs typeface="Arial"/>
                </a:rPr>
                <a:t>?</a:t>
              </a:r>
            </a:p>
            <a:p>
              <a:pPr marL="457200" indent="-457200">
                <a:buFont typeface="Arial"/>
                <a:buChar char="•"/>
              </a:pPr>
              <a:r>
                <a:rPr lang="sv-SE" sz="3000" dirty="0">
                  <a:cs typeface="Arial"/>
                </a:rPr>
                <a:t>Will the </a:t>
              </a:r>
              <a:r>
                <a:rPr lang="sv-SE" sz="3000" dirty="0" err="1">
                  <a:cs typeface="Arial"/>
                </a:rPr>
                <a:t>retrofit</a:t>
              </a:r>
              <a:r>
                <a:rPr lang="sv-SE" sz="3000" dirty="0">
                  <a:cs typeface="Arial"/>
                </a:rPr>
                <a:t> solution </a:t>
              </a:r>
              <a:r>
                <a:rPr lang="sv-SE" sz="3000" dirty="0" err="1">
                  <a:cs typeface="Arial"/>
                </a:rPr>
                <a:t>lead</a:t>
              </a:r>
              <a:r>
                <a:rPr lang="sv-SE" sz="3000" dirty="0">
                  <a:cs typeface="Arial"/>
                </a:rPr>
                <a:t> to a </a:t>
              </a:r>
              <a:r>
                <a:rPr lang="sv-SE" sz="3000" dirty="0" err="1">
                  <a:cs typeface="Arial"/>
                </a:rPr>
                <a:t>decrease</a:t>
              </a:r>
              <a:r>
                <a:rPr lang="sv-SE" sz="3000" dirty="0">
                  <a:cs typeface="Arial"/>
                </a:rPr>
                <a:t> or </a:t>
              </a:r>
              <a:r>
                <a:rPr lang="sv-SE" sz="3000" dirty="0" err="1">
                  <a:cs typeface="Arial"/>
                </a:rPr>
                <a:t>increase</a:t>
              </a:r>
              <a:r>
                <a:rPr lang="sv-SE" sz="3000" dirty="0">
                  <a:cs typeface="Arial"/>
                </a:rPr>
                <a:t> in LCC?</a:t>
              </a:r>
            </a:p>
          </p:txBody>
        </p:sp>
      </p:grpSp>
      <p:pic>
        <p:nvPicPr>
          <p:cNvPr id="6" name="Graphic 6" descr="Lights On with solid fill">
            <a:extLst>
              <a:ext uri="{FF2B5EF4-FFF2-40B4-BE49-F238E27FC236}">
                <a16:creationId xmlns:a16="http://schemas.microsoft.com/office/drawing/2014/main" id="{61BC807E-240A-4336-220D-56080231989E}"/>
              </a:ext>
            </a:extLst>
          </p:cNvPr>
          <p:cNvPicPr>
            <a:picLocks noChangeAspect="1"/>
          </p:cNvPicPr>
          <p:nvPr/>
        </p:nvPicPr>
        <p:blipFill>
          <a:blip r:embed="rId8" cstate="hq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327939" y="2449054"/>
            <a:ext cx="1190593" cy="1181224"/>
          </a:xfrm>
          <a:prstGeom prst="rect">
            <a:avLst/>
          </a:prstGeom>
        </p:spPr>
      </p:pic>
      <p:sp>
        <p:nvSpPr>
          <p:cNvPr id="7" name="TextBox 7">
            <a:extLst>
              <a:ext uri="{FF2B5EF4-FFF2-40B4-BE49-F238E27FC236}">
                <a16:creationId xmlns:a16="http://schemas.microsoft.com/office/drawing/2014/main" id="{44FCB781-B53E-1D72-D3FB-CE7144DB4718}"/>
              </a:ext>
            </a:extLst>
          </p:cNvPr>
          <p:cNvSpPr txBox="1"/>
          <p:nvPr/>
        </p:nvSpPr>
        <p:spPr>
          <a:xfrm>
            <a:off x="3567873" y="2357609"/>
            <a:ext cx="11218561" cy="3323987"/>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457200" indent="-457200">
              <a:buFont typeface="Arial"/>
              <a:buChar char="•"/>
            </a:pPr>
            <a:r>
              <a:rPr lang="en-GB" sz="3000" dirty="0">
                <a:cs typeface="Arial"/>
              </a:rPr>
              <a:t>The goal in this project is to assess the core processes life cycle cost before and after retrofit to identify financial hot spots and then to compare the LCC before and after the retrofit to assess the impact.  </a:t>
            </a:r>
          </a:p>
          <a:p>
            <a:pPr marL="457200" indent="-457200">
              <a:buFont typeface="Arial"/>
              <a:buChar char="•"/>
            </a:pPr>
            <a:r>
              <a:rPr lang="en-GB" sz="3000" dirty="0">
                <a:cs typeface="Arial"/>
              </a:rPr>
              <a:t>Evaluate the retrofit action from a life cycle cost perspective.</a:t>
            </a:r>
          </a:p>
          <a:p>
            <a:pPr marL="457200" indent="-457200">
              <a:buFont typeface="Arial"/>
              <a:buChar char="•"/>
            </a:pPr>
            <a:r>
              <a:rPr lang="en-GB" sz="3000" dirty="0">
                <a:cs typeface="Arial"/>
              </a:rPr>
              <a:t>Takes the cost of environmental impacts into account caused by the product (externalities). </a:t>
            </a:r>
          </a:p>
        </p:txBody>
      </p:sp>
      <p:sp>
        <p:nvSpPr>
          <p:cNvPr id="12" name="TextBox 11">
            <a:extLst>
              <a:ext uri="{FF2B5EF4-FFF2-40B4-BE49-F238E27FC236}">
                <a16:creationId xmlns:a16="http://schemas.microsoft.com/office/drawing/2014/main" id="{A0A6E3B6-30D3-7265-F673-27D022084A24}"/>
              </a:ext>
            </a:extLst>
          </p:cNvPr>
          <p:cNvSpPr txBox="1"/>
          <p:nvPr/>
        </p:nvSpPr>
        <p:spPr>
          <a:xfrm>
            <a:off x="614149" y="2690377"/>
            <a:ext cx="1664277" cy="369332"/>
          </a:xfrm>
          <a:prstGeom prst="rect">
            <a:avLst/>
          </a:prstGeom>
          <a:noFill/>
        </p:spPr>
        <p:txBody>
          <a:bodyPr wrap="square" rtlCol="0">
            <a:spAutoFit/>
          </a:bodyPr>
          <a:lstStyle/>
          <a:p>
            <a:r>
              <a:rPr lang="sv-SE" dirty="0"/>
              <a:t>WHY?</a:t>
            </a:r>
            <a:endParaRPr lang="en-GB" dirty="0"/>
          </a:p>
        </p:txBody>
      </p:sp>
      <p:sp>
        <p:nvSpPr>
          <p:cNvPr id="14" name="TextBox 13">
            <a:extLst>
              <a:ext uri="{FF2B5EF4-FFF2-40B4-BE49-F238E27FC236}">
                <a16:creationId xmlns:a16="http://schemas.microsoft.com/office/drawing/2014/main" id="{1BC80FDE-EC8E-7689-934F-B63724626323}"/>
              </a:ext>
            </a:extLst>
          </p:cNvPr>
          <p:cNvSpPr txBox="1"/>
          <p:nvPr/>
        </p:nvSpPr>
        <p:spPr>
          <a:xfrm>
            <a:off x="630412" y="6618086"/>
            <a:ext cx="1664277" cy="646331"/>
          </a:xfrm>
          <a:prstGeom prst="rect">
            <a:avLst/>
          </a:prstGeom>
          <a:noFill/>
        </p:spPr>
        <p:txBody>
          <a:bodyPr wrap="square" rtlCol="0">
            <a:spAutoFit/>
          </a:bodyPr>
          <a:lstStyle/>
          <a:p>
            <a:r>
              <a:rPr lang="sv-SE" dirty="0"/>
              <a:t>ISSUES IN FOCUS</a:t>
            </a:r>
            <a:endParaRPr lang="en-GB" dirty="0"/>
          </a:p>
        </p:txBody>
      </p:sp>
    </p:spTree>
    <p:extLst>
      <p:ext uri="{BB962C8B-B14F-4D97-AF65-F5344CB8AC3E}">
        <p14:creationId xmlns:p14="http://schemas.microsoft.com/office/powerpoint/2010/main" val="2749979014"/>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6"/>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2"/>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3"/>
          <a:srcRect/>
          <a:stretch>
            <a:fillRect/>
          </a:stretch>
        </p:blipFill>
        <p:spPr>
          <a:xfrm>
            <a:off x="0" y="8901113"/>
            <a:ext cx="5715000" cy="1385887"/>
          </a:xfrm>
          <a:prstGeom prst="rect">
            <a:avLst/>
          </a:prstGeom>
        </p:spPr>
      </p:pic>
      <p:grpSp>
        <p:nvGrpSpPr>
          <p:cNvPr id="3" name="Gruppo 2">
            <a:extLst>
              <a:ext uri="{FF2B5EF4-FFF2-40B4-BE49-F238E27FC236}">
                <a16:creationId xmlns:a16="http://schemas.microsoft.com/office/drawing/2014/main" id="{D0B44AFC-EABA-48CF-A7A8-348076F88921}"/>
              </a:ext>
            </a:extLst>
          </p:cNvPr>
          <p:cNvGrpSpPr/>
          <p:nvPr/>
        </p:nvGrpSpPr>
        <p:grpSpPr>
          <a:xfrm>
            <a:off x="-12" y="138554"/>
            <a:ext cx="18288002" cy="681138"/>
            <a:chOff x="-12" y="138554"/>
            <a:chExt cx="18288002" cy="681138"/>
          </a:xfrm>
        </p:grpSpPr>
        <p:grpSp>
          <p:nvGrpSpPr>
            <p:cNvPr id="16" name="Gruppo 15">
              <a:extLst>
                <a:ext uri="{FF2B5EF4-FFF2-40B4-BE49-F238E27FC236}">
                  <a16:creationId xmlns:a16="http://schemas.microsoft.com/office/drawing/2014/main" id="{DAC42A46-917D-41AB-8F07-E15E54D0F7D4}"/>
                </a:ext>
              </a:extLst>
            </p:cNvPr>
            <p:cNvGrpSpPr/>
            <p:nvPr/>
          </p:nvGrpSpPr>
          <p:grpSpPr>
            <a:xfrm>
              <a:off x="0" y="153125"/>
              <a:ext cx="13958844" cy="666567"/>
              <a:chOff x="0" y="153125"/>
              <a:chExt cx="13958844" cy="666567"/>
            </a:xfrm>
          </p:grpSpPr>
          <p:pic>
            <p:nvPicPr>
              <p:cNvPr id="10" name="Picture 10"/>
              <p:cNvPicPr>
                <a:picLocks noChangeAspect="1"/>
              </p:cNvPicPr>
              <p:nvPr/>
            </p:nvPicPr>
            <p:blipFill>
              <a:blip r:embed="rId4"/>
              <a:srcRect l="134" t="91287" b="3943"/>
              <a:stretch>
                <a:fillRect/>
              </a:stretch>
            </p:blipFill>
            <p:spPr>
              <a:xfrm>
                <a:off x="0" y="153125"/>
                <a:ext cx="13958844" cy="666567"/>
              </a:xfrm>
              <a:prstGeom prst="rect">
                <a:avLst/>
              </a:prstGeom>
            </p:spPr>
          </p:pic>
          <p:sp>
            <p:nvSpPr>
              <p:cNvPr id="11" name="TextBox 11"/>
              <p:cNvSpPr txBox="1"/>
              <p:nvPr/>
            </p:nvSpPr>
            <p:spPr>
              <a:xfrm>
                <a:off x="228600" y="257980"/>
                <a:ext cx="10034516" cy="456856"/>
              </a:xfrm>
              <a:prstGeom prst="rect">
                <a:avLst/>
              </a:prstGeom>
            </p:spPr>
            <p:txBody>
              <a:bodyPr wrap="square" lIns="0" tIns="0" rIns="0" bIns="0" rtlCol="0" anchor="t">
                <a:spAutoFit/>
              </a:bodyPr>
              <a:lstStyle/>
              <a:p>
                <a:pPr>
                  <a:lnSpc>
                    <a:spcPts val="3919"/>
                  </a:lnSpc>
                  <a:spcBef>
                    <a:spcPct val="0"/>
                  </a:spcBef>
                </a:pPr>
                <a:endParaRPr lang="en-US" sz="2800" b="1">
                  <a:solidFill>
                    <a:srgbClr val="FFFFFF"/>
                  </a:solidFill>
                  <a:latin typeface="Arial" panose="020B0604020202020204" pitchFamily="34" charset="0"/>
                  <a:cs typeface="Arial" panose="020B0604020202020204" pitchFamily="34" charset="0"/>
                </a:endParaRPr>
              </a:p>
            </p:txBody>
          </p:sp>
        </p:grpSp>
        <p:sp>
          <p:nvSpPr>
            <p:cNvPr id="15" name="Rettangolo 14">
              <a:extLst>
                <a:ext uri="{FF2B5EF4-FFF2-40B4-BE49-F238E27FC236}">
                  <a16:creationId xmlns:a16="http://schemas.microsoft.com/office/drawing/2014/main" id="{AFFDA913-633F-49C2-9D71-573FB327981F}"/>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7" name="TextBox 13">
            <a:extLst>
              <a:ext uri="{FF2B5EF4-FFF2-40B4-BE49-F238E27FC236}">
                <a16:creationId xmlns:a16="http://schemas.microsoft.com/office/drawing/2014/main" id="{C7197FAA-9C82-4C25-B208-2BF8170DA3D1}"/>
              </a:ext>
            </a:extLst>
          </p:cNvPr>
          <p:cNvSpPr txBox="1"/>
          <p:nvPr/>
        </p:nvSpPr>
        <p:spPr>
          <a:xfrm>
            <a:off x="838188" y="850387"/>
            <a:ext cx="17068812" cy="1052468"/>
          </a:xfrm>
          <a:prstGeom prst="rect">
            <a:avLst/>
          </a:prstGeom>
        </p:spPr>
        <p:txBody>
          <a:bodyPr wrap="square" lIns="0" tIns="0" rIns="0" bIns="0" rtlCol="0" anchor="t">
            <a:spAutoFit/>
          </a:bodyPr>
          <a:lstStyle/>
          <a:p>
            <a:pPr algn="ctr">
              <a:lnSpc>
                <a:spcPts val="8960"/>
              </a:lnSpc>
              <a:spcBef>
                <a:spcPct val="0"/>
              </a:spcBef>
            </a:pPr>
            <a:r>
              <a:rPr lang="en-US" sz="6400" b="1" dirty="0">
                <a:solidFill>
                  <a:srgbClr val="CC0033"/>
                </a:solidFill>
                <a:latin typeface="+mj-lt"/>
                <a:cs typeface="Arial" panose="020B0604020202020204" pitchFamily="34" charset="0"/>
              </a:rPr>
              <a:t>The importance of </a:t>
            </a:r>
            <a:r>
              <a:rPr lang="en-US" sz="6400" b="1" dirty="0" err="1">
                <a:solidFill>
                  <a:srgbClr val="CC0033"/>
                </a:solidFill>
                <a:latin typeface="+mj-lt"/>
                <a:cs typeface="Arial" panose="020B0604020202020204" pitchFamily="34" charset="0"/>
              </a:rPr>
              <a:t>eLCC</a:t>
            </a:r>
            <a:endParaRPr lang="en-US" sz="6400" b="1" dirty="0">
              <a:solidFill>
                <a:srgbClr val="CC0033"/>
              </a:solidFill>
              <a:latin typeface="+mj-lt"/>
              <a:cs typeface="Arial" panose="020B0604020202020204" pitchFamily="34" charset="0"/>
            </a:endParaRPr>
          </a:p>
        </p:txBody>
      </p:sp>
      <p:sp>
        <p:nvSpPr>
          <p:cNvPr id="12" name="Title 1">
            <a:extLst>
              <a:ext uri="{FF2B5EF4-FFF2-40B4-BE49-F238E27FC236}">
                <a16:creationId xmlns:a16="http://schemas.microsoft.com/office/drawing/2014/main" id="{4785615A-27F7-B312-B259-C312A550C493}"/>
              </a:ext>
            </a:extLst>
          </p:cNvPr>
          <p:cNvSpPr>
            <a:spLocks noGrp="1"/>
          </p:cNvSpPr>
          <p:nvPr/>
        </p:nvSpPr>
        <p:spPr>
          <a:xfrm>
            <a:off x="1301398" y="1903581"/>
            <a:ext cx="11159231" cy="913258"/>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3400" kern="1200">
                <a:solidFill>
                  <a:srgbClr val="540425"/>
                </a:solidFill>
                <a:latin typeface="Tenorite" panose="00000500000000000000" pitchFamily="2" charset="0"/>
                <a:ea typeface="+mj-ea"/>
                <a:cs typeface="+mj-cs"/>
              </a:defRPr>
            </a:lvl1pPr>
          </a:lstStyle>
          <a:p>
            <a:r>
              <a:rPr lang="sv-SE" b="1" dirty="0">
                <a:solidFill>
                  <a:schemeClr val="tx1"/>
                </a:solidFill>
                <a:latin typeface="Arial"/>
                <a:cs typeface="Arial"/>
              </a:rPr>
              <a:t>The </a:t>
            </a:r>
            <a:r>
              <a:rPr lang="sv-SE" b="1" dirty="0" err="1">
                <a:solidFill>
                  <a:schemeClr val="tx1"/>
                </a:solidFill>
                <a:latin typeface="Arial"/>
                <a:cs typeface="Arial"/>
              </a:rPr>
              <a:t>importance</a:t>
            </a:r>
            <a:r>
              <a:rPr lang="sv-SE" b="1" dirty="0">
                <a:solidFill>
                  <a:schemeClr val="tx1"/>
                </a:solidFill>
                <a:latin typeface="Arial"/>
                <a:cs typeface="Arial"/>
              </a:rPr>
              <a:t> </a:t>
            </a:r>
            <a:r>
              <a:rPr lang="sv-SE" b="1" dirty="0" err="1">
                <a:solidFill>
                  <a:schemeClr val="tx1"/>
                </a:solidFill>
                <a:latin typeface="Arial"/>
                <a:cs typeface="Arial"/>
              </a:rPr>
              <a:t>of</a:t>
            </a:r>
            <a:r>
              <a:rPr lang="sv-SE" b="1" dirty="0">
                <a:solidFill>
                  <a:schemeClr val="tx1"/>
                </a:solidFill>
                <a:latin typeface="Arial"/>
                <a:cs typeface="Arial"/>
              </a:rPr>
              <a:t> </a:t>
            </a:r>
            <a:r>
              <a:rPr lang="sv-SE" b="1" dirty="0" err="1">
                <a:solidFill>
                  <a:schemeClr val="tx1"/>
                </a:solidFill>
                <a:latin typeface="Arial"/>
                <a:cs typeface="Arial"/>
              </a:rPr>
              <a:t>eLCC</a:t>
            </a:r>
            <a:endParaRPr lang="en-GB" b="1" dirty="0">
              <a:solidFill>
                <a:schemeClr val="tx1"/>
              </a:solidFill>
              <a:latin typeface="Arial"/>
              <a:cs typeface="Arial"/>
            </a:endParaRPr>
          </a:p>
        </p:txBody>
      </p:sp>
      <p:sp>
        <p:nvSpPr>
          <p:cNvPr id="13" name="Content Placeholder 2">
            <a:extLst>
              <a:ext uri="{FF2B5EF4-FFF2-40B4-BE49-F238E27FC236}">
                <a16:creationId xmlns:a16="http://schemas.microsoft.com/office/drawing/2014/main" id="{9B592619-6742-5FC2-0EBA-F45FB5EF8928}"/>
              </a:ext>
            </a:extLst>
          </p:cNvPr>
          <p:cNvSpPr>
            <a:spLocks noGrp="1"/>
          </p:cNvSpPr>
          <p:nvPr/>
        </p:nvSpPr>
        <p:spPr>
          <a:xfrm>
            <a:off x="1385717" y="3569861"/>
            <a:ext cx="12492731" cy="4658881"/>
          </a:xfrm>
          <a:prstGeom prst="rect">
            <a:avLst/>
          </a:prstGeom>
        </p:spPr>
        <p:txBody>
          <a:bodyPr vert="horz" lIns="91440" tIns="45720" rIns="91440" bIns="45720" rtlCol="0" anchor="t">
            <a:normAutofit/>
          </a:bodyPr>
          <a:lstStyle>
            <a:lvl1pPr marL="0" indent="0" algn="l" defTabSz="914400" rtl="0" eaLnBrk="1" latinLnBrk="0" hangingPunct="1">
              <a:lnSpc>
                <a:spcPct val="90000"/>
              </a:lnSpc>
              <a:spcBef>
                <a:spcPts val="1500"/>
              </a:spcBef>
              <a:buClr>
                <a:schemeClr val="bg1"/>
              </a:buClr>
              <a:buFont typeface="Arial" panose="020B0604020202020204" pitchFamily="34" charset="0"/>
              <a:buChar char="•"/>
              <a:defRPr sz="2800" b="0" kern="1200">
                <a:solidFill>
                  <a:srgbClr val="540425"/>
                </a:solidFill>
                <a:latin typeface="Tenorite" panose="00000500000000000000" pitchFamily="2" charset="0"/>
                <a:ea typeface="+mn-ea"/>
                <a:cs typeface="+mn-cs"/>
              </a:defRPr>
            </a:lvl1pPr>
            <a:lvl2pPr marL="685800" indent="-228600" algn="l" defTabSz="914400" rtl="0" eaLnBrk="1" latinLnBrk="0" hangingPunct="1">
              <a:lnSpc>
                <a:spcPct val="90000"/>
              </a:lnSpc>
              <a:spcBef>
                <a:spcPts val="1500"/>
              </a:spcBef>
              <a:buClr>
                <a:srgbClr val="CF8F3F"/>
              </a:buClr>
              <a:buFont typeface="Arial" panose="020B0604020202020204" pitchFamily="34" charset="0"/>
              <a:buChar char="•"/>
              <a:defRPr sz="2000" kern="1200">
                <a:solidFill>
                  <a:srgbClr val="540425"/>
                </a:solidFill>
                <a:latin typeface="Tenorite" panose="00000500000000000000" pitchFamily="2" charset="0"/>
                <a:ea typeface="+mn-ea"/>
                <a:cs typeface="+mn-cs"/>
              </a:defRPr>
            </a:lvl2pPr>
            <a:lvl3pPr marL="1143000" indent="-228600" algn="l" defTabSz="914400" rtl="0" eaLnBrk="1" latinLnBrk="0" hangingPunct="1">
              <a:lnSpc>
                <a:spcPct val="90000"/>
              </a:lnSpc>
              <a:spcBef>
                <a:spcPts val="1500"/>
              </a:spcBef>
              <a:buClr>
                <a:srgbClr val="CF8F3F"/>
              </a:buClr>
              <a:buFont typeface="Arial" panose="020B0604020202020204" pitchFamily="34" charset="0"/>
              <a:buChar char="•"/>
              <a:defRPr sz="1800" kern="1200">
                <a:solidFill>
                  <a:srgbClr val="540425"/>
                </a:solidFill>
                <a:latin typeface="Tenorite" panose="00000500000000000000" pitchFamily="2" charset="0"/>
                <a:ea typeface="+mn-ea"/>
                <a:cs typeface="+mn-cs"/>
              </a:defRPr>
            </a:lvl3pPr>
            <a:lvl4pPr marL="1600200" indent="-228600" algn="l" defTabSz="914400" rtl="0" eaLnBrk="1" latinLnBrk="0" hangingPunct="1">
              <a:lnSpc>
                <a:spcPct val="90000"/>
              </a:lnSpc>
              <a:spcBef>
                <a:spcPts val="500"/>
              </a:spcBef>
              <a:buClr>
                <a:srgbClr val="CF8F3F"/>
              </a:buClr>
              <a:buFont typeface="Arial" panose="020B0604020202020204" pitchFamily="34" charset="0"/>
              <a:buChar char="•"/>
              <a:defRPr sz="1600" kern="1200">
                <a:solidFill>
                  <a:srgbClr val="540425"/>
                </a:solidFill>
                <a:latin typeface="Tenorite" panose="00000500000000000000" pitchFamily="2" charset="0"/>
                <a:ea typeface="+mn-ea"/>
                <a:cs typeface="+mn-cs"/>
              </a:defRPr>
            </a:lvl4pPr>
            <a:lvl5pPr marL="2057400" indent="-228600" algn="l" defTabSz="914400" rtl="0" eaLnBrk="1" latinLnBrk="0" hangingPunct="1">
              <a:lnSpc>
                <a:spcPct val="90000"/>
              </a:lnSpc>
              <a:spcBef>
                <a:spcPts val="500"/>
              </a:spcBef>
              <a:buClr>
                <a:srgbClr val="CF8F3F"/>
              </a:buClr>
              <a:buFont typeface="Arial" panose="020B0604020202020204" pitchFamily="34" charset="0"/>
              <a:buChar char="•"/>
              <a:defRPr sz="1600" kern="1200">
                <a:solidFill>
                  <a:srgbClr val="540425"/>
                </a:solidFill>
                <a:latin typeface="Tenorite" panose="00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buClr>
                <a:srgbClr val="540425"/>
              </a:buClr>
            </a:pPr>
            <a:r>
              <a:rPr lang="sv-SE" sz="3000" dirty="0" err="1">
                <a:solidFill>
                  <a:schemeClr val="tx1"/>
                </a:solidFill>
                <a:latin typeface="+mn-lt"/>
                <a:cs typeface="Arial"/>
              </a:rPr>
              <a:t>Identifying</a:t>
            </a:r>
            <a:r>
              <a:rPr lang="sv-SE" sz="3000" dirty="0">
                <a:solidFill>
                  <a:schemeClr val="tx1"/>
                </a:solidFill>
                <a:latin typeface="+mn-lt"/>
                <a:cs typeface="Arial"/>
              </a:rPr>
              <a:t> </a:t>
            </a:r>
            <a:r>
              <a:rPr lang="sv-SE" sz="3000" b="1" dirty="0" err="1">
                <a:solidFill>
                  <a:schemeClr val="tx1"/>
                </a:solidFill>
                <a:latin typeface="+mn-lt"/>
                <a:cs typeface="Arial"/>
              </a:rPr>
              <a:t>financial</a:t>
            </a:r>
            <a:r>
              <a:rPr lang="sv-SE" sz="3000" b="1" dirty="0">
                <a:solidFill>
                  <a:schemeClr val="tx1"/>
                </a:solidFill>
                <a:latin typeface="+mn-lt"/>
                <a:cs typeface="Arial"/>
              </a:rPr>
              <a:t> </a:t>
            </a:r>
            <a:r>
              <a:rPr lang="sv-SE" sz="3000" b="1" dirty="0" err="1">
                <a:solidFill>
                  <a:schemeClr val="tx1"/>
                </a:solidFill>
                <a:latin typeface="+mn-lt"/>
                <a:cs typeface="Arial"/>
              </a:rPr>
              <a:t>hotspots</a:t>
            </a:r>
            <a:r>
              <a:rPr lang="sv-SE" sz="3000" b="1" dirty="0">
                <a:solidFill>
                  <a:schemeClr val="tx1"/>
                </a:solidFill>
                <a:latin typeface="+mn-lt"/>
                <a:cs typeface="Arial"/>
              </a:rPr>
              <a:t> </a:t>
            </a:r>
            <a:r>
              <a:rPr lang="en-GB" sz="3000" dirty="0">
                <a:solidFill>
                  <a:schemeClr val="tx1"/>
                </a:solidFill>
                <a:latin typeface="+mn-lt"/>
                <a:cs typeface="Arial"/>
              </a:rPr>
              <a:t>– allow company to understand where to improve and minimise costs. </a:t>
            </a:r>
          </a:p>
          <a:p>
            <a:pPr marL="457200" indent="-457200">
              <a:buClr>
                <a:srgbClr val="540425"/>
              </a:buClr>
            </a:pPr>
            <a:r>
              <a:rPr lang="en-GB" sz="3000" dirty="0">
                <a:solidFill>
                  <a:schemeClr val="tx1"/>
                </a:solidFill>
                <a:latin typeface="+mn-lt"/>
                <a:cs typeface="Arial"/>
              </a:rPr>
              <a:t>Contributing to sustainable development when taking externalities into consideration. </a:t>
            </a:r>
          </a:p>
          <a:p>
            <a:pPr marL="457200" indent="-457200">
              <a:buClr>
                <a:srgbClr val="540425"/>
              </a:buClr>
            </a:pPr>
            <a:r>
              <a:rPr lang="en-GB" sz="3000" dirty="0">
                <a:solidFill>
                  <a:schemeClr val="tx1"/>
                </a:solidFill>
                <a:latin typeface="+mn-lt"/>
                <a:cs typeface="Arial"/>
              </a:rPr>
              <a:t>Complements LCA with cost in focus. </a:t>
            </a:r>
          </a:p>
          <a:p>
            <a:pPr marL="457200" indent="-457200">
              <a:buClr>
                <a:srgbClr val="540425"/>
              </a:buClr>
            </a:pPr>
            <a:r>
              <a:rPr lang="en-GB" sz="3000" dirty="0">
                <a:solidFill>
                  <a:schemeClr val="tx1"/>
                </a:solidFill>
                <a:latin typeface="+mn-lt"/>
                <a:cs typeface="Arial"/>
              </a:rPr>
              <a:t>Can be used for making well-founded decisions. </a:t>
            </a:r>
          </a:p>
        </p:txBody>
      </p:sp>
    </p:spTree>
    <p:extLst>
      <p:ext uri="{BB962C8B-B14F-4D97-AF65-F5344CB8AC3E}">
        <p14:creationId xmlns:p14="http://schemas.microsoft.com/office/powerpoint/2010/main" val="3575092471"/>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58" name="Rectangle 57">
            <a:extLst>
              <a:ext uri="{FF2B5EF4-FFF2-40B4-BE49-F238E27FC236}">
                <a16:creationId xmlns:a16="http://schemas.microsoft.com/office/drawing/2014/main" id="{289ED1AA-8684-4D37-B208-8777E1A7780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8283428" cy="10287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0" name="Graphic 33">
            <a:extLst>
              <a:ext uri="{FF2B5EF4-FFF2-40B4-BE49-F238E27FC236}">
                <a16:creationId xmlns:a16="http://schemas.microsoft.com/office/drawing/2014/main" id="{4180E01B-B1F4-437C-807D-1C930718EE6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966176" y="0"/>
            <a:ext cx="14355646" cy="10287000"/>
          </a:xfrm>
          <a:custGeom>
            <a:avLst/>
            <a:gdLst>
              <a:gd name="connsiteX0" fmla="*/ 7178288 w 7187261"/>
              <a:gd name="connsiteY0" fmla="*/ 2604802 h 5150263"/>
              <a:gd name="connsiteX1" fmla="*/ 7169335 w 7187261"/>
              <a:gd name="connsiteY1" fmla="*/ 2328577 h 5150263"/>
              <a:gd name="connsiteX2" fmla="*/ 7060845 w 7187261"/>
              <a:gd name="connsiteY2" fmla="*/ 1661160 h 5150263"/>
              <a:gd name="connsiteX3" fmla="*/ 6212263 w 7187261"/>
              <a:gd name="connsiteY3" fmla="*/ 243840 h 5150263"/>
              <a:gd name="connsiteX4" fmla="*/ 5953564 w 7187261"/>
              <a:gd name="connsiteY4" fmla="*/ 0 h 5150263"/>
              <a:gd name="connsiteX5" fmla="*/ 1408615 w 7187261"/>
              <a:gd name="connsiteY5" fmla="*/ 0 h 5150263"/>
              <a:gd name="connsiteX6" fmla="*/ 805111 w 7187261"/>
              <a:gd name="connsiteY6" fmla="*/ 676275 h 5150263"/>
              <a:gd name="connsiteX7" fmla="*/ 104928 w 7187261"/>
              <a:gd name="connsiteY7" fmla="*/ 2183035 h 5150263"/>
              <a:gd name="connsiteX8" fmla="*/ 51588 w 7187261"/>
              <a:gd name="connsiteY8" fmla="*/ 2400014 h 5150263"/>
              <a:gd name="connsiteX9" fmla="*/ 41301 w 7187261"/>
              <a:gd name="connsiteY9" fmla="*/ 2424208 h 5150263"/>
              <a:gd name="connsiteX10" fmla="*/ 119692 w 7187261"/>
              <a:gd name="connsiteY10" fmla="*/ 1834801 h 5150263"/>
              <a:gd name="connsiteX11" fmla="*/ 870071 w 7187261"/>
              <a:gd name="connsiteY11" fmla="*/ 462248 h 5150263"/>
              <a:gd name="connsiteX12" fmla="*/ 1389279 w 7187261"/>
              <a:gd name="connsiteY12" fmla="*/ 476 h 5150263"/>
              <a:gd name="connsiteX13" fmla="*/ 1320223 w 7187261"/>
              <a:gd name="connsiteY13" fmla="*/ 476 h 5150263"/>
              <a:gd name="connsiteX14" fmla="*/ 423158 w 7187261"/>
              <a:gd name="connsiteY14" fmla="*/ 989743 h 5150263"/>
              <a:gd name="connsiteX15" fmla="*/ 25585 w 7187261"/>
              <a:gd name="connsiteY15" fmla="*/ 2113693 h 5150263"/>
              <a:gd name="connsiteX16" fmla="*/ 2344 w 7187261"/>
              <a:gd name="connsiteY16" fmla="*/ 2725865 h 5150263"/>
              <a:gd name="connsiteX17" fmla="*/ 447256 w 7187261"/>
              <a:gd name="connsiteY17" fmla="*/ 4210717 h 5150263"/>
              <a:gd name="connsiteX18" fmla="*/ 1138962 w 7187261"/>
              <a:gd name="connsiteY18" fmla="*/ 4988910 h 5150263"/>
              <a:gd name="connsiteX19" fmla="*/ 1348512 w 7187261"/>
              <a:gd name="connsiteY19" fmla="*/ 5146834 h 5150263"/>
              <a:gd name="connsiteX20" fmla="*/ 1422712 w 7187261"/>
              <a:gd name="connsiteY20" fmla="*/ 5146834 h 5150263"/>
              <a:gd name="connsiteX21" fmla="*/ 480594 w 7187261"/>
              <a:gd name="connsiteY21" fmla="*/ 4187952 h 5150263"/>
              <a:gd name="connsiteX22" fmla="*/ 398679 w 7187261"/>
              <a:gd name="connsiteY22" fmla="*/ 4046125 h 5150263"/>
              <a:gd name="connsiteX23" fmla="*/ 411823 w 7187261"/>
              <a:gd name="connsiteY23" fmla="*/ 4053078 h 5150263"/>
              <a:gd name="connsiteX24" fmla="*/ 1439380 w 7187261"/>
              <a:gd name="connsiteY24" fmla="*/ 5147405 h 5150263"/>
              <a:gd name="connsiteX25" fmla="*/ 5710010 w 7187261"/>
              <a:gd name="connsiteY25" fmla="*/ 5150263 h 5150263"/>
              <a:gd name="connsiteX26" fmla="*/ 5999665 w 7187261"/>
              <a:gd name="connsiteY26" fmla="*/ 4910900 h 5150263"/>
              <a:gd name="connsiteX27" fmla="*/ 6954165 w 7187261"/>
              <a:gd name="connsiteY27" fmla="*/ 3545777 h 5150263"/>
              <a:gd name="connsiteX28" fmla="*/ 7137712 w 7187261"/>
              <a:gd name="connsiteY28" fmla="*/ 2799207 h 5150263"/>
              <a:gd name="connsiteX29" fmla="*/ 7142951 w 7187261"/>
              <a:gd name="connsiteY29" fmla="*/ 2754535 h 5150263"/>
              <a:gd name="connsiteX30" fmla="*/ 7149428 w 7187261"/>
              <a:gd name="connsiteY30" fmla="*/ 2774823 h 5150263"/>
              <a:gd name="connsiteX31" fmla="*/ 7066465 w 7187261"/>
              <a:gd name="connsiteY31" fmla="*/ 3465672 h 5150263"/>
              <a:gd name="connsiteX32" fmla="*/ 6452578 w 7187261"/>
              <a:gd name="connsiteY32" fmla="*/ 4552760 h 5150263"/>
              <a:gd name="connsiteX33" fmla="*/ 5752110 w 7187261"/>
              <a:gd name="connsiteY33" fmla="*/ 5150263 h 5150263"/>
              <a:gd name="connsiteX34" fmla="*/ 5827643 w 7187261"/>
              <a:gd name="connsiteY34" fmla="*/ 5150263 h 5150263"/>
              <a:gd name="connsiteX35" fmla="*/ 6642793 w 7187261"/>
              <a:gd name="connsiteY35" fmla="*/ 4389406 h 5150263"/>
              <a:gd name="connsiteX36" fmla="*/ 7102469 w 7187261"/>
              <a:gd name="connsiteY36" fmla="*/ 3490817 h 5150263"/>
              <a:gd name="connsiteX37" fmla="*/ 7187242 w 7187261"/>
              <a:gd name="connsiteY37" fmla="*/ 2990183 h 5150263"/>
              <a:gd name="connsiteX38" fmla="*/ 7178288 w 7187261"/>
              <a:gd name="connsiteY38" fmla="*/ 2604802 h 5150263"/>
              <a:gd name="connsiteX39" fmla="*/ 6342565 w 7187261"/>
              <a:gd name="connsiteY39" fmla="*/ 441389 h 5150263"/>
              <a:gd name="connsiteX40" fmla="*/ 7126567 w 7187261"/>
              <a:gd name="connsiteY40" fmla="*/ 2355056 h 5150263"/>
              <a:gd name="connsiteX41" fmla="*/ 6342565 w 7187261"/>
              <a:gd name="connsiteY41" fmla="*/ 441389 h 5150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187261" h="5150263">
                <a:moveTo>
                  <a:pt x="7178288" y="2604802"/>
                </a:moveTo>
                <a:cubicBezTo>
                  <a:pt x="7168763" y="2513076"/>
                  <a:pt x="7174478" y="2420684"/>
                  <a:pt x="7169335" y="2328577"/>
                </a:cubicBezTo>
                <a:cubicBezTo>
                  <a:pt x="7156952" y="2102882"/>
                  <a:pt x="7120586" y="1879149"/>
                  <a:pt x="7060845" y="1661160"/>
                </a:cubicBezTo>
                <a:cubicBezTo>
                  <a:pt x="6910588" y="1121007"/>
                  <a:pt x="6617428" y="631374"/>
                  <a:pt x="6212263" y="243840"/>
                </a:cubicBezTo>
                <a:cubicBezTo>
                  <a:pt x="6126538" y="162496"/>
                  <a:pt x="6040813" y="80201"/>
                  <a:pt x="5953564" y="0"/>
                </a:cubicBezTo>
                <a:lnTo>
                  <a:pt x="1408615" y="0"/>
                </a:lnTo>
                <a:cubicBezTo>
                  <a:pt x="1180967" y="200316"/>
                  <a:pt x="978332" y="427387"/>
                  <a:pt x="805111" y="676275"/>
                </a:cubicBezTo>
                <a:cubicBezTo>
                  <a:pt x="481261" y="1136523"/>
                  <a:pt x="252089" y="1640872"/>
                  <a:pt x="104928" y="2183035"/>
                </a:cubicBezTo>
                <a:cubicBezTo>
                  <a:pt x="85878" y="2254853"/>
                  <a:pt x="69495" y="2327720"/>
                  <a:pt x="51588" y="2400014"/>
                </a:cubicBezTo>
                <a:cubicBezTo>
                  <a:pt x="49683" y="2407634"/>
                  <a:pt x="51588" y="2416969"/>
                  <a:pt x="41301" y="2424208"/>
                </a:cubicBezTo>
                <a:cubicBezTo>
                  <a:pt x="45900" y="2225469"/>
                  <a:pt x="72186" y="2027834"/>
                  <a:pt x="119692" y="1834801"/>
                </a:cubicBezTo>
                <a:cubicBezTo>
                  <a:pt x="247993" y="1310926"/>
                  <a:pt x="506121" y="857726"/>
                  <a:pt x="870071" y="462248"/>
                </a:cubicBezTo>
                <a:cubicBezTo>
                  <a:pt x="1027729" y="291823"/>
                  <a:pt x="1201617" y="137169"/>
                  <a:pt x="1389279" y="476"/>
                </a:cubicBezTo>
                <a:lnTo>
                  <a:pt x="1320223" y="476"/>
                </a:lnTo>
                <a:cubicBezTo>
                  <a:pt x="960844" y="274320"/>
                  <a:pt x="656330" y="599123"/>
                  <a:pt x="423158" y="989743"/>
                </a:cubicBezTo>
                <a:cubicBezTo>
                  <a:pt x="215608" y="1337596"/>
                  <a:pt x="80258" y="1711357"/>
                  <a:pt x="25585" y="2113693"/>
                </a:cubicBezTo>
                <a:cubicBezTo>
                  <a:pt x="-2705" y="2316480"/>
                  <a:pt x="-2228" y="2521077"/>
                  <a:pt x="2344" y="2725865"/>
                </a:cubicBezTo>
                <a:cubicBezTo>
                  <a:pt x="14155" y="3261932"/>
                  <a:pt x="170650" y="3754565"/>
                  <a:pt x="447256" y="4210717"/>
                </a:cubicBezTo>
                <a:cubicBezTo>
                  <a:pt x="629851" y="4511612"/>
                  <a:pt x="866356" y="4767167"/>
                  <a:pt x="1138962" y="4988910"/>
                </a:cubicBezTo>
                <a:cubicBezTo>
                  <a:pt x="1207161" y="5044345"/>
                  <a:pt x="1277008" y="5096990"/>
                  <a:pt x="1348512" y="5146834"/>
                </a:cubicBezTo>
                <a:lnTo>
                  <a:pt x="1422712" y="5146834"/>
                </a:lnTo>
                <a:cubicBezTo>
                  <a:pt x="1043426" y="4892802"/>
                  <a:pt x="724720" y="4577334"/>
                  <a:pt x="480594" y="4187952"/>
                </a:cubicBezTo>
                <a:cubicBezTo>
                  <a:pt x="452019" y="4141851"/>
                  <a:pt x="423444" y="4095179"/>
                  <a:pt x="398679" y="4046125"/>
                </a:cubicBezTo>
                <a:cubicBezTo>
                  <a:pt x="407442" y="4043267"/>
                  <a:pt x="409156" y="4048982"/>
                  <a:pt x="411823" y="4053078"/>
                </a:cubicBezTo>
                <a:cubicBezTo>
                  <a:pt x="683572" y="4484656"/>
                  <a:pt x="1033139" y="4842701"/>
                  <a:pt x="1439380" y="5147405"/>
                </a:cubicBezTo>
                <a:lnTo>
                  <a:pt x="5710010" y="5150263"/>
                </a:lnTo>
                <a:cubicBezTo>
                  <a:pt x="5810594" y="5075482"/>
                  <a:pt x="5907272" y="4995587"/>
                  <a:pt x="5999665" y="4910900"/>
                </a:cubicBezTo>
                <a:cubicBezTo>
                  <a:pt x="6418765" y="4526661"/>
                  <a:pt x="6746901" y="4078129"/>
                  <a:pt x="6954165" y="3545777"/>
                </a:cubicBezTo>
                <a:cubicBezTo>
                  <a:pt x="7048234" y="3306175"/>
                  <a:pt x="7109956" y="3055115"/>
                  <a:pt x="7137712" y="2799207"/>
                </a:cubicBezTo>
                <a:cubicBezTo>
                  <a:pt x="7139236" y="2784920"/>
                  <a:pt x="7141046" y="2770632"/>
                  <a:pt x="7142951" y="2754535"/>
                </a:cubicBezTo>
                <a:cubicBezTo>
                  <a:pt x="7151714" y="2760440"/>
                  <a:pt x="7149237" y="2768441"/>
                  <a:pt x="7149428" y="2774823"/>
                </a:cubicBezTo>
                <a:cubicBezTo>
                  <a:pt x="7156743" y="3007967"/>
                  <a:pt x="7128777" y="3240881"/>
                  <a:pt x="7066465" y="3465672"/>
                </a:cubicBezTo>
                <a:cubicBezTo>
                  <a:pt x="6952165" y="3878580"/>
                  <a:pt x="6737948" y="4235863"/>
                  <a:pt x="6452578" y="4552760"/>
                </a:cubicBezTo>
                <a:cubicBezTo>
                  <a:pt x="6244553" y="4783836"/>
                  <a:pt x="6008809" y="4980242"/>
                  <a:pt x="5752110" y="5150263"/>
                </a:cubicBezTo>
                <a:lnTo>
                  <a:pt x="5827643" y="5150263"/>
                </a:lnTo>
                <a:cubicBezTo>
                  <a:pt x="6136539" y="4938904"/>
                  <a:pt x="6412192" y="4689348"/>
                  <a:pt x="6642793" y="4389406"/>
                </a:cubicBezTo>
                <a:cubicBezTo>
                  <a:pt x="6851295" y="4118324"/>
                  <a:pt x="7009125" y="3820859"/>
                  <a:pt x="7102469" y="3490817"/>
                </a:cubicBezTo>
                <a:cubicBezTo>
                  <a:pt x="7148646" y="3327473"/>
                  <a:pt x="7177069" y="3159624"/>
                  <a:pt x="7187242" y="2990183"/>
                </a:cubicBezTo>
                <a:cubicBezTo>
                  <a:pt x="7187623" y="2984087"/>
                  <a:pt x="7182384" y="2642330"/>
                  <a:pt x="7178288" y="2604802"/>
                </a:cubicBezTo>
                <a:close/>
                <a:moveTo>
                  <a:pt x="6342565" y="441389"/>
                </a:moveTo>
                <a:cubicBezTo>
                  <a:pt x="6829797" y="986533"/>
                  <a:pt x="7091135" y="1624422"/>
                  <a:pt x="7126567" y="2355056"/>
                </a:cubicBezTo>
                <a:cubicBezTo>
                  <a:pt x="7001123" y="1661827"/>
                  <a:pt x="6756426" y="1017365"/>
                  <a:pt x="6342565" y="441389"/>
                </a:cubicBez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Arial"/>
              <a:ea typeface="+mn-ea"/>
              <a:cs typeface="+mn-cs"/>
            </a:endParaRPr>
          </a:p>
        </p:txBody>
      </p:sp>
      <p:sp>
        <p:nvSpPr>
          <p:cNvPr id="4" name="Title 3">
            <a:extLst>
              <a:ext uri="{FF2B5EF4-FFF2-40B4-BE49-F238E27FC236}">
                <a16:creationId xmlns:a16="http://schemas.microsoft.com/office/drawing/2014/main" id="{B009CD84-DA40-4CAA-8A89-DD6DAA862368}"/>
              </a:ext>
            </a:extLst>
          </p:cNvPr>
          <p:cNvSpPr>
            <a:spLocks noGrp="1"/>
          </p:cNvSpPr>
          <p:nvPr>
            <p:ph type="title"/>
          </p:nvPr>
        </p:nvSpPr>
        <p:spPr>
          <a:xfrm>
            <a:off x="2819400" y="1485900"/>
            <a:ext cx="13502422" cy="4348463"/>
          </a:xfrm>
        </p:spPr>
        <p:txBody>
          <a:bodyPr vert="horz" lIns="91440" tIns="45720" rIns="91440" bIns="45720" rtlCol="0" anchor="b">
            <a:normAutofit/>
          </a:bodyPr>
          <a:lstStyle/>
          <a:p>
            <a:pPr indent="457200">
              <a:lnSpc>
                <a:spcPct val="90000"/>
              </a:lnSpc>
              <a:spcAft>
                <a:spcPts val="600"/>
              </a:spcAft>
            </a:pPr>
            <a:r>
              <a:rPr lang="en-GB" sz="8000" b="1" kern="1200" noProof="0" dirty="0">
                <a:solidFill>
                  <a:srgbClr val="FFFFFF"/>
                </a:solidFill>
                <a:latin typeface="+mj-lt"/>
                <a:ea typeface="+mj-ea"/>
                <a:cs typeface="+mj-cs"/>
              </a:rPr>
              <a:t>5.3 Social LCA (S-LCA)</a:t>
            </a:r>
          </a:p>
        </p:txBody>
      </p:sp>
      <p:sp>
        <p:nvSpPr>
          <p:cNvPr id="62" name="sketch line">
            <a:extLst>
              <a:ext uri="{FF2B5EF4-FFF2-40B4-BE49-F238E27FC236}">
                <a16:creationId xmlns:a16="http://schemas.microsoft.com/office/drawing/2014/main" id="{41F77738-2AF0-4750-A0C7-F97C2C17590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961309" y="6260247"/>
            <a:ext cx="6365383" cy="27432"/>
          </a:xfrm>
          <a:custGeom>
            <a:avLst/>
            <a:gdLst>
              <a:gd name="connsiteX0" fmla="*/ 0 w 6365383"/>
              <a:gd name="connsiteY0" fmla="*/ 0 h 27432"/>
              <a:gd name="connsiteX1" fmla="*/ 636538 w 6365383"/>
              <a:gd name="connsiteY1" fmla="*/ 0 h 27432"/>
              <a:gd name="connsiteX2" fmla="*/ 1273077 w 6365383"/>
              <a:gd name="connsiteY2" fmla="*/ 0 h 27432"/>
              <a:gd name="connsiteX3" fmla="*/ 1909615 w 6365383"/>
              <a:gd name="connsiteY3" fmla="*/ 0 h 27432"/>
              <a:gd name="connsiteX4" fmla="*/ 2673461 w 6365383"/>
              <a:gd name="connsiteY4" fmla="*/ 0 h 27432"/>
              <a:gd name="connsiteX5" fmla="*/ 3373653 w 6365383"/>
              <a:gd name="connsiteY5" fmla="*/ 0 h 27432"/>
              <a:gd name="connsiteX6" fmla="*/ 3819230 w 6365383"/>
              <a:gd name="connsiteY6" fmla="*/ 0 h 27432"/>
              <a:gd name="connsiteX7" fmla="*/ 4392114 w 6365383"/>
              <a:gd name="connsiteY7" fmla="*/ 0 h 27432"/>
              <a:gd name="connsiteX8" fmla="*/ 5155960 w 6365383"/>
              <a:gd name="connsiteY8" fmla="*/ 0 h 27432"/>
              <a:gd name="connsiteX9" fmla="*/ 5792499 w 6365383"/>
              <a:gd name="connsiteY9" fmla="*/ 0 h 27432"/>
              <a:gd name="connsiteX10" fmla="*/ 6365383 w 6365383"/>
              <a:gd name="connsiteY10" fmla="*/ 0 h 27432"/>
              <a:gd name="connsiteX11" fmla="*/ 6365383 w 6365383"/>
              <a:gd name="connsiteY11" fmla="*/ 27432 h 27432"/>
              <a:gd name="connsiteX12" fmla="*/ 5856152 w 6365383"/>
              <a:gd name="connsiteY12" fmla="*/ 27432 h 27432"/>
              <a:gd name="connsiteX13" fmla="*/ 5092306 w 6365383"/>
              <a:gd name="connsiteY13" fmla="*/ 27432 h 27432"/>
              <a:gd name="connsiteX14" fmla="*/ 4583076 w 6365383"/>
              <a:gd name="connsiteY14" fmla="*/ 27432 h 27432"/>
              <a:gd name="connsiteX15" fmla="*/ 4137499 w 6365383"/>
              <a:gd name="connsiteY15" fmla="*/ 27432 h 27432"/>
              <a:gd name="connsiteX16" fmla="*/ 3691922 w 6365383"/>
              <a:gd name="connsiteY16" fmla="*/ 27432 h 27432"/>
              <a:gd name="connsiteX17" fmla="*/ 2991730 w 6365383"/>
              <a:gd name="connsiteY17" fmla="*/ 27432 h 27432"/>
              <a:gd name="connsiteX18" fmla="*/ 2546153 w 6365383"/>
              <a:gd name="connsiteY18" fmla="*/ 27432 h 27432"/>
              <a:gd name="connsiteX19" fmla="*/ 1909615 w 6365383"/>
              <a:gd name="connsiteY19" fmla="*/ 27432 h 27432"/>
              <a:gd name="connsiteX20" fmla="*/ 1400384 w 6365383"/>
              <a:gd name="connsiteY20" fmla="*/ 27432 h 27432"/>
              <a:gd name="connsiteX21" fmla="*/ 763846 w 6365383"/>
              <a:gd name="connsiteY21" fmla="*/ 27432 h 27432"/>
              <a:gd name="connsiteX22" fmla="*/ 0 w 6365383"/>
              <a:gd name="connsiteY22" fmla="*/ 27432 h 27432"/>
              <a:gd name="connsiteX23" fmla="*/ 0 w 6365383"/>
              <a:gd name="connsiteY23" fmla="*/ 0 h 27432"/>
              <a:gd name="connsiteX0" fmla="*/ 0 w 6365383"/>
              <a:gd name="connsiteY0" fmla="*/ 0 h 27432"/>
              <a:gd name="connsiteX1" fmla="*/ 572884 w 6365383"/>
              <a:gd name="connsiteY1" fmla="*/ 0 h 27432"/>
              <a:gd name="connsiteX2" fmla="*/ 1018461 w 6365383"/>
              <a:gd name="connsiteY2" fmla="*/ 0 h 27432"/>
              <a:gd name="connsiteX3" fmla="*/ 1782307 w 6365383"/>
              <a:gd name="connsiteY3" fmla="*/ 0 h 27432"/>
              <a:gd name="connsiteX4" fmla="*/ 2355192 w 6365383"/>
              <a:gd name="connsiteY4" fmla="*/ 0 h 27432"/>
              <a:gd name="connsiteX5" fmla="*/ 2928076 w 6365383"/>
              <a:gd name="connsiteY5" fmla="*/ 0 h 27432"/>
              <a:gd name="connsiteX6" fmla="*/ 3691922 w 6365383"/>
              <a:gd name="connsiteY6" fmla="*/ 0 h 27432"/>
              <a:gd name="connsiteX7" fmla="*/ 4201153 w 6365383"/>
              <a:gd name="connsiteY7" fmla="*/ 0 h 27432"/>
              <a:gd name="connsiteX8" fmla="*/ 4964999 w 6365383"/>
              <a:gd name="connsiteY8" fmla="*/ 0 h 27432"/>
              <a:gd name="connsiteX9" fmla="*/ 5728845 w 6365383"/>
              <a:gd name="connsiteY9" fmla="*/ 0 h 27432"/>
              <a:gd name="connsiteX10" fmla="*/ 6365383 w 6365383"/>
              <a:gd name="connsiteY10" fmla="*/ 0 h 27432"/>
              <a:gd name="connsiteX11" fmla="*/ 6365383 w 6365383"/>
              <a:gd name="connsiteY11" fmla="*/ 27432 h 27432"/>
              <a:gd name="connsiteX12" fmla="*/ 5665191 w 6365383"/>
              <a:gd name="connsiteY12" fmla="*/ 27432 h 27432"/>
              <a:gd name="connsiteX13" fmla="*/ 4901345 w 6365383"/>
              <a:gd name="connsiteY13" fmla="*/ 27432 h 27432"/>
              <a:gd name="connsiteX14" fmla="*/ 4137499 w 6365383"/>
              <a:gd name="connsiteY14" fmla="*/ 27432 h 27432"/>
              <a:gd name="connsiteX15" fmla="*/ 3628268 w 6365383"/>
              <a:gd name="connsiteY15" fmla="*/ 27432 h 27432"/>
              <a:gd name="connsiteX16" fmla="*/ 2991730 w 6365383"/>
              <a:gd name="connsiteY16" fmla="*/ 27432 h 27432"/>
              <a:gd name="connsiteX17" fmla="*/ 2227884 w 6365383"/>
              <a:gd name="connsiteY17" fmla="*/ 27432 h 27432"/>
              <a:gd name="connsiteX18" fmla="*/ 1591346 w 6365383"/>
              <a:gd name="connsiteY18" fmla="*/ 27432 h 27432"/>
              <a:gd name="connsiteX19" fmla="*/ 1145769 w 6365383"/>
              <a:gd name="connsiteY19" fmla="*/ 27432 h 27432"/>
              <a:gd name="connsiteX20" fmla="*/ 636538 w 6365383"/>
              <a:gd name="connsiteY20" fmla="*/ 27432 h 27432"/>
              <a:gd name="connsiteX21" fmla="*/ 0 w 6365383"/>
              <a:gd name="connsiteY21" fmla="*/ 27432 h 27432"/>
              <a:gd name="connsiteX22" fmla="*/ 0 w 6365383"/>
              <a:gd name="connsiteY22"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365383" h="27432" fill="none" extrusionOk="0">
                <a:moveTo>
                  <a:pt x="0" y="0"/>
                </a:moveTo>
                <a:cubicBezTo>
                  <a:pt x="311910" y="25756"/>
                  <a:pt x="328854" y="-22977"/>
                  <a:pt x="636538" y="0"/>
                </a:cubicBezTo>
                <a:cubicBezTo>
                  <a:pt x="929901" y="50670"/>
                  <a:pt x="1067253" y="-1993"/>
                  <a:pt x="1273077" y="0"/>
                </a:cubicBezTo>
                <a:cubicBezTo>
                  <a:pt x="1507620" y="-24857"/>
                  <a:pt x="1747799" y="-10413"/>
                  <a:pt x="1909615" y="0"/>
                </a:cubicBezTo>
                <a:cubicBezTo>
                  <a:pt x="2041097" y="-21585"/>
                  <a:pt x="2422417" y="-28022"/>
                  <a:pt x="2673461" y="0"/>
                </a:cubicBezTo>
                <a:cubicBezTo>
                  <a:pt x="2948394" y="-4560"/>
                  <a:pt x="3134893" y="36981"/>
                  <a:pt x="3373653" y="0"/>
                </a:cubicBezTo>
                <a:cubicBezTo>
                  <a:pt x="3634761" y="-15887"/>
                  <a:pt x="3700843" y="23167"/>
                  <a:pt x="3819230" y="0"/>
                </a:cubicBezTo>
                <a:cubicBezTo>
                  <a:pt x="3977295" y="2943"/>
                  <a:pt x="4128910" y="-53150"/>
                  <a:pt x="4392114" y="0"/>
                </a:cubicBezTo>
                <a:cubicBezTo>
                  <a:pt x="4672763" y="9214"/>
                  <a:pt x="4999833" y="38501"/>
                  <a:pt x="5155960" y="0"/>
                </a:cubicBezTo>
                <a:cubicBezTo>
                  <a:pt x="5343367" y="-6557"/>
                  <a:pt x="5597661" y="6622"/>
                  <a:pt x="5792499" y="0"/>
                </a:cubicBezTo>
                <a:cubicBezTo>
                  <a:pt x="6020774" y="43813"/>
                  <a:pt x="6148830" y="-13954"/>
                  <a:pt x="6365383" y="0"/>
                </a:cubicBezTo>
                <a:cubicBezTo>
                  <a:pt x="6364517" y="8091"/>
                  <a:pt x="6365728" y="20268"/>
                  <a:pt x="6365383" y="27432"/>
                </a:cubicBezTo>
                <a:cubicBezTo>
                  <a:pt x="6144545" y="15144"/>
                  <a:pt x="6006673" y="-7419"/>
                  <a:pt x="5856152" y="27432"/>
                </a:cubicBezTo>
                <a:cubicBezTo>
                  <a:pt x="5638446" y="81548"/>
                  <a:pt x="5413846" y="52067"/>
                  <a:pt x="5092306" y="27432"/>
                </a:cubicBezTo>
                <a:cubicBezTo>
                  <a:pt x="4768499" y="43350"/>
                  <a:pt x="4708569" y="3163"/>
                  <a:pt x="4583076" y="27432"/>
                </a:cubicBezTo>
                <a:cubicBezTo>
                  <a:pt x="4475482" y="66269"/>
                  <a:pt x="4242792" y="42702"/>
                  <a:pt x="4137499" y="27432"/>
                </a:cubicBezTo>
                <a:cubicBezTo>
                  <a:pt x="4003968" y="24039"/>
                  <a:pt x="3882646" y="-3026"/>
                  <a:pt x="3691922" y="27432"/>
                </a:cubicBezTo>
                <a:cubicBezTo>
                  <a:pt x="3501639" y="8096"/>
                  <a:pt x="3270842" y="-14942"/>
                  <a:pt x="2991730" y="27432"/>
                </a:cubicBezTo>
                <a:cubicBezTo>
                  <a:pt x="2712135" y="55419"/>
                  <a:pt x="2758697" y="31955"/>
                  <a:pt x="2546153" y="27432"/>
                </a:cubicBezTo>
                <a:cubicBezTo>
                  <a:pt x="2362220" y="-818"/>
                  <a:pt x="2130397" y="57099"/>
                  <a:pt x="1909615" y="27432"/>
                </a:cubicBezTo>
                <a:cubicBezTo>
                  <a:pt x="1714835" y="-15389"/>
                  <a:pt x="1636770" y="40318"/>
                  <a:pt x="1400384" y="27432"/>
                </a:cubicBezTo>
                <a:cubicBezTo>
                  <a:pt x="1161504" y="29515"/>
                  <a:pt x="1060819" y="7773"/>
                  <a:pt x="763846" y="27432"/>
                </a:cubicBezTo>
                <a:cubicBezTo>
                  <a:pt x="465096" y="43671"/>
                  <a:pt x="165309" y="15831"/>
                  <a:pt x="0" y="27432"/>
                </a:cubicBezTo>
                <a:cubicBezTo>
                  <a:pt x="-2013" y="18874"/>
                  <a:pt x="-525" y="8614"/>
                  <a:pt x="0" y="0"/>
                </a:cubicBezTo>
                <a:close/>
              </a:path>
              <a:path w="6365383" h="27432" stroke="0" extrusionOk="0">
                <a:moveTo>
                  <a:pt x="0" y="0"/>
                </a:moveTo>
                <a:cubicBezTo>
                  <a:pt x="84020" y="9133"/>
                  <a:pt x="339524" y="24523"/>
                  <a:pt x="572884" y="0"/>
                </a:cubicBezTo>
                <a:cubicBezTo>
                  <a:pt x="803790" y="-14011"/>
                  <a:pt x="837492" y="-10007"/>
                  <a:pt x="1018461" y="0"/>
                </a:cubicBezTo>
                <a:cubicBezTo>
                  <a:pt x="1188530" y="8943"/>
                  <a:pt x="1571061" y="17361"/>
                  <a:pt x="1782307" y="0"/>
                </a:cubicBezTo>
                <a:cubicBezTo>
                  <a:pt x="1967448" y="-16010"/>
                  <a:pt x="2153334" y="-25629"/>
                  <a:pt x="2355192" y="0"/>
                </a:cubicBezTo>
                <a:cubicBezTo>
                  <a:pt x="2541804" y="20205"/>
                  <a:pt x="2779440" y="53811"/>
                  <a:pt x="2928076" y="0"/>
                </a:cubicBezTo>
                <a:cubicBezTo>
                  <a:pt x="3024078" y="-16903"/>
                  <a:pt x="3337092" y="43483"/>
                  <a:pt x="3691922" y="0"/>
                </a:cubicBezTo>
                <a:cubicBezTo>
                  <a:pt x="4060895" y="-1064"/>
                  <a:pt x="4072166" y="-17195"/>
                  <a:pt x="4201153" y="0"/>
                </a:cubicBezTo>
                <a:cubicBezTo>
                  <a:pt x="4349835" y="-22516"/>
                  <a:pt x="4800106" y="-64797"/>
                  <a:pt x="4964999" y="0"/>
                </a:cubicBezTo>
                <a:cubicBezTo>
                  <a:pt x="5186764" y="15779"/>
                  <a:pt x="5564421" y="-10544"/>
                  <a:pt x="5728845" y="0"/>
                </a:cubicBezTo>
                <a:cubicBezTo>
                  <a:pt x="5915953" y="5493"/>
                  <a:pt x="6171384" y="-48026"/>
                  <a:pt x="6365383" y="0"/>
                </a:cubicBezTo>
                <a:cubicBezTo>
                  <a:pt x="6366596" y="6455"/>
                  <a:pt x="6365588" y="14391"/>
                  <a:pt x="6365383" y="27432"/>
                </a:cubicBezTo>
                <a:cubicBezTo>
                  <a:pt x="6172514" y="805"/>
                  <a:pt x="6006523" y="20734"/>
                  <a:pt x="5665191" y="27432"/>
                </a:cubicBezTo>
                <a:cubicBezTo>
                  <a:pt x="5322179" y="66687"/>
                  <a:pt x="5219376" y="21111"/>
                  <a:pt x="4901345" y="27432"/>
                </a:cubicBezTo>
                <a:cubicBezTo>
                  <a:pt x="4621310" y="-13654"/>
                  <a:pt x="4455192" y="54857"/>
                  <a:pt x="4137499" y="27432"/>
                </a:cubicBezTo>
                <a:cubicBezTo>
                  <a:pt x="3853317" y="12285"/>
                  <a:pt x="3862894" y="26263"/>
                  <a:pt x="3628268" y="27432"/>
                </a:cubicBezTo>
                <a:cubicBezTo>
                  <a:pt x="3418779" y="32610"/>
                  <a:pt x="3174456" y="83656"/>
                  <a:pt x="2991730" y="27432"/>
                </a:cubicBezTo>
                <a:cubicBezTo>
                  <a:pt x="2801278" y="6667"/>
                  <a:pt x="2497351" y="22891"/>
                  <a:pt x="2227884" y="27432"/>
                </a:cubicBezTo>
                <a:cubicBezTo>
                  <a:pt x="1986101" y="16297"/>
                  <a:pt x="1767219" y="-7535"/>
                  <a:pt x="1591346" y="27432"/>
                </a:cubicBezTo>
                <a:cubicBezTo>
                  <a:pt x="1447183" y="73731"/>
                  <a:pt x="1315973" y="39477"/>
                  <a:pt x="1145769" y="27432"/>
                </a:cubicBezTo>
                <a:cubicBezTo>
                  <a:pt x="990245" y="8882"/>
                  <a:pt x="810845" y="16910"/>
                  <a:pt x="636538" y="27432"/>
                </a:cubicBezTo>
                <a:cubicBezTo>
                  <a:pt x="482916" y="17795"/>
                  <a:pt x="183027" y="-17710"/>
                  <a:pt x="0" y="27432"/>
                </a:cubicBezTo>
                <a:cubicBezTo>
                  <a:pt x="491" y="19542"/>
                  <a:pt x="-1038" y="8534"/>
                  <a:pt x="0" y="0"/>
                </a:cubicBezTo>
                <a:close/>
              </a:path>
              <a:path w="6365383" h="27432" fill="none" stroke="0" extrusionOk="0">
                <a:moveTo>
                  <a:pt x="0" y="0"/>
                </a:moveTo>
                <a:cubicBezTo>
                  <a:pt x="296223" y="15991"/>
                  <a:pt x="333462" y="-23795"/>
                  <a:pt x="636538" y="0"/>
                </a:cubicBezTo>
                <a:cubicBezTo>
                  <a:pt x="970197" y="30961"/>
                  <a:pt x="1039864" y="3183"/>
                  <a:pt x="1273077" y="0"/>
                </a:cubicBezTo>
                <a:cubicBezTo>
                  <a:pt x="1449809" y="24819"/>
                  <a:pt x="1735152" y="23060"/>
                  <a:pt x="1909615" y="0"/>
                </a:cubicBezTo>
                <a:cubicBezTo>
                  <a:pt x="2016351" y="-41665"/>
                  <a:pt x="2415001" y="34773"/>
                  <a:pt x="2673461" y="0"/>
                </a:cubicBezTo>
                <a:cubicBezTo>
                  <a:pt x="2996983" y="-13411"/>
                  <a:pt x="3130707" y="3741"/>
                  <a:pt x="3373653" y="0"/>
                </a:cubicBezTo>
                <a:cubicBezTo>
                  <a:pt x="3601951" y="-16140"/>
                  <a:pt x="3689909" y="23222"/>
                  <a:pt x="3819230" y="0"/>
                </a:cubicBezTo>
                <a:cubicBezTo>
                  <a:pt x="3931872" y="-29406"/>
                  <a:pt x="4119438" y="24094"/>
                  <a:pt x="4392114" y="0"/>
                </a:cubicBezTo>
                <a:cubicBezTo>
                  <a:pt x="4665359" y="21557"/>
                  <a:pt x="4978709" y="13267"/>
                  <a:pt x="5155960" y="0"/>
                </a:cubicBezTo>
                <a:cubicBezTo>
                  <a:pt x="5299518" y="-18386"/>
                  <a:pt x="5605020" y="-6762"/>
                  <a:pt x="5792499" y="0"/>
                </a:cubicBezTo>
                <a:cubicBezTo>
                  <a:pt x="6013281" y="43398"/>
                  <a:pt x="6167567" y="36727"/>
                  <a:pt x="6365383" y="0"/>
                </a:cubicBezTo>
                <a:cubicBezTo>
                  <a:pt x="6365697" y="8368"/>
                  <a:pt x="6365332" y="21050"/>
                  <a:pt x="6365383" y="27432"/>
                </a:cubicBezTo>
                <a:cubicBezTo>
                  <a:pt x="6154893" y="8454"/>
                  <a:pt x="6014206" y="-8372"/>
                  <a:pt x="5856152" y="27432"/>
                </a:cubicBezTo>
                <a:cubicBezTo>
                  <a:pt x="5659455" y="59503"/>
                  <a:pt x="5350806" y="-35991"/>
                  <a:pt x="5092306" y="27432"/>
                </a:cubicBezTo>
                <a:cubicBezTo>
                  <a:pt x="4756309" y="48260"/>
                  <a:pt x="4699746" y="-4780"/>
                  <a:pt x="4583076" y="27432"/>
                </a:cubicBezTo>
                <a:cubicBezTo>
                  <a:pt x="4462137" y="30142"/>
                  <a:pt x="4226168" y="50236"/>
                  <a:pt x="4137499" y="27432"/>
                </a:cubicBezTo>
                <a:cubicBezTo>
                  <a:pt x="4018570" y="42181"/>
                  <a:pt x="3887179" y="34623"/>
                  <a:pt x="3691922" y="27432"/>
                </a:cubicBezTo>
                <a:cubicBezTo>
                  <a:pt x="3499755" y="32935"/>
                  <a:pt x="3281056" y="-9158"/>
                  <a:pt x="2991730" y="27432"/>
                </a:cubicBezTo>
                <a:cubicBezTo>
                  <a:pt x="2716073" y="57462"/>
                  <a:pt x="2755481" y="34494"/>
                  <a:pt x="2546153" y="27432"/>
                </a:cubicBezTo>
                <a:cubicBezTo>
                  <a:pt x="2356479" y="62622"/>
                  <a:pt x="2079190" y="73729"/>
                  <a:pt x="1909615" y="27432"/>
                </a:cubicBezTo>
                <a:cubicBezTo>
                  <a:pt x="1715819" y="-26444"/>
                  <a:pt x="1631368" y="48131"/>
                  <a:pt x="1400384" y="27432"/>
                </a:cubicBezTo>
                <a:cubicBezTo>
                  <a:pt x="1177327" y="16190"/>
                  <a:pt x="1065236" y="24992"/>
                  <a:pt x="763846" y="27432"/>
                </a:cubicBezTo>
                <a:cubicBezTo>
                  <a:pt x="448643" y="60691"/>
                  <a:pt x="160833" y="2330"/>
                  <a:pt x="0" y="27432"/>
                </a:cubicBezTo>
                <a:cubicBezTo>
                  <a:pt x="1559" y="18666"/>
                  <a:pt x="-585" y="7580"/>
                  <a:pt x="0" y="0"/>
                </a:cubicBezTo>
                <a:close/>
              </a:path>
            </a:pathLst>
          </a:custGeom>
          <a:solidFill>
            <a:srgbClr val="FFFFFF"/>
          </a:solidFill>
          <a:ln w="41275" cap="rnd">
            <a:solidFill>
              <a:srgbClr val="FFFFFF"/>
            </a:solidFill>
            <a:round/>
            <a:extLst>
              <a:ext uri="{C807C97D-BFC1-408E-A445-0C87EB9F89A2}">
                <ask:lineSketchStyleProps xmlns:ask="http://schemas.microsoft.com/office/drawing/2018/sketchyshapes" sd="1219033472">
                  <a:custGeom>
                    <a:avLst/>
                    <a:gdLst>
                      <a:gd name="connsiteX0" fmla="*/ 0 w 6365383"/>
                      <a:gd name="connsiteY0" fmla="*/ 0 h 27432"/>
                      <a:gd name="connsiteX1" fmla="*/ 636538 w 6365383"/>
                      <a:gd name="connsiteY1" fmla="*/ 0 h 27432"/>
                      <a:gd name="connsiteX2" fmla="*/ 1273077 w 6365383"/>
                      <a:gd name="connsiteY2" fmla="*/ 0 h 27432"/>
                      <a:gd name="connsiteX3" fmla="*/ 1909615 w 6365383"/>
                      <a:gd name="connsiteY3" fmla="*/ 0 h 27432"/>
                      <a:gd name="connsiteX4" fmla="*/ 2673461 w 6365383"/>
                      <a:gd name="connsiteY4" fmla="*/ 0 h 27432"/>
                      <a:gd name="connsiteX5" fmla="*/ 3373653 w 6365383"/>
                      <a:gd name="connsiteY5" fmla="*/ 0 h 27432"/>
                      <a:gd name="connsiteX6" fmla="*/ 3819230 w 6365383"/>
                      <a:gd name="connsiteY6" fmla="*/ 0 h 27432"/>
                      <a:gd name="connsiteX7" fmla="*/ 4392114 w 6365383"/>
                      <a:gd name="connsiteY7" fmla="*/ 0 h 27432"/>
                      <a:gd name="connsiteX8" fmla="*/ 5155960 w 6365383"/>
                      <a:gd name="connsiteY8" fmla="*/ 0 h 27432"/>
                      <a:gd name="connsiteX9" fmla="*/ 5792499 w 6365383"/>
                      <a:gd name="connsiteY9" fmla="*/ 0 h 27432"/>
                      <a:gd name="connsiteX10" fmla="*/ 6365383 w 6365383"/>
                      <a:gd name="connsiteY10" fmla="*/ 0 h 27432"/>
                      <a:gd name="connsiteX11" fmla="*/ 6365383 w 6365383"/>
                      <a:gd name="connsiteY11" fmla="*/ 27432 h 27432"/>
                      <a:gd name="connsiteX12" fmla="*/ 5856152 w 6365383"/>
                      <a:gd name="connsiteY12" fmla="*/ 27432 h 27432"/>
                      <a:gd name="connsiteX13" fmla="*/ 5092306 w 6365383"/>
                      <a:gd name="connsiteY13" fmla="*/ 27432 h 27432"/>
                      <a:gd name="connsiteX14" fmla="*/ 4583076 w 6365383"/>
                      <a:gd name="connsiteY14" fmla="*/ 27432 h 27432"/>
                      <a:gd name="connsiteX15" fmla="*/ 4137499 w 6365383"/>
                      <a:gd name="connsiteY15" fmla="*/ 27432 h 27432"/>
                      <a:gd name="connsiteX16" fmla="*/ 3691922 w 6365383"/>
                      <a:gd name="connsiteY16" fmla="*/ 27432 h 27432"/>
                      <a:gd name="connsiteX17" fmla="*/ 2991730 w 6365383"/>
                      <a:gd name="connsiteY17" fmla="*/ 27432 h 27432"/>
                      <a:gd name="connsiteX18" fmla="*/ 2546153 w 6365383"/>
                      <a:gd name="connsiteY18" fmla="*/ 27432 h 27432"/>
                      <a:gd name="connsiteX19" fmla="*/ 1909615 w 6365383"/>
                      <a:gd name="connsiteY19" fmla="*/ 27432 h 27432"/>
                      <a:gd name="connsiteX20" fmla="*/ 1400384 w 6365383"/>
                      <a:gd name="connsiteY20" fmla="*/ 27432 h 27432"/>
                      <a:gd name="connsiteX21" fmla="*/ 763846 w 6365383"/>
                      <a:gd name="connsiteY21" fmla="*/ 27432 h 27432"/>
                      <a:gd name="connsiteX22" fmla="*/ 0 w 6365383"/>
                      <a:gd name="connsiteY22" fmla="*/ 27432 h 27432"/>
                      <a:gd name="connsiteX23" fmla="*/ 0 w 6365383"/>
                      <a:gd name="connsiteY23"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365383" h="27432" fill="none" extrusionOk="0">
                        <a:moveTo>
                          <a:pt x="0" y="0"/>
                        </a:moveTo>
                        <a:cubicBezTo>
                          <a:pt x="305169" y="21509"/>
                          <a:pt x="334704" y="-24261"/>
                          <a:pt x="636538" y="0"/>
                        </a:cubicBezTo>
                        <a:cubicBezTo>
                          <a:pt x="938372" y="24261"/>
                          <a:pt x="1068606" y="2269"/>
                          <a:pt x="1273077" y="0"/>
                        </a:cubicBezTo>
                        <a:cubicBezTo>
                          <a:pt x="1477548" y="-2269"/>
                          <a:pt x="1738189" y="6272"/>
                          <a:pt x="1909615" y="0"/>
                        </a:cubicBezTo>
                        <a:cubicBezTo>
                          <a:pt x="2081041" y="-6272"/>
                          <a:pt x="2377015" y="16623"/>
                          <a:pt x="2673461" y="0"/>
                        </a:cubicBezTo>
                        <a:cubicBezTo>
                          <a:pt x="2969907" y="-16623"/>
                          <a:pt x="3126114" y="13194"/>
                          <a:pt x="3373653" y="0"/>
                        </a:cubicBezTo>
                        <a:cubicBezTo>
                          <a:pt x="3621192" y="-13194"/>
                          <a:pt x="3704499" y="9486"/>
                          <a:pt x="3819230" y="0"/>
                        </a:cubicBezTo>
                        <a:cubicBezTo>
                          <a:pt x="3933961" y="-9486"/>
                          <a:pt x="4142691" y="-8221"/>
                          <a:pt x="4392114" y="0"/>
                        </a:cubicBezTo>
                        <a:cubicBezTo>
                          <a:pt x="4641537" y="8221"/>
                          <a:pt x="4974506" y="12257"/>
                          <a:pt x="5155960" y="0"/>
                        </a:cubicBezTo>
                        <a:cubicBezTo>
                          <a:pt x="5337414" y="-12257"/>
                          <a:pt x="5585731" y="-22537"/>
                          <a:pt x="5792499" y="0"/>
                        </a:cubicBezTo>
                        <a:cubicBezTo>
                          <a:pt x="5999267" y="22537"/>
                          <a:pt x="6164726" y="7303"/>
                          <a:pt x="6365383" y="0"/>
                        </a:cubicBezTo>
                        <a:cubicBezTo>
                          <a:pt x="6365125" y="7487"/>
                          <a:pt x="6364462" y="19984"/>
                          <a:pt x="6365383" y="27432"/>
                        </a:cubicBezTo>
                        <a:cubicBezTo>
                          <a:pt x="6132222" y="28304"/>
                          <a:pt x="6011986" y="2071"/>
                          <a:pt x="5856152" y="27432"/>
                        </a:cubicBezTo>
                        <a:cubicBezTo>
                          <a:pt x="5700318" y="52793"/>
                          <a:pt x="5410732" y="5357"/>
                          <a:pt x="5092306" y="27432"/>
                        </a:cubicBezTo>
                        <a:cubicBezTo>
                          <a:pt x="4773880" y="49507"/>
                          <a:pt x="4705351" y="6645"/>
                          <a:pt x="4583076" y="27432"/>
                        </a:cubicBezTo>
                        <a:cubicBezTo>
                          <a:pt x="4460801" y="48220"/>
                          <a:pt x="4239915" y="42209"/>
                          <a:pt x="4137499" y="27432"/>
                        </a:cubicBezTo>
                        <a:cubicBezTo>
                          <a:pt x="4035083" y="12655"/>
                          <a:pt x="3883665" y="32012"/>
                          <a:pt x="3691922" y="27432"/>
                        </a:cubicBezTo>
                        <a:cubicBezTo>
                          <a:pt x="3500179" y="22852"/>
                          <a:pt x="3265830" y="-126"/>
                          <a:pt x="2991730" y="27432"/>
                        </a:cubicBezTo>
                        <a:cubicBezTo>
                          <a:pt x="2717630" y="54990"/>
                          <a:pt x="2757122" y="34407"/>
                          <a:pt x="2546153" y="27432"/>
                        </a:cubicBezTo>
                        <a:cubicBezTo>
                          <a:pt x="2335184" y="20457"/>
                          <a:pt x="2107331" y="58889"/>
                          <a:pt x="1909615" y="27432"/>
                        </a:cubicBezTo>
                        <a:cubicBezTo>
                          <a:pt x="1711899" y="-4025"/>
                          <a:pt x="1634641" y="48316"/>
                          <a:pt x="1400384" y="27432"/>
                        </a:cubicBezTo>
                        <a:cubicBezTo>
                          <a:pt x="1166127" y="6548"/>
                          <a:pt x="1068288" y="15776"/>
                          <a:pt x="763846" y="27432"/>
                        </a:cubicBezTo>
                        <a:cubicBezTo>
                          <a:pt x="459404" y="39088"/>
                          <a:pt x="170017" y="14515"/>
                          <a:pt x="0" y="27432"/>
                        </a:cubicBezTo>
                        <a:cubicBezTo>
                          <a:pt x="-14" y="18173"/>
                          <a:pt x="-517" y="8990"/>
                          <a:pt x="0" y="0"/>
                        </a:cubicBezTo>
                        <a:close/>
                      </a:path>
                      <a:path w="6365383" h="27432" stroke="0" extrusionOk="0">
                        <a:moveTo>
                          <a:pt x="0" y="0"/>
                        </a:moveTo>
                        <a:cubicBezTo>
                          <a:pt x="114610" y="-2215"/>
                          <a:pt x="340315" y="12554"/>
                          <a:pt x="572884" y="0"/>
                        </a:cubicBezTo>
                        <a:cubicBezTo>
                          <a:pt x="805453" y="-12554"/>
                          <a:pt x="832891" y="-10424"/>
                          <a:pt x="1018461" y="0"/>
                        </a:cubicBezTo>
                        <a:cubicBezTo>
                          <a:pt x="1204031" y="10424"/>
                          <a:pt x="1590875" y="8682"/>
                          <a:pt x="1782307" y="0"/>
                        </a:cubicBezTo>
                        <a:cubicBezTo>
                          <a:pt x="1973739" y="-8682"/>
                          <a:pt x="2150876" y="5508"/>
                          <a:pt x="2355192" y="0"/>
                        </a:cubicBezTo>
                        <a:cubicBezTo>
                          <a:pt x="2559508" y="-5508"/>
                          <a:pt x="2790194" y="26965"/>
                          <a:pt x="2928076" y="0"/>
                        </a:cubicBezTo>
                        <a:cubicBezTo>
                          <a:pt x="3065958" y="-26965"/>
                          <a:pt x="3321537" y="819"/>
                          <a:pt x="3691922" y="0"/>
                        </a:cubicBezTo>
                        <a:cubicBezTo>
                          <a:pt x="4062307" y="-819"/>
                          <a:pt x="4072238" y="-15327"/>
                          <a:pt x="4201153" y="0"/>
                        </a:cubicBezTo>
                        <a:cubicBezTo>
                          <a:pt x="4330068" y="15327"/>
                          <a:pt x="4772079" y="-35646"/>
                          <a:pt x="4964999" y="0"/>
                        </a:cubicBezTo>
                        <a:cubicBezTo>
                          <a:pt x="5157919" y="35646"/>
                          <a:pt x="5543915" y="6802"/>
                          <a:pt x="5728845" y="0"/>
                        </a:cubicBezTo>
                        <a:cubicBezTo>
                          <a:pt x="5913775" y="-6802"/>
                          <a:pt x="6142952" y="-21408"/>
                          <a:pt x="6365383" y="0"/>
                        </a:cubicBezTo>
                        <a:cubicBezTo>
                          <a:pt x="6364552" y="6329"/>
                          <a:pt x="6365787" y="16858"/>
                          <a:pt x="6365383" y="27432"/>
                        </a:cubicBezTo>
                        <a:cubicBezTo>
                          <a:pt x="6176931" y="320"/>
                          <a:pt x="5998736" y="11244"/>
                          <a:pt x="5665191" y="27432"/>
                        </a:cubicBezTo>
                        <a:cubicBezTo>
                          <a:pt x="5331646" y="43620"/>
                          <a:pt x="5198011" y="28615"/>
                          <a:pt x="4901345" y="27432"/>
                        </a:cubicBezTo>
                        <a:cubicBezTo>
                          <a:pt x="4604679" y="26249"/>
                          <a:pt x="4422931" y="40617"/>
                          <a:pt x="4137499" y="27432"/>
                        </a:cubicBezTo>
                        <a:cubicBezTo>
                          <a:pt x="3852067" y="14247"/>
                          <a:pt x="3861939" y="26581"/>
                          <a:pt x="3628268" y="27432"/>
                        </a:cubicBezTo>
                        <a:cubicBezTo>
                          <a:pt x="3394597" y="28283"/>
                          <a:pt x="3171361" y="44132"/>
                          <a:pt x="2991730" y="27432"/>
                        </a:cubicBezTo>
                        <a:cubicBezTo>
                          <a:pt x="2812099" y="10732"/>
                          <a:pt x="2469344" y="24737"/>
                          <a:pt x="2227884" y="27432"/>
                        </a:cubicBezTo>
                        <a:cubicBezTo>
                          <a:pt x="1986424" y="30127"/>
                          <a:pt x="1748067" y="6359"/>
                          <a:pt x="1591346" y="27432"/>
                        </a:cubicBezTo>
                        <a:cubicBezTo>
                          <a:pt x="1434625" y="48505"/>
                          <a:pt x="1307456" y="39663"/>
                          <a:pt x="1145769" y="27432"/>
                        </a:cubicBezTo>
                        <a:cubicBezTo>
                          <a:pt x="984082" y="15201"/>
                          <a:pt x="800279" y="41647"/>
                          <a:pt x="636538" y="27432"/>
                        </a:cubicBezTo>
                        <a:cubicBezTo>
                          <a:pt x="472797" y="13217"/>
                          <a:pt x="160022" y="2213"/>
                          <a:pt x="0" y="27432"/>
                        </a:cubicBezTo>
                        <a:cubicBezTo>
                          <a:pt x="-177" y="19307"/>
                          <a:pt x="-1145" y="9170"/>
                          <a:pt x="0" y="0"/>
                        </a:cubicBezTo>
                        <a:close/>
                      </a:path>
                    </a:pathLst>
                  </a:cu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279500205"/>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6"/>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4"/>
          <a:srcRect/>
          <a:stretch>
            <a:fillRect/>
          </a:stretch>
        </p:blipFill>
        <p:spPr>
          <a:xfrm>
            <a:off x="0" y="8901113"/>
            <a:ext cx="5715000" cy="1385887"/>
          </a:xfrm>
          <a:prstGeom prst="rect">
            <a:avLst/>
          </a:prstGeom>
        </p:spPr>
      </p:pic>
      <p:grpSp>
        <p:nvGrpSpPr>
          <p:cNvPr id="3" name="Gruppo 2">
            <a:extLst>
              <a:ext uri="{FF2B5EF4-FFF2-40B4-BE49-F238E27FC236}">
                <a16:creationId xmlns:a16="http://schemas.microsoft.com/office/drawing/2014/main" id="{D0B44AFC-EABA-48CF-A7A8-348076F88921}"/>
              </a:ext>
            </a:extLst>
          </p:cNvPr>
          <p:cNvGrpSpPr/>
          <p:nvPr/>
        </p:nvGrpSpPr>
        <p:grpSpPr>
          <a:xfrm>
            <a:off x="-12" y="138554"/>
            <a:ext cx="18288002" cy="681138"/>
            <a:chOff x="-12" y="138554"/>
            <a:chExt cx="18288002" cy="681138"/>
          </a:xfrm>
        </p:grpSpPr>
        <p:grpSp>
          <p:nvGrpSpPr>
            <p:cNvPr id="16" name="Gruppo 15">
              <a:extLst>
                <a:ext uri="{FF2B5EF4-FFF2-40B4-BE49-F238E27FC236}">
                  <a16:creationId xmlns:a16="http://schemas.microsoft.com/office/drawing/2014/main" id="{DAC42A46-917D-41AB-8F07-E15E54D0F7D4}"/>
                </a:ext>
              </a:extLst>
            </p:cNvPr>
            <p:cNvGrpSpPr/>
            <p:nvPr/>
          </p:nvGrpSpPr>
          <p:grpSpPr>
            <a:xfrm>
              <a:off x="0" y="153125"/>
              <a:ext cx="13958844" cy="666567"/>
              <a:chOff x="0" y="153125"/>
              <a:chExt cx="13958844" cy="666567"/>
            </a:xfrm>
          </p:grpSpPr>
          <p:pic>
            <p:nvPicPr>
              <p:cNvPr id="10" name="Picture 10"/>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1" name="TextBox 11"/>
              <p:cNvSpPr txBox="1"/>
              <p:nvPr/>
            </p:nvSpPr>
            <p:spPr>
              <a:xfrm>
                <a:off x="228600" y="257980"/>
                <a:ext cx="8806218" cy="456856"/>
              </a:xfrm>
              <a:prstGeom prst="rect">
                <a:avLst/>
              </a:prstGeom>
            </p:spPr>
            <p:txBody>
              <a:bodyPr wrap="square" lIns="0" tIns="0" rIns="0" bIns="0" rtlCol="0" anchor="t">
                <a:spAutoFit/>
              </a:bodyPr>
              <a:lstStyle/>
              <a:p>
                <a:pPr>
                  <a:lnSpc>
                    <a:spcPts val="3919"/>
                  </a:lnSpc>
                  <a:spcBef>
                    <a:spcPct val="0"/>
                  </a:spcBef>
                </a:pPr>
                <a:endParaRPr lang="en-US" sz="2800" b="1">
                  <a:solidFill>
                    <a:srgbClr val="FFFFFF"/>
                  </a:solidFill>
                  <a:latin typeface="Arial" panose="020B0604020202020204" pitchFamily="34" charset="0"/>
                  <a:cs typeface="Arial" panose="020B0604020202020204" pitchFamily="34" charset="0"/>
                </a:endParaRPr>
              </a:p>
            </p:txBody>
          </p:sp>
        </p:grpSp>
        <p:sp>
          <p:nvSpPr>
            <p:cNvPr id="15" name="Rettangolo 14">
              <a:extLst>
                <a:ext uri="{FF2B5EF4-FFF2-40B4-BE49-F238E27FC236}">
                  <a16:creationId xmlns:a16="http://schemas.microsoft.com/office/drawing/2014/main" id="{AFFDA913-633F-49C2-9D71-573FB327981F}"/>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7" name="TextBox 13">
            <a:extLst>
              <a:ext uri="{FF2B5EF4-FFF2-40B4-BE49-F238E27FC236}">
                <a16:creationId xmlns:a16="http://schemas.microsoft.com/office/drawing/2014/main" id="{C7197FAA-9C82-4C25-B208-2BF8170DA3D1}"/>
              </a:ext>
            </a:extLst>
          </p:cNvPr>
          <p:cNvSpPr txBox="1"/>
          <p:nvPr/>
        </p:nvSpPr>
        <p:spPr>
          <a:xfrm>
            <a:off x="838188" y="850387"/>
            <a:ext cx="17068812" cy="1052468"/>
          </a:xfrm>
          <a:prstGeom prst="rect">
            <a:avLst/>
          </a:prstGeom>
        </p:spPr>
        <p:txBody>
          <a:bodyPr wrap="square" lIns="0" tIns="0" rIns="0" bIns="0" rtlCol="0" anchor="t">
            <a:spAutoFit/>
          </a:bodyPr>
          <a:lstStyle/>
          <a:p>
            <a:pPr algn="ctr">
              <a:lnSpc>
                <a:spcPts val="8960"/>
              </a:lnSpc>
              <a:spcBef>
                <a:spcPct val="0"/>
              </a:spcBef>
            </a:pPr>
            <a:r>
              <a:rPr lang="en-US" sz="6400" b="1" dirty="0">
                <a:solidFill>
                  <a:srgbClr val="CC0033"/>
                </a:solidFill>
                <a:latin typeface="+mj-lt"/>
                <a:cs typeface="Arial" panose="020B0604020202020204" pitchFamily="34" charset="0"/>
              </a:rPr>
              <a:t>Social life cycle assessment (S-LCA)</a:t>
            </a:r>
          </a:p>
        </p:txBody>
      </p:sp>
      <p:pic>
        <p:nvPicPr>
          <p:cNvPr id="2" name="Content Placeholder 6" descr="Questions with solid fill">
            <a:extLst>
              <a:ext uri="{FF2B5EF4-FFF2-40B4-BE49-F238E27FC236}">
                <a16:creationId xmlns:a16="http://schemas.microsoft.com/office/drawing/2014/main" id="{AAD8647A-B944-7FE4-ED77-163A7D350015}"/>
              </a:ext>
            </a:extLst>
          </p:cNvPr>
          <p:cNvPicPr>
            <a:picLocks noGrp="1"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073239" y="2759947"/>
            <a:ext cx="1325487" cy="1325487"/>
          </a:xfrm>
          <a:prstGeom prst="rect">
            <a:avLst/>
          </a:prstGeom>
        </p:spPr>
      </p:pic>
      <p:sp>
        <p:nvSpPr>
          <p:cNvPr id="4" name="TextBox 2">
            <a:extLst>
              <a:ext uri="{FF2B5EF4-FFF2-40B4-BE49-F238E27FC236}">
                <a16:creationId xmlns:a16="http://schemas.microsoft.com/office/drawing/2014/main" id="{89C0D10C-6C8E-7699-B70A-8B75EE8BB5BE}"/>
              </a:ext>
            </a:extLst>
          </p:cNvPr>
          <p:cNvSpPr txBox="1"/>
          <p:nvPr/>
        </p:nvSpPr>
        <p:spPr>
          <a:xfrm>
            <a:off x="3464988" y="2431725"/>
            <a:ext cx="11352537" cy="2400657"/>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457200" indent="-457200">
              <a:buFont typeface="Arial"/>
              <a:buChar char="•"/>
            </a:pPr>
            <a:r>
              <a:rPr lang="sv-SE" sz="3000">
                <a:cs typeface="Arial"/>
              </a:rPr>
              <a:t>A </a:t>
            </a:r>
            <a:r>
              <a:rPr lang="sv-SE" sz="3000" err="1">
                <a:cs typeface="Arial"/>
              </a:rPr>
              <a:t>method</a:t>
            </a:r>
            <a:r>
              <a:rPr lang="sv-SE" sz="3000">
                <a:cs typeface="Arial"/>
              </a:rPr>
              <a:t> </a:t>
            </a:r>
            <a:r>
              <a:rPr lang="sv-SE" sz="3000" err="1">
                <a:cs typeface="Arial"/>
              </a:rPr>
              <a:t>used</a:t>
            </a:r>
            <a:r>
              <a:rPr lang="sv-SE" sz="3000">
                <a:cs typeface="Arial"/>
              </a:rPr>
              <a:t> to </a:t>
            </a:r>
            <a:r>
              <a:rPr lang="sv-SE" sz="3000" err="1">
                <a:cs typeface="Arial"/>
              </a:rPr>
              <a:t>assess</a:t>
            </a:r>
            <a:r>
              <a:rPr lang="sv-SE" sz="3000">
                <a:cs typeface="Arial"/>
              </a:rPr>
              <a:t> the social </a:t>
            </a:r>
            <a:r>
              <a:rPr lang="sv-SE" sz="3000" err="1">
                <a:cs typeface="Arial"/>
              </a:rPr>
              <a:t>impacts</a:t>
            </a:r>
            <a:r>
              <a:rPr lang="sv-SE" sz="3000">
                <a:cs typeface="Arial"/>
              </a:rPr>
              <a:t> </a:t>
            </a:r>
            <a:r>
              <a:rPr lang="sv-SE" sz="3000" err="1">
                <a:cs typeface="Arial"/>
              </a:rPr>
              <a:t>of</a:t>
            </a:r>
            <a:r>
              <a:rPr lang="sv-SE" sz="3000">
                <a:cs typeface="Arial"/>
              </a:rPr>
              <a:t> a </a:t>
            </a:r>
            <a:r>
              <a:rPr lang="sv-SE" sz="3000" err="1">
                <a:cs typeface="Arial"/>
              </a:rPr>
              <a:t>product</a:t>
            </a:r>
            <a:r>
              <a:rPr lang="sv-SE" sz="3000">
                <a:cs typeface="Arial"/>
              </a:rPr>
              <a:t> or service </a:t>
            </a:r>
            <a:r>
              <a:rPr lang="sv-SE" sz="3000" err="1">
                <a:cs typeface="Arial"/>
              </a:rPr>
              <a:t>throught</a:t>
            </a:r>
            <a:r>
              <a:rPr lang="sv-SE" sz="3000">
                <a:cs typeface="Arial"/>
              </a:rPr>
              <a:t> </a:t>
            </a:r>
            <a:r>
              <a:rPr lang="sv-SE" sz="3000" err="1">
                <a:cs typeface="Arial"/>
              </a:rPr>
              <a:t>out</a:t>
            </a:r>
            <a:r>
              <a:rPr lang="sv-SE" sz="3000">
                <a:cs typeface="Arial"/>
              </a:rPr>
              <a:t> </a:t>
            </a:r>
            <a:r>
              <a:rPr lang="sv-SE" sz="3000" err="1">
                <a:cs typeface="Arial"/>
              </a:rPr>
              <a:t>its</a:t>
            </a:r>
            <a:r>
              <a:rPr lang="sv-SE" sz="3000">
                <a:cs typeface="Arial"/>
              </a:rPr>
              <a:t> </a:t>
            </a:r>
            <a:r>
              <a:rPr lang="sv-SE" sz="3000" err="1">
                <a:cs typeface="Arial"/>
              </a:rPr>
              <a:t>life</a:t>
            </a:r>
            <a:r>
              <a:rPr lang="sv-SE" sz="3000">
                <a:cs typeface="Arial"/>
              </a:rPr>
              <a:t> </a:t>
            </a:r>
            <a:r>
              <a:rPr lang="sv-SE" sz="3000" err="1">
                <a:cs typeface="Arial"/>
              </a:rPr>
              <a:t>cycle</a:t>
            </a:r>
            <a:r>
              <a:rPr lang="sv-SE" sz="3000">
                <a:cs typeface="Arial"/>
              </a:rPr>
              <a:t>. </a:t>
            </a:r>
            <a:endParaRPr lang="en-GB" sz="3000">
              <a:cs typeface="Arial"/>
            </a:endParaRPr>
          </a:p>
          <a:p>
            <a:pPr marL="457200" indent="-457200">
              <a:buFont typeface="Arial"/>
              <a:buChar char="•"/>
            </a:pPr>
            <a:r>
              <a:rPr lang="sv-SE" sz="3000">
                <a:cs typeface="Arial"/>
              </a:rPr>
              <a:t>It </a:t>
            </a:r>
            <a:r>
              <a:rPr lang="sv-SE" sz="3000" err="1">
                <a:cs typeface="Arial"/>
              </a:rPr>
              <a:t>provides</a:t>
            </a:r>
            <a:r>
              <a:rPr lang="sv-SE" sz="3000">
                <a:cs typeface="Arial"/>
              </a:rPr>
              <a:t> information on social and socio-</a:t>
            </a:r>
            <a:r>
              <a:rPr lang="sv-SE" sz="3000" err="1">
                <a:cs typeface="Arial"/>
              </a:rPr>
              <a:t>economic</a:t>
            </a:r>
            <a:r>
              <a:rPr lang="sv-SE" sz="3000">
                <a:cs typeface="Arial"/>
              </a:rPr>
              <a:t> </a:t>
            </a:r>
            <a:r>
              <a:rPr lang="sv-SE" sz="3000" err="1">
                <a:cs typeface="Arial"/>
              </a:rPr>
              <a:t>aspects</a:t>
            </a:r>
            <a:r>
              <a:rPr lang="sv-SE" sz="3000">
                <a:cs typeface="Arial"/>
              </a:rPr>
              <a:t> </a:t>
            </a:r>
            <a:r>
              <a:rPr lang="sv-SE" sz="3000" err="1">
                <a:cs typeface="Arial"/>
              </a:rPr>
              <a:t>which</a:t>
            </a:r>
            <a:r>
              <a:rPr lang="sv-SE" sz="3000">
                <a:cs typeface="Arial"/>
              </a:rPr>
              <a:t> </a:t>
            </a:r>
            <a:r>
              <a:rPr lang="sv-SE" sz="3000" err="1">
                <a:cs typeface="Arial"/>
              </a:rPr>
              <a:t>can</a:t>
            </a:r>
            <a:r>
              <a:rPr lang="sv-SE" sz="3000">
                <a:cs typeface="Arial"/>
              </a:rPr>
              <a:t> be </a:t>
            </a:r>
            <a:r>
              <a:rPr lang="sv-SE" sz="3000" err="1">
                <a:cs typeface="Arial"/>
              </a:rPr>
              <a:t>used</a:t>
            </a:r>
            <a:r>
              <a:rPr lang="sv-SE" sz="3000">
                <a:cs typeface="Arial"/>
              </a:rPr>
              <a:t> to </a:t>
            </a:r>
            <a:r>
              <a:rPr lang="sv-SE" sz="3000" err="1">
                <a:cs typeface="Arial"/>
              </a:rPr>
              <a:t>improve</a:t>
            </a:r>
            <a:r>
              <a:rPr lang="sv-SE" sz="3000">
                <a:cs typeface="Arial"/>
              </a:rPr>
              <a:t> the </a:t>
            </a:r>
            <a:r>
              <a:rPr lang="sv-SE" sz="3000" err="1">
                <a:cs typeface="Arial"/>
              </a:rPr>
              <a:t>organisation’s</a:t>
            </a:r>
            <a:r>
              <a:rPr lang="sv-SE" sz="3000">
                <a:cs typeface="Arial"/>
              </a:rPr>
              <a:t> social </a:t>
            </a:r>
            <a:r>
              <a:rPr lang="sv-SE" sz="3000" err="1">
                <a:cs typeface="Arial"/>
              </a:rPr>
              <a:t>performance</a:t>
            </a:r>
            <a:r>
              <a:rPr lang="sv-SE" sz="3000">
                <a:cs typeface="Arial"/>
              </a:rPr>
              <a:t>. </a:t>
            </a:r>
            <a:endParaRPr lang="en-GB" sz="3000">
              <a:cs typeface="Arial"/>
            </a:endParaRPr>
          </a:p>
        </p:txBody>
      </p:sp>
      <p:grpSp>
        <p:nvGrpSpPr>
          <p:cNvPr id="5" name="Group 4">
            <a:extLst>
              <a:ext uri="{FF2B5EF4-FFF2-40B4-BE49-F238E27FC236}">
                <a16:creationId xmlns:a16="http://schemas.microsoft.com/office/drawing/2014/main" id="{6D96D3AE-7D8D-2269-DC8A-B4F448921A26}"/>
              </a:ext>
            </a:extLst>
          </p:cNvPr>
          <p:cNvGrpSpPr/>
          <p:nvPr/>
        </p:nvGrpSpPr>
        <p:grpSpPr>
          <a:xfrm>
            <a:off x="2099991" y="7081763"/>
            <a:ext cx="13729197" cy="1938992"/>
            <a:chOff x="704033" y="4139943"/>
            <a:chExt cx="13729197" cy="1938992"/>
          </a:xfrm>
        </p:grpSpPr>
        <p:pic>
          <p:nvPicPr>
            <p:cNvPr id="8" name="Graphic 4" descr="Aspiration with solid fill">
              <a:extLst>
                <a:ext uri="{FF2B5EF4-FFF2-40B4-BE49-F238E27FC236}">
                  <a16:creationId xmlns:a16="http://schemas.microsoft.com/office/drawing/2014/main" id="{B97B2C99-BEA0-CD0C-2636-39B5B96DE946}"/>
                </a:ext>
              </a:extLst>
            </p:cNvPr>
            <p:cNvPicPr>
              <a:picLocks noChangeAspect="1"/>
            </p:cNvPicPr>
            <p:nvPr/>
          </p:nvPicPr>
          <p:blipFill>
            <a:blip r:embed="rId8" cstate="hq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4033" y="4508856"/>
              <a:ext cx="1028700" cy="1028700"/>
            </a:xfrm>
            <a:prstGeom prst="rect">
              <a:avLst/>
            </a:prstGeom>
          </p:spPr>
        </p:pic>
        <p:sp>
          <p:nvSpPr>
            <p:cNvPr id="9" name="TextBox 5">
              <a:extLst>
                <a:ext uri="{FF2B5EF4-FFF2-40B4-BE49-F238E27FC236}">
                  <a16:creationId xmlns:a16="http://schemas.microsoft.com/office/drawing/2014/main" id="{C9EFDC16-D673-993D-3A9F-909A9190466C}"/>
                </a:ext>
              </a:extLst>
            </p:cNvPr>
            <p:cNvSpPr txBox="1"/>
            <p:nvPr/>
          </p:nvSpPr>
          <p:spPr>
            <a:xfrm>
              <a:off x="2171915" y="4139943"/>
              <a:ext cx="12261315" cy="1938992"/>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457200" indent="-457200">
                <a:buFont typeface="Arial"/>
                <a:buChar char="•"/>
              </a:pPr>
              <a:r>
                <a:rPr lang="sv-SE" sz="3000" err="1">
                  <a:cs typeface="Arial"/>
                </a:rPr>
                <a:t>What</a:t>
              </a:r>
              <a:r>
                <a:rPr lang="sv-SE" sz="3000">
                  <a:cs typeface="Arial"/>
                </a:rPr>
                <a:t> </a:t>
              </a:r>
              <a:r>
                <a:rPr lang="sv-SE" sz="3000" err="1">
                  <a:cs typeface="Arial"/>
                </a:rPr>
                <a:t>are</a:t>
              </a:r>
              <a:r>
                <a:rPr lang="sv-SE" sz="3000">
                  <a:cs typeface="Arial"/>
                </a:rPr>
                <a:t> the social </a:t>
              </a:r>
              <a:r>
                <a:rPr lang="sv-SE" sz="3000" err="1">
                  <a:cs typeface="Arial"/>
                </a:rPr>
                <a:t>hotspots</a:t>
              </a:r>
              <a:r>
                <a:rPr lang="sv-SE" sz="3000">
                  <a:cs typeface="Arial"/>
                </a:rPr>
                <a:t> in the </a:t>
              </a:r>
              <a:r>
                <a:rPr lang="sv-SE" sz="3000" err="1">
                  <a:cs typeface="Arial"/>
                </a:rPr>
                <a:t>life</a:t>
              </a:r>
              <a:r>
                <a:rPr lang="sv-SE" sz="3000">
                  <a:cs typeface="Arial"/>
                </a:rPr>
                <a:t> </a:t>
              </a:r>
              <a:r>
                <a:rPr lang="sv-SE" sz="3000" err="1">
                  <a:cs typeface="Arial"/>
                </a:rPr>
                <a:t>cycle</a:t>
              </a:r>
              <a:r>
                <a:rPr lang="sv-SE" sz="3000">
                  <a:cs typeface="Arial"/>
                </a:rPr>
                <a:t> </a:t>
              </a:r>
              <a:r>
                <a:rPr lang="sv-SE" sz="3000" err="1">
                  <a:cs typeface="Arial"/>
                </a:rPr>
                <a:t>of</a:t>
              </a:r>
              <a:r>
                <a:rPr lang="sv-SE" sz="3000">
                  <a:cs typeface="Arial"/>
                </a:rPr>
                <a:t> a </a:t>
              </a:r>
              <a:r>
                <a:rPr lang="sv-SE" sz="3000" err="1">
                  <a:cs typeface="Arial"/>
                </a:rPr>
                <a:t>product</a:t>
              </a:r>
              <a:r>
                <a:rPr lang="sv-SE" sz="3000">
                  <a:cs typeface="Arial"/>
                </a:rPr>
                <a:t>?</a:t>
              </a:r>
              <a:endParaRPr lang="en-US">
                <a:cs typeface="Arial"/>
              </a:endParaRPr>
            </a:p>
            <a:p>
              <a:pPr marL="457200" indent="-457200">
                <a:buFont typeface="Arial"/>
                <a:buChar char="•"/>
              </a:pPr>
              <a:r>
                <a:rPr lang="sv-SE" sz="3000" err="1">
                  <a:cs typeface="Arial"/>
                </a:rPr>
                <a:t>What</a:t>
              </a:r>
              <a:r>
                <a:rPr lang="sv-SE" sz="3000">
                  <a:cs typeface="Arial"/>
                </a:rPr>
                <a:t> </a:t>
              </a:r>
              <a:r>
                <a:rPr lang="sv-SE" sz="3000" err="1">
                  <a:cs typeface="Arial"/>
                </a:rPr>
                <a:t>are</a:t>
              </a:r>
              <a:r>
                <a:rPr lang="sv-SE" sz="3000">
                  <a:cs typeface="Arial"/>
                </a:rPr>
                <a:t> the potential social </a:t>
              </a:r>
              <a:r>
                <a:rPr lang="sv-SE" sz="3000" err="1">
                  <a:cs typeface="Arial"/>
                </a:rPr>
                <a:t>impact</a:t>
              </a:r>
              <a:r>
                <a:rPr lang="sv-SE" sz="3000">
                  <a:cs typeface="Arial"/>
                </a:rPr>
                <a:t> </a:t>
              </a:r>
              <a:r>
                <a:rPr lang="sv-SE" sz="3000" err="1">
                  <a:cs typeface="Arial"/>
                </a:rPr>
                <a:t>of</a:t>
              </a:r>
              <a:r>
                <a:rPr lang="sv-SE" sz="3000">
                  <a:cs typeface="Arial"/>
                </a:rPr>
                <a:t> </a:t>
              </a:r>
              <a:r>
                <a:rPr lang="sv-SE" sz="3000" err="1">
                  <a:cs typeface="Arial"/>
                </a:rPr>
                <a:t>using</a:t>
              </a:r>
              <a:r>
                <a:rPr lang="sv-SE" sz="3000">
                  <a:cs typeface="Arial"/>
                </a:rPr>
                <a:t> </a:t>
              </a:r>
              <a:r>
                <a:rPr lang="sv-SE" sz="3000" err="1">
                  <a:cs typeface="Arial"/>
                </a:rPr>
                <a:t>recycled</a:t>
              </a:r>
              <a:r>
                <a:rPr lang="sv-SE" sz="3000">
                  <a:cs typeface="Arial"/>
                </a:rPr>
                <a:t> material vs </a:t>
              </a:r>
              <a:r>
                <a:rPr lang="sv-SE" sz="3000" err="1">
                  <a:cs typeface="Arial"/>
                </a:rPr>
                <a:t>virgin</a:t>
              </a:r>
              <a:r>
                <a:rPr lang="sv-SE" sz="3000">
                  <a:cs typeface="Arial"/>
                </a:rPr>
                <a:t> material? </a:t>
              </a:r>
              <a:endParaRPr lang="sv-SE" sz="3000">
                <a:cs typeface="Arial" panose="020B0604020202020204" pitchFamily="34" charset="0"/>
              </a:endParaRPr>
            </a:p>
            <a:p>
              <a:pPr marL="457200" indent="-457200">
                <a:buFont typeface="Arial"/>
                <a:buChar char="•"/>
              </a:pPr>
              <a:r>
                <a:rPr lang="en-GB" sz="3000">
                  <a:cs typeface="Arial"/>
                </a:rPr>
                <a:t>What are the potential positive social impacts of the product? </a:t>
              </a:r>
              <a:r>
                <a:rPr lang="en-GB">
                  <a:latin typeface="Avenir Next LT Pro"/>
                </a:rPr>
                <a:t> </a:t>
              </a:r>
              <a:endParaRPr lang="en-GB">
                <a:latin typeface="Avenir Next LT Pro" panose="020B0504020202020204" pitchFamily="34" charset="0"/>
              </a:endParaRPr>
            </a:p>
          </p:txBody>
        </p:sp>
      </p:grpSp>
      <p:pic>
        <p:nvPicPr>
          <p:cNvPr id="6" name="Graphic 6" descr="Lights On with solid fill">
            <a:extLst>
              <a:ext uri="{FF2B5EF4-FFF2-40B4-BE49-F238E27FC236}">
                <a16:creationId xmlns:a16="http://schemas.microsoft.com/office/drawing/2014/main" id="{61BC807E-240A-4336-220D-56080231989E}"/>
              </a:ext>
            </a:extLst>
          </p:cNvPr>
          <p:cNvPicPr>
            <a:picLocks noChangeAspect="1"/>
          </p:cNvPicPr>
          <p:nvPr/>
        </p:nvPicPr>
        <p:blipFill>
          <a:blip r:embed="rId10" cstate="hq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327939" y="5142379"/>
            <a:ext cx="1190593" cy="1181224"/>
          </a:xfrm>
          <a:prstGeom prst="rect">
            <a:avLst/>
          </a:prstGeom>
        </p:spPr>
      </p:pic>
      <p:sp>
        <p:nvSpPr>
          <p:cNvPr id="7" name="TextBox 7">
            <a:extLst>
              <a:ext uri="{FF2B5EF4-FFF2-40B4-BE49-F238E27FC236}">
                <a16:creationId xmlns:a16="http://schemas.microsoft.com/office/drawing/2014/main" id="{44FCB781-B53E-1D72-D3FB-CE7144DB4718}"/>
              </a:ext>
            </a:extLst>
          </p:cNvPr>
          <p:cNvSpPr txBox="1"/>
          <p:nvPr/>
        </p:nvSpPr>
        <p:spPr>
          <a:xfrm>
            <a:off x="3568045" y="5039321"/>
            <a:ext cx="11218561" cy="1938992"/>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457200" indent="-457200">
              <a:buFont typeface="Arial"/>
              <a:buChar char="•"/>
            </a:pPr>
            <a:r>
              <a:rPr lang="sv-SE" sz="3000">
                <a:cs typeface="Arial"/>
              </a:rPr>
              <a:t>S-LCA is </a:t>
            </a:r>
            <a:r>
              <a:rPr lang="sv-SE" sz="3000" err="1">
                <a:cs typeface="Arial"/>
              </a:rPr>
              <a:t>becoming</a:t>
            </a:r>
            <a:r>
              <a:rPr lang="sv-SE" sz="3000">
                <a:cs typeface="Arial"/>
              </a:rPr>
              <a:t> relevant as the </a:t>
            </a:r>
            <a:r>
              <a:rPr lang="sv-SE" sz="3000" err="1">
                <a:cs typeface="Arial"/>
              </a:rPr>
              <a:t>awareness</a:t>
            </a:r>
            <a:r>
              <a:rPr lang="sv-SE" sz="3000">
                <a:cs typeface="Arial"/>
              </a:rPr>
              <a:t> </a:t>
            </a:r>
            <a:r>
              <a:rPr lang="sv-SE" sz="3000" err="1">
                <a:cs typeface="Arial"/>
              </a:rPr>
              <a:t>about</a:t>
            </a:r>
            <a:r>
              <a:rPr lang="sv-SE" sz="3000">
                <a:cs typeface="Arial"/>
              </a:rPr>
              <a:t> the social </a:t>
            </a:r>
            <a:r>
              <a:rPr lang="sv-SE" sz="3000" err="1">
                <a:cs typeface="Arial"/>
              </a:rPr>
              <a:t>issues</a:t>
            </a:r>
            <a:r>
              <a:rPr lang="sv-SE" sz="3000">
                <a:cs typeface="Arial"/>
              </a:rPr>
              <a:t> in organisations and the organisations’ </a:t>
            </a:r>
            <a:r>
              <a:rPr lang="sv-SE" sz="3000" err="1">
                <a:cs typeface="Arial"/>
              </a:rPr>
              <a:t>related</a:t>
            </a:r>
            <a:r>
              <a:rPr lang="sv-SE" sz="3000">
                <a:cs typeface="Arial"/>
              </a:rPr>
              <a:t> </a:t>
            </a:r>
            <a:r>
              <a:rPr lang="sv-SE" sz="3000" err="1">
                <a:cs typeface="Arial"/>
              </a:rPr>
              <a:t>value</a:t>
            </a:r>
            <a:r>
              <a:rPr lang="sv-SE" sz="3000">
                <a:cs typeface="Arial"/>
              </a:rPr>
              <a:t> </a:t>
            </a:r>
            <a:r>
              <a:rPr lang="sv-SE" sz="3000" err="1">
                <a:cs typeface="Arial"/>
              </a:rPr>
              <a:t>chain</a:t>
            </a:r>
            <a:r>
              <a:rPr lang="sv-SE" sz="3000">
                <a:cs typeface="Arial"/>
              </a:rPr>
              <a:t> </a:t>
            </a:r>
            <a:r>
              <a:rPr lang="sv-SE" sz="3000" err="1">
                <a:cs typeface="Arial"/>
              </a:rPr>
              <a:t>increases</a:t>
            </a:r>
            <a:r>
              <a:rPr lang="sv-SE" sz="3000">
                <a:cs typeface="Arial"/>
              </a:rPr>
              <a:t> and </a:t>
            </a:r>
            <a:r>
              <a:rPr lang="sv-SE" sz="3000" err="1">
                <a:cs typeface="Arial"/>
              </a:rPr>
              <a:t>there</a:t>
            </a:r>
            <a:r>
              <a:rPr lang="sv-SE" sz="3000">
                <a:cs typeface="Arial"/>
              </a:rPr>
              <a:t> is a </a:t>
            </a:r>
            <a:r>
              <a:rPr lang="sv-SE" sz="3000" err="1">
                <a:cs typeface="Arial"/>
              </a:rPr>
              <a:t>need</a:t>
            </a:r>
            <a:r>
              <a:rPr lang="sv-SE" sz="3000">
                <a:cs typeface="Arial"/>
              </a:rPr>
              <a:t> to </a:t>
            </a:r>
            <a:r>
              <a:rPr lang="sv-SE" sz="3000" err="1">
                <a:cs typeface="Arial"/>
              </a:rPr>
              <a:t>identify</a:t>
            </a:r>
            <a:r>
              <a:rPr lang="sv-SE" sz="3000">
                <a:cs typeface="Arial"/>
              </a:rPr>
              <a:t> areas </a:t>
            </a:r>
            <a:r>
              <a:rPr lang="sv-SE" sz="3000" err="1">
                <a:cs typeface="Arial"/>
              </a:rPr>
              <a:t>of</a:t>
            </a:r>
            <a:r>
              <a:rPr lang="sv-SE" sz="3000">
                <a:cs typeface="Arial"/>
              </a:rPr>
              <a:t> </a:t>
            </a:r>
            <a:r>
              <a:rPr lang="sv-SE" sz="3000" err="1">
                <a:cs typeface="Arial"/>
              </a:rPr>
              <a:t>improvement</a:t>
            </a:r>
            <a:r>
              <a:rPr lang="sv-SE" sz="3000">
                <a:cs typeface="Arial"/>
              </a:rPr>
              <a:t>.</a:t>
            </a:r>
            <a:endParaRPr lang="en-GB" sz="3000">
              <a:cs typeface="Arial"/>
            </a:endParaRPr>
          </a:p>
        </p:txBody>
      </p:sp>
      <p:sp>
        <p:nvSpPr>
          <p:cNvPr id="12" name="TextBox 11">
            <a:extLst>
              <a:ext uri="{FF2B5EF4-FFF2-40B4-BE49-F238E27FC236}">
                <a16:creationId xmlns:a16="http://schemas.microsoft.com/office/drawing/2014/main" id="{A0A6E3B6-30D3-7265-F673-27D022084A24}"/>
              </a:ext>
            </a:extLst>
          </p:cNvPr>
          <p:cNvSpPr txBox="1"/>
          <p:nvPr/>
        </p:nvSpPr>
        <p:spPr>
          <a:xfrm>
            <a:off x="614149" y="5383702"/>
            <a:ext cx="1664277" cy="369332"/>
          </a:xfrm>
          <a:prstGeom prst="rect">
            <a:avLst/>
          </a:prstGeom>
          <a:noFill/>
        </p:spPr>
        <p:txBody>
          <a:bodyPr wrap="square" rtlCol="0">
            <a:spAutoFit/>
          </a:bodyPr>
          <a:lstStyle/>
          <a:p>
            <a:r>
              <a:rPr lang="sv-SE"/>
              <a:t>WHY?</a:t>
            </a:r>
            <a:endParaRPr lang="en-GB"/>
          </a:p>
        </p:txBody>
      </p:sp>
      <p:sp>
        <p:nvSpPr>
          <p:cNvPr id="13" name="TextBox 12">
            <a:extLst>
              <a:ext uri="{FF2B5EF4-FFF2-40B4-BE49-F238E27FC236}">
                <a16:creationId xmlns:a16="http://schemas.microsoft.com/office/drawing/2014/main" id="{7C3F1288-5977-F034-1CAE-2FCF19A857EA}"/>
              </a:ext>
            </a:extLst>
          </p:cNvPr>
          <p:cNvSpPr txBox="1"/>
          <p:nvPr/>
        </p:nvSpPr>
        <p:spPr>
          <a:xfrm>
            <a:off x="614149" y="2956549"/>
            <a:ext cx="1664277" cy="369332"/>
          </a:xfrm>
          <a:prstGeom prst="rect">
            <a:avLst/>
          </a:prstGeom>
          <a:noFill/>
        </p:spPr>
        <p:txBody>
          <a:bodyPr wrap="square" rtlCol="0">
            <a:spAutoFit/>
          </a:bodyPr>
          <a:lstStyle/>
          <a:p>
            <a:r>
              <a:rPr lang="sv-SE"/>
              <a:t>WHAT IS IT?</a:t>
            </a:r>
            <a:endParaRPr lang="en-GB"/>
          </a:p>
        </p:txBody>
      </p:sp>
      <p:sp>
        <p:nvSpPr>
          <p:cNvPr id="14" name="TextBox 13">
            <a:extLst>
              <a:ext uri="{FF2B5EF4-FFF2-40B4-BE49-F238E27FC236}">
                <a16:creationId xmlns:a16="http://schemas.microsoft.com/office/drawing/2014/main" id="{1BC80FDE-EC8E-7689-934F-B63724626323}"/>
              </a:ext>
            </a:extLst>
          </p:cNvPr>
          <p:cNvSpPr txBox="1"/>
          <p:nvPr/>
        </p:nvSpPr>
        <p:spPr>
          <a:xfrm>
            <a:off x="663662" y="7366232"/>
            <a:ext cx="1664277" cy="646331"/>
          </a:xfrm>
          <a:prstGeom prst="rect">
            <a:avLst/>
          </a:prstGeom>
          <a:noFill/>
        </p:spPr>
        <p:txBody>
          <a:bodyPr wrap="square" rtlCol="0">
            <a:spAutoFit/>
          </a:bodyPr>
          <a:lstStyle/>
          <a:p>
            <a:r>
              <a:rPr lang="sv-SE"/>
              <a:t>ISSUES IN FOCUS</a:t>
            </a:r>
            <a:endParaRPr lang="en-GB"/>
          </a:p>
        </p:txBody>
      </p:sp>
    </p:spTree>
    <p:extLst>
      <p:ext uri="{BB962C8B-B14F-4D97-AF65-F5344CB8AC3E}">
        <p14:creationId xmlns:p14="http://schemas.microsoft.com/office/powerpoint/2010/main" val="1876559641"/>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6"/>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4"/>
          <a:srcRect/>
          <a:stretch>
            <a:fillRect/>
          </a:stretch>
        </p:blipFill>
        <p:spPr>
          <a:xfrm>
            <a:off x="0" y="8901113"/>
            <a:ext cx="5715000" cy="1385887"/>
          </a:xfrm>
          <a:prstGeom prst="rect">
            <a:avLst/>
          </a:prstGeom>
        </p:spPr>
      </p:pic>
      <p:grpSp>
        <p:nvGrpSpPr>
          <p:cNvPr id="3" name="Gruppo 2">
            <a:extLst>
              <a:ext uri="{FF2B5EF4-FFF2-40B4-BE49-F238E27FC236}">
                <a16:creationId xmlns:a16="http://schemas.microsoft.com/office/drawing/2014/main" id="{D0B44AFC-EABA-48CF-A7A8-348076F88921}"/>
              </a:ext>
            </a:extLst>
          </p:cNvPr>
          <p:cNvGrpSpPr/>
          <p:nvPr/>
        </p:nvGrpSpPr>
        <p:grpSpPr>
          <a:xfrm>
            <a:off x="-12" y="138554"/>
            <a:ext cx="18288002" cy="681138"/>
            <a:chOff x="-12" y="138554"/>
            <a:chExt cx="18288002" cy="681138"/>
          </a:xfrm>
        </p:grpSpPr>
        <p:grpSp>
          <p:nvGrpSpPr>
            <p:cNvPr id="16" name="Gruppo 15">
              <a:extLst>
                <a:ext uri="{FF2B5EF4-FFF2-40B4-BE49-F238E27FC236}">
                  <a16:creationId xmlns:a16="http://schemas.microsoft.com/office/drawing/2014/main" id="{DAC42A46-917D-41AB-8F07-E15E54D0F7D4}"/>
                </a:ext>
              </a:extLst>
            </p:cNvPr>
            <p:cNvGrpSpPr/>
            <p:nvPr/>
          </p:nvGrpSpPr>
          <p:grpSpPr>
            <a:xfrm>
              <a:off x="0" y="153125"/>
              <a:ext cx="13958844" cy="666567"/>
              <a:chOff x="0" y="153125"/>
              <a:chExt cx="13958844" cy="666567"/>
            </a:xfrm>
          </p:grpSpPr>
          <p:pic>
            <p:nvPicPr>
              <p:cNvPr id="10" name="Picture 10"/>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1" name="TextBox 11"/>
              <p:cNvSpPr txBox="1"/>
              <p:nvPr/>
            </p:nvSpPr>
            <p:spPr>
              <a:xfrm>
                <a:off x="228600" y="257980"/>
                <a:ext cx="10034516" cy="456856"/>
              </a:xfrm>
              <a:prstGeom prst="rect">
                <a:avLst/>
              </a:prstGeom>
            </p:spPr>
            <p:txBody>
              <a:bodyPr wrap="square" lIns="0" tIns="0" rIns="0" bIns="0" rtlCol="0" anchor="t">
                <a:spAutoFit/>
              </a:bodyPr>
              <a:lstStyle/>
              <a:p>
                <a:pPr>
                  <a:lnSpc>
                    <a:spcPts val="3919"/>
                  </a:lnSpc>
                  <a:spcBef>
                    <a:spcPct val="0"/>
                  </a:spcBef>
                </a:pPr>
                <a:endParaRPr lang="en-US" sz="2800" b="1">
                  <a:solidFill>
                    <a:srgbClr val="FFFFFF"/>
                  </a:solidFill>
                  <a:latin typeface="Arial" panose="020B0604020202020204" pitchFamily="34" charset="0"/>
                  <a:cs typeface="Arial" panose="020B0604020202020204" pitchFamily="34" charset="0"/>
                </a:endParaRPr>
              </a:p>
            </p:txBody>
          </p:sp>
        </p:grpSp>
        <p:sp>
          <p:nvSpPr>
            <p:cNvPr id="15" name="Rettangolo 14">
              <a:extLst>
                <a:ext uri="{FF2B5EF4-FFF2-40B4-BE49-F238E27FC236}">
                  <a16:creationId xmlns:a16="http://schemas.microsoft.com/office/drawing/2014/main" id="{AFFDA913-633F-49C2-9D71-573FB327981F}"/>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7" name="TextBox 13">
            <a:extLst>
              <a:ext uri="{FF2B5EF4-FFF2-40B4-BE49-F238E27FC236}">
                <a16:creationId xmlns:a16="http://schemas.microsoft.com/office/drawing/2014/main" id="{C7197FAA-9C82-4C25-B208-2BF8170DA3D1}"/>
              </a:ext>
            </a:extLst>
          </p:cNvPr>
          <p:cNvSpPr txBox="1"/>
          <p:nvPr/>
        </p:nvSpPr>
        <p:spPr>
          <a:xfrm>
            <a:off x="838188" y="850387"/>
            <a:ext cx="17068812" cy="1052468"/>
          </a:xfrm>
          <a:prstGeom prst="rect">
            <a:avLst/>
          </a:prstGeom>
        </p:spPr>
        <p:txBody>
          <a:bodyPr wrap="square" lIns="0" tIns="0" rIns="0" bIns="0" rtlCol="0" anchor="t">
            <a:spAutoFit/>
          </a:bodyPr>
          <a:lstStyle/>
          <a:p>
            <a:pPr algn="ctr">
              <a:lnSpc>
                <a:spcPts val="8960"/>
              </a:lnSpc>
              <a:spcBef>
                <a:spcPct val="0"/>
              </a:spcBef>
            </a:pPr>
            <a:r>
              <a:rPr lang="en-US" sz="6400" b="1" dirty="0">
                <a:solidFill>
                  <a:srgbClr val="CC0033"/>
                </a:solidFill>
                <a:latin typeface="+mj-lt"/>
                <a:cs typeface="Arial" panose="020B0604020202020204" pitchFamily="34" charset="0"/>
              </a:rPr>
              <a:t>Social life cycle assessment (S-LCA)</a:t>
            </a:r>
          </a:p>
        </p:txBody>
      </p:sp>
      <p:sp>
        <p:nvSpPr>
          <p:cNvPr id="12" name="Title 1">
            <a:extLst>
              <a:ext uri="{FF2B5EF4-FFF2-40B4-BE49-F238E27FC236}">
                <a16:creationId xmlns:a16="http://schemas.microsoft.com/office/drawing/2014/main" id="{4785615A-27F7-B312-B259-C312A550C493}"/>
              </a:ext>
            </a:extLst>
          </p:cNvPr>
          <p:cNvSpPr>
            <a:spLocks noGrp="1"/>
          </p:cNvSpPr>
          <p:nvPr/>
        </p:nvSpPr>
        <p:spPr>
          <a:xfrm>
            <a:off x="1301398" y="1903581"/>
            <a:ext cx="11159231" cy="913258"/>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3400" kern="1200">
                <a:solidFill>
                  <a:srgbClr val="540425"/>
                </a:solidFill>
                <a:latin typeface="Tenorite" panose="00000500000000000000" pitchFamily="2" charset="0"/>
                <a:ea typeface="+mj-ea"/>
                <a:cs typeface="+mj-cs"/>
              </a:defRPr>
            </a:lvl1pPr>
          </a:lstStyle>
          <a:p>
            <a:r>
              <a:rPr lang="sv-SE" b="1">
                <a:solidFill>
                  <a:schemeClr val="tx1"/>
                </a:solidFill>
                <a:latin typeface="Arial"/>
                <a:cs typeface="Arial"/>
              </a:rPr>
              <a:t>The </a:t>
            </a:r>
            <a:r>
              <a:rPr lang="sv-SE" b="1" err="1">
                <a:solidFill>
                  <a:schemeClr val="tx1"/>
                </a:solidFill>
                <a:latin typeface="Arial"/>
                <a:cs typeface="Arial"/>
              </a:rPr>
              <a:t>importance</a:t>
            </a:r>
            <a:r>
              <a:rPr lang="sv-SE" b="1">
                <a:solidFill>
                  <a:schemeClr val="tx1"/>
                </a:solidFill>
                <a:latin typeface="Arial"/>
                <a:cs typeface="Arial"/>
              </a:rPr>
              <a:t> </a:t>
            </a:r>
            <a:r>
              <a:rPr lang="sv-SE" b="1" err="1">
                <a:solidFill>
                  <a:schemeClr val="tx1"/>
                </a:solidFill>
                <a:latin typeface="Arial"/>
                <a:cs typeface="Arial"/>
              </a:rPr>
              <a:t>of</a:t>
            </a:r>
            <a:r>
              <a:rPr lang="sv-SE" b="1">
                <a:solidFill>
                  <a:schemeClr val="tx1"/>
                </a:solidFill>
                <a:latin typeface="Arial"/>
                <a:cs typeface="Arial"/>
              </a:rPr>
              <a:t> S-LCA</a:t>
            </a:r>
            <a:endParaRPr lang="en-GB" b="1">
              <a:solidFill>
                <a:schemeClr val="tx1"/>
              </a:solidFill>
              <a:latin typeface="Arial"/>
              <a:cs typeface="Arial"/>
            </a:endParaRPr>
          </a:p>
        </p:txBody>
      </p:sp>
      <p:sp>
        <p:nvSpPr>
          <p:cNvPr id="13" name="Content Placeholder 2">
            <a:extLst>
              <a:ext uri="{FF2B5EF4-FFF2-40B4-BE49-F238E27FC236}">
                <a16:creationId xmlns:a16="http://schemas.microsoft.com/office/drawing/2014/main" id="{9B592619-6742-5FC2-0EBA-F45FB5EF8928}"/>
              </a:ext>
            </a:extLst>
          </p:cNvPr>
          <p:cNvSpPr>
            <a:spLocks noGrp="1"/>
          </p:cNvSpPr>
          <p:nvPr/>
        </p:nvSpPr>
        <p:spPr>
          <a:xfrm>
            <a:off x="1385717" y="3569861"/>
            <a:ext cx="12492731" cy="4658881"/>
          </a:xfrm>
          <a:prstGeom prst="rect">
            <a:avLst/>
          </a:prstGeom>
        </p:spPr>
        <p:txBody>
          <a:bodyPr vert="horz" lIns="91440" tIns="45720" rIns="91440" bIns="45720" rtlCol="0" anchor="t">
            <a:normAutofit/>
          </a:bodyPr>
          <a:lstStyle>
            <a:lvl1pPr marL="0" indent="0" algn="l" defTabSz="914400" rtl="0" eaLnBrk="1" latinLnBrk="0" hangingPunct="1">
              <a:lnSpc>
                <a:spcPct val="90000"/>
              </a:lnSpc>
              <a:spcBef>
                <a:spcPts val="1500"/>
              </a:spcBef>
              <a:buClr>
                <a:schemeClr val="bg1"/>
              </a:buClr>
              <a:buFont typeface="Arial" panose="020B0604020202020204" pitchFamily="34" charset="0"/>
              <a:buChar char="•"/>
              <a:defRPr sz="2800" b="0" kern="1200">
                <a:solidFill>
                  <a:srgbClr val="540425"/>
                </a:solidFill>
                <a:latin typeface="Tenorite" panose="00000500000000000000" pitchFamily="2" charset="0"/>
                <a:ea typeface="+mn-ea"/>
                <a:cs typeface="+mn-cs"/>
              </a:defRPr>
            </a:lvl1pPr>
            <a:lvl2pPr marL="685800" indent="-228600" algn="l" defTabSz="914400" rtl="0" eaLnBrk="1" latinLnBrk="0" hangingPunct="1">
              <a:lnSpc>
                <a:spcPct val="90000"/>
              </a:lnSpc>
              <a:spcBef>
                <a:spcPts val="1500"/>
              </a:spcBef>
              <a:buClr>
                <a:srgbClr val="CF8F3F"/>
              </a:buClr>
              <a:buFont typeface="Arial" panose="020B0604020202020204" pitchFamily="34" charset="0"/>
              <a:buChar char="•"/>
              <a:defRPr sz="2000" kern="1200">
                <a:solidFill>
                  <a:srgbClr val="540425"/>
                </a:solidFill>
                <a:latin typeface="Tenorite" panose="00000500000000000000" pitchFamily="2" charset="0"/>
                <a:ea typeface="+mn-ea"/>
                <a:cs typeface="+mn-cs"/>
              </a:defRPr>
            </a:lvl2pPr>
            <a:lvl3pPr marL="1143000" indent="-228600" algn="l" defTabSz="914400" rtl="0" eaLnBrk="1" latinLnBrk="0" hangingPunct="1">
              <a:lnSpc>
                <a:spcPct val="90000"/>
              </a:lnSpc>
              <a:spcBef>
                <a:spcPts val="1500"/>
              </a:spcBef>
              <a:buClr>
                <a:srgbClr val="CF8F3F"/>
              </a:buClr>
              <a:buFont typeface="Arial" panose="020B0604020202020204" pitchFamily="34" charset="0"/>
              <a:buChar char="•"/>
              <a:defRPr sz="1800" kern="1200">
                <a:solidFill>
                  <a:srgbClr val="540425"/>
                </a:solidFill>
                <a:latin typeface="Tenorite" panose="00000500000000000000" pitchFamily="2" charset="0"/>
                <a:ea typeface="+mn-ea"/>
                <a:cs typeface="+mn-cs"/>
              </a:defRPr>
            </a:lvl3pPr>
            <a:lvl4pPr marL="1600200" indent="-228600" algn="l" defTabSz="914400" rtl="0" eaLnBrk="1" latinLnBrk="0" hangingPunct="1">
              <a:lnSpc>
                <a:spcPct val="90000"/>
              </a:lnSpc>
              <a:spcBef>
                <a:spcPts val="500"/>
              </a:spcBef>
              <a:buClr>
                <a:srgbClr val="CF8F3F"/>
              </a:buClr>
              <a:buFont typeface="Arial" panose="020B0604020202020204" pitchFamily="34" charset="0"/>
              <a:buChar char="•"/>
              <a:defRPr sz="1600" kern="1200">
                <a:solidFill>
                  <a:srgbClr val="540425"/>
                </a:solidFill>
                <a:latin typeface="Tenorite" panose="00000500000000000000" pitchFamily="2" charset="0"/>
                <a:ea typeface="+mn-ea"/>
                <a:cs typeface="+mn-cs"/>
              </a:defRPr>
            </a:lvl4pPr>
            <a:lvl5pPr marL="2057400" indent="-228600" algn="l" defTabSz="914400" rtl="0" eaLnBrk="1" latinLnBrk="0" hangingPunct="1">
              <a:lnSpc>
                <a:spcPct val="90000"/>
              </a:lnSpc>
              <a:spcBef>
                <a:spcPts val="500"/>
              </a:spcBef>
              <a:buClr>
                <a:srgbClr val="CF8F3F"/>
              </a:buClr>
              <a:buFont typeface="Arial" panose="020B0604020202020204" pitchFamily="34" charset="0"/>
              <a:buChar char="•"/>
              <a:defRPr sz="1600" kern="1200">
                <a:solidFill>
                  <a:srgbClr val="540425"/>
                </a:solidFill>
                <a:latin typeface="Tenorite" panose="00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buClr>
                <a:srgbClr val="540425"/>
              </a:buClr>
            </a:pPr>
            <a:r>
              <a:rPr lang="sv-SE" err="1">
                <a:solidFill>
                  <a:schemeClr val="tx1"/>
                </a:solidFill>
                <a:latin typeface="Arial"/>
                <a:cs typeface="Arial"/>
              </a:rPr>
              <a:t>Identifying</a:t>
            </a:r>
            <a:r>
              <a:rPr lang="sv-SE">
                <a:solidFill>
                  <a:schemeClr val="tx1"/>
                </a:solidFill>
                <a:latin typeface="Arial"/>
                <a:cs typeface="Arial"/>
              </a:rPr>
              <a:t> </a:t>
            </a:r>
            <a:r>
              <a:rPr lang="sv-SE" b="1">
                <a:solidFill>
                  <a:schemeClr val="tx1"/>
                </a:solidFill>
                <a:latin typeface="Arial"/>
                <a:cs typeface="Arial"/>
              </a:rPr>
              <a:t>social risk and </a:t>
            </a:r>
            <a:r>
              <a:rPr lang="sv-SE" b="1" err="1">
                <a:solidFill>
                  <a:schemeClr val="tx1"/>
                </a:solidFill>
                <a:latin typeface="Arial"/>
                <a:cs typeface="Arial"/>
              </a:rPr>
              <a:t>opportunities</a:t>
            </a:r>
            <a:r>
              <a:rPr lang="sv-SE" b="1">
                <a:solidFill>
                  <a:schemeClr val="tx1"/>
                </a:solidFill>
                <a:latin typeface="Arial"/>
                <a:cs typeface="Arial"/>
              </a:rPr>
              <a:t> </a:t>
            </a:r>
            <a:r>
              <a:rPr lang="en-GB">
                <a:solidFill>
                  <a:schemeClr val="tx1"/>
                </a:solidFill>
                <a:latin typeface="Arial"/>
                <a:cs typeface="Arial"/>
              </a:rPr>
              <a:t>– allow company to understand where to improve and minimise negative social impacts</a:t>
            </a:r>
          </a:p>
          <a:p>
            <a:pPr marL="457200" indent="-457200">
              <a:buClr>
                <a:srgbClr val="540425"/>
              </a:buClr>
            </a:pPr>
            <a:r>
              <a:rPr lang="en-GB">
                <a:solidFill>
                  <a:schemeClr val="tx1"/>
                </a:solidFill>
                <a:latin typeface="Arial"/>
                <a:cs typeface="Arial"/>
              </a:rPr>
              <a:t>Improving supply chain management </a:t>
            </a:r>
          </a:p>
          <a:p>
            <a:pPr marL="457200" indent="-457200">
              <a:buClr>
                <a:srgbClr val="540425"/>
              </a:buClr>
            </a:pPr>
            <a:r>
              <a:rPr lang="en-GB">
                <a:solidFill>
                  <a:schemeClr val="tx1"/>
                </a:solidFill>
                <a:latin typeface="Arial"/>
                <a:cs typeface="Arial"/>
              </a:rPr>
              <a:t>Contributing to sustainable development </a:t>
            </a:r>
          </a:p>
          <a:p>
            <a:pPr marL="457200" indent="-457200">
              <a:buClr>
                <a:srgbClr val="540425"/>
              </a:buClr>
            </a:pPr>
            <a:r>
              <a:rPr lang="en-GB">
                <a:solidFill>
                  <a:schemeClr val="tx1"/>
                </a:solidFill>
                <a:latin typeface="Arial"/>
                <a:cs typeface="Arial"/>
              </a:rPr>
              <a:t>Improving brand reputation</a:t>
            </a:r>
          </a:p>
          <a:p>
            <a:pPr marL="457200" indent="-457200">
              <a:buClr>
                <a:srgbClr val="540425"/>
              </a:buClr>
            </a:pPr>
            <a:r>
              <a:rPr lang="en-GB">
                <a:solidFill>
                  <a:schemeClr val="tx1"/>
                </a:solidFill>
                <a:latin typeface="Arial"/>
                <a:cs typeface="Arial"/>
              </a:rPr>
              <a:t>Meeting stakeholders expectations – consumers, government</a:t>
            </a:r>
          </a:p>
          <a:p>
            <a:pPr marL="457200" indent="-457200">
              <a:buClr>
                <a:srgbClr val="540425"/>
              </a:buClr>
            </a:pPr>
            <a:r>
              <a:rPr lang="en-GB">
                <a:solidFill>
                  <a:schemeClr val="tx1"/>
                </a:solidFill>
                <a:latin typeface="Arial"/>
                <a:cs typeface="Arial"/>
              </a:rPr>
              <a:t>Documenting positive social impacts of the investigated system</a:t>
            </a:r>
            <a:endParaRPr lang="sv-SE">
              <a:solidFill>
                <a:schemeClr val="tx1"/>
              </a:solidFill>
              <a:latin typeface="Arial"/>
              <a:cs typeface="Arial"/>
            </a:endParaRPr>
          </a:p>
        </p:txBody>
      </p:sp>
    </p:spTree>
    <p:extLst>
      <p:ext uri="{BB962C8B-B14F-4D97-AF65-F5344CB8AC3E}">
        <p14:creationId xmlns:p14="http://schemas.microsoft.com/office/powerpoint/2010/main" val="110190534"/>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6"/>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4"/>
          <a:srcRect/>
          <a:stretch>
            <a:fillRect/>
          </a:stretch>
        </p:blipFill>
        <p:spPr>
          <a:xfrm>
            <a:off x="0" y="8901113"/>
            <a:ext cx="5715000" cy="1385887"/>
          </a:xfrm>
          <a:prstGeom prst="rect">
            <a:avLst/>
          </a:prstGeom>
        </p:spPr>
      </p:pic>
      <p:grpSp>
        <p:nvGrpSpPr>
          <p:cNvPr id="3" name="Gruppo 2">
            <a:extLst>
              <a:ext uri="{FF2B5EF4-FFF2-40B4-BE49-F238E27FC236}">
                <a16:creationId xmlns:a16="http://schemas.microsoft.com/office/drawing/2014/main" id="{D0B44AFC-EABA-48CF-A7A8-348076F88921}"/>
              </a:ext>
            </a:extLst>
          </p:cNvPr>
          <p:cNvGrpSpPr/>
          <p:nvPr/>
        </p:nvGrpSpPr>
        <p:grpSpPr>
          <a:xfrm>
            <a:off x="-12" y="138554"/>
            <a:ext cx="18288002" cy="681138"/>
            <a:chOff x="-12" y="138554"/>
            <a:chExt cx="18288002" cy="681138"/>
          </a:xfrm>
        </p:grpSpPr>
        <p:grpSp>
          <p:nvGrpSpPr>
            <p:cNvPr id="16" name="Gruppo 15">
              <a:extLst>
                <a:ext uri="{FF2B5EF4-FFF2-40B4-BE49-F238E27FC236}">
                  <a16:creationId xmlns:a16="http://schemas.microsoft.com/office/drawing/2014/main" id="{DAC42A46-917D-41AB-8F07-E15E54D0F7D4}"/>
                </a:ext>
              </a:extLst>
            </p:cNvPr>
            <p:cNvGrpSpPr/>
            <p:nvPr/>
          </p:nvGrpSpPr>
          <p:grpSpPr>
            <a:xfrm>
              <a:off x="0" y="153125"/>
              <a:ext cx="13958844" cy="666567"/>
              <a:chOff x="0" y="153125"/>
              <a:chExt cx="13958844" cy="666567"/>
            </a:xfrm>
          </p:grpSpPr>
          <p:pic>
            <p:nvPicPr>
              <p:cNvPr id="10" name="Picture 10"/>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1" name="TextBox 11"/>
              <p:cNvSpPr txBox="1"/>
              <p:nvPr/>
            </p:nvSpPr>
            <p:spPr>
              <a:xfrm>
                <a:off x="228599" y="257980"/>
                <a:ext cx="8533263" cy="456856"/>
              </a:xfrm>
              <a:prstGeom prst="rect">
                <a:avLst/>
              </a:prstGeom>
            </p:spPr>
            <p:txBody>
              <a:bodyPr wrap="square" lIns="0" tIns="0" rIns="0" bIns="0" rtlCol="0" anchor="t">
                <a:spAutoFit/>
              </a:bodyPr>
              <a:lstStyle/>
              <a:p>
                <a:pPr>
                  <a:lnSpc>
                    <a:spcPts val="3919"/>
                  </a:lnSpc>
                  <a:spcBef>
                    <a:spcPct val="0"/>
                  </a:spcBef>
                </a:pPr>
                <a:endParaRPr lang="en-US" sz="2800" b="1">
                  <a:solidFill>
                    <a:srgbClr val="FFFFFF"/>
                  </a:solidFill>
                  <a:latin typeface="Arial" panose="020B0604020202020204" pitchFamily="34" charset="0"/>
                  <a:cs typeface="Arial" panose="020B0604020202020204" pitchFamily="34" charset="0"/>
                </a:endParaRPr>
              </a:p>
            </p:txBody>
          </p:sp>
        </p:grpSp>
        <p:sp>
          <p:nvSpPr>
            <p:cNvPr id="15" name="Rettangolo 14">
              <a:extLst>
                <a:ext uri="{FF2B5EF4-FFF2-40B4-BE49-F238E27FC236}">
                  <a16:creationId xmlns:a16="http://schemas.microsoft.com/office/drawing/2014/main" id="{AFFDA913-633F-49C2-9D71-573FB327981F}"/>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7" name="TextBox 13">
            <a:extLst>
              <a:ext uri="{FF2B5EF4-FFF2-40B4-BE49-F238E27FC236}">
                <a16:creationId xmlns:a16="http://schemas.microsoft.com/office/drawing/2014/main" id="{C7197FAA-9C82-4C25-B208-2BF8170DA3D1}"/>
              </a:ext>
            </a:extLst>
          </p:cNvPr>
          <p:cNvSpPr txBox="1"/>
          <p:nvPr/>
        </p:nvSpPr>
        <p:spPr>
          <a:xfrm>
            <a:off x="838188" y="850387"/>
            <a:ext cx="17068812" cy="1052468"/>
          </a:xfrm>
          <a:prstGeom prst="rect">
            <a:avLst/>
          </a:prstGeom>
        </p:spPr>
        <p:txBody>
          <a:bodyPr wrap="square" lIns="0" tIns="0" rIns="0" bIns="0" rtlCol="0" anchor="t">
            <a:spAutoFit/>
          </a:bodyPr>
          <a:lstStyle/>
          <a:p>
            <a:pPr algn="ctr">
              <a:lnSpc>
                <a:spcPts val="8960"/>
              </a:lnSpc>
              <a:spcBef>
                <a:spcPct val="0"/>
              </a:spcBef>
            </a:pPr>
            <a:r>
              <a:rPr lang="en-US" sz="6400" b="1" dirty="0">
                <a:solidFill>
                  <a:srgbClr val="CC0033"/>
                </a:solidFill>
                <a:latin typeface="+mj-lt"/>
                <a:cs typeface="Arial" panose="020B0604020202020204" pitchFamily="34" charset="0"/>
              </a:rPr>
              <a:t>Social life cycle assessment (S-LCA)</a:t>
            </a:r>
          </a:p>
        </p:txBody>
      </p:sp>
      <p:sp>
        <p:nvSpPr>
          <p:cNvPr id="4" name="TextBox 2">
            <a:extLst>
              <a:ext uri="{FF2B5EF4-FFF2-40B4-BE49-F238E27FC236}">
                <a16:creationId xmlns:a16="http://schemas.microsoft.com/office/drawing/2014/main" id="{89C0D10C-6C8E-7699-B70A-8B75EE8BB5BE}"/>
              </a:ext>
            </a:extLst>
          </p:cNvPr>
          <p:cNvSpPr txBox="1"/>
          <p:nvPr/>
        </p:nvSpPr>
        <p:spPr>
          <a:xfrm>
            <a:off x="3464988" y="2431725"/>
            <a:ext cx="11352537" cy="5170646"/>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457200" indent="-457200">
              <a:buFont typeface="Arial"/>
              <a:buChar char="•"/>
            </a:pPr>
            <a:r>
              <a:rPr lang="en-GB" sz="3000" dirty="0">
                <a:cs typeface="Arial"/>
              </a:rPr>
              <a:t>No official standard yet. Work in progress.</a:t>
            </a:r>
          </a:p>
          <a:p>
            <a:pPr marL="457200" indent="-457200">
              <a:buFont typeface="Arial"/>
              <a:buChar char="•"/>
            </a:pPr>
            <a:r>
              <a:rPr lang="en-GB" sz="3000" dirty="0">
                <a:cs typeface="Arial"/>
              </a:rPr>
              <a:t>UN Guidelines for Social Life Cycle Assessment, 2020</a:t>
            </a:r>
          </a:p>
          <a:p>
            <a:pPr marL="914400" lvl="1" indent="-457200">
              <a:buFont typeface="Arial"/>
              <a:buChar char="•"/>
            </a:pPr>
            <a:r>
              <a:rPr lang="en-GB" sz="3000" dirty="0">
                <a:cs typeface="Arial"/>
              </a:rPr>
              <a:t>Methodological sheets for subcategories in social life cycle assessment, 2021</a:t>
            </a:r>
          </a:p>
          <a:p>
            <a:pPr marL="914400" lvl="1" indent="-457200">
              <a:buFont typeface="Arial"/>
              <a:buChar char="•"/>
            </a:pPr>
            <a:endParaRPr lang="en-GB" sz="3000" dirty="0">
              <a:cs typeface="Arial"/>
            </a:endParaRPr>
          </a:p>
          <a:p>
            <a:r>
              <a:rPr lang="en-AU" sz="3000" b="1" dirty="0">
                <a:cs typeface="Arial"/>
              </a:rPr>
              <a:t>Two approaches have been applied in </a:t>
            </a:r>
            <a:r>
              <a:rPr lang="en-AU" sz="3000" b="1" dirty="0" err="1">
                <a:cs typeface="Arial"/>
              </a:rPr>
              <a:t>Retrofeed</a:t>
            </a:r>
            <a:r>
              <a:rPr lang="en-AU" sz="3000" b="1" dirty="0">
                <a:cs typeface="Arial"/>
              </a:rPr>
              <a:t>:</a:t>
            </a:r>
          </a:p>
          <a:p>
            <a:pPr marL="514350" indent="-514350">
              <a:buAutoNum type="arabicPeriod"/>
            </a:pPr>
            <a:r>
              <a:rPr lang="en-AU" sz="3000" dirty="0">
                <a:cs typeface="Arial"/>
              </a:rPr>
              <a:t>Database – General data for each sector in each country. Same background data used as for LCA and LCC. Applied for all six demo sites.</a:t>
            </a:r>
          </a:p>
          <a:p>
            <a:pPr marL="514350" indent="-514350">
              <a:buAutoNum type="arabicPeriod"/>
            </a:pPr>
            <a:r>
              <a:rPr lang="en-AU" sz="3000" dirty="0">
                <a:cs typeface="Arial"/>
              </a:rPr>
              <a:t>Interviews – Site specific, based on the UN Guidelines. Applied on SECIL and SILCOTUB. </a:t>
            </a:r>
          </a:p>
        </p:txBody>
      </p:sp>
    </p:spTree>
    <p:extLst>
      <p:ext uri="{BB962C8B-B14F-4D97-AF65-F5344CB8AC3E}">
        <p14:creationId xmlns:p14="http://schemas.microsoft.com/office/powerpoint/2010/main" val="3826581668"/>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6"/>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4"/>
          <a:srcRect/>
          <a:stretch>
            <a:fillRect/>
          </a:stretch>
        </p:blipFill>
        <p:spPr>
          <a:xfrm>
            <a:off x="0" y="8901113"/>
            <a:ext cx="5715000" cy="1385887"/>
          </a:xfrm>
          <a:prstGeom prst="rect">
            <a:avLst/>
          </a:prstGeom>
        </p:spPr>
      </p:pic>
      <p:grpSp>
        <p:nvGrpSpPr>
          <p:cNvPr id="3" name="Gruppo 2">
            <a:extLst>
              <a:ext uri="{FF2B5EF4-FFF2-40B4-BE49-F238E27FC236}">
                <a16:creationId xmlns:a16="http://schemas.microsoft.com/office/drawing/2014/main" id="{D0B44AFC-EABA-48CF-A7A8-348076F88921}"/>
              </a:ext>
            </a:extLst>
          </p:cNvPr>
          <p:cNvGrpSpPr/>
          <p:nvPr/>
        </p:nvGrpSpPr>
        <p:grpSpPr>
          <a:xfrm>
            <a:off x="-12" y="138554"/>
            <a:ext cx="18288002" cy="681138"/>
            <a:chOff x="-12" y="138554"/>
            <a:chExt cx="18288002" cy="681138"/>
          </a:xfrm>
        </p:grpSpPr>
        <p:grpSp>
          <p:nvGrpSpPr>
            <p:cNvPr id="16" name="Gruppo 15">
              <a:extLst>
                <a:ext uri="{FF2B5EF4-FFF2-40B4-BE49-F238E27FC236}">
                  <a16:creationId xmlns:a16="http://schemas.microsoft.com/office/drawing/2014/main" id="{DAC42A46-917D-41AB-8F07-E15E54D0F7D4}"/>
                </a:ext>
              </a:extLst>
            </p:cNvPr>
            <p:cNvGrpSpPr/>
            <p:nvPr/>
          </p:nvGrpSpPr>
          <p:grpSpPr>
            <a:xfrm>
              <a:off x="0" y="153125"/>
              <a:ext cx="13958844" cy="666567"/>
              <a:chOff x="0" y="153125"/>
              <a:chExt cx="13958844" cy="666567"/>
            </a:xfrm>
          </p:grpSpPr>
          <p:pic>
            <p:nvPicPr>
              <p:cNvPr id="10" name="Picture 10"/>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1" name="TextBox 11"/>
              <p:cNvSpPr txBox="1"/>
              <p:nvPr/>
            </p:nvSpPr>
            <p:spPr>
              <a:xfrm>
                <a:off x="228599" y="257980"/>
                <a:ext cx="9215652" cy="456856"/>
              </a:xfrm>
              <a:prstGeom prst="rect">
                <a:avLst/>
              </a:prstGeom>
            </p:spPr>
            <p:txBody>
              <a:bodyPr wrap="square" lIns="0" tIns="0" rIns="0" bIns="0" rtlCol="0" anchor="t">
                <a:spAutoFit/>
              </a:bodyPr>
              <a:lstStyle/>
              <a:p>
                <a:pPr>
                  <a:lnSpc>
                    <a:spcPts val="3919"/>
                  </a:lnSpc>
                  <a:spcBef>
                    <a:spcPct val="0"/>
                  </a:spcBef>
                </a:pPr>
                <a:endParaRPr lang="en-US" sz="2800" b="1">
                  <a:solidFill>
                    <a:srgbClr val="FFFFFF"/>
                  </a:solidFill>
                  <a:latin typeface="Arial" panose="020B0604020202020204" pitchFamily="34" charset="0"/>
                  <a:cs typeface="Arial" panose="020B0604020202020204" pitchFamily="34" charset="0"/>
                </a:endParaRPr>
              </a:p>
            </p:txBody>
          </p:sp>
        </p:grpSp>
        <p:sp>
          <p:nvSpPr>
            <p:cNvPr id="15" name="Rettangolo 14">
              <a:extLst>
                <a:ext uri="{FF2B5EF4-FFF2-40B4-BE49-F238E27FC236}">
                  <a16:creationId xmlns:a16="http://schemas.microsoft.com/office/drawing/2014/main" id="{AFFDA913-633F-49C2-9D71-573FB327981F}"/>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7" name="TextBox 13">
            <a:extLst>
              <a:ext uri="{FF2B5EF4-FFF2-40B4-BE49-F238E27FC236}">
                <a16:creationId xmlns:a16="http://schemas.microsoft.com/office/drawing/2014/main" id="{C7197FAA-9C82-4C25-B208-2BF8170DA3D1}"/>
              </a:ext>
            </a:extLst>
          </p:cNvPr>
          <p:cNvSpPr txBox="1"/>
          <p:nvPr/>
        </p:nvSpPr>
        <p:spPr>
          <a:xfrm>
            <a:off x="838188" y="850387"/>
            <a:ext cx="17068812" cy="1052468"/>
          </a:xfrm>
          <a:prstGeom prst="rect">
            <a:avLst/>
          </a:prstGeom>
        </p:spPr>
        <p:txBody>
          <a:bodyPr wrap="square" lIns="0" tIns="0" rIns="0" bIns="0" rtlCol="0" anchor="t">
            <a:spAutoFit/>
          </a:bodyPr>
          <a:lstStyle/>
          <a:p>
            <a:pPr algn="ctr">
              <a:lnSpc>
                <a:spcPts val="8960"/>
              </a:lnSpc>
              <a:spcBef>
                <a:spcPct val="0"/>
              </a:spcBef>
            </a:pPr>
            <a:r>
              <a:rPr lang="en-US" sz="6400" b="1" dirty="0">
                <a:solidFill>
                  <a:srgbClr val="CC0033"/>
                </a:solidFill>
                <a:latin typeface="+mj-lt"/>
                <a:cs typeface="Arial" panose="020B0604020202020204" pitchFamily="34" charset="0"/>
              </a:rPr>
              <a:t>Social life cycle assessment (S-LCA)</a:t>
            </a:r>
          </a:p>
        </p:txBody>
      </p:sp>
      <p:sp>
        <p:nvSpPr>
          <p:cNvPr id="12" name="Title 1">
            <a:extLst>
              <a:ext uri="{FF2B5EF4-FFF2-40B4-BE49-F238E27FC236}">
                <a16:creationId xmlns:a16="http://schemas.microsoft.com/office/drawing/2014/main" id="{129C1EE2-F5E1-BA60-2737-9ACC695A1B4F}"/>
              </a:ext>
            </a:extLst>
          </p:cNvPr>
          <p:cNvSpPr>
            <a:spLocks noGrp="1"/>
          </p:cNvSpPr>
          <p:nvPr/>
        </p:nvSpPr>
        <p:spPr>
          <a:xfrm>
            <a:off x="1568784" y="1893372"/>
            <a:ext cx="11159231" cy="913258"/>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3400" kern="1200">
                <a:solidFill>
                  <a:srgbClr val="540425"/>
                </a:solidFill>
                <a:latin typeface="Tenorite" panose="00000500000000000000" pitchFamily="2" charset="0"/>
                <a:ea typeface="+mj-ea"/>
                <a:cs typeface="+mj-cs"/>
              </a:defRPr>
            </a:lvl1pPr>
          </a:lstStyle>
          <a:p>
            <a:r>
              <a:rPr lang="sv-SE" sz="3600" err="1">
                <a:latin typeface="Arial"/>
                <a:cs typeface="Arial"/>
              </a:rPr>
              <a:t>Stakeholders</a:t>
            </a:r>
            <a:r>
              <a:rPr lang="sv-SE" sz="3600">
                <a:latin typeface="Arial"/>
                <a:cs typeface="Arial"/>
              </a:rPr>
              <a:t> and </a:t>
            </a:r>
            <a:r>
              <a:rPr lang="sv-SE" sz="3600" err="1">
                <a:latin typeface="Arial"/>
                <a:cs typeface="Arial"/>
              </a:rPr>
              <a:t>impact</a:t>
            </a:r>
            <a:r>
              <a:rPr lang="sv-SE" sz="3600">
                <a:latin typeface="Arial"/>
                <a:cs typeface="Arial"/>
              </a:rPr>
              <a:t> </a:t>
            </a:r>
            <a:r>
              <a:rPr lang="sv-SE" sz="3600" err="1">
                <a:latin typeface="Arial"/>
                <a:cs typeface="Arial"/>
              </a:rPr>
              <a:t>subcategories</a:t>
            </a:r>
            <a:r>
              <a:rPr lang="sv-SE" sz="3600">
                <a:latin typeface="Arial"/>
                <a:cs typeface="Arial"/>
              </a:rPr>
              <a:t> </a:t>
            </a:r>
            <a:endParaRPr lang="en-GB" sz="3600"/>
          </a:p>
        </p:txBody>
      </p:sp>
      <p:pic>
        <p:nvPicPr>
          <p:cNvPr id="14" name="Content Placeholder 6" descr="Construction worker female with solid fill">
            <a:extLst>
              <a:ext uri="{FF2B5EF4-FFF2-40B4-BE49-F238E27FC236}">
                <a16:creationId xmlns:a16="http://schemas.microsoft.com/office/drawing/2014/main" id="{EF76D609-D95C-E992-39C0-23CFF9640184}"/>
              </a:ext>
            </a:extLst>
          </p:cNvPr>
          <p:cNvPicPr>
            <a:picLocks noGrp="1"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694726" y="3320191"/>
            <a:ext cx="740830" cy="740830"/>
          </a:xfrm>
          <a:prstGeom prst="rect">
            <a:avLst/>
          </a:prstGeom>
        </p:spPr>
      </p:pic>
      <p:pic>
        <p:nvPicPr>
          <p:cNvPr id="21" name="Graphic 3" descr="Construction worker male with solid fill">
            <a:extLst>
              <a:ext uri="{FF2B5EF4-FFF2-40B4-BE49-F238E27FC236}">
                <a16:creationId xmlns:a16="http://schemas.microsoft.com/office/drawing/2014/main" id="{E8F004FE-2A97-4CD7-B5CC-A8F77032762C}"/>
              </a:ext>
            </a:extLst>
          </p:cNvPr>
          <p:cNvPicPr>
            <a:picLocks noChangeAspect="1"/>
          </p:cNvPicPr>
          <p:nvPr/>
        </p:nvPicPr>
        <p:blipFill>
          <a:blip r:embed="rId8" cstate="hq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332433" y="3320191"/>
            <a:ext cx="740830" cy="740830"/>
          </a:xfrm>
          <a:prstGeom prst="rect">
            <a:avLst/>
          </a:prstGeom>
        </p:spPr>
      </p:pic>
      <p:sp>
        <p:nvSpPr>
          <p:cNvPr id="22" name="TextBox 4">
            <a:extLst>
              <a:ext uri="{FF2B5EF4-FFF2-40B4-BE49-F238E27FC236}">
                <a16:creationId xmlns:a16="http://schemas.microsoft.com/office/drawing/2014/main" id="{E1FD7CF8-3FD9-5129-668A-D21512F5EF80}"/>
              </a:ext>
            </a:extLst>
          </p:cNvPr>
          <p:cNvSpPr txBox="1"/>
          <p:nvPr/>
        </p:nvSpPr>
        <p:spPr>
          <a:xfrm>
            <a:off x="2504350" y="4255215"/>
            <a:ext cx="1733802" cy="338554"/>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sv-SE" sz="1600" b="1" err="1">
                <a:solidFill>
                  <a:schemeClr val="tx1">
                    <a:lumMod val="75000"/>
                    <a:lumOff val="25000"/>
                  </a:schemeClr>
                </a:solidFill>
                <a:latin typeface="Arial"/>
                <a:cs typeface="Arial"/>
              </a:rPr>
              <a:t>Workers</a:t>
            </a:r>
            <a:endParaRPr lang="en-GB" sz="1600" b="1">
              <a:solidFill>
                <a:schemeClr val="tx1">
                  <a:lumMod val="75000"/>
                  <a:lumOff val="25000"/>
                </a:schemeClr>
              </a:solidFill>
              <a:latin typeface="Arial"/>
              <a:cs typeface="Arial"/>
            </a:endParaRPr>
          </a:p>
        </p:txBody>
      </p:sp>
      <p:grpSp>
        <p:nvGrpSpPr>
          <p:cNvPr id="23" name="Group 22">
            <a:extLst>
              <a:ext uri="{FF2B5EF4-FFF2-40B4-BE49-F238E27FC236}">
                <a16:creationId xmlns:a16="http://schemas.microsoft.com/office/drawing/2014/main" id="{1CC2DBE8-A2AE-4F6B-C9C5-D33BB3E398DA}"/>
              </a:ext>
            </a:extLst>
          </p:cNvPr>
          <p:cNvGrpSpPr/>
          <p:nvPr/>
        </p:nvGrpSpPr>
        <p:grpSpPr>
          <a:xfrm>
            <a:off x="4582249" y="3194229"/>
            <a:ext cx="2103455" cy="1408557"/>
            <a:chOff x="2601682" y="1578118"/>
            <a:chExt cx="2103455" cy="1408557"/>
          </a:xfrm>
        </p:grpSpPr>
        <p:pic>
          <p:nvPicPr>
            <p:cNvPr id="49" name="Graphic 6" descr="Neighborhood with solid fill">
              <a:extLst>
                <a:ext uri="{FF2B5EF4-FFF2-40B4-BE49-F238E27FC236}">
                  <a16:creationId xmlns:a16="http://schemas.microsoft.com/office/drawing/2014/main" id="{00DC434D-5872-F49E-06C1-7E68DC1CFA1C}"/>
                </a:ext>
              </a:extLst>
            </p:cNvPr>
            <p:cNvPicPr>
              <a:picLocks noChangeAspect="1"/>
            </p:cNvPicPr>
            <p:nvPr/>
          </p:nvPicPr>
          <p:blipFill>
            <a:blip r:embed="rId10" cstate="hq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138185" y="1578118"/>
              <a:ext cx="914400" cy="914400"/>
            </a:xfrm>
            <a:prstGeom prst="rect">
              <a:avLst/>
            </a:prstGeom>
          </p:spPr>
        </p:pic>
        <p:sp>
          <p:nvSpPr>
            <p:cNvPr id="50" name="TextBox 7">
              <a:extLst>
                <a:ext uri="{FF2B5EF4-FFF2-40B4-BE49-F238E27FC236}">
                  <a16:creationId xmlns:a16="http://schemas.microsoft.com/office/drawing/2014/main" id="{BC8F5B21-A68A-7AD2-FE0D-CBFB1EF71B91}"/>
                </a:ext>
              </a:extLst>
            </p:cNvPr>
            <p:cNvSpPr txBox="1"/>
            <p:nvPr/>
          </p:nvSpPr>
          <p:spPr>
            <a:xfrm>
              <a:off x="2601682" y="2648121"/>
              <a:ext cx="2103455" cy="338554"/>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sv-SE" sz="1600" b="1" err="1">
                  <a:solidFill>
                    <a:schemeClr val="tx1">
                      <a:lumMod val="75000"/>
                      <a:lumOff val="25000"/>
                    </a:schemeClr>
                  </a:solidFill>
                  <a:latin typeface="Arial"/>
                  <a:cs typeface="Arial"/>
                </a:rPr>
                <a:t>Local</a:t>
              </a:r>
              <a:r>
                <a:rPr lang="sv-SE" sz="1600" b="1">
                  <a:solidFill>
                    <a:schemeClr val="tx1">
                      <a:lumMod val="75000"/>
                      <a:lumOff val="25000"/>
                    </a:schemeClr>
                  </a:solidFill>
                  <a:latin typeface="Arial"/>
                  <a:cs typeface="Arial"/>
                </a:rPr>
                <a:t> </a:t>
              </a:r>
              <a:r>
                <a:rPr lang="sv-SE" sz="1600" b="1" err="1">
                  <a:solidFill>
                    <a:schemeClr val="tx1">
                      <a:lumMod val="75000"/>
                      <a:lumOff val="25000"/>
                    </a:schemeClr>
                  </a:solidFill>
                  <a:latin typeface="Arial"/>
                  <a:cs typeface="Arial"/>
                </a:rPr>
                <a:t>community</a:t>
              </a:r>
              <a:endParaRPr lang="en-GB" sz="1600" b="1">
                <a:solidFill>
                  <a:schemeClr val="tx1">
                    <a:lumMod val="75000"/>
                    <a:lumOff val="25000"/>
                  </a:schemeClr>
                </a:solidFill>
                <a:latin typeface="Arial"/>
                <a:cs typeface="Arial"/>
              </a:endParaRPr>
            </a:p>
          </p:txBody>
        </p:sp>
      </p:grpSp>
      <p:grpSp>
        <p:nvGrpSpPr>
          <p:cNvPr id="24" name="Group 23">
            <a:extLst>
              <a:ext uri="{FF2B5EF4-FFF2-40B4-BE49-F238E27FC236}">
                <a16:creationId xmlns:a16="http://schemas.microsoft.com/office/drawing/2014/main" id="{0FE0CA3F-F54C-9DCA-AA29-EBAEE947E809}"/>
              </a:ext>
            </a:extLst>
          </p:cNvPr>
          <p:cNvGrpSpPr/>
          <p:nvPr/>
        </p:nvGrpSpPr>
        <p:grpSpPr>
          <a:xfrm>
            <a:off x="11638127" y="3289619"/>
            <a:ext cx="1733802" cy="1262740"/>
            <a:chOff x="9657560" y="1673508"/>
            <a:chExt cx="1733802" cy="1262740"/>
          </a:xfrm>
        </p:grpSpPr>
        <p:pic>
          <p:nvPicPr>
            <p:cNvPr id="47" name="Graphic 9" descr="Group with solid fill">
              <a:extLst>
                <a:ext uri="{FF2B5EF4-FFF2-40B4-BE49-F238E27FC236}">
                  <a16:creationId xmlns:a16="http://schemas.microsoft.com/office/drawing/2014/main" id="{C19B5948-910F-E526-255F-EA033D9D0B21}"/>
                </a:ext>
              </a:extLst>
            </p:cNvPr>
            <p:cNvPicPr>
              <a:picLocks noChangeAspect="1"/>
            </p:cNvPicPr>
            <p:nvPr/>
          </p:nvPicPr>
          <p:blipFill>
            <a:blip r:embed="rId12" cstate="hq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0067261" y="1673508"/>
              <a:ext cx="914400" cy="914400"/>
            </a:xfrm>
            <a:prstGeom prst="rect">
              <a:avLst/>
            </a:prstGeom>
          </p:spPr>
        </p:pic>
        <p:sp>
          <p:nvSpPr>
            <p:cNvPr id="48" name="TextBox 10">
              <a:extLst>
                <a:ext uri="{FF2B5EF4-FFF2-40B4-BE49-F238E27FC236}">
                  <a16:creationId xmlns:a16="http://schemas.microsoft.com/office/drawing/2014/main" id="{D5CEAB9D-690F-AF67-024A-156DBEB7CA42}"/>
                </a:ext>
              </a:extLst>
            </p:cNvPr>
            <p:cNvSpPr txBox="1"/>
            <p:nvPr/>
          </p:nvSpPr>
          <p:spPr>
            <a:xfrm>
              <a:off x="9657560" y="2597694"/>
              <a:ext cx="1733802" cy="338554"/>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sv-SE" sz="1600" b="1" err="1">
                  <a:solidFill>
                    <a:schemeClr val="tx1">
                      <a:lumMod val="75000"/>
                      <a:lumOff val="25000"/>
                    </a:schemeClr>
                  </a:solidFill>
                  <a:latin typeface="Arial"/>
                  <a:cs typeface="Arial"/>
                </a:rPr>
                <a:t>Society</a:t>
              </a:r>
              <a:endParaRPr lang="en-GB" sz="1600" b="1">
                <a:solidFill>
                  <a:schemeClr val="tx1">
                    <a:lumMod val="75000"/>
                    <a:lumOff val="25000"/>
                  </a:schemeClr>
                </a:solidFill>
                <a:latin typeface="Arial"/>
                <a:cs typeface="Arial"/>
              </a:endParaRPr>
            </a:p>
          </p:txBody>
        </p:sp>
      </p:grpSp>
      <p:grpSp>
        <p:nvGrpSpPr>
          <p:cNvPr id="26" name="Group 25">
            <a:extLst>
              <a:ext uri="{FF2B5EF4-FFF2-40B4-BE49-F238E27FC236}">
                <a16:creationId xmlns:a16="http://schemas.microsoft.com/office/drawing/2014/main" id="{A65F9794-3691-191D-3AD6-AF35CC436828}"/>
              </a:ext>
            </a:extLst>
          </p:cNvPr>
          <p:cNvGrpSpPr/>
          <p:nvPr/>
        </p:nvGrpSpPr>
        <p:grpSpPr>
          <a:xfrm>
            <a:off x="6911062" y="3114939"/>
            <a:ext cx="2227268" cy="1478830"/>
            <a:chOff x="4930495" y="1498828"/>
            <a:chExt cx="2227268" cy="1478830"/>
          </a:xfrm>
        </p:grpSpPr>
        <p:grpSp>
          <p:nvGrpSpPr>
            <p:cNvPr id="41" name="Group 40">
              <a:extLst>
                <a:ext uri="{FF2B5EF4-FFF2-40B4-BE49-F238E27FC236}">
                  <a16:creationId xmlns:a16="http://schemas.microsoft.com/office/drawing/2014/main" id="{399A1278-A284-B5A7-C202-650436D2494E}"/>
                </a:ext>
              </a:extLst>
            </p:cNvPr>
            <p:cNvGrpSpPr/>
            <p:nvPr/>
          </p:nvGrpSpPr>
          <p:grpSpPr>
            <a:xfrm>
              <a:off x="5395950" y="1498828"/>
              <a:ext cx="1197228" cy="1083473"/>
              <a:chOff x="5395946" y="1498829"/>
              <a:chExt cx="1392419" cy="1389705"/>
            </a:xfrm>
          </p:grpSpPr>
          <p:pic>
            <p:nvPicPr>
              <p:cNvPr id="43" name="Graphic 14" descr="Box with solid fill">
                <a:extLst>
                  <a:ext uri="{FF2B5EF4-FFF2-40B4-BE49-F238E27FC236}">
                    <a16:creationId xmlns:a16="http://schemas.microsoft.com/office/drawing/2014/main" id="{F4A0A630-636C-F887-49E6-86517C48283C}"/>
                  </a:ext>
                </a:extLst>
              </p:cNvPr>
              <p:cNvPicPr>
                <a:picLocks noChangeAspect="1"/>
              </p:cNvPicPr>
              <p:nvPr/>
            </p:nvPicPr>
            <p:blipFill>
              <a:blip r:embed="rId14" cstate="hq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5855593" y="2287284"/>
                <a:ext cx="601249" cy="601250"/>
              </a:xfrm>
              <a:prstGeom prst="rect">
                <a:avLst/>
              </a:prstGeom>
            </p:spPr>
          </p:pic>
          <p:pic>
            <p:nvPicPr>
              <p:cNvPr id="44" name="Graphic 15" descr="Factory with solid fill">
                <a:extLst>
                  <a:ext uri="{FF2B5EF4-FFF2-40B4-BE49-F238E27FC236}">
                    <a16:creationId xmlns:a16="http://schemas.microsoft.com/office/drawing/2014/main" id="{DBB2D71C-9B46-14FF-C9D6-9AEF5611D3E2}"/>
                  </a:ext>
                </a:extLst>
              </p:cNvPr>
              <p:cNvPicPr>
                <a:picLocks noChangeAspect="1"/>
              </p:cNvPicPr>
              <p:nvPr/>
            </p:nvPicPr>
            <p:blipFill>
              <a:blip r:embed="rId16" cstate="hq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395946" y="1705683"/>
                <a:ext cx="669556" cy="669556"/>
              </a:xfrm>
              <a:prstGeom prst="rect">
                <a:avLst/>
              </a:prstGeom>
            </p:spPr>
          </p:pic>
          <p:pic>
            <p:nvPicPr>
              <p:cNvPr id="45" name="Graphic 16" descr="Truck with solid fill">
                <a:extLst>
                  <a:ext uri="{FF2B5EF4-FFF2-40B4-BE49-F238E27FC236}">
                    <a16:creationId xmlns:a16="http://schemas.microsoft.com/office/drawing/2014/main" id="{E494F603-A7F3-D915-15E4-DB5BFB9EE817}"/>
                  </a:ext>
                </a:extLst>
              </p:cNvPr>
              <p:cNvPicPr>
                <a:picLocks noChangeAspect="1"/>
              </p:cNvPicPr>
              <p:nvPr/>
            </p:nvPicPr>
            <p:blipFill>
              <a:blip r:embed="rId18" cstate="hqprint">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6137035" y="1803079"/>
                <a:ext cx="651330" cy="651332"/>
              </a:xfrm>
              <a:prstGeom prst="rect">
                <a:avLst/>
              </a:prstGeom>
            </p:spPr>
          </p:pic>
          <p:pic>
            <p:nvPicPr>
              <p:cNvPr id="46" name="Graphic 17" descr="User with solid fill">
                <a:extLst>
                  <a:ext uri="{FF2B5EF4-FFF2-40B4-BE49-F238E27FC236}">
                    <a16:creationId xmlns:a16="http://schemas.microsoft.com/office/drawing/2014/main" id="{CCEB7B30-B742-2772-27F2-B33794DFA2D6}"/>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5855592" y="1498829"/>
                <a:ext cx="447680" cy="447680"/>
              </a:xfrm>
              <a:prstGeom prst="rect">
                <a:avLst/>
              </a:prstGeom>
            </p:spPr>
          </p:pic>
        </p:grpSp>
        <p:sp>
          <p:nvSpPr>
            <p:cNvPr id="42" name="TextBox 13">
              <a:extLst>
                <a:ext uri="{FF2B5EF4-FFF2-40B4-BE49-F238E27FC236}">
                  <a16:creationId xmlns:a16="http://schemas.microsoft.com/office/drawing/2014/main" id="{8A660F8C-D9D2-42ED-62F5-B8D0508895BF}"/>
                </a:ext>
              </a:extLst>
            </p:cNvPr>
            <p:cNvSpPr txBox="1"/>
            <p:nvPr/>
          </p:nvSpPr>
          <p:spPr>
            <a:xfrm>
              <a:off x="4930495" y="2639104"/>
              <a:ext cx="2227268" cy="338554"/>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sv-SE" sz="1600" b="1" err="1">
                  <a:solidFill>
                    <a:schemeClr val="tx1">
                      <a:lumMod val="75000"/>
                      <a:lumOff val="25000"/>
                    </a:schemeClr>
                  </a:solidFill>
                  <a:latin typeface="Arial"/>
                  <a:cs typeface="Arial"/>
                </a:rPr>
                <a:t>Value</a:t>
              </a:r>
              <a:r>
                <a:rPr lang="sv-SE" sz="1600" b="1">
                  <a:solidFill>
                    <a:schemeClr val="tx1">
                      <a:lumMod val="75000"/>
                      <a:lumOff val="25000"/>
                    </a:schemeClr>
                  </a:solidFill>
                  <a:latin typeface="Arial"/>
                  <a:cs typeface="Arial"/>
                </a:rPr>
                <a:t> </a:t>
              </a:r>
              <a:r>
                <a:rPr lang="sv-SE" sz="1600" b="1" err="1">
                  <a:solidFill>
                    <a:schemeClr val="tx1">
                      <a:lumMod val="75000"/>
                      <a:lumOff val="25000"/>
                    </a:schemeClr>
                  </a:solidFill>
                  <a:latin typeface="Arial"/>
                  <a:cs typeface="Arial"/>
                </a:rPr>
                <a:t>chain</a:t>
              </a:r>
              <a:r>
                <a:rPr lang="sv-SE" sz="1600" b="1">
                  <a:solidFill>
                    <a:schemeClr val="tx1">
                      <a:lumMod val="75000"/>
                      <a:lumOff val="25000"/>
                    </a:schemeClr>
                  </a:solidFill>
                  <a:latin typeface="Arial"/>
                  <a:cs typeface="Arial"/>
                </a:rPr>
                <a:t> </a:t>
              </a:r>
              <a:r>
                <a:rPr lang="sv-SE" sz="1600" b="1" err="1">
                  <a:solidFill>
                    <a:schemeClr val="tx1">
                      <a:lumMod val="75000"/>
                      <a:lumOff val="25000"/>
                    </a:schemeClr>
                  </a:solidFill>
                  <a:latin typeface="Arial"/>
                  <a:cs typeface="Arial"/>
                </a:rPr>
                <a:t>actors</a:t>
              </a:r>
              <a:endParaRPr lang="en-GB" sz="1600" b="1">
                <a:solidFill>
                  <a:schemeClr val="tx1">
                    <a:lumMod val="75000"/>
                    <a:lumOff val="25000"/>
                  </a:schemeClr>
                </a:solidFill>
                <a:latin typeface="Arial"/>
                <a:cs typeface="Arial"/>
              </a:endParaRPr>
            </a:p>
          </p:txBody>
        </p:sp>
      </p:grpSp>
      <p:grpSp>
        <p:nvGrpSpPr>
          <p:cNvPr id="28" name="Group 27">
            <a:extLst>
              <a:ext uri="{FF2B5EF4-FFF2-40B4-BE49-F238E27FC236}">
                <a16:creationId xmlns:a16="http://schemas.microsoft.com/office/drawing/2014/main" id="{2C54FDF4-1139-F3A8-7765-626AFC276070}"/>
              </a:ext>
            </a:extLst>
          </p:cNvPr>
          <p:cNvGrpSpPr/>
          <p:nvPr/>
        </p:nvGrpSpPr>
        <p:grpSpPr>
          <a:xfrm>
            <a:off x="9448100" y="3463112"/>
            <a:ext cx="1733802" cy="1130657"/>
            <a:chOff x="7467533" y="1847001"/>
            <a:chExt cx="1733802" cy="1130657"/>
          </a:xfrm>
        </p:grpSpPr>
        <p:pic>
          <p:nvPicPr>
            <p:cNvPr id="39" name="Graphic 19" descr="Shopping cart with solid fill">
              <a:extLst>
                <a:ext uri="{FF2B5EF4-FFF2-40B4-BE49-F238E27FC236}">
                  <a16:creationId xmlns:a16="http://schemas.microsoft.com/office/drawing/2014/main" id="{339816CF-648C-7381-2FE1-C7CA75D90824}"/>
                </a:ext>
              </a:extLst>
            </p:cNvPr>
            <p:cNvPicPr>
              <a:picLocks noChangeAspect="1"/>
            </p:cNvPicPr>
            <p:nvPr/>
          </p:nvPicPr>
          <p:blipFill>
            <a:blip r:embed="rId22" cstate="hqprint">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7972583" y="1847001"/>
              <a:ext cx="765300" cy="765300"/>
            </a:xfrm>
            <a:prstGeom prst="rect">
              <a:avLst/>
            </a:prstGeom>
          </p:spPr>
        </p:pic>
        <p:sp>
          <p:nvSpPr>
            <p:cNvPr id="40" name="TextBox 20">
              <a:extLst>
                <a:ext uri="{FF2B5EF4-FFF2-40B4-BE49-F238E27FC236}">
                  <a16:creationId xmlns:a16="http://schemas.microsoft.com/office/drawing/2014/main" id="{024FA0C1-4661-65A0-7B82-E256E577678E}"/>
                </a:ext>
              </a:extLst>
            </p:cNvPr>
            <p:cNvSpPr txBox="1"/>
            <p:nvPr/>
          </p:nvSpPr>
          <p:spPr>
            <a:xfrm>
              <a:off x="7467533" y="2639104"/>
              <a:ext cx="1733802" cy="338554"/>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sv-SE" sz="1600" b="1" err="1">
                  <a:solidFill>
                    <a:schemeClr val="tx1">
                      <a:lumMod val="75000"/>
                      <a:lumOff val="25000"/>
                    </a:schemeClr>
                  </a:solidFill>
                  <a:latin typeface="Arial"/>
                  <a:cs typeface="Arial"/>
                </a:rPr>
                <a:t>Consumers</a:t>
              </a:r>
              <a:endParaRPr lang="en-GB" sz="1600" b="1">
                <a:solidFill>
                  <a:schemeClr val="tx1">
                    <a:lumMod val="75000"/>
                    <a:lumOff val="25000"/>
                  </a:schemeClr>
                </a:solidFill>
                <a:latin typeface="Arial"/>
                <a:cs typeface="Arial"/>
              </a:endParaRPr>
            </a:p>
          </p:txBody>
        </p:sp>
      </p:grpSp>
      <p:sp>
        <p:nvSpPr>
          <p:cNvPr id="29" name="TextBox 21">
            <a:extLst>
              <a:ext uri="{FF2B5EF4-FFF2-40B4-BE49-F238E27FC236}">
                <a16:creationId xmlns:a16="http://schemas.microsoft.com/office/drawing/2014/main" id="{0B4C0ECC-9DDB-0C71-1506-55658EEFA9FE}"/>
              </a:ext>
            </a:extLst>
          </p:cNvPr>
          <p:cNvSpPr txBox="1"/>
          <p:nvPr/>
        </p:nvSpPr>
        <p:spPr>
          <a:xfrm>
            <a:off x="2357337" y="4899373"/>
            <a:ext cx="2118740" cy="2462213"/>
          </a:xfrm>
          <a:prstGeom prst="rect">
            <a:avLst/>
          </a:prstGeom>
          <a:noFill/>
          <a:ln>
            <a:noFill/>
          </a:ln>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42900" indent="-342900">
              <a:buFont typeface="+mj-lt"/>
              <a:buAutoNum type="arabicPeriod"/>
            </a:pPr>
            <a:r>
              <a:rPr lang="sv-SE" sz="1400" dirty="0">
                <a:latin typeface="Arial"/>
                <a:cs typeface="Arial"/>
              </a:rPr>
              <a:t>Child </a:t>
            </a:r>
            <a:r>
              <a:rPr lang="sv-SE" sz="1400" dirty="0" err="1">
                <a:latin typeface="Arial"/>
                <a:cs typeface="Arial"/>
              </a:rPr>
              <a:t>labor</a:t>
            </a:r>
            <a:endParaRPr lang="sv-SE" sz="1400" dirty="0">
              <a:latin typeface="Arial"/>
              <a:cs typeface="Arial"/>
            </a:endParaRPr>
          </a:p>
          <a:p>
            <a:pPr marL="342900" indent="-342900">
              <a:buFont typeface="+mj-lt"/>
              <a:buAutoNum type="arabicPeriod"/>
            </a:pPr>
            <a:r>
              <a:rPr lang="sv-SE" sz="1400" dirty="0">
                <a:latin typeface="Arial"/>
                <a:cs typeface="Arial"/>
              </a:rPr>
              <a:t>Fair </a:t>
            </a:r>
            <a:r>
              <a:rPr lang="sv-SE" sz="1400" dirty="0" err="1">
                <a:latin typeface="Arial"/>
                <a:cs typeface="Arial"/>
              </a:rPr>
              <a:t>salary</a:t>
            </a:r>
            <a:endParaRPr lang="sv-SE" sz="1400" dirty="0">
              <a:latin typeface="Arial"/>
              <a:cs typeface="Arial"/>
            </a:endParaRPr>
          </a:p>
          <a:p>
            <a:pPr marL="342900" indent="-342900">
              <a:buFont typeface="+mj-lt"/>
              <a:buAutoNum type="arabicPeriod"/>
            </a:pPr>
            <a:r>
              <a:rPr lang="sv-SE" sz="1400" dirty="0">
                <a:latin typeface="Arial"/>
                <a:cs typeface="Arial"/>
              </a:rPr>
              <a:t>Health and </a:t>
            </a:r>
            <a:r>
              <a:rPr lang="sv-SE" sz="1400" dirty="0" err="1">
                <a:latin typeface="Arial"/>
                <a:cs typeface="Arial"/>
              </a:rPr>
              <a:t>safety</a:t>
            </a:r>
            <a:endParaRPr lang="sv-SE" sz="1400" dirty="0">
              <a:latin typeface="Arial"/>
              <a:cs typeface="Arial"/>
            </a:endParaRPr>
          </a:p>
          <a:p>
            <a:pPr marL="342900" indent="-342900">
              <a:buFont typeface="+mj-lt"/>
              <a:buAutoNum type="arabicPeriod"/>
            </a:pPr>
            <a:r>
              <a:rPr lang="sv-SE" sz="1400" dirty="0">
                <a:latin typeface="Arial"/>
                <a:cs typeface="Arial"/>
              </a:rPr>
              <a:t>Social </a:t>
            </a:r>
            <a:r>
              <a:rPr lang="sv-SE" sz="1400" dirty="0" err="1">
                <a:latin typeface="Arial"/>
                <a:cs typeface="Arial"/>
              </a:rPr>
              <a:t>benefits</a:t>
            </a:r>
            <a:r>
              <a:rPr lang="sv-SE" sz="1400" dirty="0">
                <a:latin typeface="Arial"/>
                <a:cs typeface="Arial"/>
              </a:rPr>
              <a:t>/</a:t>
            </a:r>
            <a:r>
              <a:rPr lang="sv-SE" sz="1400" dirty="0" err="1">
                <a:latin typeface="Arial"/>
                <a:cs typeface="Arial"/>
              </a:rPr>
              <a:t>security</a:t>
            </a:r>
            <a:endParaRPr lang="sv-SE" sz="1400" dirty="0">
              <a:latin typeface="Arial"/>
              <a:cs typeface="Arial"/>
            </a:endParaRPr>
          </a:p>
          <a:p>
            <a:pPr marL="342900" indent="-342900">
              <a:buFont typeface="+mj-lt"/>
              <a:buAutoNum type="arabicPeriod"/>
            </a:pPr>
            <a:r>
              <a:rPr lang="sv-SE" sz="1400" dirty="0" err="1">
                <a:latin typeface="Arial"/>
                <a:cs typeface="Arial"/>
              </a:rPr>
              <a:t>Working</a:t>
            </a:r>
            <a:r>
              <a:rPr lang="sv-SE" sz="1400" dirty="0">
                <a:latin typeface="Arial"/>
                <a:cs typeface="Arial"/>
              </a:rPr>
              <a:t> </a:t>
            </a:r>
            <a:r>
              <a:rPr lang="sv-SE" sz="1400" dirty="0" err="1">
                <a:latin typeface="Arial"/>
                <a:cs typeface="Arial"/>
              </a:rPr>
              <a:t>hours</a:t>
            </a:r>
            <a:endParaRPr lang="sv-SE" sz="1400" dirty="0">
              <a:latin typeface="Arial"/>
              <a:cs typeface="Arial"/>
            </a:endParaRPr>
          </a:p>
          <a:p>
            <a:pPr marL="342900" indent="-342900">
              <a:buFont typeface="+mj-lt"/>
              <a:buAutoNum type="arabicPeriod"/>
            </a:pPr>
            <a:r>
              <a:rPr lang="sv-SE" sz="1400" dirty="0" err="1">
                <a:latin typeface="Arial"/>
                <a:cs typeface="Arial"/>
              </a:rPr>
              <a:t>Fredom</a:t>
            </a:r>
            <a:r>
              <a:rPr lang="sv-SE" sz="1400" dirty="0">
                <a:latin typeface="Arial"/>
                <a:cs typeface="Arial"/>
              </a:rPr>
              <a:t> </a:t>
            </a:r>
            <a:r>
              <a:rPr lang="sv-SE" sz="1400" dirty="0" err="1">
                <a:latin typeface="Arial"/>
                <a:cs typeface="Arial"/>
              </a:rPr>
              <a:t>of</a:t>
            </a:r>
            <a:r>
              <a:rPr lang="sv-SE" sz="1400" dirty="0">
                <a:latin typeface="Arial"/>
                <a:cs typeface="Arial"/>
              </a:rPr>
              <a:t> association and </a:t>
            </a:r>
            <a:r>
              <a:rPr lang="sv-SE" sz="1400" dirty="0" err="1">
                <a:latin typeface="Arial"/>
                <a:cs typeface="Arial"/>
              </a:rPr>
              <a:t>collective</a:t>
            </a:r>
            <a:r>
              <a:rPr lang="sv-SE" sz="1400" dirty="0">
                <a:latin typeface="Arial"/>
                <a:cs typeface="Arial"/>
              </a:rPr>
              <a:t> </a:t>
            </a:r>
            <a:r>
              <a:rPr lang="sv-SE" sz="1400" dirty="0" err="1">
                <a:latin typeface="Arial"/>
                <a:cs typeface="Arial"/>
              </a:rPr>
              <a:t>bargaining</a:t>
            </a:r>
            <a:endParaRPr lang="sv-SE" sz="1400" dirty="0">
              <a:latin typeface="Arial"/>
              <a:cs typeface="Arial"/>
            </a:endParaRPr>
          </a:p>
          <a:p>
            <a:r>
              <a:rPr lang="sv-SE" sz="1400" dirty="0">
                <a:latin typeface="Arial"/>
                <a:cs typeface="Arial"/>
              </a:rPr>
              <a:t>Etc.</a:t>
            </a:r>
          </a:p>
        </p:txBody>
      </p:sp>
      <p:sp>
        <p:nvSpPr>
          <p:cNvPr id="30" name="TextBox 22">
            <a:extLst>
              <a:ext uri="{FF2B5EF4-FFF2-40B4-BE49-F238E27FC236}">
                <a16:creationId xmlns:a16="http://schemas.microsoft.com/office/drawing/2014/main" id="{18573B21-8641-0262-DAE1-3A9822A7EFB1}"/>
              </a:ext>
            </a:extLst>
          </p:cNvPr>
          <p:cNvSpPr txBox="1"/>
          <p:nvPr/>
        </p:nvSpPr>
        <p:spPr>
          <a:xfrm>
            <a:off x="4644062" y="4899372"/>
            <a:ext cx="2118740" cy="2708434"/>
          </a:xfrm>
          <a:prstGeom prst="rect">
            <a:avLst/>
          </a:prstGeom>
          <a:noFill/>
          <a:ln>
            <a:noFill/>
          </a:ln>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42900" indent="-342900">
              <a:buFont typeface="+mj-lt"/>
              <a:buAutoNum type="arabicPeriod"/>
            </a:pPr>
            <a:r>
              <a:rPr lang="sv-SE" sz="1400" dirty="0">
                <a:latin typeface="Arial"/>
                <a:cs typeface="Arial"/>
              </a:rPr>
              <a:t>Access to material </a:t>
            </a:r>
            <a:r>
              <a:rPr lang="sv-SE" sz="1400" dirty="0" err="1">
                <a:latin typeface="Arial"/>
                <a:cs typeface="Arial"/>
              </a:rPr>
              <a:t>resources</a:t>
            </a:r>
            <a:endParaRPr lang="sv-SE" sz="1400" dirty="0">
              <a:latin typeface="Arial"/>
              <a:cs typeface="Arial"/>
            </a:endParaRPr>
          </a:p>
          <a:p>
            <a:pPr marL="342900" indent="-342900">
              <a:buFont typeface="+mj-lt"/>
              <a:buAutoNum type="arabicPeriod"/>
            </a:pPr>
            <a:r>
              <a:rPr lang="sv-SE" sz="1400" dirty="0" err="1">
                <a:latin typeface="Arial"/>
                <a:cs typeface="Arial"/>
              </a:rPr>
              <a:t>Local</a:t>
            </a:r>
            <a:r>
              <a:rPr lang="sv-SE" sz="1400" dirty="0">
                <a:latin typeface="Arial"/>
                <a:cs typeface="Arial"/>
              </a:rPr>
              <a:t> </a:t>
            </a:r>
            <a:r>
              <a:rPr lang="sv-SE" sz="1400" dirty="0" err="1">
                <a:latin typeface="Arial"/>
                <a:cs typeface="Arial"/>
              </a:rPr>
              <a:t>employment</a:t>
            </a:r>
            <a:endParaRPr lang="sv-SE" sz="1400" dirty="0">
              <a:latin typeface="Arial"/>
              <a:cs typeface="Arial"/>
            </a:endParaRPr>
          </a:p>
          <a:p>
            <a:pPr marL="342900" indent="-342900">
              <a:buFont typeface="+mj-lt"/>
              <a:buAutoNum type="arabicPeriod"/>
            </a:pPr>
            <a:r>
              <a:rPr lang="sv-SE" sz="1400" dirty="0" err="1">
                <a:latin typeface="Arial"/>
                <a:cs typeface="Arial"/>
              </a:rPr>
              <a:t>Delocalization</a:t>
            </a:r>
            <a:r>
              <a:rPr lang="sv-SE" sz="1400" dirty="0">
                <a:latin typeface="Arial"/>
                <a:cs typeface="Arial"/>
              </a:rPr>
              <a:t> and migration</a:t>
            </a:r>
          </a:p>
          <a:p>
            <a:pPr marL="342900" indent="-342900">
              <a:buFont typeface="+mj-lt"/>
              <a:buAutoNum type="arabicPeriod"/>
            </a:pPr>
            <a:r>
              <a:rPr lang="sv-SE" sz="1400" dirty="0">
                <a:latin typeface="Arial"/>
                <a:cs typeface="Arial"/>
              </a:rPr>
              <a:t>Community </a:t>
            </a:r>
            <a:r>
              <a:rPr lang="sv-SE" sz="1400" dirty="0" err="1">
                <a:latin typeface="Arial"/>
                <a:cs typeface="Arial"/>
              </a:rPr>
              <a:t>engagement</a:t>
            </a:r>
            <a:endParaRPr lang="sv-SE" sz="1400" dirty="0">
              <a:latin typeface="Arial"/>
              <a:cs typeface="Arial"/>
            </a:endParaRPr>
          </a:p>
          <a:p>
            <a:pPr marL="342900" indent="-342900">
              <a:buFont typeface="+mj-lt"/>
              <a:buAutoNum type="arabicPeriod"/>
            </a:pPr>
            <a:r>
              <a:rPr lang="sv-SE" sz="1400" dirty="0" err="1">
                <a:latin typeface="Arial"/>
                <a:cs typeface="Arial"/>
              </a:rPr>
              <a:t>Secure</a:t>
            </a:r>
            <a:r>
              <a:rPr lang="sv-SE" sz="1400" dirty="0">
                <a:latin typeface="Arial"/>
                <a:cs typeface="Arial"/>
              </a:rPr>
              <a:t> </a:t>
            </a:r>
            <a:r>
              <a:rPr lang="sv-SE" sz="1400" dirty="0" err="1">
                <a:latin typeface="Arial"/>
                <a:cs typeface="Arial"/>
              </a:rPr>
              <a:t>living</a:t>
            </a:r>
            <a:r>
              <a:rPr lang="sv-SE" sz="1400" dirty="0">
                <a:latin typeface="Arial"/>
                <a:cs typeface="Arial"/>
              </a:rPr>
              <a:t> </a:t>
            </a:r>
            <a:r>
              <a:rPr lang="sv-SE" sz="1400" dirty="0" err="1">
                <a:latin typeface="Arial"/>
                <a:cs typeface="Arial"/>
              </a:rPr>
              <a:t>conditions</a:t>
            </a:r>
            <a:endParaRPr lang="sv-SE" sz="1400" dirty="0">
              <a:latin typeface="Arial"/>
              <a:cs typeface="Arial"/>
            </a:endParaRPr>
          </a:p>
          <a:p>
            <a:endParaRPr lang="sv-SE" sz="1400" dirty="0">
              <a:latin typeface="Arial"/>
              <a:cs typeface="Arial"/>
            </a:endParaRPr>
          </a:p>
          <a:p>
            <a:r>
              <a:rPr lang="sv-SE" sz="1400" dirty="0">
                <a:latin typeface="Arial"/>
                <a:cs typeface="Arial"/>
              </a:rPr>
              <a:t>Etc.</a:t>
            </a:r>
          </a:p>
          <a:p>
            <a:endParaRPr lang="en-GB" sz="1600" dirty="0">
              <a:latin typeface="Avenir Next LT Pro" panose="020B0504020202020204" pitchFamily="34" charset="0"/>
            </a:endParaRPr>
          </a:p>
        </p:txBody>
      </p:sp>
      <p:sp>
        <p:nvSpPr>
          <p:cNvPr id="31" name="TextBox 23">
            <a:extLst>
              <a:ext uri="{FF2B5EF4-FFF2-40B4-BE49-F238E27FC236}">
                <a16:creationId xmlns:a16="http://schemas.microsoft.com/office/drawing/2014/main" id="{E593E86A-DC37-D9D5-7248-36629DDD91C5}"/>
              </a:ext>
            </a:extLst>
          </p:cNvPr>
          <p:cNvSpPr txBox="1"/>
          <p:nvPr/>
        </p:nvSpPr>
        <p:spPr>
          <a:xfrm>
            <a:off x="6930787" y="4899372"/>
            <a:ext cx="2118740" cy="2769989"/>
          </a:xfrm>
          <a:prstGeom prst="rect">
            <a:avLst/>
          </a:prstGeom>
          <a:noFill/>
          <a:ln>
            <a:noFill/>
          </a:ln>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42900" indent="-342900">
              <a:buFont typeface="+mj-lt"/>
              <a:buAutoNum type="arabicPeriod"/>
            </a:pPr>
            <a:r>
              <a:rPr lang="sv-SE" sz="1400">
                <a:latin typeface="Arial"/>
                <a:cs typeface="Arial"/>
              </a:rPr>
              <a:t>Fair </a:t>
            </a:r>
            <a:r>
              <a:rPr lang="sv-SE" sz="1400" err="1">
                <a:latin typeface="Arial"/>
                <a:cs typeface="Arial"/>
              </a:rPr>
              <a:t>competition</a:t>
            </a:r>
            <a:endParaRPr lang="sv-SE" sz="1400">
              <a:latin typeface="Arial"/>
              <a:cs typeface="Arial"/>
            </a:endParaRPr>
          </a:p>
          <a:p>
            <a:pPr marL="342900" indent="-342900">
              <a:buFont typeface="+mj-lt"/>
              <a:buAutoNum type="arabicPeriod"/>
            </a:pPr>
            <a:r>
              <a:rPr lang="sv-SE" sz="1400" err="1">
                <a:latin typeface="Arial"/>
                <a:cs typeface="Arial"/>
              </a:rPr>
              <a:t>Promoting</a:t>
            </a:r>
            <a:r>
              <a:rPr lang="sv-SE" sz="1400">
                <a:latin typeface="Arial"/>
                <a:cs typeface="Arial"/>
              </a:rPr>
              <a:t> social </a:t>
            </a:r>
            <a:r>
              <a:rPr lang="sv-SE" sz="1400" err="1">
                <a:latin typeface="Arial"/>
                <a:cs typeface="Arial"/>
              </a:rPr>
              <a:t>responsibility</a:t>
            </a:r>
            <a:endParaRPr lang="sv-SE" sz="1400">
              <a:latin typeface="Arial"/>
              <a:cs typeface="Arial"/>
            </a:endParaRPr>
          </a:p>
          <a:p>
            <a:pPr marL="342900" indent="-342900">
              <a:buFont typeface="+mj-lt"/>
              <a:buAutoNum type="arabicPeriod"/>
            </a:pPr>
            <a:r>
              <a:rPr lang="sv-SE" sz="1400" err="1">
                <a:latin typeface="Arial"/>
                <a:cs typeface="Arial"/>
              </a:rPr>
              <a:t>Supplier</a:t>
            </a:r>
            <a:r>
              <a:rPr lang="sv-SE" sz="1400">
                <a:latin typeface="Arial"/>
                <a:cs typeface="Arial"/>
              </a:rPr>
              <a:t> relationship</a:t>
            </a:r>
          </a:p>
          <a:p>
            <a:pPr marL="342900" indent="-342900">
              <a:buAutoNum type="arabicPeriod"/>
            </a:pPr>
            <a:r>
              <a:rPr lang="sv-SE" sz="1400" err="1">
                <a:latin typeface="Arial"/>
                <a:cs typeface="Arial"/>
              </a:rPr>
              <a:t>Respect</a:t>
            </a:r>
            <a:r>
              <a:rPr lang="sv-SE" sz="1400">
                <a:latin typeface="Arial"/>
                <a:cs typeface="Arial"/>
              </a:rPr>
              <a:t> </a:t>
            </a:r>
            <a:r>
              <a:rPr lang="sv-SE" sz="1400" err="1">
                <a:latin typeface="Arial"/>
                <a:cs typeface="Arial"/>
              </a:rPr>
              <a:t>of</a:t>
            </a:r>
            <a:r>
              <a:rPr lang="sv-SE" sz="1400">
                <a:latin typeface="Arial"/>
                <a:cs typeface="Arial"/>
              </a:rPr>
              <a:t> </a:t>
            </a:r>
            <a:r>
              <a:rPr lang="sv-SE" sz="1400" err="1">
                <a:latin typeface="Arial"/>
                <a:cs typeface="Arial"/>
              </a:rPr>
              <a:t>intellectual</a:t>
            </a:r>
            <a:r>
              <a:rPr lang="sv-SE" sz="1400">
                <a:latin typeface="Arial"/>
                <a:cs typeface="Arial"/>
              </a:rPr>
              <a:t> </a:t>
            </a:r>
            <a:r>
              <a:rPr lang="sv-SE" sz="1400" err="1">
                <a:latin typeface="Arial"/>
                <a:cs typeface="Arial"/>
              </a:rPr>
              <a:t>property</a:t>
            </a:r>
            <a:endParaRPr lang="sv-SE" sz="1400">
              <a:latin typeface="Arial"/>
              <a:cs typeface="Arial"/>
            </a:endParaRPr>
          </a:p>
          <a:p>
            <a:pPr marL="342900" indent="-342900">
              <a:buFont typeface="+mj-lt"/>
              <a:buAutoNum type="arabicPeriod"/>
            </a:pPr>
            <a:r>
              <a:rPr lang="sv-SE" sz="1400" err="1">
                <a:latin typeface="Arial"/>
                <a:cs typeface="Arial"/>
              </a:rPr>
              <a:t>Wealth</a:t>
            </a:r>
            <a:r>
              <a:rPr lang="sv-SE" sz="1400">
                <a:latin typeface="Arial"/>
                <a:cs typeface="Arial"/>
              </a:rPr>
              <a:t> distribution</a:t>
            </a:r>
          </a:p>
          <a:p>
            <a:endParaRPr lang="sv-SE" sz="1400">
              <a:latin typeface="Arial"/>
              <a:cs typeface="Arial"/>
            </a:endParaRPr>
          </a:p>
          <a:p>
            <a:endParaRPr lang="en-GB" sz="1600">
              <a:latin typeface="Avenir Next LT Pro" panose="020B0504020202020204" pitchFamily="34" charset="0"/>
            </a:endParaRPr>
          </a:p>
          <a:p>
            <a:r>
              <a:rPr lang="en-GB" sz="1600">
                <a:latin typeface="Avenir Next LT Pro" panose="020B0504020202020204" pitchFamily="34" charset="0"/>
              </a:rPr>
              <a:t>Etc.</a:t>
            </a:r>
          </a:p>
          <a:p>
            <a:endParaRPr lang="en-GB" sz="1600">
              <a:latin typeface="Avenir Next LT Pro" panose="020B0504020202020204" pitchFamily="34" charset="0"/>
            </a:endParaRPr>
          </a:p>
        </p:txBody>
      </p:sp>
      <p:sp>
        <p:nvSpPr>
          <p:cNvPr id="32" name="TextBox 24">
            <a:extLst>
              <a:ext uri="{FF2B5EF4-FFF2-40B4-BE49-F238E27FC236}">
                <a16:creationId xmlns:a16="http://schemas.microsoft.com/office/drawing/2014/main" id="{8AE5147F-D6BC-E62E-EA8F-BCF09CC9731C}"/>
              </a:ext>
            </a:extLst>
          </p:cNvPr>
          <p:cNvSpPr txBox="1"/>
          <p:nvPr/>
        </p:nvSpPr>
        <p:spPr>
          <a:xfrm>
            <a:off x="9278564" y="4868594"/>
            <a:ext cx="2118740" cy="2462213"/>
          </a:xfrm>
          <a:prstGeom prst="rect">
            <a:avLst/>
          </a:prstGeom>
          <a:noFill/>
          <a:ln>
            <a:noFill/>
          </a:ln>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42900" indent="-342900">
              <a:buFont typeface="+mj-lt"/>
              <a:buAutoNum type="arabicPeriod"/>
            </a:pPr>
            <a:r>
              <a:rPr lang="sv-SE" sz="1400">
                <a:latin typeface="Arial MT"/>
              </a:rPr>
              <a:t>Health and </a:t>
            </a:r>
            <a:r>
              <a:rPr lang="sv-SE" sz="1400" err="1">
                <a:latin typeface="Arial MT"/>
              </a:rPr>
              <a:t>safety</a:t>
            </a:r>
            <a:endParaRPr lang="sv-SE" sz="1400">
              <a:latin typeface="Arial MT"/>
            </a:endParaRPr>
          </a:p>
          <a:p>
            <a:pPr marL="342900" indent="-342900">
              <a:buFont typeface="+mj-lt"/>
              <a:buAutoNum type="arabicPeriod"/>
            </a:pPr>
            <a:r>
              <a:rPr lang="sv-SE" sz="1400" err="1">
                <a:latin typeface="Arial MT"/>
              </a:rPr>
              <a:t>Consumer</a:t>
            </a:r>
            <a:r>
              <a:rPr lang="sv-SE" sz="1400">
                <a:latin typeface="Arial MT"/>
              </a:rPr>
              <a:t> </a:t>
            </a:r>
            <a:r>
              <a:rPr lang="sv-SE" sz="1400" err="1">
                <a:latin typeface="Arial MT"/>
              </a:rPr>
              <a:t>privacy</a:t>
            </a:r>
            <a:endParaRPr lang="sv-SE" sz="1400">
              <a:latin typeface="Arial MT"/>
            </a:endParaRPr>
          </a:p>
          <a:p>
            <a:pPr marL="342900" indent="-342900">
              <a:buFont typeface="+mj-lt"/>
              <a:buAutoNum type="arabicPeriod"/>
            </a:pPr>
            <a:r>
              <a:rPr lang="sv-SE" sz="1400" err="1">
                <a:latin typeface="Arial MT"/>
              </a:rPr>
              <a:t>Transparency</a:t>
            </a:r>
            <a:endParaRPr lang="sv-SE" sz="1400">
              <a:latin typeface="Arial MT"/>
            </a:endParaRPr>
          </a:p>
          <a:p>
            <a:pPr marL="342900" indent="-342900">
              <a:buFont typeface="+mj-lt"/>
              <a:buAutoNum type="arabicPeriod"/>
            </a:pPr>
            <a:r>
              <a:rPr lang="sv-SE" sz="1400">
                <a:latin typeface="Arial MT"/>
              </a:rPr>
              <a:t>End-</a:t>
            </a:r>
            <a:r>
              <a:rPr lang="sv-SE" sz="1400" err="1">
                <a:latin typeface="Arial MT"/>
              </a:rPr>
              <a:t>of</a:t>
            </a:r>
            <a:r>
              <a:rPr lang="sv-SE" sz="1400">
                <a:latin typeface="Arial MT"/>
              </a:rPr>
              <a:t>-</a:t>
            </a:r>
            <a:r>
              <a:rPr lang="sv-SE" sz="1400" err="1">
                <a:latin typeface="Arial MT"/>
              </a:rPr>
              <a:t>life</a:t>
            </a:r>
            <a:r>
              <a:rPr lang="sv-SE" sz="1400">
                <a:latin typeface="Arial MT"/>
              </a:rPr>
              <a:t> </a:t>
            </a:r>
            <a:r>
              <a:rPr lang="sv-SE" sz="1400" err="1">
                <a:latin typeface="Arial MT"/>
              </a:rPr>
              <a:t>responsibility</a:t>
            </a:r>
            <a:endParaRPr lang="sv-SE" sz="1400">
              <a:latin typeface="Arial MT"/>
            </a:endParaRPr>
          </a:p>
          <a:p>
            <a:endParaRPr lang="sv-SE" sz="1400">
              <a:latin typeface="Arial MT"/>
            </a:endParaRPr>
          </a:p>
          <a:p>
            <a:endParaRPr lang="sv-SE" sz="1400">
              <a:latin typeface="Arial MT"/>
            </a:endParaRPr>
          </a:p>
          <a:p>
            <a:endParaRPr lang="sv-SE" sz="1400">
              <a:latin typeface="Arial MT"/>
            </a:endParaRPr>
          </a:p>
          <a:p>
            <a:endParaRPr lang="sv-SE" sz="1400">
              <a:latin typeface="Arial MT"/>
            </a:endParaRPr>
          </a:p>
          <a:p>
            <a:endParaRPr lang="sv-SE" sz="1400">
              <a:latin typeface="Arial MT"/>
            </a:endParaRPr>
          </a:p>
          <a:p>
            <a:r>
              <a:rPr lang="sv-SE" sz="1400">
                <a:latin typeface="Arial MT"/>
              </a:rPr>
              <a:t>Etc.</a:t>
            </a:r>
          </a:p>
        </p:txBody>
      </p:sp>
      <p:sp>
        <p:nvSpPr>
          <p:cNvPr id="33" name="TextBox 25">
            <a:extLst>
              <a:ext uri="{FF2B5EF4-FFF2-40B4-BE49-F238E27FC236}">
                <a16:creationId xmlns:a16="http://schemas.microsoft.com/office/drawing/2014/main" id="{B4F2214F-C3EC-3610-56C9-25FE546D9BFB}"/>
              </a:ext>
            </a:extLst>
          </p:cNvPr>
          <p:cNvSpPr txBox="1"/>
          <p:nvPr/>
        </p:nvSpPr>
        <p:spPr>
          <a:xfrm>
            <a:off x="11565289" y="4868594"/>
            <a:ext cx="1962452" cy="2462213"/>
          </a:xfrm>
          <a:prstGeom prst="rect">
            <a:avLst/>
          </a:prstGeom>
          <a:noFill/>
          <a:ln>
            <a:noFill/>
          </a:ln>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42900" indent="-342900">
              <a:buFont typeface="+mj-lt"/>
              <a:buAutoNum type="arabicPeriod"/>
            </a:pPr>
            <a:r>
              <a:rPr lang="sv-SE" sz="1400">
                <a:latin typeface="Arial"/>
                <a:cs typeface="Arial"/>
              </a:rPr>
              <a:t>Public </a:t>
            </a:r>
            <a:r>
              <a:rPr lang="sv-SE" sz="1400" err="1">
                <a:latin typeface="Arial"/>
                <a:cs typeface="Arial"/>
              </a:rPr>
              <a:t>commitments</a:t>
            </a:r>
            <a:r>
              <a:rPr lang="sv-SE" sz="1400">
                <a:latin typeface="Arial"/>
                <a:cs typeface="Arial"/>
              </a:rPr>
              <a:t> to </a:t>
            </a:r>
            <a:r>
              <a:rPr lang="sv-SE" sz="1400" err="1">
                <a:latin typeface="Arial"/>
                <a:cs typeface="Arial"/>
              </a:rPr>
              <a:t>sustainability</a:t>
            </a:r>
            <a:r>
              <a:rPr lang="sv-SE" sz="1400">
                <a:latin typeface="Arial"/>
                <a:cs typeface="Arial"/>
              </a:rPr>
              <a:t> </a:t>
            </a:r>
            <a:r>
              <a:rPr lang="sv-SE" sz="1400" err="1">
                <a:latin typeface="Arial"/>
                <a:cs typeface="Arial"/>
              </a:rPr>
              <a:t>issues</a:t>
            </a:r>
            <a:endParaRPr lang="sv-SE" sz="1400">
              <a:latin typeface="Arial"/>
              <a:cs typeface="Arial"/>
            </a:endParaRPr>
          </a:p>
          <a:p>
            <a:pPr marL="342900" indent="-342900">
              <a:buFont typeface="+mj-lt"/>
              <a:buAutoNum type="arabicPeriod"/>
            </a:pPr>
            <a:r>
              <a:rPr lang="sv-SE" sz="1400" err="1">
                <a:latin typeface="Arial"/>
                <a:cs typeface="Arial"/>
              </a:rPr>
              <a:t>Technology</a:t>
            </a:r>
            <a:r>
              <a:rPr lang="sv-SE" sz="1400">
                <a:latin typeface="Arial"/>
                <a:cs typeface="Arial"/>
              </a:rPr>
              <a:t> </a:t>
            </a:r>
            <a:r>
              <a:rPr lang="sv-SE" sz="1400" err="1">
                <a:latin typeface="Arial"/>
                <a:cs typeface="Arial"/>
              </a:rPr>
              <a:t>development</a:t>
            </a:r>
            <a:endParaRPr lang="sv-SE" sz="1400">
              <a:latin typeface="Arial"/>
              <a:cs typeface="Arial"/>
            </a:endParaRPr>
          </a:p>
          <a:p>
            <a:pPr marL="342900" indent="-342900">
              <a:buFont typeface="+mj-lt"/>
              <a:buAutoNum type="arabicPeriod"/>
            </a:pPr>
            <a:r>
              <a:rPr lang="sv-SE" sz="1400" err="1">
                <a:latin typeface="Arial"/>
                <a:cs typeface="Arial"/>
              </a:rPr>
              <a:t>Contribution</a:t>
            </a:r>
            <a:r>
              <a:rPr lang="sv-SE" sz="1400">
                <a:latin typeface="Arial"/>
                <a:cs typeface="Arial"/>
              </a:rPr>
              <a:t> to </a:t>
            </a:r>
            <a:r>
              <a:rPr lang="sv-SE" sz="1400" err="1">
                <a:latin typeface="Arial"/>
                <a:cs typeface="Arial"/>
              </a:rPr>
              <a:t>economic</a:t>
            </a:r>
            <a:r>
              <a:rPr lang="sv-SE" sz="1400">
                <a:latin typeface="Arial"/>
                <a:cs typeface="Arial"/>
              </a:rPr>
              <a:t> </a:t>
            </a:r>
            <a:r>
              <a:rPr lang="sv-SE" sz="1400" err="1">
                <a:latin typeface="Arial"/>
                <a:cs typeface="Arial"/>
              </a:rPr>
              <a:t>development</a:t>
            </a:r>
            <a:endParaRPr lang="sv-SE" sz="1400">
              <a:latin typeface="Arial"/>
              <a:cs typeface="Arial"/>
            </a:endParaRPr>
          </a:p>
          <a:p>
            <a:endParaRPr lang="sv-SE" sz="1400">
              <a:latin typeface="Arial"/>
              <a:cs typeface="Arial"/>
            </a:endParaRPr>
          </a:p>
          <a:p>
            <a:r>
              <a:rPr lang="sv-SE" sz="1400">
                <a:latin typeface="Arial"/>
                <a:cs typeface="Arial"/>
              </a:rPr>
              <a:t>Etc.</a:t>
            </a:r>
          </a:p>
        </p:txBody>
      </p:sp>
      <p:sp>
        <p:nvSpPr>
          <p:cNvPr id="34" name="Rectangle 33">
            <a:extLst>
              <a:ext uri="{FF2B5EF4-FFF2-40B4-BE49-F238E27FC236}">
                <a16:creationId xmlns:a16="http://schemas.microsoft.com/office/drawing/2014/main" id="{36AA131C-2361-A278-91A0-331831D40B6A}"/>
              </a:ext>
            </a:extLst>
          </p:cNvPr>
          <p:cNvSpPr/>
          <p:nvPr/>
        </p:nvSpPr>
        <p:spPr>
          <a:xfrm>
            <a:off x="2301580" y="4803619"/>
            <a:ext cx="2113445" cy="2893100"/>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35" name="Rectangle 34">
            <a:extLst>
              <a:ext uri="{FF2B5EF4-FFF2-40B4-BE49-F238E27FC236}">
                <a16:creationId xmlns:a16="http://schemas.microsoft.com/office/drawing/2014/main" id="{B7CA6B5B-CA8A-83B7-C303-CEBB5EA9B357}"/>
              </a:ext>
            </a:extLst>
          </p:cNvPr>
          <p:cNvSpPr/>
          <p:nvPr/>
        </p:nvSpPr>
        <p:spPr>
          <a:xfrm>
            <a:off x="4583010" y="4803619"/>
            <a:ext cx="2179792" cy="2893100"/>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36" name="Rectangle 35">
            <a:extLst>
              <a:ext uri="{FF2B5EF4-FFF2-40B4-BE49-F238E27FC236}">
                <a16:creationId xmlns:a16="http://schemas.microsoft.com/office/drawing/2014/main" id="{763D0BEA-8F6C-7F31-EACA-ED518E9B4A78}"/>
              </a:ext>
            </a:extLst>
          </p:cNvPr>
          <p:cNvSpPr/>
          <p:nvPr/>
        </p:nvSpPr>
        <p:spPr>
          <a:xfrm>
            <a:off x="6930787" y="4800865"/>
            <a:ext cx="2179792" cy="2893100"/>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37" name="Rectangle 36">
            <a:extLst>
              <a:ext uri="{FF2B5EF4-FFF2-40B4-BE49-F238E27FC236}">
                <a16:creationId xmlns:a16="http://schemas.microsoft.com/office/drawing/2014/main" id="{DC3F1E66-CE16-3F0D-0F1E-73C68BEA915F}"/>
              </a:ext>
            </a:extLst>
          </p:cNvPr>
          <p:cNvSpPr/>
          <p:nvPr/>
        </p:nvSpPr>
        <p:spPr>
          <a:xfrm>
            <a:off x="9278564" y="4801663"/>
            <a:ext cx="2103456" cy="2893100"/>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38" name="Rectangle 37">
            <a:extLst>
              <a:ext uri="{FF2B5EF4-FFF2-40B4-BE49-F238E27FC236}">
                <a16:creationId xmlns:a16="http://schemas.microsoft.com/office/drawing/2014/main" id="{ACE7A27C-75F4-7397-1C7E-F67883CED7C4}"/>
              </a:ext>
            </a:extLst>
          </p:cNvPr>
          <p:cNvSpPr/>
          <p:nvPr/>
        </p:nvSpPr>
        <p:spPr>
          <a:xfrm>
            <a:off x="11550005" y="4815699"/>
            <a:ext cx="2103456" cy="2893100"/>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81" name="Rectangle 80">
            <a:extLst>
              <a:ext uri="{FF2B5EF4-FFF2-40B4-BE49-F238E27FC236}">
                <a16:creationId xmlns:a16="http://schemas.microsoft.com/office/drawing/2014/main" id="{EB82C0E5-D61D-9578-D7E0-0272918EB21F}"/>
              </a:ext>
            </a:extLst>
          </p:cNvPr>
          <p:cNvSpPr/>
          <p:nvPr/>
        </p:nvSpPr>
        <p:spPr>
          <a:xfrm>
            <a:off x="13861404" y="4815698"/>
            <a:ext cx="2103456" cy="2893100"/>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82" name="TextBox 25">
            <a:extLst>
              <a:ext uri="{FF2B5EF4-FFF2-40B4-BE49-F238E27FC236}">
                <a16:creationId xmlns:a16="http://schemas.microsoft.com/office/drawing/2014/main" id="{8B5ECF85-51E2-1236-6592-5691A66C2BDA}"/>
              </a:ext>
            </a:extLst>
          </p:cNvPr>
          <p:cNvSpPr txBox="1"/>
          <p:nvPr/>
        </p:nvSpPr>
        <p:spPr>
          <a:xfrm>
            <a:off x="13861404" y="4868594"/>
            <a:ext cx="2118740" cy="2462213"/>
          </a:xfrm>
          <a:prstGeom prst="rect">
            <a:avLst/>
          </a:prstGeom>
          <a:noFill/>
          <a:ln>
            <a:noFill/>
          </a:ln>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42900" indent="-342900">
              <a:buFont typeface="+mj-lt"/>
              <a:buAutoNum type="arabicPeriod"/>
            </a:pPr>
            <a:r>
              <a:rPr lang="sv-SE" sz="1400" err="1">
                <a:latin typeface="Arial"/>
                <a:cs typeface="Arial"/>
              </a:rPr>
              <a:t>Education</a:t>
            </a:r>
            <a:r>
              <a:rPr lang="sv-SE" sz="1400">
                <a:latin typeface="Arial"/>
                <a:cs typeface="Arial"/>
              </a:rPr>
              <a:t> </a:t>
            </a:r>
            <a:r>
              <a:rPr lang="sv-SE" sz="1400" err="1">
                <a:latin typeface="Arial"/>
                <a:cs typeface="Arial"/>
              </a:rPr>
              <a:t>provided</a:t>
            </a:r>
            <a:r>
              <a:rPr lang="sv-SE" sz="1400">
                <a:latin typeface="Arial"/>
                <a:cs typeface="Arial"/>
              </a:rPr>
              <a:t> in the </a:t>
            </a:r>
            <a:r>
              <a:rPr lang="sv-SE" sz="1400" err="1">
                <a:latin typeface="Arial"/>
                <a:cs typeface="Arial"/>
              </a:rPr>
              <a:t>local</a:t>
            </a:r>
            <a:r>
              <a:rPr lang="sv-SE" sz="1400">
                <a:latin typeface="Arial"/>
                <a:cs typeface="Arial"/>
              </a:rPr>
              <a:t> </a:t>
            </a:r>
            <a:r>
              <a:rPr lang="sv-SE" sz="1400" err="1">
                <a:latin typeface="Arial"/>
                <a:cs typeface="Arial"/>
              </a:rPr>
              <a:t>community</a:t>
            </a:r>
            <a:endParaRPr lang="sv-SE" sz="1400">
              <a:latin typeface="Arial"/>
              <a:cs typeface="Arial"/>
            </a:endParaRPr>
          </a:p>
          <a:p>
            <a:pPr marL="342900" indent="-342900">
              <a:buFont typeface="+mj-lt"/>
              <a:buAutoNum type="arabicPeriod"/>
            </a:pPr>
            <a:r>
              <a:rPr lang="sv-SE" sz="1400">
                <a:latin typeface="Arial"/>
                <a:cs typeface="Arial"/>
              </a:rPr>
              <a:t>Health </a:t>
            </a:r>
            <a:r>
              <a:rPr lang="sv-SE" sz="1400" err="1">
                <a:latin typeface="Arial"/>
                <a:cs typeface="Arial"/>
              </a:rPr>
              <a:t>issues</a:t>
            </a:r>
            <a:r>
              <a:rPr lang="sv-SE" sz="1400">
                <a:latin typeface="Arial"/>
                <a:cs typeface="Arial"/>
              </a:rPr>
              <a:t> for </a:t>
            </a:r>
            <a:r>
              <a:rPr lang="sv-SE" sz="1400" err="1">
                <a:latin typeface="Arial"/>
                <a:cs typeface="Arial"/>
              </a:rPr>
              <a:t>children</a:t>
            </a:r>
            <a:r>
              <a:rPr lang="sv-SE" sz="1400">
                <a:latin typeface="Arial"/>
                <a:cs typeface="Arial"/>
              </a:rPr>
              <a:t> as </a:t>
            </a:r>
            <a:r>
              <a:rPr lang="sv-SE" sz="1400" err="1">
                <a:latin typeface="Arial"/>
                <a:cs typeface="Arial"/>
              </a:rPr>
              <a:t>consumers</a:t>
            </a:r>
            <a:endParaRPr lang="sv-SE" sz="1400">
              <a:latin typeface="Arial"/>
              <a:cs typeface="Arial"/>
            </a:endParaRPr>
          </a:p>
          <a:p>
            <a:pPr marL="342900" indent="-342900">
              <a:buFont typeface="+mj-lt"/>
              <a:buAutoNum type="arabicPeriod"/>
            </a:pPr>
            <a:r>
              <a:rPr lang="sv-SE" sz="1400">
                <a:latin typeface="Arial"/>
                <a:cs typeface="Arial"/>
              </a:rPr>
              <a:t>Children </a:t>
            </a:r>
            <a:r>
              <a:rPr lang="sv-SE" sz="1400" err="1">
                <a:latin typeface="Arial"/>
                <a:cs typeface="Arial"/>
              </a:rPr>
              <a:t>concerns</a:t>
            </a:r>
            <a:r>
              <a:rPr lang="sv-SE" sz="1400">
                <a:latin typeface="Arial"/>
                <a:cs typeface="Arial"/>
              </a:rPr>
              <a:t> </a:t>
            </a:r>
            <a:r>
              <a:rPr lang="sv-SE" sz="1400" err="1">
                <a:latin typeface="Arial"/>
                <a:cs typeface="Arial"/>
              </a:rPr>
              <a:t>regarding</a:t>
            </a:r>
            <a:r>
              <a:rPr lang="sv-SE" sz="1400">
                <a:latin typeface="Arial"/>
                <a:cs typeface="Arial"/>
              </a:rPr>
              <a:t> marketing </a:t>
            </a:r>
            <a:r>
              <a:rPr lang="sv-SE" sz="1400" err="1">
                <a:latin typeface="Arial"/>
                <a:cs typeface="Arial"/>
              </a:rPr>
              <a:t>practices</a:t>
            </a:r>
            <a:endParaRPr lang="sv-SE" sz="1400">
              <a:latin typeface="Arial"/>
              <a:cs typeface="Arial"/>
            </a:endParaRPr>
          </a:p>
          <a:p>
            <a:endParaRPr lang="sv-SE" sz="1400">
              <a:latin typeface="Arial"/>
              <a:cs typeface="Arial"/>
            </a:endParaRPr>
          </a:p>
          <a:p>
            <a:r>
              <a:rPr lang="sv-SE" sz="1400">
                <a:latin typeface="Arial"/>
                <a:cs typeface="Arial"/>
              </a:rPr>
              <a:t>Etc.</a:t>
            </a:r>
          </a:p>
        </p:txBody>
      </p:sp>
      <p:sp>
        <p:nvSpPr>
          <p:cNvPr id="84" name="TextBox 10">
            <a:extLst>
              <a:ext uri="{FF2B5EF4-FFF2-40B4-BE49-F238E27FC236}">
                <a16:creationId xmlns:a16="http://schemas.microsoft.com/office/drawing/2014/main" id="{7BD8E81A-33AC-EE9E-DFE1-E70DC6FC8796}"/>
              </a:ext>
            </a:extLst>
          </p:cNvPr>
          <p:cNvSpPr txBox="1"/>
          <p:nvPr/>
        </p:nvSpPr>
        <p:spPr>
          <a:xfrm>
            <a:off x="13987627" y="4213805"/>
            <a:ext cx="1733802" cy="338554"/>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sv-SE" sz="1600" b="1">
                <a:solidFill>
                  <a:schemeClr val="tx1">
                    <a:lumMod val="75000"/>
                    <a:lumOff val="25000"/>
                  </a:schemeClr>
                </a:solidFill>
                <a:latin typeface="Arial"/>
                <a:cs typeface="Arial"/>
              </a:rPr>
              <a:t>Children</a:t>
            </a:r>
            <a:endParaRPr lang="en-GB" sz="1600" b="1">
              <a:solidFill>
                <a:schemeClr val="tx1">
                  <a:lumMod val="75000"/>
                  <a:lumOff val="25000"/>
                </a:schemeClr>
              </a:solidFill>
              <a:latin typeface="Arial"/>
              <a:cs typeface="Arial"/>
            </a:endParaRPr>
          </a:p>
        </p:txBody>
      </p:sp>
      <p:pic>
        <p:nvPicPr>
          <p:cNvPr id="85" name="Graphic 84" descr="Children with solid fill">
            <a:extLst>
              <a:ext uri="{FF2B5EF4-FFF2-40B4-BE49-F238E27FC236}">
                <a16:creationId xmlns:a16="http://schemas.microsoft.com/office/drawing/2014/main" id="{F3B3B558-6706-9D43-479C-CC8C582E0F4F}"/>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14356613" y="3323324"/>
            <a:ext cx="914400" cy="914400"/>
          </a:xfrm>
          <a:prstGeom prst="rect">
            <a:avLst/>
          </a:prstGeom>
        </p:spPr>
      </p:pic>
      <p:sp>
        <p:nvSpPr>
          <p:cNvPr id="86" name="Title 1">
            <a:extLst>
              <a:ext uri="{FF2B5EF4-FFF2-40B4-BE49-F238E27FC236}">
                <a16:creationId xmlns:a16="http://schemas.microsoft.com/office/drawing/2014/main" id="{4E8C342D-CFA4-BCAB-75B5-98D9F9143FE1}"/>
              </a:ext>
            </a:extLst>
          </p:cNvPr>
          <p:cNvSpPr>
            <a:spLocks noGrp="1"/>
          </p:cNvSpPr>
          <p:nvPr/>
        </p:nvSpPr>
        <p:spPr>
          <a:xfrm>
            <a:off x="2237649" y="7432125"/>
            <a:ext cx="14639031" cy="1179958"/>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3400" kern="1200">
                <a:solidFill>
                  <a:srgbClr val="540425"/>
                </a:solidFill>
                <a:latin typeface="Tenorite" panose="00000500000000000000" pitchFamily="2" charset="0"/>
                <a:ea typeface="+mj-ea"/>
                <a:cs typeface="+mj-cs"/>
              </a:defRPr>
            </a:lvl1pPr>
          </a:lstStyle>
          <a:p>
            <a:r>
              <a:rPr lang="sv-SE" sz="3600">
                <a:latin typeface="Arial"/>
                <a:cs typeface="Arial"/>
              </a:rPr>
              <a:t>To </a:t>
            </a:r>
            <a:r>
              <a:rPr lang="sv-SE" sz="3600" err="1">
                <a:latin typeface="Arial"/>
                <a:cs typeface="Arial"/>
              </a:rPr>
              <a:t>assess</a:t>
            </a:r>
            <a:r>
              <a:rPr lang="sv-SE" sz="3600">
                <a:latin typeface="Arial"/>
                <a:cs typeface="Arial"/>
              </a:rPr>
              <a:t> </a:t>
            </a:r>
            <a:r>
              <a:rPr lang="sv-SE" sz="3600" err="1">
                <a:latin typeface="Arial"/>
                <a:cs typeface="Arial"/>
              </a:rPr>
              <a:t>each</a:t>
            </a:r>
            <a:r>
              <a:rPr lang="sv-SE" sz="3600">
                <a:latin typeface="Arial"/>
                <a:cs typeface="Arial"/>
              </a:rPr>
              <a:t> </a:t>
            </a:r>
            <a:r>
              <a:rPr lang="sv-SE" sz="3600" err="1">
                <a:latin typeface="Arial"/>
                <a:cs typeface="Arial"/>
              </a:rPr>
              <a:t>subcategory</a:t>
            </a:r>
            <a:r>
              <a:rPr lang="sv-SE" sz="3600">
                <a:latin typeface="Arial"/>
                <a:cs typeface="Arial"/>
              </a:rPr>
              <a:t> </a:t>
            </a:r>
            <a:r>
              <a:rPr lang="sv-SE" sz="3600" err="1">
                <a:latin typeface="Arial"/>
                <a:cs typeface="Arial"/>
              </a:rPr>
              <a:t>several</a:t>
            </a:r>
            <a:r>
              <a:rPr lang="sv-SE" sz="3600">
                <a:latin typeface="Arial"/>
                <a:cs typeface="Arial"/>
              </a:rPr>
              <a:t> </a:t>
            </a:r>
            <a:r>
              <a:rPr lang="sv-SE" sz="3600" err="1">
                <a:latin typeface="Arial"/>
                <a:cs typeface="Arial"/>
              </a:rPr>
              <a:t>indicators</a:t>
            </a:r>
            <a:r>
              <a:rPr lang="sv-SE" sz="3600">
                <a:latin typeface="Arial"/>
                <a:cs typeface="Arial"/>
              </a:rPr>
              <a:t> </a:t>
            </a:r>
            <a:r>
              <a:rPr lang="sv-SE" sz="3600" err="1">
                <a:latin typeface="Arial"/>
                <a:cs typeface="Arial"/>
              </a:rPr>
              <a:t>can</a:t>
            </a:r>
            <a:r>
              <a:rPr lang="sv-SE" sz="3600">
                <a:latin typeface="Arial"/>
                <a:cs typeface="Arial"/>
              </a:rPr>
              <a:t> be </a:t>
            </a:r>
            <a:r>
              <a:rPr lang="sv-SE" sz="3600" err="1">
                <a:latin typeface="Arial"/>
                <a:cs typeface="Arial"/>
              </a:rPr>
              <a:t>used</a:t>
            </a:r>
            <a:r>
              <a:rPr lang="sv-SE" sz="3600">
                <a:latin typeface="Arial"/>
                <a:cs typeface="Arial"/>
              </a:rPr>
              <a:t>.</a:t>
            </a:r>
            <a:endParaRPr lang="en-GB" sz="3600"/>
          </a:p>
        </p:txBody>
      </p:sp>
    </p:spTree>
    <p:extLst>
      <p:ext uri="{BB962C8B-B14F-4D97-AF65-F5344CB8AC3E}">
        <p14:creationId xmlns:p14="http://schemas.microsoft.com/office/powerpoint/2010/main" val="414360899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6"/>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marL="0" marR="0" lvl="0" indent="0" algn="ctr" defTabSz="914400" rtl="0" eaLnBrk="1" fontAlgn="auto" latinLnBrk="0" hangingPunct="1">
                <a:lnSpc>
                  <a:spcPts val="3919"/>
                </a:lnSpc>
                <a:spcBef>
                  <a:spcPct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OCR A Extended" panose="02010509020102010303" pitchFamily="50" charset="0"/>
                  <a:ea typeface="+mn-ea"/>
                  <a:cs typeface="+mn-cs"/>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4"/>
          <a:srcRect/>
          <a:stretch>
            <a:fillRect/>
          </a:stretch>
        </p:blipFill>
        <p:spPr>
          <a:xfrm>
            <a:off x="0" y="9447976"/>
            <a:ext cx="3459892" cy="839024"/>
          </a:xfrm>
          <a:prstGeom prst="rect">
            <a:avLst/>
          </a:prstGeom>
        </p:spPr>
      </p:pic>
      <p:grpSp>
        <p:nvGrpSpPr>
          <p:cNvPr id="3" name="Gruppo 2">
            <a:extLst>
              <a:ext uri="{FF2B5EF4-FFF2-40B4-BE49-F238E27FC236}">
                <a16:creationId xmlns:a16="http://schemas.microsoft.com/office/drawing/2014/main" id="{1C29CBCA-BE0A-4EF6-AC69-329941E1DCFD}"/>
              </a:ext>
            </a:extLst>
          </p:cNvPr>
          <p:cNvGrpSpPr/>
          <p:nvPr/>
        </p:nvGrpSpPr>
        <p:grpSpPr>
          <a:xfrm>
            <a:off x="-12" y="138554"/>
            <a:ext cx="18288002" cy="681138"/>
            <a:chOff x="-12" y="138554"/>
            <a:chExt cx="18288002" cy="681138"/>
          </a:xfrm>
        </p:grpSpPr>
        <p:grpSp>
          <p:nvGrpSpPr>
            <p:cNvPr id="2" name="Gruppo 1">
              <a:extLst>
                <a:ext uri="{FF2B5EF4-FFF2-40B4-BE49-F238E27FC236}">
                  <a16:creationId xmlns:a16="http://schemas.microsoft.com/office/drawing/2014/main" id="{24E9C7AF-0093-476F-826C-A2702AB72892}"/>
                </a:ext>
              </a:extLst>
            </p:cNvPr>
            <p:cNvGrpSpPr/>
            <p:nvPr/>
          </p:nvGrpSpPr>
          <p:grpSpPr>
            <a:xfrm>
              <a:off x="0" y="153125"/>
              <a:ext cx="17907000" cy="666567"/>
              <a:chOff x="0" y="153125"/>
              <a:chExt cx="17907000" cy="666567"/>
            </a:xfrm>
          </p:grpSpPr>
          <p:grpSp>
            <p:nvGrpSpPr>
              <p:cNvPr id="16" name="Gruppo 15">
                <a:extLst>
                  <a:ext uri="{FF2B5EF4-FFF2-40B4-BE49-F238E27FC236}">
                    <a16:creationId xmlns:a16="http://schemas.microsoft.com/office/drawing/2014/main" id="{DAC42A46-917D-41AB-8F07-E15E54D0F7D4}"/>
                  </a:ext>
                </a:extLst>
              </p:cNvPr>
              <p:cNvGrpSpPr/>
              <p:nvPr/>
            </p:nvGrpSpPr>
            <p:grpSpPr>
              <a:xfrm>
                <a:off x="0" y="153125"/>
                <a:ext cx="13958844" cy="666567"/>
                <a:chOff x="0" y="153125"/>
                <a:chExt cx="13958844" cy="666567"/>
              </a:xfrm>
            </p:grpSpPr>
            <p:pic>
              <p:nvPicPr>
                <p:cNvPr id="10" name="Picture 10"/>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1" name="TextBox 11"/>
                <p:cNvSpPr txBox="1"/>
                <p:nvPr/>
              </p:nvSpPr>
              <p:spPr>
                <a:xfrm>
                  <a:off x="228600" y="257980"/>
                  <a:ext cx="9296400" cy="456856"/>
                </a:xfrm>
                <a:prstGeom prst="rect">
                  <a:avLst/>
                </a:prstGeom>
              </p:spPr>
              <p:txBody>
                <a:bodyPr wrap="square" lIns="0" tIns="0" rIns="0" bIns="0" rtlCol="0" anchor="t">
                  <a:spAutoFit/>
                </a:bodyPr>
                <a:lstStyle/>
                <a:p>
                  <a:pPr marL="0" marR="0" lvl="0" indent="0" algn="l" defTabSz="914400" rtl="0" eaLnBrk="1" fontAlgn="auto" latinLnBrk="0" hangingPunct="1">
                    <a:lnSpc>
                      <a:spcPts val="3919"/>
                    </a:lnSpc>
                    <a:spcBef>
                      <a:spcPct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2" name="TextBox 11">
                <a:extLst>
                  <a:ext uri="{FF2B5EF4-FFF2-40B4-BE49-F238E27FC236}">
                    <a16:creationId xmlns:a16="http://schemas.microsoft.com/office/drawing/2014/main" id="{1BD9B5F4-614C-4EB6-8C5B-120A5420CE43}"/>
                  </a:ext>
                </a:extLst>
              </p:cNvPr>
              <p:cNvSpPr txBox="1"/>
              <p:nvPr/>
            </p:nvSpPr>
            <p:spPr>
              <a:xfrm>
                <a:off x="12154296" y="257980"/>
                <a:ext cx="5752704" cy="456856"/>
              </a:xfrm>
              <a:prstGeom prst="rect">
                <a:avLst/>
              </a:prstGeom>
            </p:spPr>
            <p:txBody>
              <a:bodyPr wrap="square" lIns="0" tIns="0" rIns="0" bIns="0" rtlCol="0" anchor="t">
                <a:spAutoFit/>
              </a:bodyPr>
              <a:lstStyle/>
              <a:p>
                <a:pPr marL="0" marR="0" lvl="0" indent="0" algn="r" defTabSz="914400" rtl="0" eaLnBrk="1" fontAlgn="auto" latinLnBrk="0" hangingPunct="1">
                  <a:lnSpc>
                    <a:spcPts val="3919"/>
                  </a:lnSpc>
                  <a:spcBef>
                    <a:spcPct val="0"/>
                  </a:spcBef>
                  <a:spcAft>
                    <a:spcPts val="0"/>
                  </a:spcAft>
                  <a:buClrTx/>
                  <a:buSzTx/>
                  <a:buFontTx/>
                  <a:buNone/>
                  <a:tabLst/>
                  <a:defRPr/>
                </a:pPr>
                <a:endParaRPr kumimoji="0" lang="en-US" sz="2800" b="0" i="0" u="none" strike="noStrike" kern="1200" cap="none" spc="0" normalizeH="0" baseline="0" noProof="0">
                  <a:ln>
                    <a:noFill/>
                  </a:ln>
                  <a:solidFill>
                    <a:srgbClr val="2F2F2F">
                      <a:lumMod val="75000"/>
                      <a:lumOff val="25000"/>
                    </a:srgbClr>
                  </a:solidFill>
                  <a:effectLst/>
                  <a:uLnTx/>
                  <a:uFillTx/>
                  <a:latin typeface="Arial" panose="020B0604020202020204" pitchFamily="34" charset="0"/>
                  <a:ea typeface="+mn-ea"/>
                  <a:cs typeface="Arial" panose="020B0604020202020204" pitchFamily="34" charset="0"/>
                </a:endParaRPr>
              </a:p>
            </p:txBody>
          </p:sp>
        </p:grpSp>
        <p:sp>
          <p:nvSpPr>
            <p:cNvPr id="14" name="Rettangolo 13">
              <a:extLst>
                <a:ext uri="{FF2B5EF4-FFF2-40B4-BE49-F238E27FC236}">
                  <a16:creationId xmlns:a16="http://schemas.microsoft.com/office/drawing/2014/main" id="{55199736-B8B6-4C9A-8BAF-233E07A0CA89}"/>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4" name="Title 1">
            <a:extLst>
              <a:ext uri="{FF2B5EF4-FFF2-40B4-BE49-F238E27FC236}">
                <a16:creationId xmlns:a16="http://schemas.microsoft.com/office/drawing/2014/main" id="{645CE46A-011B-1DC4-CC98-1F39C8BAD43B}"/>
              </a:ext>
            </a:extLst>
          </p:cNvPr>
          <p:cNvSpPr txBox="1">
            <a:spLocks/>
          </p:cNvSpPr>
          <p:nvPr/>
        </p:nvSpPr>
        <p:spPr>
          <a:xfrm>
            <a:off x="419100" y="190500"/>
            <a:ext cx="16992600" cy="2268728"/>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sv-SE" sz="4000" b="1">
                <a:solidFill>
                  <a:srgbClr val="CC0033"/>
                </a:solidFill>
                <a:ea typeface="+mn-ea"/>
                <a:cs typeface="Arial" panose="020B0604020202020204" pitchFamily="34" charset="0"/>
              </a:rPr>
              <a:t>Retrofitting in the process Industry contributes to the following SDGs</a:t>
            </a:r>
          </a:p>
        </p:txBody>
      </p:sp>
      <p:grpSp>
        <p:nvGrpSpPr>
          <p:cNvPr id="5" name="Group 20">
            <a:extLst>
              <a:ext uri="{FF2B5EF4-FFF2-40B4-BE49-F238E27FC236}">
                <a16:creationId xmlns:a16="http://schemas.microsoft.com/office/drawing/2014/main" id="{DB12315B-E3E6-B7F8-F614-E1565D016783}"/>
              </a:ext>
            </a:extLst>
          </p:cNvPr>
          <p:cNvGrpSpPr/>
          <p:nvPr/>
        </p:nvGrpSpPr>
        <p:grpSpPr>
          <a:xfrm>
            <a:off x="1936750" y="1845522"/>
            <a:ext cx="13944600" cy="7345172"/>
            <a:chOff x="2286000" y="2260600"/>
            <a:chExt cx="11925300" cy="7048500"/>
          </a:xfrm>
        </p:grpSpPr>
        <p:pic>
          <p:nvPicPr>
            <p:cNvPr id="6" name="Picture 15" descr="Graphical user interface, application&#10;&#10;Description automatically generated">
              <a:extLst>
                <a:ext uri="{FF2B5EF4-FFF2-40B4-BE49-F238E27FC236}">
                  <a16:creationId xmlns:a16="http://schemas.microsoft.com/office/drawing/2014/main" id="{9A6846BD-FEA8-8F28-A9DD-13476DCF5874}"/>
                </a:ext>
              </a:extLst>
            </p:cNvPr>
            <p:cNvPicPr>
              <a:picLocks noChangeAspect="1"/>
            </p:cNvPicPr>
            <p:nvPr/>
          </p:nvPicPr>
          <p:blipFill rotWithShape="1">
            <a:blip r:embed="rId6">
              <a:extLst>
                <a:ext uri="{28A0092B-C50C-407E-A947-70E740481C1C}">
                  <a14:useLocalDpi xmlns:a14="http://schemas.microsoft.com/office/drawing/2010/main" val="0"/>
                </a:ext>
              </a:extLst>
            </a:blip>
            <a:srcRect t="8285" b="8111"/>
            <a:stretch/>
          </p:blipFill>
          <p:spPr>
            <a:xfrm>
              <a:off x="2286000" y="2260600"/>
              <a:ext cx="11925300" cy="7048500"/>
            </a:xfrm>
            <a:prstGeom prst="rect">
              <a:avLst/>
            </a:prstGeom>
          </p:spPr>
        </p:pic>
        <p:pic>
          <p:nvPicPr>
            <p:cNvPr id="7" name="Picture 13" descr="A picture containing logo&#10;&#10;Description automatically generated">
              <a:extLst>
                <a:ext uri="{FF2B5EF4-FFF2-40B4-BE49-F238E27FC236}">
                  <a16:creationId xmlns:a16="http://schemas.microsoft.com/office/drawing/2014/main" id="{2A8162CF-BB3A-7F94-C925-F23B5C9CB8E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1739372" y="5257800"/>
              <a:ext cx="2268728" cy="2268728"/>
            </a:xfrm>
            <a:prstGeom prst="rect">
              <a:avLst/>
            </a:prstGeom>
            <a:ln w="76200">
              <a:solidFill>
                <a:schemeClr val="accent4">
                  <a:lumMod val="50000"/>
                </a:schemeClr>
              </a:solidFill>
            </a:ln>
          </p:spPr>
        </p:pic>
        <p:pic>
          <p:nvPicPr>
            <p:cNvPr id="8" name="Picture 17" descr="Icon&#10;&#10;Description automatically generated">
              <a:extLst>
                <a:ext uri="{FF2B5EF4-FFF2-40B4-BE49-F238E27FC236}">
                  <a16:creationId xmlns:a16="http://schemas.microsoft.com/office/drawing/2014/main" id="{2E36A7F1-A9BD-72E5-D626-E1CF39AAA040}"/>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252972" y="5257800"/>
              <a:ext cx="2268728" cy="2268728"/>
            </a:xfrm>
            <a:prstGeom prst="rect">
              <a:avLst/>
            </a:prstGeom>
            <a:ln w="76200">
              <a:solidFill>
                <a:schemeClr val="accent4">
                  <a:lumMod val="50000"/>
                </a:schemeClr>
              </a:solidFill>
            </a:ln>
          </p:spPr>
        </p:pic>
      </p:grpSp>
      <p:pic>
        <p:nvPicPr>
          <p:cNvPr id="9" name="Picture 5" descr="A picture containing logo&#10;&#10;Description automatically generated">
            <a:extLst>
              <a:ext uri="{FF2B5EF4-FFF2-40B4-BE49-F238E27FC236}">
                <a16:creationId xmlns:a16="http://schemas.microsoft.com/office/drawing/2014/main" id="{84D19223-669A-FD6F-F523-C4066E4156C3}"/>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114397" y="6908311"/>
            <a:ext cx="2652890" cy="2364219"/>
          </a:xfrm>
          <a:prstGeom prst="rect">
            <a:avLst/>
          </a:prstGeom>
          <a:ln w="76200">
            <a:solidFill>
              <a:schemeClr val="accent4">
                <a:lumMod val="50000"/>
              </a:schemeClr>
            </a:solidFill>
          </a:ln>
        </p:spPr>
      </p:pic>
    </p:spTree>
    <p:extLst>
      <p:ext uri="{BB962C8B-B14F-4D97-AF65-F5344CB8AC3E}">
        <p14:creationId xmlns:p14="http://schemas.microsoft.com/office/powerpoint/2010/main" val="341824678"/>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6"/>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2"/>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3"/>
          <a:srcRect/>
          <a:stretch>
            <a:fillRect/>
          </a:stretch>
        </p:blipFill>
        <p:spPr>
          <a:xfrm>
            <a:off x="0" y="8901113"/>
            <a:ext cx="5715000" cy="1385887"/>
          </a:xfrm>
          <a:prstGeom prst="rect">
            <a:avLst/>
          </a:prstGeom>
        </p:spPr>
      </p:pic>
      <p:grpSp>
        <p:nvGrpSpPr>
          <p:cNvPr id="3" name="Gruppo 2">
            <a:extLst>
              <a:ext uri="{FF2B5EF4-FFF2-40B4-BE49-F238E27FC236}">
                <a16:creationId xmlns:a16="http://schemas.microsoft.com/office/drawing/2014/main" id="{D0B44AFC-EABA-48CF-A7A8-348076F88921}"/>
              </a:ext>
            </a:extLst>
          </p:cNvPr>
          <p:cNvGrpSpPr/>
          <p:nvPr/>
        </p:nvGrpSpPr>
        <p:grpSpPr>
          <a:xfrm>
            <a:off x="-12" y="138554"/>
            <a:ext cx="18288002" cy="681138"/>
            <a:chOff x="-12" y="138554"/>
            <a:chExt cx="18288002" cy="681138"/>
          </a:xfrm>
        </p:grpSpPr>
        <p:grpSp>
          <p:nvGrpSpPr>
            <p:cNvPr id="16" name="Gruppo 15">
              <a:extLst>
                <a:ext uri="{FF2B5EF4-FFF2-40B4-BE49-F238E27FC236}">
                  <a16:creationId xmlns:a16="http://schemas.microsoft.com/office/drawing/2014/main" id="{DAC42A46-917D-41AB-8F07-E15E54D0F7D4}"/>
                </a:ext>
              </a:extLst>
            </p:cNvPr>
            <p:cNvGrpSpPr/>
            <p:nvPr/>
          </p:nvGrpSpPr>
          <p:grpSpPr>
            <a:xfrm>
              <a:off x="0" y="153125"/>
              <a:ext cx="13958844" cy="666567"/>
              <a:chOff x="0" y="153125"/>
              <a:chExt cx="13958844" cy="666567"/>
            </a:xfrm>
          </p:grpSpPr>
          <p:pic>
            <p:nvPicPr>
              <p:cNvPr id="10" name="Picture 10"/>
              <p:cNvPicPr>
                <a:picLocks noChangeAspect="1"/>
              </p:cNvPicPr>
              <p:nvPr/>
            </p:nvPicPr>
            <p:blipFill>
              <a:blip r:embed="rId4"/>
              <a:srcRect l="134" t="91287" b="3943"/>
              <a:stretch>
                <a:fillRect/>
              </a:stretch>
            </p:blipFill>
            <p:spPr>
              <a:xfrm>
                <a:off x="0" y="153125"/>
                <a:ext cx="13958844" cy="666567"/>
              </a:xfrm>
              <a:prstGeom prst="rect">
                <a:avLst/>
              </a:prstGeom>
            </p:spPr>
          </p:pic>
          <p:sp>
            <p:nvSpPr>
              <p:cNvPr id="11" name="TextBox 11"/>
              <p:cNvSpPr txBox="1"/>
              <p:nvPr/>
            </p:nvSpPr>
            <p:spPr>
              <a:xfrm>
                <a:off x="228600" y="257980"/>
                <a:ext cx="9393072" cy="456856"/>
              </a:xfrm>
              <a:prstGeom prst="rect">
                <a:avLst/>
              </a:prstGeom>
            </p:spPr>
            <p:txBody>
              <a:bodyPr wrap="square" lIns="0" tIns="0" rIns="0" bIns="0" rtlCol="0" anchor="t">
                <a:spAutoFit/>
              </a:bodyPr>
              <a:lstStyle/>
              <a:p>
                <a:pPr>
                  <a:lnSpc>
                    <a:spcPts val="3919"/>
                  </a:lnSpc>
                  <a:spcBef>
                    <a:spcPct val="0"/>
                  </a:spcBef>
                </a:pPr>
                <a:endParaRPr lang="en-US" sz="2800" b="1">
                  <a:solidFill>
                    <a:srgbClr val="FFFFFF"/>
                  </a:solidFill>
                  <a:latin typeface="Arial" panose="020B0604020202020204" pitchFamily="34" charset="0"/>
                  <a:cs typeface="Arial" panose="020B0604020202020204" pitchFamily="34" charset="0"/>
                </a:endParaRPr>
              </a:p>
            </p:txBody>
          </p:sp>
        </p:grpSp>
        <p:sp>
          <p:nvSpPr>
            <p:cNvPr id="15" name="Rettangolo 14">
              <a:extLst>
                <a:ext uri="{FF2B5EF4-FFF2-40B4-BE49-F238E27FC236}">
                  <a16:creationId xmlns:a16="http://schemas.microsoft.com/office/drawing/2014/main" id="{AFFDA913-633F-49C2-9D71-573FB327981F}"/>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7" name="TextBox 13">
            <a:extLst>
              <a:ext uri="{FF2B5EF4-FFF2-40B4-BE49-F238E27FC236}">
                <a16:creationId xmlns:a16="http://schemas.microsoft.com/office/drawing/2014/main" id="{C7197FAA-9C82-4C25-B208-2BF8170DA3D1}"/>
              </a:ext>
            </a:extLst>
          </p:cNvPr>
          <p:cNvSpPr txBox="1"/>
          <p:nvPr/>
        </p:nvSpPr>
        <p:spPr>
          <a:xfrm>
            <a:off x="838188" y="850387"/>
            <a:ext cx="17068812" cy="1052468"/>
          </a:xfrm>
          <a:prstGeom prst="rect">
            <a:avLst/>
          </a:prstGeom>
        </p:spPr>
        <p:txBody>
          <a:bodyPr wrap="square" lIns="0" tIns="0" rIns="0" bIns="0" rtlCol="0" anchor="t">
            <a:spAutoFit/>
          </a:bodyPr>
          <a:lstStyle/>
          <a:p>
            <a:pPr algn="ctr">
              <a:lnSpc>
                <a:spcPts val="8960"/>
              </a:lnSpc>
              <a:spcBef>
                <a:spcPct val="0"/>
              </a:spcBef>
            </a:pPr>
            <a:r>
              <a:rPr lang="en-US" sz="6400" b="1" dirty="0">
                <a:solidFill>
                  <a:srgbClr val="CC0033"/>
                </a:solidFill>
                <a:latin typeface="+mj-lt"/>
                <a:cs typeface="Arial" panose="020B0604020202020204" pitchFamily="34" charset="0"/>
              </a:rPr>
              <a:t>Social life cycle assessment (S-LCA)</a:t>
            </a:r>
          </a:p>
        </p:txBody>
      </p:sp>
      <p:sp>
        <p:nvSpPr>
          <p:cNvPr id="12" name="Title 1">
            <a:extLst>
              <a:ext uri="{FF2B5EF4-FFF2-40B4-BE49-F238E27FC236}">
                <a16:creationId xmlns:a16="http://schemas.microsoft.com/office/drawing/2014/main" id="{4785615A-27F7-B312-B259-C312A550C493}"/>
              </a:ext>
            </a:extLst>
          </p:cNvPr>
          <p:cNvSpPr>
            <a:spLocks noGrp="1"/>
          </p:cNvSpPr>
          <p:nvPr/>
        </p:nvSpPr>
        <p:spPr>
          <a:xfrm>
            <a:off x="1390298" y="2246481"/>
            <a:ext cx="14042131" cy="1167258"/>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3400" kern="1200">
                <a:solidFill>
                  <a:srgbClr val="540425"/>
                </a:solidFill>
                <a:latin typeface="Tenorite" panose="00000500000000000000" pitchFamily="2" charset="0"/>
                <a:ea typeface="+mj-ea"/>
                <a:cs typeface="+mj-cs"/>
              </a:defRPr>
            </a:lvl1pPr>
          </a:lstStyle>
          <a:p>
            <a:r>
              <a:rPr lang="sv-SE" sz="2800" b="1" dirty="0" err="1">
                <a:solidFill>
                  <a:schemeClr val="tx1"/>
                </a:solidFill>
                <a:latin typeface="Arial"/>
                <a:cs typeface="Arial"/>
              </a:rPr>
              <a:t>Completed</a:t>
            </a:r>
            <a:r>
              <a:rPr lang="sv-SE" sz="2800" b="1" dirty="0">
                <a:solidFill>
                  <a:schemeClr val="tx1"/>
                </a:solidFill>
                <a:latin typeface="Arial"/>
                <a:cs typeface="Arial"/>
              </a:rPr>
              <a:t> S-LCA tasks in </a:t>
            </a:r>
            <a:r>
              <a:rPr lang="sv-SE" sz="2800" b="1" dirty="0" err="1">
                <a:solidFill>
                  <a:schemeClr val="tx1"/>
                </a:solidFill>
                <a:latin typeface="Arial"/>
                <a:cs typeface="Arial"/>
              </a:rPr>
              <a:t>Retrofeed</a:t>
            </a:r>
            <a:r>
              <a:rPr lang="sv-SE" sz="2800" b="1" dirty="0">
                <a:solidFill>
                  <a:schemeClr val="tx1"/>
                </a:solidFill>
                <a:latin typeface="Arial"/>
                <a:cs typeface="Arial"/>
              </a:rPr>
              <a:t>: </a:t>
            </a:r>
            <a:endParaRPr lang="en-US" sz="2800" dirty="0">
              <a:solidFill>
                <a:schemeClr val="tx1"/>
              </a:solidFill>
            </a:endParaRPr>
          </a:p>
          <a:p>
            <a:r>
              <a:rPr lang="sv-SE" sz="2800" b="1" i="1" dirty="0">
                <a:solidFill>
                  <a:schemeClr val="tx1"/>
                </a:solidFill>
                <a:latin typeface="Arial"/>
                <a:cs typeface="Arial"/>
              </a:rPr>
              <a:t>Site-</a:t>
            </a:r>
            <a:r>
              <a:rPr lang="sv-SE" sz="2800" b="1" i="1" dirty="0" err="1">
                <a:solidFill>
                  <a:schemeClr val="tx1"/>
                </a:solidFill>
                <a:latin typeface="Arial"/>
                <a:cs typeface="Arial"/>
              </a:rPr>
              <a:t>specific</a:t>
            </a:r>
            <a:r>
              <a:rPr lang="sv-SE" sz="2800" b="1" i="1" dirty="0">
                <a:solidFill>
                  <a:schemeClr val="tx1"/>
                </a:solidFill>
                <a:latin typeface="Arial"/>
                <a:cs typeface="Arial"/>
              </a:rPr>
              <a:t> social </a:t>
            </a:r>
            <a:r>
              <a:rPr lang="sv-SE" sz="2800" b="1" i="1" dirty="0" err="1">
                <a:solidFill>
                  <a:schemeClr val="tx1"/>
                </a:solidFill>
                <a:latin typeface="Arial"/>
                <a:cs typeface="Arial"/>
              </a:rPr>
              <a:t>impact</a:t>
            </a:r>
            <a:r>
              <a:rPr lang="sv-SE" sz="2800" b="1" i="1" dirty="0">
                <a:solidFill>
                  <a:schemeClr val="tx1"/>
                </a:solidFill>
                <a:latin typeface="Arial"/>
                <a:cs typeface="Arial"/>
              </a:rPr>
              <a:t> </a:t>
            </a:r>
            <a:r>
              <a:rPr lang="sv-SE" sz="2800" b="1" i="1" dirty="0" err="1">
                <a:solidFill>
                  <a:schemeClr val="tx1"/>
                </a:solidFill>
                <a:latin typeface="Arial"/>
                <a:cs typeface="Arial"/>
              </a:rPr>
              <a:t>study</a:t>
            </a:r>
            <a:endParaRPr lang="sv-SE" sz="2800" i="1" dirty="0">
              <a:solidFill>
                <a:schemeClr val="tx1"/>
              </a:solidFill>
              <a:cs typeface="Arial"/>
            </a:endParaRPr>
          </a:p>
        </p:txBody>
      </p:sp>
      <p:sp>
        <p:nvSpPr>
          <p:cNvPr id="13" name="Content Placeholder 2">
            <a:extLst>
              <a:ext uri="{FF2B5EF4-FFF2-40B4-BE49-F238E27FC236}">
                <a16:creationId xmlns:a16="http://schemas.microsoft.com/office/drawing/2014/main" id="{9B592619-6742-5FC2-0EBA-F45FB5EF8928}"/>
              </a:ext>
            </a:extLst>
          </p:cNvPr>
          <p:cNvSpPr>
            <a:spLocks noGrp="1"/>
          </p:cNvSpPr>
          <p:nvPr/>
        </p:nvSpPr>
        <p:spPr>
          <a:xfrm>
            <a:off x="1385717" y="3569861"/>
            <a:ext cx="14143731" cy="5471681"/>
          </a:xfrm>
          <a:prstGeom prst="rect">
            <a:avLst/>
          </a:prstGeom>
        </p:spPr>
        <p:txBody>
          <a:bodyPr vert="horz" lIns="91440" tIns="45720" rIns="91440" bIns="45720" rtlCol="0" anchor="t">
            <a:normAutofit fontScale="70000" lnSpcReduction="20000"/>
          </a:bodyPr>
          <a:lstStyle>
            <a:lvl1pPr marL="0" indent="0" algn="l" defTabSz="914400" rtl="0" eaLnBrk="1" latinLnBrk="0" hangingPunct="1">
              <a:lnSpc>
                <a:spcPct val="90000"/>
              </a:lnSpc>
              <a:spcBef>
                <a:spcPts val="1500"/>
              </a:spcBef>
              <a:buClr>
                <a:schemeClr val="bg1"/>
              </a:buClr>
              <a:buFont typeface="Arial" panose="020B0604020202020204" pitchFamily="34" charset="0"/>
              <a:buChar char="•"/>
              <a:defRPr sz="2800" b="0" kern="1200">
                <a:solidFill>
                  <a:srgbClr val="540425"/>
                </a:solidFill>
                <a:latin typeface="Tenorite" panose="00000500000000000000" pitchFamily="2" charset="0"/>
                <a:ea typeface="+mn-ea"/>
                <a:cs typeface="+mn-cs"/>
              </a:defRPr>
            </a:lvl1pPr>
            <a:lvl2pPr marL="685800" indent="-228600" algn="l" defTabSz="914400" rtl="0" eaLnBrk="1" latinLnBrk="0" hangingPunct="1">
              <a:lnSpc>
                <a:spcPct val="90000"/>
              </a:lnSpc>
              <a:spcBef>
                <a:spcPts val="1500"/>
              </a:spcBef>
              <a:buClr>
                <a:srgbClr val="CF8F3F"/>
              </a:buClr>
              <a:buFont typeface="Arial" panose="020B0604020202020204" pitchFamily="34" charset="0"/>
              <a:buChar char="•"/>
              <a:defRPr sz="2000" kern="1200">
                <a:solidFill>
                  <a:srgbClr val="540425"/>
                </a:solidFill>
                <a:latin typeface="Tenorite" panose="00000500000000000000" pitchFamily="2" charset="0"/>
                <a:ea typeface="+mn-ea"/>
                <a:cs typeface="+mn-cs"/>
              </a:defRPr>
            </a:lvl2pPr>
            <a:lvl3pPr marL="1143000" indent="-228600" algn="l" defTabSz="914400" rtl="0" eaLnBrk="1" latinLnBrk="0" hangingPunct="1">
              <a:lnSpc>
                <a:spcPct val="90000"/>
              </a:lnSpc>
              <a:spcBef>
                <a:spcPts val="1500"/>
              </a:spcBef>
              <a:buClr>
                <a:srgbClr val="CF8F3F"/>
              </a:buClr>
              <a:buFont typeface="Arial" panose="020B0604020202020204" pitchFamily="34" charset="0"/>
              <a:buChar char="•"/>
              <a:defRPr sz="1800" kern="1200">
                <a:solidFill>
                  <a:srgbClr val="540425"/>
                </a:solidFill>
                <a:latin typeface="Tenorite" panose="00000500000000000000" pitchFamily="2" charset="0"/>
                <a:ea typeface="+mn-ea"/>
                <a:cs typeface="+mn-cs"/>
              </a:defRPr>
            </a:lvl3pPr>
            <a:lvl4pPr marL="1600200" indent="-228600" algn="l" defTabSz="914400" rtl="0" eaLnBrk="1" latinLnBrk="0" hangingPunct="1">
              <a:lnSpc>
                <a:spcPct val="90000"/>
              </a:lnSpc>
              <a:spcBef>
                <a:spcPts val="500"/>
              </a:spcBef>
              <a:buClr>
                <a:srgbClr val="CF8F3F"/>
              </a:buClr>
              <a:buFont typeface="Arial" panose="020B0604020202020204" pitchFamily="34" charset="0"/>
              <a:buChar char="•"/>
              <a:defRPr sz="1600" kern="1200">
                <a:solidFill>
                  <a:srgbClr val="540425"/>
                </a:solidFill>
                <a:latin typeface="Tenorite" panose="00000500000000000000" pitchFamily="2" charset="0"/>
                <a:ea typeface="+mn-ea"/>
                <a:cs typeface="+mn-cs"/>
              </a:defRPr>
            </a:lvl4pPr>
            <a:lvl5pPr marL="2057400" indent="-228600" algn="l" defTabSz="914400" rtl="0" eaLnBrk="1" latinLnBrk="0" hangingPunct="1">
              <a:lnSpc>
                <a:spcPct val="90000"/>
              </a:lnSpc>
              <a:spcBef>
                <a:spcPts val="500"/>
              </a:spcBef>
              <a:buClr>
                <a:srgbClr val="CF8F3F"/>
              </a:buClr>
              <a:buFont typeface="Arial" panose="020B0604020202020204" pitchFamily="34" charset="0"/>
              <a:buChar char="•"/>
              <a:defRPr sz="1600" kern="1200">
                <a:solidFill>
                  <a:srgbClr val="540425"/>
                </a:solidFill>
                <a:latin typeface="Tenorite" panose="00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14350" indent="-514350">
              <a:buClr>
                <a:srgbClr val="540425"/>
              </a:buClr>
              <a:buFont typeface="+mj-lt"/>
              <a:buAutoNum type="arabicPeriod"/>
            </a:pPr>
            <a:r>
              <a:rPr lang="en-US" dirty="0">
                <a:solidFill>
                  <a:schemeClr val="tx1"/>
                </a:solidFill>
                <a:latin typeface="Arial"/>
                <a:cs typeface="Arial"/>
              </a:rPr>
              <a:t>Relevant stakeholders and impact subcategories were chosen based on:</a:t>
            </a:r>
          </a:p>
          <a:p>
            <a:pPr marL="1200150" lvl="1" indent="-514350">
              <a:buClr>
                <a:srgbClr val="540425"/>
              </a:buClr>
              <a:buFont typeface="+mj-lt"/>
              <a:buAutoNum type="alphaLcParenR"/>
            </a:pPr>
            <a:r>
              <a:rPr lang="en-US" sz="2600" dirty="0">
                <a:solidFill>
                  <a:schemeClr val="tx1"/>
                </a:solidFill>
                <a:latin typeface="Arial"/>
                <a:cs typeface="Arial"/>
              </a:rPr>
              <a:t>Materiality assessments</a:t>
            </a:r>
          </a:p>
          <a:p>
            <a:pPr marL="1200150" lvl="1" indent="-514350">
              <a:buClr>
                <a:srgbClr val="540425"/>
              </a:buClr>
              <a:buFont typeface="+mj-lt"/>
              <a:buAutoNum type="alphaLcParenR"/>
            </a:pPr>
            <a:r>
              <a:rPr lang="en-US" sz="2600" dirty="0">
                <a:solidFill>
                  <a:schemeClr val="tx1"/>
                </a:solidFill>
                <a:latin typeface="Arial"/>
                <a:cs typeface="Arial"/>
              </a:rPr>
              <a:t>Literature review on social impacts of the chosen industries</a:t>
            </a:r>
          </a:p>
          <a:p>
            <a:pPr marL="1200150" lvl="1" indent="-514350">
              <a:buClr>
                <a:srgbClr val="540425"/>
              </a:buClr>
              <a:buFont typeface="+mj-lt"/>
              <a:buAutoNum type="alphaLcParenR"/>
            </a:pPr>
            <a:r>
              <a:rPr lang="en-US" sz="2600" dirty="0">
                <a:solidFill>
                  <a:schemeClr val="tx1"/>
                </a:solidFill>
                <a:latin typeface="Arial"/>
                <a:cs typeface="Arial"/>
              </a:rPr>
              <a:t>Industry and country specific social impacts (hot spot analysis using database)</a:t>
            </a:r>
          </a:p>
          <a:p>
            <a:pPr marL="1200150" lvl="1" indent="-514350">
              <a:buClr>
                <a:srgbClr val="540425"/>
              </a:buClr>
              <a:buFont typeface="+mj-lt"/>
              <a:buAutoNum type="alphaLcParenR"/>
            </a:pPr>
            <a:r>
              <a:rPr lang="en-US" sz="2600" dirty="0">
                <a:solidFill>
                  <a:schemeClr val="tx1"/>
                </a:solidFill>
                <a:latin typeface="Arial"/>
                <a:cs typeface="Arial"/>
              </a:rPr>
              <a:t>Expert workshop</a:t>
            </a:r>
          </a:p>
          <a:p>
            <a:pPr marL="514350" indent="-514350">
              <a:buClr>
                <a:srgbClr val="540425"/>
              </a:buClr>
              <a:buFont typeface="+mj-lt"/>
              <a:buAutoNum type="arabicPeriod"/>
            </a:pPr>
            <a:r>
              <a:rPr lang="en-US" dirty="0">
                <a:solidFill>
                  <a:schemeClr val="tx1"/>
                </a:solidFill>
                <a:latin typeface="Arial"/>
                <a:cs typeface="Arial"/>
              </a:rPr>
              <a:t>For each subcategory relevant indicators were chosen</a:t>
            </a:r>
          </a:p>
          <a:p>
            <a:pPr marL="514350" indent="-514350">
              <a:buClr>
                <a:srgbClr val="540425"/>
              </a:buClr>
              <a:buFont typeface="+mj-lt"/>
              <a:buAutoNum type="arabicPeriod"/>
            </a:pPr>
            <a:r>
              <a:rPr lang="en-US" dirty="0">
                <a:solidFill>
                  <a:schemeClr val="tx1"/>
                </a:solidFill>
                <a:latin typeface="Arial"/>
                <a:cs typeface="Arial"/>
              </a:rPr>
              <a:t>For each subcategory reference scales were developed</a:t>
            </a:r>
          </a:p>
          <a:p>
            <a:pPr marL="514350" indent="-514350">
              <a:buClr>
                <a:srgbClr val="540425"/>
              </a:buClr>
              <a:buFont typeface="+mj-lt"/>
              <a:buAutoNum type="arabicPeriod"/>
            </a:pPr>
            <a:r>
              <a:rPr lang="en-US" dirty="0">
                <a:solidFill>
                  <a:schemeClr val="tx1"/>
                </a:solidFill>
                <a:latin typeface="Arial"/>
                <a:cs typeface="Arial"/>
              </a:rPr>
              <a:t>For each indicator, questions for specific roles were prepared (in total more than 200 questions were prepared)</a:t>
            </a:r>
          </a:p>
          <a:p>
            <a:pPr marL="514350" indent="-514350">
              <a:buClr>
                <a:srgbClr val="540425"/>
              </a:buClr>
              <a:buFont typeface="+mj-lt"/>
              <a:buAutoNum type="arabicPeriod"/>
            </a:pPr>
            <a:r>
              <a:rPr lang="en-US" dirty="0">
                <a:solidFill>
                  <a:schemeClr val="tx1"/>
                </a:solidFill>
                <a:latin typeface="Arial"/>
                <a:cs typeface="Arial"/>
              </a:rPr>
              <a:t>Interviews with different roles and stakeholders </a:t>
            </a:r>
            <a:r>
              <a:rPr lang="en-GB" dirty="0">
                <a:solidFill>
                  <a:schemeClr val="tx1"/>
                </a:solidFill>
                <a:latin typeface="Arial"/>
                <a:cs typeface="Arial"/>
              </a:rPr>
              <a:t>(production manager, HR, local community representatives etc)</a:t>
            </a:r>
          </a:p>
          <a:p>
            <a:pPr marL="514350" indent="-514350">
              <a:buClr>
                <a:srgbClr val="540425"/>
              </a:buClr>
              <a:buFont typeface="+mj-lt"/>
              <a:buAutoNum type="arabicPeriod"/>
            </a:pPr>
            <a:r>
              <a:rPr lang="en-GB" dirty="0">
                <a:solidFill>
                  <a:schemeClr val="tx1"/>
                </a:solidFill>
                <a:latin typeface="Arial"/>
                <a:cs typeface="Arial"/>
              </a:rPr>
              <a:t>The interviews transcribed</a:t>
            </a:r>
          </a:p>
          <a:p>
            <a:pPr marL="514350" indent="-514350">
              <a:buClr>
                <a:srgbClr val="540425"/>
              </a:buClr>
              <a:buFont typeface="+mj-lt"/>
              <a:buAutoNum type="arabicPeriod"/>
            </a:pPr>
            <a:r>
              <a:rPr lang="en-GB" dirty="0">
                <a:solidFill>
                  <a:schemeClr val="tx1"/>
                </a:solidFill>
                <a:latin typeface="Arial"/>
                <a:cs typeface="Arial"/>
              </a:rPr>
              <a:t>The answers to questions related to each indicator analysed</a:t>
            </a:r>
          </a:p>
          <a:p>
            <a:pPr marL="514350" indent="-514350">
              <a:buClr>
                <a:srgbClr val="540425"/>
              </a:buClr>
              <a:buFont typeface="+mj-lt"/>
              <a:buAutoNum type="arabicPeriod"/>
            </a:pPr>
            <a:r>
              <a:rPr lang="en-GB" dirty="0">
                <a:solidFill>
                  <a:schemeClr val="tx1"/>
                </a:solidFill>
                <a:latin typeface="Arial"/>
                <a:cs typeface="Arial"/>
              </a:rPr>
              <a:t>For each subcategory reference scales were used to assess where the relevant process stands</a:t>
            </a:r>
            <a:endParaRPr lang="sv-SE" dirty="0">
              <a:solidFill>
                <a:schemeClr val="tx1"/>
              </a:solidFill>
              <a:latin typeface="Arial"/>
              <a:cs typeface="Arial"/>
            </a:endParaRPr>
          </a:p>
          <a:p>
            <a:pPr marL="514350" indent="-514350">
              <a:buClr>
                <a:srgbClr val="540425"/>
              </a:buClr>
              <a:buFont typeface="+mj-lt"/>
              <a:buAutoNum type="arabicPeriod"/>
            </a:pPr>
            <a:r>
              <a:rPr lang="en-GB" dirty="0">
                <a:solidFill>
                  <a:schemeClr val="tx1"/>
                </a:solidFill>
                <a:latin typeface="Arial"/>
                <a:cs typeface="Arial"/>
              </a:rPr>
              <a:t>How will the retrofitting activities affect the social impacts of the processes analysed</a:t>
            </a:r>
          </a:p>
        </p:txBody>
      </p:sp>
    </p:spTree>
    <p:extLst>
      <p:ext uri="{BB962C8B-B14F-4D97-AF65-F5344CB8AC3E}">
        <p14:creationId xmlns:p14="http://schemas.microsoft.com/office/powerpoint/2010/main" val="899732953"/>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6"/>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4"/>
          <a:srcRect/>
          <a:stretch>
            <a:fillRect/>
          </a:stretch>
        </p:blipFill>
        <p:spPr>
          <a:xfrm>
            <a:off x="0" y="8901113"/>
            <a:ext cx="5715000" cy="1385887"/>
          </a:xfrm>
          <a:prstGeom prst="rect">
            <a:avLst/>
          </a:prstGeom>
        </p:spPr>
      </p:pic>
      <p:grpSp>
        <p:nvGrpSpPr>
          <p:cNvPr id="3" name="Gruppo 2">
            <a:extLst>
              <a:ext uri="{FF2B5EF4-FFF2-40B4-BE49-F238E27FC236}">
                <a16:creationId xmlns:a16="http://schemas.microsoft.com/office/drawing/2014/main" id="{D0B44AFC-EABA-48CF-A7A8-348076F88921}"/>
              </a:ext>
            </a:extLst>
          </p:cNvPr>
          <p:cNvGrpSpPr/>
          <p:nvPr/>
        </p:nvGrpSpPr>
        <p:grpSpPr>
          <a:xfrm>
            <a:off x="-12" y="138554"/>
            <a:ext cx="18288002" cy="681138"/>
            <a:chOff x="-12" y="138554"/>
            <a:chExt cx="18288002" cy="681138"/>
          </a:xfrm>
        </p:grpSpPr>
        <p:grpSp>
          <p:nvGrpSpPr>
            <p:cNvPr id="16" name="Gruppo 15">
              <a:extLst>
                <a:ext uri="{FF2B5EF4-FFF2-40B4-BE49-F238E27FC236}">
                  <a16:creationId xmlns:a16="http://schemas.microsoft.com/office/drawing/2014/main" id="{DAC42A46-917D-41AB-8F07-E15E54D0F7D4}"/>
                </a:ext>
              </a:extLst>
            </p:cNvPr>
            <p:cNvGrpSpPr/>
            <p:nvPr/>
          </p:nvGrpSpPr>
          <p:grpSpPr>
            <a:xfrm>
              <a:off x="0" y="153125"/>
              <a:ext cx="13958844" cy="666567"/>
              <a:chOff x="0" y="153125"/>
              <a:chExt cx="13958844" cy="666567"/>
            </a:xfrm>
          </p:grpSpPr>
          <p:pic>
            <p:nvPicPr>
              <p:cNvPr id="10" name="Picture 10"/>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1" name="TextBox 11"/>
              <p:cNvSpPr txBox="1"/>
              <p:nvPr/>
            </p:nvSpPr>
            <p:spPr>
              <a:xfrm>
                <a:off x="228599" y="257980"/>
                <a:ext cx="8656093" cy="456856"/>
              </a:xfrm>
              <a:prstGeom prst="rect">
                <a:avLst/>
              </a:prstGeom>
            </p:spPr>
            <p:txBody>
              <a:bodyPr wrap="square" lIns="0" tIns="0" rIns="0" bIns="0" rtlCol="0" anchor="t">
                <a:spAutoFit/>
              </a:bodyPr>
              <a:lstStyle/>
              <a:p>
                <a:pPr>
                  <a:lnSpc>
                    <a:spcPts val="3919"/>
                  </a:lnSpc>
                  <a:spcBef>
                    <a:spcPct val="0"/>
                  </a:spcBef>
                </a:pPr>
                <a:endParaRPr lang="en-US" sz="2800" b="1">
                  <a:solidFill>
                    <a:srgbClr val="FFFFFF"/>
                  </a:solidFill>
                  <a:latin typeface="Arial" panose="020B0604020202020204" pitchFamily="34" charset="0"/>
                  <a:cs typeface="Arial" panose="020B0604020202020204" pitchFamily="34" charset="0"/>
                </a:endParaRPr>
              </a:p>
            </p:txBody>
          </p:sp>
        </p:grpSp>
        <p:sp>
          <p:nvSpPr>
            <p:cNvPr id="15" name="Rettangolo 14">
              <a:extLst>
                <a:ext uri="{FF2B5EF4-FFF2-40B4-BE49-F238E27FC236}">
                  <a16:creationId xmlns:a16="http://schemas.microsoft.com/office/drawing/2014/main" id="{AFFDA913-633F-49C2-9D71-573FB327981F}"/>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7" name="TextBox 13">
            <a:extLst>
              <a:ext uri="{FF2B5EF4-FFF2-40B4-BE49-F238E27FC236}">
                <a16:creationId xmlns:a16="http://schemas.microsoft.com/office/drawing/2014/main" id="{C7197FAA-9C82-4C25-B208-2BF8170DA3D1}"/>
              </a:ext>
            </a:extLst>
          </p:cNvPr>
          <p:cNvSpPr txBox="1"/>
          <p:nvPr/>
        </p:nvSpPr>
        <p:spPr>
          <a:xfrm>
            <a:off x="838188" y="850387"/>
            <a:ext cx="17068812" cy="1052468"/>
          </a:xfrm>
          <a:prstGeom prst="rect">
            <a:avLst/>
          </a:prstGeom>
        </p:spPr>
        <p:txBody>
          <a:bodyPr wrap="square" lIns="0" tIns="0" rIns="0" bIns="0" rtlCol="0" anchor="t">
            <a:spAutoFit/>
          </a:bodyPr>
          <a:lstStyle/>
          <a:p>
            <a:pPr algn="ctr">
              <a:lnSpc>
                <a:spcPts val="8960"/>
              </a:lnSpc>
              <a:spcBef>
                <a:spcPct val="0"/>
              </a:spcBef>
            </a:pPr>
            <a:r>
              <a:rPr lang="en-US" sz="6400" b="1" dirty="0">
                <a:solidFill>
                  <a:srgbClr val="CC0033"/>
                </a:solidFill>
                <a:latin typeface="+mj-lt"/>
                <a:cs typeface="Arial" panose="020B0604020202020204" pitchFamily="34" charset="0"/>
              </a:rPr>
              <a:t>Social life cycle assessment (S-LCA)</a:t>
            </a:r>
          </a:p>
        </p:txBody>
      </p:sp>
      <p:sp>
        <p:nvSpPr>
          <p:cNvPr id="12" name="Title 1">
            <a:extLst>
              <a:ext uri="{FF2B5EF4-FFF2-40B4-BE49-F238E27FC236}">
                <a16:creationId xmlns:a16="http://schemas.microsoft.com/office/drawing/2014/main" id="{4785615A-27F7-B312-B259-C312A550C493}"/>
              </a:ext>
            </a:extLst>
          </p:cNvPr>
          <p:cNvSpPr>
            <a:spLocks noGrp="1"/>
          </p:cNvSpPr>
          <p:nvPr/>
        </p:nvSpPr>
        <p:spPr>
          <a:xfrm>
            <a:off x="1390298" y="2246481"/>
            <a:ext cx="14042131" cy="769674"/>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3400" kern="1200">
                <a:solidFill>
                  <a:srgbClr val="540425"/>
                </a:solidFill>
                <a:latin typeface="Tenorite" panose="00000500000000000000" pitchFamily="2" charset="0"/>
                <a:ea typeface="+mj-ea"/>
                <a:cs typeface="+mj-cs"/>
              </a:defRPr>
            </a:lvl1pPr>
          </a:lstStyle>
          <a:p>
            <a:r>
              <a:rPr lang="sv-SE" sz="2800" b="1" i="1" err="1">
                <a:solidFill>
                  <a:schemeClr val="tx1"/>
                </a:solidFill>
                <a:latin typeface="Arial"/>
                <a:cs typeface="Arial"/>
              </a:rPr>
              <a:t>Selected</a:t>
            </a:r>
            <a:r>
              <a:rPr lang="sv-SE" sz="2800" b="1" i="1">
                <a:solidFill>
                  <a:schemeClr val="tx1"/>
                </a:solidFill>
                <a:latin typeface="Arial"/>
                <a:cs typeface="Arial"/>
              </a:rPr>
              <a:t> </a:t>
            </a:r>
            <a:r>
              <a:rPr lang="sv-SE" sz="2800" b="1" i="1" err="1">
                <a:solidFill>
                  <a:schemeClr val="tx1"/>
                </a:solidFill>
                <a:latin typeface="Arial"/>
                <a:cs typeface="Arial"/>
              </a:rPr>
              <a:t>impact</a:t>
            </a:r>
            <a:r>
              <a:rPr lang="sv-SE" sz="2800" b="1" i="1">
                <a:solidFill>
                  <a:schemeClr val="tx1"/>
                </a:solidFill>
                <a:latin typeface="Arial"/>
                <a:cs typeface="Arial"/>
              </a:rPr>
              <a:t> </a:t>
            </a:r>
            <a:r>
              <a:rPr lang="sv-SE" sz="2800" b="1" i="1" err="1">
                <a:solidFill>
                  <a:schemeClr val="tx1"/>
                </a:solidFill>
                <a:latin typeface="Arial"/>
                <a:cs typeface="Arial"/>
              </a:rPr>
              <a:t>subcategories</a:t>
            </a:r>
            <a:r>
              <a:rPr lang="sv-SE" sz="2800" b="1" i="1">
                <a:solidFill>
                  <a:schemeClr val="tx1"/>
                </a:solidFill>
                <a:latin typeface="Arial"/>
                <a:cs typeface="Arial"/>
              </a:rPr>
              <a:t>, </a:t>
            </a:r>
            <a:r>
              <a:rPr lang="sv-SE" sz="2800" b="1">
                <a:solidFill>
                  <a:schemeClr val="tx1"/>
                </a:solidFill>
                <a:latin typeface="Arial"/>
                <a:cs typeface="Arial"/>
              </a:rPr>
              <a:t>SECIL</a:t>
            </a:r>
            <a:endParaRPr lang="sv-SE" sz="2800" i="1">
              <a:solidFill>
                <a:schemeClr val="tx1"/>
              </a:solidFill>
              <a:cs typeface="Arial"/>
            </a:endParaRPr>
          </a:p>
        </p:txBody>
      </p:sp>
      <p:sp>
        <p:nvSpPr>
          <p:cNvPr id="13" name="Content Placeholder 2">
            <a:extLst>
              <a:ext uri="{FF2B5EF4-FFF2-40B4-BE49-F238E27FC236}">
                <a16:creationId xmlns:a16="http://schemas.microsoft.com/office/drawing/2014/main" id="{9B592619-6742-5FC2-0EBA-F45FB5EF8928}"/>
              </a:ext>
            </a:extLst>
          </p:cNvPr>
          <p:cNvSpPr>
            <a:spLocks noGrp="1"/>
          </p:cNvSpPr>
          <p:nvPr/>
        </p:nvSpPr>
        <p:spPr>
          <a:xfrm>
            <a:off x="1385717" y="3569861"/>
            <a:ext cx="14143731" cy="5471681"/>
          </a:xfrm>
          <a:prstGeom prst="rect">
            <a:avLst/>
          </a:prstGeom>
        </p:spPr>
        <p:txBody>
          <a:bodyPr vert="horz" lIns="91440" tIns="45720" rIns="91440" bIns="45720" rtlCol="0" anchor="t">
            <a:normAutofit/>
          </a:bodyPr>
          <a:lstStyle>
            <a:lvl1pPr marL="0" indent="0" algn="l" defTabSz="914400" rtl="0" eaLnBrk="1" latinLnBrk="0" hangingPunct="1">
              <a:lnSpc>
                <a:spcPct val="90000"/>
              </a:lnSpc>
              <a:spcBef>
                <a:spcPts val="1500"/>
              </a:spcBef>
              <a:buClr>
                <a:schemeClr val="bg1"/>
              </a:buClr>
              <a:buFont typeface="Arial" panose="020B0604020202020204" pitchFamily="34" charset="0"/>
              <a:buChar char="•"/>
              <a:defRPr sz="2800" b="0" kern="1200">
                <a:solidFill>
                  <a:srgbClr val="540425"/>
                </a:solidFill>
                <a:latin typeface="Tenorite" panose="00000500000000000000" pitchFamily="2" charset="0"/>
                <a:ea typeface="+mn-ea"/>
                <a:cs typeface="+mn-cs"/>
              </a:defRPr>
            </a:lvl1pPr>
            <a:lvl2pPr marL="685800" indent="-228600" algn="l" defTabSz="914400" rtl="0" eaLnBrk="1" latinLnBrk="0" hangingPunct="1">
              <a:lnSpc>
                <a:spcPct val="90000"/>
              </a:lnSpc>
              <a:spcBef>
                <a:spcPts val="1500"/>
              </a:spcBef>
              <a:buClr>
                <a:srgbClr val="CF8F3F"/>
              </a:buClr>
              <a:buFont typeface="Arial" panose="020B0604020202020204" pitchFamily="34" charset="0"/>
              <a:buChar char="•"/>
              <a:defRPr sz="2000" kern="1200">
                <a:solidFill>
                  <a:srgbClr val="540425"/>
                </a:solidFill>
                <a:latin typeface="Tenorite" panose="00000500000000000000" pitchFamily="2" charset="0"/>
                <a:ea typeface="+mn-ea"/>
                <a:cs typeface="+mn-cs"/>
              </a:defRPr>
            </a:lvl2pPr>
            <a:lvl3pPr marL="1143000" indent="-228600" algn="l" defTabSz="914400" rtl="0" eaLnBrk="1" latinLnBrk="0" hangingPunct="1">
              <a:lnSpc>
                <a:spcPct val="90000"/>
              </a:lnSpc>
              <a:spcBef>
                <a:spcPts val="1500"/>
              </a:spcBef>
              <a:buClr>
                <a:srgbClr val="CF8F3F"/>
              </a:buClr>
              <a:buFont typeface="Arial" panose="020B0604020202020204" pitchFamily="34" charset="0"/>
              <a:buChar char="•"/>
              <a:defRPr sz="1800" kern="1200">
                <a:solidFill>
                  <a:srgbClr val="540425"/>
                </a:solidFill>
                <a:latin typeface="Tenorite" panose="00000500000000000000" pitchFamily="2" charset="0"/>
                <a:ea typeface="+mn-ea"/>
                <a:cs typeface="+mn-cs"/>
              </a:defRPr>
            </a:lvl3pPr>
            <a:lvl4pPr marL="1600200" indent="-228600" algn="l" defTabSz="914400" rtl="0" eaLnBrk="1" latinLnBrk="0" hangingPunct="1">
              <a:lnSpc>
                <a:spcPct val="90000"/>
              </a:lnSpc>
              <a:spcBef>
                <a:spcPts val="500"/>
              </a:spcBef>
              <a:buClr>
                <a:srgbClr val="CF8F3F"/>
              </a:buClr>
              <a:buFont typeface="Arial" panose="020B0604020202020204" pitchFamily="34" charset="0"/>
              <a:buChar char="•"/>
              <a:defRPr sz="1600" kern="1200">
                <a:solidFill>
                  <a:srgbClr val="540425"/>
                </a:solidFill>
                <a:latin typeface="Tenorite" panose="00000500000000000000" pitchFamily="2" charset="0"/>
                <a:ea typeface="+mn-ea"/>
                <a:cs typeface="+mn-cs"/>
              </a:defRPr>
            </a:lvl4pPr>
            <a:lvl5pPr marL="2057400" indent="-228600" algn="l" defTabSz="914400" rtl="0" eaLnBrk="1" latinLnBrk="0" hangingPunct="1">
              <a:lnSpc>
                <a:spcPct val="90000"/>
              </a:lnSpc>
              <a:spcBef>
                <a:spcPts val="500"/>
              </a:spcBef>
              <a:buClr>
                <a:srgbClr val="CF8F3F"/>
              </a:buClr>
              <a:buFont typeface="Arial" panose="020B0604020202020204" pitchFamily="34" charset="0"/>
              <a:buChar char="•"/>
              <a:defRPr sz="1600" kern="1200">
                <a:solidFill>
                  <a:srgbClr val="540425"/>
                </a:solidFill>
                <a:latin typeface="Tenorite" panose="00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540425"/>
              </a:buClr>
              <a:buNone/>
            </a:pPr>
            <a:endParaRPr lang="en-GB" b="1" i="1">
              <a:solidFill>
                <a:schemeClr val="accent1"/>
              </a:solidFill>
              <a:latin typeface="Arial"/>
              <a:cs typeface="Arial"/>
            </a:endParaRPr>
          </a:p>
        </p:txBody>
      </p:sp>
      <p:pic>
        <p:nvPicPr>
          <p:cNvPr id="2" name="Picture 1">
            <a:extLst>
              <a:ext uri="{FF2B5EF4-FFF2-40B4-BE49-F238E27FC236}">
                <a16:creationId xmlns:a16="http://schemas.microsoft.com/office/drawing/2014/main" id="{DF195EC4-5ED6-4FEB-BA27-5B31D4B3549C}"/>
              </a:ext>
            </a:extLst>
          </p:cNvPr>
          <p:cNvPicPr>
            <a:picLocks noChangeAspect="1"/>
          </p:cNvPicPr>
          <p:nvPr/>
        </p:nvPicPr>
        <p:blipFill>
          <a:blip r:embed="rId6"/>
          <a:stretch>
            <a:fillRect/>
          </a:stretch>
        </p:blipFill>
        <p:spPr>
          <a:xfrm>
            <a:off x="1385717" y="3076298"/>
            <a:ext cx="6753675" cy="6036907"/>
          </a:xfrm>
          <a:prstGeom prst="rect">
            <a:avLst/>
          </a:prstGeom>
        </p:spPr>
      </p:pic>
      <p:pic>
        <p:nvPicPr>
          <p:cNvPr id="5" name="Picture 4">
            <a:extLst>
              <a:ext uri="{FF2B5EF4-FFF2-40B4-BE49-F238E27FC236}">
                <a16:creationId xmlns:a16="http://schemas.microsoft.com/office/drawing/2014/main" id="{1FC8C322-8BE1-90C0-2183-DB84F1E29701}"/>
              </a:ext>
            </a:extLst>
          </p:cNvPr>
          <p:cNvPicPr>
            <a:picLocks noChangeAspect="1"/>
          </p:cNvPicPr>
          <p:nvPr/>
        </p:nvPicPr>
        <p:blipFill>
          <a:blip r:embed="rId7"/>
          <a:stretch>
            <a:fillRect/>
          </a:stretch>
        </p:blipFill>
        <p:spPr>
          <a:xfrm>
            <a:off x="11147545" y="5099240"/>
            <a:ext cx="1095528" cy="3458058"/>
          </a:xfrm>
          <a:prstGeom prst="rect">
            <a:avLst/>
          </a:prstGeom>
        </p:spPr>
      </p:pic>
      <p:sp>
        <p:nvSpPr>
          <p:cNvPr id="7" name="TextBox 6">
            <a:extLst>
              <a:ext uri="{FF2B5EF4-FFF2-40B4-BE49-F238E27FC236}">
                <a16:creationId xmlns:a16="http://schemas.microsoft.com/office/drawing/2014/main" id="{9A190EED-BE6D-5E87-147F-3AE7F3FE83EA}"/>
              </a:ext>
            </a:extLst>
          </p:cNvPr>
          <p:cNvSpPr txBox="1"/>
          <p:nvPr/>
        </p:nvSpPr>
        <p:spPr>
          <a:xfrm>
            <a:off x="9144000" y="2145222"/>
            <a:ext cx="8147713" cy="1384995"/>
          </a:xfrm>
          <a:prstGeom prst="rect">
            <a:avLst/>
          </a:prstGeom>
          <a:noFill/>
        </p:spPr>
        <p:txBody>
          <a:bodyPr wrap="square">
            <a:spAutoFit/>
          </a:bodyPr>
          <a:lstStyle/>
          <a:p>
            <a:pPr>
              <a:buClr>
                <a:srgbClr val="540425"/>
              </a:buClr>
            </a:pPr>
            <a:r>
              <a:rPr lang="en-GB" sz="2800" b="1" i="1">
                <a:latin typeface="Arial"/>
                <a:ea typeface="+mj-ea"/>
                <a:cs typeface="Arial"/>
              </a:rPr>
              <a:t>For each subcategory results will be presented using a reference scales. Changes due to </a:t>
            </a:r>
            <a:r>
              <a:rPr lang="en-GB" sz="2800" b="1" i="1" err="1">
                <a:latin typeface="Arial"/>
                <a:ea typeface="+mj-ea"/>
                <a:cs typeface="Arial"/>
              </a:rPr>
              <a:t>Retrofeed</a:t>
            </a:r>
            <a:r>
              <a:rPr lang="en-GB" sz="2800" b="1" i="1">
                <a:latin typeface="Arial"/>
                <a:ea typeface="+mj-ea"/>
                <a:cs typeface="Arial"/>
              </a:rPr>
              <a:t> will be discussed.</a:t>
            </a:r>
          </a:p>
        </p:txBody>
      </p:sp>
      <p:pic>
        <p:nvPicPr>
          <p:cNvPr id="4" name="Picture 3" descr="A diagram of a diagram&#10;&#10;Description automatically generated">
            <a:extLst>
              <a:ext uri="{FF2B5EF4-FFF2-40B4-BE49-F238E27FC236}">
                <a16:creationId xmlns:a16="http://schemas.microsoft.com/office/drawing/2014/main" id="{E68A58E9-BEEE-0041-312D-25D9B72410D3}"/>
              </a:ext>
            </a:extLst>
          </p:cNvPr>
          <p:cNvPicPr>
            <a:picLocks noChangeAspect="1"/>
          </p:cNvPicPr>
          <p:nvPr/>
        </p:nvPicPr>
        <p:blipFill>
          <a:blip r:embed="rId8"/>
          <a:stretch>
            <a:fillRect/>
          </a:stretch>
        </p:blipFill>
        <p:spPr>
          <a:xfrm>
            <a:off x="8803804" y="3423716"/>
            <a:ext cx="9232545" cy="5617826"/>
          </a:xfrm>
          <a:prstGeom prst="rect">
            <a:avLst/>
          </a:prstGeom>
        </p:spPr>
      </p:pic>
    </p:spTree>
    <p:extLst>
      <p:ext uri="{BB962C8B-B14F-4D97-AF65-F5344CB8AC3E}">
        <p14:creationId xmlns:p14="http://schemas.microsoft.com/office/powerpoint/2010/main" val="1069063489"/>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6"/>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2"/>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3"/>
          <a:srcRect/>
          <a:stretch>
            <a:fillRect/>
          </a:stretch>
        </p:blipFill>
        <p:spPr>
          <a:xfrm>
            <a:off x="0" y="8901113"/>
            <a:ext cx="5715000" cy="1385887"/>
          </a:xfrm>
          <a:prstGeom prst="rect">
            <a:avLst/>
          </a:prstGeom>
        </p:spPr>
      </p:pic>
      <p:grpSp>
        <p:nvGrpSpPr>
          <p:cNvPr id="3" name="Gruppo 2">
            <a:extLst>
              <a:ext uri="{FF2B5EF4-FFF2-40B4-BE49-F238E27FC236}">
                <a16:creationId xmlns:a16="http://schemas.microsoft.com/office/drawing/2014/main" id="{D0B44AFC-EABA-48CF-A7A8-348076F88921}"/>
              </a:ext>
            </a:extLst>
          </p:cNvPr>
          <p:cNvGrpSpPr/>
          <p:nvPr/>
        </p:nvGrpSpPr>
        <p:grpSpPr>
          <a:xfrm>
            <a:off x="-12" y="138554"/>
            <a:ext cx="18288002" cy="681138"/>
            <a:chOff x="-12" y="138554"/>
            <a:chExt cx="18288002" cy="681138"/>
          </a:xfrm>
        </p:grpSpPr>
        <p:grpSp>
          <p:nvGrpSpPr>
            <p:cNvPr id="16" name="Gruppo 15">
              <a:extLst>
                <a:ext uri="{FF2B5EF4-FFF2-40B4-BE49-F238E27FC236}">
                  <a16:creationId xmlns:a16="http://schemas.microsoft.com/office/drawing/2014/main" id="{DAC42A46-917D-41AB-8F07-E15E54D0F7D4}"/>
                </a:ext>
              </a:extLst>
            </p:cNvPr>
            <p:cNvGrpSpPr/>
            <p:nvPr/>
          </p:nvGrpSpPr>
          <p:grpSpPr>
            <a:xfrm>
              <a:off x="0" y="153125"/>
              <a:ext cx="13958844" cy="666567"/>
              <a:chOff x="0" y="153125"/>
              <a:chExt cx="13958844" cy="666567"/>
            </a:xfrm>
          </p:grpSpPr>
          <p:pic>
            <p:nvPicPr>
              <p:cNvPr id="10" name="Picture 10"/>
              <p:cNvPicPr>
                <a:picLocks noChangeAspect="1"/>
              </p:cNvPicPr>
              <p:nvPr/>
            </p:nvPicPr>
            <p:blipFill>
              <a:blip r:embed="rId4"/>
              <a:srcRect l="134" t="91287" b="3943"/>
              <a:stretch>
                <a:fillRect/>
              </a:stretch>
            </p:blipFill>
            <p:spPr>
              <a:xfrm>
                <a:off x="0" y="153125"/>
                <a:ext cx="13958844" cy="666567"/>
              </a:xfrm>
              <a:prstGeom prst="rect">
                <a:avLst/>
              </a:prstGeom>
            </p:spPr>
          </p:pic>
          <p:sp>
            <p:nvSpPr>
              <p:cNvPr id="11" name="TextBox 11"/>
              <p:cNvSpPr txBox="1"/>
              <p:nvPr/>
            </p:nvSpPr>
            <p:spPr>
              <a:xfrm>
                <a:off x="228600" y="257980"/>
                <a:ext cx="9654704" cy="456856"/>
              </a:xfrm>
              <a:prstGeom prst="rect">
                <a:avLst/>
              </a:prstGeom>
            </p:spPr>
            <p:txBody>
              <a:bodyPr wrap="square" lIns="0" tIns="0" rIns="0" bIns="0" rtlCol="0" anchor="t">
                <a:spAutoFit/>
              </a:bodyPr>
              <a:lstStyle/>
              <a:p>
                <a:pPr>
                  <a:lnSpc>
                    <a:spcPts val="3919"/>
                  </a:lnSpc>
                  <a:spcBef>
                    <a:spcPct val="0"/>
                  </a:spcBef>
                </a:pPr>
                <a:endParaRPr lang="en-US" sz="2800" b="1">
                  <a:solidFill>
                    <a:srgbClr val="FFFFFF"/>
                  </a:solidFill>
                  <a:latin typeface="Arial" panose="020B0604020202020204" pitchFamily="34" charset="0"/>
                  <a:cs typeface="Arial" panose="020B0604020202020204" pitchFamily="34" charset="0"/>
                </a:endParaRPr>
              </a:p>
            </p:txBody>
          </p:sp>
        </p:grpSp>
        <p:sp>
          <p:nvSpPr>
            <p:cNvPr id="15" name="Rettangolo 14">
              <a:extLst>
                <a:ext uri="{FF2B5EF4-FFF2-40B4-BE49-F238E27FC236}">
                  <a16:creationId xmlns:a16="http://schemas.microsoft.com/office/drawing/2014/main" id="{AFFDA913-633F-49C2-9D71-573FB327981F}"/>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7" name="TextBox 13">
            <a:extLst>
              <a:ext uri="{FF2B5EF4-FFF2-40B4-BE49-F238E27FC236}">
                <a16:creationId xmlns:a16="http://schemas.microsoft.com/office/drawing/2014/main" id="{C7197FAA-9C82-4C25-B208-2BF8170DA3D1}"/>
              </a:ext>
            </a:extLst>
          </p:cNvPr>
          <p:cNvSpPr txBox="1"/>
          <p:nvPr/>
        </p:nvSpPr>
        <p:spPr>
          <a:xfrm>
            <a:off x="838188" y="850387"/>
            <a:ext cx="17068812" cy="1052468"/>
          </a:xfrm>
          <a:prstGeom prst="rect">
            <a:avLst/>
          </a:prstGeom>
        </p:spPr>
        <p:txBody>
          <a:bodyPr wrap="square" lIns="0" tIns="0" rIns="0" bIns="0" rtlCol="0" anchor="t">
            <a:spAutoFit/>
          </a:bodyPr>
          <a:lstStyle/>
          <a:p>
            <a:pPr algn="ctr">
              <a:lnSpc>
                <a:spcPts val="8960"/>
              </a:lnSpc>
              <a:spcBef>
                <a:spcPct val="0"/>
              </a:spcBef>
            </a:pPr>
            <a:r>
              <a:rPr lang="en-US" sz="6400" b="1" dirty="0">
                <a:solidFill>
                  <a:srgbClr val="CC0033"/>
                </a:solidFill>
                <a:latin typeface="+mj-lt"/>
                <a:cs typeface="Arial" panose="020B0604020202020204" pitchFamily="34" charset="0"/>
              </a:rPr>
              <a:t>Social life cycle assessment (S-LCA)</a:t>
            </a:r>
          </a:p>
        </p:txBody>
      </p:sp>
      <p:sp>
        <p:nvSpPr>
          <p:cNvPr id="12" name="Title 1">
            <a:extLst>
              <a:ext uri="{FF2B5EF4-FFF2-40B4-BE49-F238E27FC236}">
                <a16:creationId xmlns:a16="http://schemas.microsoft.com/office/drawing/2014/main" id="{4785615A-27F7-B312-B259-C312A550C493}"/>
              </a:ext>
            </a:extLst>
          </p:cNvPr>
          <p:cNvSpPr>
            <a:spLocks noGrp="1"/>
          </p:cNvSpPr>
          <p:nvPr/>
        </p:nvSpPr>
        <p:spPr>
          <a:xfrm>
            <a:off x="1390298" y="1992481"/>
            <a:ext cx="14042131" cy="1167258"/>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3400" kern="1200">
                <a:solidFill>
                  <a:srgbClr val="540425"/>
                </a:solidFill>
                <a:latin typeface="Tenorite" panose="00000500000000000000" pitchFamily="2" charset="0"/>
                <a:ea typeface="+mj-ea"/>
                <a:cs typeface="+mj-cs"/>
              </a:defRPr>
            </a:lvl1pPr>
          </a:lstStyle>
          <a:p>
            <a:r>
              <a:rPr lang="sv-SE" sz="2800" b="1" i="1" dirty="0">
                <a:solidFill>
                  <a:schemeClr val="tx1"/>
                </a:solidFill>
                <a:latin typeface="Arial"/>
                <a:cs typeface="Arial"/>
              </a:rPr>
              <a:t>Social hot spot </a:t>
            </a:r>
            <a:r>
              <a:rPr lang="sv-SE" sz="2800" b="1" i="1" dirty="0" err="1">
                <a:solidFill>
                  <a:schemeClr val="tx1"/>
                </a:solidFill>
                <a:latin typeface="Arial"/>
                <a:cs typeface="Arial"/>
              </a:rPr>
              <a:t>analysis</a:t>
            </a:r>
            <a:r>
              <a:rPr lang="sv-SE" sz="2800" b="1" i="1" dirty="0">
                <a:solidFill>
                  <a:schemeClr val="tx1"/>
                </a:solidFill>
                <a:latin typeface="Arial"/>
                <a:cs typeface="Arial"/>
              </a:rPr>
              <a:t> </a:t>
            </a:r>
            <a:r>
              <a:rPr lang="sv-SE" sz="2800" b="1" i="1" dirty="0" err="1">
                <a:solidFill>
                  <a:schemeClr val="tx1"/>
                </a:solidFill>
                <a:latin typeface="Arial"/>
                <a:cs typeface="Arial"/>
              </a:rPr>
              <a:t>study</a:t>
            </a:r>
            <a:r>
              <a:rPr lang="sv-SE" sz="2800" b="1" i="1" dirty="0">
                <a:solidFill>
                  <a:schemeClr val="tx1"/>
                </a:solidFill>
                <a:latin typeface="Arial"/>
                <a:cs typeface="Arial"/>
              </a:rPr>
              <a:t> for all sites</a:t>
            </a:r>
            <a:endParaRPr lang="sv-SE" sz="2800" i="1" dirty="0">
              <a:solidFill>
                <a:schemeClr val="tx1"/>
              </a:solidFill>
              <a:cs typeface="Arial"/>
            </a:endParaRPr>
          </a:p>
        </p:txBody>
      </p:sp>
      <p:sp>
        <p:nvSpPr>
          <p:cNvPr id="13" name="Content Placeholder 2">
            <a:extLst>
              <a:ext uri="{FF2B5EF4-FFF2-40B4-BE49-F238E27FC236}">
                <a16:creationId xmlns:a16="http://schemas.microsoft.com/office/drawing/2014/main" id="{9B592619-6742-5FC2-0EBA-F45FB5EF8928}"/>
              </a:ext>
            </a:extLst>
          </p:cNvPr>
          <p:cNvSpPr>
            <a:spLocks noGrp="1"/>
          </p:cNvSpPr>
          <p:nvPr/>
        </p:nvSpPr>
        <p:spPr>
          <a:xfrm>
            <a:off x="1385717" y="3208914"/>
            <a:ext cx="8497587" cy="5457910"/>
          </a:xfrm>
          <a:prstGeom prst="rect">
            <a:avLst/>
          </a:prstGeom>
        </p:spPr>
        <p:txBody>
          <a:bodyPr vert="horz" lIns="91440" tIns="45720" rIns="91440" bIns="45720" rtlCol="0" anchor="t">
            <a:normAutofit/>
          </a:bodyPr>
          <a:lstStyle>
            <a:lvl1pPr marL="0" indent="0" algn="l" defTabSz="914400" rtl="0" eaLnBrk="1" latinLnBrk="0" hangingPunct="1">
              <a:lnSpc>
                <a:spcPct val="90000"/>
              </a:lnSpc>
              <a:spcBef>
                <a:spcPts val="1500"/>
              </a:spcBef>
              <a:buClr>
                <a:schemeClr val="bg1"/>
              </a:buClr>
              <a:buFont typeface="Arial" panose="020B0604020202020204" pitchFamily="34" charset="0"/>
              <a:buChar char="•"/>
              <a:defRPr sz="2800" b="0" kern="1200">
                <a:solidFill>
                  <a:srgbClr val="540425"/>
                </a:solidFill>
                <a:latin typeface="Tenorite" panose="00000500000000000000" pitchFamily="2" charset="0"/>
                <a:ea typeface="+mn-ea"/>
                <a:cs typeface="+mn-cs"/>
              </a:defRPr>
            </a:lvl1pPr>
            <a:lvl2pPr marL="685800" indent="-228600" algn="l" defTabSz="914400" rtl="0" eaLnBrk="1" latinLnBrk="0" hangingPunct="1">
              <a:lnSpc>
                <a:spcPct val="90000"/>
              </a:lnSpc>
              <a:spcBef>
                <a:spcPts val="1500"/>
              </a:spcBef>
              <a:buClr>
                <a:srgbClr val="CF8F3F"/>
              </a:buClr>
              <a:buFont typeface="Arial" panose="020B0604020202020204" pitchFamily="34" charset="0"/>
              <a:buChar char="•"/>
              <a:defRPr sz="2000" kern="1200">
                <a:solidFill>
                  <a:srgbClr val="540425"/>
                </a:solidFill>
                <a:latin typeface="Tenorite" panose="00000500000000000000" pitchFamily="2" charset="0"/>
                <a:ea typeface="+mn-ea"/>
                <a:cs typeface="+mn-cs"/>
              </a:defRPr>
            </a:lvl2pPr>
            <a:lvl3pPr marL="1143000" indent="-228600" algn="l" defTabSz="914400" rtl="0" eaLnBrk="1" latinLnBrk="0" hangingPunct="1">
              <a:lnSpc>
                <a:spcPct val="90000"/>
              </a:lnSpc>
              <a:spcBef>
                <a:spcPts val="1500"/>
              </a:spcBef>
              <a:buClr>
                <a:srgbClr val="CF8F3F"/>
              </a:buClr>
              <a:buFont typeface="Arial" panose="020B0604020202020204" pitchFamily="34" charset="0"/>
              <a:buChar char="•"/>
              <a:defRPr sz="1800" kern="1200">
                <a:solidFill>
                  <a:srgbClr val="540425"/>
                </a:solidFill>
                <a:latin typeface="Tenorite" panose="00000500000000000000" pitchFamily="2" charset="0"/>
                <a:ea typeface="+mn-ea"/>
                <a:cs typeface="+mn-cs"/>
              </a:defRPr>
            </a:lvl3pPr>
            <a:lvl4pPr marL="1600200" indent="-228600" algn="l" defTabSz="914400" rtl="0" eaLnBrk="1" latinLnBrk="0" hangingPunct="1">
              <a:lnSpc>
                <a:spcPct val="90000"/>
              </a:lnSpc>
              <a:spcBef>
                <a:spcPts val="500"/>
              </a:spcBef>
              <a:buClr>
                <a:srgbClr val="CF8F3F"/>
              </a:buClr>
              <a:buFont typeface="Arial" panose="020B0604020202020204" pitchFamily="34" charset="0"/>
              <a:buChar char="•"/>
              <a:defRPr sz="1600" kern="1200">
                <a:solidFill>
                  <a:srgbClr val="540425"/>
                </a:solidFill>
                <a:latin typeface="Tenorite" panose="00000500000000000000" pitchFamily="2" charset="0"/>
                <a:ea typeface="+mn-ea"/>
                <a:cs typeface="+mn-cs"/>
              </a:defRPr>
            </a:lvl4pPr>
            <a:lvl5pPr marL="2057400" indent="-228600" algn="l" defTabSz="914400" rtl="0" eaLnBrk="1" latinLnBrk="0" hangingPunct="1">
              <a:lnSpc>
                <a:spcPct val="90000"/>
              </a:lnSpc>
              <a:spcBef>
                <a:spcPts val="500"/>
              </a:spcBef>
              <a:buClr>
                <a:srgbClr val="CF8F3F"/>
              </a:buClr>
              <a:buFont typeface="Arial" panose="020B0604020202020204" pitchFamily="34" charset="0"/>
              <a:buChar char="•"/>
              <a:defRPr sz="1600" kern="1200">
                <a:solidFill>
                  <a:srgbClr val="540425"/>
                </a:solidFill>
                <a:latin typeface="Tenorite" panose="00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buClr>
                <a:srgbClr val="540425"/>
              </a:buClr>
            </a:pPr>
            <a:r>
              <a:rPr lang="sv-SE" dirty="0">
                <a:solidFill>
                  <a:schemeClr val="tx1"/>
                </a:solidFill>
                <a:latin typeface="Arial"/>
                <a:cs typeface="Arial"/>
              </a:rPr>
              <a:t>The data </a:t>
            </a:r>
            <a:r>
              <a:rPr lang="sv-SE" dirty="0" err="1">
                <a:solidFill>
                  <a:schemeClr val="tx1"/>
                </a:solidFill>
                <a:latin typeface="Arial"/>
                <a:cs typeface="Arial"/>
              </a:rPr>
              <a:t>collected</a:t>
            </a:r>
            <a:r>
              <a:rPr lang="sv-SE" dirty="0">
                <a:solidFill>
                  <a:schemeClr val="tx1"/>
                </a:solidFill>
                <a:latin typeface="Arial"/>
                <a:cs typeface="Arial"/>
              </a:rPr>
              <a:t> for LCA and LCC is </a:t>
            </a:r>
            <a:r>
              <a:rPr lang="sv-SE" dirty="0" err="1">
                <a:solidFill>
                  <a:schemeClr val="tx1"/>
                </a:solidFill>
                <a:latin typeface="Arial"/>
                <a:cs typeface="Arial"/>
              </a:rPr>
              <a:t>used</a:t>
            </a:r>
            <a:r>
              <a:rPr lang="sv-SE" dirty="0">
                <a:solidFill>
                  <a:schemeClr val="tx1"/>
                </a:solidFill>
                <a:latin typeface="Arial"/>
                <a:cs typeface="Arial"/>
              </a:rPr>
              <a:t> for S-LCA hot spot </a:t>
            </a:r>
            <a:r>
              <a:rPr lang="sv-SE" dirty="0" err="1">
                <a:solidFill>
                  <a:schemeClr val="tx1"/>
                </a:solidFill>
                <a:latin typeface="Arial"/>
                <a:cs typeface="Arial"/>
              </a:rPr>
              <a:t>analysis</a:t>
            </a:r>
            <a:endParaRPr lang="sv-SE" dirty="0">
              <a:solidFill>
                <a:schemeClr val="tx1"/>
              </a:solidFill>
              <a:latin typeface="Arial"/>
              <a:cs typeface="Arial"/>
            </a:endParaRPr>
          </a:p>
          <a:p>
            <a:pPr marL="457200" indent="-457200">
              <a:buClr>
                <a:srgbClr val="540425"/>
              </a:buClr>
            </a:pPr>
            <a:r>
              <a:rPr lang="en-GB" dirty="0">
                <a:solidFill>
                  <a:schemeClr val="tx1"/>
                </a:solidFill>
                <a:latin typeface="Arial"/>
                <a:cs typeface="Arial"/>
              </a:rPr>
              <a:t>Based on the worth of inputs used from different sectors, social impacts are calculated using social hotspots database (SHDB)</a:t>
            </a:r>
          </a:p>
          <a:p>
            <a:pPr marL="457200" indent="-457200">
              <a:buClr>
                <a:srgbClr val="540425"/>
              </a:buClr>
            </a:pPr>
            <a:r>
              <a:rPr lang="en-GB" dirty="0">
                <a:solidFill>
                  <a:schemeClr val="tx1"/>
                </a:solidFill>
                <a:latin typeface="Arial"/>
                <a:cs typeface="Arial"/>
              </a:rPr>
              <a:t>In the graphs (based on SHDB) it is seen that 73% of the social impacts are due to health and safety issues and 74% of health and safety issues are sourced from injuries and fatalities</a:t>
            </a:r>
          </a:p>
          <a:p>
            <a:pPr marL="457200" indent="-457200">
              <a:buClr>
                <a:srgbClr val="540425"/>
              </a:buClr>
            </a:pPr>
            <a:r>
              <a:rPr lang="en-GB" dirty="0">
                <a:solidFill>
                  <a:schemeClr val="tx1"/>
                </a:solidFill>
                <a:latin typeface="Arial"/>
                <a:cs typeface="Arial"/>
              </a:rPr>
              <a:t>The results of social hot spot analysis will show the impact of retrofitting activities on social impacts</a:t>
            </a:r>
          </a:p>
        </p:txBody>
      </p:sp>
      <p:pic>
        <p:nvPicPr>
          <p:cNvPr id="2" name="Picture 1" descr="A graph of a pie chart&#10;&#10;Description automatically generated">
            <a:extLst>
              <a:ext uri="{FF2B5EF4-FFF2-40B4-BE49-F238E27FC236}">
                <a16:creationId xmlns:a16="http://schemas.microsoft.com/office/drawing/2014/main" id="{13064262-9F80-2EF3-A357-3DEAABDD2575}"/>
              </a:ext>
            </a:extLst>
          </p:cNvPr>
          <p:cNvPicPr>
            <a:picLocks noChangeAspect="1"/>
          </p:cNvPicPr>
          <p:nvPr/>
        </p:nvPicPr>
        <p:blipFill>
          <a:blip r:embed="rId5"/>
          <a:stretch>
            <a:fillRect/>
          </a:stretch>
        </p:blipFill>
        <p:spPr>
          <a:xfrm>
            <a:off x="9364273" y="2287533"/>
            <a:ext cx="7175500" cy="4312920"/>
          </a:xfrm>
          <a:prstGeom prst="rect">
            <a:avLst/>
          </a:prstGeom>
        </p:spPr>
      </p:pic>
      <p:pic>
        <p:nvPicPr>
          <p:cNvPr id="4" name="Picture 3" descr="A blue and orange pie chart&#10;&#10;Description automatically generated">
            <a:extLst>
              <a:ext uri="{FF2B5EF4-FFF2-40B4-BE49-F238E27FC236}">
                <a16:creationId xmlns:a16="http://schemas.microsoft.com/office/drawing/2014/main" id="{5EA80EE9-1363-4C5F-76B1-75F42AB119BE}"/>
              </a:ext>
            </a:extLst>
          </p:cNvPr>
          <p:cNvPicPr>
            <a:picLocks noChangeAspect="1"/>
          </p:cNvPicPr>
          <p:nvPr/>
        </p:nvPicPr>
        <p:blipFill>
          <a:blip r:embed="rId6"/>
          <a:stretch>
            <a:fillRect/>
          </a:stretch>
        </p:blipFill>
        <p:spPr>
          <a:xfrm>
            <a:off x="13257760" y="5695213"/>
            <a:ext cx="4584599" cy="2967442"/>
          </a:xfrm>
          <a:prstGeom prst="rect">
            <a:avLst/>
          </a:prstGeom>
        </p:spPr>
      </p:pic>
    </p:spTree>
    <p:extLst>
      <p:ext uri="{BB962C8B-B14F-4D97-AF65-F5344CB8AC3E}">
        <p14:creationId xmlns:p14="http://schemas.microsoft.com/office/powerpoint/2010/main" val="221282854"/>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58" name="Rectangle 57">
            <a:extLst>
              <a:ext uri="{FF2B5EF4-FFF2-40B4-BE49-F238E27FC236}">
                <a16:creationId xmlns:a16="http://schemas.microsoft.com/office/drawing/2014/main" id="{289ED1AA-8684-4D37-B208-8777E1A7780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8283428" cy="10287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0" name="Graphic 33">
            <a:extLst>
              <a:ext uri="{FF2B5EF4-FFF2-40B4-BE49-F238E27FC236}">
                <a16:creationId xmlns:a16="http://schemas.microsoft.com/office/drawing/2014/main" id="{4180E01B-B1F4-437C-807D-1C930718EE6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966176" y="0"/>
            <a:ext cx="14355646" cy="10287000"/>
          </a:xfrm>
          <a:custGeom>
            <a:avLst/>
            <a:gdLst>
              <a:gd name="connsiteX0" fmla="*/ 7178288 w 7187261"/>
              <a:gd name="connsiteY0" fmla="*/ 2604802 h 5150263"/>
              <a:gd name="connsiteX1" fmla="*/ 7169335 w 7187261"/>
              <a:gd name="connsiteY1" fmla="*/ 2328577 h 5150263"/>
              <a:gd name="connsiteX2" fmla="*/ 7060845 w 7187261"/>
              <a:gd name="connsiteY2" fmla="*/ 1661160 h 5150263"/>
              <a:gd name="connsiteX3" fmla="*/ 6212263 w 7187261"/>
              <a:gd name="connsiteY3" fmla="*/ 243840 h 5150263"/>
              <a:gd name="connsiteX4" fmla="*/ 5953564 w 7187261"/>
              <a:gd name="connsiteY4" fmla="*/ 0 h 5150263"/>
              <a:gd name="connsiteX5" fmla="*/ 1408615 w 7187261"/>
              <a:gd name="connsiteY5" fmla="*/ 0 h 5150263"/>
              <a:gd name="connsiteX6" fmla="*/ 805111 w 7187261"/>
              <a:gd name="connsiteY6" fmla="*/ 676275 h 5150263"/>
              <a:gd name="connsiteX7" fmla="*/ 104928 w 7187261"/>
              <a:gd name="connsiteY7" fmla="*/ 2183035 h 5150263"/>
              <a:gd name="connsiteX8" fmla="*/ 51588 w 7187261"/>
              <a:gd name="connsiteY8" fmla="*/ 2400014 h 5150263"/>
              <a:gd name="connsiteX9" fmla="*/ 41301 w 7187261"/>
              <a:gd name="connsiteY9" fmla="*/ 2424208 h 5150263"/>
              <a:gd name="connsiteX10" fmla="*/ 119692 w 7187261"/>
              <a:gd name="connsiteY10" fmla="*/ 1834801 h 5150263"/>
              <a:gd name="connsiteX11" fmla="*/ 870071 w 7187261"/>
              <a:gd name="connsiteY11" fmla="*/ 462248 h 5150263"/>
              <a:gd name="connsiteX12" fmla="*/ 1389279 w 7187261"/>
              <a:gd name="connsiteY12" fmla="*/ 476 h 5150263"/>
              <a:gd name="connsiteX13" fmla="*/ 1320223 w 7187261"/>
              <a:gd name="connsiteY13" fmla="*/ 476 h 5150263"/>
              <a:gd name="connsiteX14" fmla="*/ 423158 w 7187261"/>
              <a:gd name="connsiteY14" fmla="*/ 989743 h 5150263"/>
              <a:gd name="connsiteX15" fmla="*/ 25585 w 7187261"/>
              <a:gd name="connsiteY15" fmla="*/ 2113693 h 5150263"/>
              <a:gd name="connsiteX16" fmla="*/ 2344 w 7187261"/>
              <a:gd name="connsiteY16" fmla="*/ 2725865 h 5150263"/>
              <a:gd name="connsiteX17" fmla="*/ 447256 w 7187261"/>
              <a:gd name="connsiteY17" fmla="*/ 4210717 h 5150263"/>
              <a:gd name="connsiteX18" fmla="*/ 1138962 w 7187261"/>
              <a:gd name="connsiteY18" fmla="*/ 4988910 h 5150263"/>
              <a:gd name="connsiteX19" fmla="*/ 1348512 w 7187261"/>
              <a:gd name="connsiteY19" fmla="*/ 5146834 h 5150263"/>
              <a:gd name="connsiteX20" fmla="*/ 1422712 w 7187261"/>
              <a:gd name="connsiteY20" fmla="*/ 5146834 h 5150263"/>
              <a:gd name="connsiteX21" fmla="*/ 480594 w 7187261"/>
              <a:gd name="connsiteY21" fmla="*/ 4187952 h 5150263"/>
              <a:gd name="connsiteX22" fmla="*/ 398679 w 7187261"/>
              <a:gd name="connsiteY22" fmla="*/ 4046125 h 5150263"/>
              <a:gd name="connsiteX23" fmla="*/ 411823 w 7187261"/>
              <a:gd name="connsiteY23" fmla="*/ 4053078 h 5150263"/>
              <a:gd name="connsiteX24" fmla="*/ 1439380 w 7187261"/>
              <a:gd name="connsiteY24" fmla="*/ 5147405 h 5150263"/>
              <a:gd name="connsiteX25" fmla="*/ 5710010 w 7187261"/>
              <a:gd name="connsiteY25" fmla="*/ 5150263 h 5150263"/>
              <a:gd name="connsiteX26" fmla="*/ 5999665 w 7187261"/>
              <a:gd name="connsiteY26" fmla="*/ 4910900 h 5150263"/>
              <a:gd name="connsiteX27" fmla="*/ 6954165 w 7187261"/>
              <a:gd name="connsiteY27" fmla="*/ 3545777 h 5150263"/>
              <a:gd name="connsiteX28" fmla="*/ 7137712 w 7187261"/>
              <a:gd name="connsiteY28" fmla="*/ 2799207 h 5150263"/>
              <a:gd name="connsiteX29" fmla="*/ 7142951 w 7187261"/>
              <a:gd name="connsiteY29" fmla="*/ 2754535 h 5150263"/>
              <a:gd name="connsiteX30" fmla="*/ 7149428 w 7187261"/>
              <a:gd name="connsiteY30" fmla="*/ 2774823 h 5150263"/>
              <a:gd name="connsiteX31" fmla="*/ 7066465 w 7187261"/>
              <a:gd name="connsiteY31" fmla="*/ 3465672 h 5150263"/>
              <a:gd name="connsiteX32" fmla="*/ 6452578 w 7187261"/>
              <a:gd name="connsiteY32" fmla="*/ 4552760 h 5150263"/>
              <a:gd name="connsiteX33" fmla="*/ 5752110 w 7187261"/>
              <a:gd name="connsiteY33" fmla="*/ 5150263 h 5150263"/>
              <a:gd name="connsiteX34" fmla="*/ 5827643 w 7187261"/>
              <a:gd name="connsiteY34" fmla="*/ 5150263 h 5150263"/>
              <a:gd name="connsiteX35" fmla="*/ 6642793 w 7187261"/>
              <a:gd name="connsiteY35" fmla="*/ 4389406 h 5150263"/>
              <a:gd name="connsiteX36" fmla="*/ 7102469 w 7187261"/>
              <a:gd name="connsiteY36" fmla="*/ 3490817 h 5150263"/>
              <a:gd name="connsiteX37" fmla="*/ 7187242 w 7187261"/>
              <a:gd name="connsiteY37" fmla="*/ 2990183 h 5150263"/>
              <a:gd name="connsiteX38" fmla="*/ 7178288 w 7187261"/>
              <a:gd name="connsiteY38" fmla="*/ 2604802 h 5150263"/>
              <a:gd name="connsiteX39" fmla="*/ 6342565 w 7187261"/>
              <a:gd name="connsiteY39" fmla="*/ 441389 h 5150263"/>
              <a:gd name="connsiteX40" fmla="*/ 7126567 w 7187261"/>
              <a:gd name="connsiteY40" fmla="*/ 2355056 h 5150263"/>
              <a:gd name="connsiteX41" fmla="*/ 6342565 w 7187261"/>
              <a:gd name="connsiteY41" fmla="*/ 441389 h 5150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187261" h="5150263">
                <a:moveTo>
                  <a:pt x="7178288" y="2604802"/>
                </a:moveTo>
                <a:cubicBezTo>
                  <a:pt x="7168763" y="2513076"/>
                  <a:pt x="7174478" y="2420684"/>
                  <a:pt x="7169335" y="2328577"/>
                </a:cubicBezTo>
                <a:cubicBezTo>
                  <a:pt x="7156952" y="2102882"/>
                  <a:pt x="7120586" y="1879149"/>
                  <a:pt x="7060845" y="1661160"/>
                </a:cubicBezTo>
                <a:cubicBezTo>
                  <a:pt x="6910588" y="1121007"/>
                  <a:pt x="6617428" y="631374"/>
                  <a:pt x="6212263" y="243840"/>
                </a:cubicBezTo>
                <a:cubicBezTo>
                  <a:pt x="6126538" y="162496"/>
                  <a:pt x="6040813" y="80201"/>
                  <a:pt x="5953564" y="0"/>
                </a:cubicBezTo>
                <a:lnTo>
                  <a:pt x="1408615" y="0"/>
                </a:lnTo>
                <a:cubicBezTo>
                  <a:pt x="1180967" y="200316"/>
                  <a:pt x="978332" y="427387"/>
                  <a:pt x="805111" y="676275"/>
                </a:cubicBezTo>
                <a:cubicBezTo>
                  <a:pt x="481261" y="1136523"/>
                  <a:pt x="252089" y="1640872"/>
                  <a:pt x="104928" y="2183035"/>
                </a:cubicBezTo>
                <a:cubicBezTo>
                  <a:pt x="85878" y="2254853"/>
                  <a:pt x="69495" y="2327720"/>
                  <a:pt x="51588" y="2400014"/>
                </a:cubicBezTo>
                <a:cubicBezTo>
                  <a:pt x="49683" y="2407634"/>
                  <a:pt x="51588" y="2416969"/>
                  <a:pt x="41301" y="2424208"/>
                </a:cubicBezTo>
                <a:cubicBezTo>
                  <a:pt x="45900" y="2225469"/>
                  <a:pt x="72186" y="2027834"/>
                  <a:pt x="119692" y="1834801"/>
                </a:cubicBezTo>
                <a:cubicBezTo>
                  <a:pt x="247993" y="1310926"/>
                  <a:pt x="506121" y="857726"/>
                  <a:pt x="870071" y="462248"/>
                </a:cubicBezTo>
                <a:cubicBezTo>
                  <a:pt x="1027729" y="291823"/>
                  <a:pt x="1201617" y="137169"/>
                  <a:pt x="1389279" y="476"/>
                </a:cubicBezTo>
                <a:lnTo>
                  <a:pt x="1320223" y="476"/>
                </a:lnTo>
                <a:cubicBezTo>
                  <a:pt x="960844" y="274320"/>
                  <a:pt x="656330" y="599123"/>
                  <a:pt x="423158" y="989743"/>
                </a:cubicBezTo>
                <a:cubicBezTo>
                  <a:pt x="215608" y="1337596"/>
                  <a:pt x="80258" y="1711357"/>
                  <a:pt x="25585" y="2113693"/>
                </a:cubicBezTo>
                <a:cubicBezTo>
                  <a:pt x="-2705" y="2316480"/>
                  <a:pt x="-2228" y="2521077"/>
                  <a:pt x="2344" y="2725865"/>
                </a:cubicBezTo>
                <a:cubicBezTo>
                  <a:pt x="14155" y="3261932"/>
                  <a:pt x="170650" y="3754565"/>
                  <a:pt x="447256" y="4210717"/>
                </a:cubicBezTo>
                <a:cubicBezTo>
                  <a:pt x="629851" y="4511612"/>
                  <a:pt x="866356" y="4767167"/>
                  <a:pt x="1138962" y="4988910"/>
                </a:cubicBezTo>
                <a:cubicBezTo>
                  <a:pt x="1207161" y="5044345"/>
                  <a:pt x="1277008" y="5096990"/>
                  <a:pt x="1348512" y="5146834"/>
                </a:cubicBezTo>
                <a:lnTo>
                  <a:pt x="1422712" y="5146834"/>
                </a:lnTo>
                <a:cubicBezTo>
                  <a:pt x="1043426" y="4892802"/>
                  <a:pt x="724720" y="4577334"/>
                  <a:pt x="480594" y="4187952"/>
                </a:cubicBezTo>
                <a:cubicBezTo>
                  <a:pt x="452019" y="4141851"/>
                  <a:pt x="423444" y="4095179"/>
                  <a:pt x="398679" y="4046125"/>
                </a:cubicBezTo>
                <a:cubicBezTo>
                  <a:pt x="407442" y="4043267"/>
                  <a:pt x="409156" y="4048982"/>
                  <a:pt x="411823" y="4053078"/>
                </a:cubicBezTo>
                <a:cubicBezTo>
                  <a:pt x="683572" y="4484656"/>
                  <a:pt x="1033139" y="4842701"/>
                  <a:pt x="1439380" y="5147405"/>
                </a:cubicBezTo>
                <a:lnTo>
                  <a:pt x="5710010" y="5150263"/>
                </a:lnTo>
                <a:cubicBezTo>
                  <a:pt x="5810594" y="5075482"/>
                  <a:pt x="5907272" y="4995587"/>
                  <a:pt x="5999665" y="4910900"/>
                </a:cubicBezTo>
                <a:cubicBezTo>
                  <a:pt x="6418765" y="4526661"/>
                  <a:pt x="6746901" y="4078129"/>
                  <a:pt x="6954165" y="3545777"/>
                </a:cubicBezTo>
                <a:cubicBezTo>
                  <a:pt x="7048234" y="3306175"/>
                  <a:pt x="7109956" y="3055115"/>
                  <a:pt x="7137712" y="2799207"/>
                </a:cubicBezTo>
                <a:cubicBezTo>
                  <a:pt x="7139236" y="2784920"/>
                  <a:pt x="7141046" y="2770632"/>
                  <a:pt x="7142951" y="2754535"/>
                </a:cubicBezTo>
                <a:cubicBezTo>
                  <a:pt x="7151714" y="2760440"/>
                  <a:pt x="7149237" y="2768441"/>
                  <a:pt x="7149428" y="2774823"/>
                </a:cubicBezTo>
                <a:cubicBezTo>
                  <a:pt x="7156743" y="3007967"/>
                  <a:pt x="7128777" y="3240881"/>
                  <a:pt x="7066465" y="3465672"/>
                </a:cubicBezTo>
                <a:cubicBezTo>
                  <a:pt x="6952165" y="3878580"/>
                  <a:pt x="6737948" y="4235863"/>
                  <a:pt x="6452578" y="4552760"/>
                </a:cubicBezTo>
                <a:cubicBezTo>
                  <a:pt x="6244553" y="4783836"/>
                  <a:pt x="6008809" y="4980242"/>
                  <a:pt x="5752110" y="5150263"/>
                </a:cubicBezTo>
                <a:lnTo>
                  <a:pt x="5827643" y="5150263"/>
                </a:lnTo>
                <a:cubicBezTo>
                  <a:pt x="6136539" y="4938904"/>
                  <a:pt x="6412192" y="4689348"/>
                  <a:pt x="6642793" y="4389406"/>
                </a:cubicBezTo>
                <a:cubicBezTo>
                  <a:pt x="6851295" y="4118324"/>
                  <a:pt x="7009125" y="3820859"/>
                  <a:pt x="7102469" y="3490817"/>
                </a:cubicBezTo>
                <a:cubicBezTo>
                  <a:pt x="7148646" y="3327473"/>
                  <a:pt x="7177069" y="3159624"/>
                  <a:pt x="7187242" y="2990183"/>
                </a:cubicBezTo>
                <a:cubicBezTo>
                  <a:pt x="7187623" y="2984087"/>
                  <a:pt x="7182384" y="2642330"/>
                  <a:pt x="7178288" y="2604802"/>
                </a:cubicBezTo>
                <a:close/>
                <a:moveTo>
                  <a:pt x="6342565" y="441389"/>
                </a:moveTo>
                <a:cubicBezTo>
                  <a:pt x="6829797" y="986533"/>
                  <a:pt x="7091135" y="1624422"/>
                  <a:pt x="7126567" y="2355056"/>
                </a:cubicBezTo>
                <a:cubicBezTo>
                  <a:pt x="7001123" y="1661827"/>
                  <a:pt x="6756426" y="1017365"/>
                  <a:pt x="6342565" y="441389"/>
                </a:cubicBez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Arial"/>
              <a:ea typeface="+mn-ea"/>
              <a:cs typeface="+mn-cs"/>
            </a:endParaRPr>
          </a:p>
        </p:txBody>
      </p:sp>
      <p:sp>
        <p:nvSpPr>
          <p:cNvPr id="4" name="Title 3">
            <a:extLst>
              <a:ext uri="{FF2B5EF4-FFF2-40B4-BE49-F238E27FC236}">
                <a16:creationId xmlns:a16="http://schemas.microsoft.com/office/drawing/2014/main" id="{B009CD84-DA40-4CAA-8A89-DD6DAA862368}"/>
              </a:ext>
            </a:extLst>
          </p:cNvPr>
          <p:cNvSpPr>
            <a:spLocks noGrp="1"/>
          </p:cNvSpPr>
          <p:nvPr>
            <p:ph type="title"/>
          </p:nvPr>
        </p:nvSpPr>
        <p:spPr>
          <a:xfrm>
            <a:off x="2819400" y="1485900"/>
            <a:ext cx="13502422" cy="4348463"/>
          </a:xfrm>
        </p:spPr>
        <p:txBody>
          <a:bodyPr vert="horz" lIns="91440" tIns="45720" rIns="91440" bIns="45720" rtlCol="0" anchor="b">
            <a:normAutofit/>
          </a:bodyPr>
          <a:lstStyle/>
          <a:p>
            <a:pPr indent="457200">
              <a:lnSpc>
                <a:spcPct val="90000"/>
              </a:lnSpc>
              <a:spcAft>
                <a:spcPts val="600"/>
              </a:spcAft>
            </a:pPr>
            <a:r>
              <a:rPr lang="en-GB" sz="8000" b="1" kern="1200" noProof="0" dirty="0">
                <a:solidFill>
                  <a:srgbClr val="FFFFFF"/>
                </a:solidFill>
                <a:latin typeface="+mj-lt"/>
                <a:ea typeface="+mj-ea"/>
                <a:cs typeface="+mj-cs"/>
              </a:rPr>
              <a:t>5.4 Example of LCA from </a:t>
            </a:r>
            <a:r>
              <a:rPr lang="en-GB" sz="8000" b="1" noProof="0" dirty="0">
                <a:solidFill>
                  <a:srgbClr val="FFFFFF"/>
                </a:solidFill>
              </a:rPr>
              <a:t>A</a:t>
            </a:r>
            <a:r>
              <a:rPr lang="en-GB" sz="8000" b="1" kern="1200" noProof="0" dirty="0">
                <a:solidFill>
                  <a:srgbClr val="FFFFFF"/>
                </a:solidFill>
                <a:latin typeface="+mj-lt"/>
                <a:ea typeface="+mj-ea"/>
                <a:cs typeface="+mj-cs"/>
              </a:rPr>
              <a:t>grochemical Sector</a:t>
            </a:r>
          </a:p>
        </p:txBody>
      </p:sp>
      <p:sp>
        <p:nvSpPr>
          <p:cNvPr id="62" name="sketch line">
            <a:extLst>
              <a:ext uri="{FF2B5EF4-FFF2-40B4-BE49-F238E27FC236}">
                <a16:creationId xmlns:a16="http://schemas.microsoft.com/office/drawing/2014/main" id="{41F77738-2AF0-4750-A0C7-F97C2C17590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961309" y="6260247"/>
            <a:ext cx="6365383" cy="27432"/>
          </a:xfrm>
          <a:custGeom>
            <a:avLst/>
            <a:gdLst>
              <a:gd name="connsiteX0" fmla="*/ 0 w 6365383"/>
              <a:gd name="connsiteY0" fmla="*/ 0 h 27432"/>
              <a:gd name="connsiteX1" fmla="*/ 636538 w 6365383"/>
              <a:gd name="connsiteY1" fmla="*/ 0 h 27432"/>
              <a:gd name="connsiteX2" fmla="*/ 1273077 w 6365383"/>
              <a:gd name="connsiteY2" fmla="*/ 0 h 27432"/>
              <a:gd name="connsiteX3" fmla="*/ 1909615 w 6365383"/>
              <a:gd name="connsiteY3" fmla="*/ 0 h 27432"/>
              <a:gd name="connsiteX4" fmla="*/ 2673461 w 6365383"/>
              <a:gd name="connsiteY4" fmla="*/ 0 h 27432"/>
              <a:gd name="connsiteX5" fmla="*/ 3373653 w 6365383"/>
              <a:gd name="connsiteY5" fmla="*/ 0 h 27432"/>
              <a:gd name="connsiteX6" fmla="*/ 3819230 w 6365383"/>
              <a:gd name="connsiteY6" fmla="*/ 0 h 27432"/>
              <a:gd name="connsiteX7" fmla="*/ 4392114 w 6365383"/>
              <a:gd name="connsiteY7" fmla="*/ 0 h 27432"/>
              <a:gd name="connsiteX8" fmla="*/ 5155960 w 6365383"/>
              <a:gd name="connsiteY8" fmla="*/ 0 h 27432"/>
              <a:gd name="connsiteX9" fmla="*/ 5792499 w 6365383"/>
              <a:gd name="connsiteY9" fmla="*/ 0 h 27432"/>
              <a:gd name="connsiteX10" fmla="*/ 6365383 w 6365383"/>
              <a:gd name="connsiteY10" fmla="*/ 0 h 27432"/>
              <a:gd name="connsiteX11" fmla="*/ 6365383 w 6365383"/>
              <a:gd name="connsiteY11" fmla="*/ 27432 h 27432"/>
              <a:gd name="connsiteX12" fmla="*/ 5856152 w 6365383"/>
              <a:gd name="connsiteY12" fmla="*/ 27432 h 27432"/>
              <a:gd name="connsiteX13" fmla="*/ 5092306 w 6365383"/>
              <a:gd name="connsiteY13" fmla="*/ 27432 h 27432"/>
              <a:gd name="connsiteX14" fmla="*/ 4583076 w 6365383"/>
              <a:gd name="connsiteY14" fmla="*/ 27432 h 27432"/>
              <a:gd name="connsiteX15" fmla="*/ 4137499 w 6365383"/>
              <a:gd name="connsiteY15" fmla="*/ 27432 h 27432"/>
              <a:gd name="connsiteX16" fmla="*/ 3691922 w 6365383"/>
              <a:gd name="connsiteY16" fmla="*/ 27432 h 27432"/>
              <a:gd name="connsiteX17" fmla="*/ 2991730 w 6365383"/>
              <a:gd name="connsiteY17" fmla="*/ 27432 h 27432"/>
              <a:gd name="connsiteX18" fmla="*/ 2546153 w 6365383"/>
              <a:gd name="connsiteY18" fmla="*/ 27432 h 27432"/>
              <a:gd name="connsiteX19" fmla="*/ 1909615 w 6365383"/>
              <a:gd name="connsiteY19" fmla="*/ 27432 h 27432"/>
              <a:gd name="connsiteX20" fmla="*/ 1400384 w 6365383"/>
              <a:gd name="connsiteY20" fmla="*/ 27432 h 27432"/>
              <a:gd name="connsiteX21" fmla="*/ 763846 w 6365383"/>
              <a:gd name="connsiteY21" fmla="*/ 27432 h 27432"/>
              <a:gd name="connsiteX22" fmla="*/ 0 w 6365383"/>
              <a:gd name="connsiteY22" fmla="*/ 27432 h 27432"/>
              <a:gd name="connsiteX23" fmla="*/ 0 w 6365383"/>
              <a:gd name="connsiteY23" fmla="*/ 0 h 27432"/>
              <a:gd name="connsiteX0" fmla="*/ 0 w 6365383"/>
              <a:gd name="connsiteY0" fmla="*/ 0 h 27432"/>
              <a:gd name="connsiteX1" fmla="*/ 572884 w 6365383"/>
              <a:gd name="connsiteY1" fmla="*/ 0 h 27432"/>
              <a:gd name="connsiteX2" fmla="*/ 1018461 w 6365383"/>
              <a:gd name="connsiteY2" fmla="*/ 0 h 27432"/>
              <a:gd name="connsiteX3" fmla="*/ 1782307 w 6365383"/>
              <a:gd name="connsiteY3" fmla="*/ 0 h 27432"/>
              <a:gd name="connsiteX4" fmla="*/ 2355192 w 6365383"/>
              <a:gd name="connsiteY4" fmla="*/ 0 h 27432"/>
              <a:gd name="connsiteX5" fmla="*/ 2928076 w 6365383"/>
              <a:gd name="connsiteY5" fmla="*/ 0 h 27432"/>
              <a:gd name="connsiteX6" fmla="*/ 3691922 w 6365383"/>
              <a:gd name="connsiteY6" fmla="*/ 0 h 27432"/>
              <a:gd name="connsiteX7" fmla="*/ 4201153 w 6365383"/>
              <a:gd name="connsiteY7" fmla="*/ 0 h 27432"/>
              <a:gd name="connsiteX8" fmla="*/ 4964999 w 6365383"/>
              <a:gd name="connsiteY8" fmla="*/ 0 h 27432"/>
              <a:gd name="connsiteX9" fmla="*/ 5728845 w 6365383"/>
              <a:gd name="connsiteY9" fmla="*/ 0 h 27432"/>
              <a:gd name="connsiteX10" fmla="*/ 6365383 w 6365383"/>
              <a:gd name="connsiteY10" fmla="*/ 0 h 27432"/>
              <a:gd name="connsiteX11" fmla="*/ 6365383 w 6365383"/>
              <a:gd name="connsiteY11" fmla="*/ 27432 h 27432"/>
              <a:gd name="connsiteX12" fmla="*/ 5665191 w 6365383"/>
              <a:gd name="connsiteY12" fmla="*/ 27432 h 27432"/>
              <a:gd name="connsiteX13" fmla="*/ 4901345 w 6365383"/>
              <a:gd name="connsiteY13" fmla="*/ 27432 h 27432"/>
              <a:gd name="connsiteX14" fmla="*/ 4137499 w 6365383"/>
              <a:gd name="connsiteY14" fmla="*/ 27432 h 27432"/>
              <a:gd name="connsiteX15" fmla="*/ 3628268 w 6365383"/>
              <a:gd name="connsiteY15" fmla="*/ 27432 h 27432"/>
              <a:gd name="connsiteX16" fmla="*/ 2991730 w 6365383"/>
              <a:gd name="connsiteY16" fmla="*/ 27432 h 27432"/>
              <a:gd name="connsiteX17" fmla="*/ 2227884 w 6365383"/>
              <a:gd name="connsiteY17" fmla="*/ 27432 h 27432"/>
              <a:gd name="connsiteX18" fmla="*/ 1591346 w 6365383"/>
              <a:gd name="connsiteY18" fmla="*/ 27432 h 27432"/>
              <a:gd name="connsiteX19" fmla="*/ 1145769 w 6365383"/>
              <a:gd name="connsiteY19" fmla="*/ 27432 h 27432"/>
              <a:gd name="connsiteX20" fmla="*/ 636538 w 6365383"/>
              <a:gd name="connsiteY20" fmla="*/ 27432 h 27432"/>
              <a:gd name="connsiteX21" fmla="*/ 0 w 6365383"/>
              <a:gd name="connsiteY21" fmla="*/ 27432 h 27432"/>
              <a:gd name="connsiteX22" fmla="*/ 0 w 6365383"/>
              <a:gd name="connsiteY22"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365383" h="27432" fill="none" extrusionOk="0">
                <a:moveTo>
                  <a:pt x="0" y="0"/>
                </a:moveTo>
                <a:cubicBezTo>
                  <a:pt x="311910" y="25756"/>
                  <a:pt x="328854" y="-22977"/>
                  <a:pt x="636538" y="0"/>
                </a:cubicBezTo>
                <a:cubicBezTo>
                  <a:pt x="929901" y="50670"/>
                  <a:pt x="1067253" y="-1993"/>
                  <a:pt x="1273077" y="0"/>
                </a:cubicBezTo>
                <a:cubicBezTo>
                  <a:pt x="1507620" y="-24857"/>
                  <a:pt x="1747799" y="-10413"/>
                  <a:pt x="1909615" y="0"/>
                </a:cubicBezTo>
                <a:cubicBezTo>
                  <a:pt x="2041097" y="-21585"/>
                  <a:pt x="2422417" y="-28022"/>
                  <a:pt x="2673461" y="0"/>
                </a:cubicBezTo>
                <a:cubicBezTo>
                  <a:pt x="2948394" y="-4560"/>
                  <a:pt x="3134893" y="36981"/>
                  <a:pt x="3373653" y="0"/>
                </a:cubicBezTo>
                <a:cubicBezTo>
                  <a:pt x="3634761" y="-15887"/>
                  <a:pt x="3700843" y="23167"/>
                  <a:pt x="3819230" y="0"/>
                </a:cubicBezTo>
                <a:cubicBezTo>
                  <a:pt x="3977295" y="2943"/>
                  <a:pt x="4128910" y="-53150"/>
                  <a:pt x="4392114" y="0"/>
                </a:cubicBezTo>
                <a:cubicBezTo>
                  <a:pt x="4672763" y="9214"/>
                  <a:pt x="4999833" y="38501"/>
                  <a:pt x="5155960" y="0"/>
                </a:cubicBezTo>
                <a:cubicBezTo>
                  <a:pt x="5343367" y="-6557"/>
                  <a:pt x="5597661" y="6622"/>
                  <a:pt x="5792499" y="0"/>
                </a:cubicBezTo>
                <a:cubicBezTo>
                  <a:pt x="6020774" y="43813"/>
                  <a:pt x="6148830" y="-13954"/>
                  <a:pt x="6365383" y="0"/>
                </a:cubicBezTo>
                <a:cubicBezTo>
                  <a:pt x="6364517" y="8091"/>
                  <a:pt x="6365728" y="20268"/>
                  <a:pt x="6365383" y="27432"/>
                </a:cubicBezTo>
                <a:cubicBezTo>
                  <a:pt x="6144545" y="15144"/>
                  <a:pt x="6006673" y="-7419"/>
                  <a:pt x="5856152" y="27432"/>
                </a:cubicBezTo>
                <a:cubicBezTo>
                  <a:pt x="5638446" y="81548"/>
                  <a:pt x="5413846" y="52067"/>
                  <a:pt x="5092306" y="27432"/>
                </a:cubicBezTo>
                <a:cubicBezTo>
                  <a:pt x="4768499" y="43350"/>
                  <a:pt x="4708569" y="3163"/>
                  <a:pt x="4583076" y="27432"/>
                </a:cubicBezTo>
                <a:cubicBezTo>
                  <a:pt x="4475482" y="66269"/>
                  <a:pt x="4242792" y="42702"/>
                  <a:pt x="4137499" y="27432"/>
                </a:cubicBezTo>
                <a:cubicBezTo>
                  <a:pt x="4003968" y="24039"/>
                  <a:pt x="3882646" y="-3026"/>
                  <a:pt x="3691922" y="27432"/>
                </a:cubicBezTo>
                <a:cubicBezTo>
                  <a:pt x="3501639" y="8096"/>
                  <a:pt x="3270842" y="-14942"/>
                  <a:pt x="2991730" y="27432"/>
                </a:cubicBezTo>
                <a:cubicBezTo>
                  <a:pt x="2712135" y="55419"/>
                  <a:pt x="2758697" y="31955"/>
                  <a:pt x="2546153" y="27432"/>
                </a:cubicBezTo>
                <a:cubicBezTo>
                  <a:pt x="2362220" y="-818"/>
                  <a:pt x="2130397" y="57099"/>
                  <a:pt x="1909615" y="27432"/>
                </a:cubicBezTo>
                <a:cubicBezTo>
                  <a:pt x="1714835" y="-15389"/>
                  <a:pt x="1636770" y="40318"/>
                  <a:pt x="1400384" y="27432"/>
                </a:cubicBezTo>
                <a:cubicBezTo>
                  <a:pt x="1161504" y="29515"/>
                  <a:pt x="1060819" y="7773"/>
                  <a:pt x="763846" y="27432"/>
                </a:cubicBezTo>
                <a:cubicBezTo>
                  <a:pt x="465096" y="43671"/>
                  <a:pt x="165309" y="15831"/>
                  <a:pt x="0" y="27432"/>
                </a:cubicBezTo>
                <a:cubicBezTo>
                  <a:pt x="-2013" y="18874"/>
                  <a:pt x="-525" y="8614"/>
                  <a:pt x="0" y="0"/>
                </a:cubicBezTo>
                <a:close/>
              </a:path>
              <a:path w="6365383" h="27432" stroke="0" extrusionOk="0">
                <a:moveTo>
                  <a:pt x="0" y="0"/>
                </a:moveTo>
                <a:cubicBezTo>
                  <a:pt x="84020" y="9133"/>
                  <a:pt x="339524" y="24523"/>
                  <a:pt x="572884" y="0"/>
                </a:cubicBezTo>
                <a:cubicBezTo>
                  <a:pt x="803790" y="-14011"/>
                  <a:pt x="837492" y="-10007"/>
                  <a:pt x="1018461" y="0"/>
                </a:cubicBezTo>
                <a:cubicBezTo>
                  <a:pt x="1188530" y="8943"/>
                  <a:pt x="1571061" y="17361"/>
                  <a:pt x="1782307" y="0"/>
                </a:cubicBezTo>
                <a:cubicBezTo>
                  <a:pt x="1967448" y="-16010"/>
                  <a:pt x="2153334" y="-25629"/>
                  <a:pt x="2355192" y="0"/>
                </a:cubicBezTo>
                <a:cubicBezTo>
                  <a:pt x="2541804" y="20205"/>
                  <a:pt x="2779440" y="53811"/>
                  <a:pt x="2928076" y="0"/>
                </a:cubicBezTo>
                <a:cubicBezTo>
                  <a:pt x="3024078" y="-16903"/>
                  <a:pt x="3337092" y="43483"/>
                  <a:pt x="3691922" y="0"/>
                </a:cubicBezTo>
                <a:cubicBezTo>
                  <a:pt x="4060895" y="-1064"/>
                  <a:pt x="4072166" y="-17195"/>
                  <a:pt x="4201153" y="0"/>
                </a:cubicBezTo>
                <a:cubicBezTo>
                  <a:pt x="4349835" y="-22516"/>
                  <a:pt x="4800106" y="-64797"/>
                  <a:pt x="4964999" y="0"/>
                </a:cubicBezTo>
                <a:cubicBezTo>
                  <a:pt x="5186764" y="15779"/>
                  <a:pt x="5564421" y="-10544"/>
                  <a:pt x="5728845" y="0"/>
                </a:cubicBezTo>
                <a:cubicBezTo>
                  <a:pt x="5915953" y="5493"/>
                  <a:pt x="6171384" y="-48026"/>
                  <a:pt x="6365383" y="0"/>
                </a:cubicBezTo>
                <a:cubicBezTo>
                  <a:pt x="6366596" y="6455"/>
                  <a:pt x="6365588" y="14391"/>
                  <a:pt x="6365383" y="27432"/>
                </a:cubicBezTo>
                <a:cubicBezTo>
                  <a:pt x="6172514" y="805"/>
                  <a:pt x="6006523" y="20734"/>
                  <a:pt x="5665191" y="27432"/>
                </a:cubicBezTo>
                <a:cubicBezTo>
                  <a:pt x="5322179" y="66687"/>
                  <a:pt x="5219376" y="21111"/>
                  <a:pt x="4901345" y="27432"/>
                </a:cubicBezTo>
                <a:cubicBezTo>
                  <a:pt x="4621310" y="-13654"/>
                  <a:pt x="4455192" y="54857"/>
                  <a:pt x="4137499" y="27432"/>
                </a:cubicBezTo>
                <a:cubicBezTo>
                  <a:pt x="3853317" y="12285"/>
                  <a:pt x="3862894" y="26263"/>
                  <a:pt x="3628268" y="27432"/>
                </a:cubicBezTo>
                <a:cubicBezTo>
                  <a:pt x="3418779" y="32610"/>
                  <a:pt x="3174456" y="83656"/>
                  <a:pt x="2991730" y="27432"/>
                </a:cubicBezTo>
                <a:cubicBezTo>
                  <a:pt x="2801278" y="6667"/>
                  <a:pt x="2497351" y="22891"/>
                  <a:pt x="2227884" y="27432"/>
                </a:cubicBezTo>
                <a:cubicBezTo>
                  <a:pt x="1986101" y="16297"/>
                  <a:pt x="1767219" y="-7535"/>
                  <a:pt x="1591346" y="27432"/>
                </a:cubicBezTo>
                <a:cubicBezTo>
                  <a:pt x="1447183" y="73731"/>
                  <a:pt x="1315973" y="39477"/>
                  <a:pt x="1145769" y="27432"/>
                </a:cubicBezTo>
                <a:cubicBezTo>
                  <a:pt x="990245" y="8882"/>
                  <a:pt x="810845" y="16910"/>
                  <a:pt x="636538" y="27432"/>
                </a:cubicBezTo>
                <a:cubicBezTo>
                  <a:pt x="482916" y="17795"/>
                  <a:pt x="183027" y="-17710"/>
                  <a:pt x="0" y="27432"/>
                </a:cubicBezTo>
                <a:cubicBezTo>
                  <a:pt x="491" y="19542"/>
                  <a:pt x="-1038" y="8534"/>
                  <a:pt x="0" y="0"/>
                </a:cubicBezTo>
                <a:close/>
              </a:path>
              <a:path w="6365383" h="27432" fill="none" stroke="0" extrusionOk="0">
                <a:moveTo>
                  <a:pt x="0" y="0"/>
                </a:moveTo>
                <a:cubicBezTo>
                  <a:pt x="296223" y="15991"/>
                  <a:pt x="333462" y="-23795"/>
                  <a:pt x="636538" y="0"/>
                </a:cubicBezTo>
                <a:cubicBezTo>
                  <a:pt x="970197" y="30961"/>
                  <a:pt x="1039864" y="3183"/>
                  <a:pt x="1273077" y="0"/>
                </a:cubicBezTo>
                <a:cubicBezTo>
                  <a:pt x="1449809" y="24819"/>
                  <a:pt x="1735152" y="23060"/>
                  <a:pt x="1909615" y="0"/>
                </a:cubicBezTo>
                <a:cubicBezTo>
                  <a:pt x="2016351" y="-41665"/>
                  <a:pt x="2415001" y="34773"/>
                  <a:pt x="2673461" y="0"/>
                </a:cubicBezTo>
                <a:cubicBezTo>
                  <a:pt x="2996983" y="-13411"/>
                  <a:pt x="3130707" y="3741"/>
                  <a:pt x="3373653" y="0"/>
                </a:cubicBezTo>
                <a:cubicBezTo>
                  <a:pt x="3601951" y="-16140"/>
                  <a:pt x="3689909" y="23222"/>
                  <a:pt x="3819230" y="0"/>
                </a:cubicBezTo>
                <a:cubicBezTo>
                  <a:pt x="3931872" y="-29406"/>
                  <a:pt x="4119438" y="24094"/>
                  <a:pt x="4392114" y="0"/>
                </a:cubicBezTo>
                <a:cubicBezTo>
                  <a:pt x="4665359" y="21557"/>
                  <a:pt x="4978709" y="13267"/>
                  <a:pt x="5155960" y="0"/>
                </a:cubicBezTo>
                <a:cubicBezTo>
                  <a:pt x="5299518" y="-18386"/>
                  <a:pt x="5605020" y="-6762"/>
                  <a:pt x="5792499" y="0"/>
                </a:cubicBezTo>
                <a:cubicBezTo>
                  <a:pt x="6013281" y="43398"/>
                  <a:pt x="6167567" y="36727"/>
                  <a:pt x="6365383" y="0"/>
                </a:cubicBezTo>
                <a:cubicBezTo>
                  <a:pt x="6365697" y="8368"/>
                  <a:pt x="6365332" y="21050"/>
                  <a:pt x="6365383" y="27432"/>
                </a:cubicBezTo>
                <a:cubicBezTo>
                  <a:pt x="6154893" y="8454"/>
                  <a:pt x="6014206" y="-8372"/>
                  <a:pt x="5856152" y="27432"/>
                </a:cubicBezTo>
                <a:cubicBezTo>
                  <a:pt x="5659455" y="59503"/>
                  <a:pt x="5350806" y="-35991"/>
                  <a:pt x="5092306" y="27432"/>
                </a:cubicBezTo>
                <a:cubicBezTo>
                  <a:pt x="4756309" y="48260"/>
                  <a:pt x="4699746" y="-4780"/>
                  <a:pt x="4583076" y="27432"/>
                </a:cubicBezTo>
                <a:cubicBezTo>
                  <a:pt x="4462137" y="30142"/>
                  <a:pt x="4226168" y="50236"/>
                  <a:pt x="4137499" y="27432"/>
                </a:cubicBezTo>
                <a:cubicBezTo>
                  <a:pt x="4018570" y="42181"/>
                  <a:pt x="3887179" y="34623"/>
                  <a:pt x="3691922" y="27432"/>
                </a:cubicBezTo>
                <a:cubicBezTo>
                  <a:pt x="3499755" y="32935"/>
                  <a:pt x="3281056" y="-9158"/>
                  <a:pt x="2991730" y="27432"/>
                </a:cubicBezTo>
                <a:cubicBezTo>
                  <a:pt x="2716073" y="57462"/>
                  <a:pt x="2755481" y="34494"/>
                  <a:pt x="2546153" y="27432"/>
                </a:cubicBezTo>
                <a:cubicBezTo>
                  <a:pt x="2356479" y="62622"/>
                  <a:pt x="2079190" y="73729"/>
                  <a:pt x="1909615" y="27432"/>
                </a:cubicBezTo>
                <a:cubicBezTo>
                  <a:pt x="1715819" y="-26444"/>
                  <a:pt x="1631368" y="48131"/>
                  <a:pt x="1400384" y="27432"/>
                </a:cubicBezTo>
                <a:cubicBezTo>
                  <a:pt x="1177327" y="16190"/>
                  <a:pt x="1065236" y="24992"/>
                  <a:pt x="763846" y="27432"/>
                </a:cubicBezTo>
                <a:cubicBezTo>
                  <a:pt x="448643" y="60691"/>
                  <a:pt x="160833" y="2330"/>
                  <a:pt x="0" y="27432"/>
                </a:cubicBezTo>
                <a:cubicBezTo>
                  <a:pt x="1559" y="18666"/>
                  <a:pt x="-585" y="7580"/>
                  <a:pt x="0" y="0"/>
                </a:cubicBezTo>
                <a:close/>
              </a:path>
            </a:pathLst>
          </a:custGeom>
          <a:solidFill>
            <a:srgbClr val="FFFFFF"/>
          </a:solidFill>
          <a:ln w="41275" cap="rnd">
            <a:solidFill>
              <a:srgbClr val="FFFFFF"/>
            </a:solidFill>
            <a:round/>
            <a:extLst>
              <a:ext uri="{C807C97D-BFC1-408E-A445-0C87EB9F89A2}">
                <ask:lineSketchStyleProps xmlns:ask="http://schemas.microsoft.com/office/drawing/2018/sketchyshapes" sd="1219033472">
                  <a:custGeom>
                    <a:avLst/>
                    <a:gdLst>
                      <a:gd name="connsiteX0" fmla="*/ 0 w 6365383"/>
                      <a:gd name="connsiteY0" fmla="*/ 0 h 27432"/>
                      <a:gd name="connsiteX1" fmla="*/ 636538 w 6365383"/>
                      <a:gd name="connsiteY1" fmla="*/ 0 h 27432"/>
                      <a:gd name="connsiteX2" fmla="*/ 1273077 w 6365383"/>
                      <a:gd name="connsiteY2" fmla="*/ 0 h 27432"/>
                      <a:gd name="connsiteX3" fmla="*/ 1909615 w 6365383"/>
                      <a:gd name="connsiteY3" fmla="*/ 0 h 27432"/>
                      <a:gd name="connsiteX4" fmla="*/ 2673461 w 6365383"/>
                      <a:gd name="connsiteY4" fmla="*/ 0 h 27432"/>
                      <a:gd name="connsiteX5" fmla="*/ 3373653 w 6365383"/>
                      <a:gd name="connsiteY5" fmla="*/ 0 h 27432"/>
                      <a:gd name="connsiteX6" fmla="*/ 3819230 w 6365383"/>
                      <a:gd name="connsiteY6" fmla="*/ 0 h 27432"/>
                      <a:gd name="connsiteX7" fmla="*/ 4392114 w 6365383"/>
                      <a:gd name="connsiteY7" fmla="*/ 0 h 27432"/>
                      <a:gd name="connsiteX8" fmla="*/ 5155960 w 6365383"/>
                      <a:gd name="connsiteY8" fmla="*/ 0 h 27432"/>
                      <a:gd name="connsiteX9" fmla="*/ 5792499 w 6365383"/>
                      <a:gd name="connsiteY9" fmla="*/ 0 h 27432"/>
                      <a:gd name="connsiteX10" fmla="*/ 6365383 w 6365383"/>
                      <a:gd name="connsiteY10" fmla="*/ 0 h 27432"/>
                      <a:gd name="connsiteX11" fmla="*/ 6365383 w 6365383"/>
                      <a:gd name="connsiteY11" fmla="*/ 27432 h 27432"/>
                      <a:gd name="connsiteX12" fmla="*/ 5856152 w 6365383"/>
                      <a:gd name="connsiteY12" fmla="*/ 27432 h 27432"/>
                      <a:gd name="connsiteX13" fmla="*/ 5092306 w 6365383"/>
                      <a:gd name="connsiteY13" fmla="*/ 27432 h 27432"/>
                      <a:gd name="connsiteX14" fmla="*/ 4583076 w 6365383"/>
                      <a:gd name="connsiteY14" fmla="*/ 27432 h 27432"/>
                      <a:gd name="connsiteX15" fmla="*/ 4137499 w 6365383"/>
                      <a:gd name="connsiteY15" fmla="*/ 27432 h 27432"/>
                      <a:gd name="connsiteX16" fmla="*/ 3691922 w 6365383"/>
                      <a:gd name="connsiteY16" fmla="*/ 27432 h 27432"/>
                      <a:gd name="connsiteX17" fmla="*/ 2991730 w 6365383"/>
                      <a:gd name="connsiteY17" fmla="*/ 27432 h 27432"/>
                      <a:gd name="connsiteX18" fmla="*/ 2546153 w 6365383"/>
                      <a:gd name="connsiteY18" fmla="*/ 27432 h 27432"/>
                      <a:gd name="connsiteX19" fmla="*/ 1909615 w 6365383"/>
                      <a:gd name="connsiteY19" fmla="*/ 27432 h 27432"/>
                      <a:gd name="connsiteX20" fmla="*/ 1400384 w 6365383"/>
                      <a:gd name="connsiteY20" fmla="*/ 27432 h 27432"/>
                      <a:gd name="connsiteX21" fmla="*/ 763846 w 6365383"/>
                      <a:gd name="connsiteY21" fmla="*/ 27432 h 27432"/>
                      <a:gd name="connsiteX22" fmla="*/ 0 w 6365383"/>
                      <a:gd name="connsiteY22" fmla="*/ 27432 h 27432"/>
                      <a:gd name="connsiteX23" fmla="*/ 0 w 6365383"/>
                      <a:gd name="connsiteY23"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365383" h="27432" fill="none" extrusionOk="0">
                        <a:moveTo>
                          <a:pt x="0" y="0"/>
                        </a:moveTo>
                        <a:cubicBezTo>
                          <a:pt x="305169" y="21509"/>
                          <a:pt x="334704" y="-24261"/>
                          <a:pt x="636538" y="0"/>
                        </a:cubicBezTo>
                        <a:cubicBezTo>
                          <a:pt x="938372" y="24261"/>
                          <a:pt x="1068606" y="2269"/>
                          <a:pt x="1273077" y="0"/>
                        </a:cubicBezTo>
                        <a:cubicBezTo>
                          <a:pt x="1477548" y="-2269"/>
                          <a:pt x="1738189" y="6272"/>
                          <a:pt x="1909615" y="0"/>
                        </a:cubicBezTo>
                        <a:cubicBezTo>
                          <a:pt x="2081041" y="-6272"/>
                          <a:pt x="2377015" y="16623"/>
                          <a:pt x="2673461" y="0"/>
                        </a:cubicBezTo>
                        <a:cubicBezTo>
                          <a:pt x="2969907" y="-16623"/>
                          <a:pt x="3126114" y="13194"/>
                          <a:pt x="3373653" y="0"/>
                        </a:cubicBezTo>
                        <a:cubicBezTo>
                          <a:pt x="3621192" y="-13194"/>
                          <a:pt x="3704499" y="9486"/>
                          <a:pt x="3819230" y="0"/>
                        </a:cubicBezTo>
                        <a:cubicBezTo>
                          <a:pt x="3933961" y="-9486"/>
                          <a:pt x="4142691" y="-8221"/>
                          <a:pt x="4392114" y="0"/>
                        </a:cubicBezTo>
                        <a:cubicBezTo>
                          <a:pt x="4641537" y="8221"/>
                          <a:pt x="4974506" y="12257"/>
                          <a:pt x="5155960" y="0"/>
                        </a:cubicBezTo>
                        <a:cubicBezTo>
                          <a:pt x="5337414" y="-12257"/>
                          <a:pt x="5585731" y="-22537"/>
                          <a:pt x="5792499" y="0"/>
                        </a:cubicBezTo>
                        <a:cubicBezTo>
                          <a:pt x="5999267" y="22537"/>
                          <a:pt x="6164726" y="7303"/>
                          <a:pt x="6365383" y="0"/>
                        </a:cubicBezTo>
                        <a:cubicBezTo>
                          <a:pt x="6365125" y="7487"/>
                          <a:pt x="6364462" y="19984"/>
                          <a:pt x="6365383" y="27432"/>
                        </a:cubicBezTo>
                        <a:cubicBezTo>
                          <a:pt x="6132222" y="28304"/>
                          <a:pt x="6011986" y="2071"/>
                          <a:pt x="5856152" y="27432"/>
                        </a:cubicBezTo>
                        <a:cubicBezTo>
                          <a:pt x="5700318" y="52793"/>
                          <a:pt x="5410732" y="5357"/>
                          <a:pt x="5092306" y="27432"/>
                        </a:cubicBezTo>
                        <a:cubicBezTo>
                          <a:pt x="4773880" y="49507"/>
                          <a:pt x="4705351" y="6645"/>
                          <a:pt x="4583076" y="27432"/>
                        </a:cubicBezTo>
                        <a:cubicBezTo>
                          <a:pt x="4460801" y="48220"/>
                          <a:pt x="4239915" y="42209"/>
                          <a:pt x="4137499" y="27432"/>
                        </a:cubicBezTo>
                        <a:cubicBezTo>
                          <a:pt x="4035083" y="12655"/>
                          <a:pt x="3883665" y="32012"/>
                          <a:pt x="3691922" y="27432"/>
                        </a:cubicBezTo>
                        <a:cubicBezTo>
                          <a:pt x="3500179" y="22852"/>
                          <a:pt x="3265830" y="-126"/>
                          <a:pt x="2991730" y="27432"/>
                        </a:cubicBezTo>
                        <a:cubicBezTo>
                          <a:pt x="2717630" y="54990"/>
                          <a:pt x="2757122" y="34407"/>
                          <a:pt x="2546153" y="27432"/>
                        </a:cubicBezTo>
                        <a:cubicBezTo>
                          <a:pt x="2335184" y="20457"/>
                          <a:pt x="2107331" y="58889"/>
                          <a:pt x="1909615" y="27432"/>
                        </a:cubicBezTo>
                        <a:cubicBezTo>
                          <a:pt x="1711899" y="-4025"/>
                          <a:pt x="1634641" y="48316"/>
                          <a:pt x="1400384" y="27432"/>
                        </a:cubicBezTo>
                        <a:cubicBezTo>
                          <a:pt x="1166127" y="6548"/>
                          <a:pt x="1068288" y="15776"/>
                          <a:pt x="763846" y="27432"/>
                        </a:cubicBezTo>
                        <a:cubicBezTo>
                          <a:pt x="459404" y="39088"/>
                          <a:pt x="170017" y="14515"/>
                          <a:pt x="0" y="27432"/>
                        </a:cubicBezTo>
                        <a:cubicBezTo>
                          <a:pt x="-14" y="18173"/>
                          <a:pt x="-517" y="8990"/>
                          <a:pt x="0" y="0"/>
                        </a:cubicBezTo>
                        <a:close/>
                      </a:path>
                      <a:path w="6365383" h="27432" stroke="0" extrusionOk="0">
                        <a:moveTo>
                          <a:pt x="0" y="0"/>
                        </a:moveTo>
                        <a:cubicBezTo>
                          <a:pt x="114610" y="-2215"/>
                          <a:pt x="340315" y="12554"/>
                          <a:pt x="572884" y="0"/>
                        </a:cubicBezTo>
                        <a:cubicBezTo>
                          <a:pt x="805453" y="-12554"/>
                          <a:pt x="832891" y="-10424"/>
                          <a:pt x="1018461" y="0"/>
                        </a:cubicBezTo>
                        <a:cubicBezTo>
                          <a:pt x="1204031" y="10424"/>
                          <a:pt x="1590875" y="8682"/>
                          <a:pt x="1782307" y="0"/>
                        </a:cubicBezTo>
                        <a:cubicBezTo>
                          <a:pt x="1973739" y="-8682"/>
                          <a:pt x="2150876" y="5508"/>
                          <a:pt x="2355192" y="0"/>
                        </a:cubicBezTo>
                        <a:cubicBezTo>
                          <a:pt x="2559508" y="-5508"/>
                          <a:pt x="2790194" y="26965"/>
                          <a:pt x="2928076" y="0"/>
                        </a:cubicBezTo>
                        <a:cubicBezTo>
                          <a:pt x="3065958" y="-26965"/>
                          <a:pt x="3321537" y="819"/>
                          <a:pt x="3691922" y="0"/>
                        </a:cubicBezTo>
                        <a:cubicBezTo>
                          <a:pt x="4062307" y="-819"/>
                          <a:pt x="4072238" y="-15327"/>
                          <a:pt x="4201153" y="0"/>
                        </a:cubicBezTo>
                        <a:cubicBezTo>
                          <a:pt x="4330068" y="15327"/>
                          <a:pt x="4772079" y="-35646"/>
                          <a:pt x="4964999" y="0"/>
                        </a:cubicBezTo>
                        <a:cubicBezTo>
                          <a:pt x="5157919" y="35646"/>
                          <a:pt x="5543915" y="6802"/>
                          <a:pt x="5728845" y="0"/>
                        </a:cubicBezTo>
                        <a:cubicBezTo>
                          <a:pt x="5913775" y="-6802"/>
                          <a:pt x="6142952" y="-21408"/>
                          <a:pt x="6365383" y="0"/>
                        </a:cubicBezTo>
                        <a:cubicBezTo>
                          <a:pt x="6364552" y="6329"/>
                          <a:pt x="6365787" y="16858"/>
                          <a:pt x="6365383" y="27432"/>
                        </a:cubicBezTo>
                        <a:cubicBezTo>
                          <a:pt x="6176931" y="320"/>
                          <a:pt x="5998736" y="11244"/>
                          <a:pt x="5665191" y="27432"/>
                        </a:cubicBezTo>
                        <a:cubicBezTo>
                          <a:pt x="5331646" y="43620"/>
                          <a:pt x="5198011" y="28615"/>
                          <a:pt x="4901345" y="27432"/>
                        </a:cubicBezTo>
                        <a:cubicBezTo>
                          <a:pt x="4604679" y="26249"/>
                          <a:pt x="4422931" y="40617"/>
                          <a:pt x="4137499" y="27432"/>
                        </a:cubicBezTo>
                        <a:cubicBezTo>
                          <a:pt x="3852067" y="14247"/>
                          <a:pt x="3861939" y="26581"/>
                          <a:pt x="3628268" y="27432"/>
                        </a:cubicBezTo>
                        <a:cubicBezTo>
                          <a:pt x="3394597" y="28283"/>
                          <a:pt x="3171361" y="44132"/>
                          <a:pt x="2991730" y="27432"/>
                        </a:cubicBezTo>
                        <a:cubicBezTo>
                          <a:pt x="2812099" y="10732"/>
                          <a:pt x="2469344" y="24737"/>
                          <a:pt x="2227884" y="27432"/>
                        </a:cubicBezTo>
                        <a:cubicBezTo>
                          <a:pt x="1986424" y="30127"/>
                          <a:pt x="1748067" y="6359"/>
                          <a:pt x="1591346" y="27432"/>
                        </a:cubicBezTo>
                        <a:cubicBezTo>
                          <a:pt x="1434625" y="48505"/>
                          <a:pt x="1307456" y="39663"/>
                          <a:pt x="1145769" y="27432"/>
                        </a:cubicBezTo>
                        <a:cubicBezTo>
                          <a:pt x="984082" y="15201"/>
                          <a:pt x="800279" y="41647"/>
                          <a:pt x="636538" y="27432"/>
                        </a:cubicBezTo>
                        <a:cubicBezTo>
                          <a:pt x="472797" y="13217"/>
                          <a:pt x="160022" y="2213"/>
                          <a:pt x="0" y="27432"/>
                        </a:cubicBezTo>
                        <a:cubicBezTo>
                          <a:pt x="-177" y="19307"/>
                          <a:pt x="-1145" y="9170"/>
                          <a:pt x="0" y="0"/>
                        </a:cubicBezTo>
                        <a:close/>
                      </a:path>
                    </a:pathLst>
                  </a:cu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270994703"/>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6"/>
            <a:ext cx="13958844" cy="666567"/>
            <a:chOff x="4329156" y="9649198"/>
            <a:chExt cx="13958844" cy="666567"/>
          </a:xfrm>
        </p:grpSpPr>
        <p:pic>
          <p:nvPicPr>
            <p:cNvPr id="18" name="Picture 12" descr="Background pattern&#10;&#10;Description automatically generated">
              <a:extLst>
                <a:ext uri="{FF2B5EF4-FFF2-40B4-BE49-F238E27FC236}">
                  <a16:creationId xmlns:a16="http://schemas.microsoft.com/office/drawing/2014/main" id="{656E1DC6-816C-4843-B17E-566C3C339AB5}"/>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pic>
        <p:nvPicPr>
          <p:cNvPr id="20" name="Picture 12" descr="Logo&#10;&#10;Description automatically generated">
            <a:extLst>
              <a:ext uri="{FF2B5EF4-FFF2-40B4-BE49-F238E27FC236}">
                <a16:creationId xmlns:a16="http://schemas.microsoft.com/office/drawing/2014/main" id="{FF4E0145-0EE4-4FAB-85AC-C3A9A6BF4D25}"/>
              </a:ext>
            </a:extLst>
          </p:cNvPr>
          <p:cNvPicPr>
            <a:picLocks noChangeAspect="1"/>
          </p:cNvPicPr>
          <p:nvPr/>
        </p:nvPicPr>
        <p:blipFill>
          <a:blip r:embed="rId4"/>
          <a:srcRect/>
          <a:stretch>
            <a:fillRect/>
          </a:stretch>
        </p:blipFill>
        <p:spPr>
          <a:xfrm>
            <a:off x="0" y="9499590"/>
            <a:ext cx="3247053" cy="787410"/>
          </a:xfrm>
          <a:prstGeom prst="rect">
            <a:avLst/>
          </a:prstGeom>
        </p:spPr>
      </p:pic>
      <p:grpSp>
        <p:nvGrpSpPr>
          <p:cNvPr id="3" name="Gruppo 2">
            <a:extLst>
              <a:ext uri="{FF2B5EF4-FFF2-40B4-BE49-F238E27FC236}">
                <a16:creationId xmlns:a16="http://schemas.microsoft.com/office/drawing/2014/main" id="{D0B44AFC-EABA-48CF-A7A8-348076F88921}"/>
              </a:ext>
            </a:extLst>
          </p:cNvPr>
          <p:cNvGrpSpPr/>
          <p:nvPr/>
        </p:nvGrpSpPr>
        <p:grpSpPr>
          <a:xfrm>
            <a:off x="-12" y="138554"/>
            <a:ext cx="18288002" cy="681138"/>
            <a:chOff x="-12" y="138554"/>
            <a:chExt cx="18288002" cy="681138"/>
          </a:xfrm>
        </p:grpSpPr>
        <p:grpSp>
          <p:nvGrpSpPr>
            <p:cNvPr id="16" name="Gruppo 15">
              <a:extLst>
                <a:ext uri="{FF2B5EF4-FFF2-40B4-BE49-F238E27FC236}">
                  <a16:creationId xmlns:a16="http://schemas.microsoft.com/office/drawing/2014/main" id="{DAC42A46-917D-41AB-8F07-E15E54D0F7D4}"/>
                </a:ext>
              </a:extLst>
            </p:cNvPr>
            <p:cNvGrpSpPr/>
            <p:nvPr/>
          </p:nvGrpSpPr>
          <p:grpSpPr>
            <a:xfrm>
              <a:off x="0" y="153125"/>
              <a:ext cx="13958844" cy="666567"/>
              <a:chOff x="0" y="153125"/>
              <a:chExt cx="13958844" cy="666567"/>
            </a:xfrm>
          </p:grpSpPr>
          <p:pic>
            <p:nvPicPr>
              <p:cNvPr id="10" name="Picture 10" descr="Background pattern&#10;&#10;Description automatically generated"/>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1" name="TextBox 11"/>
              <p:cNvSpPr txBox="1"/>
              <p:nvPr/>
            </p:nvSpPr>
            <p:spPr>
              <a:xfrm>
                <a:off x="228600" y="257980"/>
                <a:ext cx="5752704" cy="456856"/>
              </a:xfrm>
              <a:prstGeom prst="rect">
                <a:avLst/>
              </a:prstGeom>
            </p:spPr>
            <p:txBody>
              <a:bodyPr wrap="square" lIns="0" tIns="0" rIns="0" bIns="0" rtlCol="0" anchor="t">
                <a:spAutoFit/>
              </a:bodyPr>
              <a:lstStyle/>
              <a:p>
                <a:pPr>
                  <a:lnSpc>
                    <a:spcPts val="3919"/>
                  </a:lnSpc>
                  <a:spcBef>
                    <a:spcPct val="0"/>
                  </a:spcBef>
                </a:pPr>
                <a:endParaRPr lang="en-US" sz="2800" b="1">
                  <a:solidFill>
                    <a:srgbClr val="FFFFFF"/>
                  </a:solidFill>
                  <a:latin typeface="Arial" panose="020B0604020202020204" pitchFamily="34" charset="0"/>
                  <a:cs typeface="Arial" panose="020B0604020202020204" pitchFamily="34" charset="0"/>
                </a:endParaRPr>
              </a:p>
            </p:txBody>
          </p:sp>
        </p:grpSp>
        <p:sp>
          <p:nvSpPr>
            <p:cNvPr id="15" name="Rettangolo 14">
              <a:extLst>
                <a:ext uri="{FF2B5EF4-FFF2-40B4-BE49-F238E27FC236}">
                  <a16:creationId xmlns:a16="http://schemas.microsoft.com/office/drawing/2014/main" id="{AFFDA913-633F-49C2-9D71-573FB327981F}"/>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7" name="TextBox 13">
            <a:extLst>
              <a:ext uri="{FF2B5EF4-FFF2-40B4-BE49-F238E27FC236}">
                <a16:creationId xmlns:a16="http://schemas.microsoft.com/office/drawing/2014/main" id="{C7197FAA-9C82-4C25-B208-2BF8170DA3D1}"/>
              </a:ext>
            </a:extLst>
          </p:cNvPr>
          <p:cNvSpPr txBox="1"/>
          <p:nvPr/>
        </p:nvSpPr>
        <p:spPr>
          <a:xfrm>
            <a:off x="-638629" y="972908"/>
            <a:ext cx="18288000" cy="1052468"/>
          </a:xfrm>
          <a:prstGeom prst="rect">
            <a:avLst/>
          </a:prstGeom>
        </p:spPr>
        <p:txBody>
          <a:bodyPr wrap="square" lIns="0" tIns="0" rIns="0" bIns="0" rtlCol="0" anchor="t">
            <a:spAutoFit/>
          </a:bodyPr>
          <a:lstStyle/>
          <a:p>
            <a:pPr algn="ctr">
              <a:lnSpc>
                <a:spcPts val="8960"/>
              </a:lnSpc>
              <a:spcBef>
                <a:spcPct val="0"/>
              </a:spcBef>
            </a:pPr>
            <a:r>
              <a:rPr lang="en-US" sz="6400" b="1">
                <a:solidFill>
                  <a:srgbClr val="CC0033"/>
                </a:solidFill>
                <a:latin typeface="+mj-lt"/>
                <a:cs typeface="Arial" panose="020B0604020202020204" pitchFamily="34" charset="0"/>
              </a:rPr>
              <a:t>LCA of FERTIBERIA plant</a:t>
            </a:r>
          </a:p>
        </p:txBody>
      </p:sp>
      <p:sp>
        <p:nvSpPr>
          <p:cNvPr id="4" name="TextBox 3">
            <a:extLst>
              <a:ext uri="{FF2B5EF4-FFF2-40B4-BE49-F238E27FC236}">
                <a16:creationId xmlns:a16="http://schemas.microsoft.com/office/drawing/2014/main" id="{1CB4B8C3-BD8D-D0E7-C5EB-F8AE9A304341}"/>
              </a:ext>
            </a:extLst>
          </p:cNvPr>
          <p:cNvSpPr txBox="1"/>
          <p:nvPr/>
        </p:nvSpPr>
        <p:spPr>
          <a:xfrm>
            <a:off x="433137" y="2613813"/>
            <a:ext cx="17603212" cy="2400657"/>
          </a:xfrm>
          <a:prstGeom prst="rect">
            <a:avLst/>
          </a:prstGeom>
          <a:noFill/>
        </p:spPr>
        <p:txBody>
          <a:bodyPr wrap="square">
            <a:spAutoFit/>
          </a:bodyPr>
          <a:lstStyle/>
          <a:p>
            <a:r>
              <a:rPr lang="en-US" sz="3000" dirty="0">
                <a:cs typeface="Arial" panose="020B0604020202020204" pitchFamily="34" charset="0"/>
              </a:rPr>
              <a:t>In the following part of the course, you will learn how a comparative LCA was performed (using the software </a:t>
            </a:r>
            <a:r>
              <a:rPr lang="en-US" sz="3000" dirty="0" err="1">
                <a:cs typeface="Arial" panose="020B0604020202020204" pitchFamily="34" charset="0"/>
              </a:rPr>
              <a:t>GaBi</a:t>
            </a:r>
            <a:r>
              <a:rPr lang="en-US" sz="3000" dirty="0">
                <a:cs typeface="Arial" panose="020B0604020202020204" pitchFamily="34" charset="0"/>
              </a:rPr>
              <a:t>), comparing the environmental impact before and after the retrofit of a demo-site in the agrochemical sector within the RETROFEED Project.</a:t>
            </a:r>
          </a:p>
          <a:p>
            <a:endParaRPr lang="en-US" sz="3000" dirty="0">
              <a:cs typeface="Arial" panose="020B0604020202020204" pitchFamily="34" charset="0"/>
            </a:endParaRPr>
          </a:p>
          <a:p>
            <a:r>
              <a:rPr lang="en-US" sz="3000" dirty="0">
                <a:cs typeface="Arial" panose="020B0604020202020204" pitchFamily="34" charset="0"/>
              </a:rPr>
              <a:t>If you would like to revise your knowledge about processes at the FERTIBERIA plant, </a:t>
            </a:r>
            <a:r>
              <a:rPr lang="en-US" sz="3000" u="sng" dirty="0">
                <a:cs typeface="Arial" panose="020B0604020202020204" pitchFamily="34" charset="0"/>
              </a:rPr>
              <a:t>please click here</a:t>
            </a:r>
            <a:r>
              <a:rPr lang="en-US" sz="3000" dirty="0">
                <a:cs typeface="Arial" panose="020B0604020202020204" pitchFamily="34" charset="0"/>
              </a:rPr>
              <a:t>.</a:t>
            </a:r>
            <a:endParaRPr lang="sv-SE" sz="3000" dirty="0">
              <a:cs typeface="Arial" panose="020B0604020202020204" pitchFamily="34" charset="0"/>
            </a:endParaRPr>
          </a:p>
        </p:txBody>
      </p:sp>
    </p:spTree>
    <p:extLst>
      <p:ext uri="{BB962C8B-B14F-4D97-AF65-F5344CB8AC3E}">
        <p14:creationId xmlns:p14="http://schemas.microsoft.com/office/powerpoint/2010/main" val="2291263589"/>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1" name="Picture 12">
            <a:extLst>
              <a:ext uri="{FF2B5EF4-FFF2-40B4-BE49-F238E27FC236}">
                <a16:creationId xmlns:a16="http://schemas.microsoft.com/office/drawing/2014/main" id="{43802E0E-B79D-4EA7-8141-0CA3ED138B1A}"/>
              </a:ext>
            </a:extLst>
          </p:cNvPr>
          <p:cNvPicPr>
            <a:picLocks noChangeAspect="1"/>
          </p:cNvPicPr>
          <p:nvPr/>
        </p:nvPicPr>
        <p:blipFill>
          <a:blip r:embed="rId3"/>
          <a:srcRect/>
          <a:stretch>
            <a:fillRect/>
          </a:stretch>
        </p:blipFill>
        <p:spPr>
          <a:xfrm>
            <a:off x="0" y="9057166"/>
            <a:ext cx="5715000" cy="1385887"/>
          </a:xfrm>
          <a:prstGeom prst="rect">
            <a:avLst/>
          </a:prstGeom>
        </p:spPr>
      </p:pic>
      <p:grpSp>
        <p:nvGrpSpPr>
          <p:cNvPr id="132" name="Gruppo 2">
            <a:extLst>
              <a:ext uri="{FF2B5EF4-FFF2-40B4-BE49-F238E27FC236}">
                <a16:creationId xmlns:a16="http://schemas.microsoft.com/office/drawing/2014/main" id="{649928F6-6E82-4611-9715-AD3C75457C28}"/>
              </a:ext>
            </a:extLst>
          </p:cNvPr>
          <p:cNvGrpSpPr/>
          <p:nvPr/>
        </p:nvGrpSpPr>
        <p:grpSpPr>
          <a:xfrm>
            <a:off x="-12" y="138554"/>
            <a:ext cx="18288002" cy="681138"/>
            <a:chOff x="-12" y="138554"/>
            <a:chExt cx="18288002" cy="681138"/>
          </a:xfrm>
        </p:grpSpPr>
        <p:grpSp>
          <p:nvGrpSpPr>
            <p:cNvPr id="133" name="Gruppo 1">
              <a:extLst>
                <a:ext uri="{FF2B5EF4-FFF2-40B4-BE49-F238E27FC236}">
                  <a16:creationId xmlns:a16="http://schemas.microsoft.com/office/drawing/2014/main" id="{A8EB8794-E5C6-45EB-BAEC-2778E982797A}"/>
                </a:ext>
              </a:extLst>
            </p:cNvPr>
            <p:cNvGrpSpPr/>
            <p:nvPr/>
          </p:nvGrpSpPr>
          <p:grpSpPr>
            <a:xfrm>
              <a:off x="0" y="153125"/>
              <a:ext cx="17907000" cy="666567"/>
              <a:chOff x="0" y="153125"/>
              <a:chExt cx="17907000" cy="666567"/>
            </a:xfrm>
          </p:grpSpPr>
          <p:grpSp>
            <p:nvGrpSpPr>
              <p:cNvPr id="135" name="Gruppo 15">
                <a:extLst>
                  <a:ext uri="{FF2B5EF4-FFF2-40B4-BE49-F238E27FC236}">
                    <a16:creationId xmlns:a16="http://schemas.microsoft.com/office/drawing/2014/main" id="{AB129748-9FD7-458D-BD6E-304271C1814A}"/>
                  </a:ext>
                </a:extLst>
              </p:cNvPr>
              <p:cNvGrpSpPr/>
              <p:nvPr/>
            </p:nvGrpSpPr>
            <p:grpSpPr>
              <a:xfrm>
                <a:off x="0" y="153125"/>
                <a:ext cx="13958844" cy="666567"/>
                <a:chOff x="0" y="153125"/>
                <a:chExt cx="13958844" cy="666567"/>
              </a:xfrm>
            </p:grpSpPr>
            <p:pic>
              <p:nvPicPr>
                <p:cNvPr id="137" name="Picture 136">
                  <a:extLst>
                    <a:ext uri="{FF2B5EF4-FFF2-40B4-BE49-F238E27FC236}">
                      <a16:creationId xmlns:a16="http://schemas.microsoft.com/office/drawing/2014/main" id="{88E31CFD-796F-4F3F-A1EC-0E38F9D83456}"/>
                    </a:ext>
                  </a:extLst>
                </p:cNvPr>
                <p:cNvPicPr>
                  <a:picLocks noChangeAspect="1"/>
                </p:cNvPicPr>
                <p:nvPr/>
              </p:nvPicPr>
              <p:blipFill>
                <a:blip r:embed="rId4"/>
                <a:srcRect l="134" t="91287" b="3943"/>
                <a:stretch>
                  <a:fillRect/>
                </a:stretch>
              </p:blipFill>
              <p:spPr>
                <a:xfrm>
                  <a:off x="0" y="153125"/>
                  <a:ext cx="13958844" cy="666567"/>
                </a:xfrm>
                <a:prstGeom prst="rect">
                  <a:avLst/>
                </a:prstGeom>
              </p:spPr>
            </p:pic>
            <p:sp>
              <p:nvSpPr>
                <p:cNvPr id="138" name="TextBox 137">
                  <a:extLst>
                    <a:ext uri="{FF2B5EF4-FFF2-40B4-BE49-F238E27FC236}">
                      <a16:creationId xmlns:a16="http://schemas.microsoft.com/office/drawing/2014/main" id="{7694DADD-E227-40A7-A98D-244B0D207E54}"/>
                    </a:ext>
                  </a:extLst>
                </p:cNvPr>
                <p:cNvSpPr txBox="1"/>
                <p:nvPr/>
              </p:nvSpPr>
              <p:spPr>
                <a:xfrm>
                  <a:off x="228600" y="257980"/>
                  <a:ext cx="9296400" cy="456856"/>
                </a:xfrm>
                <a:prstGeom prst="rect">
                  <a:avLst/>
                </a:prstGeom>
              </p:spPr>
              <p:txBody>
                <a:bodyPr wrap="square" lIns="0" tIns="0" rIns="0" bIns="0" rtlCol="0" anchor="t">
                  <a:spAutoFit/>
                </a:bodyPr>
                <a:lstStyle/>
                <a:p>
                  <a:pPr>
                    <a:lnSpc>
                      <a:spcPts val="3919"/>
                    </a:lnSpc>
                    <a:spcBef>
                      <a:spcPct val="0"/>
                    </a:spcBef>
                  </a:pPr>
                  <a:endParaRPr lang="en-US" sz="2800" b="1">
                    <a:solidFill>
                      <a:srgbClr val="FFFFFF"/>
                    </a:solidFill>
                    <a:latin typeface="Arial" panose="020B0604020202020204" pitchFamily="34" charset="0"/>
                    <a:cs typeface="Arial" panose="020B0604020202020204" pitchFamily="34" charset="0"/>
                  </a:endParaRPr>
                </a:p>
              </p:txBody>
            </p:sp>
          </p:grpSp>
          <p:sp>
            <p:nvSpPr>
              <p:cNvPr id="136" name="TextBox 135">
                <a:extLst>
                  <a:ext uri="{FF2B5EF4-FFF2-40B4-BE49-F238E27FC236}">
                    <a16:creationId xmlns:a16="http://schemas.microsoft.com/office/drawing/2014/main" id="{4B3CCEBB-60EF-4175-9878-F0D51FD80FF0}"/>
                  </a:ext>
                </a:extLst>
              </p:cNvPr>
              <p:cNvSpPr txBox="1"/>
              <p:nvPr/>
            </p:nvSpPr>
            <p:spPr>
              <a:xfrm>
                <a:off x="12154296" y="257980"/>
                <a:ext cx="5752704" cy="456856"/>
              </a:xfrm>
              <a:prstGeom prst="rect">
                <a:avLst/>
              </a:prstGeom>
            </p:spPr>
            <p:txBody>
              <a:bodyPr wrap="square" lIns="0" tIns="0" rIns="0" bIns="0" rtlCol="0" anchor="t">
                <a:spAutoFit/>
              </a:bodyPr>
              <a:lstStyle/>
              <a:p>
                <a:pPr algn="r">
                  <a:lnSpc>
                    <a:spcPts val="3919"/>
                  </a:lnSpc>
                  <a:spcBef>
                    <a:spcPct val="0"/>
                  </a:spcBef>
                </a:pPr>
                <a:endParaRPr lang="en-US" sz="2800">
                  <a:solidFill>
                    <a:schemeClr val="tx1">
                      <a:lumMod val="75000"/>
                      <a:lumOff val="25000"/>
                    </a:schemeClr>
                  </a:solidFill>
                  <a:latin typeface="Arial" panose="020B0604020202020204" pitchFamily="34" charset="0"/>
                  <a:cs typeface="Arial" panose="020B0604020202020204" pitchFamily="34" charset="0"/>
                </a:endParaRPr>
              </a:p>
            </p:txBody>
          </p:sp>
        </p:grpSp>
        <p:sp>
          <p:nvSpPr>
            <p:cNvPr id="134" name="Rettangolo 13">
              <a:extLst>
                <a:ext uri="{FF2B5EF4-FFF2-40B4-BE49-F238E27FC236}">
                  <a16:creationId xmlns:a16="http://schemas.microsoft.com/office/drawing/2014/main" id="{8F0CF2A7-592A-4287-9206-D3289F1B0C37}"/>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139" name="Picture 12">
            <a:extLst>
              <a:ext uri="{FF2B5EF4-FFF2-40B4-BE49-F238E27FC236}">
                <a16:creationId xmlns:a16="http://schemas.microsoft.com/office/drawing/2014/main" id="{F047215A-40D8-4A57-BE02-5E03FCEEBB7B}"/>
              </a:ext>
            </a:extLst>
          </p:cNvPr>
          <p:cNvPicPr>
            <a:picLocks noChangeAspect="1"/>
          </p:cNvPicPr>
          <p:nvPr/>
        </p:nvPicPr>
        <p:blipFill>
          <a:blip r:embed="rId5"/>
          <a:srcRect l="134" t="91287" b="3943"/>
          <a:stretch>
            <a:fillRect/>
          </a:stretch>
        </p:blipFill>
        <p:spPr>
          <a:xfrm rot="10800000">
            <a:off x="4329146" y="9679208"/>
            <a:ext cx="13958844" cy="666567"/>
          </a:xfrm>
          <a:prstGeom prst="rect">
            <a:avLst/>
          </a:prstGeom>
        </p:spPr>
      </p:pic>
      <p:sp>
        <p:nvSpPr>
          <p:cNvPr id="140" name="TextBox 16">
            <a:extLst>
              <a:ext uri="{FF2B5EF4-FFF2-40B4-BE49-F238E27FC236}">
                <a16:creationId xmlns:a16="http://schemas.microsoft.com/office/drawing/2014/main" id="{C693B1DB-897C-4A9D-8CF3-F1423F6CB38D}"/>
              </a:ext>
            </a:extLst>
          </p:cNvPr>
          <p:cNvSpPr txBox="1"/>
          <p:nvPr/>
        </p:nvSpPr>
        <p:spPr>
          <a:xfrm>
            <a:off x="14400019" y="976230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sp>
        <p:nvSpPr>
          <p:cNvPr id="275" name="TextBox 274">
            <a:extLst>
              <a:ext uri="{FF2B5EF4-FFF2-40B4-BE49-F238E27FC236}">
                <a16:creationId xmlns:a16="http://schemas.microsoft.com/office/drawing/2014/main" id="{18F9B2C4-9238-753A-5524-A6082AD1087E}"/>
              </a:ext>
            </a:extLst>
          </p:cNvPr>
          <p:cNvSpPr txBox="1"/>
          <p:nvPr/>
        </p:nvSpPr>
        <p:spPr>
          <a:xfrm>
            <a:off x="1533538" y="2217069"/>
            <a:ext cx="15014501" cy="523220"/>
          </a:xfrm>
          <a:prstGeom prst="rect">
            <a:avLst/>
          </a:prstGeom>
          <a:solidFill>
            <a:schemeClr val="accent2">
              <a:lumMod val="60000"/>
              <a:lumOff val="40000"/>
            </a:schemeClr>
          </a:solidFill>
        </p:spPr>
        <p:txBody>
          <a:bodyPr wrap="square" rIns="90000" anchor="ctr" anchorCtr="0">
            <a:spAutoFit/>
          </a:bodyPr>
          <a:lstStyle/>
          <a:p>
            <a:pPr algn="ctr"/>
            <a:endParaRPr lang="sv-SE" sz="2800"/>
          </a:p>
        </p:txBody>
      </p:sp>
      <p:sp>
        <p:nvSpPr>
          <p:cNvPr id="276" name="TextBox 275">
            <a:extLst>
              <a:ext uri="{FF2B5EF4-FFF2-40B4-BE49-F238E27FC236}">
                <a16:creationId xmlns:a16="http://schemas.microsoft.com/office/drawing/2014/main" id="{23F49CDA-BC36-C7E5-B9CD-42DA77A33D92}"/>
              </a:ext>
            </a:extLst>
          </p:cNvPr>
          <p:cNvSpPr txBox="1"/>
          <p:nvPr/>
        </p:nvSpPr>
        <p:spPr>
          <a:xfrm>
            <a:off x="1091893" y="1139851"/>
            <a:ext cx="18288012" cy="1077218"/>
          </a:xfrm>
          <a:prstGeom prst="rect">
            <a:avLst/>
          </a:prstGeom>
          <a:noFill/>
        </p:spPr>
        <p:txBody>
          <a:bodyPr wrap="square">
            <a:spAutoFit/>
          </a:bodyPr>
          <a:lstStyle/>
          <a:p>
            <a:pPr algn="ctr"/>
            <a:r>
              <a:rPr lang="sv-SE" sz="6400" b="1">
                <a:solidFill>
                  <a:srgbClr val="CC0033"/>
                </a:solidFill>
                <a:latin typeface="+mj-lt"/>
                <a:cs typeface="Arial" panose="020B0604020202020204" pitchFamily="34" charset="0"/>
              </a:rPr>
              <a:t>- Step 1: </a:t>
            </a:r>
            <a:r>
              <a:rPr lang="sv-SE" sz="6400" b="1" err="1">
                <a:solidFill>
                  <a:srgbClr val="CC0033"/>
                </a:solidFill>
                <a:latin typeface="+mj-lt"/>
                <a:cs typeface="Arial" panose="020B0604020202020204" pitchFamily="34" charset="0"/>
              </a:rPr>
              <a:t>Goal</a:t>
            </a:r>
            <a:r>
              <a:rPr lang="sv-SE" sz="6400" b="1">
                <a:solidFill>
                  <a:srgbClr val="CC0033"/>
                </a:solidFill>
                <a:latin typeface="+mj-lt"/>
                <a:cs typeface="Arial" panose="020B0604020202020204" pitchFamily="34" charset="0"/>
              </a:rPr>
              <a:t> and </a:t>
            </a:r>
            <a:r>
              <a:rPr lang="sv-SE" sz="6400" b="1" err="1">
                <a:solidFill>
                  <a:srgbClr val="CC0033"/>
                </a:solidFill>
                <a:latin typeface="+mj-lt"/>
                <a:cs typeface="Arial" panose="020B0604020202020204" pitchFamily="34" charset="0"/>
              </a:rPr>
              <a:t>scope</a:t>
            </a:r>
            <a:r>
              <a:rPr lang="sv-SE" sz="6400" b="1">
                <a:solidFill>
                  <a:srgbClr val="CC0033"/>
                </a:solidFill>
                <a:latin typeface="+mj-lt"/>
                <a:cs typeface="Arial" panose="020B0604020202020204" pitchFamily="34" charset="0"/>
              </a:rPr>
              <a:t> definition</a:t>
            </a:r>
          </a:p>
        </p:txBody>
      </p:sp>
      <p:pic>
        <p:nvPicPr>
          <p:cNvPr id="277" name="Picture 276" descr="RETROFEED FERTIBERIA">
            <a:extLst>
              <a:ext uri="{FF2B5EF4-FFF2-40B4-BE49-F238E27FC236}">
                <a16:creationId xmlns:a16="http://schemas.microsoft.com/office/drawing/2014/main" id="{13D4CF92-1DBE-F158-BA77-B8A6CA0F45B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91893" y="1093790"/>
            <a:ext cx="2287452" cy="841782"/>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A007485E-DFDF-5177-3B07-09890F1BD38B}"/>
              </a:ext>
            </a:extLst>
          </p:cNvPr>
          <p:cNvSpPr txBox="1"/>
          <p:nvPr/>
        </p:nvSpPr>
        <p:spPr>
          <a:xfrm>
            <a:off x="1533538" y="2793428"/>
            <a:ext cx="13486606" cy="5201424"/>
          </a:xfrm>
          <a:prstGeom prst="rect">
            <a:avLst/>
          </a:prstGeom>
          <a:noFill/>
        </p:spPr>
        <p:txBody>
          <a:bodyPr wrap="square">
            <a:spAutoFit/>
          </a:bodyPr>
          <a:lstStyle/>
          <a:p>
            <a:r>
              <a:rPr lang="en-US" sz="2800" b="1" dirty="0"/>
              <a:t>Purpose of the study and System boundary:</a:t>
            </a:r>
          </a:p>
          <a:p>
            <a:pPr marL="342900" indent="-342900">
              <a:buFont typeface="Arial" panose="020B0604020202020204" pitchFamily="34" charset="0"/>
              <a:buChar char="•"/>
            </a:pPr>
            <a:r>
              <a:rPr lang="en-US" sz="2400" dirty="0">
                <a:cs typeface="Arial" panose="020B0604020202020204" pitchFamily="34" charset="0"/>
              </a:rPr>
              <a:t>FERTIBERIA’s retrofitting activities are focused on implementing and integrating a new reactor that is capable of meeting process specifications, reduce energy (steam) consumption, cut-down costs associated to feedstock purchasing and diversify raw materials intake. </a:t>
            </a:r>
          </a:p>
          <a:p>
            <a:pPr marL="342900" indent="-342900">
              <a:buFont typeface="Arial" panose="020B0604020202020204" pitchFamily="34" charset="0"/>
              <a:buChar char="•"/>
            </a:pPr>
            <a:endParaRPr lang="en-US" sz="2400" dirty="0">
              <a:cs typeface="Arial" panose="020B0604020202020204" pitchFamily="34" charset="0"/>
            </a:endParaRPr>
          </a:p>
          <a:p>
            <a:pPr marL="342900" indent="-342900">
              <a:buFont typeface="Arial" panose="020B0604020202020204" pitchFamily="34" charset="0"/>
              <a:buChar char="•"/>
            </a:pPr>
            <a:r>
              <a:rPr lang="en-US" sz="2400" dirty="0">
                <a:cs typeface="Arial" panose="020B0604020202020204" pitchFamily="34" charset="0"/>
              </a:rPr>
              <a:t>The </a:t>
            </a:r>
            <a:r>
              <a:rPr lang="en-US" sz="2400" b="1" dirty="0">
                <a:cs typeface="Arial" panose="020B0604020202020204" pitchFamily="34" charset="0"/>
              </a:rPr>
              <a:t>purpose of the LCA </a:t>
            </a:r>
            <a:r>
              <a:rPr lang="en-US" sz="2400" dirty="0">
                <a:cs typeface="Arial" panose="020B0604020202020204" pitchFamily="34" charset="0"/>
              </a:rPr>
              <a:t>is to compare the environmental impact of </a:t>
            </a:r>
            <a:r>
              <a:rPr lang="en-US" sz="2400" dirty="0" err="1">
                <a:cs typeface="Arial" panose="020B0604020202020204" pitchFamily="34" charset="0"/>
              </a:rPr>
              <a:t>Fertiberia’s</a:t>
            </a:r>
            <a:r>
              <a:rPr lang="en-US" sz="2400" dirty="0">
                <a:cs typeface="Arial" panose="020B0604020202020204" pitchFamily="34" charset="0"/>
              </a:rPr>
              <a:t> plant before and after the retrofitting activities. </a:t>
            </a:r>
          </a:p>
          <a:p>
            <a:pPr marL="342900" indent="-342900">
              <a:buFont typeface="Arial" panose="020B0604020202020204" pitchFamily="34" charset="0"/>
              <a:buChar char="•"/>
            </a:pPr>
            <a:endParaRPr lang="en-US" sz="2400" dirty="0">
              <a:cs typeface="Arial" panose="020B0604020202020204" pitchFamily="34" charset="0"/>
            </a:endParaRPr>
          </a:p>
          <a:p>
            <a:pPr marL="342900" indent="-342900">
              <a:buFont typeface="Arial" panose="020B0604020202020204" pitchFamily="34" charset="0"/>
              <a:buChar char="•"/>
            </a:pPr>
            <a:r>
              <a:rPr lang="en-US" sz="2400" dirty="0">
                <a:cs typeface="Arial" panose="020B0604020202020204" pitchFamily="34" charset="0"/>
              </a:rPr>
              <a:t>The approach to the study is a </a:t>
            </a:r>
            <a:r>
              <a:rPr lang="en-US" sz="2400" b="1" dirty="0">
                <a:cs typeface="Arial" panose="020B0604020202020204" pitchFamily="34" charset="0"/>
              </a:rPr>
              <a:t>cradle-to-gate</a:t>
            </a:r>
            <a:r>
              <a:rPr lang="en-US" sz="2400" dirty="0">
                <a:cs typeface="Arial" panose="020B0604020202020204" pitchFamily="34" charset="0"/>
              </a:rPr>
              <a:t> approach, </a:t>
            </a:r>
            <a:r>
              <a:rPr lang="en-US" sz="2400" b="1" dirty="0">
                <a:cs typeface="Arial" panose="020B0604020202020204" pitchFamily="34" charset="0"/>
              </a:rPr>
              <a:t>starting</a:t>
            </a:r>
            <a:r>
              <a:rPr lang="en-US" sz="2400" dirty="0">
                <a:cs typeface="Arial" panose="020B0604020202020204" pitchFamily="34" charset="0"/>
              </a:rPr>
              <a:t> at the production of raw materials and energy and </a:t>
            </a:r>
            <a:r>
              <a:rPr lang="en-US" sz="2400" b="1" dirty="0">
                <a:cs typeface="Arial" panose="020B0604020202020204" pitchFamily="34" charset="0"/>
              </a:rPr>
              <a:t>ending</a:t>
            </a:r>
            <a:r>
              <a:rPr lang="en-US" sz="2400" dirty="0">
                <a:cs typeface="Arial" panose="020B0604020202020204" pitchFamily="34" charset="0"/>
              </a:rPr>
              <a:t> with the production of fertilizer. The use stage of fertilizer is not included in the LCA study since it is not affected by the retrofitting actions. </a:t>
            </a:r>
          </a:p>
          <a:p>
            <a:pPr marL="342900" indent="-342900">
              <a:buFont typeface="Arial" panose="020B0604020202020204" pitchFamily="34" charset="0"/>
              <a:buChar char="•"/>
            </a:pPr>
            <a:endParaRPr lang="en-US" sz="2400" dirty="0">
              <a:cs typeface="Arial" panose="020B0604020202020204" pitchFamily="34" charset="0"/>
            </a:endParaRPr>
          </a:p>
          <a:p>
            <a:pPr marL="0" indent="0">
              <a:buNone/>
            </a:pPr>
            <a:endParaRPr lang="en-US" sz="1600" dirty="0"/>
          </a:p>
          <a:p>
            <a:r>
              <a:rPr lang="en-US" sz="2400" b="1" dirty="0"/>
              <a:t>Functional unit: </a:t>
            </a:r>
            <a:r>
              <a:rPr lang="en-US" sz="2400" dirty="0"/>
              <a:t>1 </a:t>
            </a:r>
            <a:r>
              <a:rPr lang="en-US" sz="2400" dirty="0" err="1"/>
              <a:t>tonne</a:t>
            </a:r>
            <a:r>
              <a:rPr lang="en-US" sz="2400" dirty="0"/>
              <a:t> NPK fertilizer</a:t>
            </a:r>
          </a:p>
        </p:txBody>
      </p:sp>
    </p:spTree>
    <p:extLst>
      <p:ext uri="{BB962C8B-B14F-4D97-AF65-F5344CB8AC3E}">
        <p14:creationId xmlns:p14="http://schemas.microsoft.com/office/powerpoint/2010/main" val="1426831742"/>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6"/>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4"/>
          <a:srcRect/>
          <a:stretch>
            <a:fillRect/>
          </a:stretch>
        </p:blipFill>
        <p:spPr>
          <a:xfrm>
            <a:off x="0" y="8901113"/>
            <a:ext cx="5715000" cy="1385887"/>
          </a:xfrm>
          <a:prstGeom prst="rect">
            <a:avLst/>
          </a:prstGeom>
        </p:spPr>
      </p:pic>
      <p:grpSp>
        <p:nvGrpSpPr>
          <p:cNvPr id="3" name="Gruppo 2">
            <a:extLst>
              <a:ext uri="{FF2B5EF4-FFF2-40B4-BE49-F238E27FC236}">
                <a16:creationId xmlns:a16="http://schemas.microsoft.com/office/drawing/2014/main" id="{C0CB46E5-A192-4AF6-A215-57B5AF0E57B2}"/>
              </a:ext>
            </a:extLst>
          </p:cNvPr>
          <p:cNvGrpSpPr/>
          <p:nvPr/>
        </p:nvGrpSpPr>
        <p:grpSpPr>
          <a:xfrm>
            <a:off x="-12" y="138554"/>
            <a:ext cx="18288002" cy="681138"/>
            <a:chOff x="-12" y="138554"/>
            <a:chExt cx="18288002" cy="681138"/>
          </a:xfrm>
        </p:grpSpPr>
        <p:pic>
          <p:nvPicPr>
            <p:cNvPr id="10" name="Picture 10"/>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21" name="Rettangolo 20">
              <a:extLst>
                <a:ext uri="{FF2B5EF4-FFF2-40B4-BE49-F238E27FC236}">
                  <a16:creationId xmlns:a16="http://schemas.microsoft.com/office/drawing/2014/main" id="{6723B04D-1530-4E4F-9078-5B001D7D0872}"/>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6" name="Rectangle 5">
            <a:extLst>
              <a:ext uri="{FF2B5EF4-FFF2-40B4-BE49-F238E27FC236}">
                <a16:creationId xmlns:a16="http://schemas.microsoft.com/office/drawing/2014/main" id="{5454D274-76BA-4EAA-8C3E-07C2687ECDE1}"/>
              </a:ext>
            </a:extLst>
          </p:cNvPr>
          <p:cNvSpPr/>
          <p:nvPr/>
        </p:nvSpPr>
        <p:spPr>
          <a:xfrm>
            <a:off x="3203064" y="2563443"/>
            <a:ext cx="2377839" cy="1033062"/>
          </a:xfrm>
          <a:prstGeom prst="rect">
            <a:avLst/>
          </a:prstGeom>
          <a:solidFill>
            <a:srgbClr val="99CC99"/>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b="1" err="1"/>
              <a:t>Production</a:t>
            </a:r>
            <a:r>
              <a:rPr lang="sv-SE" b="1"/>
              <a:t> </a:t>
            </a:r>
            <a:r>
              <a:rPr lang="sv-SE" b="1" err="1"/>
              <a:t>of</a:t>
            </a:r>
            <a:r>
              <a:rPr lang="sv-SE" b="1"/>
              <a:t> </a:t>
            </a:r>
            <a:r>
              <a:rPr lang="sv-SE" b="1" err="1"/>
              <a:t>raw</a:t>
            </a:r>
            <a:r>
              <a:rPr lang="sv-SE" b="1"/>
              <a:t> material. </a:t>
            </a:r>
            <a:endParaRPr lang="en-GB" b="1"/>
          </a:p>
        </p:txBody>
      </p:sp>
      <p:sp>
        <p:nvSpPr>
          <p:cNvPr id="4" name="TextBox 3">
            <a:extLst>
              <a:ext uri="{FF2B5EF4-FFF2-40B4-BE49-F238E27FC236}">
                <a16:creationId xmlns:a16="http://schemas.microsoft.com/office/drawing/2014/main" id="{3E598B5F-9EF5-B8E3-2F7A-D8885F267F15}"/>
              </a:ext>
            </a:extLst>
          </p:cNvPr>
          <p:cNvSpPr txBox="1"/>
          <p:nvPr/>
        </p:nvSpPr>
        <p:spPr>
          <a:xfrm>
            <a:off x="1091893" y="1083762"/>
            <a:ext cx="18288012" cy="1077218"/>
          </a:xfrm>
          <a:prstGeom prst="rect">
            <a:avLst/>
          </a:prstGeom>
          <a:noFill/>
        </p:spPr>
        <p:txBody>
          <a:bodyPr wrap="square">
            <a:spAutoFit/>
          </a:bodyPr>
          <a:lstStyle/>
          <a:p>
            <a:pPr algn="ctr"/>
            <a:r>
              <a:rPr lang="sv-SE" sz="6400" b="1">
                <a:solidFill>
                  <a:srgbClr val="CC0033"/>
                </a:solidFill>
                <a:latin typeface="+mj-lt"/>
                <a:cs typeface="Arial" panose="020B0604020202020204" pitchFamily="34" charset="0"/>
              </a:rPr>
              <a:t>- Step 1: System </a:t>
            </a:r>
            <a:r>
              <a:rPr lang="sv-SE" sz="6400" b="1" err="1">
                <a:solidFill>
                  <a:srgbClr val="CC0033"/>
                </a:solidFill>
                <a:latin typeface="+mj-lt"/>
                <a:cs typeface="Arial" panose="020B0604020202020204" pitchFamily="34" charset="0"/>
              </a:rPr>
              <a:t>boundary</a:t>
            </a:r>
            <a:endParaRPr lang="sv-SE" sz="6400" b="1">
              <a:solidFill>
                <a:srgbClr val="CC0033"/>
              </a:solidFill>
              <a:latin typeface="+mj-lt"/>
              <a:cs typeface="Arial" panose="020B0604020202020204" pitchFamily="34" charset="0"/>
            </a:endParaRPr>
          </a:p>
        </p:txBody>
      </p:sp>
      <p:pic>
        <p:nvPicPr>
          <p:cNvPr id="8" name="Picture 7" descr="RETROFEED FERTIBERIA">
            <a:extLst>
              <a:ext uri="{FF2B5EF4-FFF2-40B4-BE49-F238E27FC236}">
                <a16:creationId xmlns:a16="http://schemas.microsoft.com/office/drawing/2014/main" id="{B2D7B376-CA0F-4218-3B60-DB6D45ECC62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479059" y="1134985"/>
            <a:ext cx="2287452" cy="841782"/>
          </a:xfrm>
          <a:prstGeom prst="rect">
            <a:avLst/>
          </a:prstGeom>
          <a:noFill/>
          <a:extLst>
            <a:ext uri="{909E8E84-426E-40DD-AFC4-6F175D3DCCD1}">
              <a14:hiddenFill xmlns:a14="http://schemas.microsoft.com/office/drawing/2010/main">
                <a:solidFill>
                  <a:srgbClr val="FFFFFF"/>
                </a:solidFill>
              </a14:hiddenFill>
            </a:ext>
          </a:extLst>
        </p:spPr>
      </p:pic>
      <p:sp>
        <p:nvSpPr>
          <p:cNvPr id="37" name="Rectangle 36">
            <a:extLst>
              <a:ext uri="{FF2B5EF4-FFF2-40B4-BE49-F238E27FC236}">
                <a16:creationId xmlns:a16="http://schemas.microsoft.com/office/drawing/2014/main" id="{9C46DC01-A5D7-4231-A384-88DDCAB97066}"/>
              </a:ext>
            </a:extLst>
          </p:cNvPr>
          <p:cNvSpPr/>
          <p:nvPr/>
        </p:nvSpPr>
        <p:spPr>
          <a:xfrm>
            <a:off x="8768344" y="5601120"/>
            <a:ext cx="2377839" cy="792000"/>
          </a:xfrm>
          <a:prstGeom prst="rect">
            <a:avLst/>
          </a:prstGeom>
          <a:solidFill>
            <a:srgbClr val="99CC99"/>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b="1" err="1"/>
              <a:t>Drying</a:t>
            </a:r>
            <a:r>
              <a:rPr lang="sv-SE" b="1"/>
              <a:t> and screening</a:t>
            </a:r>
            <a:endParaRPr lang="en-GB" b="1"/>
          </a:p>
        </p:txBody>
      </p:sp>
      <p:sp>
        <p:nvSpPr>
          <p:cNvPr id="38" name="Rectangle 37">
            <a:extLst>
              <a:ext uri="{FF2B5EF4-FFF2-40B4-BE49-F238E27FC236}">
                <a16:creationId xmlns:a16="http://schemas.microsoft.com/office/drawing/2014/main" id="{7A27CF49-3C8D-4257-9D4C-A811697286B0}"/>
              </a:ext>
            </a:extLst>
          </p:cNvPr>
          <p:cNvSpPr/>
          <p:nvPr/>
        </p:nvSpPr>
        <p:spPr>
          <a:xfrm>
            <a:off x="12218604" y="5601120"/>
            <a:ext cx="2377839" cy="792000"/>
          </a:xfrm>
          <a:prstGeom prst="rect">
            <a:avLst/>
          </a:prstGeom>
          <a:solidFill>
            <a:srgbClr val="99CC99"/>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b="1" err="1"/>
              <a:t>Cooling</a:t>
            </a:r>
            <a:r>
              <a:rPr lang="sv-SE" b="1"/>
              <a:t> and screening</a:t>
            </a:r>
            <a:endParaRPr lang="en-GB" b="1"/>
          </a:p>
        </p:txBody>
      </p:sp>
      <p:sp>
        <p:nvSpPr>
          <p:cNvPr id="39" name="Rectangle 38">
            <a:extLst>
              <a:ext uri="{FF2B5EF4-FFF2-40B4-BE49-F238E27FC236}">
                <a16:creationId xmlns:a16="http://schemas.microsoft.com/office/drawing/2014/main" id="{A5E9B96E-1110-4DFC-B4AC-9C22050FB63F}"/>
              </a:ext>
            </a:extLst>
          </p:cNvPr>
          <p:cNvSpPr/>
          <p:nvPr/>
        </p:nvSpPr>
        <p:spPr>
          <a:xfrm>
            <a:off x="2212292" y="7204497"/>
            <a:ext cx="8933891" cy="792000"/>
          </a:xfrm>
          <a:prstGeom prst="rect">
            <a:avLst/>
          </a:prstGeom>
          <a:solidFill>
            <a:srgbClr val="99CC99"/>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b="1" err="1"/>
              <a:t>Scrubber</a:t>
            </a:r>
            <a:endParaRPr lang="en-GB" b="1"/>
          </a:p>
        </p:txBody>
      </p:sp>
      <p:sp>
        <p:nvSpPr>
          <p:cNvPr id="43" name="Rectangle 42">
            <a:extLst>
              <a:ext uri="{FF2B5EF4-FFF2-40B4-BE49-F238E27FC236}">
                <a16:creationId xmlns:a16="http://schemas.microsoft.com/office/drawing/2014/main" id="{374C132F-8696-4244-A065-AD18452FA71D}"/>
              </a:ext>
            </a:extLst>
          </p:cNvPr>
          <p:cNvSpPr/>
          <p:nvPr/>
        </p:nvSpPr>
        <p:spPr>
          <a:xfrm>
            <a:off x="2212292" y="5601692"/>
            <a:ext cx="2377839" cy="792000"/>
          </a:xfrm>
          <a:prstGeom prst="rect">
            <a:avLst/>
          </a:prstGeom>
          <a:solidFill>
            <a:srgbClr val="99CC99"/>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b="1" err="1"/>
              <a:t>Tubular</a:t>
            </a:r>
            <a:r>
              <a:rPr lang="sv-SE" b="1"/>
              <a:t> </a:t>
            </a:r>
            <a:r>
              <a:rPr lang="sv-SE" b="1" err="1"/>
              <a:t>reactor</a:t>
            </a:r>
            <a:endParaRPr lang="en-GB" b="1"/>
          </a:p>
        </p:txBody>
      </p:sp>
      <p:sp>
        <p:nvSpPr>
          <p:cNvPr id="11" name="Rectangle 10">
            <a:extLst>
              <a:ext uri="{FF2B5EF4-FFF2-40B4-BE49-F238E27FC236}">
                <a16:creationId xmlns:a16="http://schemas.microsoft.com/office/drawing/2014/main" id="{93058C1F-B493-436E-9C64-58552A990939}"/>
              </a:ext>
            </a:extLst>
          </p:cNvPr>
          <p:cNvSpPr/>
          <p:nvPr/>
        </p:nvSpPr>
        <p:spPr>
          <a:xfrm>
            <a:off x="1879476" y="5172308"/>
            <a:ext cx="13258801" cy="3386445"/>
          </a:xfrm>
          <a:prstGeom prst="rect">
            <a:avLst/>
          </a:prstGeom>
          <a:noFill/>
          <a:ln w="57150">
            <a:solidFill>
              <a:srgbClr val="CC002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1"/>
          </a:p>
        </p:txBody>
      </p:sp>
      <p:sp>
        <p:nvSpPr>
          <p:cNvPr id="44" name="Rectangle 43">
            <a:extLst>
              <a:ext uri="{FF2B5EF4-FFF2-40B4-BE49-F238E27FC236}">
                <a16:creationId xmlns:a16="http://schemas.microsoft.com/office/drawing/2014/main" id="{9F9391FE-F02A-425E-9EDF-C9EE9F90A039}"/>
              </a:ext>
            </a:extLst>
          </p:cNvPr>
          <p:cNvSpPr/>
          <p:nvPr/>
        </p:nvSpPr>
        <p:spPr>
          <a:xfrm>
            <a:off x="5457628" y="5598386"/>
            <a:ext cx="2377839" cy="792000"/>
          </a:xfrm>
          <a:prstGeom prst="rect">
            <a:avLst/>
          </a:prstGeom>
          <a:solidFill>
            <a:srgbClr val="99CC99"/>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b="1" dirty="0"/>
              <a:t>Granulator</a:t>
            </a:r>
            <a:endParaRPr lang="en-GB" b="1" dirty="0"/>
          </a:p>
        </p:txBody>
      </p:sp>
      <p:sp>
        <p:nvSpPr>
          <p:cNvPr id="45" name="Rectangle 44">
            <a:extLst>
              <a:ext uri="{FF2B5EF4-FFF2-40B4-BE49-F238E27FC236}">
                <a16:creationId xmlns:a16="http://schemas.microsoft.com/office/drawing/2014/main" id="{6AFDBBBB-4298-4EE3-9711-67A7612AA730}"/>
              </a:ext>
            </a:extLst>
          </p:cNvPr>
          <p:cNvSpPr/>
          <p:nvPr/>
        </p:nvSpPr>
        <p:spPr>
          <a:xfrm>
            <a:off x="1427747" y="2185272"/>
            <a:ext cx="14197263" cy="6888646"/>
          </a:xfrm>
          <a:prstGeom prst="rect">
            <a:avLst/>
          </a:prstGeom>
          <a:noFill/>
          <a:ln w="57150">
            <a:solidFill>
              <a:srgbClr val="CC002F"/>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EAAF81EB-928B-4BCE-B4C6-D13D5AC21E7B}"/>
              </a:ext>
            </a:extLst>
          </p:cNvPr>
          <p:cNvSpPr txBox="1"/>
          <p:nvPr/>
        </p:nvSpPr>
        <p:spPr>
          <a:xfrm>
            <a:off x="10965759" y="8098026"/>
            <a:ext cx="4172518" cy="369332"/>
          </a:xfrm>
          <a:prstGeom prst="rect">
            <a:avLst/>
          </a:prstGeom>
          <a:noFill/>
        </p:spPr>
        <p:txBody>
          <a:bodyPr wrap="square" rtlCol="0">
            <a:spAutoFit/>
          </a:bodyPr>
          <a:lstStyle/>
          <a:p>
            <a:r>
              <a:rPr lang="sv-SE" b="1" err="1"/>
              <a:t>Production</a:t>
            </a:r>
            <a:r>
              <a:rPr lang="sv-SE" b="1"/>
              <a:t> process </a:t>
            </a:r>
            <a:r>
              <a:rPr lang="sv-SE" b="1" err="1"/>
              <a:t>of</a:t>
            </a:r>
            <a:r>
              <a:rPr lang="sv-SE" b="1"/>
              <a:t> NPK </a:t>
            </a:r>
            <a:r>
              <a:rPr lang="sv-SE" b="1" err="1"/>
              <a:t>fertilizer</a:t>
            </a:r>
            <a:endParaRPr lang="en-GB" b="1"/>
          </a:p>
        </p:txBody>
      </p:sp>
      <p:sp>
        <p:nvSpPr>
          <p:cNvPr id="46" name="TextBox 45">
            <a:extLst>
              <a:ext uri="{FF2B5EF4-FFF2-40B4-BE49-F238E27FC236}">
                <a16:creationId xmlns:a16="http://schemas.microsoft.com/office/drawing/2014/main" id="{6D3816F1-0249-4F3D-ACCC-4B923B9E1605}"/>
              </a:ext>
            </a:extLst>
          </p:cNvPr>
          <p:cNvSpPr txBox="1"/>
          <p:nvPr/>
        </p:nvSpPr>
        <p:spPr>
          <a:xfrm>
            <a:off x="13407523" y="8593601"/>
            <a:ext cx="4172518" cy="369332"/>
          </a:xfrm>
          <a:prstGeom prst="rect">
            <a:avLst/>
          </a:prstGeom>
          <a:noFill/>
        </p:spPr>
        <p:txBody>
          <a:bodyPr wrap="square" rtlCol="0">
            <a:spAutoFit/>
          </a:bodyPr>
          <a:lstStyle/>
          <a:p>
            <a:r>
              <a:rPr lang="sv-SE" b="1"/>
              <a:t>System </a:t>
            </a:r>
            <a:r>
              <a:rPr lang="sv-SE" b="1" err="1"/>
              <a:t>boundary</a:t>
            </a:r>
            <a:endParaRPr lang="en-GB" b="1"/>
          </a:p>
        </p:txBody>
      </p:sp>
      <p:cxnSp>
        <p:nvCxnSpPr>
          <p:cNvPr id="47" name="Straight Arrow Connector 46">
            <a:extLst>
              <a:ext uri="{FF2B5EF4-FFF2-40B4-BE49-F238E27FC236}">
                <a16:creationId xmlns:a16="http://schemas.microsoft.com/office/drawing/2014/main" id="{E2C38FB3-0609-4F99-86B9-3D1D7EE3ED9F}"/>
              </a:ext>
            </a:extLst>
          </p:cNvPr>
          <p:cNvCxnSpPr>
            <a:cxnSpLocks/>
            <a:stCxn id="50" idx="2"/>
          </p:cNvCxnSpPr>
          <p:nvPr/>
        </p:nvCxnSpPr>
        <p:spPr>
          <a:xfrm>
            <a:off x="4391984" y="4714869"/>
            <a:ext cx="3735" cy="457209"/>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C5930057-D721-44C3-ADB6-6C804EDD8325}"/>
              </a:ext>
            </a:extLst>
          </p:cNvPr>
          <p:cNvSpPr/>
          <p:nvPr/>
        </p:nvSpPr>
        <p:spPr>
          <a:xfrm>
            <a:off x="3203064" y="3994869"/>
            <a:ext cx="2377839" cy="720000"/>
          </a:xfrm>
          <a:prstGeom prst="rect">
            <a:avLst/>
          </a:prstGeom>
          <a:solidFill>
            <a:srgbClr val="99CC99"/>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b="1" err="1"/>
              <a:t>Transportation</a:t>
            </a:r>
            <a:endParaRPr lang="en-GB" b="1"/>
          </a:p>
        </p:txBody>
      </p:sp>
      <p:cxnSp>
        <p:nvCxnSpPr>
          <p:cNvPr id="58" name="Straight Arrow Connector 57">
            <a:extLst>
              <a:ext uri="{FF2B5EF4-FFF2-40B4-BE49-F238E27FC236}">
                <a16:creationId xmlns:a16="http://schemas.microsoft.com/office/drawing/2014/main" id="{8BFF47B5-932F-4060-83C7-C152CF6FE420}"/>
              </a:ext>
            </a:extLst>
          </p:cNvPr>
          <p:cNvCxnSpPr>
            <a:cxnSpLocks/>
            <a:stCxn id="6" idx="2"/>
            <a:endCxn id="50" idx="0"/>
          </p:cNvCxnSpPr>
          <p:nvPr/>
        </p:nvCxnSpPr>
        <p:spPr>
          <a:xfrm>
            <a:off x="4391984" y="3596505"/>
            <a:ext cx="0" cy="398364"/>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99DB8F3C-FF20-4F0E-A2A9-48B63E637CB7}"/>
              </a:ext>
            </a:extLst>
          </p:cNvPr>
          <p:cNvCxnSpPr>
            <a:cxnSpLocks/>
          </p:cNvCxnSpPr>
          <p:nvPr/>
        </p:nvCxnSpPr>
        <p:spPr>
          <a:xfrm flipV="1">
            <a:off x="4635854" y="5994386"/>
            <a:ext cx="867497" cy="3306"/>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id="{FFCD3CBD-ECF4-4BFC-BFCD-D8F514554739}"/>
              </a:ext>
            </a:extLst>
          </p:cNvPr>
          <p:cNvCxnSpPr>
            <a:cxnSpLocks/>
            <a:stCxn id="44" idx="3"/>
            <a:endCxn id="37" idx="1"/>
          </p:cNvCxnSpPr>
          <p:nvPr/>
        </p:nvCxnSpPr>
        <p:spPr>
          <a:xfrm>
            <a:off x="7835467" y="5994386"/>
            <a:ext cx="932877" cy="2734"/>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A802421E-B97A-4549-82C6-A6DFC8CD092D}"/>
              </a:ext>
            </a:extLst>
          </p:cNvPr>
          <p:cNvCxnSpPr>
            <a:cxnSpLocks/>
            <a:stCxn id="37" idx="3"/>
            <a:endCxn id="38" idx="1"/>
          </p:cNvCxnSpPr>
          <p:nvPr/>
        </p:nvCxnSpPr>
        <p:spPr>
          <a:xfrm>
            <a:off x="11146183" y="5997120"/>
            <a:ext cx="1072421" cy="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a16="http://schemas.microsoft.com/office/drawing/2014/main" id="{9226FD1E-620D-4CC0-BC2A-9438C4E4A00F}"/>
              </a:ext>
            </a:extLst>
          </p:cNvPr>
          <p:cNvCxnSpPr>
            <a:cxnSpLocks/>
          </p:cNvCxnSpPr>
          <p:nvPr/>
        </p:nvCxnSpPr>
        <p:spPr>
          <a:xfrm>
            <a:off x="6692271" y="6390386"/>
            <a:ext cx="0" cy="79200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26453A76-B012-4578-83F0-E640E6BE2D27}"/>
              </a:ext>
            </a:extLst>
          </p:cNvPr>
          <p:cNvCxnSpPr>
            <a:cxnSpLocks/>
            <a:stCxn id="38" idx="3"/>
          </p:cNvCxnSpPr>
          <p:nvPr/>
        </p:nvCxnSpPr>
        <p:spPr>
          <a:xfrm flipV="1">
            <a:off x="14596443" y="5980101"/>
            <a:ext cx="2902526" cy="17019"/>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77">
            <a:extLst>
              <a:ext uri="{FF2B5EF4-FFF2-40B4-BE49-F238E27FC236}">
                <a16:creationId xmlns:a16="http://schemas.microsoft.com/office/drawing/2014/main" id="{BF91B0E0-A755-4CB8-ACC8-2ED9D4E2072E}"/>
              </a:ext>
            </a:extLst>
          </p:cNvPr>
          <p:cNvCxnSpPr>
            <a:cxnSpLocks/>
          </p:cNvCxnSpPr>
          <p:nvPr/>
        </p:nvCxnSpPr>
        <p:spPr>
          <a:xfrm>
            <a:off x="10119664" y="6412497"/>
            <a:ext cx="0" cy="79200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A222CC7F-E047-4664-BCA0-91B5849BC06E}"/>
              </a:ext>
            </a:extLst>
          </p:cNvPr>
          <p:cNvCxnSpPr>
            <a:cxnSpLocks/>
          </p:cNvCxnSpPr>
          <p:nvPr/>
        </p:nvCxnSpPr>
        <p:spPr>
          <a:xfrm flipV="1">
            <a:off x="3406121" y="6390386"/>
            <a:ext cx="0" cy="82788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81" name="TextBox 80">
            <a:extLst>
              <a:ext uri="{FF2B5EF4-FFF2-40B4-BE49-F238E27FC236}">
                <a16:creationId xmlns:a16="http://schemas.microsoft.com/office/drawing/2014/main" id="{9C4440EC-7597-4ECB-B9B6-AF462F0BBB00}"/>
              </a:ext>
            </a:extLst>
          </p:cNvPr>
          <p:cNvSpPr txBox="1"/>
          <p:nvPr/>
        </p:nvSpPr>
        <p:spPr>
          <a:xfrm>
            <a:off x="15710737" y="5512254"/>
            <a:ext cx="2058412" cy="369332"/>
          </a:xfrm>
          <a:prstGeom prst="rect">
            <a:avLst/>
          </a:prstGeom>
          <a:noFill/>
        </p:spPr>
        <p:txBody>
          <a:bodyPr wrap="square" rtlCol="0">
            <a:spAutoFit/>
          </a:bodyPr>
          <a:lstStyle/>
          <a:p>
            <a:r>
              <a:rPr lang="sv-SE" b="1"/>
              <a:t>NPK </a:t>
            </a:r>
            <a:r>
              <a:rPr lang="sv-SE" b="1" err="1"/>
              <a:t>fertilizer</a:t>
            </a:r>
            <a:endParaRPr lang="en-GB" b="1"/>
          </a:p>
        </p:txBody>
      </p:sp>
      <p:sp>
        <p:nvSpPr>
          <p:cNvPr id="28" name="Rectangle 27">
            <a:extLst>
              <a:ext uri="{FF2B5EF4-FFF2-40B4-BE49-F238E27FC236}">
                <a16:creationId xmlns:a16="http://schemas.microsoft.com/office/drawing/2014/main" id="{7EF361E5-2A9F-4CEE-C142-D6D07329BDB7}"/>
              </a:ext>
            </a:extLst>
          </p:cNvPr>
          <p:cNvSpPr/>
          <p:nvPr/>
        </p:nvSpPr>
        <p:spPr>
          <a:xfrm>
            <a:off x="11443221" y="2558076"/>
            <a:ext cx="2377839" cy="1033062"/>
          </a:xfrm>
          <a:prstGeom prst="rect">
            <a:avLst/>
          </a:prstGeom>
          <a:solidFill>
            <a:srgbClr val="99CC99"/>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b="1" err="1"/>
              <a:t>Production</a:t>
            </a:r>
            <a:r>
              <a:rPr lang="sv-SE" b="1"/>
              <a:t> </a:t>
            </a:r>
            <a:r>
              <a:rPr lang="sv-SE" b="1" err="1"/>
              <a:t>of</a:t>
            </a:r>
            <a:r>
              <a:rPr lang="sv-SE" b="1"/>
              <a:t> </a:t>
            </a:r>
            <a:r>
              <a:rPr lang="sv-SE" b="1" err="1"/>
              <a:t>Utilities</a:t>
            </a:r>
            <a:endParaRPr lang="en-GB" b="1"/>
          </a:p>
        </p:txBody>
      </p:sp>
      <p:cxnSp>
        <p:nvCxnSpPr>
          <p:cNvPr id="29" name="Straight Arrow Connector 28">
            <a:extLst>
              <a:ext uri="{FF2B5EF4-FFF2-40B4-BE49-F238E27FC236}">
                <a16:creationId xmlns:a16="http://schemas.microsoft.com/office/drawing/2014/main" id="{218D411D-2F2E-E5AA-12A3-918BD4B81ECA}"/>
              </a:ext>
            </a:extLst>
          </p:cNvPr>
          <p:cNvCxnSpPr>
            <a:cxnSpLocks/>
            <a:stCxn id="30" idx="2"/>
          </p:cNvCxnSpPr>
          <p:nvPr/>
        </p:nvCxnSpPr>
        <p:spPr>
          <a:xfrm>
            <a:off x="12632141" y="4709875"/>
            <a:ext cx="3735" cy="457209"/>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9E01119F-02CF-FBC0-EB98-E4D6D39B9131}"/>
              </a:ext>
            </a:extLst>
          </p:cNvPr>
          <p:cNvSpPr/>
          <p:nvPr/>
        </p:nvSpPr>
        <p:spPr>
          <a:xfrm>
            <a:off x="11443221" y="3989875"/>
            <a:ext cx="2377839" cy="720000"/>
          </a:xfrm>
          <a:prstGeom prst="rect">
            <a:avLst/>
          </a:prstGeom>
          <a:solidFill>
            <a:srgbClr val="99CC99"/>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b="1" err="1"/>
              <a:t>Transportation</a:t>
            </a:r>
            <a:endParaRPr lang="en-GB" b="1"/>
          </a:p>
        </p:txBody>
      </p:sp>
      <p:cxnSp>
        <p:nvCxnSpPr>
          <p:cNvPr id="31" name="Straight Arrow Connector 30">
            <a:extLst>
              <a:ext uri="{FF2B5EF4-FFF2-40B4-BE49-F238E27FC236}">
                <a16:creationId xmlns:a16="http://schemas.microsoft.com/office/drawing/2014/main" id="{D49778C6-9B54-4B09-077E-1A2AC79181DB}"/>
              </a:ext>
            </a:extLst>
          </p:cNvPr>
          <p:cNvCxnSpPr>
            <a:cxnSpLocks/>
            <a:stCxn id="28" idx="2"/>
            <a:endCxn id="30" idx="0"/>
          </p:cNvCxnSpPr>
          <p:nvPr/>
        </p:nvCxnSpPr>
        <p:spPr>
          <a:xfrm>
            <a:off x="12632141" y="3591138"/>
            <a:ext cx="0" cy="398737"/>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554E0970-F279-F1C5-BD72-5E8C7DFEFB24}"/>
              </a:ext>
            </a:extLst>
          </p:cNvPr>
          <p:cNvSpPr/>
          <p:nvPr/>
        </p:nvSpPr>
        <p:spPr>
          <a:xfrm>
            <a:off x="7319957" y="2548992"/>
            <a:ext cx="2377839" cy="1033062"/>
          </a:xfrm>
          <a:prstGeom prst="rect">
            <a:avLst/>
          </a:prstGeom>
          <a:solidFill>
            <a:srgbClr val="99CC99"/>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b="1"/>
              <a:t>Generation </a:t>
            </a:r>
            <a:r>
              <a:rPr lang="sv-SE" b="1" err="1"/>
              <a:t>of</a:t>
            </a:r>
            <a:r>
              <a:rPr lang="sv-SE" b="1"/>
              <a:t> </a:t>
            </a:r>
            <a:r>
              <a:rPr lang="sv-SE" b="1" err="1"/>
              <a:t>electricity</a:t>
            </a:r>
            <a:endParaRPr lang="en-GB" b="1"/>
          </a:p>
        </p:txBody>
      </p:sp>
      <p:cxnSp>
        <p:nvCxnSpPr>
          <p:cNvPr id="40" name="Straight Arrow Connector 39">
            <a:extLst>
              <a:ext uri="{FF2B5EF4-FFF2-40B4-BE49-F238E27FC236}">
                <a16:creationId xmlns:a16="http://schemas.microsoft.com/office/drawing/2014/main" id="{33D166C1-3813-24C6-C858-DD45734162F1}"/>
              </a:ext>
            </a:extLst>
          </p:cNvPr>
          <p:cNvCxnSpPr>
            <a:cxnSpLocks/>
            <a:stCxn id="36" idx="2"/>
            <a:endCxn id="11" idx="0"/>
          </p:cNvCxnSpPr>
          <p:nvPr/>
        </p:nvCxnSpPr>
        <p:spPr>
          <a:xfrm>
            <a:off x="8508877" y="3582054"/>
            <a:ext cx="0" cy="1590254"/>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34665354"/>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1" name="Picture 12">
            <a:extLst>
              <a:ext uri="{FF2B5EF4-FFF2-40B4-BE49-F238E27FC236}">
                <a16:creationId xmlns:a16="http://schemas.microsoft.com/office/drawing/2014/main" id="{43802E0E-B79D-4EA7-8141-0CA3ED138B1A}"/>
              </a:ext>
            </a:extLst>
          </p:cNvPr>
          <p:cNvPicPr>
            <a:picLocks noChangeAspect="1"/>
          </p:cNvPicPr>
          <p:nvPr/>
        </p:nvPicPr>
        <p:blipFill>
          <a:blip r:embed="rId3"/>
          <a:srcRect/>
          <a:stretch>
            <a:fillRect/>
          </a:stretch>
        </p:blipFill>
        <p:spPr>
          <a:xfrm>
            <a:off x="0" y="8959889"/>
            <a:ext cx="5715000" cy="1385887"/>
          </a:xfrm>
          <a:prstGeom prst="rect">
            <a:avLst/>
          </a:prstGeom>
        </p:spPr>
      </p:pic>
      <p:grpSp>
        <p:nvGrpSpPr>
          <p:cNvPr id="132" name="Gruppo 2">
            <a:extLst>
              <a:ext uri="{FF2B5EF4-FFF2-40B4-BE49-F238E27FC236}">
                <a16:creationId xmlns:a16="http://schemas.microsoft.com/office/drawing/2014/main" id="{649928F6-6E82-4611-9715-AD3C75457C28}"/>
              </a:ext>
            </a:extLst>
          </p:cNvPr>
          <p:cNvGrpSpPr/>
          <p:nvPr/>
        </p:nvGrpSpPr>
        <p:grpSpPr>
          <a:xfrm>
            <a:off x="-12" y="138554"/>
            <a:ext cx="18288002" cy="681138"/>
            <a:chOff x="-12" y="138554"/>
            <a:chExt cx="18288002" cy="681138"/>
          </a:xfrm>
        </p:grpSpPr>
        <p:grpSp>
          <p:nvGrpSpPr>
            <p:cNvPr id="133" name="Gruppo 1">
              <a:extLst>
                <a:ext uri="{FF2B5EF4-FFF2-40B4-BE49-F238E27FC236}">
                  <a16:creationId xmlns:a16="http://schemas.microsoft.com/office/drawing/2014/main" id="{A8EB8794-E5C6-45EB-BAEC-2778E982797A}"/>
                </a:ext>
              </a:extLst>
            </p:cNvPr>
            <p:cNvGrpSpPr/>
            <p:nvPr/>
          </p:nvGrpSpPr>
          <p:grpSpPr>
            <a:xfrm>
              <a:off x="0" y="153125"/>
              <a:ext cx="17907000" cy="666567"/>
              <a:chOff x="0" y="153125"/>
              <a:chExt cx="17907000" cy="666567"/>
            </a:xfrm>
          </p:grpSpPr>
          <p:grpSp>
            <p:nvGrpSpPr>
              <p:cNvPr id="135" name="Gruppo 15">
                <a:extLst>
                  <a:ext uri="{FF2B5EF4-FFF2-40B4-BE49-F238E27FC236}">
                    <a16:creationId xmlns:a16="http://schemas.microsoft.com/office/drawing/2014/main" id="{AB129748-9FD7-458D-BD6E-304271C1814A}"/>
                  </a:ext>
                </a:extLst>
              </p:cNvPr>
              <p:cNvGrpSpPr/>
              <p:nvPr/>
            </p:nvGrpSpPr>
            <p:grpSpPr>
              <a:xfrm>
                <a:off x="0" y="153125"/>
                <a:ext cx="13958844" cy="666567"/>
                <a:chOff x="0" y="153125"/>
                <a:chExt cx="13958844" cy="666567"/>
              </a:xfrm>
            </p:grpSpPr>
            <p:pic>
              <p:nvPicPr>
                <p:cNvPr id="137" name="Picture 136">
                  <a:extLst>
                    <a:ext uri="{FF2B5EF4-FFF2-40B4-BE49-F238E27FC236}">
                      <a16:creationId xmlns:a16="http://schemas.microsoft.com/office/drawing/2014/main" id="{88E31CFD-796F-4F3F-A1EC-0E38F9D83456}"/>
                    </a:ext>
                  </a:extLst>
                </p:cNvPr>
                <p:cNvPicPr>
                  <a:picLocks noChangeAspect="1"/>
                </p:cNvPicPr>
                <p:nvPr/>
              </p:nvPicPr>
              <p:blipFill>
                <a:blip r:embed="rId4"/>
                <a:srcRect l="134" t="91287" b="3943"/>
                <a:stretch>
                  <a:fillRect/>
                </a:stretch>
              </p:blipFill>
              <p:spPr>
                <a:xfrm>
                  <a:off x="0" y="153125"/>
                  <a:ext cx="13958844" cy="666567"/>
                </a:xfrm>
                <a:prstGeom prst="rect">
                  <a:avLst/>
                </a:prstGeom>
              </p:spPr>
            </p:pic>
            <p:sp>
              <p:nvSpPr>
                <p:cNvPr id="138" name="TextBox 137">
                  <a:extLst>
                    <a:ext uri="{FF2B5EF4-FFF2-40B4-BE49-F238E27FC236}">
                      <a16:creationId xmlns:a16="http://schemas.microsoft.com/office/drawing/2014/main" id="{7694DADD-E227-40A7-A98D-244B0D207E54}"/>
                    </a:ext>
                  </a:extLst>
                </p:cNvPr>
                <p:cNvSpPr txBox="1"/>
                <p:nvPr/>
              </p:nvSpPr>
              <p:spPr>
                <a:xfrm>
                  <a:off x="228600" y="257980"/>
                  <a:ext cx="9296400" cy="456856"/>
                </a:xfrm>
                <a:prstGeom prst="rect">
                  <a:avLst/>
                </a:prstGeom>
              </p:spPr>
              <p:txBody>
                <a:bodyPr wrap="square" lIns="0" tIns="0" rIns="0" bIns="0" rtlCol="0" anchor="t">
                  <a:spAutoFit/>
                </a:bodyPr>
                <a:lstStyle/>
                <a:p>
                  <a:pPr>
                    <a:lnSpc>
                      <a:spcPts val="3919"/>
                    </a:lnSpc>
                    <a:spcBef>
                      <a:spcPct val="0"/>
                    </a:spcBef>
                  </a:pPr>
                  <a:endParaRPr lang="en-US" sz="2800" b="1">
                    <a:solidFill>
                      <a:srgbClr val="FFFFFF"/>
                    </a:solidFill>
                    <a:latin typeface="Arial" panose="020B0604020202020204" pitchFamily="34" charset="0"/>
                    <a:cs typeface="Arial" panose="020B0604020202020204" pitchFamily="34" charset="0"/>
                  </a:endParaRPr>
                </a:p>
              </p:txBody>
            </p:sp>
          </p:grpSp>
          <p:sp>
            <p:nvSpPr>
              <p:cNvPr id="136" name="TextBox 135">
                <a:extLst>
                  <a:ext uri="{FF2B5EF4-FFF2-40B4-BE49-F238E27FC236}">
                    <a16:creationId xmlns:a16="http://schemas.microsoft.com/office/drawing/2014/main" id="{4B3CCEBB-60EF-4175-9878-F0D51FD80FF0}"/>
                  </a:ext>
                </a:extLst>
              </p:cNvPr>
              <p:cNvSpPr txBox="1"/>
              <p:nvPr/>
            </p:nvSpPr>
            <p:spPr>
              <a:xfrm>
                <a:off x="12154296" y="257980"/>
                <a:ext cx="5752704" cy="456856"/>
              </a:xfrm>
              <a:prstGeom prst="rect">
                <a:avLst/>
              </a:prstGeom>
            </p:spPr>
            <p:txBody>
              <a:bodyPr wrap="square" lIns="0" tIns="0" rIns="0" bIns="0" rtlCol="0" anchor="t">
                <a:spAutoFit/>
              </a:bodyPr>
              <a:lstStyle/>
              <a:p>
                <a:pPr algn="r">
                  <a:lnSpc>
                    <a:spcPts val="3919"/>
                  </a:lnSpc>
                  <a:spcBef>
                    <a:spcPct val="0"/>
                  </a:spcBef>
                </a:pPr>
                <a:endParaRPr lang="en-US" sz="2800">
                  <a:solidFill>
                    <a:schemeClr val="tx1">
                      <a:lumMod val="75000"/>
                      <a:lumOff val="25000"/>
                    </a:schemeClr>
                  </a:solidFill>
                  <a:latin typeface="Arial" panose="020B0604020202020204" pitchFamily="34" charset="0"/>
                  <a:cs typeface="Arial" panose="020B0604020202020204" pitchFamily="34" charset="0"/>
                </a:endParaRPr>
              </a:p>
            </p:txBody>
          </p:sp>
        </p:grpSp>
        <p:sp>
          <p:nvSpPr>
            <p:cNvPr id="134" name="Rettangolo 13">
              <a:extLst>
                <a:ext uri="{FF2B5EF4-FFF2-40B4-BE49-F238E27FC236}">
                  <a16:creationId xmlns:a16="http://schemas.microsoft.com/office/drawing/2014/main" id="{8F0CF2A7-592A-4287-9206-D3289F1B0C37}"/>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139" name="Picture 12">
            <a:extLst>
              <a:ext uri="{FF2B5EF4-FFF2-40B4-BE49-F238E27FC236}">
                <a16:creationId xmlns:a16="http://schemas.microsoft.com/office/drawing/2014/main" id="{F047215A-40D8-4A57-BE02-5E03FCEEBB7B}"/>
              </a:ext>
            </a:extLst>
          </p:cNvPr>
          <p:cNvPicPr>
            <a:picLocks noChangeAspect="1"/>
          </p:cNvPicPr>
          <p:nvPr/>
        </p:nvPicPr>
        <p:blipFill>
          <a:blip r:embed="rId5"/>
          <a:srcRect l="134" t="91287" b="3943"/>
          <a:stretch>
            <a:fillRect/>
          </a:stretch>
        </p:blipFill>
        <p:spPr>
          <a:xfrm rot="10800000">
            <a:off x="4329146" y="9679208"/>
            <a:ext cx="13958844" cy="666567"/>
          </a:xfrm>
          <a:prstGeom prst="rect">
            <a:avLst/>
          </a:prstGeom>
        </p:spPr>
      </p:pic>
      <p:sp>
        <p:nvSpPr>
          <p:cNvPr id="140" name="TextBox 16">
            <a:extLst>
              <a:ext uri="{FF2B5EF4-FFF2-40B4-BE49-F238E27FC236}">
                <a16:creationId xmlns:a16="http://schemas.microsoft.com/office/drawing/2014/main" id="{C693B1DB-897C-4A9D-8CF3-F1423F6CB38D}"/>
              </a:ext>
            </a:extLst>
          </p:cNvPr>
          <p:cNvSpPr txBox="1"/>
          <p:nvPr/>
        </p:nvSpPr>
        <p:spPr>
          <a:xfrm>
            <a:off x="14400019" y="976230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sp>
        <p:nvSpPr>
          <p:cNvPr id="275" name="TextBox 274">
            <a:extLst>
              <a:ext uri="{FF2B5EF4-FFF2-40B4-BE49-F238E27FC236}">
                <a16:creationId xmlns:a16="http://schemas.microsoft.com/office/drawing/2014/main" id="{18F9B2C4-9238-753A-5524-A6082AD1087E}"/>
              </a:ext>
            </a:extLst>
          </p:cNvPr>
          <p:cNvSpPr txBox="1"/>
          <p:nvPr/>
        </p:nvSpPr>
        <p:spPr>
          <a:xfrm>
            <a:off x="1533538" y="2217069"/>
            <a:ext cx="15014501" cy="523220"/>
          </a:xfrm>
          <a:prstGeom prst="rect">
            <a:avLst/>
          </a:prstGeom>
          <a:solidFill>
            <a:schemeClr val="accent2">
              <a:lumMod val="60000"/>
              <a:lumOff val="40000"/>
            </a:schemeClr>
          </a:solidFill>
        </p:spPr>
        <p:txBody>
          <a:bodyPr wrap="square" rIns="90000" anchor="ctr" anchorCtr="0">
            <a:spAutoFit/>
          </a:bodyPr>
          <a:lstStyle/>
          <a:p>
            <a:pPr algn="ctr"/>
            <a:endParaRPr lang="sv-SE" sz="2800"/>
          </a:p>
        </p:txBody>
      </p:sp>
      <p:sp>
        <p:nvSpPr>
          <p:cNvPr id="276" name="TextBox 275">
            <a:extLst>
              <a:ext uri="{FF2B5EF4-FFF2-40B4-BE49-F238E27FC236}">
                <a16:creationId xmlns:a16="http://schemas.microsoft.com/office/drawing/2014/main" id="{23F49CDA-BC36-C7E5-B9CD-42DA77A33D92}"/>
              </a:ext>
            </a:extLst>
          </p:cNvPr>
          <p:cNvSpPr txBox="1"/>
          <p:nvPr/>
        </p:nvSpPr>
        <p:spPr>
          <a:xfrm>
            <a:off x="973003" y="1139851"/>
            <a:ext cx="18288012" cy="1077218"/>
          </a:xfrm>
          <a:prstGeom prst="rect">
            <a:avLst/>
          </a:prstGeom>
          <a:noFill/>
        </p:spPr>
        <p:txBody>
          <a:bodyPr wrap="square">
            <a:spAutoFit/>
          </a:bodyPr>
          <a:lstStyle/>
          <a:p>
            <a:pPr algn="ctr"/>
            <a:r>
              <a:rPr lang="sv-SE" sz="6400" b="1">
                <a:solidFill>
                  <a:srgbClr val="CC0033"/>
                </a:solidFill>
                <a:latin typeface="+mj-lt"/>
                <a:cs typeface="Arial" panose="020B0604020202020204" pitchFamily="34" charset="0"/>
              </a:rPr>
              <a:t>- Step 2: </a:t>
            </a:r>
            <a:r>
              <a:rPr lang="sv-SE" sz="6400" b="1" err="1">
                <a:solidFill>
                  <a:srgbClr val="CC0033"/>
                </a:solidFill>
                <a:latin typeface="+mj-lt"/>
                <a:cs typeface="Arial" panose="020B0604020202020204" pitchFamily="34" charset="0"/>
              </a:rPr>
              <a:t>Inventory</a:t>
            </a:r>
            <a:r>
              <a:rPr lang="sv-SE" sz="6400" b="1">
                <a:solidFill>
                  <a:srgbClr val="CC0033"/>
                </a:solidFill>
                <a:latin typeface="+mj-lt"/>
                <a:cs typeface="Arial" panose="020B0604020202020204" pitchFamily="34" charset="0"/>
              </a:rPr>
              <a:t> </a:t>
            </a:r>
            <a:r>
              <a:rPr lang="sv-SE" sz="6400" b="1" err="1">
                <a:solidFill>
                  <a:srgbClr val="CC0033"/>
                </a:solidFill>
                <a:latin typeface="+mj-lt"/>
                <a:cs typeface="Arial" panose="020B0604020202020204" pitchFamily="34" charset="0"/>
              </a:rPr>
              <a:t>analysis</a:t>
            </a:r>
            <a:endParaRPr lang="sv-SE" sz="6400" b="1">
              <a:solidFill>
                <a:srgbClr val="CC0033"/>
              </a:solidFill>
              <a:latin typeface="+mj-lt"/>
              <a:cs typeface="Arial" panose="020B0604020202020204" pitchFamily="34" charset="0"/>
            </a:endParaRPr>
          </a:p>
        </p:txBody>
      </p:sp>
      <p:pic>
        <p:nvPicPr>
          <p:cNvPr id="277" name="Picture 276" descr="RETROFEED FERTIBERIA">
            <a:extLst>
              <a:ext uri="{FF2B5EF4-FFF2-40B4-BE49-F238E27FC236}">
                <a16:creationId xmlns:a16="http://schemas.microsoft.com/office/drawing/2014/main" id="{13D4CF92-1DBE-F158-BA77-B8A6CA0F45B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445908" y="1093790"/>
            <a:ext cx="2287452" cy="841782"/>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C2EF1DC9-7FEC-7BCA-D807-25A69AE71820}"/>
              </a:ext>
            </a:extLst>
          </p:cNvPr>
          <p:cNvSpPr txBox="1"/>
          <p:nvPr/>
        </p:nvSpPr>
        <p:spPr>
          <a:xfrm>
            <a:off x="1533537" y="2761529"/>
            <a:ext cx="15014501" cy="6124754"/>
          </a:xfrm>
          <a:prstGeom prst="rect">
            <a:avLst/>
          </a:prstGeom>
          <a:noFill/>
        </p:spPr>
        <p:txBody>
          <a:bodyPr wrap="square">
            <a:spAutoFit/>
          </a:bodyPr>
          <a:lstStyle/>
          <a:p>
            <a:r>
              <a:rPr lang="en-US" sz="2800" b="1" dirty="0"/>
              <a:t>Create a flowchart according to defined boundary conditions:</a:t>
            </a:r>
          </a:p>
          <a:p>
            <a:r>
              <a:rPr lang="en-US" sz="2800" dirty="0"/>
              <a:t>The flowchart included all inputs and outputs of each step of the system. This included upstream processes such as production of raw material and energy, as well as the transport of raw material and the production of fertilizer.</a:t>
            </a:r>
          </a:p>
          <a:p>
            <a:endParaRPr lang="en-US" sz="2800" b="1" dirty="0"/>
          </a:p>
          <a:p>
            <a:r>
              <a:rPr lang="en-US" sz="2800" b="1" dirty="0"/>
              <a:t>Collect data for all activities</a:t>
            </a:r>
          </a:p>
          <a:p>
            <a:r>
              <a:rPr lang="en-US" sz="2800" dirty="0"/>
              <a:t>The in- and outputs required for the model were collected through discussions with contacts at </a:t>
            </a:r>
            <a:r>
              <a:rPr lang="en-US" sz="2800" dirty="0" err="1"/>
              <a:t>Fertiberia</a:t>
            </a:r>
            <a:r>
              <a:rPr lang="en-US" sz="2800" dirty="0"/>
              <a:t>. A model, based on the flowchart, was made in </a:t>
            </a:r>
            <a:r>
              <a:rPr lang="en-US" sz="2800" dirty="0" err="1"/>
              <a:t>GaBi</a:t>
            </a:r>
            <a:r>
              <a:rPr lang="en-US" sz="2800" dirty="0"/>
              <a:t> and the data collected was added to the model.</a:t>
            </a:r>
          </a:p>
          <a:p>
            <a:endParaRPr lang="en-US" sz="2800" b="1" dirty="0"/>
          </a:p>
          <a:p>
            <a:r>
              <a:rPr lang="en-US" sz="2800" b="1" dirty="0"/>
              <a:t>Calculate the amount of resources used and emissions in relation to the functional unit</a:t>
            </a:r>
          </a:p>
          <a:p>
            <a:r>
              <a:rPr lang="en-US" sz="2800" dirty="0"/>
              <a:t>The amount resources used and emissions from the system were calculated in relation to the functional unit (</a:t>
            </a:r>
            <a:r>
              <a:rPr lang="en-US" sz="2800" dirty="0" err="1"/>
              <a:t>tonne</a:t>
            </a:r>
            <a:r>
              <a:rPr lang="en-US" sz="2800" dirty="0"/>
              <a:t> fertilizer) by using the model developed in the </a:t>
            </a:r>
            <a:r>
              <a:rPr lang="en-US" sz="2800" dirty="0" err="1"/>
              <a:t>GaBi</a:t>
            </a:r>
            <a:r>
              <a:rPr lang="en-US" sz="2800" dirty="0"/>
              <a:t> software.</a:t>
            </a:r>
          </a:p>
          <a:p>
            <a:endParaRPr lang="en-US" sz="2800" dirty="0"/>
          </a:p>
        </p:txBody>
      </p:sp>
    </p:spTree>
    <p:extLst>
      <p:ext uri="{BB962C8B-B14F-4D97-AF65-F5344CB8AC3E}">
        <p14:creationId xmlns:p14="http://schemas.microsoft.com/office/powerpoint/2010/main" val="2568067273"/>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1" name="Picture 350" descr="Graphical user interface, application&#10;&#10;Description automatically generated">
            <a:extLst>
              <a:ext uri="{FF2B5EF4-FFF2-40B4-BE49-F238E27FC236}">
                <a16:creationId xmlns:a16="http://schemas.microsoft.com/office/drawing/2014/main" id="{83260BE5-D63B-A98E-F44A-C7E40EA410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22456" y="2964507"/>
            <a:ext cx="14303980" cy="6309907"/>
          </a:xfrm>
          <a:prstGeom prst="rect">
            <a:avLst/>
          </a:prstGeom>
          <a:ln w="38100">
            <a:solidFill>
              <a:schemeClr val="tx1"/>
            </a:solidFill>
          </a:ln>
        </p:spPr>
      </p:pic>
      <p:sp>
        <p:nvSpPr>
          <p:cNvPr id="263" name="Rectangle 262">
            <a:extLst>
              <a:ext uri="{FF2B5EF4-FFF2-40B4-BE49-F238E27FC236}">
                <a16:creationId xmlns:a16="http://schemas.microsoft.com/office/drawing/2014/main" id="{52A417C2-884C-D086-0422-1459D0519650}"/>
              </a:ext>
            </a:extLst>
          </p:cNvPr>
          <p:cNvSpPr/>
          <p:nvPr/>
        </p:nvSpPr>
        <p:spPr>
          <a:xfrm>
            <a:off x="13960940" y="4531108"/>
            <a:ext cx="1001902" cy="336169"/>
          </a:xfrm>
          <a:prstGeom prst="rect">
            <a:avLst/>
          </a:prstGeom>
          <a:noFill/>
          <a:ln w="38100">
            <a:solidFill>
              <a:schemeClr val="accent1"/>
            </a:solid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pic>
        <p:nvPicPr>
          <p:cNvPr id="131" name="Picture 12">
            <a:extLst>
              <a:ext uri="{FF2B5EF4-FFF2-40B4-BE49-F238E27FC236}">
                <a16:creationId xmlns:a16="http://schemas.microsoft.com/office/drawing/2014/main" id="{43802E0E-B79D-4EA7-8141-0CA3ED138B1A}"/>
              </a:ext>
            </a:extLst>
          </p:cNvPr>
          <p:cNvPicPr>
            <a:picLocks noChangeAspect="1"/>
          </p:cNvPicPr>
          <p:nvPr/>
        </p:nvPicPr>
        <p:blipFill>
          <a:blip r:embed="rId4"/>
          <a:srcRect/>
          <a:stretch>
            <a:fillRect/>
          </a:stretch>
        </p:blipFill>
        <p:spPr>
          <a:xfrm>
            <a:off x="0" y="8959889"/>
            <a:ext cx="5715000" cy="1385887"/>
          </a:xfrm>
          <a:prstGeom prst="rect">
            <a:avLst/>
          </a:prstGeom>
        </p:spPr>
      </p:pic>
      <p:grpSp>
        <p:nvGrpSpPr>
          <p:cNvPr id="132" name="Gruppo 2">
            <a:extLst>
              <a:ext uri="{FF2B5EF4-FFF2-40B4-BE49-F238E27FC236}">
                <a16:creationId xmlns:a16="http://schemas.microsoft.com/office/drawing/2014/main" id="{649928F6-6E82-4611-9715-AD3C75457C28}"/>
              </a:ext>
            </a:extLst>
          </p:cNvPr>
          <p:cNvGrpSpPr/>
          <p:nvPr/>
        </p:nvGrpSpPr>
        <p:grpSpPr>
          <a:xfrm>
            <a:off x="-12" y="138554"/>
            <a:ext cx="18288002" cy="681138"/>
            <a:chOff x="-12" y="138554"/>
            <a:chExt cx="18288002" cy="681138"/>
          </a:xfrm>
        </p:grpSpPr>
        <p:grpSp>
          <p:nvGrpSpPr>
            <p:cNvPr id="133" name="Gruppo 1">
              <a:extLst>
                <a:ext uri="{FF2B5EF4-FFF2-40B4-BE49-F238E27FC236}">
                  <a16:creationId xmlns:a16="http://schemas.microsoft.com/office/drawing/2014/main" id="{A8EB8794-E5C6-45EB-BAEC-2778E982797A}"/>
                </a:ext>
              </a:extLst>
            </p:cNvPr>
            <p:cNvGrpSpPr/>
            <p:nvPr/>
          </p:nvGrpSpPr>
          <p:grpSpPr>
            <a:xfrm>
              <a:off x="0" y="153125"/>
              <a:ext cx="17907000" cy="666567"/>
              <a:chOff x="0" y="153125"/>
              <a:chExt cx="17907000" cy="666567"/>
            </a:xfrm>
          </p:grpSpPr>
          <p:grpSp>
            <p:nvGrpSpPr>
              <p:cNvPr id="135" name="Gruppo 15">
                <a:extLst>
                  <a:ext uri="{FF2B5EF4-FFF2-40B4-BE49-F238E27FC236}">
                    <a16:creationId xmlns:a16="http://schemas.microsoft.com/office/drawing/2014/main" id="{AB129748-9FD7-458D-BD6E-304271C1814A}"/>
                  </a:ext>
                </a:extLst>
              </p:cNvPr>
              <p:cNvGrpSpPr/>
              <p:nvPr/>
            </p:nvGrpSpPr>
            <p:grpSpPr>
              <a:xfrm>
                <a:off x="0" y="153125"/>
                <a:ext cx="13958844" cy="666567"/>
                <a:chOff x="0" y="153125"/>
                <a:chExt cx="13958844" cy="666567"/>
              </a:xfrm>
            </p:grpSpPr>
            <p:pic>
              <p:nvPicPr>
                <p:cNvPr id="137" name="Picture 136">
                  <a:extLst>
                    <a:ext uri="{FF2B5EF4-FFF2-40B4-BE49-F238E27FC236}">
                      <a16:creationId xmlns:a16="http://schemas.microsoft.com/office/drawing/2014/main" id="{88E31CFD-796F-4F3F-A1EC-0E38F9D83456}"/>
                    </a:ext>
                  </a:extLst>
                </p:cNvPr>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38" name="TextBox 137">
                  <a:extLst>
                    <a:ext uri="{FF2B5EF4-FFF2-40B4-BE49-F238E27FC236}">
                      <a16:creationId xmlns:a16="http://schemas.microsoft.com/office/drawing/2014/main" id="{7694DADD-E227-40A7-A98D-244B0D207E54}"/>
                    </a:ext>
                  </a:extLst>
                </p:cNvPr>
                <p:cNvSpPr txBox="1"/>
                <p:nvPr/>
              </p:nvSpPr>
              <p:spPr>
                <a:xfrm>
                  <a:off x="228600" y="257980"/>
                  <a:ext cx="9296400" cy="456856"/>
                </a:xfrm>
                <a:prstGeom prst="rect">
                  <a:avLst/>
                </a:prstGeom>
              </p:spPr>
              <p:txBody>
                <a:bodyPr wrap="square" lIns="0" tIns="0" rIns="0" bIns="0" rtlCol="0" anchor="t">
                  <a:spAutoFit/>
                </a:bodyPr>
                <a:lstStyle/>
                <a:p>
                  <a:pPr>
                    <a:lnSpc>
                      <a:spcPts val="3919"/>
                    </a:lnSpc>
                    <a:spcBef>
                      <a:spcPct val="0"/>
                    </a:spcBef>
                  </a:pPr>
                  <a:endParaRPr lang="en-US" sz="2800" b="1">
                    <a:solidFill>
                      <a:srgbClr val="FFFFFF"/>
                    </a:solidFill>
                    <a:latin typeface="Arial" panose="020B0604020202020204" pitchFamily="34" charset="0"/>
                    <a:cs typeface="Arial" panose="020B0604020202020204" pitchFamily="34" charset="0"/>
                  </a:endParaRPr>
                </a:p>
              </p:txBody>
            </p:sp>
          </p:grpSp>
          <p:sp>
            <p:nvSpPr>
              <p:cNvPr id="136" name="TextBox 135">
                <a:extLst>
                  <a:ext uri="{FF2B5EF4-FFF2-40B4-BE49-F238E27FC236}">
                    <a16:creationId xmlns:a16="http://schemas.microsoft.com/office/drawing/2014/main" id="{4B3CCEBB-60EF-4175-9878-F0D51FD80FF0}"/>
                  </a:ext>
                </a:extLst>
              </p:cNvPr>
              <p:cNvSpPr txBox="1"/>
              <p:nvPr/>
            </p:nvSpPr>
            <p:spPr>
              <a:xfrm>
                <a:off x="12154296" y="257980"/>
                <a:ext cx="5752704" cy="456856"/>
              </a:xfrm>
              <a:prstGeom prst="rect">
                <a:avLst/>
              </a:prstGeom>
            </p:spPr>
            <p:txBody>
              <a:bodyPr wrap="square" lIns="0" tIns="0" rIns="0" bIns="0" rtlCol="0" anchor="t">
                <a:spAutoFit/>
              </a:bodyPr>
              <a:lstStyle/>
              <a:p>
                <a:pPr algn="r">
                  <a:lnSpc>
                    <a:spcPts val="3919"/>
                  </a:lnSpc>
                  <a:spcBef>
                    <a:spcPct val="0"/>
                  </a:spcBef>
                </a:pPr>
                <a:endParaRPr lang="en-US" sz="2800">
                  <a:solidFill>
                    <a:schemeClr val="tx1">
                      <a:lumMod val="75000"/>
                      <a:lumOff val="25000"/>
                    </a:schemeClr>
                  </a:solidFill>
                  <a:latin typeface="Arial" panose="020B0604020202020204" pitchFamily="34" charset="0"/>
                  <a:cs typeface="Arial" panose="020B0604020202020204" pitchFamily="34" charset="0"/>
                </a:endParaRPr>
              </a:p>
            </p:txBody>
          </p:sp>
        </p:grpSp>
        <p:sp>
          <p:nvSpPr>
            <p:cNvPr id="134" name="Rettangolo 13">
              <a:extLst>
                <a:ext uri="{FF2B5EF4-FFF2-40B4-BE49-F238E27FC236}">
                  <a16:creationId xmlns:a16="http://schemas.microsoft.com/office/drawing/2014/main" id="{8F0CF2A7-592A-4287-9206-D3289F1B0C37}"/>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139" name="Picture 12">
            <a:extLst>
              <a:ext uri="{FF2B5EF4-FFF2-40B4-BE49-F238E27FC236}">
                <a16:creationId xmlns:a16="http://schemas.microsoft.com/office/drawing/2014/main" id="{F047215A-40D8-4A57-BE02-5E03FCEEBB7B}"/>
              </a:ext>
            </a:extLst>
          </p:cNvPr>
          <p:cNvPicPr>
            <a:picLocks noChangeAspect="1"/>
          </p:cNvPicPr>
          <p:nvPr/>
        </p:nvPicPr>
        <p:blipFill>
          <a:blip r:embed="rId6"/>
          <a:srcRect l="134" t="91287" b="3943"/>
          <a:stretch>
            <a:fillRect/>
          </a:stretch>
        </p:blipFill>
        <p:spPr>
          <a:xfrm rot="10800000">
            <a:off x="4329146" y="9679208"/>
            <a:ext cx="13958844" cy="666567"/>
          </a:xfrm>
          <a:prstGeom prst="rect">
            <a:avLst/>
          </a:prstGeom>
        </p:spPr>
      </p:pic>
      <p:sp>
        <p:nvSpPr>
          <p:cNvPr id="140" name="TextBox 16">
            <a:extLst>
              <a:ext uri="{FF2B5EF4-FFF2-40B4-BE49-F238E27FC236}">
                <a16:creationId xmlns:a16="http://schemas.microsoft.com/office/drawing/2014/main" id="{C693B1DB-897C-4A9D-8CF3-F1423F6CB38D}"/>
              </a:ext>
            </a:extLst>
          </p:cNvPr>
          <p:cNvSpPr txBox="1"/>
          <p:nvPr/>
        </p:nvSpPr>
        <p:spPr>
          <a:xfrm>
            <a:off x="14400019" y="976230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sp>
        <p:nvSpPr>
          <p:cNvPr id="275" name="TextBox 274">
            <a:extLst>
              <a:ext uri="{FF2B5EF4-FFF2-40B4-BE49-F238E27FC236}">
                <a16:creationId xmlns:a16="http://schemas.microsoft.com/office/drawing/2014/main" id="{18F9B2C4-9238-753A-5524-A6082AD1087E}"/>
              </a:ext>
            </a:extLst>
          </p:cNvPr>
          <p:cNvSpPr txBox="1"/>
          <p:nvPr/>
        </p:nvSpPr>
        <p:spPr>
          <a:xfrm>
            <a:off x="873350" y="2009727"/>
            <a:ext cx="16541277" cy="830997"/>
          </a:xfrm>
          <a:prstGeom prst="rect">
            <a:avLst/>
          </a:prstGeom>
          <a:solidFill>
            <a:schemeClr val="accent2">
              <a:lumMod val="60000"/>
              <a:lumOff val="40000"/>
            </a:schemeClr>
          </a:solidFill>
        </p:spPr>
        <p:txBody>
          <a:bodyPr wrap="square" rIns="90000" anchor="ctr" anchorCtr="0">
            <a:spAutoFit/>
          </a:bodyPr>
          <a:lstStyle/>
          <a:p>
            <a:pPr algn="ctr"/>
            <a:r>
              <a:rPr lang="en-US" sz="2400" b="0" i="0">
                <a:solidFill>
                  <a:srgbClr val="000000"/>
                </a:solidFill>
                <a:effectLst/>
                <a:latin typeface="Arial" panose="020B0604020202020204" pitchFamily="34" charset="0"/>
              </a:rPr>
              <a:t>The GaBi LCA software is a tool </a:t>
            </a:r>
            <a:r>
              <a:rPr lang="en-US" sz="2400">
                <a:solidFill>
                  <a:srgbClr val="000000"/>
                </a:solidFill>
                <a:latin typeface="Arial" panose="020B0604020202020204" pitchFamily="34" charset="0"/>
              </a:rPr>
              <a:t>used for impact assessment. </a:t>
            </a:r>
            <a:r>
              <a:rPr lang="en-US" sz="2400" b="0" i="0">
                <a:solidFill>
                  <a:srgbClr val="000000"/>
                </a:solidFill>
                <a:effectLst/>
                <a:latin typeface="Arial" panose="020B0604020202020204" pitchFamily="34" charset="0"/>
              </a:rPr>
              <a:t>The image shows the model made in GaBi of the </a:t>
            </a:r>
            <a:r>
              <a:rPr lang="en-US" sz="2400" b="0" i="0" err="1">
                <a:solidFill>
                  <a:srgbClr val="000000"/>
                </a:solidFill>
                <a:effectLst/>
                <a:latin typeface="Arial" panose="020B0604020202020204" pitchFamily="34" charset="0"/>
              </a:rPr>
              <a:t>Fertiberia</a:t>
            </a:r>
            <a:r>
              <a:rPr lang="en-US" sz="2400" b="0" i="0">
                <a:solidFill>
                  <a:srgbClr val="000000"/>
                </a:solidFill>
                <a:effectLst/>
                <a:latin typeface="Arial" panose="020B0604020202020204" pitchFamily="34" charset="0"/>
              </a:rPr>
              <a:t> plant </a:t>
            </a:r>
            <a:r>
              <a:rPr lang="en-US" sz="2400" b="1" i="0">
                <a:solidFill>
                  <a:srgbClr val="000000"/>
                </a:solidFill>
                <a:effectLst/>
                <a:latin typeface="Arial" panose="020B0604020202020204" pitchFamily="34" charset="0"/>
              </a:rPr>
              <a:t>before the retrofit</a:t>
            </a:r>
            <a:r>
              <a:rPr lang="en-US" sz="2400" b="0" i="0">
                <a:solidFill>
                  <a:srgbClr val="000000"/>
                </a:solidFill>
                <a:effectLst/>
                <a:latin typeface="Arial" panose="020B0604020202020204" pitchFamily="34" charset="0"/>
              </a:rPr>
              <a:t> was made. Press the different units to learn more about what is included in an LCA-model.</a:t>
            </a:r>
            <a:endParaRPr lang="sv-SE" sz="2400"/>
          </a:p>
        </p:txBody>
      </p:sp>
      <p:sp>
        <p:nvSpPr>
          <p:cNvPr id="2" name="TextBox 1">
            <a:extLst>
              <a:ext uri="{FF2B5EF4-FFF2-40B4-BE49-F238E27FC236}">
                <a16:creationId xmlns:a16="http://schemas.microsoft.com/office/drawing/2014/main" id="{E6952B7B-6F57-C9CA-59AF-0AEF96C6CAE6}"/>
              </a:ext>
            </a:extLst>
          </p:cNvPr>
          <p:cNvSpPr txBox="1"/>
          <p:nvPr/>
        </p:nvSpPr>
        <p:spPr>
          <a:xfrm>
            <a:off x="1155638" y="840910"/>
            <a:ext cx="18288012" cy="1077218"/>
          </a:xfrm>
          <a:prstGeom prst="rect">
            <a:avLst/>
          </a:prstGeom>
          <a:noFill/>
        </p:spPr>
        <p:txBody>
          <a:bodyPr wrap="square">
            <a:spAutoFit/>
          </a:bodyPr>
          <a:lstStyle/>
          <a:p>
            <a:pPr algn="ctr"/>
            <a:r>
              <a:rPr lang="sv-SE" sz="6400" b="1">
                <a:solidFill>
                  <a:srgbClr val="CC0033"/>
                </a:solidFill>
                <a:latin typeface="+mj-lt"/>
                <a:cs typeface="Arial" panose="020B0604020202020204" pitchFamily="34" charset="0"/>
              </a:rPr>
              <a:t>- LCA </a:t>
            </a:r>
            <a:r>
              <a:rPr lang="sv-SE" sz="6400" b="1" err="1">
                <a:solidFill>
                  <a:srgbClr val="CC0033"/>
                </a:solidFill>
                <a:latin typeface="+mj-lt"/>
                <a:cs typeface="Arial" panose="020B0604020202020204" pitchFamily="34" charset="0"/>
              </a:rPr>
              <a:t>model</a:t>
            </a:r>
            <a:r>
              <a:rPr lang="sv-SE" sz="6400" b="1">
                <a:solidFill>
                  <a:srgbClr val="CC0033"/>
                </a:solidFill>
                <a:latin typeface="+mj-lt"/>
                <a:cs typeface="Arial" panose="020B0604020202020204" pitchFamily="34" charset="0"/>
              </a:rPr>
              <a:t> </a:t>
            </a:r>
            <a:r>
              <a:rPr lang="sv-SE" sz="6400" b="1" err="1">
                <a:solidFill>
                  <a:srgbClr val="CC0033"/>
                </a:solidFill>
                <a:latin typeface="+mj-lt"/>
                <a:cs typeface="Arial" panose="020B0604020202020204" pitchFamily="34" charset="0"/>
              </a:rPr>
              <a:t>of</a:t>
            </a:r>
            <a:r>
              <a:rPr lang="sv-SE" sz="6400" b="1">
                <a:solidFill>
                  <a:srgbClr val="CC0033"/>
                </a:solidFill>
                <a:latin typeface="+mj-lt"/>
                <a:cs typeface="Arial" panose="020B0604020202020204" pitchFamily="34" charset="0"/>
              </a:rPr>
              <a:t> </a:t>
            </a:r>
            <a:r>
              <a:rPr lang="sv-SE" sz="6400" b="1" err="1">
                <a:solidFill>
                  <a:srgbClr val="CC0033"/>
                </a:solidFill>
                <a:latin typeface="+mj-lt"/>
                <a:cs typeface="Arial" panose="020B0604020202020204" pitchFamily="34" charset="0"/>
              </a:rPr>
              <a:t>Fertiberia’s</a:t>
            </a:r>
            <a:r>
              <a:rPr lang="sv-SE" sz="6400" b="1">
                <a:solidFill>
                  <a:srgbClr val="CC0033"/>
                </a:solidFill>
                <a:latin typeface="+mj-lt"/>
                <a:cs typeface="Arial" panose="020B0604020202020204" pitchFamily="34" charset="0"/>
              </a:rPr>
              <a:t> plant</a:t>
            </a:r>
          </a:p>
        </p:txBody>
      </p:sp>
      <p:pic>
        <p:nvPicPr>
          <p:cNvPr id="3" name="Picture 2" descr="RETROFEED FERTIBERIA">
            <a:extLst>
              <a:ext uri="{FF2B5EF4-FFF2-40B4-BE49-F238E27FC236}">
                <a16:creationId xmlns:a16="http://schemas.microsoft.com/office/drawing/2014/main" id="{0747CCE6-3A71-F152-584D-40D93DD5861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19429" y="840910"/>
            <a:ext cx="2287452" cy="841782"/>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2B8288C4-C135-2338-055A-AEA1D6F82B42}"/>
              </a:ext>
            </a:extLst>
          </p:cNvPr>
          <p:cNvSpPr/>
          <p:nvPr/>
        </p:nvSpPr>
        <p:spPr>
          <a:xfrm rot="16200000">
            <a:off x="1661539" y="4307313"/>
            <a:ext cx="1247907" cy="91977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9E3FF00C-312A-18A0-870A-40F1A82FFBB4}"/>
              </a:ext>
            </a:extLst>
          </p:cNvPr>
          <p:cNvSpPr/>
          <p:nvPr/>
        </p:nvSpPr>
        <p:spPr>
          <a:xfrm rot="16200000">
            <a:off x="1659666" y="5703027"/>
            <a:ext cx="1247907" cy="91977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TextBox 14">
            <a:extLst>
              <a:ext uri="{FF2B5EF4-FFF2-40B4-BE49-F238E27FC236}">
                <a16:creationId xmlns:a16="http://schemas.microsoft.com/office/drawing/2014/main" id="{A6752D44-508C-FA00-63A5-EA8640135AD5}"/>
              </a:ext>
            </a:extLst>
          </p:cNvPr>
          <p:cNvSpPr txBox="1"/>
          <p:nvPr/>
        </p:nvSpPr>
        <p:spPr>
          <a:xfrm>
            <a:off x="6558361" y="3124931"/>
            <a:ext cx="983673" cy="276999"/>
          </a:xfrm>
          <a:prstGeom prst="rect">
            <a:avLst/>
          </a:prstGeom>
          <a:solidFill>
            <a:srgbClr val="FF0101"/>
          </a:solidFill>
          <a:ln>
            <a:solidFill>
              <a:srgbClr val="FF0101"/>
            </a:solidFill>
          </a:ln>
        </p:spPr>
        <p:txBody>
          <a:bodyPr wrap="square" rtlCol="0">
            <a:spAutoFit/>
          </a:bodyPr>
          <a:lstStyle/>
          <a:p>
            <a:pPr algn="ctr"/>
            <a:r>
              <a:rPr lang="en-US" sz="1200" dirty="0">
                <a:solidFill>
                  <a:schemeClr val="bg1"/>
                </a:solidFill>
              </a:rPr>
              <a:t>Waste heat</a:t>
            </a:r>
          </a:p>
        </p:txBody>
      </p:sp>
      <p:sp>
        <p:nvSpPr>
          <p:cNvPr id="19" name="Rectangle 18">
            <a:extLst>
              <a:ext uri="{FF2B5EF4-FFF2-40B4-BE49-F238E27FC236}">
                <a16:creationId xmlns:a16="http://schemas.microsoft.com/office/drawing/2014/main" id="{00A5E099-C439-4AD7-655B-CE9637D9E56F}"/>
              </a:ext>
            </a:extLst>
          </p:cNvPr>
          <p:cNvSpPr/>
          <p:nvPr/>
        </p:nvSpPr>
        <p:spPr>
          <a:xfrm rot="16200000">
            <a:off x="5454692" y="3887856"/>
            <a:ext cx="109667" cy="620445"/>
          </a:xfrm>
          <a:prstGeom prst="rect">
            <a:avLst/>
          </a:prstGeom>
          <a:solidFill>
            <a:srgbClr val="008040"/>
          </a:solidFill>
          <a:ln>
            <a:solidFill>
              <a:srgbClr val="008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a:extLst>
              <a:ext uri="{FF2B5EF4-FFF2-40B4-BE49-F238E27FC236}">
                <a16:creationId xmlns:a16="http://schemas.microsoft.com/office/drawing/2014/main" id="{F831A629-FF0B-0654-5998-B64E0CB34324}"/>
              </a:ext>
            </a:extLst>
          </p:cNvPr>
          <p:cNvSpPr/>
          <p:nvPr/>
        </p:nvSpPr>
        <p:spPr>
          <a:xfrm rot="16200000">
            <a:off x="4960572" y="6614554"/>
            <a:ext cx="1247907" cy="91977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Rectangle 23">
            <a:extLst>
              <a:ext uri="{FF2B5EF4-FFF2-40B4-BE49-F238E27FC236}">
                <a16:creationId xmlns:a16="http://schemas.microsoft.com/office/drawing/2014/main" id="{8220DA64-833A-5D88-7BA3-C4C2DB8ED40D}"/>
              </a:ext>
            </a:extLst>
          </p:cNvPr>
          <p:cNvSpPr/>
          <p:nvPr/>
        </p:nvSpPr>
        <p:spPr>
          <a:xfrm rot="16200000">
            <a:off x="9837925" y="4847222"/>
            <a:ext cx="1247907" cy="91977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Rectangle 24">
            <a:extLst>
              <a:ext uri="{FF2B5EF4-FFF2-40B4-BE49-F238E27FC236}">
                <a16:creationId xmlns:a16="http://schemas.microsoft.com/office/drawing/2014/main" id="{08B526FF-3AEF-40A1-480A-210EF3CAE7FC}"/>
              </a:ext>
            </a:extLst>
          </p:cNvPr>
          <p:cNvSpPr/>
          <p:nvPr/>
        </p:nvSpPr>
        <p:spPr>
          <a:xfrm rot="16200000">
            <a:off x="13484144" y="4494616"/>
            <a:ext cx="391112" cy="39983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6" name="Rectangle 275">
            <a:extLst>
              <a:ext uri="{FF2B5EF4-FFF2-40B4-BE49-F238E27FC236}">
                <a16:creationId xmlns:a16="http://schemas.microsoft.com/office/drawing/2014/main" id="{647206B6-39EE-ECBD-036A-4242B82C71D8}"/>
              </a:ext>
            </a:extLst>
          </p:cNvPr>
          <p:cNvSpPr/>
          <p:nvPr/>
        </p:nvSpPr>
        <p:spPr>
          <a:xfrm rot="16200000">
            <a:off x="4848523" y="7903510"/>
            <a:ext cx="1247907" cy="91977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87" name="Group 286">
            <a:extLst>
              <a:ext uri="{FF2B5EF4-FFF2-40B4-BE49-F238E27FC236}">
                <a16:creationId xmlns:a16="http://schemas.microsoft.com/office/drawing/2014/main" id="{BDB127AC-1042-8FBC-3105-77D66CBA8EB8}"/>
              </a:ext>
            </a:extLst>
          </p:cNvPr>
          <p:cNvGrpSpPr/>
          <p:nvPr/>
        </p:nvGrpSpPr>
        <p:grpSpPr>
          <a:xfrm>
            <a:off x="2355468" y="3111092"/>
            <a:ext cx="13515315" cy="5932181"/>
            <a:chOff x="2355468" y="3111092"/>
            <a:chExt cx="13515315" cy="5932181"/>
          </a:xfrm>
        </p:grpSpPr>
        <p:sp>
          <p:nvSpPr>
            <p:cNvPr id="18" name="TextBox 17">
              <a:extLst>
                <a:ext uri="{FF2B5EF4-FFF2-40B4-BE49-F238E27FC236}">
                  <a16:creationId xmlns:a16="http://schemas.microsoft.com/office/drawing/2014/main" id="{9E83A1D5-8FD3-2E34-74C4-E8D09B3CFEE8}"/>
                </a:ext>
              </a:extLst>
            </p:cNvPr>
            <p:cNvSpPr txBox="1"/>
            <p:nvPr/>
          </p:nvSpPr>
          <p:spPr>
            <a:xfrm rot="16200000">
              <a:off x="4879772" y="4956575"/>
              <a:ext cx="1222520" cy="461665"/>
            </a:xfrm>
            <a:prstGeom prst="rect">
              <a:avLst/>
            </a:prstGeom>
            <a:solidFill>
              <a:srgbClr val="008040"/>
            </a:solidFill>
            <a:ln>
              <a:solidFill>
                <a:srgbClr val="008040"/>
              </a:solidFill>
            </a:ln>
          </p:spPr>
          <p:txBody>
            <a:bodyPr wrap="square" rtlCol="0">
              <a:spAutoFit/>
            </a:bodyPr>
            <a:lstStyle/>
            <a:p>
              <a:pPr algn="ctr"/>
              <a:r>
                <a:rPr lang="en-US" sz="1200" dirty="0">
                  <a:solidFill>
                    <a:schemeClr val="bg1"/>
                  </a:solidFill>
                </a:rPr>
                <a:t>Raw materials and transport</a:t>
              </a:r>
            </a:p>
          </p:txBody>
        </p:sp>
        <p:grpSp>
          <p:nvGrpSpPr>
            <p:cNvPr id="286" name="Group 285">
              <a:extLst>
                <a:ext uri="{FF2B5EF4-FFF2-40B4-BE49-F238E27FC236}">
                  <a16:creationId xmlns:a16="http://schemas.microsoft.com/office/drawing/2014/main" id="{F474A599-D70D-9D1D-D5EF-41455DC9D390}"/>
                </a:ext>
              </a:extLst>
            </p:cNvPr>
            <p:cNvGrpSpPr/>
            <p:nvPr/>
          </p:nvGrpSpPr>
          <p:grpSpPr>
            <a:xfrm>
              <a:off x="2663388" y="3768023"/>
              <a:ext cx="13016255" cy="4910408"/>
              <a:chOff x="2671411" y="3768023"/>
              <a:chExt cx="13016255" cy="4910408"/>
            </a:xfrm>
          </p:grpSpPr>
          <p:sp>
            <p:nvSpPr>
              <p:cNvPr id="6" name="TextBox 5">
                <a:extLst>
                  <a:ext uri="{FF2B5EF4-FFF2-40B4-BE49-F238E27FC236}">
                    <a16:creationId xmlns:a16="http://schemas.microsoft.com/office/drawing/2014/main" id="{B65F1FF9-3E1A-5D4A-88BE-A374468E0DE8}"/>
                  </a:ext>
                </a:extLst>
              </p:cNvPr>
              <p:cNvSpPr txBox="1"/>
              <p:nvPr/>
            </p:nvSpPr>
            <p:spPr>
              <a:xfrm rot="16200000" flipH="1">
                <a:off x="3402779" y="4644829"/>
                <a:ext cx="2122943" cy="369332"/>
              </a:xfrm>
              <a:prstGeom prst="rect">
                <a:avLst/>
              </a:prstGeom>
              <a:noFill/>
            </p:spPr>
            <p:txBody>
              <a:bodyPr wrap="square" rtlCol="0">
                <a:spAutoFit/>
              </a:bodyPr>
              <a:lstStyle/>
              <a:p>
                <a:r>
                  <a:rPr lang="en-US" b="1" dirty="0"/>
                  <a:t>Tubular reactor</a:t>
                </a:r>
              </a:p>
            </p:txBody>
          </p:sp>
          <p:sp>
            <p:nvSpPr>
              <p:cNvPr id="7" name="TextBox 6">
                <a:extLst>
                  <a:ext uri="{FF2B5EF4-FFF2-40B4-BE49-F238E27FC236}">
                    <a16:creationId xmlns:a16="http://schemas.microsoft.com/office/drawing/2014/main" id="{4A9BE4C6-81B1-4642-F93F-98820ABE9A86}"/>
                  </a:ext>
                </a:extLst>
              </p:cNvPr>
              <p:cNvSpPr txBox="1"/>
              <p:nvPr/>
            </p:nvSpPr>
            <p:spPr>
              <a:xfrm rot="16200000" flipH="1">
                <a:off x="8803463" y="5046419"/>
                <a:ext cx="1399952" cy="369332"/>
              </a:xfrm>
              <a:prstGeom prst="rect">
                <a:avLst/>
              </a:prstGeom>
              <a:noFill/>
            </p:spPr>
            <p:txBody>
              <a:bodyPr wrap="square" rtlCol="0">
                <a:spAutoFit/>
              </a:bodyPr>
              <a:lstStyle/>
              <a:p>
                <a:r>
                  <a:rPr lang="en-US" b="1" dirty="0"/>
                  <a:t>Granulator</a:t>
                </a:r>
              </a:p>
            </p:txBody>
          </p:sp>
          <p:sp>
            <p:nvSpPr>
              <p:cNvPr id="13" name="TextBox 12">
                <a:extLst>
                  <a:ext uri="{FF2B5EF4-FFF2-40B4-BE49-F238E27FC236}">
                    <a16:creationId xmlns:a16="http://schemas.microsoft.com/office/drawing/2014/main" id="{E8B3F7B9-AE76-EB0E-27BD-154888A3CC88}"/>
                  </a:ext>
                </a:extLst>
              </p:cNvPr>
              <p:cNvSpPr txBox="1"/>
              <p:nvPr/>
            </p:nvSpPr>
            <p:spPr>
              <a:xfrm>
                <a:off x="2714386" y="3957429"/>
                <a:ext cx="1123571" cy="261610"/>
              </a:xfrm>
              <a:prstGeom prst="rect">
                <a:avLst/>
              </a:prstGeom>
              <a:noFill/>
            </p:spPr>
            <p:txBody>
              <a:bodyPr wrap="square" rtlCol="0">
                <a:spAutoFit/>
              </a:bodyPr>
              <a:lstStyle/>
              <a:p>
                <a:pPr algn="ctr"/>
                <a:r>
                  <a:rPr lang="en-US" sz="1100" dirty="0"/>
                  <a:t>Electricity grid</a:t>
                </a:r>
              </a:p>
            </p:txBody>
          </p:sp>
          <p:sp>
            <p:nvSpPr>
              <p:cNvPr id="14" name="TextBox 13">
                <a:extLst>
                  <a:ext uri="{FF2B5EF4-FFF2-40B4-BE49-F238E27FC236}">
                    <a16:creationId xmlns:a16="http://schemas.microsoft.com/office/drawing/2014/main" id="{65856E86-C06A-8821-F7A7-9B1EC13458A2}"/>
                  </a:ext>
                </a:extLst>
              </p:cNvPr>
              <p:cNvSpPr txBox="1"/>
              <p:nvPr/>
            </p:nvSpPr>
            <p:spPr>
              <a:xfrm>
                <a:off x="2671411" y="5748309"/>
                <a:ext cx="1287780" cy="261610"/>
              </a:xfrm>
              <a:prstGeom prst="rect">
                <a:avLst/>
              </a:prstGeom>
              <a:noFill/>
            </p:spPr>
            <p:txBody>
              <a:bodyPr wrap="square" rtlCol="0">
                <a:spAutoFit/>
              </a:bodyPr>
              <a:lstStyle/>
              <a:p>
                <a:pPr algn="ctr"/>
                <a:r>
                  <a:rPr lang="en-US" sz="1100" dirty="0"/>
                  <a:t>Ammonia (NH3)</a:t>
                </a:r>
              </a:p>
            </p:txBody>
          </p:sp>
          <p:sp>
            <p:nvSpPr>
              <p:cNvPr id="16" name="TextBox 15">
                <a:extLst>
                  <a:ext uri="{FF2B5EF4-FFF2-40B4-BE49-F238E27FC236}">
                    <a16:creationId xmlns:a16="http://schemas.microsoft.com/office/drawing/2014/main" id="{1C68957F-5E35-80D2-32FF-FC1891162F96}"/>
                  </a:ext>
                </a:extLst>
              </p:cNvPr>
              <p:cNvSpPr txBox="1"/>
              <p:nvPr/>
            </p:nvSpPr>
            <p:spPr>
              <a:xfrm rot="16200000" flipH="1">
                <a:off x="11710467" y="5100528"/>
                <a:ext cx="2393920" cy="369332"/>
              </a:xfrm>
              <a:prstGeom prst="rect">
                <a:avLst/>
              </a:prstGeom>
              <a:noFill/>
            </p:spPr>
            <p:txBody>
              <a:bodyPr wrap="square" rtlCol="0">
                <a:spAutoFit/>
              </a:bodyPr>
              <a:lstStyle/>
              <a:p>
                <a:r>
                  <a:rPr lang="en-US" b="1" dirty="0"/>
                  <a:t>Dryer and screener</a:t>
                </a:r>
              </a:p>
            </p:txBody>
          </p:sp>
          <p:sp>
            <p:nvSpPr>
              <p:cNvPr id="20" name="TextBox 19">
                <a:extLst>
                  <a:ext uri="{FF2B5EF4-FFF2-40B4-BE49-F238E27FC236}">
                    <a16:creationId xmlns:a16="http://schemas.microsoft.com/office/drawing/2014/main" id="{3A6627EC-20E8-BBD4-14EE-414F9C357B36}"/>
                  </a:ext>
                </a:extLst>
              </p:cNvPr>
              <p:cNvSpPr txBox="1"/>
              <p:nvPr/>
            </p:nvSpPr>
            <p:spPr>
              <a:xfrm rot="16200000" flipH="1">
                <a:off x="14306040" y="5135605"/>
                <a:ext cx="2393920" cy="369332"/>
              </a:xfrm>
              <a:prstGeom prst="rect">
                <a:avLst/>
              </a:prstGeom>
              <a:noFill/>
            </p:spPr>
            <p:txBody>
              <a:bodyPr wrap="square" rtlCol="0">
                <a:spAutoFit/>
              </a:bodyPr>
              <a:lstStyle/>
              <a:p>
                <a:r>
                  <a:rPr lang="en-US" b="1" dirty="0"/>
                  <a:t>Cooler and screener</a:t>
                </a:r>
              </a:p>
            </p:txBody>
          </p:sp>
          <p:sp>
            <p:nvSpPr>
              <p:cNvPr id="21" name="TextBox 20">
                <a:extLst>
                  <a:ext uri="{FF2B5EF4-FFF2-40B4-BE49-F238E27FC236}">
                    <a16:creationId xmlns:a16="http://schemas.microsoft.com/office/drawing/2014/main" id="{AE240BE2-8406-4A39-05D0-85DDEF65BD5C}"/>
                  </a:ext>
                </a:extLst>
              </p:cNvPr>
              <p:cNvSpPr txBox="1"/>
              <p:nvPr/>
            </p:nvSpPr>
            <p:spPr>
              <a:xfrm flipH="1">
                <a:off x="10474229" y="8309099"/>
                <a:ext cx="1352360" cy="369332"/>
              </a:xfrm>
              <a:prstGeom prst="rect">
                <a:avLst/>
              </a:prstGeom>
              <a:noFill/>
            </p:spPr>
            <p:txBody>
              <a:bodyPr wrap="square" rtlCol="0">
                <a:spAutoFit/>
              </a:bodyPr>
              <a:lstStyle/>
              <a:p>
                <a:pPr algn="ctr"/>
                <a:r>
                  <a:rPr lang="en-US" b="1" dirty="0"/>
                  <a:t>Scrubber</a:t>
                </a:r>
              </a:p>
            </p:txBody>
          </p:sp>
          <p:sp>
            <p:nvSpPr>
              <p:cNvPr id="22" name="TextBox 21">
                <a:extLst>
                  <a:ext uri="{FF2B5EF4-FFF2-40B4-BE49-F238E27FC236}">
                    <a16:creationId xmlns:a16="http://schemas.microsoft.com/office/drawing/2014/main" id="{25A52EE0-AC37-871E-6016-239B8C26F53F}"/>
                  </a:ext>
                </a:extLst>
              </p:cNvPr>
              <p:cNvSpPr txBox="1"/>
              <p:nvPr/>
            </p:nvSpPr>
            <p:spPr>
              <a:xfrm flipH="1">
                <a:off x="7433346" y="6812687"/>
                <a:ext cx="1352360" cy="307777"/>
              </a:xfrm>
              <a:prstGeom prst="rect">
                <a:avLst/>
              </a:prstGeom>
              <a:noFill/>
            </p:spPr>
            <p:txBody>
              <a:bodyPr wrap="square" rtlCol="0">
                <a:spAutoFit/>
              </a:bodyPr>
              <a:lstStyle/>
              <a:p>
                <a:pPr algn="ctr"/>
                <a:r>
                  <a:rPr lang="en-US" sz="1400" b="1" dirty="0"/>
                  <a:t>Boiler</a:t>
                </a:r>
              </a:p>
            </p:txBody>
          </p:sp>
        </p:grpSp>
        <p:sp>
          <p:nvSpPr>
            <p:cNvPr id="26" name="TextBox 25">
              <a:extLst>
                <a:ext uri="{FF2B5EF4-FFF2-40B4-BE49-F238E27FC236}">
                  <a16:creationId xmlns:a16="http://schemas.microsoft.com/office/drawing/2014/main" id="{19741A33-2D68-7077-9640-6D6A6E27EBCC}"/>
                </a:ext>
              </a:extLst>
            </p:cNvPr>
            <p:cNvSpPr txBox="1"/>
            <p:nvPr/>
          </p:nvSpPr>
          <p:spPr>
            <a:xfrm rot="16200000">
              <a:off x="5224057" y="6799877"/>
              <a:ext cx="815636" cy="276999"/>
            </a:xfrm>
            <a:prstGeom prst="rect">
              <a:avLst/>
            </a:prstGeom>
            <a:solidFill>
              <a:srgbClr val="FFFF00"/>
            </a:solidFill>
            <a:ln>
              <a:solidFill>
                <a:srgbClr val="FFFF00"/>
              </a:solidFill>
            </a:ln>
          </p:spPr>
          <p:txBody>
            <a:bodyPr wrap="square" rtlCol="0">
              <a:spAutoFit/>
            </a:bodyPr>
            <a:lstStyle/>
            <a:p>
              <a:pPr algn="ctr"/>
              <a:r>
                <a:rPr lang="en-US" sz="1200" dirty="0"/>
                <a:t>Utilities</a:t>
              </a:r>
            </a:p>
          </p:txBody>
        </p:sp>
        <p:sp>
          <p:nvSpPr>
            <p:cNvPr id="27" name="TextBox 26">
              <a:extLst>
                <a:ext uri="{FF2B5EF4-FFF2-40B4-BE49-F238E27FC236}">
                  <a16:creationId xmlns:a16="http://schemas.microsoft.com/office/drawing/2014/main" id="{447D8B37-DE97-CDBD-31AA-C6DC20AEF23E}"/>
                </a:ext>
              </a:extLst>
            </p:cNvPr>
            <p:cNvSpPr txBox="1"/>
            <p:nvPr/>
          </p:nvSpPr>
          <p:spPr>
            <a:xfrm rot="16200000">
              <a:off x="10328022" y="5032161"/>
              <a:ext cx="815635" cy="276999"/>
            </a:xfrm>
            <a:prstGeom prst="rect">
              <a:avLst/>
            </a:prstGeom>
            <a:solidFill>
              <a:srgbClr val="FFFF00"/>
            </a:solidFill>
            <a:ln>
              <a:solidFill>
                <a:srgbClr val="FFFF00"/>
              </a:solidFill>
            </a:ln>
          </p:spPr>
          <p:txBody>
            <a:bodyPr wrap="square" rtlCol="0">
              <a:spAutoFit/>
            </a:bodyPr>
            <a:lstStyle/>
            <a:p>
              <a:pPr algn="ctr"/>
              <a:r>
                <a:rPr lang="en-US" sz="1200" dirty="0"/>
                <a:t>Utilities</a:t>
              </a:r>
            </a:p>
          </p:txBody>
        </p:sp>
        <p:sp>
          <p:nvSpPr>
            <p:cNvPr id="28" name="TextBox 27">
              <a:extLst>
                <a:ext uri="{FF2B5EF4-FFF2-40B4-BE49-F238E27FC236}">
                  <a16:creationId xmlns:a16="http://schemas.microsoft.com/office/drawing/2014/main" id="{1704469D-BFAF-ED82-760F-4EA789D48B05}"/>
                </a:ext>
              </a:extLst>
            </p:cNvPr>
            <p:cNvSpPr txBox="1"/>
            <p:nvPr/>
          </p:nvSpPr>
          <p:spPr>
            <a:xfrm rot="16200000">
              <a:off x="13358434" y="4576186"/>
              <a:ext cx="715535" cy="276999"/>
            </a:xfrm>
            <a:prstGeom prst="rect">
              <a:avLst/>
            </a:prstGeom>
            <a:solidFill>
              <a:srgbClr val="FFFF00"/>
            </a:solidFill>
            <a:ln>
              <a:solidFill>
                <a:srgbClr val="FFFF00"/>
              </a:solidFill>
            </a:ln>
          </p:spPr>
          <p:txBody>
            <a:bodyPr wrap="square" rtlCol="0">
              <a:spAutoFit/>
            </a:bodyPr>
            <a:lstStyle/>
            <a:p>
              <a:pPr algn="ctr"/>
              <a:r>
                <a:rPr lang="en-US" sz="1200" dirty="0"/>
                <a:t>Utilities</a:t>
              </a:r>
            </a:p>
          </p:txBody>
        </p:sp>
        <p:sp>
          <p:nvSpPr>
            <p:cNvPr id="29" name="TextBox 28">
              <a:extLst>
                <a:ext uri="{FF2B5EF4-FFF2-40B4-BE49-F238E27FC236}">
                  <a16:creationId xmlns:a16="http://schemas.microsoft.com/office/drawing/2014/main" id="{D0894291-D53B-5F23-3F2B-156C17EE1AD0}"/>
                </a:ext>
              </a:extLst>
            </p:cNvPr>
            <p:cNvSpPr txBox="1"/>
            <p:nvPr/>
          </p:nvSpPr>
          <p:spPr>
            <a:xfrm>
              <a:off x="6550338" y="3111092"/>
              <a:ext cx="983673" cy="276999"/>
            </a:xfrm>
            <a:prstGeom prst="rect">
              <a:avLst/>
            </a:prstGeom>
            <a:solidFill>
              <a:srgbClr val="FF0101"/>
            </a:solidFill>
            <a:ln>
              <a:solidFill>
                <a:srgbClr val="FF0101"/>
              </a:solidFill>
            </a:ln>
          </p:spPr>
          <p:txBody>
            <a:bodyPr wrap="square" rtlCol="0">
              <a:spAutoFit/>
            </a:bodyPr>
            <a:lstStyle/>
            <a:p>
              <a:pPr algn="ctr"/>
              <a:r>
                <a:rPr lang="en-US" sz="1200" dirty="0">
                  <a:solidFill>
                    <a:schemeClr val="bg1"/>
                  </a:solidFill>
                </a:rPr>
                <a:t>Waste heat</a:t>
              </a:r>
            </a:p>
          </p:txBody>
        </p:sp>
        <p:sp>
          <p:nvSpPr>
            <p:cNvPr id="30" name="TextBox 29">
              <a:extLst>
                <a:ext uri="{FF2B5EF4-FFF2-40B4-BE49-F238E27FC236}">
                  <a16:creationId xmlns:a16="http://schemas.microsoft.com/office/drawing/2014/main" id="{2121423C-F43C-F801-42AA-EC369975891E}"/>
                </a:ext>
              </a:extLst>
            </p:cNvPr>
            <p:cNvSpPr txBox="1"/>
            <p:nvPr/>
          </p:nvSpPr>
          <p:spPr>
            <a:xfrm>
              <a:off x="6190234" y="3426916"/>
              <a:ext cx="1703879" cy="276999"/>
            </a:xfrm>
            <a:prstGeom prst="rect">
              <a:avLst/>
            </a:prstGeom>
            <a:solidFill>
              <a:srgbClr val="0000FF"/>
            </a:solidFill>
            <a:ln>
              <a:solidFill>
                <a:srgbClr val="0000FF"/>
              </a:solidFill>
            </a:ln>
          </p:spPr>
          <p:txBody>
            <a:bodyPr wrap="square" rtlCol="0">
              <a:spAutoFit/>
            </a:bodyPr>
            <a:lstStyle/>
            <a:p>
              <a:pPr algn="ctr"/>
              <a:r>
                <a:rPr lang="en-US" sz="1200" dirty="0">
                  <a:solidFill>
                    <a:schemeClr val="bg1"/>
                  </a:solidFill>
                </a:rPr>
                <a:t>Ammonium phosphate</a:t>
              </a:r>
            </a:p>
          </p:txBody>
        </p:sp>
        <p:sp>
          <p:nvSpPr>
            <p:cNvPr id="31" name="TextBox 30">
              <a:extLst>
                <a:ext uri="{FF2B5EF4-FFF2-40B4-BE49-F238E27FC236}">
                  <a16:creationId xmlns:a16="http://schemas.microsoft.com/office/drawing/2014/main" id="{DD785632-B944-EC3B-248E-680DF1338B22}"/>
                </a:ext>
              </a:extLst>
            </p:cNvPr>
            <p:cNvSpPr txBox="1"/>
            <p:nvPr/>
          </p:nvSpPr>
          <p:spPr>
            <a:xfrm>
              <a:off x="6111450" y="3725535"/>
              <a:ext cx="1898374" cy="276999"/>
            </a:xfrm>
            <a:prstGeom prst="rect">
              <a:avLst/>
            </a:prstGeom>
            <a:solidFill>
              <a:srgbClr val="0000FF"/>
            </a:solidFill>
            <a:ln>
              <a:solidFill>
                <a:srgbClr val="0000FF"/>
              </a:solidFill>
            </a:ln>
          </p:spPr>
          <p:txBody>
            <a:bodyPr wrap="square" rtlCol="0">
              <a:spAutoFit/>
            </a:bodyPr>
            <a:lstStyle/>
            <a:p>
              <a:pPr algn="ctr"/>
              <a:r>
                <a:rPr lang="en-US" sz="1200" dirty="0">
                  <a:solidFill>
                    <a:schemeClr val="bg1"/>
                  </a:solidFill>
                </a:rPr>
                <a:t>Diammonium phosphate</a:t>
              </a:r>
            </a:p>
          </p:txBody>
        </p:sp>
        <p:sp>
          <p:nvSpPr>
            <p:cNvPr id="257" name="TextBox 256">
              <a:extLst>
                <a:ext uri="{FF2B5EF4-FFF2-40B4-BE49-F238E27FC236}">
                  <a16:creationId xmlns:a16="http://schemas.microsoft.com/office/drawing/2014/main" id="{2FB71FFE-4DE6-EAAF-0970-08716299DD54}"/>
                </a:ext>
              </a:extLst>
            </p:cNvPr>
            <p:cNvSpPr txBox="1"/>
            <p:nvPr/>
          </p:nvSpPr>
          <p:spPr>
            <a:xfrm>
              <a:off x="10553247" y="3909672"/>
              <a:ext cx="1082689" cy="276999"/>
            </a:xfrm>
            <a:prstGeom prst="rect">
              <a:avLst/>
            </a:prstGeom>
            <a:solidFill>
              <a:srgbClr val="0000FF"/>
            </a:solidFill>
            <a:ln>
              <a:solidFill>
                <a:srgbClr val="0000FF"/>
              </a:solidFill>
            </a:ln>
          </p:spPr>
          <p:txBody>
            <a:bodyPr wrap="square" rtlCol="0">
              <a:spAutoFit/>
            </a:bodyPr>
            <a:lstStyle/>
            <a:p>
              <a:pPr algn="ctr"/>
              <a:r>
                <a:rPr lang="en-US" sz="1200" dirty="0">
                  <a:solidFill>
                    <a:schemeClr val="bg1"/>
                  </a:solidFill>
                </a:rPr>
                <a:t>Wet product</a:t>
              </a:r>
            </a:p>
          </p:txBody>
        </p:sp>
        <p:sp>
          <p:nvSpPr>
            <p:cNvPr id="269" name="TextBox 268">
              <a:extLst>
                <a:ext uri="{FF2B5EF4-FFF2-40B4-BE49-F238E27FC236}">
                  <a16:creationId xmlns:a16="http://schemas.microsoft.com/office/drawing/2014/main" id="{FA888AF1-1759-D68E-30F7-89C0ABB2DB4E}"/>
                </a:ext>
              </a:extLst>
            </p:cNvPr>
            <p:cNvSpPr txBox="1"/>
            <p:nvPr/>
          </p:nvSpPr>
          <p:spPr>
            <a:xfrm>
              <a:off x="13801903" y="3926522"/>
              <a:ext cx="1082689" cy="276999"/>
            </a:xfrm>
            <a:prstGeom prst="rect">
              <a:avLst/>
            </a:prstGeom>
            <a:solidFill>
              <a:srgbClr val="0000FF"/>
            </a:solidFill>
            <a:ln>
              <a:solidFill>
                <a:srgbClr val="0000FF"/>
              </a:solidFill>
            </a:ln>
          </p:spPr>
          <p:txBody>
            <a:bodyPr wrap="square" rtlCol="0">
              <a:spAutoFit/>
            </a:bodyPr>
            <a:lstStyle/>
            <a:p>
              <a:pPr algn="ctr"/>
              <a:r>
                <a:rPr lang="en-US" sz="1200" dirty="0">
                  <a:solidFill>
                    <a:schemeClr val="bg1"/>
                  </a:solidFill>
                </a:rPr>
                <a:t>Dry product</a:t>
              </a:r>
            </a:p>
          </p:txBody>
        </p:sp>
        <p:sp>
          <p:nvSpPr>
            <p:cNvPr id="274" name="TextBox 273">
              <a:extLst>
                <a:ext uri="{FF2B5EF4-FFF2-40B4-BE49-F238E27FC236}">
                  <a16:creationId xmlns:a16="http://schemas.microsoft.com/office/drawing/2014/main" id="{23367F30-3C3E-1B29-4FAC-21593FEC8E4B}"/>
                </a:ext>
              </a:extLst>
            </p:cNvPr>
            <p:cNvSpPr txBox="1"/>
            <p:nvPr/>
          </p:nvSpPr>
          <p:spPr>
            <a:xfrm rot="16200000">
              <a:off x="5044252" y="8197282"/>
              <a:ext cx="1230317" cy="461665"/>
            </a:xfrm>
            <a:prstGeom prst="rect">
              <a:avLst/>
            </a:prstGeom>
            <a:solidFill>
              <a:srgbClr val="008040"/>
            </a:solidFill>
            <a:ln>
              <a:solidFill>
                <a:srgbClr val="008040"/>
              </a:solidFill>
            </a:ln>
          </p:spPr>
          <p:txBody>
            <a:bodyPr wrap="square" rtlCol="0">
              <a:spAutoFit/>
            </a:bodyPr>
            <a:lstStyle/>
            <a:p>
              <a:pPr algn="ctr"/>
              <a:r>
                <a:rPr lang="en-US" sz="1200" dirty="0">
                  <a:solidFill>
                    <a:schemeClr val="bg1"/>
                  </a:solidFill>
                </a:rPr>
                <a:t>Raw materials and transport</a:t>
              </a:r>
            </a:p>
          </p:txBody>
        </p:sp>
        <p:sp>
          <p:nvSpPr>
            <p:cNvPr id="277" name="TextBox 276">
              <a:extLst>
                <a:ext uri="{FF2B5EF4-FFF2-40B4-BE49-F238E27FC236}">
                  <a16:creationId xmlns:a16="http://schemas.microsoft.com/office/drawing/2014/main" id="{883CB91C-6C3C-B92F-1D75-B41CFC50C4E6}"/>
                </a:ext>
              </a:extLst>
            </p:cNvPr>
            <p:cNvSpPr txBox="1"/>
            <p:nvPr/>
          </p:nvSpPr>
          <p:spPr>
            <a:xfrm rot="16200000">
              <a:off x="1890768" y="6003660"/>
              <a:ext cx="1206400" cy="276999"/>
            </a:xfrm>
            <a:prstGeom prst="rect">
              <a:avLst/>
            </a:prstGeom>
            <a:solidFill>
              <a:srgbClr val="008040"/>
            </a:solidFill>
            <a:ln>
              <a:solidFill>
                <a:srgbClr val="008040"/>
              </a:solidFill>
            </a:ln>
          </p:spPr>
          <p:txBody>
            <a:bodyPr wrap="square" rtlCol="0">
              <a:spAutoFit/>
            </a:bodyPr>
            <a:lstStyle/>
            <a:p>
              <a:pPr algn="ctr"/>
              <a:r>
                <a:rPr lang="en-US" sz="1200" dirty="0">
                  <a:solidFill>
                    <a:schemeClr val="bg1"/>
                  </a:solidFill>
                </a:rPr>
                <a:t>Raw materials</a:t>
              </a:r>
            </a:p>
          </p:txBody>
        </p:sp>
        <p:sp>
          <p:nvSpPr>
            <p:cNvPr id="278" name="TextBox 277">
              <a:extLst>
                <a:ext uri="{FF2B5EF4-FFF2-40B4-BE49-F238E27FC236}">
                  <a16:creationId xmlns:a16="http://schemas.microsoft.com/office/drawing/2014/main" id="{9B6175F7-5CD8-6222-8405-0E7FE94D4C22}"/>
                </a:ext>
              </a:extLst>
            </p:cNvPr>
            <p:cNvSpPr txBox="1"/>
            <p:nvPr/>
          </p:nvSpPr>
          <p:spPr>
            <a:xfrm rot="16200000">
              <a:off x="2164666" y="4199596"/>
              <a:ext cx="690119" cy="276999"/>
            </a:xfrm>
            <a:prstGeom prst="rect">
              <a:avLst/>
            </a:prstGeom>
            <a:solidFill>
              <a:srgbClr val="FFFF00"/>
            </a:solidFill>
            <a:ln>
              <a:solidFill>
                <a:srgbClr val="FFFF00"/>
              </a:solidFill>
            </a:ln>
          </p:spPr>
          <p:txBody>
            <a:bodyPr wrap="square" rtlCol="0">
              <a:spAutoFit/>
            </a:bodyPr>
            <a:lstStyle/>
            <a:p>
              <a:pPr algn="ctr"/>
              <a:r>
                <a:rPr lang="en-US" sz="1200" dirty="0"/>
                <a:t>Utilities</a:t>
              </a:r>
            </a:p>
          </p:txBody>
        </p:sp>
        <p:sp>
          <p:nvSpPr>
            <p:cNvPr id="279" name="TextBox 278">
              <a:extLst>
                <a:ext uri="{FF2B5EF4-FFF2-40B4-BE49-F238E27FC236}">
                  <a16:creationId xmlns:a16="http://schemas.microsoft.com/office/drawing/2014/main" id="{5B982F0D-0F50-92B6-3545-BAA633930FA3}"/>
                </a:ext>
              </a:extLst>
            </p:cNvPr>
            <p:cNvSpPr txBox="1"/>
            <p:nvPr/>
          </p:nvSpPr>
          <p:spPr>
            <a:xfrm>
              <a:off x="12191227" y="7812956"/>
              <a:ext cx="919772" cy="253916"/>
            </a:xfrm>
            <a:prstGeom prst="rect">
              <a:avLst/>
            </a:prstGeom>
            <a:solidFill>
              <a:srgbClr val="8080FF"/>
            </a:solidFill>
            <a:ln>
              <a:solidFill>
                <a:srgbClr val="8080FF"/>
              </a:solidFill>
            </a:ln>
          </p:spPr>
          <p:txBody>
            <a:bodyPr wrap="square" rtlCol="0">
              <a:spAutoFit/>
            </a:bodyPr>
            <a:lstStyle/>
            <a:p>
              <a:pPr algn="ctr"/>
              <a:r>
                <a:rPr lang="en-US" sz="1050" dirty="0">
                  <a:solidFill>
                    <a:schemeClr val="bg1"/>
                  </a:solidFill>
                </a:rPr>
                <a:t>Exhaust gas</a:t>
              </a:r>
            </a:p>
          </p:txBody>
        </p:sp>
        <p:sp>
          <p:nvSpPr>
            <p:cNvPr id="280" name="TextBox 279">
              <a:extLst>
                <a:ext uri="{FF2B5EF4-FFF2-40B4-BE49-F238E27FC236}">
                  <a16:creationId xmlns:a16="http://schemas.microsoft.com/office/drawing/2014/main" id="{2A70DADE-729F-DEA6-1FFB-4840EA803976}"/>
                </a:ext>
              </a:extLst>
            </p:cNvPr>
            <p:cNvSpPr txBox="1"/>
            <p:nvPr/>
          </p:nvSpPr>
          <p:spPr>
            <a:xfrm>
              <a:off x="9092544" y="7812956"/>
              <a:ext cx="919772" cy="253916"/>
            </a:xfrm>
            <a:prstGeom prst="rect">
              <a:avLst/>
            </a:prstGeom>
            <a:solidFill>
              <a:srgbClr val="8080FF"/>
            </a:solidFill>
            <a:ln>
              <a:solidFill>
                <a:srgbClr val="8080FF"/>
              </a:solidFill>
            </a:ln>
          </p:spPr>
          <p:txBody>
            <a:bodyPr wrap="square" rtlCol="0">
              <a:spAutoFit/>
            </a:bodyPr>
            <a:lstStyle/>
            <a:p>
              <a:pPr algn="ctr"/>
              <a:r>
                <a:rPr lang="en-US" sz="1050" dirty="0">
                  <a:solidFill>
                    <a:schemeClr val="bg1"/>
                  </a:solidFill>
                </a:rPr>
                <a:t>Exhaust gas</a:t>
              </a:r>
            </a:p>
          </p:txBody>
        </p:sp>
        <p:sp>
          <p:nvSpPr>
            <p:cNvPr id="281" name="TextBox 280">
              <a:extLst>
                <a:ext uri="{FF2B5EF4-FFF2-40B4-BE49-F238E27FC236}">
                  <a16:creationId xmlns:a16="http://schemas.microsoft.com/office/drawing/2014/main" id="{4A1D82BF-645D-6B99-1457-A0FAEAFE1069}"/>
                </a:ext>
              </a:extLst>
            </p:cNvPr>
            <p:cNvSpPr txBox="1"/>
            <p:nvPr/>
          </p:nvSpPr>
          <p:spPr>
            <a:xfrm>
              <a:off x="12659524" y="7205139"/>
              <a:ext cx="812234" cy="415498"/>
            </a:xfrm>
            <a:prstGeom prst="rect">
              <a:avLst/>
            </a:prstGeom>
            <a:solidFill>
              <a:srgbClr val="808080"/>
            </a:solidFill>
            <a:ln>
              <a:solidFill>
                <a:schemeClr val="tx1"/>
              </a:solidFill>
            </a:ln>
          </p:spPr>
          <p:txBody>
            <a:bodyPr wrap="square" rtlCol="0">
              <a:spAutoFit/>
            </a:bodyPr>
            <a:lstStyle/>
            <a:p>
              <a:pPr algn="ctr"/>
              <a:r>
                <a:rPr lang="en-US" sz="1050" dirty="0">
                  <a:solidFill>
                    <a:schemeClr val="bg1"/>
                  </a:solidFill>
                </a:rPr>
                <a:t>Recycled material</a:t>
              </a:r>
            </a:p>
          </p:txBody>
        </p:sp>
        <p:sp>
          <p:nvSpPr>
            <p:cNvPr id="284" name="TextBox 283">
              <a:extLst>
                <a:ext uri="{FF2B5EF4-FFF2-40B4-BE49-F238E27FC236}">
                  <a16:creationId xmlns:a16="http://schemas.microsoft.com/office/drawing/2014/main" id="{F9C117EE-72D5-C7F6-C29D-F5BBE4E06AA5}"/>
                </a:ext>
              </a:extLst>
            </p:cNvPr>
            <p:cNvSpPr txBox="1"/>
            <p:nvPr/>
          </p:nvSpPr>
          <p:spPr>
            <a:xfrm>
              <a:off x="15058549" y="7138446"/>
              <a:ext cx="812234" cy="415498"/>
            </a:xfrm>
            <a:prstGeom prst="rect">
              <a:avLst/>
            </a:prstGeom>
            <a:solidFill>
              <a:srgbClr val="808080"/>
            </a:solidFill>
            <a:ln>
              <a:solidFill>
                <a:schemeClr val="tx1"/>
              </a:solidFill>
            </a:ln>
          </p:spPr>
          <p:txBody>
            <a:bodyPr wrap="square" rtlCol="0">
              <a:spAutoFit/>
            </a:bodyPr>
            <a:lstStyle/>
            <a:p>
              <a:pPr algn="ctr"/>
              <a:r>
                <a:rPr lang="en-US" sz="1050" dirty="0">
                  <a:solidFill>
                    <a:schemeClr val="bg1"/>
                  </a:solidFill>
                </a:rPr>
                <a:t>Recycled material</a:t>
              </a:r>
            </a:p>
          </p:txBody>
        </p:sp>
      </p:grpSp>
      <p:sp>
        <p:nvSpPr>
          <p:cNvPr id="128" name="Rectangle 127">
            <a:extLst>
              <a:ext uri="{FF2B5EF4-FFF2-40B4-BE49-F238E27FC236}">
                <a16:creationId xmlns:a16="http://schemas.microsoft.com/office/drawing/2014/main" id="{0673CB93-EAEE-A012-A9DC-76AE5A088F1F}"/>
              </a:ext>
            </a:extLst>
          </p:cNvPr>
          <p:cNvSpPr/>
          <p:nvPr/>
        </p:nvSpPr>
        <p:spPr>
          <a:xfrm rot="16200000">
            <a:off x="1661544" y="4307314"/>
            <a:ext cx="1247907" cy="91977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29" name="Group 128">
            <a:extLst>
              <a:ext uri="{FF2B5EF4-FFF2-40B4-BE49-F238E27FC236}">
                <a16:creationId xmlns:a16="http://schemas.microsoft.com/office/drawing/2014/main" id="{13E0355A-5B60-955D-FD89-92BDE4ECFC42}"/>
              </a:ext>
            </a:extLst>
          </p:cNvPr>
          <p:cNvGrpSpPr/>
          <p:nvPr/>
        </p:nvGrpSpPr>
        <p:grpSpPr>
          <a:xfrm>
            <a:off x="2355469" y="3111092"/>
            <a:ext cx="13515315" cy="5932181"/>
            <a:chOff x="2355468" y="3111092"/>
            <a:chExt cx="13515315" cy="5932181"/>
          </a:xfrm>
        </p:grpSpPr>
        <p:sp>
          <p:nvSpPr>
            <p:cNvPr id="130" name="TextBox 129">
              <a:extLst>
                <a:ext uri="{FF2B5EF4-FFF2-40B4-BE49-F238E27FC236}">
                  <a16:creationId xmlns:a16="http://schemas.microsoft.com/office/drawing/2014/main" id="{B8D08115-E483-FD2F-EDF9-17AC0C21C3C7}"/>
                </a:ext>
              </a:extLst>
            </p:cNvPr>
            <p:cNvSpPr txBox="1"/>
            <p:nvPr/>
          </p:nvSpPr>
          <p:spPr>
            <a:xfrm rot="16200000">
              <a:off x="4879772" y="4956575"/>
              <a:ext cx="1222520" cy="461665"/>
            </a:xfrm>
            <a:prstGeom prst="rect">
              <a:avLst/>
            </a:prstGeom>
            <a:solidFill>
              <a:srgbClr val="008040"/>
            </a:solidFill>
            <a:ln>
              <a:solidFill>
                <a:srgbClr val="008040"/>
              </a:solidFill>
            </a:ln>
          </p:spPr>
          <p:txBody>
            <a:bodyPr wrap="square" rtlCol="0">
              <a:spAutoFit/>
            </a:bodyPr>
            <a:lstStyle/>
            <a:p>
              <a:pPr algn="ctr"/>
              <a:r>
                <a:rPr lang="en-US" sz="1200" dirty="0">
                  <a:solidFill>
                    <a:schemeClr val="bg1"/>
                  </a:solidFill>
                </a:rPr>
                <a:t>Raw materials and transport</a:t>
              </a:r>
            </a:p>
          </p:txBody>
        </p:sp>
        <p:grpSp>
          <p:nvGrpSpPr>
            <p:cNvPr id="141" name="Group 140">
              <a:extLst>
                <a:ext uri="{FF2B5EF4-FFF2-40B4-BE49-F238E27FC236}">
                  <a16:creationId xmlns:a16="http://schemas.microsoft.com/office/drawing/2014/main" id="{D4A67833-9A2A-818C-3B45-39B1B07E6943}"/>
                </a:ext>
              </a:extLst>
            </p:cNvPr>
            <p:cNvGrpSpPr/>
            <p:nvPr/>
          </p:nvGrpSpPr>
          <p:grpSpPr>
            <a:xfrm>
              <a:off x="2663388" y="3768023"/>
              <a:ext cx="13016255" cy="4910408"/>
              <a:chOff x="2671411" y="3768023"/>
              <a:chExt cx="13016255" cy="4910408"/>
            </a:xfrm>
          </p:grpSpPr>
          <p:sp>
            <p:nvSpPr>
              <p:cNvPr id="157" name="TextBox 156">
                <a:extLst>
                  <a:ext uri="{FF2B5EF4-FFF2-40B4-BE49-F238E27FC236}">
                    <a16:creationId xmlns:a16="http://schemas.microsoft.com/office/drawing/2014/main" id="{069C5440-C28D-FFE3-99C1-76A320FE0207}"/>
                  </a:ext>
                </a:extLst>
              </p:cNvPr>
              <p:cNvSpPr txBox="1"/>
              <p:nvPr/>
            </p:nvSpPr>
            <p:spPr>
              <a:xfrm rot="16200000" flipH="1">
                <a:off x="3402779" y="4644829"/>
                <a:ext cx="2122943" cy="369332"/>
              </a:xfrm>
              <a:prstGeom prst="rect">
                <a:avLst/>
              </a:prstGeom>
              <a:noFill/>
            </p:spPr>
            <p:txBody>
              <a:bodyPr wrap="square" rtlCol="0">
                <a:spAutoFit/>
              </a:bodyPr>
              <a:lstStyle/>
              <a:p>
                <a:r>
                  <a:rPr lang="en-US" b="1" dirty="0"/>
                  <a:t>Tubular reactor</a:t>
                </a:r>
              </a:p>
            </p:txBody>
          </p:sp>
          <p:sp>
            <p:nvSpPr>
              <p:cNvPr id="158" name="TextBox 157">
                <a:extLst>
                  <a:ext uri="{FF2B5EF4-FFF2-40B4-BE49-F238E27FC236}">
                    <a16:creationId xmlns:a16="http://schemas.microsoft.com/office/drawing/2014/main" id="{91263032-E306-21E9-28AD-14F40D3D2C5A}"/>
                  </a:ext>
                </a:extLst>
              </p:cNvPr>
              <p:cNvSpPr txBox="1"/>
              <p:nvPr/>
            </p:nvSpPr>
            <p:spPr>
              <a:xfrm rot="16200000" flipH="1">
                <a:off x="8803463" y="5046419"/>
                <a:ext cx="1399952" cy="369332"/>
              </a:xfrm>
              <a:prstGeom prst="rect">
                <a:avLst/>
              </a:prstGeom>
              <a:noFill/>
            </p:spPr>
            <p:txBody>
              <a:bodyPr wrap="square" rtlCol="0">
                <a:spAutoFit/>
              </a:bodyPr>
              <a:lstStyle/>
              <a:p>
                <a:r>
                  <a:rPr lang="en-US" b="1" dirty="0"/>
                  <a:t>Granulator</a:t>
                </a:r>
              </a:p>
            </p:txBody>
          </p:sp>
          <p:sp>
            <p:nvSpPr>
              <p:cNvPr id="159" name="TextBox 158">
                <a:extLst>
                  <a:ext uri="{FF2B5EF4-FFF2-40B4-BE49-F238E27FC236}">
                    <a16:creationId xmlns:a16="http://schemas.microsoft.com/office/drawing/2014/main" id="{448BEB6B-DA6F-1E87-1E23-E2999FFBF101}"/>
                  </a:ext>
                </a:extLst>
              </p:cNvPr>
              <p:cNvSpPr txBox="1"/>
              <p:nvPr/>
            </p:nvSpPr>
            <p:spPr>
              <a:xfrm>
                <a:off x="2714386" y="3957429"/>
                <a:ext cx="1123571" cy="261610"/>
              </a:xfrm>
              <a:prstGeom prst="rect">
                <a:avLst/>
              </a:prstGeom>
              <a:noFill/>
            </p:spPr>
            <p:txBody>
              <a:bodyPr wrap="square" rtlCol="0">
                <a:spAutoFit/>
              </a:bodyPr>
              <a:lstStyle/>
              <a:p>
                <a:pPr algn="ctr"/>
                <a:r>
                  <a:rPr lang="en-US" sz="1100" dirty="0"/>
                  <a:t>Electricity grid</a:t>
                </a:r>
              </a:p>
            </p:txBody>
          </p:sp>
          <p:sp>
            <p:nvSpPr>
              <p:cNvPr id="288" name="TextBox 287">
                <a:extLst>
                  <a:ext uri="{FF2B5EF4-FFF2-40B4-BE49-F238E27FC236}">
                    <a16:creationId xmlns:a16="http://schemas.microsoft.com/office/drawing/2014/main" id="{3B343C56-9748-7C3B-2E23-FFDF8856428F}"/>
                  </a:ext>
                </a:extLst>
              </p:cNvPr>
              <p:cNvSpPr txBox="1"/>
              <p:nvPr/>
            </p:nvSpPr>
            <p:spPr>
              <a:xfrm>
                <a:off x="2671411" y="5748309"/>
                <a:ext cx="1287780" cy="261610"/>
              </a:xfrm>
              <a:prstGeom prst="rect">
                <a:avLst/>
              </a:prstGeom>
              <a:noFill/>
            </p:spPr>
            <p:txBody>
              <a:bodyPr wrap="square" rtlCol="0">
                <a:spAutoFit/>
              </a:bodyPr>
              <a:lstStyle/>
              <a:p>
                <a:pPr algn="ctr"/>
                <a:r>
                  <a:rPr lang="en-US" sz="1100" dirty="0"/>
                  <a:t>Ammonia (NH3)</a:t>
                </a:r>
              </a:p>
            </p:txBody>
          </p:sp>
          <p:sp>
            <p:nvSpPr>
              <p:cNvPr id="289" name="TextBox 288">
                <a:extLst>
                  <a:ext uri="{FF2B5EF4-FFF2-40B4-BE49-F238E27FC236}">
                    <a16:creationId xmlns:a16="http://schemas.microsoft.com/office/drawing/2014/main" id="{7784B1A8-CFB4-1A0D-8BC7-C3C8AA1EA25A}"/>
                  </a:ext>
                </a:extLst>
              </p:cNvPr>
              <p:cNvSpPr txBox="1"/>
              <p:nvPr/>
            </p:nvSpPr>
            <p:spPr>
              <a:xfrm rot="16200000" flipH="1">
                <a:off x="11710467" y="5100528"/>
                <a:ext cx="2393920" cy="369332"/>
              </a:xfrm>
              <a:prstGeom prst="rect">
                <a:avLst/>
              </a:prstGeom>
              <a:noFill/>
            </p:spPr>
            <p:txBody>
              <a:bodyPr wrap="square" rtlCol="0">
                <a:spAutoFit/>
              </a:bodyPr>
              <a:lstStyle/>
              <a:p>
                <a:r>
                  <a:rPr lang="en-US" b="1" dirty="0"/>
                  <a:t>Dryer and screener</a:t>
                </a:r>
              </a:p>
            </p:txBody>
          </p:sp>
          <p:sp>
            <p:nvSpPr>
              <p:cNvPr id="290" name="TextBox 289">
                <a:extLst>
                  <a:ext uri="{FF2B5EF4-FFF2-40B4-BE49-F238E27FC236}">
                    <a16:creationId xmlns:a16="http://schemas.microsoft.com/office/drawing/2014/main" id="{AB536EA4-EA95-E270-6619-9CDB232A01D0}"/>
                  </a:ext>
                </a:extLst>
              </p:cNvPr>
              <p:cNvSpPr txBox="1"/>
              <p:nvPr/>
            </p:nvSpPr>
            <p:spPr>
              <a:xfrm rot="16200000" flipH="1">
                <a:off x="14306040" y="5135605"/>
                <a:ext cx="2393920" cy="369332"/>
              </a:xfrm>
              <a:prstGeom prst="rect">
                <a:avLst/>
              </a:prstGeom>
              <a:noFill/>
            </p:spPr>
            <p:txBody>
              <a:bodyPr wrap="square" rtlCol="0">
                <a:spAutoFit/>
              </a:bodyPr>
              <a:lstStyle/>
              <a:p>
                <a:r>
                  <a:rPr lang="en-US" b="1" dirty="0"/>
                  <a:t>Cooler and screener</a:t>
                </a:r>
              </a:p>
            </p:txBody>
          </p:sp>
          <p:sp>
            <p:nvSpPr>
              <p:cNvPr id="291" name="TextBox 290">
                <a:extLst>
                  <a:ext uri="{FF2B5EF4-FFF2-40B4-BE49-F238E27FC236}">
                    <a16:creationId xmlns:a16="http://schemas.microsoft.com/office/drawing/2014/main" id="{B1D765D5-CF33-94BA-0791-6B60B01BBA73}"/>
                  </a:ext>
                </a:extLst>
              </p:cNvPr>
              <p:cNvSpPr txBox="1"/>
              <p:nvPr/>
            </p:nvSpPr>
            <p:spPr>
              <a:xfrm flipH="1">
                <a:off x="10474229" y="8309099"/>
                <a:ext cx="1352360" cy="369332"/>
              </a:xfrm>
              <a:prstGeom prst="rect">
                <a:avLst/>
              </a:prstGeom>
              <a:noFill/>
            </p:spPr>
            <p:txBody>
              <a:bodyPr wrap="square" rtlCol="0">
                <a:spAutoFit/>
              </a:bodyPr>
              <a:lstStyle/>
              <a:p>
                <a:pPr algn="ctr"/>
                <a:r>
                  <a:rPr lang="en-US" b="1" dirty="0"/>
                  <a:t>Scrubber</a:t>
                </a:r>
              </a:p>
            </p:txBody>
          </p:sp>
          <p:sp>
            <p:nvSpPr>
              <p:cNvPr id="292" name="TextBox 291">
                <a:extLst>
                  <a:ext uri="{FF2B5EF4-FFF2-40B4-BE49-F238E27FC236}">
                    <a16:creationId xmlns:a16="http://schemas.microsoft.com/office/drawing/2014/main" id="{6563499E-85AB-8E3E-E75C-A120DC511730}"/>
                  </a:ext>
                </a:extLst>
              </p:cNvPr>
              <p:cNvSpPr txBox="1"/>
              <p:nvPr/>
            </p:nvSpPr>
            <p:spPr>
              <a:xfrm flipH="1">
                <a:off x="7433346" y="6812687"/>
                <a:ext cx="1352360" cy="307777"/>
              </a:xfrm>
              <a:prstGeom prst="rect">
                <a:avLst/>
              </a:prstGeom>
              <a:noFill/>
            </p:spPr>
            <p:txBody>
              <a:bodyPr wrap="square" rtlCol="0">
                <a:spAutoFit/>
              </a:bodyPr>
              <a:lstStyle/>
              <a:p>
                <a:pPr algn="ctr"/>
                <a:r>
                  <a:rPr lang="en-US" sz="1400" b="1" dirty="0"/>
                  <a:t>Boiler</a:t>
                </a:r>
              </a:p>
            </p:txBody>
          </p:sp>
        </p:grpSp>
        <p:sp>
          <p:nvSpPr>
            <p:cNvPr id="143" name="TextBox 142">
              <a:extLst>
                <a:ext uri="{FF2B5EF4-FFF2-40B4-BE49-F238E27FC236}">
                  <a16:creationId xmlns:a16="http://schemas.microsoft.com/office/drawing/2014/main" id="{638F47C8-FB09-A8D3-0A07-4A5310D98329}"/>
                </a:ext>
              </a:extLst>
            </p:cNvPr>
            <p:cNvSpPr txBox="1"/>
            <p:nvPr/>
          </p:nvSpPr>
          <p:spPr>
            <a:xfrm rot="16200000">
              <a:off x="10328022" y="5032161"/>
              <a:ext cx="815635" cy="276999"/>
            </a:xfrm>
            <a:prstGeom prst="rect">
              <a:avLst/>
            </a:prstGeom>
            <a:solidFill>
              <a:srgbClr val="FFFF00"/>
            </a:solidFill>
            <a:ln>
              <a:solidFill>
                <a:srgbClr val="FFFF00"/>
              </a:solidFill>
            </a:ln>
          </p:spPr>
          <p:txBody>
            <a:bodyPr wrap="square" rtlCol="0">
              <a:spAutoFit/>
            </a:bodyPr>
            <a:lstStyle/>
            <a:p>
              <a:pPr algn="ctr"/>
              <a:r>
                <a:rPr lang="en-US" sz="1200" dirty="0"/>
                <a:t>Utilities</a:t>
              </a:r>
            </a:p>
          </p:txBody>
        </p:sp>
        <p:sp>
          <p:nvSpPr>
            <p:cNvPr id="144" name="TextBox 143">
              <a:extLst>
                <a:ext uri="{FF2B5EF4-FFF2-40B4-BE49-F238E27FC236}">
                  <a16:creationId xmlns:a16="http://schemas.microsoft.com/office/drawing/2014/main" id="{E5E445AE-2DD1-DB23-7EFF-CF0BB3645332}"/>
                </a:ext>
              </a:extLst>
            </p:cNvPr>
            <p:cNvSpPr txBox="1"/>
            <p:nvPr/>
          </p:nvSpPr>
          <p:spPr>
            <a:xfrm rot="16200000">
              <a:off x="13358434" y="4576186"/>
              <a:ext cx="715535" cy="276999"/>
            </a:xfrm>
            <a:prstGeom prst="rect">
              <a:avLst/>
            </a:prstGeom>
            <a:solidFill>
              <a:srgbClr val="FFFF00"/>
            </a:solidFill>
            <a:ln>
              <a:solidFill>
                <a:srgbClr val="FFFF00"/>
              </a:solidFill>
            </a:ln>
          </p:spPr>
          <p:txBody>
            <a:bodyPr wrap="square" rtlCol="0">
              <a:spAutoFit/>
            </a:bodyPr>
            <a:lstStyle/>
            <a:p>
              <a:pPr algn="ctr"/>
              <a:r>
                <a:rPr lang="en-US" sz="1200" dirty="0"/>
                <a:t>Utilities</a:t>
              </a:r>
            </a:p>
          </p:txBody>
        </p:sp>
        <p:sp>
          <p:nvSpPr>
            <p:cNvPr id="145" name="TextBox 144">
              <a:extLst>
                <a:ext uri="{FF2B5EF4-FFF2-40B4-BE49-F238E27FC236}">
                  <a16:creationId xmlns:a16="http://schemas.microsoft.com/office/drawing/2014/main" id="{7B4916CB-1AF6-58EB-6197-5952F1C12437}"/>
                </a:ext>
              </a:extLst>
            </p:cNvPr>
            <p:cNvSpPr txBox="1"/>
            <p:nvPr/>
          </p:nvSpPr>
          <p:spPr>
            <a:xfrm>
              <a:off x="6550338" y="3111092"/>
              <a:ext cx="983673" cy="276999"/>
            </a:xfrm>
            <a:prstGeom prst="rect">
              <a:avLst/>
            </a:prstGeom>
            <a:solidFill>
              <a:srgbClr val="FF0101"/>
            </a:solidFill>
            <a:ln>
              <a:solidFill>
                <a:srgbClr val="FF0101"/>
              </a:solidFill>
            </a:ln>
          </p:spPr>
          <p:txBody>
            <a:bodyPr wrap="square" rtlCol="0">
              <a:spAutoFit/>
            </a:bodyPr>
            <a:lstStyle/>
            <a:p>
              <a:pPr algn="ctr"/>
              <a:r>
                <a:rPr lang="en-US" sz="1200" dirty="0">
                  <a:solidFill>
                    <a:schemeClr val="bg1"/>
                  </a:solidFill>
                </a:rPr>
                <a:t>Waste heat</a:t>
              </a:r>
            </a:p>
          </p:txBody>
        </p:sp>
        <p:sp>
          <p:nvSpPr>
            <p:cNvPr id="146" name="TextBox 145">
              <a:extLst>
                <a:ext uri="{FF2B5EF4-FFF2-40B4-BE49-F238E27FC236}">
                  <a16:creationId xmlns:a16="http://schemas.microsoft.com/office/drawing/2014/main" id="{8F32A67A-B390-F8F9-D072-3109327F299D}"/>
                </a:ext>
              </a:extLst>
            </p:cNvPr>
            <p:cNvSpPr txBox="1"/>
            <p:nvPr/>
          </p:nvSpPr>
          <p:spPr>
            <a:xfrm>
              <a:off x="6190234" y="3426916"/>
              <a:ext cx="1703879" cy="276999"/>
            </a:xfrm>
            <a:prstGeom prst="rect">
              <a:avLst/>
            </a:prstGeom>
            <a:solidFill>
              <a:srgbClr val="0000FF"/>
            </a:solidFill>
            <a:ln>
              <a:solidFill>
                <a:srgbClr val="0000FF"/>
              </a:solidFill>
            </a:ln>
          </p:spPr>
          <p:txBody>
            <a:bodyPr wrap="square" rtlCol="0">
              <a:spAutoFit/>
            </a:bodyPr>
            <a:lstStyle/>
            <a:p>
              <a:pPr algn="ctr"/>
              <a:r>
                <a:rPr lang="en-US" sz="1200" dirty="0">
                  <a:solidFill>
                    <a:schemeClr val="bg1"/>
                  </a:solidFill>
                </a:rPr>
                <a:t>Ammonium phosphate</a:t>
              </a:r>
            </a:p>
          </p:txBody>
        </p:sp>
        <p:sp>
          <p:nvSpPr>
            <p:cNvPr id="147" name="TextBox 146">
              <a:extLst>
                <a:ext uri="{FF2B5EF4-FFF2-40B4-BE49-F238E27FC236}">
                  <a16:creationId xmlns:a16="http://schemas.microsoft.com/office/drawing/2014/main" id="{58E023EA-CBBC-A16A-5DCD-6E5DEAEF57C9}"/>
                </a:ext>
              </a:extLst>
            </p:cNvPr>
            <p:cNvSpPr txBox="1"/>
            <p:nvPr/>
          </p:nvSpPr>
          <p:spPr>
            <a:xfrm>
              <a:off x="6111450" y="3725535"/>
              <a:ext cx="1898374" cy="276999"/>
            </a:xfrm>
            <a:prstGeom prst="rect">
              <a:avLst/>
            </a:prstGeom>
            <a:solidFill>
              <a:srgbClr val="0000FF"/>
            </a:solidFill>
            <a:ln>
              <a:solidFill>
                <a:srgbClr val="0000FF"/>
              </a:solidFill>
            </a:ln>
          </p:spPr>
          <p:txBody>
            <a:bodyPr wrap="square" rtlCol="0">
              <a:spAutoFit/>
            </a:bodyPr>
            <a:lstStyle/>
            <a:p>
              <a:pPr algn="ctr"/>
              <a:r>
                <a:rPr lang="en-US" sz="1200" dirty="0">
                  <a:solidFill>
                    <a:schemeClr val="bg1"/>
                  </a:solidFill>
                </a:rPr>
                <a:t>Diammonium phosphate</a:t>
              </a:r>
            </a:p>
          </p:txBody>
        </p:sp>
        <p:sp>
          <p:nvSpPr>
            <p:cNvPr id="148" name="TextBox 147">
              <a:extLst>
                <a:ext uri="{FF2B5EF4-FFF2-40B4-BE49-F238E27FC236}">
                  <a16:creationId xmlns:a16="http://schemas.microsoft.com/office/drawing/2014/main" id="{D186B20D-B1D2-0270-55EC-6ECA46687DDD}"/>
                </a:ext>
              </a:extLst>
            </p:cNvPr>
            <p:cNvSpPr txBox="1"/>
            <p:nvPr/>
          </p:nvSpPr>
          <p:spPr>
            <a:xfrm>
              <a:off x="10553247" y="3909672"/>
              <a:ext cx="1082689" cy="276999"/>
            </a:xfrm>
            <a:prstGeom prst="rect">
              <a:avLst/>
            </a:prstGeom>
            <a:solidFill>
              <a:srgbClr val="0000FF"/>
            </a:solidFill>
            <a:ln>
              <a:solidFill>
                <a:srgbClr val="0000FF"/>
              </a:solidFill>
            </a:ln>
          </p:spPr>
          <p:txBody>
            <a:bodyPr wrap="square" rtlCol="0">
              <a:spAutoFit/>
            </a:bodyPr>
            <a:lstStyle/>
            <a:p>
              <a:pPr algn="ctr"/>
              <a:r>
                <a:rPr lang="en-US" sz="1200" dirty="0">
                  <a:solidFill>
                    <a:schemeClr val="bg1"/>
                  </a:solidFill>
                </a:rPr>
                <a:t>Wet product</a:t>
              </a:r>
            </a:p>
          </p:txBody>
        </p:sp>
        <p:sp>
          <p:nvSpPr>
            <p:cNvPr id="149" name="TextBox 148">
              <a:extLst>
                <a:ext uri="{FF2B5EF4-FFF2-40B4-BE49-F238E27FC236}">
                  <a16:creationId xmlns:a16="http://schemas.microsoft.com/office/drawing/2014/main" id="{EBB8838F-823A-C3A7-232D-7193BE9F3605}"/>
                </a:ext>
              </a:extLst>
            </p:cNvPr>
            <p:cNvSpPr txBox="1"/>
            <p:nvPr/>
          </p:nvSpPr>
          <p:spPr>
            <a:xfrm>
              <a:off x="13801903" y="3926522"/>
              <a:ext cx="1082689" cy="276999"/>
            </a:xfrm>
            <a:prstGeom prst="rect">
              <a:avLst/>
            </a:prstGeom>
            <a:solidFill>
              <a:srgbClr val="0000FF"/>
            </a:solidFill>
            <a:ln>
              <a:solidFill>
                <a:srgbClr val="0000FF"/>
              </a:solidFill>
            </a:ln>
          </p:spPr>
          <p:txBody>
            <a:bodyPr wrap="square" rtlCol="0">
              <a:spAutoFit/>
            </a:bodyPr>
            <a:lstStyle/>
            <a:p>
              <a:pPr algn="ctr"/>
              <a:r>
                <a:rPr lang="en-US" sz="1200" dirty="0">
                  <a:solidFill>
                    <a:schemeClr val="bg1"/>
                  </a:solidFill>
                </a:rPr>
                <a:t>Dry product</a:t>
              </a:r>
            </a:p>
          </p:txBody>
        </p:sp>
        <p:sp>
          <p:nvSpPr>
            <p:cNvPr id="150" name="TextBox 149">
              <a:extLst>
                <a:ext uri="{FF2B5EF4-FFF2-40B4-BE49-F238E27FC236}">
                  <a16:creationId xmlns:a16="http://schemas.microsoft.com/office/drawing/2014/main" id="{A6D848BF-1078-359F-6BC3-789E9E6587FA}"/>
                </a:ext>
              </a:extLst>
            </p:cNvPr>
            <p:cNvSpPr txBox="1"/>
            <p:nvPr/>
          </p:nvSpPr>
          <p:spPr>
            <a:xfrm rot="16200000">
              <a:off x="5044252" y="8197282"/>
              <a:ext cx="1230317" cy="461665"/>
            </a:xfrm>
            <a:prstGeom prst="rect">
              <a:avLst/>
            </a:prstGeom>
            <a:solidFill>
              <a:srgbClr val="008040"/>
            </a:solidFill>
            <a:ln>
              <a:solidFill>
                <a:srgbClr val="008040"/>
              </a:solidFill>
            </a:ln>
          </p:spPr>
          <p:txBody>
            <a:bodyPr wrap="square" rtlCol="0">
              <a:spAutoFit/>
            </a:bodyPr>
            <a:lstStyle/>
            <a:p>
              <a:pPr algn="ctr"/>
              <a:r>
                <a:rPr lang="en-US" sz="1200" dirty="0">
                  <a:solidFill>
                    <a:schemeClr val="bg1"/>
                  </a:solidFill>
                </a:rPr>
                <a:t>Raw materials and transport</a:t>
              </a:r>
            </a:p>
          </p:txBody>
        </p:sp>
        <p:sp>
          <p:nvSpPr>
            <p:cNvPr id="151" name="TextBox 150">
              <a:extLst>
                <a:ext uri="{FF2B5EF4-FFF2-40B4-BE49-F238E27FC236}">
                  <a16:creationId xmlns:a16="http://schemas.microsoft.com/office/drawing/2014/main" id="{136D42D3-0086-88E8-B733-577E2FEDC5D9}"/>
                </a:ext>
              </a:extLst>
            </p:cNvPr>
            <p:cNvSpPr txBox="1"/>
            <p:nvPr/>
          </p:nvSpPr>
          <p:spPr>
            <a:xfrm rot="16200000">
              <a:off x="1890768" y="6003660"/>
              <a:ext cx="1206400" cy="276999"/>
            </a:xfrm>
            <a:prstGeom prst="rect">
              <a:avLst/>
            </a:prstGeom>
            <a:solidFill>
              <a:srgbClr val="008040"/>
            </a:solidFill>
            <a:ln>
              <a:solidFill>
                <a:srgbClr val="008040"/>
              </a:solidFill>
            </a:ln>
          </p:spPr>
          <p:txBody>
            <a:bodyPr wrap="square" rtlCol="0">
              <a:spAutoFit/>
            </a:bodyPr>
            <a:lstStyle/>
            <a:p>
              <a:pPr algn="ctr"/>
              <a:r>
                <a:rPr lang="en-US" sz="1200" dirty="0">
                  <a:solidFill>
                    <a:schemeClr val="bg1"/>
                  </a:solidFill>
                </a:rPr>
                <a:t>Raw materials</a:t>
              </a:r>
            </a:p>
          </p:txBody>
        </p:sp>
        <p:sp>
          <p:nvSpPr>
            <p:cNvPr id="152" name="TextBox 151">
              <a:extLst>
                <a:ext uri="{FF2B5EF4-FFF2-40B4-BE49-F238E27FC236}">
                  <a16:creationId xmlns:a16="http://schemas.microsoft.com/office/drawing/2014/main" id="{17D6F41B-C62F-A754-05FD-FF6572644507}"/>
                </a:ext>
              </a:extLst>
            </p:cNvPr>
            <p:cNvSpPr txBox="1"/>
            <p:nvPr/>
          </p:nvSpPr>
          <p:spPr>
            <a:xfrm rot="16200000">
              <a:off x="2164666" y="4199596"/>
              <a:ext cx="690119" cy="276999"/>
            </a:xfrm>
            <a:prstGeom prst="rect">
              <a:avLst/>
            </a:prstGeom>
            <a:solidFill>
              <a:srgbClr val="FFFF00"/>
            </a:solidFill>
            <a:ln>
              <a:solidFill>
                <a:srgbClr val="FFFF00"/>
              </a:solidFill>
            </a:ln>
          </p:spPr>
          <p:txBody>
            <a:bodyPr wrap="square" rtlCol="0">
              <a:spAutoFit/>
            </a:bodyPr>
            <a:lstStyle/>
            <a:p>
              <a:pPr algn="ctr"/>
              <a:r>
                <a:rPr lang="en-US" sz="1200" dirty="0"/>
                <a:t>Utilities</a:t>
              </a:r>
            </a:p>
          </p:txBody>
        </p:sp>
        <p:sp>
          <p:nvSpPr>
            <p:cNvPr id="153" name="TextBox 152">
              <a:extLst>
                <a:ext uri="{FF2B5EF4-FFF2-40B4-BE49-F238E27FC236}">
                  <a16:creationId xmlns:a16="http://schemas.microsoft.com/office/drawing/2014/main" id="{BBDCDB81-94ED-18D6-4530-657F4D0F8E7B}"/>
                </a:ext>
              </a:extLst>
            </p:cNvPr>
            <p:cNvSpPr txBox="1"/>
            <p:nvPr/>
          </p:nvSpPr>
          <p:spPr>
            <a:xfrm>
              <a:off x="12191227" y="7812956"/>
              <a:ext cx="919772" cy="253916"/>
            </a:xfrm>
            <a:prstGeom prst="rect">
              <a:avLst/>
            </a:prstGeom>
            <a:solidFill>
              <a:srgbClr val="8080FF"/>
            </a:solidFill>
            <a:ln>
              <a:solidFill>
                <a:srgbClr val="8080FF"/>
              </a:solidFill>
            </a:ln>
          </p:spPr>
          <p:txBody>
            <a:bodyPr wrap="square" rtlCol="0">
              <a:spAutoFit/>
            </a:bodyPr>
            <a:lstStyle/>
            <a:p>
              <a:pPr algn="ctr"/>
              <a:r>
                <a:rPr lang="en-US" sz="1050" dirty="0">
                  <a:solidFill>
                    <a:schemeClr val="bg1"/>
                  </a:solidFill>
                </a:rPr>
                <a:t>Exhaust gas</a:t>
              </a:r>
            </a:p>
          </p:txBody>
        </p:sp>
        <p:sp>
          <p:nvSpPr>
            <p:cNvPr id="154" name="TextBox 153">
              <a:extLst>
                <a:ext uri="{FF2B5EF4-FFF2-40B4-BE49-F238E27FC236}">
                  <a16:creationId xmlns:a16="http://schemas.microsoft.com/office/drawing/2014/main" id="{25CD45C5-C9D2-E018-A5E0-248BB177A451}"/>
                </a:ext>
              </a:extLst>
            </p:cNvPr>
            <p:cNvSpPr txBox="1"/>
            <p:nvPr/>
          </p:nvSpPr>
          <p:spPr>
            <a:xfrm>
              <a:off x="9092544" y="7812956"/>
              <a:ext cx="919772" cy="253916"/>
            </a:xfrm>
            <a:prstGeom prst="rect">
              <a:avLst/>
            </a:prstGeom>
            <a:solidFill>
              <a:srgbClr val="8080FF"/>
            </a:solidFill>
            <a:ln>
              <a:solidFill>
                <a:srgbClr val="8080FF"/>
              </a:solidFill>
            </a:ln>
          </p:spPr>
          <p:txBody>
            <a:bodyPr wrap="square" rtlCol="0">
              <a:spAutoFit/>
            </a:bodyPr>
            <a:lstStyle/>
            <a:p>
              <a:pPr algn="ctr"/>
              <a:r>
                <a:rPr lang="en-US" sz="1050" dirty="0">
                  <a:solidFill>
                    <a:schemeClr val="bg1"/>
                  </a:solidFill>
                </a:rPr>
                <a:t>Exhaust gas</a:t>
              </a:r>
            </a:p>
          </p:txBody>
        </p:sp>
        <p:sp>
          <p:nvSpPr>
            <p:cNvPr id="155" name="TextBox 154">
              <a:extLst>
                <a:ext uri="{FF2B5EF4-FFF2-40B4-BE49-F238E27FC236}">
                  <a16:creationId xmlns:a16="http://schemas.microsoft.com/office/drawing/2014/main" id="{263F2BC5-B0D3-96CA-3076-37BF8782B71D}"/>
                </a:ext>
              </a:extLst>
            </p:cNvPr>
            <p:cNvSpPr txBox="1"/>
            <p:nvPr/>
          </p:nvSpPr>
          <p:spPr>
            <a:xfrm>
              <a:off x="12659524" y="7205139"/>
              <a:ext cx="812234" cy="415498"/>
            </a:xfrm>
            <a:prstGeom prst="rect">
              <a:avLst/>
            </a:prstGeom>
            <a:solidFill>
              <a:srgbClr val="808080"/>
            </a:solidFill>
            <a:ln>
              <a:solidFill>
                <a:schemeClr val="tx1"/>
              </a:solidFill>
            </a:ln>
          </p:spPr>
          <p:txBody>
            <a:bodyPr wrap="square" rtlCol="0">
              <a:spAutoFit/>
            </a:bodyPr>
            <a:lstStyle/>
            <a:p>
              <a:pPr algn="ctr"/>
              <a:r>
                <a:rPr lang="en-US" sz="1050" dirty="0">
                  <a:solidFill>
                    <a:schemeClr val="bg1"/>
                  </a:solidFill>
                </a:rPr>
                <a:t>Recycled material</a:t>
              </a:r>
            </a:p>
          </p:txBody>
        </p:sp>
        <p:sp>
          <p:nvSpPr>
            <p:cNvPr id="156" name="TextBox 155">
              <a:extLst>
                <a:ext uri="{FF2B5EF4-FFF2-40B4-BE49-F238E27FC236}">
                  <a16:creationId xmlns:a16="http://schemas.microsoft.com/office/drawing/2014/main" id="{2E5D5844-CC55-E482-FB74-6BB483CE4A2D}"/>
                </a:ext>
              </a:extLst>
            </p:cNvPr>
            <p:cNvSpPr txBox="1"/>
            <p:nvPr/>
          </p:nvSpPr>
          <p:spPr>
            <a:xfrm>
              <a:off x="15058549" y="7138446"/>
              <a:ext cx="812234" cy="415498"/>
            </a:xfrm>
            <a:prstGeom prst="rect">
              <a:avLst/>
            </a:prstGeom>
            <a:solidFill>
              <a:srgbClr val="808080"/>
            </a:solidFill>
            <a:ln>
              <a:solidFill>
                <a:schemeClr val="tx1"/>
              </a:solidFill>
            </a:ln>
          </p:spPr>
          <p:txBody>
            <a:bodyPr wrap="square" rtlCol="0">
              <a:spAutoFit/>
            </a:bodyPr>
            <a:lstStyle/>
            <a:p>
              <a:pPr algn="ctr"/>
              <a:r>
                <a:rPr lang="en-US" sz="1050" dirty="0">
                  <a:solidFill>
                    <a:schemeClr val="bg1"/>
                  </a:solidFill>
                </a:rPr>
                <a:t>Recycled material</a:t>
              </a:r>
            </a:p>
          </p:txBody>
        </p:sp>
      </p:grpSp>
      <p:sp>
        <p:nvSpPr>
          <p:cNvPr id="293" name="Rectangle 292">
            <a:extLst>
              <a:ext uri="{FF2B5EF4-FFF2-40B4-BE49-F238E27FC236}">
                <a16:creationId xmlns:a16="http://schemas.microsoft.com/office/drawing/2014/main" id="{471373A2-5682-EB55-439F-AD4F1406C81B}"/>
              </a:ext>
            </a:extLst>
          </p:cNvPr>
          <p:cNvSpPr/>
          <p:nvPr/>
        </p:nvSpPr>
        <p:spPr>
          <a:xfrm rot="16200000">
            <a:off x="1659673" y="5703028"/>
            <a:ext cx="1247907" cy="91977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4" name="Rectangle 293">
            <a:extLst>
              <a:ext uri="{FF2B5EF4-FFF2-40B4-BE49-F238E27FC236}">
                <a16:creationId xmlns:a16="http://schemas.microsoft.com/office/drawing/2014/main" id="{27872F09-89E9-FEEF-7F08-7B3EBD4B9AD8}"/>
              </a:ext>
            </a:extLst>
          </p:cNvPr>
          <p:cNvSpPr/>
          <p:nvPr/>
        </p:nvSpPr>
        <p:spPr>
          <a:xfrm rot="16200000">
            <a:off x="1661545" y="4307314"/>
            <a:ext cx="1247907" cy="91977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95" name="Group 294">
            <a:extLst>
              <a:ext uri="{FF2B5EF4-FFF2-40B4-BE49-F238E27FC236}">
                <a16:creationId xmlns:a16="http://schemas.microsoft.com/office/drawing/2014/main" id="{D7ED8731-0867-66A9-4DE5-8D16FDA4DC54}"/>
              </a:ext>
            </a:extLst>
          </p:cNvPr>
          <p:cNvGrpSpPr/>
          <p:nvPr/>
        </p:nvGrpSpPr>
        <p:grpSpPr>
          <a:xfrm>
            <a:off x="2355470" y="3111092"/>
            <a:ext cx="13515315" cy="5932181"/>
            <a:chOff x="2355468" y="3111092"/>
            <a:chExt cx="13515315" cy="5932181"/>
          </a:xfrm>
        </p:grpSpPr>
        <p:sp>
          <p:nvSpPr>
            <p:cNvPr id="296" name="TextBox 295">
              <a:extLst>
                <a:ext uri="{FF2B5EF4-FFF2-40B4-BE49-F238E27FC236}">
                  <a16:creationId xmlns:a16="http://schemas.microsoft.com/office/drawing/2014/main" id="{B2986A1C-290D-3BB3-94EF-9BD33B59A3EF}"/>
                </a:ext>
              </a:extLst>
            </p:cNvPr>
            <p:cNvSpPr txBox="1"/>
            <p:nvPr/>
          </p:nvSpPr>
          <p:spPr>
            <a:xfrm rot="16200000">
              <a:off x="4879772" y="4956575"/>
              <a:ext cx="1222520" cy="461665"/>
            </a:xfrm>
            <a:prstGeom prst="rect">
              <a:avLst/>
            </a:prstGeom>
            <a:solidFill>
              <a:srgbClr val="008040"/>
            </a:solidFill>
            <a:ln>
              <a:solidFill>
                <a:srgbClr val="008040"/>
              </a:solidFill>
            </a:ln>
          </p:spPr>
          <p:txBody>
            <a:bodyPr wrap="square" rtlCol="0">
              <a:spAutoFit/>
            </a:bodyPr>
            <a:lstStyle/>
            <a:p>
              <a:pPr algn="ctr"/>
              <a:r>
                <a:rPr lang="en-US" sz="1200" dirty="0">
                  <a:solidFill>
                    <a:schemeClr val="bg1"/>
                  </a:solidFill>
                </a:rPr>
                <a:t>Raw materials and transport</a:t>
              </a:r>
            </a:p>
          </p:txBody>
        </p:sp>
        <p:grpSp>
          <p:nvGrpSpPr>
            <p:cNvPr id="297" name="Group 296">
              <a:extLst>
                <a:ext uri="{FF2B5EF4-FFF2-40B4-BE49-F238E27FC236}">
                  <a16:creationId xmlns:a16="http://schemas.microsoft.com/office/drawing/2014/main" id="{019E4CF0-6AFF-6D89-5D95-64B12EE2CEB5}"/>
                </a:ext>
              </a:extLst>
            </p:cNvPr>
            <p:cNvGrpSpPr/>
            <p:nvPr/>
          </p:nvGrpSpPr>
          <p:grpSpPr>
            <a:xfrm>
              <a:off x="2663388" y="3768023"/>
              <a:ext cx="13016255" cy="4910408"/>
              <a:chOff x="2671411" y="3768023"/>
              <a:chExt cx="13016255" cy="4910408"/>
            </a:xfrm>
          </p:grpSpPr>
          <p:sp>
            <p:nvSpPr>
              <p:cNvPr id="313" name="TextBox 312">
                <a:extLst>
                  <a:ext uri="{FF2B5EF4-FFF2-40B4-BE49-F238E27FC236}">
                    <a16:creationId xmlns:a16="http://schemas.microsoft.com/office/drawing/2014/main" id="{9ABAACC2-9513-A9A6-765F-99080934AFDD}"/>
                  </a:ext>
                </a:extLst>
              </p:cNvPr>
              <p:cNvSpPr txBox="1"/>
              <p:nvPr/>
            </p:nvSpPr>
            <p:spPr>
              <a:xfrm rot="16200000" flipH="1">
                <a:off x="3402779" y="4644829"/>
                <a:ext cx="2122943" cy="369332"/>
              </a:xfrm>
              <a:prstGeom prst="rect">
                <a:avLst/>
              </a:prstGeom>
              <a:noFill/>
            </p:spPr>
            <p:txBody>
              <a:bodyPr wrap="square" rtlCol="0">
                <a:spAutoFit/>
              </a:bodyPr>
              <a:lstStyle/>
              <a:p>
                <a:r>
                  <a:rPr lang="en-US" b="1" dirty="0"/>
                  <a:t>Tubular reactor</a:t>
                </a:r>
              </a:p>
            </p:txBody>
          </p:sp>
          <p:sp>
            <p:nvSpPr>
              <p:cNvPr id="314" name="TextBox 313">
                <a:extLst>
                  <a:ext uri="{FF2B5EF4-FFF2-40B4-BE49-F238E27FC236}">
                    <a16:creationId xmlns:a16="http://schemas.microsoft.com/office/drawing/2014/main" id="{D15EF78E-C576-3CCB-A1EA-5672E875CA91}"/>
                  </a:ext>
                </a:extLst>
              </p:cNvPr>
              <p:cNvSpPr txBox="1"/>
              <p:nvPr/>
            </p:nvSpPr>
            <p:spPr>
              <a:xfrm rot="16200000" flipH="1">
                <a:off x="8803463" y="5046419"/>
                <a:ext cx="1399952" cy="369332"/>
              </a:xfrm>
              <a:prstGeom prst="rect">
                <a:avLst/>
              </a:prstGeom>
              <a:noFill/>
            </p:spPr>
            <p:txBody>
              <a:bodyPr wrap="square" rtlCol="0">
                <a:spAutoFit/>
              </a:bodyPr>
              <a:lstStyle/>
              <a:p>
                <a:r>
                  <a:rPr lang="en-US" b="1" dirty="0"/>
                  <a:t>Granulator</a:t>
                </a:r>
              </a:p>
            </p:txBody>
          </p:sp>
          <p:sp>
            <p:nvSpPr>
              <p:cNvPr id="315" name="TextBox 314">
                <a:extLst>
                  <a:ext uri="{FF2B5EF4-FFF2-40B4-BE49-F238E27FC236}">
                    <a16:creationId xmlns:a16="http://schemas.microsoft.com/office/drawing/2014/main" id="{96610192-D69B-1440-EA8C-E12F785FAD38}"/>
                  </a:ext>
                </a:extLst>
              </p:cNvPr>
              <p:cNvSpPr txBox="1"/>
              <p:nvPr/>
            </p:nvSpPr>
            <p:spPr>
              <a:xfrm>
                <a:off x="2714386" y="3957429"/>
                <a:ext cx="1123571" cy="261610"/>
              </a:xfrm>
              <a:prstGeom prst="rect">
                <a:avLst/>
              </a:prstGeom>
              <a:noFill/>
            </p:spPr>
            <p:txBody>
              <a:bodyPr wrap="square" rtlCol="0">
                <a:spAutoFit/>
              </a:bodyPr>
              <a:lstStyle/>
              <a:p>
                <a:pPr algn="ctr"/>
                <a:r>
                  <a:rPr lang="en-US" sz="1100" dirty="0"/>
                  <a:t>Electricity grid</a:t>
                </a:r>
              </a:p>
            </p:txBody>
          </p:sp>
          <p:sp>
            <p:nvSpPr>
              <p:cNvPr id="316" name="TextBox 315">
                <a:extLst>
                  <a:ext uri="{FF2B5EF4-FFF2-40B4-BE49-F238E27FC236}">
                    <a16:creationId xmlns:a16="http://schemas.microsoft.com/office/drawing/2014/main" id="{B330E0C3-2B0C-0B49-06D9-C936567D31DD}"/>
                  </a:ext>
                </a:extLst>
              </p:cNvPr>
              <p:cNvSpPr txBox="1"/>
              <p:nvPr/>
            </p:nvSpPr>
            <p:spPr>
              <a:xfrm>
                <a:off x="2671411" y="5748309"/>
                <a:ext cx="1287780" cy="261610"/>
              </a:xfrm>
              <a:prstGeom prst="rect">
                <a:avLst/>
              </a:prstGeom>
              <a:noFill/>
            </p:spPr>
            <p:txBody>
              <a:bodyPr wrap="square" rtlCol="0">
                <a:spAutoFit/>
              </a:bodyPr>
              <a:lstStyle/>
              <a:p>
                <a:pPr algn="ctr"/>
                <a:r>
                  <a:rPr lang="en-US" sz="1100" dirty="0"/>
                  <a:t>Ammonia (NH3)</a:t>
                </a:r>
              </a:p>
            </p:txBody>
          </p:sp>
          <p:sp>
            <p:nvSpPr>
              <p:cNvPr id="317" name="TextBox 316">
                <a:extLst>
                  <a:ext uri="{FF2B5EF4-FFF2-40B4-BE49-F238E27FC236}">
                    <a16:creationId xmlns:a16="http://schemas.microsoft.com/office/drawing/2014/main" id="{8FECF279-36DD-CF02-9114-25DD78E31770}"/>
                  </a:ext>
                </a:extLst>
              </p:cNvPr>
              <p:cNvSpPr txBox="1"/>
              <p:nvPr/>
            </p:nvSpPr>
            <p:spPr>
              <a:xfrm rot="16200000" flipH="1">
                <a:off x="11710467" y="5100528"/>
                <a:ext cx="2393920" cy="369332"/>
              </a:xfrm>
              <a:prstGeom prst="rect">
                <a:avLst/>
              </a:prstGeom>
              <a:noFill/>
            </p:spPr>
            <p:txBody>
              <a:bodyPr wrap="square" rtlCol="0">
                <a:spAutoFit/>
              </a:bodyPr>
              <a:lstStyle/>
              <a:p>
                <a:r>
                  <a:rPr lang="en-US" b="1" dirty="0"/>
                  <a:t>Dryer and screener</a:t>
                </a:r>
              </a:p>
            </p:txBody>
          </p:sp>
          <p:sp>
            <p:nvSpPr>
              <p:cNvPr id="318" name="TextBox 317">
                <a:extLst>
                  <a:ext uri="{FF2B5EF4-FFF2-40B4-BE49-F238E27FC236}">
                    <a16:creationId xmlns:a16="http://schemas.microsoft.com/office/drawing/2014/main" id="{D0A3EAFB-06C8-5531-6692-5F7985EF142A}"/>
                  </a:ext>
                </a:extLst>
              </p:cNvPr>
              <p:cNvSpPr txBox="1"/>
              <p:nvPr/>
            </p:nvSpPr>
            <p:spPr>
              <a:xfrm rot="16200000" flipH="1">
                <a:off x="14306040" y="5135605"/>
                <a:ext cx="2393920" cy="369332"/>
              </a:xfrm>
              <a:prstGeom prst="rect">
                <a:avLst/>
              </a:prstGeom>
              <a:noFill/>
            </p:spPr>
            <p:txBody>
              <a:bodyPr wrap="square" rtlCol="0">
                <a:spAutoFit/>
              </a:bodyPr>
              <a:lstStyle/>
              <a:p>
                <a:r>
                  <a:rPr lang="en-US" b="1" dirty="0"/>
                  <a:t>Cooler and screener</a:t>
                </a:r>
              </a:p>
            </p:txBody>
          </p:sp>
          <p:sp>
            <p:nvSpPr>
              <p:cNvPr id="319" name="TextBox 318">
                <a:extLst>
                  <a:ext uri="{FF2B5EF4-FFF2-40B4-BE49-F238E27FC236}">
                    <a16:creationId xmlns:a16="http://schemas.microsoft.com/office/drawing/2014/main" id="{65473D0E-58CE-47A7-7B29-43AF47D4AF7F}"/>
                  </a:ext>
                </a:extLst>
              </p:cNvPr>
              <p:cNvSpPr txBox="1"/>
              <p:nvPr/>
            </p:nvSpPr>
            <p:spPr>
              <a:xfrm flipH="1">
                <a:off x="10474229" y="8309099"/>
                <a:ext cx="1352360" cy="369332"/>
              </a:xfrm>
              <a:prstGeom prst="rect">
                <a:avLst/>
              </a:prstGeom>
              <a:noFill/>
            </p:spPr>
            <p:txBody>
              <a:bodyPr wrap="square" rtlCol="0">
                <a:spAutoFit/>
              </a:bodyPr>
              <a:lstStyle/>
              <a:p>
                <a:pPr algn="ctr"/>
                <a:r>
                  <a:rPr lang="en-US" b="1" dirty="0"/>
                  <a:t>Scrubber</a:t>
                </a:r>
              </a:p>
            </p:txBody>
          </p:sp>
          <p:sp>
            <p:nvSpPr>
              <p:cNvPr id="320" name="TextBox 319">
                <a:extLst>
                  <a:ext uri="{FF2B5EF4-FFF2-40B4-BE49-F238E27FC236}">
                    <a16:creationId xmlns:a16="http://schemas.microsoft.com/office/drawing/2014/main" id="{DB3103AE-8AB4-115A-69DD-29E2F3B3D826}"/>
                  </a:ext>
                </a:extLst>
              </p:cNvPr>
              <p:cNvSpPr txBox="1"/>
              <p:nvPr/>
            </p:nvSpPr>
            <p:spPr>
              <a:xfrm flipH="1">
                <a:off x="7433346" y="6812687"/>
                <a:ext cx="1352360" cy="307777"/>
              </a:xfrm>
              <a:prstGeom prst="rect">
                <a:avLst/>
              </a:prstGeom>
              <a:noFill/>
            </p:spPr>
            <p:txBody>
              <a:bodyPr wrap="square" rtlCol="0">
                <a:spAutoFit/>
              </a:bodyPr>
              <a:lstStyle/>
              <a:p>
                <a:pPr algn="ctr"/>
                <a:r>
                  <a:rPr lang="en-US" sz="1400" b="1" dirty="0"/>
                  <a:t>Boiler</a:t>
                </a:r>
              </a:p>
            </p:txBody>
          </p:sp>
        </p:grpSp>
        <p:sp>
          <p:nvSpPr>
            <p:cNvPr id="298" name="TextBox 297">
              <a:extLst>
                <a:ext uri="{FF2B5EF4-FFF2-40B4-BE49-F238E27FC236}">
                  <a16:creationId xmlns:a16="http://schemas.microsoft.com/office/drawing/2014/main" id="{13BC275A-549C-7CCA-B68B-1A7662009CFA}"/>
                </a:ext>
              </a:extLst>
            </p:cNvPr>
            <p:cNvSpPr txBox="1"/>
            <p:nvPr/>
          </p:nvSpPr>
          <p:spPr>
            <a:xfrm rot="16200000">
              <a:off x="5190729" y="6815496"/>
              <a:ext cx="815636" cy="276999"/>
            </a:xfrm>
            <a:prstGeom prst="rect">
              <a:avLst/>
            </a:prstGeom>
            <a:solidFill>
              <a:srgbClr val="FFFF00"/>
            </a:solidFill>
            <a:ln>
              <a:solidFill>
                <a:srgbClr val="FFFF00"/>
              </a:solidFill>
            </a:ln>
          </p:spPr>
          <p:txBody>
            <a:bodyPr wrap="square" rtlCol="0">
              <a:spAutoFit/>
            </a:bodyPr>
            <a:lstStyle/>
            <a:p>
              <a:pPr algn="ctr"/>
              <a:r>
                <a:rPr lang="en-US" sz="1200" dirty="0"/>
                <a:t>Utilities</a:t>
              </a:r>
            </a:p>
          </p:txBody>
        </p:sp>
        <p:sp>
          <p:nvSpPr>
            <p:cNvPr id="299" name="TextBox 298">
              <a:extLst>
                <a:ext uri="{FF2B5EF4-FFF2-40B4-BE49-F238E27FC236}">
                  <a16:creationId xmlns:a16="http://schemas.microsoft.com/office/drawing/2014/main" id="{77FAE8F0-CCD4-C0C2-6741-4A4931BB4E4D}"/>
                </a:ext>
              </a:extLst>
            </p:cNvPr>
            <p:cNvSpPr txBox="1"/>
            <p:nvPr/>
          </p:nvSpPr>
          <p:spPr>
            <a:xfrm rot="16200000">
              <a:off x="10328022" y="5032161"/>
              <a:ext cx="815635" cy="276999"/>
            </a:xfrm>
            <a:prstGeom prst="rect">
              <a:avLst/>
            </a:prstGeom>
            <a:solidFill>
              <a:srgbClr val="FFFF00"/>
            </a:solidFill>
            <a:ln>
              <a:solidFill>
                <a:srgbClr val="FFFF00"/>
              </a:solidFill>
            </a:ln>
          </p:spPr>
          <p:txBody>
            <a:bodyPr wrap="square" rtlCol="0">
              <a:spAutoFit/>
            </a:bodyPr>
            <a:lstStyle/>
            <a:p>
              <a:pPr algn="ctr"/>
              <a:r>
                <a:rPr lang="en-US" sz="1200" dirty="0"/>
                <a:t>Utilities</a:t>
              </a:r>
            </a:p>
          </p:txBody>
        </p:sp>
        <p:sp>
          <p:nvSpPr>
            <p:cNvPr id="300" name="TextBox 299">
              <a:extLst>
                <a:ext uri="{FF2B5EF4-FFF2-40B4-BE49-F238E27FC236}">
                  <a16:creationId xmlns:a16="http://schemas.microsoft.com/office/drawing/2014/main" id="{631C5521-1B19-00C1-3C8A-93696137DDC6}"/>
                </a:ext>
              </a:extLst>
            </p:cNvPr>
            <p:cNvSpPr txBox="1"/>
            <p:nvPr/>
          </p:nvSpPr>
          <p:spPr>
            <a:xfrm rot="16200000">
              <a:off x="13358434" y="4576186"/>
              <a:ext cx="715535" cy="276999"/>
            </a:xfrm>
            <a:prstGeom prst="rect">
              <a:avLst/>
            </a:prstGeom>
            <a:solidFill>
              <a:srgbClr val="FFFF00"/>
            </a:solidFill>
            <a:ln>
              <a:solidFill>
                <a:srgbClr val="FFFF00"/>
              </a:solidFill>
            </a:ln>
          </p:spPr>
          <p:txBody>
            <a:bodyPr wrap="square" rtlCol="0">
              <a:spAutoFit/>
            </a:bodyPr>
            <a:lstStyle/>
            <a:p>
              <a:pPr algn="ctr"/>
              <a:r>
                <a:rPr lang="en-US" sz="1200" dirty="0"/>
                <a:t>Utilities</a:t>
              </a:r>
            </a:p>
          </p:txBody>
        </p:sp>
        <p:sp>
          <p:nvSpPr>
            <p:cNvPr id="301" name="TextBox 300">
              <a:extLst>
                <a:ext uri="{FF2B5EF4-FFF2-40B4-BE49-F238E27FC236}">
                  <a16:creationId xmlns:a16="http://schemas.microsoft.com/office/drawing/2014/main" id="{C949FC65-1E5E-A619-F928-5741A15D0717}"/>
                </a:ext>
              </a:extLst>
            </p:cNvPr>
            <p:cNvSpPr txBox="1"/>
            <p:nvPr/>
          </p:nvSpPr>
          <p:spPr>
            <a:xfrm>
              <a:off x="6550338" y="3111092"/>
              <a:ext cx="983673" cy="276999"/>
            </a:xfrm>
            <a:prstGeom prst="rect">
              <a:avLst/>
            </a:prstGeom>
            <a:solidFill>
              <a:srgbClr val="FF0101"/>
            </a:solidFill>
            <a:ln>
              <a:solidFill>
                <a:srgbClr val="FF0101"/>
              </a:solidFill>
            </a:ln>
          </p:spPr>
          <p:txBody>
            <a:bodyPr wrap="square" rtlCol="0">
              <a:spAutoFit/>
            </a:bodyPr>
            <a:lstStyle/>
            <a:p>
              <a:pPr algn="ctr"/>
              <a:r>
                <a:rPr lang="en-US" sz="1200" dirty="0">
                  <a:solidFill>
                    <a:schemeClr val="bg1"/>
                  </a:solidFill>
                </a:rPr>
                <a:t>Waste heat</a:t>
              </a:r>
            </a:p>
          </p:txBody>
        </p:sp>
        <p:sp>
          <p:nvSpPr>
            <p:cNvPr id="302" name="TextBox 301">
              <a:extLst>
                <a:ext uri="{FF2B5EF4-FFF2-40B4-BE49-F238E27FC236}">
                  <a16:creationId xmlns:a16="http://schemas.microsoft.com/office/drawing/2014/main" id="{2EE01E96-AA05-73A3-F977-E3AE974A79E2}"/>
                </a:ext>
              </a:extLst>
            </p:cNvPr>
            <p:cNvSpPr txBox="1"/>
            <p:nvPr/>
          </p:nvSpPr>
          <p:spPr>
            <a:xfrm>
              <a:off x="6190234" y="3426916"/>
              <a:ext cx="1703879" cy="276999"/>
            </a:xfrm>
            <a:prstGeom prst="rect">
              <a:avLst/>
            </a:prstGeom>
            <a:solidFill>
              <a:srgbClr val="0000FF"/>
            </a:solidFill>
            <a:ln>
              <a:solidFill>
                <a:srgbClr val="0000FF"/>
              </a:solidFill>
            </a:ln>
          </p:spPr>
          <p:txBody>
            <a:bodyPr wrap="square" rtlCol="0">
              <a:spAutoFit/>
            </a:bodyPr>
            <a:lstStyle/>
            <a:p>
              <a:pPr algn="ctr"/>
              <a:r>
                <a:rPr lang="en-US" sz="1200" dirty="0">
                  <a:solidFill>
                    <a:schemeClr val="bg1"/>
                  </a:solidFill>
                </a:rPr>
                <a:t>Ammonium phosphate</a:t>
              </a:r>
            </a:p>
          </p:txBody>
        </p:sp>
        <p:sp>
          <p:nvSpPr>
            <p:cNvPr id="303" name="TextBox 302">
              <a:extLst>
                <a:ext uri="{FF2B5EF4-FFF2-40B4-BE49-F238E27FC236}">
                  <a16:creationId xmlns:a16="http://schemas.microsoft.com/office/drawing/2014/main" id="{287D3214-A476-ED28-A24E-AE5EEAE5F84C}"/>
                </a:ext>
              </a:extLst>
            </p:cNvPr>
            <p:cNvSpPr txBox="1"/>
            <p:nvPr/>
          </p:nvSpPr>
          <p:spPr>
            <a:xfrm>
              <a:off x="6111450" y="3725535"/>
              <a:ext cx="1898374" cy="276999"/>
            </a:xfrm>
            <a:prstGeom prst="rect">
              <a:avLst/>
            </a:prstGeom>
            <a:solidFill>
              <a:srgbClr val="0000FF"/>
            </a:solidFill>
            <a:ln>
              <a:solidFill>
                <a:srgbClr val="0000FF"/>
              </a:solidFill>
            </a:ln>
          </p:spPr>
          <p:txBody>
            <a:bodyPr wrap="square" rtlCol="0">
              <a:spAutoFit/>
            </a:bodyPr>
            <a:lstStyle/>
            <a:p>
              <a:pPr algn="ctr"/>
              <a:r>
                <a:rPr lang="en-US" sz="1200" dirty="0">
                  <a:solidFill>
                    <a:schemeClr val="bg1"/>
                  </a:solidFill>
                </a:rPr>
                <a:t>Diammonium phosphate</a:t>
              </a:r>
            </a:p>
          </p:txBody>
        </p:sp>
        <p:sp>
          <p:nvSpPr>
            <p:cNvPr id="304" name="TextBox 303">
              <a:extLst>
                <a:ext uri="{FF2B5EF4-FFF2-40B4-BE49-F238E27FC236}">
                  <a16:creationId xmlns:a16="http://schemas.microsoft.com/office/drawing/2014/main" id="{6FAC463F-5276-E290-ADD3-D6CA785825D3}"/>
                </a:ext>
              </a:extLst>
            </p:cNvPr>
            <p:cNvSpPr txBox="1"/>
            <p:nvPr/>
          </p:nvSpPr>
          <p:spPr>
            <a:xfrm>
              <a:off x="10553247" y="3909672"/>
              <a:ext cx="1082689" cy="276999"/>
            </a:xfrm>
            <a:prstGeom prst="rect">
              <a:avLst/>
            </a:prstGeom>
            <a:solidFill>
              <a:srgbClr val="0000FF"/>
            </a:solidFill>
            <a:ln>
              <a:solidFill>
                <a:srgbClr val="0000FF"/>
              </a:solidFill>
            </a:ln>
          </p:spPr>
          <p:txBody>
            <a:bodyPr wrap="square" rtlCol="0">
              <a:spAutoFit/>
            </a:bodyPr>
            <a:lstStyle/>
            <a:p>
              <a:pPr algn="ctr"/>
              <a:r>
                <a:rPr lang="en-US" sz="1200" dirty="0">
                  <a:solidFill>
                    <a:schemeClr val="bg1"/>
                  </a:solidFill>
                </a:rPr>
                <a:t>Wet product</a:t>
              </a:r>
            </a:p>
          </p:txBody>
        </p:sp>
        <p:sp>
          <p:nvSpPr>
            <p:cNvPr id="305" name="TextBox 304">
              <a:extLst>
                <a:ext uri="{FF2B5EF4-FFF2-40B4-BE49-F238E27FC236}">
                  <a16:creationId xmlns:a16="http://schemas.microsoft.com/office/drawing/2014/main" id="{AC8AB084-2DB4-539F-D8D5-47250FAD7066}"/>
                </a:ext>
              </a:extLst>
            </p:cNvPr>
            <p:cNvSpPr txBox="1"/>
            <p:nvPr/>
          </p:nvSpPr>
          <p:spPr>
            <a:xfrm>
              <a:off x="13801903" y="3926522"/>
              <a:ext cx="1082689" cy="276999"/>
            </a:xfrm>
            <a:prstGeom prst="rect">
              <a:avLst/>
            </a:prstGeom>
            <a:solidFill>
              <a:srgbClr val="0000FF"/>
            </a:solidFill>
            <a:ln>
              <a:solidFill>
                <a:srgbClr val="0000FF"/>
              </a:solidFill>
            </a:ln>
          </p:spPr>
          <p:txBody>
            <a:bodyPr wrap="square" rtlCol="0">
              <a:spAutoFit/>
            </a:bodyPr>
            <a:lstStyle/>
            <a:p>
              <a:pPr algn="ctr"/>
              <a:r>
                <a:rPr lang="en-US" sz="1200" dirty="0">
                  <a:solidFill>
                    <a:schemeClr val="bg1"/>
                  </a:solidFill>
                </a:rPr>
                <a:t>Dry product</a:t>
              </a:r>
            </a:p>
          </p:txBody>
        </p:sp>
        <p:sp>
          <p:nvSpPr>
            <p:cNvPr id="306" name="TextBox 305">
              <a:extLst>
                <a:ext uri="{FF2B5EF4-FFF2-40B4-BE49-F238E27FC236}">
                  <a16:creationId xmlns:a16="http://schemas.microsoft.com/office/drawing/2014/main" id="{374D573C-E09A-B4F2-999B-F2255BAEF335}"/>
                </a:ext>
              </a:extLst>
            </p:cNvPr>
            <p:cNvSpPr txBox="1"/>
            <p:nvPr/>
          </p:nvSpPr>
          <p:spPr>
            <a:xfrm rot="16200000">
              <a:off x="5044252" y="8197282"/>
              <a:ext cx="1230317" cy="461665"/>
            </a:xfrm>
            <a:prstGeom prst="rect">
              <a:avLst/>
            </a:prstGeom>
            <a:solidFill>
              <a:srgbClr val="008040"/>
            </a:solidFill>
            <a:ln>
              <a:solidFill>
                <a:srgbClr val="008040"/>
              </a:solidFill>
            </a:ln>
          </p:spPr>
          <p:txBody>
            <a:bodyPr wrap="square" rtlCol="0">
              <a:spAutoFit/>
            </a:bodyPr>
            <a:lstStyle/>
            <a:p>
              <a:pPr algn="ctr"/>
              <a:r>
                <a:rPr lang="en-US" sz="1200" dirty="0">
                  <a:solidFill>
                    <a:schemeClr val="bg1"/>
                  </a:solidFill>
                </a:rPr>
                <a:t>Raw materials and transport</a:t>
              </a:r>
            </a:p>
          </p:txBody>
        </p:sp>
        <p:sp>
          <p:nvSpPr>
            <p:cNvPr id="307" name="TextBox 306">
              <a:extLst>
                <a:ext uri="{FF2B5EF4-FFF2-40B4-BE49-F238E27FC236}">
                  <a16:creationId xmlns:a16="http://schemas.microsoft.com/office/drawing/2014/main" id="{2D0C7E8C-AF4B-0371-7588-502B5887828F}"/>
                </a:ext>
              </a:extLst>
            </p:cNvPr>
            <p:cNvSpPr txBox="1"/>
            <p:nvPr/>
          </p:nvSpPr>
          <p:spPr>
            <a:xfrm rot="16200000">
              <a:off x="1890768" y="6003660"/>
              <a:ext cx="1206400" cy="276999"/>
            </a:xfrm>
            <a:prstGeom prst="rect">
              <a:avLst/>
            </a:prstGeom>
            <a:solidFill>
              <a:srgbClr val="008040"/>
            </a:solidFill>
            <a:ln>
              <a:solidFill>
                <a:srgbClr val="008040"/>
              </a:solidFill>
            </a:ln>
          </p:spPr>
          <p:txBody>
            <a:bodyPr wrap="square" rtlCol="0">
              <a:spAutoFit/>
            </a:bodyPr>
            <a:lstStyle/>
            <a:p>
              <a:pPr algn="ctr"/>
              <a:r>
                <a:rPr lang="en-US" sz="1200" dirty="0">
                  <a:solidFill>
                    <a:schemeClr val="bg1"/>
                  </a:solidFill>
                </a:rPr>
                <a:t>Raw materials</a:t>
              </a:r>
            </a:p>
          </p:txBody>
        </p:sp>
        <p:sp>
          <p:nvSpPr>
            <p:cNvPr id="308" name="TextBox 307">
              <a:extLst>
                <a:ext uri="{FF2B5EF4-FFF2-40B4-BE49-F238E27FC236}">
                  <a16:creationId xmlns:a16="http://schemas.microsoft.com/office/drawing/2014/main" id="{5144083C-29A1-2BC6-D264-3085D359A55A}"/>
                </a:ext>
              </a:extLst>
            </p:cNvPr>
            <p:cNvSpPr txBox="1"/>
            <p:nvPr/>
          </p:nvSpPr>
          <p:spPr>
            <a:xfrm rot="16200000">
              <a:off x="2080115" y="4174066"/>
              <a:ext cx="897064" cy="276999"/>
            </a:xfrm>
            <a:prstGeom prst="rect">
              <a:avLst/>
            </a:prstGeom>
            <a:solidFill>
              <a:srgbClr val="FFFF00"/>
            </a:solidFill>
            <a:ln>
              <a:solidFill>
                <a:srgbClr val="FFFF00"/>
              </a:solidFill>
            </a:ln>
          </p:spPr>
          <p:txBody>
            <a:bodyPr wrap="square" rtlCol="0">
              <a:spAutoFit/>
            </a:bodyPr>
            <a:lstStyle/>
            <a:p>
              <a:pPr algn="ctr"/>
              <a:r>
                <a:rPr lang="en-US" sz="1200" dirty="0"/>
                <a:t>Electricity</a:t>
              </a:r>
            </a:p>
          </p:txBody>
        </p:sp>
        <p:sp>
          <p:nvSpPr>
            <p:cNvPr id="309" name="TextBox 308">
              <a:extLst>
                <a:ext uri="{FF2B5EF4-FFF2-40B4-BE49-F238E27FC236}">
                  <a16:creationId xmlns:a16="http://schemas.microsoft.com/office/drawing/2014/main" id="{7E9B8935-9B91-5404-5FEF-F7BB950B3156}"/>
                </a:ext>
              </a:extLst>
            </p:cNvPr>
            <p:cNvSpPr txBox="1"/>
            <p:nvPr/>
          </p:nvSpPr>
          <p:spPr>
            <a:xfrm>
              <a:off x="12191227" y="7812956"/>
              <a:ext cx="919772" cy="253916"/>
            </a:xfrm>
            <a:prstGeom prst="rect">
              <a:avLst/>
            </a:prstGeom>
            <a:solidFill>
              <a:srgbClr val="8080FF"/>
            </a:solidFill>
            <a:ln>
              <a:solidFill>
                <a:srgbClr val="8080FF"/>
              </a:solidFill>
            </a:ln>
          </p:spPr>
          <p:txBody>
            <a:bodyPr wrap="square" rtlCol="0">
              <a:spAutoFit/>
            </a:bodyPr>
            <a:lstStyle/>
            <a:p>
              <a:pPr algn="ctr"/>
              <a:r>
                <a:rPr lang="en-US" sz="1050" dirty="0">
                  <a:solidFill>
                    <a:schemeClr val="bg1"/>
                  </a:solidFill>
                </a:rPr>
                <a:t>Exhaust gas</a:t>
              </a:r>
            </a:p>
          </p:txBody>
        </p:sp>
        <p:sp>
          <p:nvSpPr>
            <p:cNvPr id="310" name="TextBox 309">
              <a:extLst>
                <a:ext uri="{FF2B5EF4-FFF2-40B4-BE49-F238E27FC236}">
                  <a16:creationId xmlns:a16="http://schemas.microsoft.com/office/drawing/2014/main" id="{1565CD9C-4417-EE67-AA19-4A65C9564C1D}"/>
                </a:ext>
              </a:extLst>
            </p:cNvPr>
            <p:cNvSpPr txBox="1"/>
            <p:nvPr/>
          </p:nvSpPr>
          <p:spPr>
            <a:xfrm>
              <a:off x="9092544" y="7812956"/>
              <a:ext cx="919772" cy="253916"/>
            </a:xfrm>
            <a:prstGeom prst="rect">
              <a:avLst/>
            </a:prstGeom>
            <a:solidFill>
              <a:srgbClr val="8080FF"/>
            </a:solidFill>
            <a:ln>
              <a:solidFill>
                <a:srgbClr val="8080FF"/>
              </a:solidFill>
            </a:ln>
          </p:spPr>
          <p:txBody>
            <a:bodyPr wrap="square" rtlCol="0">
              <a:spAutoFit/>
            </a:bodyPr>
            <a:lstStyle/>
            <a:p>
              <a:pPr algn="ctr"/>
              <a:r>
                <a:rPr lang="en-US" sz="1050" dirty="0">
                  <a:solidFill>
                    <a:schemeClr val="bg1"/>
                  </a:solidFill>
                </a:rPr>
                <a:t>Exhaust gas</a:t>
              </a:r>
            </a:p>
          </p:txBody>
        </p:sp>
        <p:sp>
          <p:nvSpPr>
            <p:cNvPr id="311" name="TextBox 310">
              <a:extLst>
                <a:ext uri="{FF2B5EF4-FFF2-40B4-BE49-F238E27FC236}">
                  <a16:creationId xmlns:a16="http://schemas.microsoft.com/office/drawing/2014/main" id="{8524A263-836B-AD6E-6830-DB4AB2C0A850}"/>
                </a:ext>
              </a:extLst>
            </p:cNvPr>
            <p:cNvSpPr txBox="1"/>
            <p:nvPr/>
          </p:nvSpPr>
          <p:spPr>
            <a:xfrm>
              <a:off x="12659524" y="7205139"/>
              <a:ext cx="812234" cy="415498"/>
            </a:xfrm>
            <a:prstGeom prst="rect">
              <a:avLst/>
            </a:prstGeom>
            <a:solidFill>
              <a:srgbClr val="808080"/>
            </a:solidFill>
            <a:ln>
              <a:solidFill>
                <a:schemeClr val="tx1"/>
              </a:solidFill>
            </a:ln>
          </p:spPr>
          <p:txBody>
            <a:bodyPr wrap="square" rtlCol="0">
              <a:spAutoFit/>
            </a:bodyPr>
            <a:lstStyle/>
            <a:p>
              <a:pPr algn="ctr"/>
              <a:r>
                <a:rPr lang="en-US" sz="1050" dirty="0">
                  <a:solidFill>
                    <a:schemeClr val="bg1"/>
                  </a:solidFill>
                </a:rPr>
                <a:t>Recycled material</a:t>
              </a:r>
            </a:p>
          </p:txBody>
        </p:sp>
        <p:sp>
          <p:nvSpPr>
            <p:cNvPr id="312" name="TextBox 311">
              <a:extLst>
                <a:ext uri="{FF2B5EF4-FFF2-40B4-BE49-F238E27FC236}">
                  <a16:creationId xmlns:a16="http://schemas.microsoft.com/office/drawing/2014/main" id="{3FC9F90B-C2DB-E5E1-C3DA-986DCED5DA6C}"/>
                </a:ext>
              </a:extLst>
            </p:cNvPr>
            <p:cNvSpPr txBox="1"/>
            <p:nvPr/>
          </p:nvSpPr>
          <p:spPr>
            <a:xfrm>
              <a:off x="15058549" y="7138446"/>
              <a:ext cx="812234" cy="415498"/>
            </a:xfrm>
            <a:prstGeom prst="rect">
              <a:avLst/>
            </a:prstGeom>
            <a:solidFill>
              <a:srgbClr val="808080"/>
            </a:solidFill>
            <a:ln>
              <a:solidFill>
                <a:schemeClr val="tx1"/>
              </a:solidFill>
            </a:ln>
          </p:spPr>
          <p:txBody>
            <a:bodyPr wrap="square" rtlCol="0">
              <a:spAutoFit/>
            </a:bodyPr>
            <a:lstStyle/>
            <a:p>
              <a:pPr algn="ctr"/>
              <a:r>
                <a:rPr lang="en-US" sz="1050" dirty="0">
                  <a:solidFill>
                    <a:schemeClr val="bg1"/>
                  </a:solidFill>
                </a:rPr>
                <a:t>Recycled material</a:t>
              </a:r>
            </a:p>
          </p:txBody>
        </p:sp>
      </p:grpSp>
      <p:grpSp>
        <p:nvGrpSpPr>
          <p:cNvPr id="4" name="Group 3">
            <a:extLst>
              <a:ext uri="{FF2B5EF4-FFF2-40B4-BE49-F238E27FC236}">
                <a16:creationId xmlns:a16="http://schemas.microsoft.com/office/drawing/2014/main" id="{CCBB4AC7-8D22-B380-E188-50142448556E}"/>
              </a:ext>
            </a:extLst>
          </p:cNvPr>
          <p:cNvGrpSpPr/>
          <p:nvPr/>
        </p:nvGrpSpPr>
        <p:grpSpPr>
          <a:xfrm>
            <a:off x="2747989" y="3174493"/>
            <a:ext cx="13278447" cy="5670852"/>
            <a:chOff x="2763229" y="3171526"/>
            <a:chExt cx="13278447" cy="5670852"/>
          </a:xfrm>
          <a:noFill/>
        </p:grpSpPr>
        <p:sp>
          <p:nvSpPr>
            <p:cNvPr id="258" name="Rectangle 257">
              <a:extLst>
                <a:ext uri="{FF2B5EF4-FFF2-40B4-BE49-F238E27FC236}">
                  <a16:creationId xmlns:a16="http://schemas.microsoft.com/office/drawing/2014/main" id="{8347A24A-2EFE-831B-274F-79DD5554BBA6}"/>
                </a:ext>
              </a:extLst>
            </p:cNvPr>
            <p:cNvSpPr/>
            <p:nvPr/>
          </p:nvSpPr>
          <p:spPr>
            <a:xfrm>
              <a:off x="2763229" y="6013875"/>
              <a:ext cx="1110271" cy="295457"/>
            </a:xfrm>
            <a:prstGeom prst="rect">
              <a:avLst/>
            </a:prstGeom>
            <a:grpFill/>
            <a:ln w="38100">
              <a:solidFill>
                <a:schemeClr val="accent1"/>
              </a:solid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sp>
          <p:nvSpPr>
            <p:cNvPr id="268" name="Rectangle 267">
              <a:extLst>
                <a:ext uri="{FF2B5EF4-FFF2-40B4-BE49-F238E27FC236}">
                  <a16:creationId xmlns:a16="http://schemas.microsoft.com/office/drawing/2014/main" id="{BAAC58CD-DF42-7D2D-A190-A30C7452EEEB}"/>
                </a:ext>
              </a:extLst>
            </p:cNvPr>
            <p:cNvSpPr/>
            <p:nvPr/>
          </p:nvSpPr>
          <p:spPr>
            <a:xfrm>
              <a:off x="9043552" y="3171526"/>
              <a:ext cx="919772" cy="4350052"/>
            </a:xfrm>
            <a:prstGeom prst="rect">
              <a:avLst/>
            </a:prstGeom>
            <a:grpFill/>
            <a:ln w="38100">
              <a:solidFill>
                <a:schemeClr val="accent1"/>
              </a:solid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sp>
          <p:nvSpPr>
            <p:cNvPr id="256" name="Rectangle 255">
              <a:extLst>
                <a:ext uri="{FF2B5EF4-FFF2-40B4-BE49-F238E27FC236}">
                  <a16:creationId xmlns:a16="http://schemas.microsoft.com/office/drawing/2014/main" id="{5042B2AD-62E8-06DB-BE13-095E1EEF1166}"/>
                </a:ext>
              </a:extLst>
            </p:cNvPr>
            <p:cNvSpPr/>
            <p:nvPr/>
          </p:nvSpPr>
          <p:spPr>
            <a:xfrm>
              <a:off x="2763229" y="4203521"/>
              <a:ext cx="919771" cy="295457"/>
            </a:xfrm>
            <a:prstGeom prst="rect">
              <a:avLst/>
            </a:prstGeom>
            <a:grpFill/>
            <a:ln w="38100">
              <a:solidFill>
                <a:schemeClr val="accent1"/>
              </a:solid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sp>
          <p:nvSpPr>
            <p:cNvPr id="259" name="Rectangle 258">
              <a:extLst>
                <a:ext uri="{FF2B5EF4-FFF2-40B4-BE49-F238E27FC236}">
                  <a16:creationId xmlns:a16="http://schemas.microsoft.com/office/drawing/2014/main" id="{3C57FD09-26C1-87C1-A6CD-CAAFC88158F2}"/>
                </a:ext>
              </a:extLst>
            </p:cNvPr>
            <p:cNvSpPr/>
            <p:nvPr/>
          </p:nvSpPr>
          <p:spPr>
            <a:xfrm>
              <a:off x="6065229" y="4102186"/>
              <a:ext cx="1110271" cy="2207146"/>
            </a:xfrm>
            <a:prstGeom prst="rect">
              <a:avLst/>
            </a:prstGeom>
            <a:grpFill/>
            <a:ln w="38100">
              <a:solidFill>
                <a:schemeClr val="accent1"/>
              </a:solid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sp>
          <p:nvSpPr>
            <p:cNvPr id="260" name="Rectangle 259">
              <a:extLst>
                <a:ext uri="{FF2B5EF4-FFF2-40B4-BE49-F238E27FC236}">
                  <a16:creationId xmlns:a16="http://schemas.microsoft.com/office/drawing/2014/main" id="{D59052ED-0BD6-64A9-D356-A17E11761A00}"/>
                </a:ext>
              </a:extLst>
            </p:cNvPr>
            <p:cNvSpPr/>
            <p:nvPr/>
          </p:nvSpPr>
          <p:spPr>
            <a:xfrm>
              <a:off x="6065229" y="8145153"/>
              <a:ext cx="1110271" cy="697225"/>
            </a:xfrm>
            <a:prstGeom prst="rect">
              <a:avLst/>
            </a:prstGeom>
            <a:grpFill/>
            <a:ln w="38100">
              <a:solidFill>
                <a:schemeClr val="accent1"/>
              </a:solid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sp>
          <p:nvSpPr>
            <p:cNvPr id="261" name="Rectangle 260">
              <a:extLst>
                <a:ext uri="{FF2B5EF4-FFF2-40B4-BE49-F238E27FC236}">
                  <a16:creationId xmlns:a16="http://schemas.microsoft.com/office/drawing/2014/main" id="{86926035-AA41-DEA0-774A-E5E736F0EBF7}"/>
                </a:ext>
              </a:extLst>
            </p:cNvPr>
            <p:cNvSpPr/>
            <p:nvPr/>
          </p:nvSpPr>
          <p:spPr>
            <a:xfrm>
              <a:off x="10961895" y="4739238"/>
              <a:ext cx="1001902" cy="839240"/>
            </a:xfrm>
            <a:prstGeom prst="rect">
              <a:avLst/>
            </a:prstGeom>
            <a:grpFill/>
            <a:ln w="38100">
              <a:solidFill>
                <a:schemeClr val="accent1"/>
              </a:solid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sp>
          <p:nvSpPr>
            <p:cNvPr id="262" name="Rectangle 261">
              <a:extLst>
                <a:ext uri="{FF2B5EF4-FFF2-40B4-BE49-F238E27FC236}">
                  <a16:creationId xmlns:a16="http://schemas.microsoft.com/office/drawing/2014/main" id="{8164D8A0-9944-B65A-4D52-BDBA4BCABAB9}"/>
                </a:ext>
              </a:extLst>
            </p:cNvPr>
            <p:cNvSpPr/>
            <p:nvPr/>
          </p:nvSpPr>
          <p:spPr>
            <a:xfrm>
              <a:off x="6073557" y="7037408"/>
              <a:ext cx="1110271" cy="295457"/>
            </a:xfrm>
            <a:prstGeom prst="rect">
              <a:avLst/>
            </a:prstGeom>
            <a:grpFill/>
            <a:ln w="38100">
              <a:solidFill>
                <a:schemeClr val="accent1"/>
              </a:solid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sp>
          <p:nvSpPr>
            <p:cNvPr id="264" name="Rectangle 263">
              <a:extLst>
                <a:ext uri="{FF2B5EF4-FFF2-40B4-BE49-F238E27FC236}">
                  <a16:creationId xmlns:a16="http://schemas.microsoft.com/office/drawing/2014/main" id="{FBF93D6D-C141-5CFF-E68B-E0F2123BA301}"/>
                </a:ext>
              </a:extLst>
            </p:cNvPr>
            <p:cNvSpPr/>
            <p:nvPr/>
          </p:nvSpPr>
          <p:spPr>
            <a:xfrm>
              <a:off x="6062543" y="6517230"/>
              <a:ext cx="1110271" cy="295457"/>
            </a:xfrm>
            <a:prstGeom prst="rect">
              <a:avLst/>
            </a:prstGeom>
            <a:grpFill/>
            <a:ln w="38100">
              <a:solidFill>
                <a:schemeClr val="accent1"/>
              </a:solid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sp>
          <p:nvSpPr>
            <p:cNvPr id="265" name="Rectangle 264">
              <a:extLst>
                <a:ext uri="{FF2B5EF4-FFF2-40B4-BE49-F238E27FC236}">
                  <a16:creationId xmlns:a16="http://schemas.microsoft.com/office/drawing/2014/main" id="{966B00FD-B546-496D-A7D9-0DD505DBC6C9}"/>
                </a:ext>
              </a:extLst>
            </p:cNvPr>
            <p:cNvSpPr/>
            <p:nvPr/>
          </p:nvSpPr>
          <p:spPr>
            <a:xfrm>
              <a:off x="7542034" y="4565815"/>
              <a:ext cx="1110271" cy="1743517"/>
            </a:xfrm>
            <a:prstGeom prst="rect">
              <a:avLst/>
            </a:prstGeom>
            <a:grpFill/>
            <a:ln w="38100">
              <a:solidFill>
                <a:schemeClr val="accent1"/>
              </a:solidFill>
            </a:ln>
          </p:spPr>
          <p:style>
            <a:lnRef idx="0">
              <a:scrgbClr r="0" g="0" b="0"/>
            </a:lnRef>
            <a:fillRef idx="0">
              <a:scrgbClr r="0" g="0" b="0"/>
            </a:fillRef>
            <a:effectRef idx="0">
              <a:scrgbClr r="0" g="0" b="0"/>
            </a:effectRef>
            <a:fontRef idx="minor">
              <a:schemeClr val="lt1"/>
            </a:fontRef>
          </p:style>
          <p:txBody>
            <a:bodyPr rtlCol="0" anchor="ctr"/>
            <a:lstStyle/>
            <a:p>
              <a:pPr algn="ctr"/>
              <a:r>
                <a:rPr lang="en-US" dirty="0"/>
                <a:t>UNIT 3</a:t>
              </a:r>
            </a:p>
          </p:txBody>
        </p:sp>
        <p:sp>
          <p:nvSpPr>
            <p:cNvPr id="266" name="Rectangle 265">
              <a:extLst>
                <a:ext uri="{FF2B5EF4-FFF2-40B4-BE49-F238E27FC236}">
                  <a16:creationId xmlns:a16="http://schemas.microsoft.com/office/drawing/2014/main" id="{36ACF832-B7C6-C103-9473-59809FDA1C41}"/>
                </a:ext>
              </a:extLst>
            </p:cNvPr>
            <p:cNvSpPr/>
            <p:nvPr/>
          </p:nvSpPr>
          <p:spPr>
            <a:xfrm>
              <a:off x="7542034" y="8145153"/>
              <a:ext cx="1110271" cy="263322"/>
            </a:xfrm>
            <a:prstGeom prst="rect">
              <a:avLst/>
            </a:prstGeom>
            <a:grpFill/>
            <a:ln w="38100">
              <a:solidFill>
                <a:schemeClr val="accent1"/>
              </a:solid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sp>
          <p:nvSpPr>
            <p:cNvPr id="267" name="Rectangle 266">
              <a:extLst>
                <a:ext uri="{FF2B5EF4-FFF2-40B4-BE49-F238E27FC236}">
                  <a16:creationId xmlns:a16="http://schemas.microsoft.com/office/drawing/2014/main" id="{D5AC4BD7-2303-4FA2-C4EE-E331B2A2F6D5}"/>
                </a:ext>
              </a:extLst>
            </p:cNvPr>
            <p:cNvSpPr/>
            <p:nvPr/>
          </p:nvSpPr>
          <p:spPr>
            <a:xfrm>
              <a:off x="4049535" y="3182255"/>
              <a:ext cx="919772" cy="3810556"/>
            </a:xfrm>
            <a:prstGeom prst="rect">
              <a:avLst/>
            </a:prstGeom>
            <a:grpFill/>
            <a:ln w="38100">
              <a:solidFill>
                <a:schemeClr val="accent1"/>
              </a:solid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sp>
          <p:nvSpPr>
            <p:cNvPr id="270" name="Rectangle 269">
              <a:extLst>
                <a:ext uri="{FF2B5EF4-FFF2-40B4-BE49-F238E27FC236}">
                  <a16:creationId xmlns:a16="http://schemas.microsoft.com/office/drawing/2014/main" id="{2EC44B52-350E-9573-DA85-4EA50C72A7E2}"/>
                </a:ext>
              </a:extLst>
            </p:cNvPr>
            <p:cNvSpPr/>
            <p:nvPr/>
          </p:nvSpPr>
          <p:spPr>
            <a:xfrm>
              <a:off x="12436217" y="3761462"/>
              <a:ext cx="919772" cy="3231349"/>
            </a:xfrm>
            <a:prstGeom prst="rect">
              <a:avLst/>
            </a:prstGeom>
            <a:grpFill/>
            <a:ln w="38100">
              <a:solidFill>
                <a:schemeClr val="accent1"/>
              </a:solid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sp>
          <p:nvSpPr>
            <p:cNvPr id="271" name="Rectangle 270">
              <a:extLst>
                <a:ext uri="{FF2B5EF4-FFF2-40B4-BE49-F238E27FC236}">
                  <a16:creationId xmlns:a16="http://schemas.microsoft.com/office/drawing/2014/main" id="{5C6C9646-0508-8B49-3B47-B1EECE3EA138}"/>
                </a:ext>
              </a:extLst>
            </p:cNvPr>
            <p:cNvSpPr/>
            <p:nvPr/>
          </p:nvSpPr>
          <p:spPr>
            <a:xfrm>
              <a:off x="15121905" y="3768021"/>
              <a:ext cx="919771" cy="3306418"/>
            </a:xfrm>
            <a:prstGeom prst="rect">
              <a:avLst/>
            </a:prstGeom>
            <a:grpFill/>
            <a:ln w="38100">
              <a:solidFill>
                <a:schemeClr val="accent1"/>
              </a:solid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sp>
          <p:nvSpPr>
            <p:cNvPr id="272" name="Rectangle 271">
              <a:extLst>
                <a:ext uri="{FF2B5EF4-FFF2-40B4-BE49-F238E27FC236}">
                  <a16:creationId xmlns:a16="http://schemas.microsoft.com/office/drawing/2014/main" id="{0F14D541-765C-FCA2-FB00-E955AE63392B}"/>
                </a:ext>
              </a:extLst>
            </p:cNvPr>
            <p:cNvSpPr/>
            <p:nvPr/>
          </p:nvSpPr>
          <p:spPr>
            <a:xfrm>
              <a:off x="9124725" y="8145154"/>
              <a:ext cx="4051368" cy="697224"/>
            </a:xfrm>
            <a:prstGeom prst="rect">
              <a:avLst/>
            </a:prstGeom>
            <a:grpFill/>
            <a:ln w="38100">
              <a:solidFill>
                <a:schemeClr val="accent1"/>
              </a:solid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sp>
          <p:nvSpPr>
            <p:cNvPr id="273" name="Rectangle 272">
              <a:extLst>
                <a:ext uri="{FF2B5EF4-FFF2-40B4-BE49-F238E27FC236}">
                  <a16:creationId xmlns:a16="http://schemas.microsoft.com/office/drawing/2014/main" id="{BC562124-84D5-6715-6F10-36CC6F7E476D}"/>
                </a:ext>
              </a:extLst>
            </p:cNvPr>
            <p:cNvSpPr/>
            <p:nvPr/>
          </p:nvSpPr>
          <p:spPr>
            <a:xfrm>
              <a:off x="7564061" y="6588487"/>
              <a:ext cx="1088244" cy="699781"/>
            </a:xfrm>
            <a:prstGeom prst="rect">
              <a:avLst/>
            </a:prstGeom>
            <a:grpFill/>
            <a:ln w="38100">
              <a:solidFill>
                <a:schemeClr val="accent1"/>
              </a:solid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grpSp>
      <p:sp>
        <p:nvSpPr>
          <p:cNvPr id="5" name="textruta 4">
            <a:extLst>
              <a:ext uri="{FF2B5EF4-FFF2-40B4-BE49-F238E27FC236}">
                <a16:creationId xmlns:a16="http://schemas.microsoft.com/office/drawing/2014/main" id="{D6463C70-ABFA-FE69-5695-315E9C701850}"/>
              </a:ext>
            </a:extLst>
          </p:cNvPr>
          <p:cNvSpPr txBox="1"/>
          <p:nvPr/>
        </p:nvSpPr>
        <p:spPr>
          <a:xfrm>
            <a:off x="4098545" y="5970471"/>
            <a:ext cx="812234" cy="523220"/>
          </a:xfrm>
          <a:prstGeom prst="rect">
            <a:avLst/>
          </a:prstGeom>
          <a:noFill/>
        </p:spPr>
        <p:txBody>
          <a:bodyPr wrap="square">
            <a:spAutoFit/>
          </a:bodyPr>
          <a:lstStyle/>
          <a:p>
            <a:pPr algn="ctr"/>
            <a:r>
              <a:rPr lang="en-US" sz="2800" dirty="0">
                <a:solidFill>
                  <a:schemeClr val="accent1"/>
                </a:solidFill>
              </a:rPr>
              <a:t>1.</a:t>
            </a:r>
          </a:p>
        </p:txBody>
      </p:sp>
      <p:sp>
        <p:nvSpPr>
          <p:cNvPr id="8" name="textruta 7">
            <a:extLst>
              <a:ext uri="{FF2B5EF4-FFF2-40B4-BE49-F238E27FC236}">
                <a16:creationId xmlns:a16="http://schemas.microsoft.com/office/drawing/2014/main" id="{BC78632E-26C1-3B59-B860-80801FF943C4}"/>
              </a:ext>
            </a:extLst>
          </p:cNvPr>
          <p:cNvSpPr txBox="1"/>
          <p:nvPr/>
        </p:nvSpPr>
        <p:spPr>
          <a:xfrm>
            <a:off x="9118883" y="5957863"/>
            <a:ext cx="812234" cy="523220"/>
          </a:xfrm>
          <a:prstGeom prst="rect">
            <a:avLst/>
          </a:prstGeom>
          <a:noFill/>
        </p:spPr>
        <p:txBody>
          <a:bodyPr wrap="square">
            <a:spAutoFit/>
          </a:bodyPr>
          <a:lstStyle/>
          <a:p>
            <a:pPr algn="ctr"/>
            <a:r>
              <a:rPr lang="en-US" sz="2800" dirty="0">
                <a:solidFill>
                  <a:schemeClr val="accent1"/>
                </a:solidFill>
              </a:rPr>
              <a:t>1.</a:t>
            </a:r>
          </a:p>
        </p:txBody>
      </p:sp>
      <p:sp>
        <p:nvSpPr>
          <p:cNvPr id="9" name="textruta 8">
            <a:extLst>
              <a:ext uri="{FF2B5EF4-FFF2-40B4-BE49-F238E27FC236}">
                <a16:creationId xmlns:a16="http://schemas.microsoft.com/office/drawing/2014/main" id="{9D9498B4-E33C-132D-46E0-D0DED0A98B9D}"/>
              </a:ext>
            </a:extLst>
          </p:cNvPr>
          <p:cNvSpPr txBox="1"/>
          <p:nvPr/>
        </p:nvSpPr>
        <p:spPr>
          <a:xfrm>
            <a:off x="12533733" y="6379685"/>
            <a:ext cx="812234" cy="523220"/>
          </a:xfrm>
          <a:prstGeom prst="rect">
            <a:avLst/>
          </a:prstGeom>
          <a:noFill/>
        </p:spPr>
        <p:txBody>
          <a:bodyPr wrap="square">
            <a:spAutoFit/>
          </a:bodyPr>
          <a:lstStyle/>
          <a:p>
            <a:pPr algn="ctr"/>
            <a:r>
              <a:rPr lang="en-US" sz="2800" dirty="0">
                <a:solidFill>
                  <a:schemeClr val="accent1"/>
                </a:solidFill>
              </a:rPr>
              <a:t>1.</a:t>
            </a:r>
          </a:p>
        </p:txBody>
      </p:sp>
      <p:sp>
        <p:nvSpPr>
          <p:cNvPr id="12" name="textruta 11">
            <a:extLst>
              <a:ext uri="{FF2B5EF4-FFF2-40B4-BE49-F238E27FC236}">
                <a16:creationId xmlns:a16="http://schemas.microsoft.com/office/drawing/2014/main" id="{A806EAD2-9854-77EE-522B-2F1AAC5C9672}"/>
              </a:ext>
            </a:extLst>
          </p:cNvPr>
          <p:cNvSpPr txBox="1"/>
          <p:nvPr/>
        </p:nvSpPr>
        <p:spPr>
          <a:xfrm>
            <a:off x="15112298" y="6379685"/>
            <a:ext cx="812234" cy="523220"/>
          </a:xfrm>
          <a:prstGeom prst="rect">
            <a:avLst/>
          </a:prstGeom>
          <a:noFill/>
        </p:spPr>
        <p:txBody>
          <a:bodyPr wrap="square">
            <a:spAutoFit/>
          </a:bodyPr>
          <a:lstStyle/>
          <a:p>
            <a:pPr algn="ctr"/>
            <a:r>
              <a:rPr lang="en-US" sz="2800" dirty="0">
                <a:solidFill>
                  <a:schemeClr val="accent1"/>
                </a:solidFill>
              </a:rPr>
              <a:t>1.</a:t>
            </a:r>
          </a:p>
        </p:txBody>
      </p:sp>
      <p:sp>
        <p:nvSpPr>
          <p:cNvPr id="17" name="textruta 16">
            <a:extLst>
              <a:ext uri="{FF2B5EF4-FFF2-40B4-BE49-F238E27FC236}">
                <a16:creationId xmlns:a16="http://schemas.microsoft.com/office/drawing/2014/main" id="{A1F46543-1D6E-A8CD-B683-FDD227C3F080}"/>
              </a:ext>
            </a:extLst>
          </p:cNvPr>
          <p:cNvSpPr txBox="1"/>
          <p:nvPr/>
        </p:nvSpPr>
        <p:spPr>
          <a:xfrm>
            <a:off x="7328637" y="6659213"/>
            <a:ext cx="812234" cy="523220"/>
          </a:xfrm>
          <a:prstGeom prst="rect">
            <a:avLst/>
          </a:prstGeom>
          <a:noFill/>
        </p:spPr>
        <p:txBody>
          <a:bodyPr wrap="square">
            <a:spAutoFit/>
          </a:bodyPr>
          <a:lstStyle/>
          <a:p>
            <a:pPr algn="ctr"/>
            <a:r>
              <a:rPr lang="en-US" sz="2800" dirty="0">
                <a:solidFill>
                  <a:schemeClr val="accent1"/>
                </a:solidFill>
              </a:rPr>
              <a:t>1.</a:t>
            </a:r>
          </a:p>
        </p:txBody>
      </p:sp>
      <p:sp>
        <p:nvSpPr>
          <p:cNvPr id="282" name="textruta 281">
            <a:extLst>
              <a:ext uri="{FF2B5EF4-FFF2-40B4-BE49-F238E27FC236}">
                <a16:creationId xmlns:a16="http://schemas.microsoft.com/office/drawing/2014/main" id="{1EA98D14-722C-E7E0-E3A2-6AD5CDD788CC}"/>
              </a:ext>
            </a:extLst>
          </p:cNvPr>
          <p:cNvSpPr txBox="1"/>
          <p:nvPr/>
        </p:nvSpPr>
        <p:spPr>
          <a:xfrm>
            <a:off x="10012316" y="8181574"/>
            <a:ext cx="812234" cy="523220"/>
          </a:xfrm>
          <a:prstGeom prst="rect">
            <a:avLst/>
          </a:prstGeom>
          <a:noFill/>
        </p:spPr>
        <p:txBody>
          <a:bodyPr wrap="square">
            <a:spAutoFit/>
          </a:bodyPr>
          <a:lstStyle/>
          <a:p>
            <a:pPr algn="ctr"/>
            <a:r>
              <a:rPr lang="en-US" sz="2800" dirty="0">
                <a:solidFill>
                  <a:schemeClr val="accent1"/>
                </a:solidFill>
              </a:rPr>
              <a:t>1.</a:t>
            </a:r>
          </a:p>
        </p:txBody>
      </p:sp>
      <p:sp>
        <p:nvSpPr>
          <p:cNvPr id="283" name="textruta 282">
            <a:extLst>
              <a:ext uri="{FF2B5EF4-FFF2-40B4-BE49-F238E27FC236}">
                <a16:creationId xmlns:a16="http://schemas.microsoft.com/office/drawing/2014/main" id="{1D6D843B-054F-0810-7E29-4715027F6A3A}"/>
              </a:ext>
            </a:extLst>
          </p:cNvPr>
          <p:cNvSpPr txBox="1"/>
          <p:nvPr/>
        </p:nvSpPr>
        <p:spPr>
          <a:xfrm>
            <a:off x="6178119" y="8245249"/>
            <a:ext cx="812234" cy="523220"/>
          </a:xfrm>
          <a:prstGeom prst="rect">
            <a:avLst/>
          </a:prstGeom>
          <a:noFill/>
        </p:spPr>
        <p:txBody>
          <a:bodyPr wrap="square">
            <a:spAutoFit/>
          </a:bodyPr>
          <a:lstStyle/>
          <a:p>
            <a:pPr algn="ctr"/>
            <a:r>
              <a:rPr lang="en-US" sz="2800" dirty="0">
                <a:solidFill>
                  <a:schemeClr val="accent1"/>
                </a:solidFill>
              </a:rPr>
              <a:t>2.</a:t>
            </a:r>
          </a:p>
        </p:txBody>
      </p:sp>
      <p:sp>
        <p:nvSpPr>
          <p:cNvPr id="285" name="textruta 284">
            <a:extLst>
              <a:ext uri="{FF2B5EF4-FFF2-40B4-BE49-F238E27FC236}">
                <a16:creationId xmlns:a16="http://schemas.microsoft.com/office/drawing/2014/main" id="{BAEED794-D04A-15D9-7CE9-76032A29DB8D}"/>
              </a:ext>
            </a:extLst>
          </p:cNvPr>
          <p:cNvSpPr txBox="1"/>
          <p:nvPr/>
        </p:nvSpPr>
        <p:spPr>
          <a:xfrm>
            <a:off x="6185324" y="5087909"/>
            <a:ext cx="812234" cy="523220"/>
          </a:xfrm>
          <a:prstGeom prst="rect">
            <a:avLst/>
          </a:prstGeom>
          <a:noFill/>
        </p:spPr>
        <p:txBody>
          <a:bodyPr wrap="square">
            <a:spAutoFit/>
          </a:bodyPr>
          <a:lstStyle/>
          <a:p>
            <a:pPr algn="ctr"/>
            <a:r>
              <a:rPr lang="en-US" sz="2800" dirty="0">
                <a:solidFill>
                  <a:schemeClr val="accent1"/>
                </a:solidFill>
              </a:rPr>
              <a:t>2.</a:t>
            </a:r>
          </a:p>
        </p:txBody>
      </p:sp>
      <p:sp>
        <p:nvSpPr>
          <p:cNvPr id="321" name="textruta 320">
            <a:extLst>
              <a:ext uri="{FF2B5EF4-FFF2-40B4-BE49-F238E27FC236}">
                <a16:creationId xmlns:a16="http://schemas.microsoft.com/office/drawing/2014/main" id="{E706D033-ABCC-BD21-04E5-7846202297C3}"/>
              </a:ext>
            </a:extLst>
          </p:cNvPr>
          <p:cNvSpPr txBox="1"/>
          <p:nvPr/>
        </p:nvSpPr>
        <p:spPr>
          <a:xfrm>
            <a:off x="2725527" y="5421018"/>
            <a:ext cx="812234" cy="523220"/>
          </a:xfrm>
          <a:prstGeom prst="rect">
            <a:avLst/>
          </a:prstGeom>
          <a:noFill/>
        </p:spPr>
        <p:txBody>
          <a:bodyPr wrap="square">
            <a:spAutoFit/>
          </a:bodyPr>
          <a:lstStyle/>
          <a:p>
            <a:pPr algn="ctr"/>
            <a:r>
              <a:rPr lang="en-US" sz="2800" dirty="0">
                <a:solidFill>
                  <a:schemeClr val="accent1"/>
                </a:solidFill>
              </a:rPr>
              <a:t>2.</a:t>
            </a:r>
          </a:p>
        </p:txBody>
      </p:sp>
      <p:sp>
        <p:nvSpPr>
          <p:cNvPr id="322" name="textruta 321">
            <a:extLst>
              <a:ext uri="{FF2B5EF4-FFF2-40B4-BE49-F238E27FC236}">
                <a16:creationId xmlns:a16="http://schemas.microsoft.com/office/drawing/2014/main" id="{C0EAE702-1DF6-D3E5-9FCC-0A4BE579CEF5}"/>
              </a:ext>
            </a:extLst>
          </p:cNvPr>
          <p:cNvSpPr txBox="1"/>
          <p:nvPr/>
        </p:nvSpPr>
        <p:spPr>
          <a:xfrm>
            <a:off x="7331967" y="7689159"/>
            <a:ext cx="812234" cy="523220"/>
          </a:xfrm>
          <a:prstGeom prst="rect">
            <a:avLst/>
          </a:prstGeom>
          <a:noFill/>
        </p:spPr>
        <p:txBody>
          <a:bodyPr wrap="square">
            <a:spAutoFit/>
          </a:bodyPr>
          <a:lstStyle/>
          <a:p>
            <a:pPr algn="ctr"/>
            <a:r>
              <a:rPr lang="en-US" sz="2800" dirty="0">
                <a:solidFill>
                  <a:schemeClr val="accent1"/>
                </a:solidFill>
              </a:rPr>
              <a:t>3.</a:t>
            </a:r>
          </a:p>
        </p:txBody>
      </p:sp>
      <p:sp>
        <p:nvSpPr>
          <p:cNvPr id="323" name="textruta 322">
            <a:extLst>
              <a:ext uri="{FF2B5EF4-FFF2-40B4-BE49-F238E27FC236}">
                <a16:creationId xmlns:a16="http://schemas.microsoft.com/office/drawing/2014/main" id="{0967BE3A-2867-10EF-11A1-28FA3B1C1BB6}"/>
              </a:ext>
            </a:extLst>
          </p:cNvPr>
          <p:cNvSpPr txBox="1"/>
          <p:nvPr/>
        </p:nvSpPr>
        <p:spPr>
          <a:xfrm>
            <a:off x="7684713" y="5064631"/>
            <a:ext cx="812234" cy="523220"/>
          </a:xfrm>
          <a:prstGeom prst="rect">
            <a:avLst/>
          </a:prstGeom>
          <a:noFill/>
        </p:spPr>
        <p:txBody>
          <a:bodyPr wrap="square">
            <a:spAutoFit/>
          </a:bodyPr>
          <a:lstStyle/>
          <a:p>
            <a:pPr algn="ctr"/>
            <a:r>
              <a:rPr lang="en-US" sz="2800" dirty="0">
                <a:solidFill>
                  <a:schemeClr val="accent1"/>
                </a:solidFill>
              </a:rPr>
              <a:t>3.</a:t>
            </a:r>
          </a:p>
        </p:txBody>
      </p:sp>
      <p:sp>
        <p:nvSpPr>
          <p:cNvPr id="324" name="textruta 323">
            <a:extLst>
              <a:ext uri="{FF2B5EF4-FFF2-40B4-BE49-F238E27FC236}">
                <a16:creationId xmlns:a16="http://schemas.microsoft.com/office/drawing/2014/main" id="{1B037FAF-31AC-FA3D-1E02-46C0AEED4715}"/>
              </a:ext>
            </a:extLst>
          </p:cNvPr>
          <p:cNvSpPr txBox="1"/>
          <p:nvPr/>
        </p:nvSpPr>
        <p:spPr>
          <a:xfrm>
            <a:off x="14372679" y="4432922"/>
            <a:ext cx="812234" cy="523220"/>
          </a:xfrm>
          <a:prstGeom prst="rect">
            <a:avLst/>
          </a:prstGeom>
          <a:noFill/>
        </p:spPr>
        <p:txBody>
          <a:bodyPr wrap="square">
            <a:spAutoFit/>
          </a:bodyPr>
          <a:lstStyle/>
          <a:p>
            <a:pPr algn="ctr"/>
            <a:r>
              <a:rPr lang="en-US" sz="2800" dirty="0">
                <a:solidFill>
                  <a:schemeClr val="accent1"/>
                </a:solidFill>
              </a:rPr>
              <a:t>4.</a:t>
            </a:r>
          </a:p>
        </p:txBody>
      </p:sp>
      <p:sp>
        <p:nvSpPr>
          <p:cNvPr id="325" name="textruta 324">
            <a:extLst>
              <a:ext uri="{FF2B5EF4-FFF2-40B4-BE49-F238E27FC236}">
                <a16:creationId xmlns:a16="http://schemas.microsoft.com/office/drawing/2014/main" id="{8E8BDDF5-999B-6D1E-85E8-664398BE67C8}"/>
              </a:ext>
            </a:extLst>
          </p:cNvPr>
          <p:cNvSpPr txBox="1"/>
          <p:nvPr/>
        </p:nvSpPr>
        <p:spPr>
          <a:xfrm>
            <a:off x="11060799" y="4829495"/>
            <a:ext cx="812234" cy="523220"/>
          </a:xfrm>
          <a:prstGeom prst="rect">
            <a:avLst/>
          </a:prstGeom>
          <a:noFill/>
        </p:spPr>
        <p:txBody>
          <a:bodyPr wrap="square">
            <a:spAutoFit/>
          </a:bodyPr>
          <a:lstStyle/>
          <a:p>
            <a:pPr algn="ctr"/>
            <a:r>
              <a:rPr lang="en-US" sz="2800" dirty="0">
                <a:solidFill>
                  <a:schemeClr val="accent1"/>
                </a:solidFill>
              </a:rPr>
              <a:t>4.</a:t>
            </a:r>
          </a:p>
        </p:txBody>
      </p:sp>
      <p:sp>
        <p:nvSpPr>
          <p:cNvPr id="326" name="textruta 325">
            <a:extLst>
              <a:ext uri="{FF2B5EF4-FFF2-40B4-BE49-F238E27FC236}">
                <a16:creationId xmlns:a16="http://schemas.microsoft.com/office/drawing/2014/main" id="{1B8A9FA7-AC97-1E66-BA88-C0024AB8D047}"/>
              </a:ext>
            </a:extLst>
          </p:cNvPr>
          <p:cNvSpPr txBox="1"/>
          <p:nvPr/>
        </p:nvSpPr>
        <p:spPr>
          <a:xfrm>
            <a:off x="6194587" y="6912783"/>
            <a:ext cx="812234" cy="523220"/>
          </a:xfrm>
          <a:prstGeom prst="rect">
            <a:avLst/>
          </a:prstGeom>
          <a:noFill/>
        </p:spPr>
        <p:txBody>
          <a:bodyPr wrap="square">
            <a:spAutoFit/>
          </a:bodyPr>
          <a:lstStyle/>
          <a:p>
            <a:pPr algn="ctr"/>
            <a:r>
              <a:rPr lang="en-US" sz="2800" dirty="0">
                <a:solidFill>
                  <a:schemeClr val="accent1"/>
                </a:solidFill>
              </a:rPr>
              <a:t>4.</a:t>
            </a:r>
          </a:p>
        </p:txBody>
      </p:sp>
      <p:sp>
        <p:nvSpPr>
          <p:cNvPr id="327" name="textruta 326">
            <a:extLst>
              <a:ext uri="{FF2B5EF4-FFF2-40B4-BE49-F238E27FC236}">
                <a16:creationId xmlns:a16="http://schemas.microsoft.com/office/drawing/2014/main" id="{E9C5284E-9400-B50B-CF60-064A4DF5A9E9}"/>
              </a:ext>
            </a:extLst>
          </p:cNvPr>
          <p:cNvSpPr txBox="1"/>
          <p:nvPr/>
        </p:nvSpPr>
        <p:spPr>
          <a:xfrm>
            <a:off x="6194587" y="6384757"/>
            <a:ext cx="812234" cy="523220"/>
          </a:xfrm>
          <a:prstGeom prst="rect">
            <a:avLst/>
          </a:prstGeom>
          <a:noFill/>
        </p:spPr>
        <p:txBody>
          <a:bodyPr wrap="square">
            <a:spAutoFit/>
          </a:bodyPr>
          <a:lstStyle/>
          <a:p>
            <a:pPr algn="ctr"/>
            <a:r>
              <a:rPr lang="en-US" sz="2800" dirty="0">
                <a:solidFill>
                  <a:schemeClr val="accent1"/>
                </a:solidFill>
              </a:rPr>
              <a:t>4.</a:t>
            </a:r>
          </a:p>
        </p:txBody>
      </p:sp>
      <p:sp>
        <p:nvSpPr>
          <p:cNvPr id="328" name="textruta 327">
            <a:extLst>
              <a:ext uri="{FF2B5EF4-FFF2-40B4-BE49-F238E27FC236}">
                <a16:creationId xmlns:a16="http://schemas.microsoft.com/office/drawing/2014/main" id="{F01D1FBA-0B6E-EEBB-1F60-D2631B79DDF7}"/>
              </a:ext>
            </a:extLst>
          </p:cNvPr>
          <p:cNvSpPr txBox="1"/>
          <p:nvPr/>
        </p:nvSpPr>
        <p:spPr>
          <a:xfrm>
            <a:off x="2605509" y="3606837"/>
            <a:ext cx="812234" cy="523220"/>
          </a:xfrm>
          <a:prstGeom prst="rect">
            <a:avLst/>
          </a:prstGeom>
          <a:noFill/>
        </p:spPr>
        <p:txBody>
          <a:bodyPr wrap="square">
            <a:spAutoFit/>
          </a:bodyPr>
          <a:lstStyle/>
          <a:p>
            <a:pPr algn="ctr"/>
            <a:r>
              <a:rPr lang="en-US" sz="2800" dirty="0">
                <a:solidFill>
                  <a:schemeClr val="accent1"/>
                </a:solidFill>
              </a:rPr>
              <a:t>5.</a:t>
            </a:r>
          </a:p>
        </p:txBody>
      </p:sp>
    </p:spTree>
    <p:extLst>
      <p:ext uri="{BB962C8B-B14F-4D97-AF65-F5344CB8AC3E}">
        <p14:creationId xmlns:p14="http://schemas.microsoft.com/office/powerpoint/2010/main" val="1036894136"/>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BF923161-4F01-CC62-4031-3FDD494142C7}"/>
              </a:ext>
            </a:extLst>
          </p:cNvPr>
          <p:cNvGrpSpPr/>
          <p:nvPr/>
        </p:nvGrpSpPr>
        <p:grpSpPr>
          <a:xfrm>
            <a:off x="4515828" y="3183502"/>
            <a:ext cx="5504471" cy="5448196"/>
            <a:chOff x="4515828" y="3183502"/>
            <a:chExt cx="5504471" cy="5448196"/>
          </a:xfrm>
        </p:grpSpPr>
        <p:grpSp>
          <p:nvGrpSpPr>
            <p:cNvPr id="2" name="Group 1">
              <a:extLst>
                <a:ext uri="{FF2B5EF4-FFF2-40B4-BE49-F238E27FC236}">
                  <a16:creationId xmlns:a16="http://schemas.microsoft.com/office/drawing/2014/main" id="{F642A18E-2DAE-FF6F-1FF2-8C4131EF2717}"/>
                </a:ext>
              </a:extLst>
            </p:cNvPr>
            <p:cNvGrpSpPr/>
            <p:nvPr/>
          </p:nvGrpSpPr>
          <p:grpSpPr>
            <a:xfrm>
              <a:off x="4515828" y="3525416"/>
              <a:ext cx="5504471" cy="5106282"/>
              <a:chOff x="4515828" y="3525416"/>
              <a:chExt cx="5504471" cy="5106282"/>
            </a:xfrm>
          </p:grpSpPr>
          <p:sp>
            <p:nvSpPr>
              <p:cNvPr id="4" name="Rectangle 3">
                <a:extLst>
                  <a:ext uri="{FF2B5EF4-FFF2-40B4-BE49-F238E27FC236}">
                    <a16:creationId xmlns:a16="http://schemas.microsoft.com/office/drawing/2014/main" id="{F049B9EF-DF22-1034-6E26-7F39E5669973}"/>
                  </a:ext>
                </a:extLst>
              </p:cNvPr>
              <p:cNvSpPr/>
              <p:nvPr/>
            </p:nvSpPr>
            <p:spPr>
              <a:xfrm>
                <a:off x="6116028" y="7389813"/>
                <a:ext cx="1110271" cy="1241885"/>
              </a:xfrm>
              <a:prstGeom prst="rect">
                <a:avLst/>
              </a:prstGeom>
              <a:solidFill>
                <a:schemeClr val="accent6">
                  <a:alpha val="50000"/>
                </a:schemeClr>
              </a:solidFill>
              <a:ln>
                <a:solidFill>
                  <a:schemeClr val="accent1"/>
                </a:solidFill>
              </a:ln>
            </p:spPr>
            <p:style>
              <a:lnRef idx="0">
                <a:scrgbClr r="0" g="0" b="0"/>
              </a:lnRef>
              <a:fillRef idx="0">
                <a:scrgbClr r="0" g="0" b="0"/>
              </a:fillRef>
              <a:effectRef idx="0">
                <a:scrgbClr r="0" g="0" b="0"/>
              </a:effectRef>
              <a:fontRef idx="minor">
                <a:schemeClr val="lt1"/>
              </a:fontRef>
            </p:style>
            <p:txBody>
              <a:bodyPr rtlCol="0" anchor="ctr"/>
              <a:lstStyle/>
              <a:p>
                <a:pPr algn="ctr"/>
                <a:r>
                  <a:rPr lang="en-US" dirty="0"/>
                  <a:t>UNIT 1</a:t>
                </a:r>
              </a:p>
            </p:txBody>
          </p:sp>
          <p:sp>
            <p:nvSpPr>
              <p:cNvPr id="5" name="Rectangle 4">
                <a:extLst>
                  <a:ext uri="{FF2B5EF4-FFF2-40B4-BE49-F238E27FC236}">
                    <a16:creationId xmlns:a16="http://schemas.microsoft.com/office/drawing/2014/main" id="{DF078359-9AC8-F088-0B1B-B3B8A326598B}"/>
                  </a:ext>
                </a:extLst>
              </p:cNvPr>
              <p:cNvSpPr/>
              <p:nvPr/>
            </p:nvSpPr>
            <p:spPr>
              <a:xfrm>
                <a:off x="4515828" y="3525416"/>
                <a:ext cx="5504471" cy="3048000"/>
              </a:xfrm>
              <a:prstGeom prst="rect">
                <a:avLst/>
              </a:prstGeom>
              <a:solidFill>
                <a:schemeClr val="accent6">
                  <a:alpha val="50000"/>
                </a:schemeClr>
              </a:solidFill>
              <a:ln>
                <a:solidFill>
                  <a:schemeClr val="accent1"/>
                </a:solidFill>
              </a:ln>
            </p:spPr>
            <p:style>
              <a:lnRef idx="0">
                <a:scrgbClr r="0" g="0" b="0"/>
              </a:lnRef>
              <a:fillRef idx="0">
                <a:scrgbClr r="0" g="0" b="0"/>
              </a:fillRef>
              <a:effectRef idx="0">
                <a:scrgbClr r="0" g="0" b="0"/>
              </a:effectRef>
              <a:fontRef idx="minor">
                <a:schemeClr val="lt1"/>
              </a:fontRef>
            </p:style>
            <p:txBody>
              <a:bodyPr rtlCol="0" anchor="ctr"/>
              <a:lstStyle/>
              <a:p>
                <a:pPr algn="ctr"/>
                <a:r>
                  <a:rPr lang="en-US" dirty="0"/>
                  <a:t>UNIT 2</a:t>
                </a:r>
              </a:p>
            </p:txBody>
          </p:sp>
        </p:grpSp>
        <p:sp>
          <p:nvSpPr>
            <p:cNvPr id="7" name="Rectangle 6">
              <a:extLst>
                <a:ext uri="{FF2B5EF4-FFF2-40B4-BE49-F238E27FC236}">
                  <a16:creationId xmlns:a16="http://schemas.microsoft.com/office/drawing/2014/main" id="{F4FCE481-9511-59E0-42E1-837A2A5F1DC9}"/>
                </a:ext>
              </a:extLst>
            </p:cNvPr>
            <p:cNvSpPr/>
            <p:nvPr/>
          </p:nvSpPr>
          <p:spPr>
            <a:xfrm>
              <a:off x="5968999" y="3183502"/>
              <a:ext cx="990600" cy="281382"/>
            </a:xfrm>
            <a:prstGeom prst="rect">
              <a:avLst/>
            </a:prstGeom>
            <a:solidFill>
              <a:schemeClr val="accent6">
                <a:alpha val="50000"/>
              </a:schemeClr>
            </a:solidFill>
            <a:ln>
              <a:solidFill>
                <a:schemeClr val="accent1"/>
              </a:solidFill>
            </a:ln>
          </p:spPr>
          <p:style>
            <a:lnRef idx="0">
              <a:scrgbClr r="0" g="0" b="0"/>
            </a:lnRef>
            <a:fillRef idx="0">
              <a:scrgbClr r="0" g="0" b="0"/>
            </a:fillRef>
            <a:effectRef idx="0">
              <a:scrgbClr r="0" g="0" b="0"/>
            </a:effectRef>
            <a:fontRef idx="minor">
              <a:schemeClr val="lt1"/>
            </a:fontRef>
          </p:style>
          <p:txBody>
            <a:bodyPr rtlCol="0" anchor="ctr"/>
            <a:lstStyle/>
            <a:p>
              <a:pPr algn="ctr"/>
              <a:r>
                <a:rPr lang="en-US" dirty="0"/>
                <a:t>UNIT 3</a:t>
              </a:r>
            </a:p>
          </p:txBody>
        </p:sp>
      </p:grpSp>
      <p:pic>
        <p:nvPicPr>
          <p:cNvPr id="131" name="Picture 12">
            <a:extLst>
              <a:ext uri="{FF2B5EF4-FFF2-40B4-BE49-F238E27FC236}">
                <a16:creationId xmlns:a16="http://schemas.microsoft.com/office/drawing/2014/main" id="{43802E0E-B79D-4EA7-8141-0CA3ED138B1A}"/>
              </a:ext>
            </a:extLst>
          </p:cNvPr>
          <p:cNvPicPr>
            <a:picLocks noChangeAspect="1"/>
          </p:cNvPicPr>
          <p:nvPr/>
        </p:nvPicPr>
        <p:blipFill>
          <a:blip r:embed="rId3"/>
          <a:srcRect/>
          <a:stretch>
            <a:fillRect/>
          </a:stretch>
        </p:blipFill>
        <p:spPr>
          <a:xfrm>
            <a:off x="0" y="8959889"/>
            <a:ext cx="5715000" cy="1385887"/>
          </a:xfrm>
          <a:prstGeom prst="rect">
            <a:avLst/>
          </a:prstGeom>
        </p:spPr>
      </p:pic>
      <p:grpSp>
        <p:nvGrpSpPr>
          <p:cNvPr id="132" name="Gruppo 2">
            <a:extLst>
              <a:ext uri="{FF2B5EF4-FFF2-40B4-BE49-F238E27FC236}">
                <a16:creationId xmlns:a16="http://schemas.microsoft.com/office/drawing/2014/main" id="{649928F6-6E82-4611-9715-AD3C75457C28}"/>
              </a:ext>
            </a:extLst>
          </p:cNvPr>
          <p:cNvGrpSpPr/>
          <p:nvPr/>
        </p:nvGrpSpPr>
        <p:grpSpPr>
          <a:xfrm>
            <a:off x="-12" y="138554"/>
            <a:ext cx="18288002" cy="681138"/>
            <a:chOff x="-12" y="138554"/>
            <a:chExt cx="18288002" cy="681138"/>
          </a:xfrm>
        </p:grpSpPr>
        <p:grpSp>
          <p:nvGrpSpPr>
            <p:cNvPr id="133" name="Gruppo 1">
              <a:extLst>
                <a:ext uri="{FF2B5EF4-FFF2-40B4-BE49-F238E27FC236}">
                  <a16:creationId xmlns:a16="http://schemas.microsoft.com/office/drawing/2014/main" id="{A8EB8794-E5C6-45EB-BAEC-2778E982797A}"/>
                </a:ext>
              </a:extLst>
            </p:cNvPr>
            <p:cNvGrpSpPr/>
            <p:nvPr/>
          </p:nvGrpSpPr>
          <p:grpSpPr>
            <a:xfrm>
              <a:off x="0" y="153125"/>
              <a:ext cx="17907000" cy="666567"/>
              <a:chOff x="0" y="153125"/>
              <a:chExt cx="17907000" cy="666567"/>
            </a:xfrm>
          </p:grpSpPr>
          <p:grpSp>
            <p:nvGrpSpPr>
              <p:cNvPr id="135" name="Gruppo 15">
                <a:extLst>
                  <a:ext uri="{FF2B5EF4-FFF2-40B4-BE49-F238E27FC236}">
                    <a16:creationId xmlns:a16="http://schemas.microsoft.com/office/drawing/2014/main" id="{AB129748-9FD7-458D-BD6E-304271C1814A}"/>
                  </a:ext>
                </a:extLst>
              </p:cNvPr>
              <p:cNvGrpSpPr/>
              <p:nvPr/>
            </p:nvGrpSpPr>
            <p:grpSpPr>
              <a:xfrm>
                <a:off x="0" y="153125"/>
                <a:ext cx="13958844" cy="666567"/>
                <a:chOff x="0" y="153125"/>
                <a:chExt cx="13958844" cy="666567"/>
              </a:xfrm>
            </p:grpSpPr>
            <p:pic>
              <p:nvPicPr>
                <p:cNvPr id="137" name="Picture 136">
                  <a:extLst>
                    <a:ext uri="{FF2B5EF4-FFF2-40B4-BE49-F238E27FC236}">
                      <a16:creationId xmlns:a16="http://schemas.microsoft.com/office/drawing/2014/main" id="{88E31CFD-796F-4F3F-A1EC-0E38F9D83456}"/>
                    </a:ext>
                  </a:extLst>
                </p:cNvPr>
                <p:cNvPicPr>
                  <a:picLocks noChangeAspect="1"/>
                </p:cNvPicPr>
                <p:nvPr/>
              </p:nvPicPr>
              <p:blipFill>
                <a:blip r:embed="rId4"/>
                <a:srcRect l="134" t="91287" b="3943"/>
                <a:stretch>
                  <a:fillRect/>
                </a:stretch>
              </p:blipFill>
              <p:spPr>
                <a:xfrm>
                  <a:off x="0" y="153125"/>
                  <a:ext cx="13958844" cy="666567"/>
                </a:xfrm>
                <a:prstGeom prst="rect">
                  <a:avLst/>
                </a:prstGeom>
              </p:spPr>
            </p:pic>
            <p:sp>
              <p:nvSpPr>
                <p:cNvPr id="138" name="TextBox 137">
                  <a:extLst>
                    <a:ext uri="{FF2B5EF4-FFF2-40B4-BE49-F238E27FC236}">
                      <a16:creationId xmlns:a16="http://schemas.microsoft.com/office/drawing/2014/main" id="{7694DADD-E227-40A7-A98D-244B0D207E54}"/>
                    </a:ext>
                  </a:extLst>
                </p:cNvPr>
                <p:cNvSpPr txBox="1"/>
                <p:nvPr/>
              </p:nvSpPr>
              <p:spPr>
                <a:xfrm>
                  <a:off x="228600" y="257980"/>
                  <a:ext cx="9296400" cy="456856"/>
                </a:xfrm>
                <a:prstGeom prst="rect">
                  <a:avLst/>
                </a:prstGeom>
              </p:spPr>
              <p:txBody>
                <a:bodyPr wrap="square" lIns="0" tIns="0" rIns="0" bIns="0" rtlCol="0" anchor="t">
                  <a:spAutoFit/>
                </a:bodyPr>
                <a:lstStyle/>
                <a:p>
                  <a:pPr>
                    <a:lnSpc>
                      <a:spcPts val="3919"/>
                    </a:lnSpc>
                    <a:spcBef>
                      <a:spcPct val="0"/>
                    </a:spcBef>
                  </a:pPr>
                  <a:endParaRPr lang="en-US" sz="2800" b="1">
                    <a:solidFill>
                      <a:srgbClr val="FFFFFF"/>
                    </a:solidFill>
                    <a:latin typeface="Arial" panose="020B0604020202020204" pitchFamily="34" charset="0"/>
                    <a:cs typeface="Arial" panose="020B0604020202020204" pitchFamily="34" charset="0"/>
                  </a:endParaRPr>
                </a:p>
              </p:txBody>
            </p:sp>
          </p:grpSp>
          <p:sp>
            <p:nvSpPr>
              <p:cNvPr id="136" name="TextBox 135">
                <a:extLst>
                  <a:ext uri="{FF2B5EF4-FFF2-40B4-BE49-F238E27FC236}">
                    <a16:creationId xmlns:a16="http://schemas.microsoft.com/office/drawing/2014/main" id="{4B3CCEBB-60EF-4175-9878-F0D51FD80FF0}"/>
                  </a:ext>
                </a:extLst>
              </p:cNvPr>
              <p:cNvSpPr txBox="1"/>
              <p:nvPr/>
            </p:nvSpPr>
            <p:spPr>
              <a:xfrm>
                <a:off x="12154296" y="257980"/>
                <a:ext cx="5752704" cy="456856"/>
              </a:xfrm>
              <a:prstGeom prst="rect">
                <a:avLst/>
              </a:prstGeom>
            </p:spPr>
            <p:txBody>
              <a:bodyPr wrap="square" lIns="0" tIns="0" rIns="0" bIns="0" rtlCol="0" anchor="t">
                <a:spAutoFit/>
              </a:bodyPr>
              <a:lstStyle/>
              <a:p>
                <a:pPr algn="r">
                  <a:lnSpc>
                    <a:spcPts val="3919"/>
                  </a:lnSpc>
                  <a:spcBef>
                    <a:spcPct val="0"/>
                  </a:spcBef>
                </a:pPr>
                <a:endParaRPr lang="en-US" sz="2800">
                  <a:solidFill>
                    <a:schemeClr val="tx1">
                      <a:lumMod val="75000"/>
                      <a:lumOff val="25000"/>
                    </a:schemeClr>
                  </a:solidFill>
                  <a:latin typeface="Arial" panose="020B0604020202020204" pitchFamily="34" charset="0"/>
                  <a:cs typeface="Arial" panose="020B0604020202020204" pitchFamily="34" charset="0"/>
                </a:endParaRPr>
              </a:p>
            </p:txBody>
          </p:sp>
        </p:grpSp>
        <p:sp>
          <p:nvSpPr>
            <p:cNvPr id="134" name="Rettangolo 13">
              <a:extLst>
                <a:ext uri="{FF2B5EF4-FFF2-40B4-BE49-F238E27FC236}">
                  <a16:creationId xmlns:a16="http://schemas.microsoft.com/office/drawing/2014/main" id="{8F0CF2A7-592A-4287-9206-D3289F1B0C37}"/>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139" name="Picture 12">
            <a:extLst>
              <a:ext uri="{FF2B5EF4-FFF2-40B4-BE49-F238E27FC236}">
                <a16:creationId xmlns:a16="http://schemas.microsoft.com/office/drawing/2014/main" id="{F047215A-40D8-4A57-BE02-5E03FCEEBB7B}"/>
              </a:ext>
            </a:extLst>
          </p:cNvPr>
          <p:cNvPicPr>
            <a:picLocks noChangeAspect="1"/>
          </p:cNvPicPr>
          <p:nvPr/>
        </p:nvPicPr>
        <p:blipFill>
          <a:blip r:embed="rId5"/>
          <a:srcRect l="134" t="91287" b="3943"/>
          <a:stretch>
            <a:fillRect/>
          </a:stretch>
        </p:blipFill>
        <p:spPr>
          <a:xfrm rot="10800000">
            <a:off x="4329146" y="9679208"/>
            <a:ext cx="13958844" cy="666567"/>
          </a:xfrm>
          <a:prstGeom prst="rect">
            <a:avLst/>
          </a:prstGeom>
        </p:spPr>
      </p:pic>
      <p:sp>
        <p:nvSpPr>
          <p:cNvPr id="140" name="TextBox 16">
            <a:extLst>
              <a:ext uri="{FF2B5EF4-FFF2-40B4-BE49-F238E27FC236}">
                <a16:creationId xmlns:a16="http://schemas.microsoft.com/office/drawing/2014/main" id="{C693B1DB-897C-4A9D-8CF3-F1423F6CB38D}"/>
              </a:ext>
            </a:extLst>
          </p:cNvPr>
          <p:cNvSpPr txBox="1"/>
          <p:nvPr/>
        </p:nvSpPr>
        <p:spPr>
          <a:xfrm>
            <a:off x="14400019" y="976230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pic>
        <p:nvPicPr>
          <p:cNvPr id="3" name="Picture 2" descr="Graphical user interface, application&#10;&#10;Description automatically generated">
            <a:extLst>
              <a:ext uri="{FF2B5EF4-FFF2-40B4-BE49-F238E27FC236}">
                <a16:creationId xmlns:a16="http://schemas.microsoft.com/office/drawing/2014/main" id="{65AA66F4-65D2-F18E-971D-51792445F61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102510" y="3139158"/>
            <a:ext cx="14082980" cy="6119390"/>
          </a:xfrm>
          <a:prstGeom prst="rect">
            <a:avLst/>
          </a:prstGeom>
        </p:spPr>
      </p:pic>
      <p:sp>
        <p:nvSpPr>
          <p:cNvPr id="8" name="TextBox 7">
            <a:extLst>
              <a:ext uri="{FF2B5EF4-FFF2-40B4-BE49-F238E27FC236}">
                <a16:creationId xmlns:a16="http://schemas.microsoft.com/office/drawing/2014/main" id="{5033D20A-3D94-F7B2-D57E-BF57790748E0}"/>
              </a:ext>
            </a:extLst>
          </p:cNvPr>
          <p:cNvSpPr txBox="1"/>
          <p:nvPr/>
        </p:nvSpPr>
        <p:spPr>
          <a:xfrm>
            <a:off x="1636738" y="2016723"/>
            <a:ext cx="15014501" cy="954107"/>
          </a:xfrm>
          <a:prstGeom prst="rect">
            <a:avLst/>
          </a:prstGeom>
          <a:solidFill>
            <a:schemeClr val="accent2">
              <a:lumMod val="60000"/>
              <a:lumOff val="40000"/>
            </a:schemeClr>
          </a:solidFill>
        </p:spPr>
        <p:txBody>
          <a:bodyPr wrap="square" rIns="90000" anchor="ctr" anchorCtr="0">
            <a:spAutoFit/>
          </a:bodyPr>
          <a:lstStyle/>
          <a:p>
            <a:pPr algn="ctr"/>
            <a:r>
              <a:rPr lang="en-US" sz="2800" b="0" i="0">
                <a:solidFill>
                  <a:srgbClr val="000000"/>
                </a:solidFill>
                <a:effectLst/>
                <a:latin typeface="Arial" panose="020B0604020202020204" pitchFamily="34" charset="0"/>
              </a:rPr>
              <a:t>The image shows a model made in the LCA-tool GaBi of the </a:t>
            </a:r>
            <a:r>
              <a:rPr lang="en-US" sz="2800" b="0" i="0" err="1">
                <a:solidFill>
                  <a:srgbClr val="000000"/>
                </a:solidFill>
                <a:effectLst/>
                <a:latin typeface="Arial" panose="020B0604020202020204" pitchFamily="34" charset="0"/>
              </a:rPr>
              <a:t>Fertiberia</a:t>
            </a:r>
            <a:r>
              <a:rPr lang="en-US" sz="2800" b="0" i="0">
                <a:solidFill>
                  <a:srgbClr val="000000"/>
                </a:solidFill>
                <a:effectLst/>
                <a:latin typeface="Arial" panose="020B0604020202020204" pitchFamily="34" charset="0"/>
              </a:rPr>
              <a:t> plant </a:t>
            </a:r>
            <a:r>
              <a:rPr lang="en-US" sz="2800" b="1" i="0">
                <a:solidFill>
                  <a:srgbClr val="000000"/>
                </a:solidFill>
                <a:effectLst/>
                <a:latin typeface="Arial" panose="020B0604020202020204" pitchFamily="34" charset="0"/>
              </a:rPr>
              <a:t>after the retrofit </a:t>
            </a:r>
            <a:r>
              <a:rPr lang="en-US" sz="2800" b="0" i="0">
                <a:solidFill>
                  <a:srgbClr val="000000"/>
                </a:solidFill>
                <a:effectLst/>
                <a:latin typeface="Arial" panose="020B0604020202020204" pitchFamily="34" charset="0"/>
              </a:rPr>
              <a:t>was made. Press the different units to learn what was changed in the retrofit.</a:t>
            </a:r>
            <a:endParaRPr lang="sv-SE" sz="2800"/>
          </a:p>
        </p:txBody>
      </p:sp>
      <p:sp>
        <p:nvSpPr>
          <p:cNvPr id="10" name="TextBox 9">
            <a:extLst>
              <a:ext uri="{FF2B5EF4-FFF2-40B4-BE49-F238E27FC236}">
                <a16:creationId xmlns:a16="http://schemas.microsoft.com/office/drawing/2014/main" id="{DC43B4AD-DC36-3E8D-8A91-74C9616ADD17}"/>
              </a:ext>
            </a:extLst>
          </p:cNvPr>
          <p:cNvSpPr txBox="1"/>
          <p:nvPr/>
        </p:nvSpPr>
        <p:spPr>
          <a:xfrm>
            <a:off x="1155638" y="840910"/>
            <a:ext cx="18288012" cy="1077218"/>
          </a:xfrm>
          <a:prstGeom prst="rect">
            <a:avLst/>
          </a:prstGeom>
          <a:noFill/>
        </p:spPr>
        <p:txBody>
          <a:bodyPr wrap="square">
            <a:spAutoFit/>
          </a:bodyPr>
          <a:lstStyle/>
          <a:p>
            <a:pPr algn="ctr"/>
            <a:r>
              <a:rPr lang="sv-SE" sz="6400" b="1">
                <a:solidFill>
                  <a:srgbClr val="CC0033"/>
                </a:solidFill>
                <a:latin typeface="+mj-lt"/>
                <a:cs typeface="Arial" panose="020B0604020202020204" pitchFamily="34" charset="0"/>
              </a:rPr>
              <a:t>- LCA </a:t>
            </a:r>
            <a:r>
              <a:rPr lang="sv-SE" sz="6400" b="1" err="1">
                <a:solidFill>
                  <a:srgbClr val="CC0033"/>
                </a:solidFill>
                <a:latin typeface="+mj-lt"/>
                <a:cs typeface="Arial" panose="020B0604020202020204" pitchFamily="34" charset="0"/>
              </a:rPr>
              <a:t>model</a:t>
            </a:r>
            <a:r>
              <a:rPr lang="sv-SE" sz="6400" b="1">
                <a:solidFill>
                  <a:srgbClr val="CC0033"/>
                </a:solidFill>
                <a:latin typeface="+mj-lt"/>
                <a:cs typeface="Arial" panose="020B0604020202020204" pitchFamily="34" charset="0"/>
              </a:rPr>
              <a:t> </a:t>
            </a:r>
            <a:r>
              <a:rPr lang="sv-SE" sz="6400" b="1" err="1">
                <a:solidFill>
                  <a:srgbClr val="CC0033"/>
                </a:solidFill>
                <a:latin typeface="+mj-lt"/>
                <a:cs typeface="Arial" panose="020B0604020202020204" pitchFamily="34" charset="0"/>
              </a:rPr>
              <a:t>of</a:t>
            </a:r>
            <a:r>
              <a:rPr lang="sv-SE" sz="6400" b="1">
                <a:solidFill>
                  <a:srgbClr val="CC0033"/>
                </a:solidFill>
                <a:latin typeface="+mj-lt"/>
                <a:cs typeface="Arial" panose="020B0604020202020204" pitchFamily="34" charset="0"/>
              </a:rPr>
              <a:t> </a:t>
            </a:r>
            <a:r>
              <a:rPr lang="sv-SE" sz="6400" b="1" err="1">
                <a:solidFill>
                  <a:srgbClr val="CC0033"/>
                </a:solidFill>
                <a:latin typeface="+mj-lt"/>
                <a:cs typeface="Arial" panose="020B0604020202020204" pitchFamily="34" charset="0"/>
              </a:rPr>
              <a:t>Fertiberia’s</a:t>
            </a:r>
            <a:r>
              <a:rPr lang="sv-SE" sz="6400" b="1">
                <a:solidFill>
                  <a:srgbClr val="CC0033"/>
                </a:solidFill>
                <a:latin typeface="+mj-lt"/>
                <a:cs typeface="Arial" panose="020B0604020202020204" pitchFamily="34" charset="0"/>
              </a:rPr>
              <a:t> plant</a:t>
            </a:r>
          </a:p>
        </p:txBody>
      </p:sp>
      <p:pic>
        <p:nvPicPr>
          <p:cNvPr id="11" name="Picture 10" descr="RETROFEED FERTIBERIA">
            <a:extLst>
              <a:ext uri="{FF2B5EF4-FFF2-40B4-BE49-F238E27FC236}">
                <a16:creationId xmlns:a16="http://schemas.microsoft.com/office/drawing/2014/main" id="{735596DB-1B63-FD78-44D1-E6F7D4533F9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19429" y="840910"/>
            <a:ext cx="2287452" cy="841782"/>
          </a:xfrm>
          <a:prstGeom prst="rect">
            <a:avLst/>
          </a:prstGeom>
          <a:noFill/>
          <a:extLst>
            <a:ext uri="{909E8E84-426E-40DD-AFC4-6F175D3DCCD1}">
              <a14:hiddenFill xmlns:a14="http://schemas.microsoft.com/office/drawing/2010/main">
                <a:solidFill>
                  <a:srgbClr val="FFFFFF"/>
                </a:solidFill>
              </a14:hiddenFill>
            </a:ext>
          </a:extLst>
        </p:spPr>
      </p:pic>
      <p:sp>
        <p:nvSpPr>
          <p:cNvPr id="143" name="Rectangle 142">
            <a:extLst>
              <a:ext uri="{FF2B5EF4-FFF2-40B4-BE49-F238E27FC236}">
                <a16:creationId xmlns:a16="http://schemas.microsoft.com/office/drawing/2014/main" id="{6DD09608-B6E4-CF46-DCA9-253444CD0347}"/>
              </a:ext>
            </a:extLst>
          </p:cNvPr>
          <p:cNvSpPr/>
          <p:nvPr/>
        </p:nvSpPr>
        <p:spPr>
          <a:xfrm>
            <a:off x="5334000" y="7205275"/>
            <a:ext cx="634999" cy="173508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5" name="Rectangle 144">
            <a:extLst>
              <a:ext uri="{FF2B5EF4-FFF2-40B4-BE49-F238E27FC236}">
                <a16:creationId xmlns:a16="http://schemas.microsoft.com/office/drawing/2014/main" id="{DDAE54E3-7128-8894-4CAE-F2FA48077D4B}"/>
              </a:ext>
            </a:extLst>
          </p:cNvPr>
          <p:cNvSpPr/>
          <p:nvPr/>
        </p:nvSpPr>
        <p:spPr>
          <a:xfrm>
            <a:off x="10109379" y="4044898"/>
            <a:ext cx="798107" cy="115668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6" name="Rectangle 145">
            <a:extLst>
              <a:ext uri="{FF2B5EF4-FFF2-40B4-BE49-F238E27FC236}">
                <a16:creationId xmlns:a16="http://schemas.microsoft.com/office/drawing/2014/main" id="{AD47F402-02B2-1EAA-2028-132DE3081202}"/>
              </a:ext>
            </a:extLst>
          </p:cNvPr>
          <p:cNvSpPr/>
          <p:nvPr/>
        </p:nvSpPr>
        <p:spPr>
          <a:xfrm>
            <a:off x="13342877" y="3781012"/>
            <a:ext cx="449345" cy="81436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7" name="Rectangle 146">
            <a:extLst>
              <a:ext uri="{FF2B5EF4-FFF2-40B4-BE49-F238E27FC236}">
                <a16:creationId xmlns:a16="http://schemas.microsoft.com/office/drawing/2014/main" id="{2AF34AB2-1868-D7CE-C82D-E5A094922B58}"/>
              </a:ext>
            </a:extLst>
          </p:cNvPr>
          <p:cNvSpPr/>
          <p:nvPr/>
        </p:nvSpPr>
        <p:spPr>
          <a:xfrm>
            <a:off x="2045464" y="4773237"/>
            <a:ext cx="880990" cy="115668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8" name="Rectangle 147">
            <a:extLst>
              <a:ext uri="{FF2B5EF4-FFF2-40B4-BE49-F238E27FC236}">
                <a16:creationId xmlns:a16="http://schemas.microsoft.com/office/drawing/2014/main" id="{20990F4D-E601-4DB4-225C-7EC3092D3DDC}"/>
              </a:ext>
            </a:extLst>
          </p:cNvPr>
          <p:cNvSpPr/>
          <p:nvPr/>
        </p:nvSpPr>
        <p:spPr>
          <a:xfrm>
            <a:off x="2119491" y="3360364"/>
            <a:ext cx="880990" cy="115668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9" name="Group 8">
            <a:extLst>
              <a:ext uri="{FF2B5EF4-FFF2-40B4-BE49-F238E27FC236}">
                <a16:creationId xmlns:a16="http://schemas.microsoft.com/office/drawing/2014/main" id="{0F0EC194-73C5-8345-014A-73B494469A4E}"/>
              </a:ext>
            </a:extLst>
          </p:cNvPr>
          <p:cNvGrpSpPr/>
          <p:nvPr/>
        </p:nvGrpSpPr>
        <p:grpSpPr>
          <a:xfrm>
            <a:off x="2739835" y="2966382"/>
            <a:ext cx="13322143" cy="5740369"/>
            <a:chOff x="2237803" y="3380904"/>
            <a:chExt cx="13322143" cy="5740369"/>
          </a:xfrm>
        </p:grpSpPr>
        <p:sp>
          <p:nvSpPr>
            <p:cNvPr id="12" name="TextBox 11">
              <a:extLst>
                <a:ext uri="{FF2B5EF4-FFF2-40B4-BE49-F238E27FC236}">
                  <a16:creationId xmlns:a16="http://schemas.microsoft.com/office/drawing/2014/main" id="{32F8E7CC-38C6-F91C-1546-7CB730C076A1}"/>
                </a:ext>
              </a:extLst>
            </p:cNvPr>
            <p:cNvSpPr txBox="1"/>
            <p:nvPr/>
          </p:nvSpPr>
          <p:spPr>
            <a:xfrm rot="16200000">
              <a:off x="4825858" y="5209922"/>
              <a:ext cx="1222520" cy="461665"/>
            </a:xfrm>
            <a:prstGeom prst="rect">
              <a:avLst/>
            </a:prstGeom>
            <a:solidFill>
              <a:srgbClr val="008040"/>
            </a:solidFill>
            <a:ln>
              <a:solidFill>
                <a:srgbClr val="008040"/>
              </a:solidFill>
            </a:ln>
          </p:spPr>
          <p:txBody>
            <a:bodyPr wrap="square" rtlCol="0">
              <a:spAutoFit/>
            </a:bodyPr>
            <a:lstStyle/>
            <a:p>
              <a:pPr algn="ctr"/>
              <a:r>
                <a:rPr lang="en-US" sz="1200" dirty="0">
                  <a:solidFill>
                    <a:schemeClr val="bg1"/>
                  </a:solidFill>
                </a:rPr>
                <a:t>Raw materials and transport</a:t>
              </a:r>
            </a:p>
          </p:txBody>
        </p:sp>
        <p:grpSp>
          <p:nvGrpSpPr>
            <p:cNvPr id="13" name="Group 12">
              <a:extLst>
                <a:ext uri="{FF2B5EF4-FFF2-40B4-BE49-F238E27FC236}">
                  <a16:creationId xmlns:a16="http://schemas.microsoft.com/office/drawing/2014/main" id="{F2D8A58B-B7B9-1292-4B35-E0A85E927551}"/>
                </a:ext>
              </a:extLst>
            </p:cNvPr>
            <p:cNvGrpSpPr/>
            <p:nvPr/>
          </p:nvGrpSpPr>
          <p:grpSpPr>
            <a:xfrm>
              <a:off x="2410151" y="3380904"/>
              <a:ext cx="13149795" cy="5189158"/>
              <a:chOff x="2418174" y="3380904"/>
              <a:chExt cx="13149795" cy="5189158"/>
            </a:xfrm>
          </p:grpSpPr>
          <p:sp>
            <p:nvSpPr>
              <p:cNvPr id="29" name="TextBox 28">
                <a:extLst>
                  <a:ext uri="{FF2B5EF4-FFF2-40B4-BE49-F238E27FC236}">
                    <a16:creationId xmlns:a16="http://schemas.microsoft.com/office/drawing/2014/main" id="{868981BB-BB46-5EBE-EB4C-2F34DBCBC4F7}"/>
                  </a:ext>
                </a:extLst>
              </p:cNvPr>
              <p:cNvSpPr txBox="1"/>
              <p:nvPr/>
            </p:nvSpPr>
            <p:spPr>
              <a:xfrm rot="16200000" flipH="1">
                <a:off x="3402779" y="4644829"/>
                <a:ext cx="2122943" cy="369332"/>
              </a:xfrm>
              <a:prstGeom prst="rect">
                <a:avLst/>
              </a:prstGeom>
              <a:noFill/>
            </p:spPr>
            <p:txBody>
              <a:bodyPr wrap="square" rtlCol="0">
                <a:spAutoFit/>
              </a:bodyPr>
              <a:lstStyle/>
              <a:p>
                <a:r>
                  <a:rPr lang="en-US" b="1" dirty="0"/>
                  <a:t>Tubular reactor</a:t>
                </a:r>
              </a:p>
            </p:txBody>
          </p:sp>
          <p:sp>
            <p:nvSpPr>
              <p:cNvPr id="30" name="TextBox 29">
                <a:extLst>
                  <a:ext uri="{FF2B5EF4-FFF2-40B4-BE49-F238E27FC236}">
                    <a16:creationId xmlns:a16="http://schemas.microsoft.com/office/drawing/2014/main" id="{A3A908C0-A9BF-F522-E40B-2AD79072EDCB}"/>
                  </a:ext>
                </a:extLst>
              </p:cNvPr>
              <p:cNvSpPr txBox="1"/>
              <p:nvPr/>
            </p:nvSpPr>
            <p:spPr>
              <a:xfrm rot="16200000" flipH="1">
                <a:off x="8411049" y="4985994"/>
                <a:ext cx="1399952" cy="369332"/>
              </a:xfrm>
              <a:prstGeom prst="rect">
                <a:avLst/>
              </a:prstGeom>
              <a:noFill/>
            </p:spPr>
            <p:txBody>
              <a:bodyPr wrap="square" rtlCol="0">
                <a:spAutoFit/>
              </a:bodyPr>
              <a:lstStyle/>
              <a:p>
                <a:r>
                  <a:rPr lang="en-US" b="1" dirty="0"/>
                  <a:t>Granulator</a:t>
                </a:r>
              </a:p>
            </p:txBody>
          </p:sp>
          <p:sp>
            <p:nvSpPr>
              <p:cNvPr id="31" name="TextBox 30">
                <a:extLst>
                  <a:ext uri="{FF2B5EF4-FFF2-40B4-BE49-F238E27FC236}">
                    <a16:creationId xmlns:a16="http://schemas.microsoft.com/office/drawing/2014/main" id="{D2A721E6-6618-971C-B7B5-FC854B895EE9}"/>
                  </a:ext>
                </a:extLst>
              </p:cNvPr>
              <p:cNvSpPr txBox="1"/>
              <p:nvPr/>
            </p:nvSpPr>
            <p:spPr>
              <a:xfrm>
                <a:off x="2418174" y="3548003"/>
                <a:ext cx="1123571" cy="261610"/>
              </a:xfrm>
              <a:prstGeom prst="rect">
                <a:avLst/>
              </a:prstGeom>
              <a:noFill/>
            </p:spPr>
            <p:txBody>
              <a:bodyPr wrap="square" rtlCol="0">
                <a:spAutoFit/>
              </a:bodyPr>
              <a:lstStyle/>
              <a:p>
                <a:pPr algn="ctr"/>
                <a:r>
                  <a:rPr lang="en-US" sz="1100" dirty="0"/>
                  <a:t>Electricity grid</a:t>
                </a:r>
              </a:p>
            </p:txBody>
          </p:sp>
          <p:sp>
            <p:nvSpPr>
              <p:cNvPr id="128" name="TextBox 127">
                <a:extLst>
                  <a:ext uri="{FF2B5EF4-FFF2-40B4-BE49-F238E27FC236}">
                    <a16:creationId xmlns:a16="http://schemas.microsoft.com/office/drawing/2014/main" id="{A6D65DA8-CC73-48CB-2C6D-2547E3914018}"/>
                  </a:ext>
                </a:extLst>
              </p:cNvPr>
              <p:cNvSpPr txBox="1"/>
              <p:nvPr/>
            </p:nvSpPr>
            <p:spPr>
              <a:xfrm>
                <a:off x="2506472" y="5190884"/>
                <a:ext cx="1287780" cy="261610"/>
              </a:xfrm>
              <a:prstGeom prst="rect">
                <a:avLst/>
              </a:prstGeom>
              <a:noFill/>
            </p:spPr>
            <p:txBody>
              <a:bodyPr wrap="square" rtlCol="0">
                <a:spAutoFit/>
              </a:bodyPr>
              <a:lstStyle/>
              <a:p>
                <a:pPr algn="ctr"/>
                <a:r>
                  <a:rPr lang="en-US" sz="1100" dirty="0"/>
                  <a:t>Ammonia (NH3)</a:t>
                </a:r>
              </a:p>
            </p:txBody>
          </p:sp>
          <p:sp>
            <p:nvSpPr>
              <p:cNvPr id="129" name="TextBox 128">
                <a:extLst>
                  <a:ext uri="{FF2B5EF4-FFF2-40B4-BE49-F238E27FC236}">
                    <a16:creationId xmlns:a16="http://schemas.microsoft.com/office/drawing/2014/main" id="{A6E41AE2-A6B5-6183-80EF-F2EC781B5D57}"/>
                  </a:ext>
                </a:extLst>
              </p:cNvPr>
              <p:cNvSpPr txBox="1"/>
              <p:nvPr/>
            </p:nvSpPr>
            <p:spPr>
              <a:xfrm rot="16200000" flipH="1">
                <a:off x="11703400" y="4342459"/>
                <a:ext cx="1300400" cy="584775"/>
              </a:xfrm>
              <a:prstGeom prst="rect">
                <a:avLst/>
              </a:prstGeom>
              <a:noFill/>
            </p:spPr>
            <p:txBody>
              <a:bodyPr wrap="square" rtlCol="0">
                <a:spAutoFit/>
              </a:bodyPr>
              <a:lstStyle/>
              <a:p>
                <a:r>
                  <a:rPr lang="en-US" sz="1600" b="1" dirty="0"/>
                  <a:t>Drying and screening</a:t>
                </a:r>
              </a:p>
            </p:txBody>
          </p:sp>
          <p:sp>
            <p:nvSpPr>
              <p:cNvPr id="130" name="TextBox 129">
                <a:extLst>
                  <a:ext uri="{FF2B5EF4-FFF2-40B4-BE49-F238E27FC236}">
                    <a16:creationId xmlns:a16="http://schemas.microsoft.com/office/drawing/2014/main" id="{E3B17C77-B23F-BED8-AA89-CEC14CA75FFB}"/>
                  </a:ext>
                </a:extLst>
              </p:cNvPr>
              <p:cNvSpPr txBox="1"/>
              <p:nvPr/>
            </p:nvSpPr>
            <p:spPr>
              <a:xfrm rot="16200000" flipH="1">
                <a:off x="14645195" y="3872791"/>
                <a:ext cx="1414662" cy="430887"/>
              </a:xfrm>
              <a:prstGeom prst="rect">
                <a:avLst/>
              </a:prstGeom>
              <a:noFill/>
            </p:spPr>
            <p:txBody>
              <a:bodyPr wrap="square" rtlCol="0">
                <a:spAutoFit/>
              </a:bodyPr>
              <a:lstStyle/>
              <a:p>
                <a:r>
                  <a:rPr lang="en-US" sz="1100" b="1" dirty="0"/>
                  <a:t>Cooling and screening</a:t>
                </a:r>
              </a:p>
            </p:txBody>
          </p:sp>
          <p:sp>
            <p:nvSpPr>
              <p:cNvPr id="141" name="TextBox 140">
                <a:extLst>
                  <a:ext uri="{FF2B5EF4-FFF2-40B4-BE49-F238E27FC236}">
                    <a16:creationId xmlns:a16="http://schemas.microsoft.com/office/drawing/2014/main" id="{549F42C8-EE19-D335-D777-F34B36A465F2}"/>
                  </a:ext>
                </a:extLst>
              </p:cNvPr>
              <p:cNvSpPr txBox="1"/>
              <p:nvPr/>
            </p:nvSpPr>
            <p:spPr>
              <a:xfrm flipH="1">
                <a:off x="10067682" y="8200730"/>
                <a:ext cx="1352360" cy="369332"/>
              </a:xfrm>
              <a:prstGeom prst="rect">
                <a:avLst/>
              </a:prstGeom>
              <a:noFill/>
            </p:spPr>
            <p:txBody>
              <a:bodyPr wrap="square" rtlCol="0">
                <a:spAutoFit/>
              </a:bodyPr>
              <a:lstStyle/>
              <a:p>
                <a:pPr algn="ctr"/>
                <a:r>
                  <a:rPr lang="en-US" b="1" dirty="0"/>
                  <a:t>Scrubber</a:t>
                </a:r>
              </a:p>
            </p:txBody>
          </p:sp>
        </p:grpSp>
        <p:sp>
          <p:nvSpPr>
            <p:cNvPr id="15" name="TextBox 14">
              <a:extLst>
                <a:ext uri="{FF2B5EF4-FFF2-40B4-BE49-F238E27FC236}">
                  <a16:creationId xmlns:a16="http://schemas.microsoft.com/office/drawing/2014/main" id="{66AB31FF-4F40-85CF-ECF1-45F174B8D7F0}"/>
                </a:ext>
              </a:extLst>
            </p:cNvPr>
            <p:cNvSpPr txBox="1"/>
            <p:nvPr/>
          </p:nvSpPr>
          <p:spPr>
            <a:xfrm rot="16200000">
              <a:off x="9790341" y="4917621"/>
              <a:ext cx="815635" cy="276999"/>
            </a:xfrm>
            <a:prstGeom prst="rect">
              <a:avLst/>
            </a:prstGeom>
            <a:solidFill>
              <a:srgbClr val="FFFF00"/>
            </a:solidFill>
            <a:ln>
              <a:solidFill>
                <a:srgbClr val="FFFF00"/>
              </a:solidFill>
            </a:ln>
          </p:spPr>
          <p:txBody>
            <a:bodyPr wrap="square" rtlCol="0">
              <a:spAutoFit/>
            </a:bodyPr>
            <a:lstStyle/>
            <a:p>
              <a:pPr algn="ctr"/>
              <a:r>
                <a:rPr lang="en-US" sz="1200" dirty="0"/>
                <a:t>Utilities</a:t>
              </a:r>
            </a:p>
          </p:txBody>
        </p:sp>
        <p:sp>
          <p:nvSpPr>
            <p:cNvPr id="16" name="TextBox 15">
              <a:extLst>
                <a:ext uri="{FF2B5EF4-FFF2-40B4-BE49-F238E27FC236}">
                  <a16:creationId xmlns:a16="http://schemas.microsoft.com/office/drawing/2014/main" id="{E9049629-C435-9188-CF23-4D2F361FF5FE}"/>
                </a:ext>
              </a:extLst>
            </p:cNvPr>
            <p:cNvSpPr txBox="1"/>
            <p:nvPr/>
          </p:nvSpPr>
          <p:spPr>
            <a:xfrm rot="16200000">
              <a:off x="12760878" y="4332184"/>
              <a:ext cx="715535" cy="276999"/>
            </a:xfrm>
            <a:prstGeom prst="rect">
              <a:avLst/>
            </a:prstGeom>
            <a:solidFill>
              <a:srgbClr val="FFFF00"/>
            </a:solidFill>
            <a:ln>
              <a:solidFill>
                <a:srgbClr val="FFFF00"/>
              </a:solidFill>
            </a:ln>
          </p:spPr>
          <p:txBody>
            <a:bodyPr wrap="square" rtlCol="0">
              <a:spAutoFit/>
            </a:bodyPr>
            <a:lstStyle/>
            <a:p>
              <a:pPr algn="ctr"/>
              <a:r>
                <a:rPr lang="en-US" sz="1200" dirty="0"/>
                <a:t>Utilities</a:t>
              </a:r>
            </a:p>
          </p:txBody>
        </p:sp>
        <p:sp>
          <p:nvSpPr>
            <p:cNvPr id="17" name="TextBox 16">
              <a:extLst>
                <a:ext uri="{FF2B5EF4-FFF2-40B4-BE49-F238E27FC236}">
                  <a16:creationId xmlns:a16="http://schemas.microsoft.com/office/drawing/2014/main" id="{EC731D81-C137-029C-65C8-1C82ED3794D5}"/>
                </a:ext>
              </a:extLst>
            </p:cNvPr>
            <p:cNvSpPr txBox="1"/>
            <p:nvPr/>
          </p:nvSpPr>
          <p:spPr>
            <a:xfrm>
              <a:off x="7517540" y="4250292"/>
              <a:ext cx="983673" cy="276999"/>
            </a:xfrm>
            <a:prstGeom prst="rect">
              <a:avLst/>
            </a:prstGeom>
            <a:solidFill>
              <a:srgbClr val="FF0101"/>
            </a:solidFill>
            <a:ln>
              <a:solidFill>
                <a:srgbClr val="FF0101"/>
              </a:solidFill>
            </a:ln>
          </p:spPr>
          <p:txBody>
            <a:bodyPr wrap="square" rtlCol="0">
              <a:spAutoFit/>
            </a:bodyPr>
            <a:lstStyle/>
            <a:p>
              <a:pPr algn="ctr"/>
              <a:r>
                <a:rPr lang="en-US" sz="1200" dirty="0">
                  <a:solidFill>
                    <a:schemeClr val="bg1"/>
                  </a:solidFill>
                </a:rPr>
                <a:t>Waste heat</a:t>
              </a:r>
            </a:p>
          </p:txBody>
        </p:sp>
        <p:sp>
          <p:nvSpPr>
            <p:cNvPr id="18" name="TextBox 17">
              <a:extLst>
                <a:ext uri="{FF2B5EF4-FFF2-40B4-BE49-F238E27FC236}">
                  <a16:creationId xmlns:a16="http://schemas.microsoft.com/office/drawing/2014/main" id="{74154519-DE96-D3EC-D134-7AD01C35B703}"/>
                </a:ext>
              </a:extLst>
            </p:cNvPr>
            <p:cNvSpPr txBox="1"/>
            <p:nvPr/>
          </p:nvSpPr>
          <p:spPr>
            <a:xfrm>
              <a:off x="5285507" y="3625079"/>
              <a:ext cx="1703879" cy="276999"/>
            </a:xfrm>
            <a:prstGeom prst="rect">
              <a:avLst/>
            </a:prstGeom>
            <a:solidFill>
              <a:srgbClr val="0000FF"/>
            </a:solidFill>
            <a:ln>
              <a:solidFill>
                <a:srgbClr val="0000FF"/>
              </a:solidFill>
            </a:ln>
          </p:spPr>
          <p:txBody>
            <a:bodyPr wrap="square" rtlCol="0">
              <a:spAutoFit/>
            </a:bodyPr>
            <a:lstStyle/>
            <a:p>
              <a:pPr algn="ctr"/>
              <a:r>
                <a:rPr lang="en-US" sz="1200" dirty="0">
                  <a:solidFill>
                    <a:schemeClr val="bg1"/>
                  </a:solidFill>
                </a:rPr>
                <a:t>Ammonium sulphate</a:t>
              </a:r>
            </a:p>
          </p:txBody>
        </p:sp>
        <p:sp>
          <p:nvSpPr>
            <p:cNvPr id="19" name="TextBox 18">
              <a:extLst>
                <a:ext uri="{FF2B5EF4-FFF2-40B4-BE49-F238E27FC236}">
                  <a16:creationId xmlns:a16="http://schemas.microsoft.com/office/drawing/2014/main" id="{41B0EB4B-2380-E944-3A6E-386F7F03C727}"/>
                </a:ext>
              </a:extLst>
            </p:cNvPr>
            <p:cNvSpPr txBox="1"/>
            <p:nvPr/>
          </p:nvSpPr>
          <p:spPr>
            <a:xfrm>
              <a:off x="6195247" y="3946522"/>
              <a:ext cx="1363695" cy="276999"/>
            </a:xfrm>
            <a:prstGeom prst="rect">
              <a:avLst/>
            </a:prstGeom>
            <a:solidFill>
              <a:srgbClr val="0000FF"/>
            </a:solidFill>
            <a:ln>
              <a:solidFill>
                <a:srgbClr val="0000FF"/>
              </a:solidFill>
            </a:ln>
          </p:spPr>
          <p:txBody>
            <a:bodyPr wrap="square" rtlCol="0">
              <a:spAutoFit/>
            </a:bodyPr>
            <a:lstStyle/>
            <a:p>
              <a:pPr algn="ctr"/>
              <a:r>
                <a:rPr lang="en-US" sz="1200" dirty="0">
                  <a:solidFill>
                    <a:schemeClr val="bg1"/>
                  </a:solidFill>
                </a:rPr>
                <a:t>Sulfuric acid</a:t>
              </a:r>
            </a:p>
          </p:txBody>
        </p:sp>
        <p:sp>
          <p:nvSpPr>
            <p:cNvPr id="20" name="TextBox 19">
              <a:extLst>
                <a:ext uri="{FF2B5EF4-FFF2-40B4-BE49-F238E27FC236}">
                  <a16:creationId xmlns:a16="http://schemas.microsoft.com/office/drawing/2014/main" id="{84AC3DD7-C5F7-E750-D705-88C3C0128CAD}"/>
                </a:ext>
              </a:extLst>
            </p:cNvPr>
            <p:cNvSpPr txBox="1"/>
            <p:nvPr/>
          </p:nvSpPr>
          <p:spPr>
            <a:xfrm>
              <a:off x="10302543" y="3846146"/>
              <a:ext cx="1082689" cy="276999"/>
            </a:xfrm>
            <a:prstGeom prst="rect">
              <a:avLst/>
            </a:prstGeom>
            <a:solidFill>
              <a:srgbClr val="0000FF"/>
            </a:solidFill>
            <a:ln>
              <a:solidFill>
                <a:srgbClr val="0000FF"/>
              </a:solidFill>
            </a:ln>
          </p:spPr>
          <p:txBody>
            <a:bodyPr wrap="square" rtlCol="0">
              <a:spAutoFit/>
            </a:bodyPr>
            <a:lstStyle/>
            <a:p>
              <a:pPr algn="ctr"/>
              <a:r>
                <a:rPr lang="en-US" sz="1200" dirty="0">
                  <a:solidFill>
                    <a:schemeClr val="bg1"/>
                  </a:solidFill>
                </a:rPr>
                <a:t>Wet product</a:t>
              </a:r>
            </a:p>
          </p:txBody>
        </p:sp>
        <p:sp>
          <p:nvSpPr>
            <p:cNvPr id="21" name="TextBox 20">
              <a:extLst>
                <a:ext uri="{FF2B5EF4-FFF2-40B4-BE49-F238E27FC236}">
                  <a16:creationId xmlns:a16="http://schemas.microsoft.com/office/drawing/2014/main" id="{323257B2-BFCC-C340-4471-5FDB78EC4ECA}"/>
                </a:ext>
              </a:extLst>
            </p:cNvPr>
            <p:cNvSpPr txBox="1"/>
            <p:nvPr/>
          </p:nvSpPr>
          <p:spPr>
            <a:xfrm>
              <a:off x="13313356" y="3884817"/>
              <a:ext cx="1082689" cy="276999"/>
            </a:xfrm>
            <a:prstGeom prst="rect">
              <a:avLst/>
            </a:prstGeom>
            <a:solidFill>
              <a:srgbClr val="0000FF"/>
            </a:solidFill>
            <a:ln>
              <a:solidFill>
                <a:srgbClr val="0000FF"/>
              </a:solidFill>
            </a:ln>
          </p:spPr>
          <p:txBody>
            <a:bodyPr wrap="square" rtlCol="0">
              <a:spAutoFit/>
            </a:bodyPr>
            <a:lstStyle/>
            <a:p>
              <a:pPr algn="ctr"/>
              <a:r>
                <a:rPr lang="en-US" sz="1200" dirty="0">
                  <a:solidFill>
                    <a:schemeClr val="bg1"/>
                  </a:solidFill>
                </a:rPr>
                <a:t>Dry product</a:t>
              </a:r>
            </a:p>
          </p:txBody>
        </p:sp>
        <p:sp>
          <p:nvSpPr>
            <p:cNvPr id="23" name="TextBox 22">
              <a:extLst>
                <a:ext uri="{FF2B5EF4-FFF2-40B4-BE49-F238E27FC236}">
                  <a16:creationId xmlns:a16="http://schemas.microsoft.com/office/drawing/2014/main" id="{3CFE3611-8C8C-4E0E-B64F-645AF6ABCE9E}"/>
                </a:ext>
              </a:extLst>
            </p:cNvPr>
            <p:cNvSpPr txBox="1"/>
            <p:nvPr/>
          </p:nvSpPr>
          <p:spPr>
            <a:xfrm rot="16200000">
              <a:off x="1803151" y="5384071"/>
              <a:ext cx="1206400" cy="276999"/>
            </a:xfrm>
            <a:prstGeom prst="rect">
              <a:avLst/>
            </a:prstGeom>
            <a:solidFill>
              <a:srgbClr val="008040"/>
            </a:solidFill>
            <a:ln>
              <a:solidFill>
                <a:srgbClr val="008040"/>
              </a:solidFill>
            </a:ln>
          </p:spPr>
          <p:txBody>
            <a:bodyPr wrap="square" rtlCol="0">
              <a:spAutoFit/>
            </a:bodyPr>
            <a:lstStyle/>
            <a:p>
              <a:pPr algn="ctr"/>
              <a:r>
                <a:rPr lang="en-US" sz="1200" dirty="0">
                  <a:solidFill>
                    <a:schemeClr val="bg1"/>
                  </a:solidFill>
                </a:rPr>
                <a:t>Raw materials</a:t>
              </a:r>
            </a:p>
          </p:txBody>
        </p:sp>
        <p:sp>
          <p:nvSpPr>
            <p:cNvPr id="24" name="TextBox 23">
              <a:extLst>
                <a:ext uri="{FF2B5EF4-FFF2-40B4-BE49-F238E27FC236}">
                  <a16:creationId xmlns:a16="http://schemas.microsoft.com/office/drawing/2014/main" id="{367857A0-E727-5904-C1D8-F90F534871C1}"/>
                </a:ext>
              </a:extLst>
            </p:cNvPr>
            <p:cNvSpPr txBox="1"/>
            <p:nvPr/>
          </p:nvSpPr>
          <p:spPr>
            <a:xfrm rot="16200000">
              <a:off x="1927771" y="3805521"/>
              <a:ext cx="897064" cy="276999"/>
            </a:xfrm>
            <a:prstGeom prst="rect">
              <a:avLst/>
            </a:prstGeom>
            <a:solidFill>
              <a:srgbClr val="FFFF00"/>
            </a:solidFill>
            <a:ln>
              <a:solidFill>
                <a:srgbClr val="FFFF00"/>
              </a:solidFill>
            </a:ln>
          </p:spPr>
          <p:txBody>
            <a:bodyPr wrap="square" rtlCol="0">
              <a:spAutoFit/>
            </a:bodyPr>
            <a:lstStyle/>
            <a:p>
              <a:pPr algn="ctr"/>
              <a:r>
                <a:rPr lang="en-US" sz="1200" dirty="0"/>
                <a:t>Electricity</a:t>
              </a:r>
            </a:p>
          </p:txBody>
        </p:sp>
        <p:sp>
          <p:nvSpPr>
            <p:cNvPr id="25" name="TextBox 24">
              <a:extLst>
                <a:ext uri="{FF2B5EF4-FFF2-40B4-BE49-F238E27FC236}">
                  <a16:creationId xmlns:a16="http://schemas.microsoft.com/office/drawing/2014/main" id="{7AEA42A7-EE9E-06D9-C6F7-A5CCA5B36BA9}"/>
                </a:ext>
              </a:extLst>
            </p:cNvPr>
            <p:cNvSpPr txBox="1"/>
            <p:nvPr/>
          </p:nvSpPr>
          <p:spPr>
            <a:xfrm>
              <a:off x="12208857" y="7376617"/>
              <a:ext cx="919772" cy="253916"/>
            </a:xfrm>
            <a:prstGeom prst="rect">
              <a:avLst/>
            </a:prstGeom>
            <a:solidFill>
              <a:srgbClr val="8080FF"/>
            </a:solidFill>
            <a:ln>
              <a:solidFill>
                <a:srgbClr val="8080FF"/>
              </a:solidFill>
            </a:ln>
          </p:spPr>
          <p:txBody>
            <a:bodyPr wrap="square" rtlCol="0">
              <a:spAutoFit/>
            </a:bodyPr>
            <a:lstStyle/>
            <a:p>
              <a:pPr algn="ctr"/>
              <a:r>
                <a:rPr lang="en-US" sz="1050" dirty="0">
                  <a:solidFill>
                    <a:schemeClr val="bg1"/>
                  </a:solidFill>
                </a:rPr>
                <a:t>Exhaust gas</a:t>
              </a:r>
            </a:p>
          </p:txBody>
        </p:sp>
        <p:sp>
          <p:nvSpPr>
            <p:cNvPr id="26" name="TextBox 25">
              <a:extLst>
                <a:ext uri="{FF2B5EF4-FFF2-40B4-BE49-F238E27FC236}">
                  <a16:creationId xmlns:a16="http://schemas.microsoft.com/office/drawing/2014/main" id="{00D239BE-5E19-C4BF-CA5D-A5F6E9BD1990}"/>
                </a:ext>
              </a:extLst>
            </p:cNvPr>
            <p:cNvSpPr txBox="1"/>
            <p:nvPr/>
          </p:nvSpPr>
          <p:spPr>
            <a:xfrm>
              <a:off x="8918336" y="7374196"/>
              <a:ext cx="919772" cy="253916"/>
            </a:xfrm>
            <a:prstGeom prst="rect">
              <a:avLst/>
            </a:prstGeom>
            <a:solidFill>
              <a:srgbClr val="8080FF"/>
            </a:solidFill>
            <a:ln>
              <a:solidFill>
                <a:srgbClr val="8080FF"/>
              </a:solidFill>
            </a:ln>
          </p:spPr>
          <p:txBody>
            <a:bodyPr wrap="square" rtlCol="0">
              <a:spAutoFit/>
            </a:bodyPr>
            <a:lstStyle/>
            <a:p>
              <a:pPr algn="ctr"/>
              <a:r>
                <a:rPr lang="en-US" sz="1050" dirty="0">
                  <a:solidFill>
                    <a:schemeClr val="bg1"/>
                  </a:solidFill>
                </a:rPr>
                <a:t>Exhaust gas</a:t>
              </a:r>
            </a:p>
          </p:txBody>
        </p:sp>
        <p:sp>
          <p:nvSpPr>
            <p:cNvPr id="27" name="TextBox 26">
              <a:extLst>
                <a:ext uri="{FF2B5EF4-FFF2-40B4-BE49-F238E27FC236}">
                  <a16:creationId xmlns:a16="http://schemas.microsoft.com/office/drawing/2014/main" id="{8BF04E6C-5495-12A3-F788-8FE3BCA2393F}"/>
                </a:ext>
              </a:extLst>
            </p:cNvPr>
            <p:cNvSpPr txBox="1"/>
            <p:nvPr/>
          </p:nvSpPr>
          <p:spPr>
            <a:xfrm>
              <a:off x="11652264" y="6259974"/>
              <a:ext cx="812234" cy="415498"/>
            </a:xfrm>
            <a:prstGeom prst="rect">
              <a:avLst/>
            </a:prstGeom>
            <a:solidFill>
              <a:srgbClr val="808080"/>
            </a:solidFill>
            <a:ln>
              <a:solidFill>
                <a:schemeClr val="tx1"/>
              </a:solidFill>
            </a:ln>
          </p:spPr>
          <p:txBody>
            <a:bodyPr wrap="square" rtlCol="0">
              <a:spAutoFit/>
            </a:bodyPr>
            <a:lstStyle/>
            <a:p>
              <a:pPr algn="ctr"/>
              <a:r>
                <a:rPr lang="en-US" sz="1050" dirty="0">
                  <a:solidFill>
                    <a:schemeClr val="bg1"/>
                  </a:solidFill>
                </a:rPr>
                <a:t>Recycled material</a:t>
              </a:r>
            </a:p>
          </p:txBody>
        </p:sp>
        <p:sp>
          <p:nvSpPr>
            <p:cNvPr id="28" name="TextBox 27">
              <a:extLst>
                <a:ext uri="{FF2B5EF4-FFF2-40B4-BE49-F238E27FC236}">
                  <a16:creationId xmlns:a16="http://schemas.microsoft.com/office/drawing/2014/main" id="{17F84959-4B14-BB89-356E-26C4F05C1832}"/>
                </a:ext>
              </a:extLst>
            </p:cNvPr>
            <p:cNvSpPr txBox="1"/>
            <p:nvPr/>
          </p:nvSpPr>
          <p:spPr>
            <a:xfrm>
              <a:off x="14532269" y="6282733"/>
              <a:ext cx="812234" cy="415498"/>
            </a:xfrm>
            <a:prstGeom prst="rect">
              <a:avLst/>
            </a:prstGeom>
            <a:solidFill>
              <a:srgbClr val="808080"/>
            </a:solidFill>
            <a:ln>
              <a:solidFill>
                <a:schemeClr val="tx1"/>
              </a:solidFill>
            </a:ln>
          </p:spPr>
          <p:txBody>
            <a:bodyPr wrap="square" rtlCol="0">
              <a:spAutoFit/>
            </a:bodyPr>
            <a:lstStyle/>
            <a:p>
              <a:pPr algn="ctr"/>
              <a:r>
                <a:rPr lang="en-US" sz="1050" dirty="0">
                  <a:solidFill>
                    <a:schemeClr val="bg1"/>
                  </a:solidFill>
                </a:rPr>
                <a:t>Recycled material</a:t>
              </a:r>
            </a:p>
          </p:txBody>
        </p:sp>
        <p:sp>
          <p:nvSpPr>
            <p:cNvPr id="22" name="TextBox 21">
              <a:extLst>
                <a:ext uri="{FF2B5EF4-FFF2-40B4-BE49-F238E27FC236}">
                  <a16:creationId xmlns:a16="http://schemas.microsoft.com/office/drawing/2014/main" id="{D2B27DCE-4794-6247-9CBC-79AA0E622FB6}"/>
                </a:ext>
              </a:extLst>
            </p:cNvPr>
            <p:cNvSpPr txBox="1"/>
            <p:nvPr/>
          </p:nvSpPr>
          <p:spPr>
            <a:xfrm rot="16200000">
              <a:off x="4530184" y="8207656"/>
              <a:ext cx="1365568" cy="461665"/>
            </a:xfrm>
            <a:prstGeom prst="rect">
              <a:avLst/>
            </a:prstGeom>
            <a:solidFill>
              <a:srgbClr val="008040"/>
            </a:solidFill>
            <a:ln>
              <a:solidFill>
                <a:srgbClr val="008040"/>
              </a:solidFill>
            </a:ln>
          </p:spPr>
          <p:txBody>
            <a:bodyPr wrap="square" rtlCol="0">
              <a:spAutoFit/>
            </a:bodyPr>
            <a:lstStyle/>
            <a:p>
              <a:pPr algn="ctr"/>
              <a:r>
                <a:rPr lang="en-US" sz="1200" dirty="0">
                  <a:solidFill>
                    <a:schemeClr val="bg1"/>
                  </a:solidFill>
                </a:rPr>
                <a:t>Raw materials and transport</a:t>
              </a:r>
            </a:p>
          </p:txBody>
        </p:sp>
      </p:grpSp>
      <p:sp>
        <p:nvSpPr>
          <p:cNvPr id="144" name="Rectangle 143">
            <a:extLst>
              <a:ext uri="{FF2B5EF4-FFF2-40B4-BE49-F238E27FC236}">
                <a16:creationId xmlns:a16="http://schemas.microsoft.com/office/drawing/2014/main" id="{15F0AA8F-4547-6DBC-B197-AF5EF15A1947}"/>
              </a:ext>
            </a:extLst>
          </p:cNvPr>
          <p:cNvSpPr/>
          <p:nvPr/>
        </p:nvSpPr>
        <p:spPr>
          <a:xfrm>
            <a:off x="8186214" y="5929919"/>
            <a:ext cx="634999" cy="115668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49" name="Group 148">
            <a:extLst>
              <a:ext uri="{FF2B5EF4-FFF2-40B4-BE49-F238E27FC236}">
                <a16:creationId xmlns:a16="http://schemas.microsoft.com/office/drawing/2014/main" id="{30E9A8E4-E968-3595-2EAC-CAF7A67DFFD3}"/>
              </a:ext>
            </a:extLst>
          </p:cNvPr>
          <p:cNvGrpSpPr/>
          <p:nvPr/>
        </p:nvGrpSpPr>
        <p:grpSpPr>
          <a:xfrm>
            <a:off x="4536112" y="3213814"/>
            <a:ext cx="5504471" cy="5417884"/>
            <a:chOff x="4515828" y="3213814"/>
            <a:chExt cx="5504471" cy="5417884"/>
          </a:xfrm>
        </p:grpSpPr>
        <p:sp>
          <p:nvSpPr>
            <p:cNvPr id="150" name="Rectangle 149">
              <a:extLst>
                <a:ext uri="{FF2B5EF4-FFF2-40B4-BE49-F238E27FC236}">
                  <a16:creationId xmlns:a16="http://schemas.microsoft.com/office/drawing/2014/main" id="{76DCAC00-5DCB-50B8-32DA-20CA6232EC8E}"/>
                </a:ext>
              </a:extLst>
            </p:cNvPr>
            <p:cNvSpPr/>
            <p:nvPr/>
          </p:nvSpPr>
          <p:spPr>
            <a:xfrm>
              <a:off x="6084858" y="7389813"/>
              <a:ext cx="1130555" cy="1241885"/>
            </a:xfrm>
            <a:prstGeom prst="rect">
              <a:avLst/>
            </a:prstGeom>
            <a:noFill/>
            <a:ln w="38100">
              <a:solidFill>
                <a:schemeClr val="accent1"/>
              </a:solidFill>
            </a:ln>
          </p:spPr>
          <p:style>
            <a:lnRef idx="0">
              <a:scrgbClr r="0" g="0" b="0"/>
            </a:lnRef>
            <a:fillRef idx="0">
              <a:scrgbClr r="0" g="0" b="0"/>
            </a:fillRef>
            <a:effectRef idx="0">
              <a:scrgbClr r="0" g="0" b="0"/>
            </a:effectRef>
            <a:fontRef idx="minor">
              <a:schemeClr val="lt1"/>
            </a:fontRef>
          </p:style>
          <p:txBody>
            <a:bodyPr rtlCol="0" anchor="ctr"/>
            <a:lstStyle/>
            <a:p>
              <a:pPr algn="ctr"/>
              <a:r>
                <a:rPr lang="en-US" sz="2800" dirty="0">
                  <a:solidFill>
                    <a:schemeClr val="accent1"/>
                  </a:solidFill>
                </a:rPr>
                <a:t>1.</a:t>
              </a:r>
              <a:endParaRPr lang="en-US" dirty="0">
                <a:solidFill>
                  <a:schemeClr val="accent1"/>
                </a:solidFill>
              </a:endParaRPr>
            </a:p>
          </p:txBody>
        </p:sp>
        <p:sp>
          <p:nvSpPr>
            <p:cNvPr id="151" name="Rectangle 150">
              <a:extLst>
                <a:ext uri="{FF2B5EF4-FFF2-40B4-BE49-F238E27FC236}">
                  <a16:creationId xmlns:a16="http://schemas.microsoft.com/office/drawing/2014/main" id="{619452DB-3970-5EEF-8384-7A10188A49AB}"/>
                </a:ext>
              </a:extLst>
            </p:cNvPr>
            <p:cNvSpPr/>
            <p:nvPr/>
          </p:nvSpPr>
          <p:spPr>
            <a:xfrm>
              <a:off x="4515828" y="3536302"/>
              <a:ext cx="5504471" cy="3048000"/>
            </a:xfrm>
            <a:prstGeom prst="rect">
              <a:avLst/>
            </a:prstGeom>
            <a:noFill/>
            <a:ln w="38100">
              <a:solidFill>
                <a:schemeClr val="accent1"/>
              </a:solid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2800" dirty="0">
                <a:solidFill>
                  <a:schemeClr val="accent1"/>
                </a:solidFill>
              </a:endParaRPr>
            </a:p>
          </p:txBody>
        </p:sp>
        <p:sp>
          <p:nvSpPr>
            <p:cNvPr id="152" name="Rectangle 151">
              <a:extLst>
                <a:ext uri="{FF2B5EF4-FFF2-40B4-BE49-F238E27FC236}">
                  <a16:creationId xmlns:a16="http://schemas.microsoft.com/office/drawing/2014/main" id="{E632F90E-3A1E-32D1-9167-6FD910EFFBDC}"/>
                </a:ext>
              </a:extLst>
            </p:cNvPr>
            <p:cNvSpPr/>
            <p:nvPr/>
          </p:nvSpPr>
          <p:spPr>
            <a:xfrm>
              <a:off x="5750997" y="3213814"/>
              <a:ext cx="1720137" cy="257654"/>
            </a:xfrm>
            <a:prstGeom prst="rect">
              <a:avLst/>
            </a:prstGeom>
            <a:noFill/>
            <a:ln w="38100">
              <a:solidFill>
                <a:schemeClr val="accent1"/>
              </a:solid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grpSp>
      <p:sp>
        <p:nvSpPr>
          <p:cNvPr id="142" name="textruta 141">
            <a:extLst>
              <a:ext uri="{FF2B5EF4-FFF2-40B4-BE49-F238E27FC236}">
                <a16:creationId xmlns:a16="http://schemas.microsoft.com/office/drawing/2014/main" id="{029E7953-C67F-E8E3-DD36-F5363BDA8644}"/>
              </a:ext>
            </a:extLst>
          </p:cNvPr>
          <p:cNvSpPr txBox="1"/>
          <p:nvPr/>
        </p:nvSpPr>
        <p:spPr>
          <a:xfrm>
            <a:off x="6708131" y="5887712"/>
            <a:ext cx="812234" cy="523220"/>
          </a:xfrm>
          <a:prstGeom prst="rect">
            <a:avLst/>
          </a:prstGeom>
          <a:noFill/>
        </p:spPr>
        <p:txBody>
          <a:bodyPr wrap="square">
            <a:spAutoFit/>
          </a:bodyPr>
          <a:lstStyle/>
          <a:p>
            <a:pPr algn="ctr"/>
            <a:r>
              <a:rPr lang="en-US" sz="2800" dirty="0">
                <a:solidFill>
                  <a:schemeClr val="accent1"/>
                </a:solidFill>
              </a:rPr>
              <a:t>2.</a:t>
            </a:r>
          </a:p>
        </p:txBody>
      </p:sp>
      <p:sp>
        <p:nvSpPr>
          <p:cNvPr id="153" name="textruta 152">
            <a:extLst>
              <a:ext uri="{FF2B5EF4-FFF2-40B4-BE49-F238E27FC236}">
                <a16:creationId xmlns:a16="http://schemas.microsoft.com/office/drawing/2014/main" id="{1A5A3966-82A4-0A37-E793-C0DC0D4B4E8A}"/>
              </a:ext>
            </a:extLst>
          </p:cNvPr>
          <p:cNvSpPr txBox="1"/>
          <p:nvPr/>
        </p:nvSpPr>
        <p:spPr>
          <a:xfrm>
            <a:off x="5204974" y="2914344"/>
            <a:ext cx="812234" cy="523220"/>
          </a:xfrm>
          <a:prstGeom prst="rect">
            <a:avLst/>
          </a:prstGeom>
          <a:noFill/>
        </p:spPr>
        <p:txBody>
          <a:bodyPr wrap="square">
            <a:spAutoFit/>
          </a:bodyPr>
          <a:lstStyle/>
          <a:p>
            <a:pPr algn="ctr"/>
            <a:r>
              <a:rPr lang="en-US" sz="2800" dirty="0">
                <a:solidFill>
                  <a:schemeClr val="accent1"/>
                </a:solidFill>
              </a:rPr>
              <a:t>3.</a:t>
            </a:r>
          </a:p>
        </p:txBody>
      </p:sp>
    </p:spTree>
    <p:extLst>
      <p:ext uri="{BB962C8B-B14F-4D97-AF65-F5344CB8AC3E}">
        <p14:creationId xmlns:p14="http://schemas.microsoft.com/office/powerpoint/2010/main" val="163287647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6"/>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marL="0" marR="0" lvl="0" indent="0" algn="ctr" defTabSz="914400" rtl="0" eaLnBrk="1" fontAlgn="auto" latinLnBrk="0" hangingPunct="1">
                <a:lnSpc>
                  <a:spcPts val="3919"/>
                </a:lnSpc>
                <a:spcBef>
                  <a:spcPct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OCR A Extended" panose="02010509020102010303" pitchFamily="50" charset="0"/>
                  <a:ea typeface="+mn-ea"/>
                  <a:cs typeface="+mn-cs"/>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4"/>
          <a:srcRect/>
          <a:stretch>
            <a:fillRect/>
          </a:stretch>
        </p:blipFill>
        <p:spPr>
          <a:xfrm>
            <a:off x="0" y="9447976"/>
            <a:ext cx="3459892" cy="839024"/>
          </a:xfrm>
          <a:prstGeom prst="rect">
            <a:avLst/>
          </a:prstGeom>
        </p:spPr>
      </p:pic>
      <p:grpSp>
        <p:nvGrpSpPr>
          <p:cNvPr id="3" name="Gruppo 2">
            <a:extLst>
              <a:ext uri="{FF2B5EF4-FFF2-40B4-BE49-F238E27FC236}">
                <a16:creationId xmlns:a16="http://schemas.microsoft.com/office/drawing/2014/main" id="{1C29CBCA-BE0A-4EF6-AC69-329941E1DCFD}"/>
              </a:ext>
            </a:extLst>
          </p:cNvPr>
          <p:cNvGrpSpPr/>
          <p:nvPr/>
        </p:nvGrpSpPr>
        <p:grpSpPr>
          <a:xfrm>
            <a:off x="-12" y="138554"/>
            <a:ext cx="18288002" cy="681138"/>
            <a:chOff x="-12" y="138554"/>
            <a:chExt cx="18288002" cy="681138"/>
          </a:xfrm>
        </p:grpSpPr>
        <p:grpSp>
          <p:nvGrpSpPr>
            <p:cNvPr id="2" name="Gruppo 1">
              <a:extLst>
                <a:ext uri="{FF2B5EF4-FFF2-40B4-BE49-F238E27FC236}">
                  <a16:creationId xmlns:a16="http://schemas.microsoft.com/office/drawing/2014/main" id="{24E9C7AF-0093-476F-826C-A2702AB72892}"/>
                </a:ext>
              </a:extLst>
            </p:cNvPr>
            <p:cNvGrpSpPr/>
            <p:nvPr/>
          </p:nvGrpSpPr>
          <p:grpSpPr>
            <a:xfrm>
              <a:off x="0" y="153125"/>
              <a:ext cx="17907000" cy="666567"/>
              <a:chOff x="0" y="153125"/>
              <a:chExt cx="17907000" cy="666567"/>
            </a:xfrm>
          </p:grpSpPr>
          <p:grpSp>
            <p:nvGrpSpPr>
              <p:cNvPr id="16" name="Gruppo 15">
                <a:extLst>
                  <a:ext uri="{FF2B5EF4-FFF2-40B4-BE49-F238E27FC236}">
                    <a16:creationId xmlns:a16="http://schemas.microsoft.com/office/drawing/2014/main" id="{DAC42A46-917D-41AB-8F07-E15E54D0F7D4}"/>
                  </a:ext>
                </a:extLst>
              </p:cNvPr>
              <p:cNvGrpSpPr/>
              <p:nvPr/>
            </p:nvGrpSpPr>
            <p:grpSpPr>
              <a:xfrm>
                <a:off x="0" y="153125"/>
                <a:ext cx="13958844" cy="666567"/>
                <a:chOff x="0" y="153125"/>
                <a:chExt cx="13958844" cy="666567"/>
              </a:xfrm>
            </p:grpSpPr>
            <p:pic>
              <p:nvPicPr>
                <p:cNvPr id="10" name="Picture 10"/>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1" name="TextBox 11"/>
                <p:cNvSpPr txBox="1"/>
                <p:nvPr/>
              </p:nvSpPr>
              <p:spPr>
                <a:xfrm>
                  <a:off x="228600" y="257980"/>
                  <a:ext cx="9296400" cy="456856"/>
                </a:xfrm>
                <a:prstGeom prst="rect">
                  <a:avLst/>
                </a:prstGeom>
              </p:spPr>
              <p:txBody>
                <a:bodyPr wrap="square" lIns="0" tIns="0" rIns="0" bIns="0" rtlCol="0" anchor="t">
                  <a:spAutoFit/>
                </a:bodyPr>
                <a:lstStyle/>
                <a:p>
                  <a:pPr marL="0" marR="0" lvl="0" indent="0" algn="l" defTabSz="914400" rtl="0" eaLnBrk="1" fontAlgn="auto" latinLnBrk="0" hangingPunct="1">
                    <a:lnSpc>
                      <a:spcPts val="3919"/>
                    </a:lnSpc>
                    <a:spcBef>
                      <a:spcPct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2" name="TextBox 11">
                <a:extLst>
                  <a:ext uri="{FF2B5EF4-FFF2-40B4-BE49-F238E27FC236}">
                    <a16:creationId xmlns:a16="http://schemas.microsoft.com/office/drawing/2014/main" id="{1BD9B5F4-614C-4EB6-8C5B-120A5420CE43}"/>
                  </a:ext>
                </a:extLst>
              </p:cNvPr>
              <p:cNvSpPr txBox="1"/>
              <p:nvPr/>
            </p:nvSpPr>
            <p:spPr>
              <a:xfrm>
                <a:off x="12154296" y="257980"/>
                <a:ext cx="5752704" cy="456856"/>
              </a:xfrm>
              <a:prstGeom prst="rect">
                <a:avLst/>
              </a:prstGeom>
            </p:spPr>
            <p:txBody>
              <a:bodyPr wrap="square" lIns="0" tIns="0" rIns="0" bIns="0" rtlCol="0" anchor="t">
                <a:spAutoFit/>
              </a:bodyPr>
              <a:lstStyle/>
              <a:p>
                <a:pPr marL="0" marR="0" lvl="0" indent="0" algn="r" defTabSz="914400" rtl="0" eaLnBrk="1" fontAlgn="auto" latinLnBrk="0" hangingPunct="1">
                  <a:lnSpc>
                    <a:spcPts val="3919"/>
                  </a:lnSpc>
                  <a:spcBef>
                    <a:spcPct val="0"/>
                  </a:spcBef>
                  <a:spcAft>
                    <a:spcPts val="0"/>
                  </a:spcAft>
                  <a:buClrTx/>
                  <a:buSzTx/>
                  <a:buFontTx/>
                  <a:buNone/>
                  <a:tabLst/>
                  <a:defRPr/>
                </a:pPr>
                <a:endParaRPr kumimoji="0" lang="en-US" sz="2800" b="0" i="0" u="none" strike="noStrike" kern="1200" cap="none" spc="0" normalizeH="0" baseline="0" noProof="0">
                  <a:ln>
                    <a:noFill/>
                  </a:ln>
                  <a:solidFill>
                    <a:srgbClr val="2F2F2F">
                      <a:lumMod val="75000"/>
                      <a:lumOff val="25000"/>
                    </a:srgbClr>
                  </a:solidFill>
                  <a:effectLst/>
                  <a:uLnTx/>
                  <a:uFillTx/>
                  <a:latin typeface="Arial" panose="020B0604020202020204" pitchFamily="34" charset="0"/>
                  <a:ea typeface="+mn-ea"/>
                  <a:cs typeface="Arial" panose="020B0604020202020204" pitchFamily="34" charset="0"/>
                </a:endParaRPr>
              </a:p>
            </p:txBody>
          </p:sp>
        </p:grpSp>
        <p:sp>
          <p:nvSpPr>
            <p:cNvPr id="14" name="Rettangolo 13">
              <a:extLst>
                <a:ext uri="{FF2B5EF4-FFF2-40B4-BE49-F238E27FC236}">
                  <a16:creationId xmlns:a16="http://schemas.microsoft.com/office/drawing/2014/main" id="{55199736-B8B6-4C9A-8BAF-233E07A0CA89}"/>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pic>
        <p:nvPicPr>
          <p:cNvPr id="13" name="Picture 4" descr="Diagram, schematic&#10;&#10;Description automatically generated">
            <a:extLst>
              <a:ext uri="{FF2B5EF4-FFF2-40B4-BE49-F238E27FC236}">
                <a16:creationId xmlns:a16="http://schemas.microsoft.com/office/drawing/2014/main" id="{3F6A0EF6-1B52-14DD-1F83-47D1A468F86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89000" y="1104900"/>
            <a:ext cx="7315200" cy="7315200"/>
          </a:xfrm>
          <a:prstGeom prst="rect">
            <a:avLst/>
          </a:prstGeom>
        </p:spPr>
      </p:pic>
      <p:sp>
        <p:nvSpPr>
          <p:cNvPr id="15" name="TextBox 6">
            <a:extLst>
              <a:ext uri="{FF2B5EF4-FFF2-40B4-BE49-F238E27FC236}">
                <a16:creationId xmlns:a16="http://schemas.microsoft.com/office/drawing/2014/main" id="{B00358B4-37FC-2076-E795-65D0FAF4D168}"/>
              </a:ext>
            </a:extLst>
          </p:cNvPr>
          <p:cNvSpPr txBox="1"/>
          <p:nvPr/>
        </p:nvSpPr>
        <p:spPr>
          <a:xfrm>
            <a:off x="9766300" y="3246785"/>
            <a:ext cx="7048500" cy="483209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4D4D4D"/>
                </a:solidFill>
                <a:effectLst/>
                <a:uLnTx/>
                <a:uFillTx/>
                <a:latin typeface="+mj-lt"/>
                <a:ea typeface="+mn-ea"/>
                <a:cs typeface="+mn-cs"/>
              </a:rPr>
              <a:t>9.4 </a:t>
            </a:r>
            <a:r>
              <a:rPr kumimoji="0" lang="en-US" sz="2800" b="0" i="0" u="none" strike="noStrike" kern="1200" cap="none" spc="0" normalizeH="0" baseline="0" noProof="0">
                <a:ln>
                  <a:noFill/>
                </a:ln>
                <a:solidFill>
                  <a:srgbClr val="4D4D4D"/>
                </a:solidFill>
                <a:effectLst/>
                <a:uLnTx/>
                <a:uFillTx/>
                <a:latin typeface="+mj-lt"/>
                <a:ea typeface="+mn-ea"/>
                <a:cs typeface="+mn-cs"/>
              </a:rPr>
              <a:t>By 2030, upgrade infrastructure and retrofit industries to make them sustainable, with increased resource-use efficiency and greater adoption of clean and environmentally sound technologies and industrial processes, with all countries taking action in accordance with their respective capabiliti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4D4D4D"/>
              </a:solidFill>
              <a:effectLst/>
              <a:uLnTx/>
              <a:uFillTx/>
              <a:latin typeface="+mj-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1" u="none" strike="noStrike" kern="1200" cap="none" spc="0" normalizeH="0" baseline="0" noProof="0">
                <a:ln>
                  <a:noFill/>
                </a:ln>
                <a:solidFill>
                  <a:srgbClr val="4D4D4D"/>
                </a:solidFill>
                <a:effectLst/>
                <a:uLnTx/>
                <a:uFillTx/>
                <a:latin typeface="+mj-lt"/>
                <a:ea typeface="+mn-ea"/>
                <a:cs typeface="+mn-cs"/>
              </a:rPr>
              <a:t>Indicator: CO2 emissions per unit of value added</a:t>
            </a:r>
            <a:endParaRPr kumimoji="0" lang="sv-SE" sz="2800" b="0" i="1" u="none" strike="noStrike" kern="1200" cap="none" spc="0" normalizeH="0" baseline="0" noProof="0">
              <a:ln>
                <a:noFill/>
              </a:ln>
              <a:solidFill>
                <a:srgbClr val="2F2F2F"/>
              </a:solidFill>
              <a:effectLst/>
              <a:uLnTx/>
              <a:uFillTx/>
              <a:latin typeface="+mj-lt"/>
              <a:ea typeface="+mn-ea"/>
              <a:cs typeface="+mn-cs"/>
            </a:endParaRPr>
          </a:p>
        </p:txBody>
      </p:sp>
      <p:sp>
        <p:nvSpPr>
          <p:cNvPr id="21" name="Title 1">
            <a:extLst>
              <a:ext uri="{FF2B5EF4-FFF2-40B4-BE49-F238E27FC236}">
                <a16:creationId xmlns:a16="http://schemas.microsoft.com/office/drawing/2014/main" id="{E55A31FF-D459-C073-4C98-9FBFA6A3C175}"/>
              </a:ext>
            </a:extLst>
          </p:cNvPr>
          <p:cNvSpPr txBox="1">
            <a:spLocks/>
          </p:cNvSpPr>
          <p:nvPr/>
        </p:nvSpPr>
        <p:spPr>
          <a:xfrm>
            <a:off x="8312150" y="1104900"/>
            <a:ext cx="9728200" cy="1143000"/>
          </a:xfrm>
          <a:prstGeom prst="rect">
            <a:avLst/>
          </a:prstGeom>
        </p:spPr>
        <p:txBody>
          <a:bodyPr vert="horz" lIns="91440" tIns="45720" rIns="91440" bIns="45720" rtlCol="0" anchor="ctr">
            <a:normAutofit fontScale="90000" lnSpcReduction="10000"/>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sv-SE" sz="4000" b="1">
                <a:solidFill>
                  <a:srgbClr val="CC0033"/>
                </a:solidFill>
                <a:ea typeface="+mn-ea"/>
                <a:cs typeface="Arial" panose="020B0604020202020204" pitchFamily="34" charset="0"/>
              </a:rPr>
              <a:t>Goal 9: Industry, innovation and infrastructure</a:t>
            </a:r>
          </a:p>
        </p:txBody>
      </p:sp>
    </p:spTree>
    <p:extLst>
      <p:ext uri="{BB962C8B-B14F-4D97-AF65-F5344CB8AC3E}">
        <p14:creationId xmlns:p14="http://schemas.microsoft.com/office/powerpoint/2010/main" val="4116487344"/>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1" name="Picture 12">
            <a:extLst>
              <a:ext uri="{FF2B5EF4-FFF2-40B4-BE49-F238E27FC236}">
                <a16:creationId xmlns:a16="http://schemas.microsoft.com/office/drawing/2014/main" id="{43802E0E-B79D-4EA7-8141-0CA3ED138B1A}"/>
              </a:ext>
            </a:extLst>
          </p:cNvPr>
          <p:cNvPicPr>
            <a:picLocks noChangeAspect="1"/>
          </p:cNvPicPr>
          <p:nvPr/>
        </p:nvPicPr>
        <p:blipFill>
          <a:blip r:embed="rId3"/>
          <a:srcRect/>
          <a:stretch>
            <a:fillRect/>
          </a:stretch>
        </p:blipFill>
        <p:spPr>
          <a:xfrm>
            <a:off x="0" y="8959889"/>
            <a:ext cx="5715000" cy="1385887"/>
          </a:xfrm>
          <a:prstGeom prst="rect">
            <a:avLst/>
          </a:prstGeom>
        </p:spPr>
      </p:pic>
      <p:grpSp>
        <p:nvGrpSpPr>
          <p:cNvPr id="132" name="Gruppo 2">
            <a:extLst>
              <a:ext uri="{FF2B5EF4-FFF2-40B4-BE49-F238E27FC236}">
                <a16:creationId xmlns:a16="http://schemas.microsoft.com/office/drawing/2014/main" id="{649928F6-6E82-4611-9715-AD3C75457C28}"/>
              </a:ext>
            </a:extLst>
          </p:cNvPr>
          <p:cNvGrpSpPr/>
          <p:nvPr/>
        </p:nvGrpSpPr>
        <p:grpSpPr>
          <a:xfrm>
            <a:off x="-12" y="138554"/>
            <a:ext cx="18288002" cy="681138"/>
            <a:chOff x="-12" y="138554"/>
            <a:chExt cx="18288002" cy="681138"/>
          </a:xfrm>
        </p:grpSpPr>
        <p:grpSp>
          <p:nvGrpSpPr>
            <p:cNvPr id="133" name="Gruppo 1">
              <a:extLst>
                <a:ext uri="{FF2B5EF4-FFF2-40B4-BE49-F238E27FC236}">
                  <a16:creationId xmlns:a16="http://schemas.microsoft.com/office/drawing/2014/main" id="{A8EB8794-E5C6-45EB-BAEC-2778E982797A}"/>
                </a:ext>
              </a:extLst>
            </p:cNvPr>
            <p:cNvGrpSpPr/>
            <p:nvPr/>
          </p:nvGrpSpPr>
          <p:grpSpPr>
            <a:xfrm>
              <a:off x="0" y="153125"/>
              <a:ext cx="17907000" cy="666567"/>
              <a:chOff x="0" y="153125"/>
              <a:chExt cx="17907000" cy="666567"/>
            </a:xfrm>
          </p:grpSpPr>
          <p:grpSp>
            <p:nvGrpSpPr>
              <p:cNvPr id="135" name="Gruppo 15">
                <a:extLst>
                  <a:ext uri="{FF2B5EF4-FFF2-40B4-BE49-F238E27FC236}">
                    <a16:creationId xmlns:a16="http://schemas.microsoft.com/office/drawing/2014/main" id="{AB129748-9FD7-458D-BD6E-304271C1814A}"/>
                  </a:ext>
                </a:extLst>
              </p:cNvPr>
              <p:cNvGrpSpPr/>
              <p:nvPr/>
            </p:nvGrpSpPr>
            <p:grpSpPr>
              <a:xfrm>
                <a:off x="0" y="153125"/>
                <a:ext cx="13958844" cy="666567"/>
                <a:chOff x="0" y="153125"/>
                <a:chExt cx="13958844" cy="666567"/>
              </a:xfrm>
            </p:grpSpPr>
            <p:pic>
              <p:nvPicPr>
                <p:cNvPr id="137" name="Picture 136">
                  <a:extLst>
                    <a:ext uri="{FF2B5EF4-FFF2-40B4-BE49-F238E27FC236}">
                      <a16:creationId xmlns:a16="http://schemas.microsoft.com/office/drawing/2014/main" id="{88E31CFD-796F-4F3F-A1EC-0E38F9D83456}"/>
                    </a:ext>
                  </a:extLst>
                </p:cNvPr>
                <p:cNvPicPr>
                  <a:picLocks noChangeAspect="1"/>
                </p:cNvPicPr>
                <p:nvPr/>
              </p:nvPicPr>
              <p:blipFill>
                <a:blip r:embed="rId4"/>
                <a:srcRect l="134" t="91287" b="3943"/>
                <a:stretch>
                  <a:fillRect/>
                </a:stretch>
              </p:blipFill>
              <p:spPr>
                <a:xfrm>
                  <a:off x="0" y="153125"/>
                  <a:ext cx="13958844" cy="666567"/>
                </a:xfrm>
                <a:prstGeom prst="rect">
                  <a:avLst/>
                </a:prstGeom>
              </p:spPr>
            </p:pic>
            <p:sp>
              <p:nvSpPr>
                <p:cNvPr id="138" name="TextBox 137">
                  <a:extLst>
                    <a:ext uri="{FF2B5EF4-FFF2-40B4-BE49-F238E27FC236}">
                      <a16:creationId xmlns:a16="http://schemas.microsoft.com/office/drawing/2014/main" id="{7694DADD-E227-40A7-A98D-244B0D207E54}"/>
                    </a:ext>
                  </a:extLst>
                </p:cNvPr>
                <p:cNvSpPr txBox="1"/>
                <p:nvPr/>
              </p:nvSpPr>
              <p:spPr>
                <a:xfrm>
                  <a:off x="228600" y="257980"/>
                  <a:ext cx="9296400" cy="456856"/>
                </a:xfrm>
                <a:prstGeom prst="rect">
                  <a:avLst/>
                </a:prstGeom>
              </p:spPr>
              <p:txBody>
                <a:bodyPr wrap="square" lIns="0" tIns="0" rIns="0" bIns="0" rtlCol="0" anchor="t">
                  <a:spAutoFit/>
                </a:bodyPr>
                <a:lstStyle/>
                <a:p>
                  <a:pPr>
                    <a:lnSpc>
                      <a:spcPts val="3919"/>
                    </a:lnSpc>
                    <a:spcBef>
                      <a:spcPct val="0"/>
                    </a:spcBef>
                  </a:pPr>
                  <a:endParaRPr lang="en-US" sz="2800" b="1">
                    <a:solidFill>
                      <a:srgbClr val="FFFFFF"/>
                    </a:solidFill>
                    <a:latin typeface="Arial" panose="020B0604020202020204" pitchFamily="34" charset="0"/>
                    <a:cs typeface="Arial" panose="020B0604020202020204" pitchFamily="34" charset="0"/>
                  </a:endParaRPr>
                </a:p>
              </p:txBody>
            </p:sp>
          </p:grpSp>
          <p:sp>
            <p:nvSpPr>
              <p:cNvPr id="136" name="TextBox 135">
                <a:extLst>
                  <a:ext uri="{FF2B5EF4-FFF2-40B4-BE49-F238E27FC236}">
                    <a16:creationId xmlns:a16="http://schemas.microsoft.com/office/drawing/2014/main" id="{4B3CCEBB-60EF-4175-9878-F0D51FD80FF0}"/>
                  </a:ext>
                </a:extLst>
              </p:cNvPr>
              <p:cNvSpPr txBox="1"/>
              <p:nvPr/>
            </p:nvSpPr>
            <p:spPr>
              <a:xfrm>
                <a:off x="12154296" y="257980"/>
                <a:ext cx="5752704" cy="456856"/>
              </a:xfrm>
              <a:prstGeom prst="rect">
                <a:avLst/>
              </a:prstGeom>
            </p:spPr>
            <p:txBody>
              <a:bodyPr wrap="square" lIns="0" tIns="0" rIns="0" bIns="0" rtlCol="0" anchor="t">
                <a:spAutoFit/>
              </a:bodyPr>
              <a:lstStyle/>
              <a:p>
                <a:pPr algn="r">
                  <a:lnSpc>
                    <a:spcPts val="3919"/>
                  </a:lnSpc>
                  <a:spcBef>
                    <a:spcPct val="0"/>
                  </a:spcBef>
                </a:pPr>
                <a:endParaRPr lang="en-US" sz="2800">
                  <a:solidFill>
                    <a:schemeClr val="tx1">
                      <a:lumMod val="75000"/>
                      <a:lumOff val="25000"/>
                    </a:schemeClr>
                  </a:solidFill>
                  <a:latin typeface="Arial" panose="020B0604020202020204" pitchFamily="34" charset="0"/>
                  <a:cs typeface="Arial" panose="020B0604020202020204" pitchFamily="34" charset="0"/>
                </a:endParaRPr>
              </a:p>
            </p:txBody>
          </p:sp>
        </p:grpSp>
        <p:sp>
          <p:nvSpPr>
            <p:cNvPr id="134" name="Rettangolo 13">
              <a:extLst>
                <a:ext uri="{FF2B5EF4-FFF2-40B4-BE49-F238E27FC236}">
                  <a16:creationId xmlns:a16="http://schemas.microsoft.com/office/drawing/2014/main" id="{8F0CF2A7-592A-4287-9206-D3289F1B0C37}"/>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139" name="Picture 12">
            <a:extLst>
              <a:ext uri="{FF2B5EF4-FFF2-40B4-BE49-F238E27FC236}">
                <a16:creationId xmlns:a16="http://schemas.microsoft.com/office/drawing/2014/main" id="{F047215A-40D8-4A57-BE02-5E03FCEEBB7B}"/>
              </a:ext>
            </a:extLst>
          </p:cNvPr>
          <p:cNvPicPr>
            <a:picLocks noChangeAspect="1"/>
          </p:cNvPicPr>
          <p:nvPr/>
        </p:nvPicPr>
        <p:blipFill>
          <a:blip r:embed="rId5"/>
          <a:srcRect l="134" t="91287" b="3943"/>
          <a:stretch>
            <a:fillRect/>
          </a:stretch>
        </p:blipFill>
        <p:spPr>
          <a:xfrm rot="10800000">
            <a:off x="4329146" y="9679208"/>
            <a:ext cx="13958844" cy="666567"/>
          </a:xfrm>
          <a:prstGeom prst="rect">
            <a:avLst/>
          </a:prstGeom>
        </p:spPr>
      </p:pic>
      <p:sp>
        <p:nvSpPr>
          <p:cNvPr id="140" name="TextBox 16">
            <a:extLst>
              <a:ext uri="{FF2B5EF4-FFF2-40B4-BE49-F238E27FC236}">
                <a16:creationId xmlns:a16="http://schemas.microsoft.com/office/drawing/2014/main" id="{C693B1DB-897C-4A9D-8CF3-F1423F6CB38D}"/>
              </a:ext>
            </a:extLst>
          </p:cNvPr>
          <p:cNvSpPr txBox="1"/>
          <p:nvPr/>
        </p:nvSpPr>
        <p:spPr>
          <a:xfrm>
            <a:off x="14400019" y="976230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sp>
        <p:nvSpPr>
          <p:cNvPr id="275" name="TextBox 274">
            <a:extLst>
              <a:ext uri="{FF2B5EF4-FFF2-40B4-BE49-F238E27FC236}">
                <a16:creationId xmlns:a16="http://schemas.microsoft.com/office/drawing/2014/main" id="{18F9B2C4-9238-753A-5524-A6082AD1087E}"/>
              </a:ext>
            </a:extLst>
          </p:cNvPr>
          <p:cNvSpPr txBox="1"/>
          <p:nvPr/>
        </p:nvSpPr>
        <p:spPr>
          <a:xfrm>
            <a:off x="1533538" y="2217069"/>
            <a:ext cx="15014501" cy="523220"/>
          </a:xfrm>
          <a:prstGeom prst="rect">
            <a:avLst/>
          </a:prstGeom>
          <a:solidFill>
            <a:schemeClr val="accent2">
              <a:lumMod val="60000"/>
              <a:lumOff val="40000"/>
            </a:schemeClr>
          </a:solidFill>
        </p:spPr>
        <p:txBody>
          <a:bodyPr wrap="square" rIns="90000" anchor="ctr" anchorCtr="0">
            <a:spAutoFit/>
          </a:bodyPr>
          <a:lstStyle/>
          <a:p>
            <a:pPr algn="ctr"/>
            <a:endParaRPr lang="sv-SE" sz="2800"/>
          </a:p>
        </p:txBody>
      </p:sp>
      <p:sp>
        <p:nvSpPr>
          <p:cNvPr id="276" name="TextBox 275">
            <a:extLst>
              <a:ext uri="{FF2B5EF4-FFF2-40B4-BE49-F238E27FC236}">
                <a16:creationId xmlns:a16="http://schemas.microsoft.com/office/drawing/2014/main" id="{23F49CDA-BC36-C7E5-B9CD-42DA77A33D92}"/>
              </a:ext>
            </a:extLst>
          </p:cNvPr>
          <p:cNvSpPr txBox="1"/>
          <p:nvPr/>
        </p:nvSpPr>
        <p:spPr>
          <a:xfrm>
            <a:off x="1166433" y="1139851"/>
            <a:ext cx="18288012" cy="1077218"/>
          </a:xfrm>
          <a:prstGeom prst="rect">
            <a:avLst/>
          </a:prstGeom>
          <a:noFill/>
        </p:spPr>
        <p:txBody>
          <a:bodyPr wrap="square">
            <a:spAutoFit/>
          </a:bodyPr>
          <a:lstStyle/>
          <a:p>
            <a:pPr algn="ctr"/>
            <a:r>
              <a:rPr lang="sv-SE" sz="6400" b="1">
                <a:solidFill>
                  <a:srgbClr val="CC0033"/>
                </a:solidFill>
                <a:latin typeface="+mj-lt"/>
                <a:cs typeface="Arial" panose="020B0604020202020204" pitchFamily="34" charset="0"/>
              </a:rPr>
              <a:t>- Step 3: </a:t>
            </a:r>
            <a:r>
              <a:rPr lang="sv-SE" sz="6400" b="1" err="1">
                <a:solidFill>
                  <a:srgbClr val="CC0033"/>
                </a:solidFill>
                <a:latin typeface="+mj-lt"/>
                <a:cs typeface="Arial" panose="020B0604020202020204" pitchFamily="34" charset="0"/>
              </a:rPr>
              <a:t>Impact</a:t>
            </a:r>
            <a:r>
              <a:rPr lang="sv-SE" sz="6400" b="1">
                <a:solidFill>
                  <a:srgbClr val="CC0033"/>
                </a:solidFill>
                <a:latin typeface="+mj-lt"/>
                <a:cs typeface="Arial" panose="020B0604020202020204" pitchFamily="34" charset="0"/>
              </a:rPr>
              <a:t> </a:t>
            </a:r>
            <a:r>
              <a:rPr lang="sv-SE" sz="6400" b="1" err="1">
                <a:solidFill>
                  <a:srgbClr val="CC0033"/>
                </a:solidFill>
                <a:latin typeface="+mj-lt"/>
                <a:cs typeface="Arial" panose="020B0604020202020204" pitchFamily="34" charset="0"/>
              </a:rPr>
              <a:t>assessment</a:t>
            </a:r>
            <a:endParaRPr lang="sv-SE" sz="6400" b="1">
              <a:solidFill>
                <a:srgbClr val="CC0033"/>
              </a:solidFill>
              <a:latin typeface="+mj-lt"/>
              <a:cs typeface="Arial" panose="020B0604020202020204" pitchFamily="34" charset="0"/>
            </a:endParaRPr>
          </a:p>
        </p:txBody>
      </p:sp>
      <p:pic>
        <p:nvPicPr>
          <p:cNvPr id="277" name="Picture 276" descr="RETROFEED FERTIBERIA">
            <a:extLst>
              <a:ext uri="{FF2B5EF4-FFF2-40B4-BE49-F238E27FC236}">
                <a16:creationId xmlns:a16="http://schemas.microsoft.com/office/drawing/2014/main" id="{13D4CF92-1DBE-F158-BA77-B8A6CA0F45B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375569" y="1093790"/>
            <a:ext cx="2287452" cy="841782"/>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76CCB4A7-E470-478F-D419-50CBA3FC5DB2}"/>
              </a:ext>
            </a:extLst>
          </p:cNvPr>
          <p:cNvSpPr txBox="1"/>
          <p:nvPr/>
        </p:nvSpPr>
        <p:spPr>
          <a:xfrm>
            <a:off x="1533539" y="2835135"/>
            <a:ext cx="13569302" cy="4832092"/>
          </a:xfrm>
          <a:prstGeom prst="rect">
            <a:avLst/>
          </a:prstGeom>
          <a:noFill/>
        </p:spPr>
        <p:txBody>
          <a:bodyPr wrap="square">
            <a:spAutoFit/>
          </a:bodyPr>
          <a:lstStyle/>
          <a:p>
            <a:pPr marL="457200" indent="-457200">
              <a:buFont typeface="Arial" panose="020B0604020202020204" pitchFamily="34" charset="0"/>
              <a:buChar char="•"/>
            </a:pPr>
            <a:r>
              <a:rPr lang="en-US" sz="2800"/>
              <a:t>When the amount of resources used and emissions from the product system had been calculated </a:t>
            </a:r>
            <a:r>
              <a:rPr lang="en-US" sz="2800" b="1"/>
              <a:t>in relation to the functional unit </a:t>
            </a:r>
            <a:r>
              <a:rPr lang="en-US" sz="2800"/>
              <a:t>(</a:t>
            </a:r>
            <a:r>
              <a:rPr lang="en-US" sz="2800" err="1"/>
              <a:t>tonne</a:t>
            </a:r>
            <a:r>
              <a:rPr lang="en-US" sz="2800"/>
              <a:t> fertilizer). The results were converted, using the GaBi software, into environmental impact per </a:t>
            </a:r>
            <a:r>
              <a:rPr lang="en-US" sz="2800" err="1"/>
              <a:t>tonne</a:t>
            </a:r>
            <a:r>
              <a:rPr lang="en-US" sz="2800"/>
              <a:t> of fertilizer throughout the life cycle. </a:t>
            </a:r>
          </a:p>
          <a:p>
            <a:pPr marL="457200" indent="-457200">
              <a:buFont typeface="Arial" panose="020B0604020202020204" pitchFamily="34" charset="0"/>
              <a:buChar char="•"/>
            </a:pPr>
            <a:endParaRPr lang="en-US" sz="2800"/>
          </a:p>
          <a:p>
            <a:pPr marL="457200" indent="-457200">
              <a:buFont typeface="Arial" panose="020B0604020202020204" pitchFamily="34" charset="0"/>
              <a:buChar char="•"/>
            </a:pPr>
            <a:r>
              <a:rPr lang="en-US" sz="2800"/>
              <a:t>The interesting environmental impact category was </a:t>
            </a:r>
            <a:r>
              <a:rPr lang="en-US" sz="2800" b="1"/>
              <a:t>Climate Change</a:t>
            </a:r>
            <a:r>
              <a:rPr lang="en-US" sz="2800"/>
              <a:t>, which is indicated by </a:t>
            </a:r>
            <a:r>
              <a:rPr lang="en-US" sz="2800" b="1"/>
              <a:t>Global Warming Potential </a:t>
            </a:r>
            <a:r>
              <a:rPr lang="en-US" sz="2800"/>
              <a:t>(GWP).</a:t>
            </a:r>
          </a:p>
          <a:p>
            <a:pPr marL="457200" indent="-457200">
              <a:buFont typeface="Arial" panose="020B0604020202020204" pitchFamily="34" charset="0"/>
              <a:buChar char="•"/>
            </a:pPr>
            <a:endParaRPr lang="en-US" sz="2800"/>
          </a:p>
          <a:p>
            <a:pPr marL="457200" indent="-457200">
              <a:buFont typeface="Arial" panose="020B0604020202020204" pitchFamily="34" charset="0"/>
              <a:buChar char="•"/>
            </a:pPr>
            <a:r>
              <a:rPr lang="en-US" sz="2800"/>
              <a:t>By using the </a:t>
            </a:r>
            <a:r>
              <a:rPr lang="en-US" sz="2800" b="1"/>
              <a:t>CML2001 - Aug. 2016 </a:t>
            </a:r>
            <a:r>
              <a:rPr lang="en-US" sz="2800"/>
              <a:t>impact assessment method, all emissions contributing to GWP were converted into CO</a:t>
            </a:r>
            <a:r>
              <a:rPr lang="en-US" sz="2800" baseline="-25000"/>
              <a:t>2</a:t>
            </a:r>
            <a:r>
              <a:rPr lang="en-US" sz="2800"/>
              <a:t>-equivalents (CO</a:t>
            </a:r>
            <a:r>
              <a:rPr lang="en-US" sz="2800" baseline="-25000"/>
              <a:t>2</a:t>
            </a:r>
            <a:r>
              <a:rPr lang="en-US" sz="2800"/>
              <a:t>eq) per functional unit and summed up in GaBi.</a:t>
            </a:r>
          </a:p>
        </p:txBody>
      </p:sp>
    </p:spTree>
    <p:extLst>
      <p:ext uri="{BB962C8B-B14F-4D97-AF65-F5344CB8AC3E}">
        <p14:creationId xmlns:p14="http://schemas.microsoft.com/office/powerpoint/2010/main" val="2632180754"/>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1" name="Picture 12">
            <a:extLst>
              <a:ext uri="{FF2B5EF4-FFF2-40B4-BE49-F238E27FC236}">
                <a16:creationId xmlns:a16="http://schemas.microsoft.com/office/drawing/2014/main" id="{43802E0E-B79D-4EA7-8141-0CA3ED138B1A}"/>
              </a:ext>
            </a:extLst>
          </p:cNvPr>
          <p:cNvPicPr>
            <a:picLocks noChangeAspect="1"/>
          </p:cNvPicPr>
          <p:nvPr/>
        </p:nvPicPr>
        <p:blipFill>
          <a:blip r:embed="rId3"/>
          <a:srcRect/>
          <a:stretch>
            <a:fillRect/>
          </a:stretch>
        </p:blipFill>
        <p:spPr>
          <a:xfrm>
            <a:off x="0" y="8959889"/>
            <a:ext cx="5715000" cy="1385887"/>
          </a:xfrm>
          <a:prstGeom prst="rect">
            <a:avLst/>
          </a:prstGeom>
        </p:spPr>
      </p:pic>
      <p:grpSp>
        <p:nvGrpSpPr>
          <p:cNvPr id="132" name="Gruppo 2">
            <a:extLst>
              <a:ext uri="{FF2B5EF4-FFF2-40B4-BE49-F238E27FC236}">
                <a16:creationId xmlns:a16="http://schemas.microsoft.com/office/drawing/2014/main" id="{649928F6-6E82-4611-9715-AD3C75457C28}"/>
              </a:ext>
            </a:extLst>
          </p:cNvPr>
          <p:cNvGrpSpPr/>
          <p:nvPr/>
        </p:nvGrpSpPr>
        <p:grpSpPr>
          <a:xfrm>
            <a:off x="-12" y="138554"/>
            <a:ext cx="18288002" cy="681138"/>
            <a:chOff x="-12" y="138554"/>
            <a:chExt cx="18288002" cy="681138"/>
          </a:xfrm>
        </p:grpSpPr>
        <p:grpSp>
          <p:nvGrpSpPr>
            <p:cNvPr id="133" name="Gruppo 1">
              <a:extLst>
                <a:ext uri="{FF2B5EF4-FFF2-40B4-BE49-F238E27FC236}">
                  <a16:creationId xmlns:a16="http://schemas.microsoft.com/office/drawing/2014/main" id="{A8EB8794-E5C6-45EB-BAEC-2778E982797A}"/>
                </a:ext>
              </a:extLst>
            </p:cNvPr>
            <p:cNvGrpSpPr/>
            <p:nvPr/>
          </p:nvGrpSpPr>
          <p:grpSpPr>
            <a:xfrm>
              <a:off x="0" y="153125"/>
              <a:ext cx="17907000" cy="666567"/>
              <a:chOff x="0" y="153125"/>
              <a:chExt cx="17907000" cy="666567"/>
            </a:xfrm>
          </p:grpSpPr>
          <p:grpSp>
            <p:nvGrpSpPr>
              <p:cNvPr id="135" name="Gruppo 15">
                <a:extLst>
                  <a:ext uri="{FF2B5EF4-FFF2-40B4-BE49-F238E27FC236}">
                    <a16:creationId xmlns:a16="http://schemas.microsoft.com/office/drawing/2014/main" id="{AB129748-9FD7-458D-BD6E-304271C1814A}"/>
                  </a:ext>
                </a:extLst>
              </p:cNvPr>
              <p:cNvGrpSpPr/>
              <p:nvPr/>
            </p:nvGrpSpPr>
            <p:grpSpPr>
              <a:xfrm>
                <a:off x="0" y="153125"/>
                <a:ext cx="13958844" cy="666567"/>
                <a:chOff x="0" y="153125"/>
                <a:chExt cx="13958844" cy="666567"/>
              </a:xfrm>
            </p:grpSpPr>
            <p:pic>
              <p:nvPicPr>
                <p:cNvPr id="137" name="Picture 136">
                  <a:extLst>
                    <a:ext uri="{FF2B5EF4-FFF2-40B4-BE49-F238E27FC236}">
                      <a16:creationId xmlns:a16="http://schemas.microsoft.com/office/drawing/2014/main" id="{88E31CFD-796F-4F3F-A1EC-0E38F9D83456}"/>
                    </a:ext>
                  </a:extLst>
                </p:cNvPr>
                <p:cNvPicPr>
                  <a:picLocks noChangeAspect="1"/>
                </p:cNvPicPr>
                <p:nvPr/>
              </p:nvPicPr>
              <p:blipFill>
                <a:blip r:embed="rId4"/>
                <a:srcRect l="134" t="91287" b="3943"/>
                <a:stretch>
                  <a:fillRect/>
                </a:stretch>
              </p:blipFill>
              <p:spPr>
                <a:xfrm>
                  <a:off x="0" y="153125"/>
                  <a:ext cx="13958844" cy="666567"/>
                </a:xfrm>
                <a:prstGeom prst="rect">
                  <a:avLst/>
                </a:prstGeom>
              </p:spPr>
            </p:pic>
            <p:sp>
              <p:nvSpPr>
                <p:cNvPr id="138" name="TextBox 137">
                  <a:extLst>
                    <a:ext uri="{FF2B5EF4-FFF2-40B4-BE49-F238E27FC236}">
                      <a16:creationId xmlns:a16="http://schemas.microsoft.com/office/drawing/2014/main" id="{7694DADD-E227-40A7-A98D-244B0D207E54}"/>
                    </a:ext>
                  </a:extLst>
                </p:cNvPr>
                <p:cNvSpPr txBox="1"/>
                <p:nvPr/>
              </p:nvSpPr>
              <p:spPr>
                <a:xfrm>
                  <a:off x="228600" y="257980"/>
                  <a:ext cx="9296400" cy="456856"/>
                </a:xfrm>
                <a:prstGeom prst="rect">
                  <a:avLst/>
                </a:prstGeom>
              </p:spPr>
              <p:txBody>
                <a:bodyPr wrap="square" lIns="0" tIns="0" rIns="0" bIns="0" rtlCol="0" anchor="t">
                  <a:spAutoFit/>
                </a:bodyPr>
                <a:lstStyle/>
                <a:p>
                  <a:pPr>
                    <a:lnSpc>
                      <a:spcPts val="3919"/>
                    </a:lnSpc>
                    <a:spcBef>
                      <a:spcPct val="0"/>
                    </a:spcBef>
                  </a:pPr>
                  <a:endParaRPr lang="en-US" sz="2800" b="1">
                    <a:solidFill>
                      <a:srgbClr val="FFFFFF"/>
                    </a:solidFill>
                    <a:latin typeface="Arial" panose="020B0604020202020204" pitchFamily="34" charset="0"/>
                    <a:cs typeface="Arial" panose="020B0604020202020204" pitchFamily="34" charset="0"/>
                  </a:endParaRPr>
                </a:p>
              </p:txBody>
            </p:sp>
          </p:grpSp>
          <p:sp>
            <p:nvSpPr>
              <p:cNvPr id="136" name="TextBox 135">
                <a:extLst>
                  <a:ext uri="{FF2B5EF4-FFF2-40B4-BE49-F238E27FC236}">
                    <a16:creationId xmlns:a16="http://schemas.microsoft.com/office/drawing/2014/main" id="{4B3CCEBB-60EF-4175-9878-F0D51FD80FF0}"/>
                  </a:ext>
                </a:extLst>
              </p:cNvPr>
              <p:cNvSpPr txBox="1"/>
              <p:nvPr/>
            </p:nvSpPr>
            <p:spPr>
              <a:xfrm>
                <a:off x="12154296" y="257980"/>
                <a:ext cx="5752704" cy="456856"/>
              </a:xfrm>
              <a:prstGeom prst="rect">
                <a:avLst/>
              </a:prstGeom>
            </p:spPr>
            <p:txBody>
              <a:bodyPr wrap="square" lIns="0" tIns="0" rIns="0" bIns="0" rtlCol="0" anchor="t">
                <a:spAutoFit/>
              </a:bodyPr>
              <a:lstStyle/>
              <a:p>
                <a:pPr algn="r">
                  <a:lnSpc>
                    <a:spcPts val="3919"/>
                  </a:lnSpc>
                  <a:spcBef>
                    <a:spcPct val="0"/>
                  </a:spcBef>
                </a:pPr>
                <a:endParaRPr lang="en-US" sz="2800">
                  <a:solidFill>
                    <a:schemeClr val="tx1">
                      <a:lumMod val="75000"/>
                      <a:lumOff val="25000"/>
                    </a:schemeClr>
                  </a:solidFill>
                  <a:latin typeface="Arial" panose="020B0604020202020204" pitchFamily="34" charset="0"/>
                  <a:cs typeface="Arial" panose="020B0604020202020204" pitchFamily="34" charset="0"/>
                </a:endParaRPr>
              </a:p>
            </p:txBody>
          </p:sp>
        </p:grpSp>
        <p:sp>
          <p:nvSpPr>
            <p:cNvPr id="134" name="Rettangolo 13">
              <a:extLst>
                <a:ext uri="{FF2B5EF4-FFF2-40B4-BE49-F238E27FC236}">
                  <a16:creationId xmlns:a16="http://schemas.microsoft.com/office/drawing/2014/main" id="{8F0CF2A7-592A-4287-9206-D3289F1B0C37}"/>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139" name="Picture 12">
            <a:extLst>
              <a:ext uri="{FF2B5EF4-FFF2-40B4-BE49-F238E27FC236}">
                <a16:creationId xmlns:a16="http://schemas.microsoft.com/office/drawing/2014/main" id="{F047215A-40D8-4A57-BE02-5E03FCEEBB7B}"/>
              </a:ext>
            </a:extLst>
          </p:cNvPr>
          <p:cNvPicPr>
            <a:picLocks noChangeAspect="1"/>
          </p:cNvPicPr>
          <p:nvPr/>
        </p:nvPicPr>
        <p:blipFill>
          <a:blip r:embed="rId5"/>
          <a:srcRect l="134" t="91287" b="3943"/>
          <a:stretch>
            <a:fillRect/>
          </a:stretch>
        </p:blipFill>
        <p:spPr>
          <a:xfrm rot="10800000">
            <a:off x="4329146" y="9679208"/>
            <a:ext cx="13958844" cy="666567"/>
          </a:xfrm>
          <a:prstGeom prst="rect">
            <a:avLst/>
          </a:prstGeom>
        </p:spPr>
      </p:pic>
      <p:sp>
        <p:nvSpPr>
          <p:cNvPr id="140" name="TextBox 16">
            <a:extLst>
              <a:ext uri="{FF2B5EF4-FFF2-40B4-BE49-F238E27FC236}">
                <a16:creationId xmlns:a16="http://schemas.microsoft.com/office/drawing/2014/main" id="{C693B1DB-897C-4A9D-8CF3-F1423F6CB38D}"/>
              </a:ext>
            </a:extLst>
          </p:cNvPr>
          <p:cNvSpPr txBox="1"/>
          <p:nvPr/>
        </p:nvSpPr>
        <p:spPr>
          <a:xfrm>
            <a:off x="14400019" y="976230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sp>
        <p:nvSpPr>
          <p:cNvPr id="275" name="TextBox 274">
            <a:extLst>
              <a:ext uri="{FF2B5EF4-FFF2-40B4-BE49-F238E27FC236}">
                <a16:creationId xmlns:a16="http://schemas.microsoft.com/office/drawing/2014/main" id="{18F9B2C4-9238-753A-5524-A6082AD1087E}"/>
              </a:ext>
            </a:extLst>
          </p:cNvPr>
          <p:cNvSpPr txBox="1"/>
          <p:nvPr/>
        </p:nvSpPr>
        <p:spPr>
          <a:xfrm>
            <a:off x="1533538" y="2217069"/>
            <a:ext cx="15014501" cy="523220"/>
          </a:xfrm>
          <a:prstGeom prst="rect">
            <a:avLst/>
          </a:prstGeom>
          <a:solidFill>
            <a:schemeClr val="accent2">
              <a:lumMod val="60000"/>
              <a:lumOff val="40000"/>
            </a:schemeClr>
          </a:solidFill>
        </p:spPr>
        <p:txBody>
          <a:bodyPr wrap="square" rIns="90000" anchor="ctr" anchorCtr="0">
            <a:spAutoFit/>
          </a:bodyPr>
          <a:lstStyle/>
          <a:p>
            <a:pPr algn="ctr"/>
            <a:endParaRPr lang="sv-SE" sz="2800"/>
          </a:p>
        </p:txBody>
      </p:sp>
      <p:sp>
        <p:nvSpPr>
          <p:cNvPr id="276" name="TextBox 275">
            <a:extLst>
              <a:ext uri="{FF2B5EF4-FFF2-40B4-BE49-F238E27FC236}">
                <a16:creationId xmlns:a16="http://schemas.microsoft.com/office/drawing/2014/main" id="{23F49CDA-BC36-C7E5-B9CD-42DA77A33D92}"/>
              </a:ext>
            </a:extLst>
          </p:cNvPr>
          <p:cNvSpPr txBox="1"/>
          <p:nvPr/>
        </p:nvSpPr>
        <p:spPr>
          <a:xfrm>
            <a:off x="1266092" y="1139851"/>
            <a:ext cx="18288012" cy="1077218"/>
          </a:xfrm>
          <a:prstGeom prst="rect">
            <a:avLst/>
          </a:prstGeom>
          <a:noFill/>
        </p:spPr>
        <p:txBody>
          <a:bodyPr wrap="square">
            <a:spAutoFit/>
          </a:bodyPr>
          <a:lstStyle/>
          <a:p>
            <a:pPr algn="ctr"/>
            <a:r>
              <a:rPr lang="sv-SE" sz="6400" b="1">
                <a:solidFill>
                  <a:srgbClr val="CC0033"/>
                </a:solidFill>
                <a:latin typeface="+mj-lt"/>
                <a:cs typeface="Arial" panose="020B0604020202020204" pitchFamily="34" charset="0"/>
              </a:rPr>
              <a:t>- Step 4: Interpretation</a:t>
            </a:r>
          </a:p>
        </p:txBody>
      </p:sp>
      <p:pic>
        <p:nvPicPr>
          <p:cNvPr id="277" name="Picture 276" descr="RETROFEED FERTIBERIA">
            <a:extLst>
              <a:ext uri="{FF2B5EF4-FFF2-40B4-BE49-F238E27FC236}">
                <a16:creationId xmlns:a16="http://schemas.microsoft.com/office/drawing/2014/main" id="{13D4CF92-1DBE-F158-BA77-B8A6CA0F45B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588905" y="1093790"/>
            <a:ext cx="2287452" cy="841782"/>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DBC3FE4D-C743-5469-59AF-E35B1700D869}"/>
              </a:ext>
            </a:extLst>
          </p:cNvPr>
          <p:cNvSpPr txBox="1"/>
          <p:nvPr/>
        </p:nvSpPr>
        <p:spPr>
          <a:xfrm>
            <a:off x="1736886" y="4121070"/>
            <a:ext cx="14814205" cy="2308324"/>
          </a:xfrm>
          <a:prstGeom prst="rect">
            <a:avLst/>
          </a:prstGeom>
          <a:noFill/>
        </p:spPr>
        <p:txBody>
          <a:bodyPr wrap="square">
            <a:spAutoFit/>
          </a:bodyPr>
          <a:lstStyle/>
          <a:p>
            <a:pPr algn="ctr"/>
            <a:r>
              <a:rPr lang="en-US" sz="4800" dirty="0">
                <a:cs typeface="Arial" panose="020B0604020202020204" pitchFamily="34" charset="0"/>
              </a:rPr>
              <a:t>The results, and the interpretation of the results from the comparative LCA performed on the </a:t>
            </a:r>
            <a:r>
              <a:rPr lang="en-US" sz="4800" dirty="0" err="1">
                <a:cs typeface="Arial" panose="020B0604020202020204" pitchFamily="34" charset="0"/>
              </a:rPr>
              <a:t>Fertiberia</a:t>
            </a:r>
            <a:r>
              <a:rPr lang="en-US" sz="4800" dirty="0">
                <a:cs typeface="Arial" panose="020B0604020202020204" pitchFamily="34" charset="0"/>
              </a:rPr>
              <a:t> plant will be further presented in Chapter 6.2.</a:t>
            </a:r>
          </a:p>
        </p:txBody>
      </p:sp>
    </p:spTree>
    <p:extLst>
      <p:ext uri="{BB962C8B-B14F-4D97-AF65-F5344CB8AC3E}">
        <p14:creationId xmlns:p14="http://schemas.microsoft.com/office/powerpoint/2010/main" val="2572308546"/>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Platshållare för sidfot 3">
            <a:extLst>
              <a:ext uri="{FF2B5EF4-FFF2-40B4-BE49-F238E27FC236}">
                <a16:creationId xmlns:a16="http://schemas.microsoft.com/office/drawing/2014/main" id="{CB91EC9E-05C9-45AB-9962-19D7B3A28C28}"/>
              </a:ext>
            </a:extLst>
          </p:cNvPr>
          <p:cNvSpPr>
            <a:spLocks noGrp="1"/>
          </p:cNvSpPr>
          <p:nvPr>
            <p:ph type="ftr" sz="quarter" idx="11"/>
          </p:nvPr>
        </p:nvSpPr>
        <p:spPr>
          <a:xfrm>
            <a:off x="994751" y="9552600"/>
            <a:ext cx="6172200" cy="307155"/>
          </a:xfrm>
        </p:spPr>
        <p:txBody>
          <a:bodyPr/>
          <a:lstStyle/>
          <a:p>
            <a:r>
              <a:rPr lang="sv-SE"/>
              <a:t>LCA - Life </a:t>
            </a:r>
            <a:r>
              <a:rPr lang="sv-SE" err="1"/>
              <a:t>Cycle</a:t>
            </a:r>
            <a:r>
              <a:rPr lang="sv-SE"/>
              <a:t> </a:t>
            </a:r>
            <a:r>
              <a:rPr lang="sv-SE" err="1"/>
              <a:t>Assessment</a:t>
            </a:r>
            <a:endParaRPr lang="sv-SE"/>
          </a:p>
        </p:txBody>
      </p:sp>
      <p:grpSp>
        <p:nvGrpSpPr>
          <p:cNvPr id="9" name="Gruppo 16">
            <a:extLst>
              <a:ext uri="{FF2B5EF4-FFF2-40B4-BE49-F238E27FC236}">
                <a16:creationId xmlns:a16="http://schemas.microsoft.com/office/drawing/2014/main" id="{7F5AE602-3D69-4787-90B0-10BC6F242433}"/>
              </a:ext>
            </a:extLst>
          </p:cNvPr>
          <p:cNvGrpSpPr/>
          <p:nvPr/>
        </p:nvGrpSpPr>
        <p:grpSpPr>
          <a:xfrm>
            <a:off x="4329146" y="9679208"/>
            <a:ext cx="13958844" cy="666567"/>
            <a:chOff x="4329156" y="9649198"/>
            <a:chExt cx="13958844" cy="666567"/>
          </a:xfrm>
        </p:grpSpPr>
        <p:pic>
          <p:nvPicPr>
            <p:cNvPr id="10" name="Picture 12">
              <a:extLst>
                <a:ext uri="{FF2B5EF4-FFF2-40B4-BE49-F238E27FC236}">
                  <a16:creationId xmlns:a16="http://schemas.microsoft.com/office/drawing/2014/main" id="{7FD1779F-6C24-4647-9A58-3673D450A129}"/>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11" name="TextBox 16">
              <a:extLst>
                <a:ext uri="{FF2B5EF4-FFF2-40B4-BE49-F238E27FC236}">
                  <a16:creationId xmlns:a16="http://schemas.microsoft.com/office/drawing/2014/main" id="{3739C17C-D9CF-4CAF-BD52-207E2418E29D}"/>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grpSp>
        <p:nvGrpSpPr>
          <p:cNvPr id="12" name="Gruppo 2">
            <a:extLst>
              <a:ext uri="{FF2B5EF4-FFF2-40B4-BE49-F238E27FC236}">
                <a16:creationId xmlns:a16="http://schemas.microsoft.com/office/drawing/2014/main" id="{8E16E3F9-348A-468B-8BBC-0B99B8DCD762}"/>
              </a:ext>
            </a:extLst>
          </p:cNvPr>
          <p:cNvGrpSpPr/>
          <p:nvPr/>
        </p:nvGrpSpPr>
        <p:grpSpPr>
          <a:xfrm>
            <a:off x="-12" y="138554"/>
            <a:ext cx="18288002" cy="681138"/>
            <a:chOff x="-12" y="138554"/>
            <a:chExt cx="18288002" cy="681138"/>
          </a:xfrm>
        </p:grpSpPr>
        <p:grpSp>
          <p:nvGrpSpPr>
            <p:cNvPr id="13" name="Gruppo 1">
              <a:extLst>
                <a:ext uri="{FF2B5EF4-FFF2-40B4-BE49-F238E27FC236}">
                  <a16:creationId xmlns:a16="http://schemas.microsoft.com/office/drawing/2014/main" id="{BC60B496-B931-4476-BBCD-64D54A71AA2C}"/>
                </a:ext>
              </a:extLst>
            </p:cNvPr>
            <p:cNvGrpSpPr/>
            <p:nvPr/>
          </p:nvGrpSpPr>
          <p:grpSpPr>
            <a:xfrm>
              <a:off x="0" y="153125"/>
              <a:ext cx="17907000" cy="666567"/>
              <a:chOff x="0" y="153125"/>
              <a:chExt cx="17907000" cy="666567"/>
            </a:xfrm>
          </p:grpSpPr>
          <p:grpSp>
            <p:nvGrpSpPr>
              <p:cNvPr id="15" name="Gruppo 15">
                <a:extLst>
                  <a:ext uri="{FF2B5EF4-FFF2-40B4-BE49-F238E27FC236}">
                    <a16:creationId xmlns:a16="http://schemas.microsoft.com/office/drawing/2014/main" id="{E6491DC5-D433-482E-B376-4E0AC0805659}"/>
                  </a:ext>
                </a:extLst>
              </p:cNvPr>
              <p:cNvGrpSpPr/>
              <p:nvPr/>
            </p:nvGrpSpPr>
            <p:grpSpPr>
              <a:xfrm>
                <a:off x="0" y="153125"/>
                <a:ext cx="13958844" cy="666567"/>
                <a:chOff x="0" y="153125"/>
                <a:chExt cx="13958844" cy="666567"/>
              </a:xfrm>
            </p:grpSpPr>
            <p:pic>
              <p:nvPicPr>
                <p:cNvPr id="17" name="Picture 16">
                  <a:extLst>
                    <a:ext uri="{FF2B5EF4-FFF2-40B4-BE49-F238E27FC236}">
                      <a16:creationId xmlns:a16="http://schemas.microsoft.com/office/drawing/2014/main" id="{90F717E4-24CC-4D38-B054-30C72ACE3D22}"/>
                    </a:ext>
                  </a:extLst>
                </p:cNvPr>
                <p:cNvPicPr>
                  <a:picLocks noChangeAspect="1"/>
                </p:cNvPicPr>
                <p:nvPr/>
              </p:nvPicPr>
              <p:blipFill>
                <a:blip r:embed="rId4"/>
                <a:srcRect l="134" t="91287" b="3943"/>
                <a:stretch>
                  <a:fillRect/>
                </a:stretch>
              </p:blipFill>
              <p:spPr>
                <a:xfrm>
                  <a:off x="0" y="153125"/>
                  <a:ext cx="13958844" cy="666567"/>
                </a:xfrm>
                <a:prstGeom prst="rect">
                  <a:avLst/>
                </a:prstGeom>
              </p:spPr>
            </p:pic>
            <p:sp>
              <p:nvSpPr>
                <p:cNvPr id="18" name="TextBox 17">
                  <a:extLst>
                    <a:ext uri="{FF2B5EF4-FFF2-40B4-BE49-F238E27FC236}">
                      <a16:creationId xmlns:a16="http://schemas.microsoft.com/office/drawing/2014/main" id="{9C941EE4-D71D-4A24-91F0-E4D332F69F0A}"/>
                    </a:ext>
                  </a:extLst>
                </p:cNvPr>
                <p:cNvSpPr txBox="1"/>
                <p:nvPr/>
              </p:nvSpPr>
              <p:spPr>
                <a:xfrm>
                  <a:off x="228600" y="257980"/>
                  <a:ext cx="9296400" cy="456856"/>
                </a:xfrm>
                <a:prstGeom prst="rect">
                  <a:avLst/>
                </a:prstGeom>
              </p:spPr>
              <p:txBody>
                <a:bodyPr wrap="square" lIns="0" tIns="0" rIns="0" bIns="0" rtlCol="0" anchor="t">
                  <a:spAutoFit/>
                </a:bodyPr>
                <a:lstStyle/>
                <a:p>
                  <a:pPr>
                    <a:lnSpc>
                      <a:spcPts val="3919"/>
                    </a:lnSpc>
                    <a:spcBef>
                      <a:spcPct val="0"/>
                    </a:spcBef>
                  </a:pPr>
                  <a:endParaRPr lang="en-US" sz="2800" b="1">
                    <a:solidFill>
                      <a:srgbClr val="FFFFFF"/>
                    </a:solidFill>
                    <a:latin typeface="Arial" panose="020B0604020202020204" pitchFamily="34" charset="0"/>
                    <a:cs typeface="Arial" panose="020B0604020202020204" pitchFamily="34" charset="0"/>
                  </a:endParaRPr>
                </a:p>
              </p:txBody>
            </p:sp>
          </p:grpSp>
          <p:sp>
            <p:nvSpPr>
              <p:cNvPr id="16" name="TextBox 15">
                <a:extLst>
                  <a:ext uri="{FF2B5EF4-FFF2-40B4-BE49-F238E27FC236}">
                    <a16:creationId xmlns:a16="http://schemas.microsoft.com/office/drawing/2014/main" id="{751F6362-C4CA-4F4C-8AB0-693C17F53EFB}"/>
                  </a:ext>
                </a:extLst>
              </p:cNvPr>
              <p:cNvSpPr txBox="1"/>
              <p:nvPr/>
            </p:nvSpPr>
            <p:spPr>
              <a:xfrm>
                <a:off x="12154296" y="257980"/>
                <a:ext cx="5752704" cy="456856"/>
              </a:xfrm>
              <a:prstGeom prst="rect">
                <a:avLst/>
              </a:prstGeom>
            </p:spPr>
            <p:txBody>
              <a:bodyPr wrap="square" lIns="0" tIns="0" rIns="0" bIns="0" rtlCol="0" anchor="t">
                <a:spAutoFit/>
              </a:bodyPr>
              <a:lstStyle/>
              <a:p>
                <a:pPr algn="r">
                  <a:lnSpc>
                    <a:spcPts val="3919"/>
                  </a:lnSpc>
                  <a:spcBef>
                    <a:spcPct val="0"/>
                  </a:spcBef>
                </a:pPr>
                <a:endParaRPr lang="en-US" sz="2800">
                  <a:solidFill>
                    <a:schemeClr val="tx1">
                      <a:lumMod val="75000"/>
                      <a:lumOff val="25000"/>
                    </a:schemeClr>
                  </a:solidFill>
                  <a:latin typeface="Arial" panose="020B0604020202020204" pitchFamily="34" charset="0"/>
                  <a:cs typeface="Arial" panose="020B0604020202020204" pitchFamily="34" charset="0"/>
                </a:endParaRPr>
              </a:p>
            </p:txBody>
          </p:sp>
        </p:grpSp>
        <p:sp>
          <p:nvSpPr>
            <p:cNvPr id="14" name="Rettangolo 13">
              <a:extLst>
                <a:ext uri="{FF2B5EF4-FFF2-40B4-BE49-F238E27FC236}">
                  <a16:creationId xmlns:a16="http://schemas.microsoft.com/office/drawing/2014/main" id="{9B48926F-5180-4778-9F9D-0B193BD56165}"/>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9" name="TextBox 18">
            <a:extLst>
              <a:ext uri="{FF2B5EF4-FFF2-40B4-BE49-F238E27FC236}">
                <a16:creationId xmlns:a16="http://schemas.microsoft.com/office/drawing/2014/main" id="{2696A283-6888-4A6D-ADE1-53E430F0E65E}"/>
              </a:ext>
            </a:extLst>
          </p:cNvPr>
          <p:cNvSpPr txBox="1"/>
          <p:nvPr/>
        </p:nvSpPr>
        <p:spPr>
          <a:xfrm>
            <a:off x="-251673" y="946300"/>
            <a:ext cx="18288012" cy="1077218"/>
          </a:xfrm>
          <a:prstGeom prst="rect">
            <a:avLst/>
          </a:prstGeom>
          <a:noFill/>
        </p:spPr>
        <p:txBody>
          <a:bodyPr wrap="square">
            <a:spAutoFit/>
          </a:bodyPr>
          <a:lstStyle/>
          <a:p>
            <a:pPr algn="ctr"/>
            <a:r>
              <a:rPr lang="sv-SE" sz="6400" b="1">
                <a:solidFill>
                  <a:srgbClr val="CC0033"/>
                </a:solidFill>
                <a:latin typeface="+mj-lt"/>
                <a:cs typeface="Arial" panose="020B0604020202020204" pitchFamily="34" charset="0"/>
              </a:rPr>
              <a:t>A </a:t>
            </a:r>
            <a:r>
              <a:rPr lang="sv-SE" sz="6400" b="1" err="1">
                <a:solidFill>
                  <a:srgbClr val="CC0033"/>
                </a:solidFill>
                <a:latin typeface="+mj-lt"/>
                <a:cs typeface="Arial" panose="020B0604020202020204" pitchFamily="34" charset="0"/>
              </a:rPr>
              <a:t>quick</a:t>
            </a:r>
            <a:r>
              <a:rPr lang="sv-SE" sz="6400" b="1">
                <a:solidFill>
                  <a:srgbClr val="CC0033"/>
                </a:solidFill>
                <a:latin typeface="+mj-lt"/>
                <a:cs typeface="Arial" panose="020B0604020202020204" pitchFamily="34" charset="0"/>
              </a:rPr>
              <a:t> QUIZ</a:t>
            </a:r>
          </a:p>
        </p:txBody>
      </p:sp>
      <p:pic>
        <p:nvPicPr>
          <p:cNvPr id="20" name="Picture 12">
            <a:extLst>
              <a:ext uri="{FF2B5EF4-FFF2-40B4-BE49-F238E27FC236}">
                <a16:creationId xmlns:a16="http://schemas.microsoft.com/office/drawing/2014/main" id="{98A0BF94-2540-4BA8-A5D1-066B4099799C}"/>
              </a:ext>
            </a:extLst>
          </p:cNvPr>
          <p:cNvPicPr>
            <a:picLocks noChangeAspect="1"/>
          </p:cNvPicPr>
          <p:nvPr/>
        </p:nvPicPr>
        <p:blipFill>
          <a:blip r:embed="rId5"/>
          <a:srcRect/>
          <a:stretch>
            <a:fillRect/>
          </a:stretch>
        </p:blipFill>
        <p:spPr>
          <a:xfrm>
            <a:off x="0" y="8901113"/>
            <a:ext cx="5715000" cy="1385887"/>
          </a:xfrm>
          <a:prstGeom prst="rect">
            <a:avLst/>
          </a:prstGeom>
        </p:spPr>
      </p:pic>
      <p:sp>
        <p:nvSpPr>
          <p:cNvPr id="27" name="TextBox 26">
            <a:extLst>
              <a:ext uri="{FF2B5EF4-FFF2-40B4-BE49-F238E27FC236}">
                <a16:creationId xmlns:a16="http://schemas.microsoft.com/office/drawing/2014/main" id="{9C6FB779-CFCB-46F1-7BD2-7973318A8B61}"/>
              </a:ext>
            </a:extLst>
          </p:cNvPr>
          <p:cNvSpPr txBox="1"/>
          <p:nvPr/>
        </p:nvSpPr>
        <p:spPr>
          <a:xfrm>
            <a:off x="994751" y="2760024"/>
            <a:ext cx="9102820" cy="3477875"/>
          </a:xfrm>
          <a:prstGeom prst="rect">
            <a:avLst/>
          </a:prstGeom>
          <a:noFill/>
        </p:spPr>
        <p:txBody>
          <a:bodyPr wrap="square">
            <a:spAutoFit/>
          </a:bodyPr>
          <a:lstStyle/>
          <a:p>
            <a:r>
              <a:rPr lang="en-GB" sz="4400"/>
              <a:t>Which is more environmentally friendly?</a:t>
            </a:r>
          </a:p>
          <a:p>
            <a:pPr marL="742950" indent="-742950">
              <a:buFont typeface="+mj-lt"/>
              <a:buAutoNum type="arabicPeriod"/>
            </a:pPr>
            <a:r>
              <a:rPr lang="sv-SE" sz="4400" err="1"/>
              <a:t>Single-use</a:t>
            </a:r>
            <a:r>
              <a:rPr lang="sv-SE" sz="4400"/>
              <a:t> </a:t>
            </a:r>
            <a:r>
              <a:rPr lang="sv-SE" sz="4400" err="1"/>
              <a:t>diapers</a:t>
            </a:r>
            <a:endParaRPr lang="sv-SE" sz="4400"/>
          </a:p>
          <a:p>
            <a:pPr marL="742950" indent="-742950">
              <a:buFont typeface="+mj-lt"/>
              <a:buAutoNum type="arabicPeriod"/>
            </a:pPr>
            <a:r>
              <a:rPr lang="sv-SE" sz="4400" err="1"/>
              <a:t>Reusable</a:t>
            </a:r>
            <a:r>
              <a:rPr lang="sv-SE" sz="4400"/>
              <a:t> (</a:t>
            </a:r>
            <a:r>
              <a:rPr lang="sv-SE" sz="4400" err="1"/>
              <a:t>washable</a:t>
            </a:r>
            <a:r>
              <a:rPr lang="sv-SE" sz="4400"/>
              <a:t>) </a:t>
            </a:r>
            <a:r>
              <a:rPr lang="sv-SE" sz="4400" err="1"/>
              <a:t>diapers</a:t>
            </a:r>
            <a:endParaRPr lang="sv-SE" sz="4400"/>
          </a:p>
          <a:p>
            <a:pPr marL="742950" indent="-742950">
              <a:buFont typeface="+mj-lt"/>
              <a:buAutoNum type="arabicPeriod"/>
            </a:pPr>
            <a:r>
              <a:rPr lang="sv-SE" sz="4400" err="1"/>
              <a:t>Well</a:t>
            </a:r>
            <a:r>
              <a:rPr lang="sv-SE" sz="4400"/>
              <a:t>, it </a:t>
            </a:r>
            <a:r>
              <a:rPr lang="sv-SE" sz="4400" err="1"/>
              <a:t>depends</a:t>
            </a:r>
            <a:r>
              <a:rPr lang="sv-SE" sz="4400"/>
              <a:t> …</a:t>
            </a:r>
            <a:endParaRPr lang="en-GB" sz="4400"/>
          </a:p>
        </p:txBody>
      </p:sp>
      <p:pic>
        <p:nvPicPr>
          <p:cNvPr id="31" name="Picture 30" descr="Laundry room">
            <a:extLst>
              <a:ext uri="{FF2B5EF4-FFF2-40B4-BE49-F238E27FC236}">
                <a16:creationId xmlns:a16="http://schemas.microsoft.com/office/drawing/2014/main" id="{BE6D32F4-6047-F84B-DEC5-B7A36109FDA7}"/>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20045" r="19597"/>
          <a:stretch/>
        </p:blipFill>
        <p:spPr>
          <a:xfrm>
            <a:off x="10431742" y="2102234"/>
            <a:ext cx="5786437" cy="4793456"/>
          </a:xfrm>
          <a:prstGeom prst="rect">
            <a:avLst/>
          </a:prstGeom>
        </p:spPr>
      </p:pic>
      <p:sp>
        <p:nvSpPr>
          <p:cNvPr id="2" name="Scroll: Vertical 1">
            <a:extLst>
              <a:ext uri="{FF2B5EF4-FFF2-40B4-BE49-F238E27FC236}">
                <a16:creationId xmlns:a16="http://schemas.microsoft.com/office/drawing/2014/main" id="{2C383D54-3027-9D3E-858E-8C30640E0950}"/>
              </a:ext>
            </a:extLst>
          </p:cNvPr>
          <p:cNvSpPr/>
          <p:nvPr/>
        </p:nvSpPr>
        <p:spPr>
          <a:xfrm>
            <a:off x="5715000" y="6441504"/>
            <a:ext cx="4623777" cy="2907491"/>
          </a:xfrm>
          <a:prstGeom prst="verticalScroll">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2400"/>
              <a:t>A </a:t>
            </a:r>
            <a:r>
              <a:rPr lang="sv-SE" sz="2400" err="1"/>
              <a:t>comparative</a:t>
            </a:r>
            <a:r>
              <a:rPr lang="sv-SE" sz="2400"/>
              <a:t> LCA-</a:t>
            </a:r>
            <a:r>
              <a:rPr lang="sv-SE" sz="2400" err="1"/>
              <a:t>study</a:t>
            </a:r>
            <a:r>
              <a:rPr lang="sv-SE" sz="2400"/>
              <a:t> </a:t>
            </a:r>
            <a:r>
              <a:rPr lang="sv-SE" sz="2400" err="1"/>
              <a:t>could</a:t>
            </a:r>
            <a:r>
              <a:rPr lang="sv-SE" sz="2400"/>
              <a:t> be </a:t>
            </a:r>
            <a:r>
              <a:rPr lang="sv-SE" sz="2400" err="1"/>
              <a:t>done</a:t>
            </a:r>
            <a:r>
              <a:rPr lang="sv-SE" sz="2400"/>
              <a:t> to </a:t>
            </a:r>
            <a:r>
              <a:rPr lang="sv-SE" sz="2400" err="1"/>
              <a:t>evaluate</a:t>
            </a:r>
            <a:r>
              <a:rPr lang="sv-SE" sz="2400"/>
              <a:t> </a:t>
            </a:r>
            <a:r>
              <a:rPr lang="sv-SE" sz="2400" err="1"/>
              <a:t>which</a:t>
            </a:r>
            <a:r>
              <a:rPr lang="sv-SE" sz="2400"/>
              <a:t> option is the </a:t>
            </a:r>
            <a:r>
              <a:rPr lang="sv-SE" sz="2400" err="1"/>
              <a:t>most</a:t>
            </a:r>
            <a:r>
              <a:rPr lang="sv-SE" sz="2400"/>
              <a:t> </a:t>
            </a:r>
            <a:r>
              <a:rPr lang="sv-SE" sz="2400" err="1"/>
              <a:t>environmentally</a:t>
            </a:r>
            <a:r>
              <a:rPr lang="sv-SE" sz="2400"/>
              <a:t> </a:t>
            </a:r>
            <a:r>
              <a:rPr lang="sv-SE" sz="2400" err="1"/>
              <a:t>friendly</a:t>
            </a:r>
            <a:r>
              <a:rPr lang="sv-SE" sz="2400"/>
              <a:t>.</a:t>
            </a:r>
          </a:p>
        </p:txBody>
      </p:sp>
    </p:spTree>
    <p:extLst>
      <p:ext uri="{BB962C8B-B14F-4D97-AF65-F5344CB8AC3E}">
        <p14:creationId xmlns:p14="http://schemas.microsoft.com/office/powerpoint/2010/main" val="2452332104"/>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uppo 2">
            <a:extLst>
              <a:ext uri="{FF2B5EF4-FFF2-40B4-BE49-F238E27FC236}">
                <a16:creationId xmlns:a16="http://schemas.microsoft.com/office/drawing/2014/main" id="{4E8CB152-ABA9-46A2-9D56-1EBA009FF6AA}"/>
              </a:ext>
            </a:extLst>
          </p:cNvPr>
          <p:cNvGrpSpPr/>
          <p:nvPr/>
        </p:nvGrpSpPr>
        <p:grpSpPr>
          <a:xfrm>
            <a:off x="-12" y="138554"/>
            <a:ext cx="18288002" cy="681138"/>
            <a:chOff x="-12" y="138554"/>
            <a:chExt cx="18288002" cy="681138"/>
          </a:xfrm>
        </p:grpSpPr>
        <p:grpSp>
          <p:nvGrpSpPr>
            <p:cNvPr id="21" name="Gruppo 1">
              <a:extLst>
                <a:ext uri="{FF2B5EF4-FFF2-40B4-BE49-F238E27FC236}">
                  <a16:creationId xmlns:a16="http://schemas.microsoft.com/office/drawing/2014/main" id="{924B1D71-C348-469B-8379-362408D07AE0}"/>
                </a:ext>
              </a:extLst>
            </p:cNvPr>
            <p:cNvGrpSpPr/>
            <p:nvPr/>
          </p:nvGrpSpPr>
          <p:grpSpPr>
            <a:xfrm>
              <a:off x="0" y="153125"/>
              <a:ext cx="17907000" cy="666567"/>
              <a:chOff x="0" y="153125"/>
              <a:chExt cx="17907000" cy="666567"/>
            </a:xfrm>
          </p:grpSpPr>
          <p:grpSp>
            <p:nvGrpSpPr>
              <p:cNvPr id="23" name="Gruppo 15">
                <a:extLst>
                  <a:ext uri="{FF2B5EF4-FFF2-40B4-BE49-F238E27FC236}">
                    <a16:creationId xmlns:a16="http://schemas.microsoft.com/office/drawing/2014/main" id="{3BABAE2B-EB6C-43F9-8969-E6F00F006074}"/>
                  </a:ext>
                </a:extLst>
              </p:cNvPr>
              <p:cNvGrpSpPr/>
              <p:nvPr/>
            </p:nvGrpSpPr>
            <p:grpSpPr>
              <a:xfrm>
                <a:off x="0" y="153125"/>
                <a:ext cx="13958844" cy="666567"/>
                <a:chOff x="0" y="153125"/>
                <a:chExt cx="13958844" cy="666567"/>
              </a:xfrm>
            </p:grpSpPr>
            <p:pic>
              <p:nvPicPr>
                <p:cNvPr id="25" name="Picture 24">
                  <a:extLst>
                    <a:ext uri="{FF2B5EF4-FFF2-40B4-BE49-F238E27FC236}">
                      <a16:creationId xmlns:a16="http://schemas.microsoft.com/office/drawing/2014/main" id="{D7546B25-FE2C-461B-9839-C87E08A4FF2C}"/>
                    </a:ext>
                  </a:extLst>
                </p:cNvPr>
                <p:cNvPicPr>
                  <a:picLocks noChangeAspect="1"/>
                </p:cNvPicPr>
                <p:nvPr/>
              </p:nvPicPr>
              <p:blipFill>
                <a:blip r:embed="rId3"/>
                <a:srcRect l="134" t="91287" b="3943"/>
                <a:stretch>
                  <a:fillRect/>
                </a:stretch>
              </p:blipFill>
              <p:spPr>
                <a:xfrm>
                  <a:off x="0" y="153125"/>
                  <a:ext cx="13958844" cy="666567"/>
                </a:xfrm>
                <a:prstGeom prst="rect">
                  <a:avLst/>
                </a:prstGeom>
              </p:spPr>
            </p:pic>
            <p:sp>
              <p:nvSpPr>
                <p:cNvPr id="26" name="TextBox 25">
                  <a:extLst>
                    <a:ext uri="{FF2B5EF4-FFF2-40B4-BE49-F238E27FC236}">
                      <a16:creationId xmlns:a16="http://schemas.microsoft.com/office/drawing/2014/main" id="{061BE004-6B62-49E7-B3BB-4AFF41AAAC89}"/>
                    </a:ext>
                  </a:extLst>
                </p:cNvPr>
                <p:cNvSpPr txBox="1"/>
                <p:nvPr/>
              </p:nvSpPr>
              <p:spPr>
                <a:xfrm>
                  <a:off x="228600" y="257980"/>
                  <a:ext cx="9296400" cy="456856"/>
                </a:xfrm>
                <a:prstGeom prst="rect">
                  <a:avLst/>
                </a:prstGeom>
              </p:spPr>
              <p:txBody>
                <a:bodyPr wrap="square" lIns="0" tIns="0" rIns="0" bIns="0" rtlCol="0" anchor="t">
                  <a:spAutoFit/>
                </a:bodyPr>
                <a:lstStyle/>
                <a:p>
                  <a:pPr>
                    <a:lnSpc>
                      <a:spcPts val="3919"/>
                    </a:lnSpc>
                    <a:spcBef>
                      <a:spcPct val="0"/>
                    </a:spcBef>
                  </a:pPr>
                  <a:endParaRPr lang="en-US" sz="2800" b="1">
                    <a:solidFill>
                      <a:srgbClr val="FFFFFF"/>
                    </a:solidFill>
                    <a:latin typeface="Arial" panose="020B0604020202020204" pitchFamily="34" charset="0"/>
                    <a:cs typeface="Arial" panose="020B0604020202020204" pitchFamily="34" charset="0"/>
                  </a:endParaRPr>
                </a:p>
              </p:txBody>
            </p:sp>
          </p:grpSp>
          <p:sp>
            <p:nvSpPr>
              <p:cNvPr id="24" name="TextBox 23">
                <a:extLst>
                  <a:ext uri="{FF2B5EF4-FFF2-40B4-BE49-F238E27FC236}">
                    <a16:creationId xmlns:a16="http://schemas.microsoft.com/office/drawing/2014/main" id="{C7E8437D-AF63-4E80-BB84-0496D90B6103}"/>
                  </a:ext>
                </a:extLst>
              </p:cNvPr>
              <p:cNvSpPr txBox="1"/>
              <p:nvPr/>
            </p:nvSpPr>
            <p:spPr>
              <a:xfrm>
                <a:off x="12154296" y="257980"/>
                <a:ext cx="5752704" cy="456856"/>
              </a:xfrm>
              <a:prstGeom prst="rect">
                <a:avLst/>
              </a:prstGeom>
            </p:spPr>
            <p:txBody>
              <a:bodyPr wrap="square" lIns="0" tIns="0" rIns="0" bIns="0" rtlCol="0" anchor="t">
                <a:spAutoFit/>
              </a:bodyPr>
              <a:lstStyle/>
              <a:p>
                <a:pPr algn="r">
                  <a:lnSpc>
                    <a:spcPts val="3919"/>
                  </a:lnSpc>
                  <a:spcBef>
                    <a:spcPct val="0"/>
                  </a:spcBef>
                </a:pPr>
                <a:endParaRPr lang="en-US" sz="2800">
                  <a:solidFill>
                    <a:schemeClr val="tx1">
                      <a:lumMod val="75000"/>
                      <a:lumOff val="25000"/>
                    </a:schemeClr>
                  </a:solidFill>
                  <a:latin typeface="Arial" panose="020B0604020202020204" pitchFamily="34" charset="0"/>
                  <a:cs typeface="Arial" panose="020B0604020202020204" pitchFamily="34" charset="0"/>
                </a:endParaRPr>
              </a:p>
            </p:txBody>
          </p:sp>
        </p:grpSp>
        <p:sp>
          <p:nvSpPr>
            <p:cNvPr id="22" name="Rettangolo 13">
              <a:extLst>
                <a:ext uri="{FF2B5EF4-FFF2-40B4-BE49-F238E27FC236}">
                  <a16:creationId xmlns:a16="http://schemas.microsoft.com/office/drawing/2014/main" id="{606C0CBC-CB12-4518-B0AC-CD1CB2CA7482}"/>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28" name="Picture 12">
            <a:extLst>
              <a:ext uri="{FF2B5EF4-FFF2-40B4-BE49-F238E27FC236}">
                <a16:creationId xmlns:a16="http://schemas.microsoft.com/office/drawing/2014/main" id="{BEAC8B6C-C4EC-40B9-901C-FC2B1D20E92A}"/>
              </a:ext>
            </a:extLst>
          </p:cNvPr>
          <p:cNvPicPr>
            <a:picLocks noChangeAspect="1"/>
          </p:cNvPicPr>
          <p:nvPr/>
        </p:nvPicPr>
        <p:blipFill>
          <a:blip r:embed="rId4"/>
          <a:srcRect/>
          <a:stretch>
            <a:fillRect/>
          </a:stretch>
        </p:blipFill>
        <p:spPr>
          <a:xfrm>
            <a:off x="0" y="8901113"/>
            <a:ext cx="5715000" cy="1385887"/>
          </a:xfrm>
          <a:prstGeom prst="rect">
            <a:avLst/>
          </a:prstGeom>
        </p:spPr>
      </p:pic>
      <p:grpSp>
        <p:nvGrpSpPr>
          <p:cNvPr id="29" name="Gruppo 16">
            <a:extLst>
              <a:ext uri="{FF2B5EF4-FFF2-40B4-BE49-F238E27FC236}">
                <a16:creationId xmlns:a16="http://schemas.microsoft.com/office/drawing/2014/main" id="{64DAE06D-04CE-4353-9A4E-6FB4DA5F8860}"/>
              </a:ext>
            </a:extLst>
          </p:cNvPr>
          <p:cNvGrpSpPr/>
          <p:nvPr/>
        </p:nvGrpSpPr>
        <p:grpSpPr>
          <a:xfrm>
            <a:off x="4329146" y="9679208"/>
            <a:ext cx="13958844" cy="666567"/>
            <a:chOff x="4329156" y="9649198"/>
            <a:chExt cx="13958844" cy="666567"/>
          </a:xfrm>
        </p:grpSpPr>
        <p:pic>
          <p:nvPicPr>
            <p:cNvPr id="30" name="Picture 12">
              <a:extLst>
                <a:ext uri="{FF2B5EF4-FFF2-40B4-BE49-F238E27FC236}">
                  <a16:creationId xmlns:a16="http://schemas.microsoft.com/office/drawing/2014/main" id="{D1B979F3-AA92-491F-83B1-A5B703EF0522}"/>
                </a:ext>
              </a:extLst>
            </p:cNvPr>
            <p:cNvPicPr>
              <a:picLocks noChangeAspect="1"/>
            </p:cNvPicPr>
            <p:nvPr/>
          </p:nvPicPr>
          <p:blipFill>
            <a:blip r:embed="rId5"/>
            <a:srcRect l="134" t="91287" b="3943"/>
            <a:stretch>
              <a:fillRect/>
            </a:stretch>
          </p:blipFill>
          <p:spPr>
            <a:xfrm rot="-10800000">
              <a:off x="4329156" y="9649198"/>
              <a:ext cx="13958844" cy="666567"/>
            </a:xfrm>
            <a:prstGeom prst="rect">
              <a:avLst/>
            </a:prstGeom>
          </p:spPr>
        </p:pic>
        <p:sp>
          <p:nvSpPr>
            <p:cNvPr id="31" name="TextBox 16">
              <a:extLst>
                <a:ext uri="{FF2B5EF4-FFF2-40B4-BE49-F238E27FC236}">
                  <a16:creationId xmlns:a16="http://schemas.microsoft.com/office/drawing/2014/main" id="{54F084BB-4A27-419D-BB40-060E095FEA0C}"/>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sp>
        <p:nvSpPr>
          <p:cNvPr id="2" name="TextBox 1">
            <a:extLst>
              <a:ext uri="{FF2B5EF4-FFF2-40B4-BE49-F238E27FC236}">
                <a16:creationId xmlns:a16="http://schemas.microsoft.com/office/drawing/2014/main" id="{11E12B3E-593B-9CDA-B858-FEEBED5F3572}"/>
              </a:ext>
            </a:extLst>
          </p:cNvPr>
          <p:cNvSpPr txBox="1"/>
          <p:nvPr/>
        </p:nvSpPr>
        <p:spPr>
          <a:xfrm>
            <a:off x="-381012" y="1147931"/>
            <a:ext cx="18288012" cy="1077218"/>
          </a:xfrm>
          <a:prstGeom prst="rect">
            <a:avLst/>
          </a:prstGeom>
          <a:noFill/>
        </p:spPr>
        <p:txBody>
          <a:bodyPr wrap="square">
            <a:spAutoFit/>
          </a:bodyPr>
          <a:lstStyle/>
          <a:p>
            <a:pPr algn="ctr"/>
            <a:r>
              <a:rPr lang="sv-SE" sz="6400" b="1">
                <a:solidFill>
                  <a:srgbClr val="CC0033"/>
                </a:solidFill>
                <a:latin typeface="+mj-lt"/>
                <a:cs typeface="Arial" panose="020B0604020202020204" pitchFamily="34" charset="0"/>
              </a:rPr>
              <a:t>A </a:t>
            </a:r>
            <a:r>
              <a:rPr lang="sv-SE" sz="6400" b="1" err="1">
                <a:solidFill>
                  <a:srgbClr val="CC0033"/>
                </a:solidFill>
                <a:latin typeface="+mj-lt"/>
                <a:cs typeface="Arial" panose="020B0604020202020204" pitchFamily="34" charset="0"/>
              </a:rPr>
              <a:t>quick</a:t>
            </a:r>
            <a:r>
              <a:rPr lang="sv-SE" sz="6400" b="1">
                <a:solidFill>
                  <a:srgbClr val="CC0033"/>
                </a:solidFill>
                <a:latin typeface="+mj-lt"/>
                <a:cs typeface="Arial" panose="020B0604020202020204" pitchFamily="34" charset="0"/>
              </a:rPr>
              <a:t> QUIZ</a:t>
            </a:r>
          </a:p>
        </p:txBody>
      </p:sp>
      <p:pic>
        <p:nvPicPr>
          <p:cNvPr id="7" name="Picture 6" descr="A picture containing outdoor, water, outdoor object, distance&#10;&#10;Description automatically generated">
            <a:extLst>
              <a:ext uri="{FF2B5EF4-FFF2-40B4-BE49-F238E27FC236}">
                <a16:creationId xmlns:a16="http://schemas.microsoft.com/office/drawing/2014/main" id="{1AA0BFB2-1D81-3E68-870C-02E2738314D2}"/>
              </a:ext>
            </a:extLst>
          </p:cNvPr>
          <p:cNvPicPr>
            <a:picLocks noChangeAspect="1"/>
          </p:cNvPicPr>
          <p:nvPr/>
        </p:nvPicPr>
        <p:blipFill rotWithShape="1">
          <a:blip r:embed="rId6">
            <a:extLst>
              <a:ext uri="{28A0092B-C50C-407E-A947-70E740481C1C}">
                <a14:useLocalDpi xmlns:a14="http://schemas.microsoft.com/office/drawing/2010/main" val="0"/>
              </a:ext>
            </a:extLst>
          </a:blip>
          <a:srcRect l="35080" t="3262" r="23171" b="34530"/>
          <a:stretch/>
        </p:blipFill>
        <p:spPr>
          <a:xfrm>
            <a:off x="11182301" y="2658244"/>
            <a:ext cx="6435436" cy="6399340"/>
          </a:xfrm>
          <a:prstGeom prst="rect">
            <a:avLst/>
          </a:prstGeom>
        </p:spPr>
      </p:pic>
      <p:sp>
        <p:nvSpPr>
          <p:cNvPr id="9" name="TextBox 8">
            <a:extLst>
              <a:ext uri="{FF2B5EF4-FFF2-40B4-BE49-F238E27FC236}">
                <a16:creationId xmlns:a16="http://schemas.microsoft.com/office/drawing/2014/main" id="{5C89D696-AAD6-03BF-B810-1F345A3313F2}"/>
              </a:ext>
            </a:extLst>
          </p:cNvPr>
          <p:cNvSpPr txBox="1"/>
          <p:nvPr/>
        </p:nvSpPr>
        <p:spPr>
          <a:xfrm>
            <a:off x="670263" y="3003244"/>
            <a:ext cx="10364882" cy="3477875"/>
          </a:xfrm>
          <a:prstGeom prst="rect">
            <a:avLst/>
          </a:prstGeom>
          <a:noFill/>
        </p:spPr>
        <p:txBody>
          <a:bodyPr wrap="square">
            <a:spAutoFit/>
          </a:bodyPr>
          <a:lstStyle/>
          <a:p>
            <a:r>
              <a:rPr lang="en-GB" sz="4400" dirty="0"/>
              <a:t>Which functional unit is generally used for a wind turbine?</a:t>
            </a:r>
          </a:p>
          <a:p>
            <a:r>
              <a:rPr lang="sv-SE" sz="4400" dirty="0"/>
              <a:t>1 kWh </a:t>
            </a:r>
            <a:r>
              <a:rPr lang="en-GB" sz="4400" dirty="0"/>
              <a:t>– generated electric energy</a:t>
            </a:r>
          </a:p>
          <a:p>
            <a:r>
              <a:rPr lang="sv-SE" sz="4400" dirty="0"/>
              <a:t>1 m/s – </a:t>
            </a:r>
            <a:r>
              <a:rPr lang="en-GB" sz="4400" dirty="0"/>
              <a:t>wind</a:t>
            </a:r>
            <a:r>
              <a:rPr lang="sv-SE" sz="4400" dirty="0"/>
              <a:t> speed</a:t>
            </a:r>
          </a:p>
          <a:p>
            <a:r>
              <a:rPr lang="sv-SE" sz="4400" dirty="0"/>
              <a:t>1 t – </a:t>
            </a:r>
            <a:r>
              <a:rPr lang="en-GB" sz="4400" dirty="0"/>
              <a:t>turbine weight</a:t>
            </a:r>
          </a:p>
        </p:txBody>
      </p:sp>
    </p:spTree>
    <p:extLst>
      <p:ext uri="{BB962C8B-B14F-4D97-AF65-F5344CB8AC3E}">
        <p14:creationId xmlns:p14="http://schemas.microsoft.com/office/powerpoint/2010/main" val="1708246345"/>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6"/>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2"/>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3"/>
          <a:srcRect/>
          <a:stretch>
            <a:fillRect/>
          </a:stretch>
        </p:blipFill>
        <p:spPr>
          <a:xfrm>
            <a:off x="0" y="8901113"/>
            <a:ext cx="5715000" cy="1385887"/>
          </a:xfrm>
          <a:prstGeom prst="rect">
            <a:avLst/>
          </a:prstGeom>
        </p:spPr>
      </p:pic>
      <p:grpSp>
        <p:nvGrpSpPr>
          <p:cNvPr id="3" name="Gruppo 2">
            <a:extLst>
              <a:ext uri="{FF2B5EF4-FFF2-40B4-BE49-F238E27FC236}">
                <a16:creationId xmlns:a16="http://schemas.microsoft.com/office/drawing/2014/main" id="{D0B44AFC-EABA-48CF-A7A8-348076F88921}"/>
              </a:ext>
            </a:extLst>
          </p:cNvPr>
          <p:cNvGrpSpPr/>
          <p:nvPr/>
        </p:nvGrpSpPr>
        <p:grpSpPr>
          <a:xfrm>
            <a:off x="-12" y="138554"/>
            <a:ext cx="18288002" cy="681138"/>
            <a:chOff x="-12" y="138554"/>
            <a:chExt cx="18288002" cy="681138"/>
          </a:xfrm>
        </p:grpSpPr>
        <p:pic>
          <p:nvPicPr>
            <p:cNvPr id="10" name="Picture 10"/>
            <p:cNvPicPr>
              <a:picLocks noChangeAspect="1"/>
            </p:cNvPicPr>
            <p:nvPr/>
          </p:nvPicPr>
          <p:blipFill>
            <a:blip r:embed="rId4"/>
            <a:srcRect l="134" t="91287" b="3943"/>
            <a:stretch>
              <a:fillRect/>
            </a:stretch>
          </p:blipFill>
          <p:spPr>
            <a:xfrm>
              <a:off x="0" y="153125"/>
              <a:ext cx="13958844" cy="666567"/>
            </a:xfrm>
            <a:prstGeom prst="rect">
              <a:avLst/>
            </a:prstGeom>
          </p:spPr>
        </p:pic>
        <p:sp>
          <p:nvSpPr>
            <p:cNvPr id="15" name="Rettangolo 14">
              <a:extLst>
                <a:ext uri="{FF2B5EF4-FFF2-40B4-BE49-F238E27FC236}">
                  <a16:creationId xmlns:a16="http://schemas.microsoft.com/office/drawing/2014/main" id="{AFFDA913-633F-49C2-9D71-573FB327981F}"/>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7" name="TextBox 13">
            <a:extLst>
              <a:ext uri="{FF2B5EF4-FFF2-40B4-BE49-F238E27FC236}">
                <a16:creationId xmlns:a16="http://schemas.microsoft.com/office/drawing/2014/main" id="{C7197FAA-9C82-4C25-B208-2BF8170DA3D1}"/>
              </a:ext>
            </a:extLst>
          </p:cNvPr>
          <p:cNvSpPr txBox="1"/>
          <p:nvPr/>
        </p:nvSpPr>
        <p:spPr>
          <a:xfrm>
            <a:off x="0" y="850387"/>
            <a:ext cx="18288000" cy="1052468"/>
          </a:xfrm>
          <a:prstGeom prst="rect">
            <a:avLst/>
          </a:prstGeom>
        </p:spPr>
        <p:txBody>
          <a:bodyPr wrap="square" lIns="0" tIns="0" rIns="0" bIns="0" rtlCol="0" anchor="t">
            <a:spAutoFit/>
          </a:bodyPr>
          <a:lstStyle/>
          <a:p>
            <a:pPr algn="ctr">
              <a:lnSpc>
                <a:spcPts val="8960"/>
              </a:lnSpc>
              <a:spcBef>
                <a:spcPct val="0"/>
              </a:spcBef>
            </a:pPr>
            <a:r>
              <a:rPr lang="en-US" sz="6400" b="1">
                <a:solidFill>
                  <a:srgbClr val="CC0033"/>
                </a:solidFill>
                <a:latin typeface="+mj-lt"/>
                <a:cs typeface="Arial" panose="020B0604020202020204" pitchFamily="34" charset="0"/>
              </a:rPr>
              <a:t>We can together find quantitative answers to:</a:t>
            </a:r>
          </a:p>
        </p:txBody>
      </p:sp>
      <p:sp>
        <p:nvSpPr>
          <p:cNvPr id="13" name="TextBox 14">
            <a:extLst>
              <a:ext uri="{FF2B5EF4-FFF2-40B4-BE49-F238E27FC236}">
                <a16:creationId xmlns:a16="http://schemas.microsoft.com/office/drawing/2014/main" id="{A1488B97-33A5-4E7F-BE73-058AD77EDB3A}"/>
              </a:ext>
            </a:extLst>
          </p:cNvPr>
          <p:cNvSpPr txBox="1"/>
          <p:nvPr/>
        </p:nvSpPr>
        <p:spPr>
          <a:xfrm>
            <a:off x="838189" y="2085985"/>
            <a:ext cx="16611600" cy="6839373"/>
          </a:xfrm>
          <a:prstGeom prst="rect">
            <a:avLst/>
          </a:prstGeom>
        </p:spPr>
        <p:txBody>
          <a:bodyPr wrap="square" lIns="0" tIns="0" rIns="0" bIns="0" rtlCol="0" anchor="t">
            <a:spAutoFit/>
          </a:bodyPr>
          <a:lstStyle/>
          <a:p>
            <a:pPr marL="457200" indent="-457200">
              <a:lnSpc>
                <a:spcPct val="150000"/>
              </a:lnSpc>
              <a:buFont typeface="Wingdings" panose="05000000000000000000" pitchFamily="2" charset="2"/>
              <a:buChar char="Ø"/>
            </a:pPr>
            <a:r>
              <a:rPr lang="en-US" sz="3000">
                <a:cs typeface="Arial" panose="020B0604020202020204" pitchFamily="34" charset="0"/>
              </a:rPr>
              <a:t>Did we reach the CO2 reduction objectives?</a:t>
            </a:r>
          </a:p>
          <a:p>
            <a:pPr marL="457200" indent="-457200">
              <a:lnSpc>
                <a:spcPct val="150000"/>
              </a:lnSpc>
              <a:buFont typeface="Wingdings" panose="05000000000000000000" pitchFamily="2" charset="2"/>
              <a:buChar char="Ø"/>
            </a:pPr>
            <a:r>
              <a:rPr lang="en-US" sz="3000">
                <a:cs typeface="Arial" panose="020B0604020202020204" pitchFamily="34" charset="0"/>
              </a:rPr>
              <a:t>Did we increase any other impacts while decreasing GWP?</a:t>
            </a:r>
          </a:p>
          <a:p>
            <a:pPr marL="457200" indent="-457200">
              <a:lnSpc>
                <a:spcPct val="150000"/>
              </a:lnSpc>
              <a:buFont typeface="Wingdings" panose="05000000000000000000" pitchFamily="2" charset="2"/>
              <a:buChar char="Ø"/>
            </a:pPr>
            <a:r>
              <a:rPr lang="en-US" sz="3000">
                <a:cs typeface="Arial" panose="020B0604020202020204" pitchFamily="34" charset="0"/>
              </a:rPr>
              <a:t>Did we reduce the total waste?</a:t>
            </a:r>
          </a:p>
          <a:p>
            <a:pPr marL="457200" indent="-457200">
              <a:lnSpc>
                <a:spcPct val="150000"/>
              </a:lnSpc>
              <a:buFont typeface="Wingdings" panose="05000000000000000000" pitchFamily="2" charset="2"/>
              <a:buChar char="Ø"/>
            </a:pPr>
            <a:r>
              <a:rPr lang="en-US" sz="3000">
                <a:cs typeface="Arial" panose="020B0604020202020204" pitchFamily="34" charset="0"/>
              </a:rPr>
              <a:t>Did we reduce the cost?</a:t>
            </a:r>
          </a:p>
          <a:p>
            <a:pPr marL="457200" indent="-457200">
              <a:lnSpc>
                <a:spcPct val="150000"/>
              </a:lnSpc>
              <a:buFont typeface="Wingdings" panose="05000000000000000000" pitchFamily="2" charset="2"/>
              <a:buChar char="Ø"/>
            </a:pPr>
            <a:r>
              <a:rPr lang="en-US" sz="3000">
                <a:cs typeface="Arial" panose="020B0604020202020204" pitchFamily="34" charset="0"/>
              </a:rPr>
              <a:t>Did we decrease the overall environmental performance of the processes?</a:t>
            </a:r>
          </a:p>
          <a:p>
            <a:pPr marL="457200" indent="-457200">
              <a:lnSpc>
                <a:spcPct val="150000"/>
              </a:lnSpc>
              <a:buFont typeface="Wingdings" panose="05000000000000000000" pitchFamily="2" charset="2"/>
              <a:buChar char="Ø"/>
            </a:pPr>
            <a:r>
              <a:rPr lang="en-US" sz="3000">
                <a:cs typeface="Arial" panose="020B0604020202020204" pitchFamily="34" charset="0"/>
              </a:rPr>
              <a:t>What can we do to boost the environmental performance?</a:t>
            </a:r>
          </a:p>
          <a:p>
            <a:pPr marL="457200" indent="-457200">
              <a:lnSpc>
                <a:spcPct val="150000"/>
              </a:lnSpc>
              <a:buFont typeface="Wingdings" panose="05000000000000000000" pitchFamily="2" charset="2"/>
              <a:buChar char="Ø"/>
            </a:pPr>
            <a:r>
              <a:rPr lang="en-US" sz="3000">
                <a:cs typeface="Arial" panose="020B0604020202020204" pitchFamily="34" charset="0"/>
              </a:rPr>
              <a:t>What are the hot spots of our processes (In all aspects)?</a:t>
            </a:r>
          </a:p>
          <a:p>
            <a:pPr marL="457200" indent="-457200">
              <a:lnSpc>
                <a:spcPct val="150000"/>
              </a:lnSpc>
              <a:buFont typeface="Wingdings" panose="05000000000000000000" pitchFamily="2" charset="2"/>
              <a:buChar char="Ø"/>
            </a:pPr>
            <a:r>
              <a:rPr lang="en-US" sz="3000">
                <a:cs typeface="Arial" panose="020B0604020202020204" pitchFamily="34" charset="0"/>
              </a:rPr>
              <a:t>What are our social impacts? </a:t>
            </a:r>
          </a:p>
          <a:p>
            <a:pPr marL="457200" indent="-457200">
              <a:lnSpc>
                <a:spcPct val="150000"/>
              </a:lnSpc>
              <a:buFont typeface="Wingdings" panose="05000000000000000000" pitchFamily="2" charset="2"/>
              <a:buChar char="Ø"/>
            </a:pPr>
            <a:r>
              <a:rPr lang="en-US" sz="3000">
                <a:cs typeface="Arial" panose="020B0604020202020204" pitchFamily="34" charset="0"/>
              </a:rPr>
              <a:t>Did we increase the positive social impacts?</a:t>
            </a:r>
          </a:p>
          <a:p>
            <a:pPr marL="457200" indent="-457200">
              <a:lnSpc>
                <a:spcPct val="150000"/>
              </a:lnSpc>
              <a:buFont typeface="Wingdings" panose="05000000000000000000" pitchFamily="2" charset="2"/>
              <a:buChar char="Ø"/>
            </a:pPr>
            <a:r>
              <a:rPr lang="en-US" sz="3000">
                <a:cs typeface="Arial" panose="020B0604020202020204" pitchFamily="34" charset="0"/>
              </a:rPr>
              <a:t>Did usage of alternative feedstocks make a change on the social impacts?</a:t>
            </a:r>
          </a:p>
        </p:txBody>
      </p:sp>
    </p:spTree>
    <p:extLst>
      <p:ext uri="{BB962C8B-B14F-4D97-AF65-F5344CB8AC3E}">
        <p14:creationId xmlns:p14="http://schemas.microsoft.com/office/powerpoint/2010/main" val="650988246"/>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50378857"/>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8294908-8B00-4F58-BBBA-20F71A40AA9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8288000" cy="10287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1" name="Freeform: Shape 10">
            <a:extLst>
              <a:ext uri="{FF2B5EF4-FFF2-40B4-BE49-F238E27FC236}">
                <a16:creationId xmlns:a16="http://schemas.microsoft.com/office/drawing/2014/main" id="{4364C879-1404-4203-8E9D-CC5DE0A621A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124173" y="-2079252"/>
            <a:ext cx="3637310" cy="5416787"/>
          </a:xfrm>
          <a:custGeom>
            <a:avLst/>
            <a:gdLst>
              <a:gd name="connsiteX0" fmla="*/ 0 w 2424873"/>
              <a:gd name="connsiteY0" fmla="*/ 2424874 h 3611191"/>
              <a:gd name="connsiteX1" fmla="*/ 2424873 w 2424873"/>
              <a:gd name="connsiteY1" fmla="*/ 0 h 3611191"/>
              <a:gd name="connsiteX2" fmla="*/ 2424873 w 2424873"/>
              <a:gd name="connsiteY2" fmla="*/ 3611191 h 3611191"/>
              <a:gd name="connsiteX3" fmla="*/ 1186317 w 2424873"/>
              <a:gd name="connsiteY3" fmla="*/ 3611191 h 3611191"/>
            </a:gdLst>
            <a:ahLst/>
            <a:cxnLst>
              <a:cxn ang="0">
                <a:pos x="connsiteX0" y="connsiteY0"/>
              </a:cxn>
              <a:cxn ang="0">
                <a:pos x="connsiteX1" y="connsiteY1"/>
              </a:cxn>
              <a:cxn ang="0">
                <a:pos x="connsiteX2" y="connsiteY2"/>
              </a:cxn>
              <a:cxn ang="0">
                <a:pos x="connsiteX3" y="connsiteY3"/>
              </a:cxn>
            </a:cxnLst>
            <a:rect l="l" t="t" r="r" b="b"/>
            <a:pathLst>
              <a:path w="2424873" h="3611191">
                <a:moveTo>
                  <a:pt x="0" y="2424874"/>
                </a:moveTo>
                <a:lnTo>
                  <a:pt x="2424873" y="0"/>
                </a:lnTo>
                <a:lnTo>
                  <a:pt x="2424873" y="3611191"/>
                </a:lnTo>
                <a:lnTo>
                  <a:pt x="1186317" y="3611191"/>
                </a:lnTo>
                <a:close/>
              </a:path>
            </a:pathLst>
          </a:cu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3" name="Freeform: Shape 12">
            <a:extLst>
              <a:ext uri="{FF2B5EF4-FFF2-40B4-BE49-F238E27FC236}">
                <a16:creationId xmlns:a16="http://schemas.microsoft.com/office/drawing/2014/main" id="{84617302-4B0D-4351-A6BB-6F0930D943A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2356500" y="-507873"/>
            <a:ext cx="2453933" cy="2453933"/>
          </a:xfrm>
          <a:custGeom>
            <a:avLst/>
            <a:gdLst>
              <a:gd name="connsiteX0" fmla="*/ 0 w 1635955"/>
              <a:gd name="connsiteY0" fmla="*/ 957987 h 1635955"/>
              <a:gd name="connsiteX1" fmla="*/ 957987 w 1635955"/>
              <a:gd name="connsiteY1" fmla="*/ 0 h 1635955"/>
              <a:gd name="connsiteX2" fmla="*/ 1635955 w 1635955"/>
              <a:gd name="connsiteY2" fmla="*/ 0 h 1635955"/>
              <a:gd name="connsiteX3" fmla="*/ 1635955 w 1635955"/>
              <a:gd name="connsiteY3" fmla="*/ 1635955 h 1635955"/>
              <a:gd name="connsiteX4" fmla="*/ 0 w 1635955"/>
              <a:gd name="connsiteY4" fmla="*/ 1635955 h 1635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5955" h="1635955">
                <a:moveTo>
                  <a:pt x="0" y="957987"/>
                </a:moveTo>
                <a:lnTo>
                  <a:pt x="957987" y="0"/>
                </a:lnTo>
                <a:lnTo>
                  <a:pt x="1635955" y="0"/>
                </a:lnTo>
                <a:lnTo>
                  <a:pt x="1635955" y="1635955"/>
                </a:lnTo>
                <a:lnTo>
                  <a:pt x="0" y="1635955"/>
                </a:lnTo>
                <a:close/>
              </a:path>
            </a:pathLst>
          </a:cu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5" name="Freeform: Shape 14">
            <a:extLst>
              <a:ext uri="{FF2B5EF4-FFF2-40B4-BE49-F238E27FC236}">
                <a16:creationId xmlns:a16="http://schemas.microsoft.com/office/drawing/2014/main" id="{DA2C7802-C2E0-4218-8F89-8DD7CCD2CD1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14441978" y="-9882"/>
            <a:ext cx="6089090" cy="3822165"/>
          </a:xfrm>
          <a:custGeom>
            <a:avLst/>
            <a:gdLst>
              <a:gd name="connsiteX0" fmla="*/ 0 w 4059393"/>
              <a:gd name="connsiteY0" fmla="*/ 1511282 h 2548110"/>
              <a:gd name="connsiteX1" fmla="*/ 1511282 w 4059393"/>
              <a:gd name="connsiteY1" fmla="*/ 0 h 2548110"/>
              <a:gd name="connsiteX2" fmla="*/ 4059393 w 4059393"/>
              <a:gd name="connsiteY2" fmla="*/ 2548110 h 2548110"/>
              <a:gd name="connsiteX3" fmla="*/ 0 w 4059393"/>
              <a:gd name="connsiteY3" fmla="*/ 2548110 h 2548110"/>
            </a:gdLst>
            <a:ahLst/>
            <a:cxnLst>
              <a:cxn ang="0">
                <a:pos x="connsiteX0" y="connsiteY0"/>
              </a:cxn>
              <a:cxn ang="0">
                <a:pos x="connsiteX1" y="connsiteY1"/>
              </a:cxn>
              <a:cxn ang="0">
                <a:pos x="connsiteX2" y="connsiteY2"/>
              </a:cxn>
              <a:cxn ang="0">
                <a:pos x="connsiteX3" y="connsiteY3"/>
              </a:cxn>
            </a:cxnLst>
            <a:rect l="l" t="t" r="r" b="b"/>
            <a:pathLst>
              <a:path w="4059393" h="2548110">
                <a:moveTo>
                  <a:pt x="0" y="1511282"/>
                </a:moveTo>
                <a:lnTo>
                  <a:pt x="1511282" y="0"/>
                </a:lnTo>
                <a:lnTo>
                  <a:pt x="4059393" y="2548110"/>
                </a:lnTo>
                <a:lnTo>
                  <a:pt x="0" y="2548110"/>
                </a:lnTo>
                <a:close/>
              </a:path>
            </a:pathLst>
          </a:cu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7" name="Rectangle 16">
            <a:extLst>
              <a:ext uri="{FF2B5EF4-FFF2-40B4-BE49-F238E27FC236}">
                <a16:creationId xmlns:a16="http://schemas.microsoft.com/office/drawing/2014/main" id="{A6D7111A-21E5-4EE9-8A78-10E5530F011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15394386" y="2198670"/>
            <a:ext cx="1778562" cy="1778562"/>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9" name="Freeform: Shape 18">
            <a:extLst>
              <a:ext uri="{FF2B5EF4-FFF2-40B4-BE49-F238E27FC236}">
                <a16:creationId xmlns:a16="http://schemas.microsoft.com/office/drawing/2014/main" id="{A3969E80-A77B-49FC-9122-D89AFD5EE11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44336" y="7798115"/>
            <a:ext cx="3667361" cy="3549174"/>
          </a:xfrm>
          <a:custGeom>
            <a:avLst/>
            <a:gdLst>
              <a:gd name="connsiteX0" fmla="*/ 0 w 2203753"/>
              <a:gd name="connsiteY0" fmla="*/ 0 h 2132734"/>
              <a:gd name="connsiteX1" fmla="*/ 2203753 w 2203753"/>
              <a:gd name="connsiteY1" fmla="*/ 0 h 2132734"/>
              <a:gd name="connsiteX2" fmla="*/ 2203753 w 2203753"/>
              <a:gd name="connsiteY2" fmla="*/ 576461 h 2132734"/>
              <a:gd name="connsiteX3" fmla="*/ 647480 w 2203753"/>
              <a:gd name="connsiteY3" fmla="*/ 2132734 h 2132734"/>
              <a:gd name="connsiteX4" fmla="*/ 0 w 2203753"/>
              <a:gd name="connsiteY4" fmla="*/ 1485255 h 2132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3753" h="2132734">
                <a:moveTo>
                  <a:pt x="0" y="0"/>
                </a:moveTo>
                <a:lnTo>
                  <a:pt x="2203753" y="0"/>
                </a:lnTo>
                <a:lnTo>
                  <a:pt x="2203753" y="576461"/>
                </a:lnTo>
                <a:lnTo>
                  <a:pt x="647480" y="2132734"/>
                </a:lnTo>
                <a:lnTo>
                  <a:pt x="0" y="1485255"/>
                </a:lnTo>
                <a:close/>
              </a:path>
            </a:pathLst>
          </a:cu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1" name="Rectangle 20">
            <a:extLst>
              <a:ext uri="{FF2B5EF4-FFF2-40B4-BE49-F238E27FC236}">
                <a16:creationId xmlns:a16="http://schemas.microsoft.com/office/drawing/2014/main" id="{1849CA57-76BD-4CF2-80BA-D7A46A01B7B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2654681" y="8159840"/>
            <a:ext cx="1392701" cy="1392701"/>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Arial"/>
              <a:ea typeface="+mn-ea"/>
              <a:cs typeface="+mn-cs"/>
            </a:endParaRPr>
          </a:p>
        </p:txBody>
      </p:sp>
      <p:sp>
        <p:nvSpPr>
          <p:cNvPr id="23" name="Freeform: Shape 22">
            <a:extLst>
              <a:ext uri="{FF2B5EF4-FFF2-40B4-BE49-F238E27FC236}">
                <a16:creationId xmlns:a16="http://schemas.microsoft.com/office/drawing/2014/main" id="{35E9085E-E730-4768-83D4-6CB7E989715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5101967" y="1101467"/>
            <a:ext cx="8084069" cy="8084069"/>
          </a:xfrm>
          <a:custGeom>
            <a:avLst/>
            <a:gdLst>
              <a:gd name="connsiteX0" fmla="*/ 0 w 5389379"/>
              <a:gd name="connsiteY0" fmla="*/ 540040 h 5389379"/>
              <a:gd name="connsiteX1" fmla="*/ 540040 w 5389379"/>
              <a:gd name="connsiteY1" fmla="*/ 0 h 5389379"/>
              <a:gd name="connsiteX2" fmla="*/ 5389379 w 5389379"/>
              <a:gd name="connsiteY2" fmla="*/ 0 h 5389379"/>
              <a:gd name="connsiteX3" fmla="*/ 5389379 w 5389379"/>
              <a:gd name="connsiteY3" fmla="*/ 4838655 h 5389379"/>
              <a:gd name="connsiteX4" fmla="*/ 4838655 w 5389379"/>
              <a:gd name="connsiteY4" fmla="*/ 5389379 h 5389379"/>
              <a:gd name="connsiteX5" fmla="*/ 0 w 5389379"/>
              <a:gd name="connsiteY5" fmla="*/ 5389379 h 538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89379" h="5389379">
                <a:moveTo>
                  <a:pt x="0" y="540040"/>
                </a:moveTo>
                <a:lnTo>
                  <a:pt x="540040" y="0"/>
                </a:lnTo>
                <a:lnTo>
                  <a:pt x="5389379" y="0"/>
                </a:lnTo>
                <a:lnTo>
                  <a:pt x="5389379" y="4838655"/>
                </a:lnTo>
                <a:lnTo>
                  <a:pt x="4838655" y="5389379"/>
                </a:lnTo>
                <a:lnTo>
                  <a:pt x="0" y="5389379"/>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5" name="Freeform: Shape 24">
            <a:extLst>
              <a:ext uri="{FF2B5EF4-FFF2-40B4-BE49-F238E27FC236}">
                <a16:creationId xmlns:a16="http://schemas.microsoft.com/office/drawing/2014/main" id="{973272FE-A474-4CAE-8CA2-BCC8B476C3F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4050425" y="49925"/>
            <a:ext cx="10187153" cy="10187153"/>
          </a:xfrm>
          <a:custGeom>
            <a:avLst/>
            <a:gdLst>
              <a:gd name="connsiteX0" fmla="*/ 1860938 w 6791435"/>
              <a:gd name="connsiteY0" fmla="*/ 81158 h 6791435"/>
              <a:gd name="connsiteX1" fmla="*/ 1942096 w 6791435"/>
              <a:gd name="connsiteY1" fmla="*/ 0 h 6791435"/>
              <a:gd name="connsiteX2" fmla="*/ 6791435 w 6791435"/>
              <a:gd name="connsiteY2" fmla="*/ 0 h 6791435"/>
              <a:gd name="connsiteX3" fmla="*/ 6791435 w 6791435"/>
              <a:gd name="connsiteY3" fmla="*/ 4838655 h 6791435"/>
              <a:gd name="connsiteX4" fmla="*/ 6710277 w 6791435"/>
              <a:gd name="connsiteY4" fmla="*/ 4919813 h 6791435"/>
              <a:gd name="connsiteX5" fmla="*/ 6710277 w 6791435"/>
              <a:gd name="connsiteY5" fmla="*/ 81158 h 6791435"/>
              <a:gd name="connsiteX6" fmla="*/ 0 w 6791435"/>
              <a:gd name="connsiteY6" fmla="*/ 1942096 h 6791435"/>
              <a:gd name="connsiteX7" fmla="*/ 81158 w 6791435"/>
              <a:gd name="connsiteY7" fmla="*/ 1860938 h 6791435"/>
              <a:gd name="connsiteX8" fmla="*/ 81158 w 6791435"/>
              <a:gd name="connsiteY8" fmla="*/ 6710277 h 6791435"/>
              <a:gd name="connsiteX9" fmla="*/ 4919813 w 6791435"/>
              <a:gd name="connsiteY9" fmla="*/ 6710277 h 6791435"/>
              <a:gd name="connsiteX10" fmla="*/ 4838655 w 6791435"/>
              <a:gd name="connsiteY10" fmla="*/ 6791435 h 6791435"/>
              <a:gd name="connsiteX11" fmla="*/ 0 w 6791435"/>
              <a:gd name="connsiteY11" fmla="*/ 6791435 h 6791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791435" h="6791435">
                <a:moveTo>
                  <a:pt x="1860938" y="81158"/>
                </a:moveTo>
                <a:lnTo>
                  <a:pt x="1942096" y="0"/>
                </a:lnTo>
                <a:lnTo>
                  <a:pt x="6791435" y="0"/>
                </a:lnTo>
                <a:lnTo>
                  <a:pt x="6791435" y="4838655"/>
                </a:lnTo>
                <a:lnTo>
                  <a:pt x="6710277" y="4919813"/>
                </a:lnTo>
                <a:lnTo>
                  <a:pt x="6710277" y="81158"/>
                </a:lnTo>
                <a:close/>
                <a:moveTo>
                  <a:pt x="0" y="1942096"/>
                </a:moveTo>
                <a:lnTo>
                  <a:pt x="81158" y="1860938"/>
                </a:lnTo>
                <a:lnTo>
                  <a:pt x="81158" y="6710277"/>
                </a:lnTo>
                <a:lnTo>
                  <a:pt x="4919813" y="6710277"/>
                </a:lnTo>
                <a:lnTo>
                  <a:pt x="4838655" y="6791435"/>
                </a:lnTo>
                <a:lnTo>
                  <a:pt x="0" y="6791435"/>
                </a:lnTo>
                <a:close/>
              </a:path>
            </a:pathLst>
          </a:cu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Arial"/>
              <a:ea typeface="+mn-ea"/>
              <a:cs typeface="+mn-cs"/>
            </a:endParaRPr>
          </a:p>
        </p:txBody>
      </p:sp>
      <p:sp>
        <p:nvSpPr>
          <p:cNvPr id="4" name="Title 3">
            <a:extLst>
              <a:ext uri="{FF2B5EF4-FFF2-40B4-BE49-F238E27FC236}">
                <a16:creationId xmlns:a16="http://schemas.microsoft.com/office/drawing/2014/main" id="{B009CD84-DA40-4CAA-8A89-DD6DAA862368}"/>
              </a:ext>
            </a:extLst>
          </p:cNvPr>
          <p:cNvSpPr>
            <a:spLocks noGrp="1"/>
          </p:cNvSpPr>
          <p:nvPr>
            <p:ph type="title"/>
          </p:nvPr>
        </p:nvSpPr>
        <p:spPr>
          <a:xfrm>
            <a:off x="603272" y="2144048"/>
            <a:ext cx="17100376" cy="5423039"/>
          </a:xfrm>
          <a:noFill/>
        </p:spPr>
        <p:txBody>
          <a:bodyPr vert="horz" lIns="91440" tIns="45720" rIns="91440" bIns="45720" rtlCol="0" anchor="ctr">
            <a:normAutofit/>
          </a:bodyPr>
          <a:lstStyle/>
          <a:p>
            <a:pPr indent="457200">
              <a:spcBef>
                <a:spcPts val="600"/>
              </a:spcBef>
              <a:spcAft>
                <a:spcPts val="600"/>
              </a:spcAft>
            </a:pPr>
            <a:r>
              <a:rPr lang="en-GB" sz="1800" noProof="0" dirty="0">
                <a:effectLst/>
                <a:latin typeface="Palatino Linotype" panose="02040502050505030304" pitchFamily="18" charset="0"/>
                <a:ea typeface="Georgia" panose="02040502050405020303" pitchFamily="18" charset="0"/>
                <a:cs typeface="Times New Roman" panose="02020603050405020304" pitchFamily="18" charset="0"/>
              </a:rPr>
              <a:t> </a:t>
            </a:r>
            <a:br>
              <a:rPr lang="en-GB" sz="1800" noProof="0" dirty="0">
                <a:effectLst/>
                <a:latin typeface="Palatino Linotype" panose="02040502050505030304" pitchFamily="18" charset="0"/>
                <a:ea typeface="Georgia" panose="02040502050405020303" pitchFamily="18" charset="0"/>
                <a:cs typeface="Times New Roman" panose="02020603050405020304" pitchFamily="18" charset="0"/>
              </a:rPr>
            </a:br>
            <a:r>
              <a:rPr lang="en-GB" sz="5400" b="1" noProof="0" dirty="0">
                <a:solidFill>
                  <a:srgbClr val="CC0033"/>
                </a:solidFill>
                <a:ea typeface="+mn-ea"/>
                <a:cs typeface="Arial" panose="020B0604020202020204" pitchFamily="34" charset="0"/>
              </a:rPr>
              <a:t>Chapter 6: Results from Retrofitting Actions</a:t>
            </a:r>
          </a:p>
        </p:txBody>
      </p:sp>
      <p:sp>
        <p:nvSpPr>
          <p:cNvPr id="27" name="Freeform: Shape 26">
            <a:extLst>
              <a:ext uri="{FF2B5EF4-FFF2-40B4-BE49-F238E27FC236}">
                <a16:creationId xmlns:a16="http://schemas.microsoft.com/office/drawing/2014/main" id="{E07981EA-05A6-437C-88D7-B377B92B031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14444735" y="8186387"/>
            <a:ext cx="3347691" cy="3853217"/>
          </a:xfrm>
          <a:custGeom>
            <a:avLst/>
            <a:gdLst>
              <a:gd name="connsiteX0" fmla="*/ 0 w 2940086"/>
              <a:gd name="connsiteY0" fmla="*/ 0 h 3384061"/>
              <a:gd name="connsiteX1" fmla="*/ 2496112 w 2940086"/>
              <a:gd name="connsiteY1" fmla="*/ 0 h 3384061"/>
              <a:gd name="connsiteX2" fmla="*/ 2940086 w 2940086"/>
              <a:gd name="connsiteY2" fmla="*/ 443975 h 3384061"/>
              <a:gd name="connsiteX3" fmla="*/ 0 w 2940086"/>
              <a:gd name="connsiteY3" fmla="*/ 3384061 h 3384061"/>
            </a:gdLst>
            <a:ahLst/>
            <a:cxnLst>
              <a:cxn ang="0">
                <a:pos x="connsiteX0" y="connsiteY0"/>
              </a:cxn>
              <a:cxn ang="0">
                <a:pos x="connsiteX1" y="connsiteY1"/>
              </a:cxn>
              <a:cxn ang="0">
                <a:pos x="connsiteX2" y="connsiteY2"/>
              </a:cxn>
              <a:cxn ang="0">
                <a:pos x="connsiteX3" y="connsiteY3"/>
              </a:cxn>
            </a:cxnLst>
            <a:rect l="l" t="t" r="r" b="b"/>
            <a:pathLst>
              <a:path w="2940086" h="3384061">
                <a:moveTo>
                  <a:pt x="0" y="0"/>
                </a:moveTo>
                <a:lnTo>
                  <a:pt x="2496112" y="0"/>
                </a:lnTo>
                <a:lnTo>
                  <a:pt x="2940086" y="443975"/>
                </a:lnTo>
                <a:lnTo>
                  <a:pt x="0" y="3384061"/>
                </a:lnTo>
                <a:close/>
              </a:path>
            </a:pathLst>
          </a:cu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9" name="Rectangle 28">
            <a:extLst>
              <a:ext uri="{FF2B5EF4-FFF2-40B4-BE49-F238E27FC236}">
                <a16:creationId xmlns:a16="http://schemas.microsoft.com/office/drawing/2014/main" id="{15E3C750-986E-4769-B1AE-49289FBEE75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14580089" y="7865318"/>
            <a:ext cx="1439978" cy="1439978"/>
          </a:xfrm>
          <a:prstGeom prst="rect">
            <a:avLst/>
          </a:pr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784137635"/>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58" name="Rectangle 57">
            <a:extLst>
              <a:ext uri="{FF2B5EF4-FFF2-40B4-BE49-F238E27FC236}">
                <a16:creationId xmlns:a16="http://schemas.microsoft.com/office/drawing/2014/main" id="{289ED1AA-8684-4D37-B208-8777E1A7780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8283428" cy="10287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0" name="Graphic 33">
            <a:extLst>
              <a:ext uri="{FF2B5EF4-FFF2-40B4-BE49-F238E27FC236}">
                <a16:creationId xmlns:a16="http://schemas.microsoft.com/office/drawing/2014/main" id="{4180E01B-B1F4-437C-807D-1C930718EE6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966176" y="0"/>
            <a:ext cx="14355646" cy="10287000"/>
          </a:xfrm>
          <a:custGeom>
            <a:avLst/>
            <a:gdLst>
              <a:gd name="connsiteX0" fmla="*/ 7178288 w 7187261"/>
              <a:gd name="connsiteY0" fmla="*/ 2604802 h 5150263"/>
              <a:gd name="connsiteX1" fmla="*/ 7169335 w 7187261"/>
              <a:gd name="connsiteY1" fmla="*/ 2328577 h 5150263"/>
              <a:gd name="connsiteX2" fmla="*/ 7060845 w 7187261"/>
              <a:gd name="connsiteY2" fmla="*/ 1661160 h 5150263"/>
              <a:gd name="connsiteX3" fmla="*/ 6212263 w 7187261"/>
              <a:gd name="connsiteY3" fmla="*/ 243840 h 5150263"/>
              <a:gd name="connsiteX4" fmla="*/ 5953564 w 7187261"/>
              <a:gd name="connsiteY4" fmla="*/ 0 h 5150263"/>
              <a:gd name="connsiteX5" fmla="*/ 1408615 w 7187261"/>
              <a:gd name="connsiteY5" fmla="*/ 0 h 5150263"/>
              <a:gd name="connsiteX6" fmla="*/ 805111 w 7187261"/>
              <a:gd name="connsiteY6" fmla="*/ 676275 h 5150263"/>
              <a:gd name="connsiteX7" fmla="*/ 104928 w 7187261"/>
              <a:gd name="connsiteY7" fmla="*/ 2183035 h 5150263"/>
              <a:gd name="connsiteX8" fmla="*/ 51588 w 7187261"/>
              <a:gd name="connsiteY8" fmla="*/ 2400014 h 5150263"/>
              <a:gd name="connsiteX9" fmla="*/ 41301 w 7187261"/>
              <a:gd name="connsiteY9" fmla="*/ 2424208 h 5150263"/>
              <a:gd name="connsiteX10" fmla="*/ 119692 w 7187261"/>
              <a:gd name="connsiteY10" fmla="*/ 1834801 h 5150263"/>
              <a:gd name="connsiteX11" fmla="*/ 870071 w 7187261"/>
              <a:gd name="connsiteY11" fmla="*/ 462248 h 5150263"/>
              <a:gd name="connsiteX12" fmla="*/ 1389279 w 7187261"/>
              <a:gd name="connsiteY12" fmla="*/ 476 h 5150263"/>
              <a:gd name="connsiteX13" fmla="*/ 1320223 w 7187261"/>
              <a:gd name="connsiteY13" fmla="*/ 476 h 5150263"/>
              <a:gd name="connsiteX14" fmla="*/ 423158 w 7187261"/>
              <a:gd name="connsiteY14" fmla="*/ 989743 h 5150263"/>
              <a:gd name="connsiteX15" fmla="*/ 25585 w 7187261"/>
              <a:gd name="connsiteY15" fmla="*/ 2113693 h 5150263"/>
              <a:gd name="connsiteX16" fmla="*/ 2344 w 7187261"/>
              <a:gd name="connsiteY16" fmla="*/ 2725865 h 5150263"/>
              <a:gd name="connsiteX17" fmla="*/ 447256 w 7187261"/>
              <a:gd name="connsiteY17" fmla="*/ 4210717 h 5150263"/>
              <a:gd name="connsiteX18" fmla="*/ 1138962 w 7187261"/>
              <a:gd name="connsiteY18" fmla="*/ 4988910 h 5150263"/>
              <a:gd name="connsiteX19" fmla="*/ 1348512 w 7187261"/>
              <a:gd name="connsiteY19" fmla="*/ 5146834 h 5150263"/>
              <a:gd name="connsiteX20" fmla="*/ 1422712 w 7187261"/>
              <a:gd name="connsiteY20" fmla="*/ 5146834 h 5150263"/>
              <a:gd name="connsiteX21" fmla="*/ 480594 w 7187261"/>
              <a:gd name="connsiteY21" fmla="*/ 4187952 h 5150263"/>
              <a:gd name="connsiteX22" fmla="*/ 398679 w 7187261"/>
              <a:gd name="connsiteY22" fmla="*/ 4046125 h 5150263"/>
              <a:gd name="connsiteX23" fmla="*/ 411823 w 7187261"/>
              <a:gd name="connsiteY23" fmla="*/ 4053078 h 5150263"/>
              <a:gd name="connsiteX24" fmla="*/ 1439380 w 7187261"/>
              <a:gd name="connsiteY24" fmla="*/ 5147405 h 5150263"/>
              <a:gd name="connsiteX25" fmla="*/ 5710010 w 7187261"/>
              <a:gd name="connsiteY25" fmla="*/ 5150263 h 5150263"/>
              <a:gd name="connsiteX26" fmla="*/ 5999665 w 7187261"/>
              <a:gd name="connsiteY26" fmla="*/ 4910900 h 5150263"/>
              <a:gd name="connsiteX27" fmla="*/ 6954165 w 7187261"/>
              <a:gd name="connsiteY27" fmla="*/ 3545777 h 5150263"/>
              <a:gd name="connsiteX28" fmla="*/ 7137712 w 7187261"/>
              <a:gd name="connsiteY28" fmla="*/ 2799207 h 5150263"/>
              <a:gd name="connsiteX29" fmla="*/ 7142951 w 7187261"/>
              <a:gd name="connsiteY29" fmla="*/ 2754535 h 5150263"/>
              <a:gd name="connsiteX30" fmla="*/ 7149428 w 7187261"/>
              <a:gd name="connsiteY30" fmla="*/ 2774823 h 5150263"/>
              <a:gd name="connsiteX31" fmla="*/ 7066465 w 7187261"/>
              <a:gd name="connsiteY31" fmla="*/ 3465672 h 5150263"/>
              <a:gd name="connsiteX32" fmla="*/ 6452578 w 7187261"/>
              <a:gd name="connsiteY32" fmla="*/ 4552760 h 5150263"/>
              <a:gd name="connsiteX33" fmla="*/ 5752110 w 7187261"/>
              <a:gd name="connsiteY33" fmla="*/ 5150263 h 5150263"/>
              <a:gd name="connsiteX34" fmla="*/ 5827643 w 7187261"/>
              <a:gd name="connsiteY34" fmla="*/ 5150263 h 5150263"/>
              <a:gd name="connsiteX35" fmla="*/ 6642793 w 7187261"/>
              <a:gd name="connsiteY35" fmla="*/ 4389406 h 5150263"/>
              <a:gd name="connsiteX36" fmla="*/ 7102469 w 7187261"/>
              <a:gd name="connsiteY36" fmla="*/ 3490817 h 5150263"/>
              <a:gd name="connsiteX37" fmla="*/ 7187242 w 7187261"/>
              <a:gd name="connsiteY37" fmla="*/ 2990183 h 5150263"/>
              <a:gd name="connsiteX38" fmla="*/ 7178288 w 7187261"/>
              <a:gd name="connsiteY38" fmla="*/ 2604802 h 5150263"/>
              <a:gd name="connsiteX39" fmla="*/ 6342565 w 7187261"/>
              <a:gd name="connsiteY39" fmla="*/ 441389 h 5150263"/>
              <a:gd name="connsiteX40" fmla="*/ 7126567 w 7187261"/>
              <a:gd name="connsiteY40" fmla="*/ 2355056 h 5150263"/>
              <a:gd name="connsiteX41" fmla="*/ 6342565 w 7187261"/>
              <a:gd name="connsiteY41" fmla="*/ 441389 h 5150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187261" h="5150263">
                <a:moveTo>
                  <a:pt x="7178288" y="2604802"/>
                </a:moveTo>
                <a:cubicBezTo>
                  <a:pt x="7168763" y="2513076"/>
                  <a:pt x="7174478" y="2420684"/>
                  <a:pt x="7169335" y="2328577"/>
                </a:cubicBezTo>
                <a:cubicBezTo>
                  <a:pt x="7156952" y="2102882"/>
                  <a:pt x="7120586" y="1879149"/>
                  <a:pt x="7060845" y="1661160"/>
                </a:cubicBezTo>
                <a:cubicBezTo>
                  <a:pt x="6910588" y="1121007"/>
                  <a:pt x="6617428" y="631374"/>
                  <a:pt x="6212263" y="243840"/>
                </a:cubicBezTo>
                <a:cubicBezTo>
                  <a:pt x="6126538" y="162496"/>
                  <a:pt x="6040813" y="80201"/>
                  <a:pt x="5953564" y="0"/>
                </a:cubicBezTo>
                <a:lnTo>
                  <a:pt x="1408615" y="0"/>
                </a:lnTo>
                <a:cubicBezTo>
                  <a:pt x="1180967" y="200316"/>
                  <a:pt x="978332" y="427387"/>
                  <a:pt x="805111" y="676275"/>
                </a:cubicBezTo>
                <a:cubicBezTo>
                  <a:pt x="481261" y="1136523"/>
                  <a:pt x="252089" y="1640872"/>
                  <a:pt x="104928" y="2183035"/>
                </a:cubicBezTo>
                <a:cubicBezTo>
                  <a:pt x="85878" y="2254853"/>
                  <a:pt x="69495" y="2327720"/>
                  <a:pt x="51588" y="2400014"/>
                </a:cubicBezTo>
                <a:cubicBezTo>
                  <a:pt x="49683" y="2407634"/>
                  <a:pt x="51588" y="2416969"/>
                  <a:pt x="41301" y="2424208"/>
                </a:cubicBezTo>
                <a:cubicBezTo>
                  <a:pt x="45900" y="2225469"/>
                  <a:pt x="72186" y="2027834"/>
                  <a:pt x="119692" y="1834801"/>
                </a:cubicBezTo>
                <a:cubicBezTo>
                  <a:pt x="247993" y="1310926"/>
                  <a:pt x="506121" y="857726"/>
                  <a:pt x="870071" y="462248"/>
                </a:cubicBezTo>
                <a:cubicBezTo>
                  <a:pt x="1027729" y="291823"/>
                  <a:pt x="1201617" y="137169"/>
                  <a:pt x="1389279" y="476"/>
                </a:cubicBezTo>
                <a:lnTo>
                  <a:pt x="1320223" y="476"/>
                </a:lnTo>
                <a:cubicBezTo>
                  <a:pt x="960844" y="274320"/>
                  <a:pt x="656330" y="599123"/>
                  <a:pt x="423158" y="989743"/>
                </a:cubicBezTo>
                <a:cubicBezTo>
                  <a:pt x="215608" y="1337596"/>
                  <a:pt x="80258" y="1711357"/>
                  <a:pt x="25585" y="2113693"/>
                </a:cubicBezTo>
                <a:cubicBezTo>
                  <a:pt x="-2705" y="2316480"/>
                  <a:pt x="-2228" y="2521077"/>
                  <a:pt x="2344" y="2725865"/>
                </a:cubicBezTo>
                <a:cubicBezTo>
                  <a:pt x="14155" y="3261932"/>
                  <a:pt x="170650" y="3754565"/>
                  <a:pt x="447256" y="4210717"/>
                </a:cubicBezTo>
                <a:cubicBezTo>
                  <a:pt x="629851" y="4511612"/>
                  <a:pt x="866356" y="4767167"/>
                  <a:pt x="1138962" y="4988910"/>
                </a:cubicBezTo>
                <a:cubicBezTo>
                  <a:pt x="1207161" y="5044345"/>
                  <a:pt x="1277008" y="5096990"/>
                  <a:pt x="1348512" y="5146834"/>
                </a:cubicBezTo>
                <a:lnTo>
                  <a:pt x="1422712" y="5146834"/>
                </a:lnTo>
                <a:cubicBezTo>
                  <a:pt x="1043426" y="4892802"/>
                  <a:pt x="724720" y="4577334"/>
                  <a:pt x="480594" y="4187952"/>
                </a:cubicBezTo>
                <a:cubicBezTo>
                  <a:pt x="452019" y="4141851"/>
                  <a:pt x="423444" y="4095179"/>
                  <a:pt x="398679" y="4046125"/>
                </a:cubicBezTo>
                <a:cubicBezTo>
                  <a:pt x="407442" y="4043267"/>
                  <a:pt x="409156" y="4048982"/>
                  <a:pt x="411823" y="4053078"/>
                </a:cubicBezTo>
                <a:cubicBezTo>
                  <a:pt x="683572" y="4484656"/>
                  <a:pt x="1033139" y="4842701"/>
                  <a:pt x="1439380" y="5147405"/>
                </a:cubicBezTo>
                <a:lnTo>
                  <a:pt x="5710010" y="5150263"/>
                </a:lnTo>
                <a:cubicBezTo>
                  <a:pt x="5810594" y="5075482"/>
                  <a:pt x="5907272" y="4995587"/>
                  <a:pt x="5999665" y="4910900"/>
                </a:cubicBezTo>
                <a:cubicBezTo>
                  <a:pt x="6418765" y="4526661"/>
                  <a:pt x="6746901" y="4078129"/>
                  <a:pt x="6954165" y="3545777"/>
                </a:cubicBezTo>
                <a:cubicBezTo>
                  <a:pt x="7048234" y="3306175"/>
                  <a:pt x="7109956" y="3055115"/>
                  <a:pt x="7137712" y="2799207"/>
                </a:cubicBezTo>
                <a:cubicBezTo>
                  <a:pt x="7139236" y="2784920"/>
                  <a:pt x="7141046" y="2770632"/>
                  <a:pt x="7142951" y="2754535"/>
                </a:cubicBezTo>
                <a:cubicBezTo>
                  <a:pt x="7151714" y="2760440"/>
                  <a:pt x="7149237" y="2768441"/>
                  <a:pt x="7149428" y="2774823"/>
                </a:cubicBezTo>
                <a:cubicBezTo>
                  <a:pt x="7156743" y="3007967"/>
                  <a:pt x="7128777" y="3240881"/>
                  <a:pt x="7066465" y="3465672"/>
                </a:cubicBezTo>
                <a:cubicBezTo>
                  <a:pt x="6952165" y="3878580"/>
                  <a:pt x="6737948" y="4235863"/>
                  <a:pt x="6452578" y="4552760"/>
                </a:cubicBezTo>
                <a:cubicBezTo>
                  <a:pt x="6244553" y="4783836"/>
                  <a:pt x="6008809" y="4980242"/>
                  <a:pt x="5752110" y="5150263"/>
                </a:cubicBezTo>
                <a:lnTo>
                  <a:pt x="5827643" y="5150263"/>
                </a:lnTo>
                <a:cubicBezTo>
                  <a:pt x="6136539" y="4938904"/>
                  <a:pt x="6412192" y="4689348"/>
                  <a:pt x="6642793" y="4389406"/>
                </a:cubicBezTo>
                <a:cubicBezTo>
                  <a:pt x="6851295" y="4118324"/>
                  <a:pt x="7009125" y="3820859"/>
                  <a:pt x="7102469" y="3490817"/>
                </a:cubicBezTo>
                <a:cubicBezTo>
                  <a:pt x="7148646" y="3327473"/>
                  <a:pt x="7177069" y="3159624"/>
                  <a:pt x="7187242" y="2990183"/>
                </a:cubicBezTo>
                <a:cubicBezTo>
                  <a:pt x="7187623" y="2984087"/>
                  <a:pt x="7182384" y="2642330"/>
                  <a:pt x="7178288" y="2604802"/>
                </a:cubicBezTo>
                <a:close/>
                <a:moveTo>
                  <a:pt x="6342565" y="441389"/>
                </a:moveTo>
                <a:cubicBezTo>
                  <a:pt x="6829797" y="986533"/>
                  <a:pt x="7091135" y="1624422"/>
                  <a:pt x="7126567" y="2355056"/>
                </a:cubicBezTo>
                <a:cubicBezTo>
                  <a:pt x="7001123" y="1661827"/>
                  <a:pt x="6756426" y="1017365"/>
                  <a:pt x="6342565" y="441389"/>
                </a:cubicBez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Arial"/>
              <a:ea typeface="+mn-ea"/>
              <a:cs typeface="+mn-cs"/>
            </a:endParaRPr>
          </a:p>
        </p:txBody>
      </p:sp>
      <p:sp>
        <p:nvSpPr>
          <p:cNvPr id="4" name="Title 3">
            <a:extLst>
              <a:ext uri="{FF2B5EF4-FFF2-40B4-BE49-F238E27FC236}">
                <a16:creationId xmlns:a16="http://schemas.microsoft.com/office/drawing/2014/main" id="{B009CD84-DA40-4CAA-8A89-DD6DAA862368}"/>
              </a:ext>
            </a:extLst>
          </p:cNvPr>
          <p:cNvSpPr>
            <a:spLocks noGrp="1"/>
          </p:cNvSpPr>
          <p:nvPr>
            <p:ph type="title"/>
          </p:nvPr>
        </p:nvSpPr>
        <p:spPr>
          <a:xfrm>
            <a:off x="2819400" y="1764645"/>
            <a:ext cx="13502422" cy="4348463"/>
          </a:xfrm>
        </p:spPr>
        <p:txBody>
          <a:bodyPr vert="horz" lIns="91440" tIns="45720" rIns="91440" bIns="45720" rtlCol="0" anchor="b">
            <a:normAutofit/>
          </a:bodyPr>
          <a:lstStyle/>
          <a:p>
            <a:pPr indent="457200">
              <a:lnSpc>
                <a:spcPct val="90000"/>
              </a:lnSpc>
              <a:spcAft>
                <a:spcPts val="600"/>
              </a:spcAft>
            </a:pPr>
            <a:r>
              <a:rPr lang="en-GB" sz="8000" b="1" noProof="0" dirty="0">
                <a:solidFill>
                  <a:schemeClr val="bg1"/>
                </a:solidFill>
                <a:ea typeface="+mn-ea"/>
                <a:cs typeface="Arial" panose="020B0604020202020204" pitchFamily="34" charset="0"/>
              </a:rPr>
              <a:t>Chapter 6.1 </a:t>
            </a:r>
            <a:br>
              <a:rPr lang="en-GB" sz="8000" b="1" noProof="0" dirty="0">
                <a:solidFill>
                  <a:schemeClr val="bg1"/>
                </a:solidFill>
                <a:ea typeface="+mn-ea"/>
                <a:cs typeface="Arial" panose="020B0604020202020204" pitchFamily="34" charset="0"/>
              </a:rPr>
            </a:br>
            <a:r>
              <a:rPr lang="en-GB" sz="8000" b="1" noProof="0" dirty="0">
                <a:solidFill>
                  <a:schemeClr val="bg1"/>
                </a:solidFill>
                <a:ea typeface="+mn-ea"/>
                <a:cs typeface="Arial" panose="020B0604020202020204" pitchFamily="34" charset="0"/>
              </a:rPr>
              <a:t>Demo-sites retrofitting actions, goals and results</a:t>
            </a:r>
          </a:p>
        </p:txBody>
      </p:sp>
      <p:sp>
        <p:nvSpPr>
          <p:cNvPr id="62" name="sketch line">
            <a:extLst>
              <a:ext uri="{FF2B5EF4-FFF2-40B4-BE49-F238E27FC236}">
                <a16:creationId xmlns:a16="http://schemas.microsoft.com/office/drawing/2014/main" id="{41F77738-2AF0-4750-A0C7-F97C2C17590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961309" y="6260247"/>
            <a:ext cx="6365383" cy="27432"/>
          </a:xfrm>
          <a:custGeom>
            <a:avLst/>
            <a:gdLst>
              <a:gd name="connsiteX0" fmla="*/ 0 w 6365383"/>
              <a:gd name="connsiteY0" fmla="*/ 0 h 27432"/>
              <a:gd name="connsiteX1" fmla="*/ 636538 w 6365383"/>
              <a:gd name="connsiteY1" fmla="*/ 0 h 27432"/>
              <a:gd name="connsiteX2" fmla="*/ 1273077 w 6365383"/>
              <a:gd name="connsiteY2" fmla="*/ 0 h 27432"/>
              <a:gd name="connsiteX3" fmla="*/ 1909615 w 6365383"/>
              <a:gd name="connsiteY3" fmla="*/ 0 h 27432"/>
              <a:gd name="connsiteX4" fmla="*/ 2673461 w 6365383"/>
              <a:gd name="connsiteY4" fmla="*/ 0 h 27432"/>
              <a:gd name="connsiteX5" fmla="*/ 3373653 w 6365383"/>
              <a:gd name="connsiteY5" fmla="*/ 0 h 27432"/>
              <a:gd name="connsiteX6" fmla="*/ 3819230 w 6365383"/>
              <a:gd name="connsiteY6" fmla="*/ 0 h 27432"/>
              <a:gd name="connsiteX7" fmla="*/ 4392114 w 6365383"/>
              <a:gd name="connsiteY7" fmla="*/ 0 h 27432"/>
              <a:gd name="connsiteX8" fmla="*/ 5155960 w 6365383"/>
              <a:gd name="connsiteY8" fmla="*/ 0 h 27432"/>
              <a:gd name="connsiteX9" fmla="*/ 5792499 w 6365383"/>
              <a:gd name="connsiteY9" fmla="*/ 0 h 27432"/>
              <a:gd name="connsiteX10" fmla="*/ 6365383 w 6365383"/>
              <a:gd name="connsiteY10" fmla="*/ 0 h 27432"/>
              <a:gd name="connsiteX11" fmla="*/ 6365383 w 6365383"/>
              <a:gd name="connsiteY11" fmla="*/ 27432 h 27432"/>
              <a:gd name="connsiteX12" fmla="*/ 5856152 w 6365383"/>
              <a:gd name="connsiteY12" fmla="*/ 27432 h 27432"/>
              <a:gd name="connsiteX13" fmla="*/ 5092306 w 6365383"/>
              <a:gd name="connsiteY13" fmla="*/ 27432 h 27432"/>
              <a:gd name="connsiteX14" fmla="*/ 4583076 w 6365383"/>
              <a:gd name="connsiteY14" fmla="*/ 27432 h 27432"/>
              <a:gd name="connsiteX15" fmla="*/ 4137499 w 6365383"/>
              <a:gd name="connsiteY15" fmla="*/ 27432 h 27432"/>
              <a:gd name="connsiteX16" fmla="*/ 3691922 w 6365383"/>
              <a:gd name="connsiteY16" fmla="*/ 27432 h 27432"/>
              <a:gd name="connsiteX17" fmla="*/ 2991730 w 6365383"/>
              <a:gd name="connsiteY17" fmla="*/ 27432 h 27432"/>
              <a:gd name="connsiteX18" fmla="*/ 2546153 w 6365383"/>
              <a:gd name="connsiteY18" fmla="*/ 27432 h 27432"/>
              <a:gd name="connsiteX19" fmla="*/ 1909615 w 6365383"/>
              <a:gd name="connsiteY19" fmla="*/ 27432 h 27432"/>
              <a:gd name="connsiteX20" fmla="*/ 1400384 w 6365383"/>
              <a:gd name="connsiteY20" fmla="*/ 27432 h 27432"/>
              <a:gd name="connsiteX21" fmla="*/ 763846 w 6365383"/>
              <a:gd name="connsiteY21" fmla="*/ 27432 h 27432"/>
              <a:gd name="connsiteX22" fmla="*/ 0 w 6365383"/>
              <a:gd name="connsiteY22" fmla="*/ 27432 h 27432"/>
              <a:gd name="connsiteX23" fmla="*/ 0 w 6365383"/>
              <a:gd name="connsiteY23" fmla="*/ 0 h 27432"/>
              <a:gd name="connsiteX0" fmla="*/ 0 w 6365383"/>
              <a:gd name="connsiteY0" fmla="*/ 0 h 27432"/>
              <a:gd name="connsiteX1" fmla="*/ 572884 w 6365383"/>
              <a:gd name="connsiteY1" fmla="*/ 0 h 27432"/>
              <a:gd name="connsiteX2" fmla="*/ 1018461 w 6365383"/>
              <a:gd name="connsiteY2" fmla="*/ 0 h 27432"/>
              <a:gd name="connsiteX3" fmla="*/ 1782307 w 6365383"/>
              <a:gd name="connsiteY3" fmla="*/ 0 h 27432"/>
              <a:gd name="connsiteX4" fmla="*/ 2355192 w 6365383"/>
              <a:gd name="connsiteY4" fmla="*/ 0 h 27432"/>
              <a:gd name="connsiteX5" fmla="*/ 2928076 w 6365383"/>
              <a:gd name="connsiteY5" fmla="*/ 0 h 27432"/>
              <a:gd name="connsiteX6" fmla="*/ 3691922 w 6365383"/>
              <a:gd name="connsiteY6" fmla="*/ 0 h 27432"/>
              <a:gd name="connsiteX7" fmla="*/ 4201153 w 6365383"/>
              <a:gd name="connsiteY7" fmla="*/ 0 h 27432"/>
              <a:gd name="connsiteX8" fmla="*/ 4964999 w 6365383"/>
              <a:gd name="connsiteY8" fmla="*/ 0 h 27432"/>
              <a:gd name="connsiteX9" fmla="*/ 5728845 w 6365383"/>
              <a:gd name="connsiteY9" fmla="*/ 0 h 27432"/>
              <a:gd name="connsiteX10" fmla="*/ 6365383 w 6365383"/>
              <a:gd name="connsiteY10" fmla="*/ 0 h 27432"/>
              <a:gd name="connsiteX11" fmla="*/ 6365383 w 6365383"/>
              <a:gd name="connsiteY11" fmla="*/ 27432 h 27432"/>
              <a:gd name="connsiteX12" fmla="*/ 5665191 w 6365383"/>
              <a:gd name="connsiteY12" fmla="*/ 27432 h 27432"/>
              <a:gd name="connsiteX13" fmla="*/ 4901345 w 6365383"/>
              <a:gd name="connsiteY13" fmla="*/ 27432 h 27432"/>
              <a:gd name="connsiteX14" fmla="*/ 4137499 w 6365383"/>
              <a:gd name="connsiteY14" fmla="*/ 27432 h 27432"/>
              <a:gd name="connsiteX15" fmla="*/ 3628268 w 6365383"/>
              <a:gd name="connsiteY15" fmla="*/ 27432 h 27432"/>
              <a:gd name="connsiteX16" fmla="*/ 2991730 w 6365383"/>
              <a:gd name="connsiteY16" fmla="*/ 27432 h 27432"/>
              <a:gd name="connsiteX17" fmla="*/ 2227884 w 6365383"/>
              <a:gd name="connsiteY17" fmla="*/ 27432 h 27432"/>
              <a:gd name="connsiteX18" fmla="*/ 1591346 w 6365383"/>
              <a:gd name="connsiteY18" fmla="*/ 27432 h 27432"/>
              <a:gd name="connsiteX19" fmla="*/ 1145769 w 6365383"/>
              <a:gd name="connsiteY19" fmla="*/ 27432 h 27432"/>
              <a:gd name="connsiteX20" fmla="*/ 636538 w 6365383"/>
              <a:gd name="connsiteY20" fmla="*/ 27432 h 27432"/>
              <a:gd name="connsiteX21" fmla="*/ 0 w 6365383"/>
              <a:gd name="connsiteY21" fmla="*/ 27432 h 27432"/>
              <a:gd name="connsiteX22" fmla="*/ 0 w 6365383"/>
              <a:gd name="connsiteY22"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365383" h="27432" fill="none" extrusionOk="0">
                <a:moveTo>
                  <a:pt x="0" y="0"/>
                </a:moveTo>
                <a:cubicBezTo>
                  <a:pt x="311910" y="25756"/>
                  <a:pt x="328854" y="-22977"/>
                  <a:pt x="636538" y="0"/>
                </a:cubicBezTo>
                <a:cubicBezTo>
                  <a:pt x="929901" y="50670"/>
                  <a:pt x="1067253" y="-1993"/>
                  <a:pt x="1273077" y="0"/>
                </a:cubicBezTo>
                <a:cubicBezTo>
                  <a:pt x="1507620" y="-24857"/>
                  <a:pt x="1747799" y="-10413"/>
                  <a:pt x="1909615" y="0"/>
                </a:cubicBezTo>
                <a:cubicBezTo>
                  <a:pt x="2041097" y="-21585"/>
                  <a:pt x="2422417" y="-28022"/>
                  <a:pt x="2673461" y="0"/>
                </a:cubicBezTo>
                <a:cubicBezTo>
                  <a:pt x="2948394" y="-4560"/>
                  <a:pt x="3134893" y="36981"/>
                  <a:pt x="3373653" y="0"/>
                </a:cubicBezTo>
                <a:cubicBezTo>
                  <a:pt x="3634761" y="-15887"/>
                  <a:pt x="3700843" y="23167"/>
                  <a:pt x="3819230" y="0"/>
                </a:cubicBezTo>
                <a:cubicBezTo>
                  <a:pt x="3977295" y="2943"/>
                  <a:pt x="4128910" y="-53150"/>
                  <a:pt x="4392114" y="0"/>
                </a:cubicBezTo>
                <a:cubicBezTo>
                  <a:pt x="4672763" y="9214"/>
                  <a:pt x="4999833" y="38501"/>
                  <a:pt x="5155960" y="0"/>
                </a:cubicBezTo>
                <a:cubicBezTo>
                  <a:pt x="5343367" y="-6557"/>
                  <a:pt x="5597661" y="6622"/>
                  <a:pt x="5792499" y="0"/>
                </a:cubicBezTo>
                <a:cubicBezTo>
                  <a:pt x="6020774" y="43813"/>
                  <a:pt x="6148830" y="-13954"/>
                  <a:pt x="6365383" y="0"/>
                </a:cubicBezTo>
                <a:cubicBezTo>
                  <a:pt x="6364517" y="8091"/>
                  <a:pt x="6365728" y="20268"/>
                  <a:pt x="6365383" y="27432"/>
                </a:cubicBezTo>
                <a:cubicBezTo>
                  <a:pt x="6144545" y="15144"/>
                  <a:pt x="6006673" y="-7419"/>
                  <a:pt x="5856152" y="27432"/>
                </a:cubicBezTo>
                <a:cubicBezTo>
                  <a:pt x="5638446" y="81548"/>
                  <a:pt x="5413846" y="52067"/>
                  <a:pt x="5092306" y="27432"/>
                </a:cubicBezTo>
                <a:cubicBezTo>
                  <a:pt x="4768499" y="43350"/>
                  <a:pt x="4708569" y="3163"/>
                  <a:pt x="4583076" y="27432"/>
                </a:cubicBezTo>
                <a:cubicBezTo>
                  <a:pt x="4475482" y="66269"/>
                  <a:pt x="4242792" y="42702"/>
                  <a:pt x="4137499" y="27432"/>
                </a:cubicBezTo>
                <a:cubicBezTo>
                  <a:pt x="4003968" y="24039"/>
                  <a:pt x="3882646" y="-3026"/>
                  <a:pt x="3691922" y="27432"/>
                </a:cubicBezTo>
                <a:cubicBezTo>
                  <a:pt x="3501639" y="8096"/>
                  <a:pt x="3270842" y="-14942"/>
                  <a:pt x="2991730" y="27432"/>
                </a:cubicBezTo>
                <a:cubicBezTo>
                  <a:pt x="2712135" y="55419"/>
                  <a:pt x="2758697" y="31955"/>
                  <a:pt x="2546153" y="27432"/>
                </a:cubicBezTo>
                <a:cubicBezTo>
                  <a:pt x="2362220" y="-818"/>
                  <a:pt x="2130397" y="57099"/>
                  <a:pt x="1909615" y="27432"/>
                </a:cubicBezTo>
                <a:cubicBezTo>
                  <a:pt x="1714835" y="-15389"/>
                  <a:pt x="1636770" y="40318"/>
                  <a:pt x="1400384" y="27432"/>
                </a:cubicBezTo>
                <a:cubicBezTo>
                  <a:pt x="1161504" y="29515"/>
                  <a:pt x="1060819" y="7773"/>
                  <a:pt x="763846" y="27432"/>
                </a:cubicBezTo>
                <a:cubicBezTo>
                  <a:pt x="465096" y="43671"/>
                  <a:pt x="165309" y="15831"/>
                  <a:pt x="0" y="27432"/>
                </a:cubicBezTo>
                <a:cubicBezTo>
                  <a:pt x="-2013" y="18874"/>
                  <a:pt x="-525" y="8614"/>
                  <a:pt x="0" y="0"/>
                </a:cubicBezTo>
                <a:close/>
              </a:path>
              <a:path w="6365383" h="27432" stroke="0" extrusionOk="0">
                <a:moveTo>
                  <a:pt x="0" y="0"/>
                </a:moveTo>
                <a:cubicBezTo>
                  <a:pt x="84020" y="9133"/>
                  <a:pt x="339524" y="24523"/>
                  <a:pt x="572884" y="0"/>
                </a:cubicBezTo>
                <a:cubicBezTo>
                  <a:pt x="803790" y="-14011"/>
                  <a:pt x="837492" y="-10007"/>
                  <a:pt x="1018461" y="0"/>
                </a:cubicBezTo>
                <a:cubicBezTo>
                  <a:pt x="1188530" y="8943"/>
                  <a:pt x="1571061" y="17361"/>
                  <a:pt x="1782307" y="0"/>
                </a:cubicBezTo>
                <a:cubicBezTo>
                  <a:pt x="1967448" y="-16010"/>
                  <a:pt x="2153334" y="-25629"/>
                  <a:pt x="2355192" y="0"/>
                </a:cubicBezTo>
                <a:cubicBezTo>
                  <a:pt x="2541804" y="20205"/>
                  <a:pt x="2779440" y="53811"/>
                  <a:pt x="2928076" y="0"/>
                </a:cubicBezTo>
                <a:cubicBezTo>
                  <a:pt x="3024078" y="-16903"/>
                  <a:pt x="3337092" y="43483"/>
                  <a:pt x="3691922" y="0"/>
                </a:cubicBezTo>
                <a:cubicBezTo>
                  <a:pt x="4060895" y="-1064"/>
                  <a:pt x="4072166" y="-17195"/>
                  <a:pt x="4201153" y="0"/>
                </a:cubicBezTo>
                <a:cubicBezTo>
                  <a:pt x="4349835" y="-22516"/>
                  <a:pt x="4800106" y="-64797"/>
                  <a:pt x="4964999" y="0"/>
                </a:cubicBezTo>
                <a:cubicBezTo>
                  <a:pt x="5186764" y="15779"/>
                  <a:pt x="5564421" y="-10544"/>
                  <a:pt x="5728845" y="0"/>
                </a:cubicBezTo>
                <a:cubicBezTo>
                  <a:pt x="5915953" y="5493"/>
                  <a:pt x="6171384" y="-48026"/>
                  <a:pt x="6365383" y="0"/>
                </a:cubicBezTo>
                <a:cubicBezTo>
                  <a:pt x="6366596" y="6455"/>
                  <a:pt x="6365588" y="14391"/>
                  <a:pt x="6365383" y="27432"/>
                </a:cubicBezTo>
                <a:cubicBezTo>
                  <a:pt x="6172514" y="805"/>
                  <a:pt x="6006523" y="20734"/>
                  <a:pt x="5665191" y="27432"/>
                </a:cubicBezTo>
                <a:cubicBezTo>
                  <a:pt x="5322179" y="66687"/>
                  <a:pt x="5219376" y="21111"/>
                  <a:pt x="4901345" y="27432"/>
                </a:cubicBezTo>
                <a:cubicBezTo>
                  <a:pt x="4621310" y="-13654"/>
                  <a:pt x="4455192" y="54857"/>
                  <a:pt x="4137499" y="27432"/>
                </a:cubicBezTo>
                <a:cubicBezTo>
                  <a:pt x="3853317" y="12285"/>
                  <a:pt x="3862894" y="26263"/>
                  <a:pt x="3628268" y="27432"/>
                </a:cubicBezTo>
                <a:cubicBezTo>
                  <a:pt x="3418779" y="32610"/>
                  <a:pt x="3174456" y="83656"/>
                  <a:pt x="2991730" y="27432"/>
                </a:cubicBezTo>
                <a:cubicBezTo>
                  <a:pt x="2801278" y="6667"/>
                  <a:pt x="2497351" y="22891"/>
                  <a:pt x="2227884" y="27432"/>
                </a:cubicBezTo>
                <a:cubicBezTo>
                  <a:pt x="1986101" y="16297"/>
                  <a:pt x="1767219" y="-7535"/>
                  <a:pt x="1591346" y="27432"/>
                </a:cubicBezTo>
                <a:cubicBezTo>
                  <a:pt x="1447183" y="73731"/>
                  <a:pt x="1315973" y="39477"/>
                  <a:pt x="1145769" y="27432"/>
                </a:cubicBezTo>
                <a:cubicBezTo>
                  <a:pt x="990245" y="8882"/>
                  <a:pt x="810845" y="16910"/>
                  <a:pt x="636538" y="27432"/>
                </a:cubicBezTo>
                <a:cubicBezTo>
                  <a:pt x="482916" y="17795"/>
                  <a:pt x="183027" y="-17710"/>
                  <a:pt x="0" y="27432"/>
                </a:cubicBezTo>
                <a:cubicBezTo>
                  <a:pt x="491" y="19542"/>
                  <a:pt x="-1038" y="8534"/>
                  <a:pt x="0" y="0"/>
                </a:cubicBezTo>
                <a:close/>
              </a:path>
              <a:path w="6365383" h="27432" fill="none" stroke="0" extrusionOk="0">
                <a:moveTo>
                  <a:pt x="0" y="0"/>
                </a:moveTo>
                <a:cubicBezTo>
                  <a:pt x="296223" y="15991"/>
                  <a:pt x="333462" y="-23795"/>
                  <a:pt x="636538" y="0"/>
                </a:cubicBezTo>
                <a:cubicBezTo>
                  <a:pt x="970197" y="30961"/>
                  <a:pt x="1039864" y="3183"/>
                  <a:pt x="1273077" y="0"/>
                </a:cubicBezTo>
                <a:cubicBezTo>
                  <a:pt x="1449809" y="24819"/>
                  <a:pt x="1735152" y="23060"/>
                  <a:pt x="1909615" y="0"/>
                </a:cubicBezTo>
                <a:cubicBezTo>
                  <a:pt x="2016351" y="-41665"/>
                  <a:pt x="2415001" y="34773"/>
                  <a:pt x="2673461" y="0"/>
                </a:cubicBezTo>
                <a:cubicBezTo>
                  <a:pt x="2996983" y="-13411"/>
                  <a:pt x="3130707" y="3741"/>
                  <a:pt x="3373653" y="0"/>
                </a:cubicBezTo>
                <a:cubicBezTo>
                  <a:pt x="3601951" y="-16140"/>
                  <a:pt x="3689909" y="23222"/>
                  <a:pt x="3819230" y="0"/>
                </a:cubicBezTo>
                <a:cubicBezTo>
                  <a:pt x="3931872" y="-29406"/>
                  <a:pt x="4119438" y="24094"/>
                  <a:pt x="4392114" y="0"/>
                </a:cubicBezTo>
                <a:cubicBezTo>
                  <a:pt x="4665359" y="21557"/>
                  <a:pt x="4978709" y="13267"/>
                  <a:pt x="5155960" y="0"/>
                </a:cubicBezTo>
                <a:cubicBezTo>
                  <a:pt x="5299518" y="-18386"/>
                  <a:pt x="5605020" y="-6762"/>
                  <a:pt x="5792499" y="0"/>
                </a:cubicBezTo>
                <a:cubicBezTo>
                  <a:pt x="6013281" y="43398"/>
                  <a:pt x="6167567" y="36727"/>
                  <a:pt x="6365383" y="0"/>
                </a:cubicBezTo>
                <a:cubicBezTo>
                  <a:pt x="6365697" y="8368"/>
                  <a:pt x="6365332" y="21050"/>
                  <a:pt x="6365383" y="27432"/>
                </a:cubicBezTo>
                <a:cubicBezTo>
                  <a:pt x="6154893" y="8454"/>
                  <a:pt x="6014206" y="-8372"/>
                  <a:pt x="5856152" y="27432"/>
                </a:cubicBezTo>
                <a:cubicBezTo>
                  <a:pt x="5659455" y="59503"/>
                  <a:pt x="5350806" y="-35991"/>
                  <a:pt x="5092306" y="27432"/>
                </a:cubicBezTo>
                <a:cubicBezTo>
                  <a:pt x="4756309" y="48260"/>
                  <a:pt x="4699746" y="-4780"/>
                  <a:pt x="4583076" y="27432"/>
                </a:cubicBezTo>
                <a:cubicBezTo>
                  <a:pt x="4462137" y="30142"/>
                  <a:pt x="4226168" y="50236"/>
                  <a:pt x="4137499" y="27432"/>
                </a:cubicBezTo>
                <a:cubicBezTo>
                  <a:pt x="4018570" y="42181"/>
                  <a:pt x="3887179" y="34623"/>
                  <a:pt x="3691922" y="27432"/>
                </a:cubicBezTo>
                <a:cubicBezTo>
                  <a:pt x="3499755" y="32935"/>
                  <a:pt x="3281056" y="-9158"/>
                  <a:pt x="2991730" y="27432"/>
                </a:cubicBezTo>
                <a:cubicBezTo>
                  <a:pt x="2716073" y="57462"/>
                  <a:pt x="2755481" y="34494"/>
                  <a:pt x="2546153" y="27432"/>
                </a:cubicBezTo>
                <a:cubicBezTo>
                  <a:pt x="2356479" y="62622"/>
                  <a:pt x="2079190" y="73729"/>
                  <a:pt x="1909615" y="27432"/>
                </a:cubicBezTo>
                <a:cubicBezTo>
                  <a:pt x="1715819" y="-26444"/>
                  <a:pt x="1631368" y="48131"/>
                  <a:pt x="1400384" y="27432"/>
                </a:cubicBezTo>
                <a:cubicBezTo>
                  <a:pt x="1177327" y="16190"/>
                  <a:pt x="1065236" y="24992"/>
                  <a:pt x="763846" y="27432"/>
                </a:cubicBezTo>
                <a:cubicBezTo>
                  <a:pt x="448643" y="60691"/>
                  <a:pt x="160833" y="2330"/>
                  <a:pt x="0" y="27432"/>
                </a:cubicBezTo>
                <a:cubicBezTo>
                  <a:pt x="1559" y="18666"/>
                  <a:pt x="-585" y="7580"/>
                  <a:pt x="0" y="0"/>
                </a:cubicBezTo>
                <a:close/>
              </a:path>
            </a:pathLst>
          </a:custGeom>
          <a:solidFill>
            <a:srgbClr val="FFFFFF"/>
          </a:solidFill>
          <a:ln w="41275" cap="rnd">
            <a:solidFill>
              <a:srgbClr val="FFFFFF"/>
            </a:solidFill>
            <a:round/>
            <a:extLst>
              <a:ext uri="{C807C97D-BFC1-408E-A445-0C87EB9F89A2}">
                <ask:lineSketchStyleProps xmlns:ask="http://schemas.microsoft.com/office/drawing/2018/sketchyshapes" sd="1219033472">
                  <a:custGeom>
                    <a:avLst/>
                    <a:gdLst>
                      <a:gd name="connsiteX0" fmla="*/ 0 w 6365383"/>
                      <a:gd name="connsiteY0" fmla="*/ 0 h 27432"/>
                      <a:gd name="connsiteX1" fmla="*/ 636538 w 6365383"/>
                      <a:gd name="connsiteY1" fmla="*/ 0 h 27432"/>
                      <a:gd name="connsiteX2" fmla="*/ 1273077 w 6365383"/>
                      <a:gd name="connsiteY2" fmla="*/ 0 h 27432"/>
                      <a:gd name="connsiteX3" fmla="*/ 1909615 w 6365383"/>
                      <a:gd name="connsiteY3" fmla="*/ 0 h 27432"/>
                      <a:gd name="connsiteX4" fmla="*/ 2673461 w 6365383"/>
                      <a:gd name="connsiteY4" fmla="*/ 0 h 27432"/>
                      <a:gd name="connsiteX5" fmla="*/ 3373653 w 6365383"/>
                      <a:gd name="connsiteY5" fmla="*/ 0 h 27432"/>
                      <a:gd name="connsiteX6" fmla="*/ 3819230 w 6365383"/>
                      <a:gd name="connsiteY6" fmla="*/ 0 h 27432"/>
                      <a:gd name="connsiteX7" fmla="*/ 4392114 w 6365383"/>
                      <a:gd name="connsiteY7" fmla="*/ 0 h 27432"/>
                      <a:gd name="connsiteX8" fmla="*/ 5155960 w 6365383"/>
                      <a:gd name="connsiteY8" fmla="*/ 0 h 27432"/>
                      <a:gd name="connsiteX9" fmla="*/ 5792499 w 6365383"/>
                      <a:gd name="connsiteY9" fmla="*/ 0 h 27432"/>
                      <a:gd name="connsiteX10" fmla="*/ 6365383 w 6365383"/>
                      <a:gd name="connsiteY10" fmla="*/ 0 h 27432"/>
                      <a:gd name="connsiteX11" fmla="*/ 6365383 w 6365383"/>
                      <a:gd name="connsiteY11" fmla="*/ 27432 h 27432"/>
                      <a:gd name="connsiteX12" fmla="*/ 5856152 w 6365383"/>
                      <a:gd name="connsiteY12" fmla="*/ 27432 h 27432"/>
                      <a:gd name="connsiteX13" fmla="*/ 5092306 w 6365383"/>
                      <a:gd name="connsiteY13" fmla="*/ 27432 h 27432"/>
                      <a:gd name="connsiteX14" fmla="*/ 4583076 w 6365383"/>
                      <a:gd name="connsiteY14" fmla="*/ 27432 h 27432"/>
                      <a:gd name="connsiteX15" fmla="*/ 4137499 w 6365383"/>
                      <a:gd name="connsiteY15" fmla="*/ 27432 h 27432"/>
                      <a:gd name="connsiteX16" fmla="*/ 3691922 w 6365383"/>
                      <a:gd name="connsiteY16" fmla="*/ 27432 h 27432"/>
                      <a:gd name="connsiteX17" fmla="*/ 2991730 w 6365383"/>
                      <a:gd name="connsiteY17" fmla="*/ 27432 h 27432"/>
                      <a:gd name="connsiteX18" fmla="*/ 2546153 w 6365383"/>
                      <a:gd name="connsiteY18" fmla="*/ 27432 h 27432"/>
                      <a:gd name="connsiteX19" fmla="*/ 1909615 w 6365383"/>
                      <a:gd name="connsiteY19" fmla="*/ 27432 h 27432"/>
                      <a:gd name="connsiteX20" fmla="*/ 1400384 w 6365383"/>
                      <a:gd name="connsiteY20" fmla="*/ 27432 h 27432"/>
                      <a:gd name="connsiteX21" fmla="*/ 763846 w 6365383"/>
                      <a:gd name="connsiteY21" fmla="*/ 27432 h 27432"/>
                      <a:gd name="connsiteX22" fmla="*/ 0 w 6365383"/>
                      <a:gd name="connsiteY22" fmla="*/ 27432 h 27432"/>
                      <a:gd name="connsiteX23" fmla="*/ 0 w 6365383"/>
                      <a:gd name="connsiteY23"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365383" h="27432" fill="none" extrusionOk="0">
                        <a:moveTo>
                          <a:pt x="0" y="0"/>
                        </a:moveTo>
                        <a:cubicBezTo>
                          <a:pt x="305169" y="21509"/>
                          <a:pt x="334704" y="-24261"/>
                          <a:pt x="636538" y="0"/>
                        </a:cubicBezTo>
                        <a:cubicBezTo>
                          <a:pt x="938372" y="24261"/>
                          <a:pt x="1068606" y="2269"/>
                          <a:pt x="1273077" y="0"/>
                        </a:cubicBezTo>
                        <a:cubicBezTo>
                          <a:pt x="1477548" y="-2269"/>
                          <a:pt x="1738189" y="6272"/>
                          <a:pt x="1909615" y="0"/>
                        </a:cubicBezTo>
                        <a:cubicBezTo>
                          <a:pt x="2081041" y="-6272"/>
                          <a:pt x="2377015" y="16623"/>
                          <a:pt x="2673461" y="0"/>
                        </a:cubicBezTo>
                        <a:cubicBezTo>
                          <a:pt x="2969907" y="-16623"/>
                          <a:pt x="3126114" y="13194"/>
                          <a:pt x="3373653" y="0"/>
                        </a:cubicBezTo>
                        <a:cubicBezTo>
                          <a:pt x="3621192" y="-13194"/>
                          <a:pt x="3704499" y="9486"/>
                          <a:pt x="3819230" y="0"/>
                        </a:cubicBezTo>
                        <a:cubicBezTo>
                          <a:pt x="3933961" y="-9486"/>
                          <a:pt x="4142691" y="-8221"/>
                          <a:pt x="4392114" y="0"/>
                        </a:cubicBezTo>
                        <a:cubicBezTo>
                          <a:pt x="4641537" y="8221"/>
                          <a:pt x="4974506" y="12257"/>
                          <a:pt x="5155960" y="0"/>
                        </a:cubicBezTo>
                        <a:cubicBezTo>
                          <a:pt x="5337414" y="-12257"/>
                          <a:pt x="5585731" y="-22537"/>
                          <a:pt x="5792499" y="0"/>
                        </a:cubicBezTo>
                        <a:cubicBezTo>
                          <a:pt x="5999267" y="22537"/>
                          <a:pt x="6164726" y="7303"/>
                          <a:pt x="6365383" y="0"/>
                        </a:cubicBezTo>
                        <a:cubicBezTo>
                          <a:pt x="6365125" y="7487"/>
                          <a:pt x="6364462" y="19984"/>
                          <a:pt x="6365383" y="27432"/>
                        </a:cubicBezTo>
                        <a:cubicBezTo>
                          <a:pt x="6132222" y="28304"/>
                          <a:pt x="6011986" y="2071"/>
                          <a:pt x="5856152" y="27432"/>
                        </a:cubicBezTo>
                        <a:cubicBezTo>
                          <a:pt x="5700318" y="52793"/>
                          <a:pt x="5410732" y="5357"/>
                          <a:pt x="5092306" y="27432"/>
                        </a:cubicBezTo>
                        <a:cubicBezTo>
                          <a:pt x="4773880" y="49507"/>
                          <a:pt x="4705351" y="6645"/>
                          <a:pt x="4583076" y="27432"/>
                        </a:cubicBezTo>
                        <a:cubicBezTo>
                          <a:pt x="4460801" y="48220"/>
                          <a:pt x="4239915" y="42209"/>
                          <a:pt x="4137499" y="27432"/>
                        </a:cubicBezTo>
                        <a:cubicBezTo>
                          <a:pt x="4035083" y="12655"/>
                          <a:pt x="3883665" y="32012"/>
                          <a:pt x="3691922" y="27432"/>
                        </a:cubicBezTo>
                        <a:cubicBezTo>
                          <a:pt x="3500179" y="22852"/>
                          <a:pt x="3265830" y="-126"/>
                          <a:pt x="2991730" y="27432"/>
                        </a:cubicBezTo>
                        <a:cubicBezTo>
                          <a:pt x="2717630" y="54990"/>
                          <a:pt x="2757122" y="34407"/>
                          <a:pt x="2546153" y="27432"/>
                        </a:cubicBezTo>
                        <a:cubicBezTo>
                          <a:pt x="2335184" y="20457"/>
                          <a:pt x="2107331" y="58889"/>
                          <a:pt x="1909615" y="27432"/>
                        </a:cubicBezTo>
                        <a:cubicBezTo>
                          <a:pt x="1711899" y="-4025"/>
                          <a:pt x="1634641" y="48316"/>
                          <a:pt x="1400384" y="27432"/>
                        </a:cubicBezTo>
                        <a:cubicBezTo>
                          <a:pt x="1166127" y="6548"/>
                          <a:pt x="1068288" y="15776"/>
                          <a:pt x="763846" y="27432"/>
                        </a:cubicBezTo>
                        <a:cubicBezTo>
                          <a:pt x="459404" y="39088"/>
                          <a:pt x="170017" y="14515"/>
                          <a:pt x="0" y="27432"/>
                        </a:cubicBezTo>
                        <a:cubicBezTo>
                          <a:pt x="-14" y="18173"/>
                          <a:pt x="-517" y="8990"/>
                          <a:pt x="0" y="0"/>
                        </a:cubicBezTo>
                        <a:close/>
                      </a:path>
                      <a:path w="6365383" h="27432" stroke="0" extrusionOk="0">
                        <a:moveTo>
                          <a:pt x="0" y="0"/>
                        </a:moveTo>
                        <a:cubicBezTo>
                          <a:pt x="114610" y="-2215"/>
                          <a:pt x="340315" y="12554"/>
                          <a:pt x="572884" y="0"/>
                        </a:cubicBezTo>
                        <a:cubicBezTo>
                          <a:pt x="805453" y="-12554"/>
                          <a:pt x="832891" y="-10424"/>
                          <a:pt x="1018461" y="0"/>
                        </a:cubicBezTo>
                        <a:cubicBezTo>
                          <a:pt x="1204031" y="10424"/>
                          <a:pt x="1590875" y="8682"/>
                          <a:pt x="1782307" y="0"/>
                        </a:cubicBezTo>
                        <a:cubicBezTo>
                          <a:pt x="1973739" y="-8682"/>
                          <a:pt x="2150876" y="5508"/>
                          <a:pt x="2355192" y="0"/>
                        </a:cubicBezTo>
                        <a:cubicBezTo>
                          <a:pt x="2559508" y="-5508"/>
                          <a:pt x="2790194" y="26965"/>
                          <a:pt x="2928076" y="0"/>
                        </a:cubicBezTo>
                        <a:cubicBezTo>
                          <a:pt x="3065958" y="-26965"/>
                          <a:pt x="3321537" y="819"/>
                          <a:pt x="3691922" y="0"/>
                        </a:cubicBezTo>
                        <a:cubicBezTo>
                          <a:pt x="4062307" y="-819"/>
                          <a:pt x="4072238" y="-15327"/>
                          <a:pt x="4201153" y="0"/>
                        </a:cubicBezTo>
                        <a:cubicBezTo>
                          <a:pt x="4330068" y="15327"/>
                          <a:pt x="4772079" y="-35646"/>
                          <a:pt x="4964999" y="0"/>
                        </a:cubicBezTo>
                        <a:cubicBezTo>
                          <a:pt x="5157919" y="35646"/>
                          <a:pt x="5543915" y="6802"/>
                          <a:pt x="5728845" y="0"/>
                        </a:cubicBezTo>
                        <a:cubicBezTo>
                          <a:pt x="5913775" y="-6802"/>
                          <a:pt x="6142952" y="-21408"/>
                          <a:pt x="6365383" y="0"/>
                        </a:cubicBezTo>
                        <a:cubicBezTo>
                          <a:pt x="6364552" y="6329"/>
                          <a:pt x="6365787" y="16858"/>
                          <a:pt x="6365383" y="27432"/>
                        </a:cubicBezTo>
                        <a:cubicBezTo>
                          <a:pt x="6176931" y="320"/>
                          <a:pt x="5998736" y="11244"/>
                          <a:pt x="5665191" y="27432"/>
                        </a:cubicBezTo>
                        <a:cubicBezTo>
                          <a:pt x="5331646" y="43620"/>
                          <a:pt x="5198011" y="28615"/>
                          <a:pt x="4901345" y="27432"/>
                        </a:cubicBezTo>
                        <a:cubicBezTo>
                          <a:pt x="4604679" y="26249"/>
                          <a:pt x="4422931" y="40617"/>
                          <a:pt x="4137499" y="27432"/>
                        </a:cubicBezTo>
                        <a:cubicBezTo>
                          <a:pt x="3852067" y="14247"/>
                          <a:pt x="3861939" y="26581"/>
                          <a:pt x="3628268" y="27432"/>
                        </a:cubicBezTo>
                        <a:cubicBezTo>
                          <a:pt x="3394597" y="28283"/>
                          <a:pt x="3171361" y="44132"/>
                          <a:pt x="2991730" y="27432"/>
                        </a:cubicBezTo>
                        <a:cubicBezTo>
                          <a:pt x="2812099" y="10732"/>
                          <a:pt x="2469344" y="24737"/>
                          <a:pt x="2227884" y="27432"/>
                        </a:cubicBezTo>
                        <a:cubicBezTo>
                          <a:pt x="1986424" y="30127"/>
                          <a:pt x="1748067" y="6359"/>
                          <a:pt x="1591346" y="27432"/>
                        </a:cubicBezTo>
                        <a:cubicBezTo>
                          <a:pt x="1434625" y="48505"/>
                          <a:pt x="1307456" y="39663"/>
                          <a:pt x="1145769" y="27432"/>
                        </a:cubicBezTo>
                        <a:cubicBezTo>
                          <a:pt x="984082" y="15201"/>
                          <a:pt x="800279" y="41647"/>
                          <a:pt x="636538" y="27432"/>
                        </a:cubicBezTo>
                        <a:cubicBezTo>
                          <a:pt x="472797" y="13217"/>
                          <a:pt x="160022" y="2213"/>
                          <a:pt x="0" y="27432"/>
                        </a:cubicBezTo>
                        <a:cubicBezTo>
                          <a:pt x="-177" y="19307"/>
                          <a:pt x="-1145" y="9170"/>
                          <a:pt x="0" y="0"/>
                        </a:cubicBezTo>
                        <a:close/>
                      </a:path>
                    </a:pathLst>
                  </a:cu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465645399"/>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upp 4">
            <a:extLst>
              <a:ext uri="{FF2B5EF4-FFF2-40B4-BE49-F238E27FC236}">
                <a16:creationId xmlns:a16="http://schemas.microsoft.com/office/drawing/2014/main" id="{D52DD03A-C656-14B3-8D77-ADB08F9AC37F}"/>
              </a:ext>
            </a:extLst>
          </p:cNvPr>
          <p:cNvGrpSpPr/>
          <p:nvPr/>
        </p:nvGrpSpPr>
        <p:grpSpPr>
          <a:xfrm>
            <a:off x="2704282" y="2821773"/>
            <a:ext cx="12879411" cy="6601322"/>
            <a:chOff x="6134034" y="3999172"/>
            <a:chExt cx="11299025" cy="5626122"/>
          </a:xfrm>
        </p:grpSpPr>
        <p:grpSp>
          <p:nvGrpSpPr>
            <p:cNvPr id="4" name="Group 3">
              <a:extLst>
                <a:ext uri="{FF2B5EF4-FFF2-40B4-BE49-F238E27FC236}">
                  <a16:creationId xmlns:a16="http://schemas.microsoft.com/office/drawing/2014/main" id="{A5EE261D-EF9D-4194-AA66-6DFF1D15DF71}"/>
                </a:ext>
              </a:extLst>
            </p:cNvPr>
            <p:cNvGrpSpPr/>
            <p:nvPr/>
          </p:nvGrpSpPr>
          <p:grpSpPr>
            <a:xfrm>
              <a:off x="6134034" y="3999172"/>
              <a:ext cx="11299025" cy="5626122"/>
              <a:chOff x="669471" y="2139840"/>
              <a:chExt cx="15090544" cy="7005859"/>
            </a:xfrm>
          </p:grpSpPr>
          <p:pic>
            <p:nvPicPr>
              <p:cNvPr id="23" name="Picture 20">
                <a:extLst>
                  <a:ext uri="{FF2B5EF4-FFF2-40B4-BE49-F238E27FC236}">
                    <a16:creationId xmlns:a16="http://schemas.microsoft.com/office/drawing/2014/main" id="{99DF4058-CDED-4867-B2B8-C15C951FFFB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47101"/>
              <a:stretch/>
            </p:blipFill>
            <p:spPr bwMode="auto">
              <a:xfrm>
                <a:off x="2181496" y="2139840"/>
                <a:ext cx="12956904" cy="7005859"/>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8" descr="RETROFEED FERTIBERIA">
                <a:hlinkClick r:id="rId4" action="ppaction://hlinksldjump"/>
                <a:extLst>
                  <a:ext uri="{FF2B5EF4-FFF2-40B4-BE49-F238E27FC236}">
                    <a16:creationId xmlns:a16="http://schemas.microsoft.com/office/drawing/2014/main" id="{1002CEBE-D433-4FFA-9AE3-984242D3224C}"/>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665679" y="7946283"/>
                <a:ext cx="1823468" cy="671036"/>
              </a:xfrm>
              <a:prstGeom prst="rect">
                <a:avLst/>
              </a:prstGeom>
              <a:noFill/>
              <a:extLst>
                <a:ext uri="{909E8E84-426E-40DD-AFC4-6F175D3DCCD1}">
                  <a14:hiddenFill xmlns:a14="http://schemas.microsoft.com/office/drawing/2010/main">
                    <a:solidFill>
                      <a:srgbClr val="FFFFFF"/>
                    </a:solidFill>
                  </a14:hiddenFill>
                </a:ext>
              </a:extLst>
            </p:spPr>
          </p:pic>
          <p:sp>
            <p:nvSpPr>
              <p:cNvPr id="25" name="TextBox 24">
                <a:extLst>
                  <a:ext uri="{FF2B5EF4-FFF2-40B4-BE49-F238E27FC236}">
                    <a16:creationId xmlns:a16="http://schemas.microsoft.com/office/drawing/2014/main" id="{7F561E58-2A64-49D8-9A05-CB002FDA8078}"/>
                  </a:ext>
                </a:extLst>
              </p:cNvPr>
              <p:cNvSpPr txBox="1"/>
              <p:nvPr/>
            </p:nvSpPr>
            <p:spPr>
              <a:xfrm>
                <a:off x="1559879" y="8618148"/>
                <a:ext cx="3129587" cy="40241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500" b="1" i="0" u="none" strike="noStrike" kern="1200" cap="none" spc="0" normalizeH="0" baseline="0" noProof="0" err="1">
                    <a:ln>
                      <a:noFill/>
                    </a:ln>
                    <a:solidFill>
                      <a:srgbClr val="CC0033"/>
                    </a:solidFill>
                    <a:effectLst/>
                    <a:uLnTx/>
                    <a:uFillTx/>
                    <a:latin typeface="Arial"/>
                    <a:ea typeface="+mn-ea"/>
                    <a:cs typeface="Arial" panose="020B0604020202020204" pitchFamily="34" charset="0"/>
                  </a:rPr>
                  <a:t>Agrochemical</a:t>
                </a:r>
                <a:r>
                  <a:rPr kumimoji="0" lang="sv-SE" sz="1500" b="0" i="0" u="none" strike="noStrike" kern="1200" cap="none" spc="0" normalizeH="0" baseline="0" noProof="0">
                    <a:ln>
                      <a:noFill/>
                    </a:ln>
                    <a:solidFill>
                      <a:srgbClr val="2F2F2F"/>
                    </a:solidFill>
                    <a:effectLst/>
                    <a:uLnTx/>
                    <a:uFillTx/>
                    <a:latin typeface="Arial"/>
                    <a:ea typeface="+mn-ea"/>
                    <a:cs typeface="+mn-cs"/>
                  </a:rPr>
                  <a:t> </a:t>
                </a:r>
                <a:r>
                  <a:rPr kumimoji="0" lang="sv-SE" sz="1500" b="1" i="0" u="none" strike="noStrike" kern="1200" cap="none" spc="0" normalizeH="0" baseline="0" noProof="0" err="1">
                    <a:ln>
                      <a:noFill/>
                    </a:ln>
                    <a:solidFill>
                      <a:srgbClr val="CC0033"/>
                    </a:solidFill>
                    <a:effectLst/>
                    <a:uLnTx/>
                    <a:uFillTx/>
                    <a:latin typeface="Arial"/>
                    <a:ea typeface="+mn-ea"/>
                    <a:cs typeface="Arial" panose="020B0604020202020204" pitchFamily="34" charset="0"/>
                  </a:rPr>
                  <a:t>sector</a:t>
                </a:r>
                <a:endParaRPr kumimoji="0" lang="sv-SE" sz="1500" b="1" i="0" u="none" strike="noStrike" kern="1200" cap="none" spc="0" normalizeH="0" baseline="0" noProof="0">
                  <a:ln>
                    <a:noFill/>
                  </a:ln>
                  <a:solidFill>
                    <a:srgbClr val="CC0033"/>
                  </a:solidFill>
                  <a:effectLst/>
                  <a:uLnTx/>
                  <a:uFillTx/>
                  <a:latin typeface="Arial"/>
                  <a:ea typeface="+mn-ea"/>
                  <a:cs typeface="Arial" panose="020B0604020202020204" pitchFamily="34" charset="0"/>
                </a:endParaRPr>
              </a:p>
            </p:txBody>
          </p:sp>
          <p:pic>
            <p:nvPicPr>
              <p:cNvPr id="26" name="Picture 10" descr="RETROFEED ASAS">
                <a:hlinkClick r:id="rId6" action="ppaction://hlinksldjump"/>
                <a:extLst>
                  <a:ext uri="{FF2B5EF4-FFF2-40B4-BE49-F238E27FC236}">
                    <a16:creationId xmlns:a16="http://schemas.microsoft.com/office/drawing/2014/main" id="{12ABBCAC-8BEE-4C94-9297-E02C78835024}"/>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2727716" y="6536299"/>
                <a:ext cx="1672313" cy="433756"/>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12" descr="RETROFEED SECIL">
                <a:hlinkClick r:id="rId8" action="ppaction://hlinksldjump"/>
                <a:extLst>
                  <a:ext uri="{FF2B5EF4-FFF2-40B4-BE49-F238E27FC236}">
                    <a16:creationId xmlns:a16="http://schemas.microsoft.com/office/drawing/2014/main" id="{91F755C4-012B-4A31-9DA4-976985A15B36}"/>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559880" y="5685605"/>
                <a:ext cx="1230687" cy="1181462"/>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16" descr="RETROFEED PITTINI">
                <a:hlinkClick r:id="rId10" action="ppaction://hlinksldjump"/>
                <a:extLst>
                  <a:ext uri="{FF2B5EF4-FFF2-40B4-BE49-F238E27FC236}">
                    <a16:creationId xmlns:a16="http://schemas.microsoft.com/office/drawing/2014/main" id="{E381EDA1-9AD8-4DA9-8693-31C9F6D7DD53}"/>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226629" y="5318034"/>
                <a:ext cx="2195285" cy="390484"/>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18">
                <a:hlinkClick r:id="rId12" action="ppaction://hlinksldjump"/>
                <a:extLst>
                  <a:ext uri="{FF2B5EF4-FFF2-40B4-BE49-F238E27FC236}">
                    <a16:creationId xmlns:a16="http://schemas.microsoft.com/office/drawing/2014/main" id="{630079F5-D793-4F4D-8513-85478AC69298}"/>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1892448" y="4572108"/>
                <a:ext cx="3342848" cy="457029"/>
              </a:xfrm>
              <a:prstGeom prst="rect">
                <a:avLst/>
              </a:prstGeom>
              <a:noFill/>
              <a:extLst>
                <a:ext uri="{909E8E84-426E-40DD-AFC4-6F175D3DCCD1}">
                  <a14:hiddenFill xmlns:a14="http://schemas.microsoft.com/office/drawing/2010/main">
                    <a:solidFill>
                      <a:srgbClr val="FFFFFF"/>
                    </a:solidFill>
                  </a14:hiddenFill>
                </a:ext>
              </a:extLst>
            </p:spPr>
          </p:pic>
          <p:sp>
            <p:nvSpPr>
              <p:cNvPr id="31" name="TextBox 30">
                <a:extLst>
                  <a:ext uri="{FF2B5EF4-FFF2-40B4-BE49-F238E27FC236}">
                    <a16:creationId xmlns:a16="http://schemas.microsoft.com/office/drawing/2014/main" id="{CAB8FA64-B6B6-4947-8940-438BC43FC41D}"/>
                  </a:ext>
                </a:extLst>
              </p:cNvPr>
              <p:cNvSpPr txBox="1"/>
              <p:nvPr/>
            </p:nvSpPr>
            <p:spPr>
              <a:xfrm>
                <a:off x="669471" y="6826867"/>
                <a:ext cx="2188029" cy="3231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500" b="1" i="0" u="none" strike="noStrike" kern="1200" cap="none" spc="0" normalizeH="0" baseline="0" noProof="0">
                    <a:ln>
                      <a:noFill/>
                    </a:ln>
                    <a:solidFill>
                      <a:srgbClr val="CC0033"/>
                    </a:solidFill>
                    <a:effectLst/>
                    <a:uLnTx/>
                    <a:uFillTx/>
                    <a:latin typeface="Arial"/>
                    <a:ea typeface="+mn-ea"/>
                    <a:cs typeface="Arial" panose="020B0604020202020204" pitchFamily="34" charset="0"/>
                  </a:rPr>
                  <a:t>Cement</a:t>
                </a:r>
                <a:r>
                  <a:rPr kumimoji="0" lang="sv-SE" sz="1500" b="0" i="0" u="none" strike="noStrike" kern="1200" cap="none" spc="0" normalizeH="0" baseline="0" noProof="0">
                    <a:ln>
                      <a:noFill/>
                    </a:ln>
                    <a:solidFill>
                      <a:srgbClr val="2F2F2F"/>
                    </a:solidFill>
                    <a:effectLst/>
                    <a:uLnTx/>
                    <a:uFillTx/>
                    <a:latin typeface="Arial"/>
                    <a:ea typeface="+mn-ea"/>
                    <a:cs typeface="+mn-cs"/>
                  </a:rPr>
                  <a:t> </a:t>
                </a:r>
                <a:r>
                  <a:rPr kumimoji="0" lang="sv-SE" sz="1500" b="1" i="0" u="none" strike="noStrike" kern="1200" cap="none" spc="0" normalizeH="0" baseline="0" noProof="0" err="1">
                    <a:ln>
                      <a:noFill/>
                    </a:ln>
                    <a:solidFill>
                      <a:srgbClr val="CC0033"/>
                    </a:solidFill>
                    <a:effectLst/>
                    <a:uLnTx/>
                    <a:uFillTx/>
                    <a:latin typeface="Arial"/>
                    <a:ea typeface="+mn-ea"/>
                    <a:cs typeface="Arial" panose="020B0604020202020204" pitchFamily="34" charset="0"/>
                  </a:rPr>
                  <a:t>sector</a:t>
                </a:r>
                <a:endParaRPr kumimoji="0" lang="sv-SE" sz="1500" b="1" i="0" u="none" strike="noStrike" kern="1200" cap="none" spc="0" normalizeH="0" baseline="0" noProof="0">
                  <a:ln>
                    <a:noFill/>
                  </a:ln>
                  <a:solidFill>
                    <a:srgbClr val="CC0033"/>
                  </a:solidFill>
                  <a:effectLst/>
                  <a:uLnTx/>
                  <a:uFillTx/>
                  <a:latin typeface="Arial"/>
                  <a:ea typeface="+mn-ea"/>
                  <a:cs typeface="Arial" panose="020B0604020202020204" pitchFamily="34" charset="0"/>
                </a:endParaRPr>
              </a:p>
            </p:txBody>
          </p:sp>
          <p:sp>
            <p:nvSpPr>
              <p:cNvPr id="32" name="TextBox 31">
                <a:extLst>
                  <a:ext uri="{FF2B5EF4-FFF2-40B4-BE49-F238E27FC236}">
                    <a16:creationId xmlns:a16="http://schemas.microsoft.com/office/drawing/2014/main" id="{20352F41-7233-44F9-9D52-C71B4F491FA7}"/>
                  </a:ext>
                </a:extLst>
              </p:cNvPr>
              <p:cNvSpPr txBox="1"/>
              <p:nvPr/>
            </p:nvSpPr>
            <p:spPr>
              <a:xfrm>
                <a:off x="6955960" y="5719219"/>
                <a:ext cx="2188029" cy="3231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500" b="1" i="0" u="none" strike="noStrike" kern="1200" cap="none" spc="0" normalizeH="0" baseline="0" noProof="0">
                    <a:ln>
                      <a:noFill/>
                    </a:ln>
                    <a:solidFill>
                      <a:srgbClr val="CC0033"/>
                    </a:solidFill>
                    <a:effectLst/>
                    <a:uLnTx/>
                    <a:uFillTx/>
                    <a:latin typeface="Arial"/>
                    <a:ea typeface="+mn-ea"/>
                    <a:cs typeface="Arial" panose="020B0604020202020204" pitchFamily="34" charset="0"/>
                  </a:rPr>
                  <a:t>Steel</a:t>
                </a:r>
                <a:r>
                  <a:rPr kumimoji="0" lang="sv-SE" sz="1500" b="0" i="0" u="none" strike="noStrike" kern="1200" cap="none" spc="0" normalizeH="0" baseline="0" noProof="0">
                    <a:ln>
                      <a:noFill/>
                    </a:ln>
                    <a:solidFill>
                      <a:srgbClr val="2F2F2F"/>
                    </a:solidFill>
                    <a:effectLst/>
                    <a:uLnTx/>
                    <a:uFillTx/>
                    <a:latin typeface="Arial"/>
                    <a:ea typeface="+mn-ea"/>
                    <a:cs typeface="+mn-cs"/>
                  </a:rPr>
                  <a:t> </a:t>
                </a:r>
                <a:r>
                  <a:rPr kumimoji="0" lang="sv-SE" sz="1500" b="1" i="0" u="none" strike="noStrike" kern="1200" cap="none" spc="0" normalizeH="0" baseline="0" noProof="0" err="1">
                    <a:ln>
                      <a:noFill/>
                    </a:ln>
                    <a:solidFill>
                      <a:srgbClr val="CC0033"/>
                    </a:solidFill>
                    <a:effectLst/>
                    <a:uLnTx/>
                    <a:uFillTx/>
                    <a:latin typeface="Arial"/>
                    <a:ea typeface="+mn-ea"/>
                    <a:cs typeface="Arial" panose="020B0604020202020204" pitchFamily="34" charset="0"/>
                  </a:rPr>
                  <a:t>sector</a:t>
                </a:r>
                <a:endParaRPr kumimoji="0" lang="sv-SE" sz="1500" b="1" i="0" u="none" strike="noStrike" kern="1200" cap="none" spc="0" normalizeH="0" baseline="0" noProof="0">
                  <a:ln>
                    <a:noFill/>
                  </a:ln>
                  <a:solidFill>
                    <a:srgbClr val="CC0033"/>
                  </a:solidFill>
                  <a:effectLst/>
                  <a:uLnTx/>
                  <a:uFillTx/>
                  <a:latin typeface="Arial"/>
                  <a:ea typeface="+mn-ea"/>
                  <a:cs typeface="Arial" panose="020B0604020202020204" pitchFamily="34" charset="0"/>
                </a:endParaRPr>
              </a:p>
            </p:txBody>
          </p:sp>
          <p:sp>
            <p:nvSpPr>
              <p:cNvPr id="33" name="TextBox 32">
                <a:extLst>
                  <a:ext uri="{FF2B5EF4-FFF2-40B4-BE49-F238E27FC236}">
                    <a16:creationId xmlns:a16="http://schemas.microsoft.com/office/drawing/2014/main" id="{BF26F0FC-4203-43BB-BD9A-3605261281B2}"/>
                  </a:ext>
                </a:extLst>
              </p:cNvPr>
              <p:cNvSpPr txBox="1"/>
              <p:nvPr/>
            </p:nvSpPr>
            <p:spPr>
              <a:xfrm>
                <a:off x="5269934" y="6710679"/>
                <a:ext cx="2188029" cy="3231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500" b="1" i="0" u="none" strike="noStrike" kern="1200" cap="none" spc="0" normalizeH="0" baseline="0" noProof="0" err="1">
                    <a:ln>
                      <a:noFill/>
                    </a:ln>
                    <a:solidFill>
                      <a:srgbClr val="CC0033"/>
                    </a:solidFill>
                    <a:effectLst/>
                    <a:uLnTx/>
                    <a:uFillTx/>
                    <a:latin typeface="Arial"/>
                    <a:ea typeface="+mn-ea"/>
                    <a:cs typeface="Arial" panose="020B0604020202020204" pitchFamily="34" charset="0"/>
                  </a:rPr>
                  <a:t>Ceramic</a:t>
                </a:r>
                <a:r>
                  <a:rPr kumimoji="0" lang="sv-SE" sz="1500" b="0" i="0" u="none" strike="noStrike" kern="1200" cap="none" spc="0" normalizeH="0" baseline="0" noProof="0">
                    <a:ln>
                      <a:noFill/>
                    </a:ln>
                    <a:solidFill>
                      <a:srgbClr val="2F2F2F"/>
                    </a:solidFill>
                    <a:effectLst/>
                    <a:uLnTx/>
                    <a:uFillTx/>
                    <a:latin typeface="Arial"/>
                    <a:ea typeface="+mn-ea"/>
                    <a:cs typeface="+mn-cs"/>
                  </a:rPr>
                  <a:t> </a:t>
                </a:r>
                <a:r>
                  <a:rPr kumimoji="0" lang="sv-SE" sz="1500" b="1" i="0" u="none" strike="noStrike" kern="1200" cap="none" spc="0" normalizeH="0" baseline="0" noProof="0" err="1">
                    <a:ln>
                      <a:noFill/>
                    </a:ln>
                    <a:solidFill>
                      <a:srgbClr val="CC0033"/>
                    </a:solidFill>
                    <a:effectLst/>
                    <a:uLnTx/>
                    <a:uFillTx/>
                    <a:latin typeface="Arial"/>
                    <a:ea typeface="+mn-ea"/>
                    <a:cs typeface="Arial" panose="020B0604020202020204" pitchFamily="34" charset="0"/>
                  </a:rPr>
                  <a:t>sector</a:t>
                </a:r>
                <a:endParaRPr kumimoji="0" lang="sv-SE" sz="1500" b="1" i="0" u="none" strike="noStrike" kern="1200" cap="none" spc="0" normalizeH="0" baseline="0" noProof="0">
                  <a:ln>
                    <a:noFill/>
                  </a:ln>
                  <a:solidFill>
                    <a:srgbClr val="CC0033"/>
                  </a:solidFill>
                  <a:effectLst/>
                  <a:uLnTx/>
                  <a:uFillTx/>
                  <a:latin typeface="Arial"/>
                  <a:ea typeface="+mn-ea"/>
                  <a:cs typeface="Arial" panose="020B0604020202020204" pitchFamily="34" charset="0"/>
                </a:endParaRPr>
              </a:p>
            </p:txBody>
          </p:sp>
          <p:sp>
            <p:nvSpPr>
              <p:cNvPr id="34" name="TextBox 33">
                <a:extLst>
                  <a:ext uri="{FF2B5EF4-FFF2-40B4-BE49-F238E27FC236}">
                    <a16:creationId xmlns:a16="http://schemas.microsoft.com/office/drawing/2014/main" id="{EA228525-4A28-4DE7-990C-044569157B07}"/>
                  </a:ext>
                </a:extLst>
              </p:cNvPr>
              <p:cNvSpPr txBox="1"/>
              <p:nvPr/>
            </p:nvSpPr>
            <p:spPr>
              <a:xfrm>
                <a:off x="12353109" y="5086190"/>
                <a:ext cx="2188029" cy="3231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500" b="1" i="0" u="none" strike="noStrike" kern="1200" cap="none" spc="0" normalizeH="0" baseline="0" noProof="0">
                    <a:ln>
                      <a:noFill/>
                    </a:ln>
                    <a:solidFill>
                      <a:srgbClr val="CC0033"/>
                    </a:solidFill>
                    <a:effectLst/>
                    <a:uLnTx/>
                    <a:uFillTx/>
                    <a:latin typeface="Arial"/>
                    <a:ea typeface="+mn-ea"/>
                    <a:cs typeface="Arial" panose="020B0604020202020204" pitchFamily="34" charset="0"/>
                  </a:rPr>
                  <a:t>Steel</a:t>
                </a:r>
                <a:r>
                  <a:rPr kumimoji="0" lang="sv-SE" sz="1500" b="0" i="0" u="none" strike="noStrike" kern="1200" cap="none" spc="0" normalizeH="0" baseline="0" noProof="0">
                    <a:ln>
                      <a:noFill/>
                    </a:ln>
                    <a:solidFill>
                      <a:srgbClr val="2F2F2F"/>
                    </a:solidFill>
                    <a:effectLst/>
                    <a:uLnTx/>
                    <a:uFillTx/>
                    <a:latin typeface="Arial"/>
                    <a:ea typeface="+mn-ea"/>
                    <a:cs typeface="+mn-cs"/>
                  </a:rPr>
                  <a:t> </a:t>
                </a:r>
                <a:r>
                  <a:rPr kumimoji="0" lang="sv-SE" sz="1500" b="1" i="0" u="none" strike="noStrike" kern="1200" cap="none" spc="0" normalizeH="0" baseline="0" noProof="0" err="1">
                    <a:ln>
                      <a:noFill/>
                    </a:ln>
                    <a:solidFill>
                      <a:srgbClr val="CC0033"/>
                    </a:solidFill>
                    <a:effectLst/>
                    <a:uLnTx/>
                    <a:uFillTx/>
                    <a:latin typeface="Arial"/>
                    <a:ea typeface="+mn-ea"/>
                    <a:cs typeface="Arial" panose="020B0604020202020204" pitchFamily="34" charset="0"/>
                  </a:rPr>
                  <a:t>sector</a:t>
                </a:r>
                <a:endParaRPr kumimoji="0" lang="sv-SE" sz="1500" b="1" i="0" u="none" strike="noStrike" kern="1200" cap="none" spc="0" normalizeH="0" baseline="0" noProof="0">
                  <a:ln>
                    <a:noFill/>
                  </a:ln>
                  <a:solidFill>
                    <a:srgbClr val="CC0033"/>
                  </a:solidFill>
                  <a:effectLst/>
                  <a:uLnTx/>
                  <a:uFillTx/>
                  <a:latin typeface="Arial"/>
                  <a:ea typeface="+mn-ea"/>
                  <a:cs typeface="Arial" panose="020B0604020202020204" pitchFamily="34" charset="0"/>
                </a:endParaRPr>
              </a:p>
            </p:txBody>
          </p:sp>
          <p:sp>
            <p:nvSpPr>
              <p:cNvPr id="35" name="TextBox 34">
                <a:extLst>
                  <a:ext uri="{FF2B5EF4-FFF2-40B4-BE49-F238E27FC236}">
                    <a16:creationId xmlns:a16="http://schemas.microsoft.com/office/drawing/2014/main" id="{AF1EDC7C-13CA-4699-9F59-81F8BA64179D}"/>
                  </a:ext>
                </a:extLst>
              </p:cNvPr>
              <p:cNvSpPr txBox="1"/>
              <p:nvPr/>
            </p:nvSpPr>
            <p:spPr>
              <a:xfrm>
                <a:off x="12950371" y="7016817"/>
                <a:ext cx="2809644" cy="40241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500" b="1" i="0" u="none" strike="noStrike" kern="1200" cap="none" spc="0" normalizeH="0" baseline="0" noProof="0">
                    <a:ln>
                      <a:noFill/>
                    </a:ln>
                    <a:solidFill>
                      <a:srgbClr val="CC0033"/>
                    </a:solidFill>
                    <a:effectLst/>
                    <a:uLnTx/>
                    <a:uFillTx/>
                    <a:latin typeface="Arial"/>
                    <a:ea typeface="+mn-ea"/>
                    <a:cs typeface="Arial" panose="020B0604020202020204" pitchFamily="34" charset="0"/>
                    <a:hlinkClick r:id="rId8" action="ppaction://hlinksldjump"/>
                  </a:rPr>
                  <a:t>Aluminium</a:t>
                </a:r>
                <a:r>
                  <a:rPr kumimoji="0" lang="sv-SE" sz="1500" b="0" i="0" u="none" strike="noStrike" kern="1200" cap="none" spc="0" normalizeH="0" baseline="0" noProof="0">
                    <a:ln>
                      <a:noFill/>
                    </a:ln>
                    <a:solidFill>
                      <a:srgbClr val="2F2F2F"/>
                    </a:solidFill>
                    <a:effectLst/>
                    <a:uLnTx/>
                    <a:uFillTx/>
                    <a:latin typeface="Arial"/>
                    <a:ea typeface="+mn-ea"/>
                    <a:cs typeface="+mn-cs"/>
                    <a:hlinkClick r:id="rId8" action="ppaction://hlinksldjump"/>
                  </a:rPr>
                  <a:t> </a:t>
                </a:r>
                <a:r>
                  <a:rPr kumimoji="0" lang="sv-SE" sz="1500" b="1" i="0" u="none" strike="noStrike" kern="1200" cap="none" spc="0" normalizeH="0" baseline="0" noProof="0" err="1">
                    <a:ln>
                      <a:noFill/>
                    </a:ln>
                    <a:solidFill>
                      <a:srgbClr val="CC0033"/>
                    </a:solidFill>
                    <a:effectLst/>
                    <a:uLnTx/>
                    <a:uFillTx/>
                    <a:latin typeface="Arial"/>
                    <a:ea typeface="+mn-ea"/>
                    <a:cs typeface="Arial" panose="020B0604020202020204" pitchFamily="34" charset="0"/>
                    <a:hlinkClick r:id="rId8" action="ppaction://hlinksldjump"/>
                  </a:rPr>
                  <a:t>sect</a:t>
                </a:r>
                <a:r>
                  <a:rPr kumimoji="0" lang="sv-SE" sz="1500" b="1" i="0" u="none" strike="noStrike" kern="1200" cap="none" spc="0" normalizeH="0" baseline="0" noProof="0" err="1">
                    <a:ln>
                      <a:noFill/>
                    </a:ln>
                    <a:solidFill>
                      <a:srgbClr val="CC0033"/>
                    </a:solidFill>
                    <a:effectLst/>
                    <a:uLnTx/>
                    <a:uFillTx/>
                    <a:latin typeface="Arial"/>
                    <a:ea typeface="+mn-ea"/>
                    <a:cs typeface="Arial" panose="020B0604020202020204" pitchFamily="34" charset="0"/>
                  </a:rPr>
                  <a:t>or</a:t>
                </a:r>
                <a:endParaRPr kumimoji="0" lang="sv-SE" sz="1500" b="1" i="0" u="none" strike="noStrike" kern="1200" cap="none" spc="0" normalizeH="0" baseline="0" noProof="0">
                  <a:ln>
                    <a:noFill/>
                  </a:ln>
                  <a:solidFill>
                    <a:srgbClr val="CC0033"/>
                  </a:solidFill>
                  <a:effectLst/>
                  <a:uLnTx/>
                  <a:uFillTx/>
                  <a:latin typeface="Arial"/>
                  <a:ea typeface="+mn-ea"/>
                  <a:cs typeface="Arial" panose="020B0604020202020204" pitchFamily="34" charset="0"/>
                </a:endParaRPr>
              </a:p>
            </p:txBody>
          </p:sp>
        </p:grpSp>
        <p:pic>
          <p:nvPicPr>
            <p:cNvPr id="2050" name="Picture 2">
              <a:hlinkClick r:id="rId14"/>
              <a:extLst>
                <a:ext uri="{FF2B5EF4-FFF2-40B4-BE49-F238E27FC236}">
                  <a16:creationId xmlns:a16="http://schemas.microsoft.com/office/drawing/2014/main" id="{F92861DD-7C2F-A5D1-5B0C-0FF7F39F2982}"/>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9136729" y="7353606"/>
              <a:ext cx="1489914" cy="53398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6"/>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16"/>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marL="0" marR="0" lvl="0" indent="0" algn="ctr" defTabSz="914400" rtl="0" eaLnBrk="1" fontAlgn="auto" latinLnBrk="0" hangingPunct="1">
                <a:lnSpc>
                  <a:spcPts val="3919"/>
                </a:lnSpc>
                <a:spcBef>
                  <a:spcPct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OCR A Extended" panose="02010509020102010303" pitchFamily="50" charset="0"/>
                  <a:ea typeface="+mn-ea"/>
                  <a:cs typeface="+mn-cs"/>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17"/>
          <a:srcRect/>
          <a:stretch>
            <a:fillRect/>
          </a:stretch>
        </p:blipFill>
        <p:spPr>
          <a:xfrm>
            <a:off x="0" y="9625294"/>
            <a:ext cx="2728686" cy="661706"/>
          </a:xfrm>
          <a:prstGeom prst="rect">
            <a:avLst/>
          </a:prstGeom>
        </p:spPr>
      </p:pic>
      <p:grpSp>
        <p:nvGrpSpPr>
          <p:cNvPr id="3" name="Gruppo 2">
            <a:extLst>
              <a:ext uri="{FF2B5EF4-FFF2-40B4-BE49-F238E27FC236}">
                <a16:creationId xmlns:a16="http://schemas.microsoft.com/office/drawing/2014/main" id="{1C29CBCA-BE0A-4EF6-AC69-329941E1DCFD}"/>
              </a:ext>
            </a:extLst>
          </p:cNvPr>
          <p:cNvGrpSpPr/>
          <p:nvPr/>
        </p:nvGrpSpPr>
        <p:grpSpPr>
          <a:xfrm>
            <a:off x="-12" y="138554"/>
            <a:ext cx="18288002" cy="681138"/>
            <a:chOff x="-12" y="138554"/>
            <a:chExt cx="18288002" cy="681138"/>
          </a:xfrm>
        </p:grpSpPr>
        <p:grpSp>
          <p:nvGrpSpPr>
            <p:cNvPr id="2" name="Gruppo 1">
              <a:extLst>
                <a:ext uri="{FF2B5EF4-FFF2-40B4-BE49-F238E27FC236}">
                  <a16:creationId xmlns:a16="http://schemas.microsoft.com/office/drawing/2014/main" id="{24E9C7AF-0093-476F-826C-A2702AB72892}"/>
                </a:ext>
              </a:extLst>
            </p:cNvPr>
            <p:cNvGrpSpPr/>
            <p:nvPr/>
          </p:nvGrpSpPr>
          <p:grpSpPr>
            <a:xfrm>
              <a:off x="0" y="153125"/>
              <a:ext cx="17907000" cy="666567"/>
              <a:chOff x="0" y="153125"/>
              <a:chExt cx="17907000" cy="666567"/>
            </a:xfrm>
          </p:grpSpPr>
          <p:grpSp>
            <p:nvGrpSpPr>
              <p:cNvPr id="16" name="Gruppo 15">
                <a:extLst>
                  <a:ext uri="{FF2B5EF4-FFF2-40B4-BE49-F238E27FC236}">
                    <a16:creationId xmlns:a16="http://schemas.microsoft.com/office/drawing/2014/main" id="{DAC42A46-917D-41AB-8F07-E15E54D0F7D4}"/>
                  </a:ext>
                </a:extLst>
              </p:cNvPr>
              <p:cNvGrpSpPr/>
              <p:nvPr/>
            </p:nvGrpSpPr>
            <p:grpSpPr>
              <a:xfrm>
                <a:off x="0" y="153125"/>
                <a:ext cx="13958844" cy="666567"/>
                <a:chOff x="0" y="153125"/>
                <a:chExt cx="13958844" cy="666567"/>
              </a:xfrm>
            </p:grpSpPr>
            <p:pic>
              <p:nvPicPr>
                <p:cNvPr id="10" name="Picture 10"/>
                <p:cNvPicPr>
                  <a:picLocks noChangeAspect="1"/>
                </p:cNvPicPr>
                <p:nvPr/>
              </p:nvPicPr>
              <p:blipFill>
                <a:blip r:embed="rId18"/>
                <a:srcRect l="134" t="91287" b="3943"/>
                <a:stretch>
                  <a:fillRect/>
                </a:stretch>
              </p:blipFill>
              <p:spPr>
                <a:xfrm>
                  <a:off x="0" y="153125"/>
                  <a:ext cx="13958844" cy="666567"/>
                </a:xfrm>
                <a:prstGeom prst="rect">
                  <a:avLst/>
                </a:prstGeom>
              </p:spPr>
            </p:pic>
            <p:sp>
              <p:nvSpPr>
                <p:cNvPr id="11" name="TextBox 11"/>
                <p:cNvSpPr txBox="1"/>
                <p:nvPr/>
              </p:nvSpPr>
              <p:spPr>
                <a:xfrm>
                  <a:off x="228600" y="257980"/>
                  <a:ext cx="9296400" cy="456856"/>
                </a:xfrm>
                <a:prstGeom prst="rect">
                  <a:avLst/>
                </a:prstGeom>
              </p:spPr>
              <p:txBody>
                <a:bodyPr wrap="square" lIns="0" tIns="0" rIns="0" bIns="0" rtlCol="0" anchor="t">
                  <a:spAutoFit/>
                </a:bodyPr>
                <a:lstStyle/>
                <a:p>
                  <a:pPr marL="0" marR="0" lvl="0" indent="0" algn="l" defTabSz="914400" rtl="0" eaLnBrk="1" fontAlgn="auto" latinLnBrk="0" hangingPunct="1">
                    <a:lnSpc>
                      <a:spcPts val="3919"/>
                    </a:lnSpc>
                    <a:spcBef>
                      <a:spcPct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2" name="TextBox 11">
                <a:extLst>
                  <a:ext uri="{FF2B5EF4-FFF2-40B4-BE49-F238E27FC236}">
                    <a16:creationId xmlns:a16="http://schemas.microsoft.com/office/drawing/2014/main" id="{1BD9B5F4-614C-4EB6-8C5B-120A5420CE43}"/>
                  </a:ext>
                </a:extLst>
              </p:cNvPr>
              <p:cNvSpPr txBox="1"/>
              <p:nvPr/>
            </p:nvSpPr>
            <p:spPr>
              <a:xfrm>
                <a:off x="12154296" y="257980"/>
                <a:ext cx="5752704" cy="456856"/>
              </a:xfrm>
              <a:prstGeom prst="rect">
                <a:avLst/>
              </a:prstGeom>
            </p:spPr>
            <p:txBody>
              <a:bodyPr wrap="square" lIns="0" tIns="0" rIns="0" bIns="0" rtlCol="0" anchor="t">
                <a:spAutoFit/>
              </a:bodyPr>
              <a:lstStyle/>
              <a:p>
                <a:pPr marL="0" marR="0" lvl="0" indent="0" algn="r" defTabSz="914400" rtl="0" eaLnBrk="1" fontAlgn="auto" latinLnBrk="0" hangingPunct="1">
                  <a:lnSpc>
                    <a:spcPts val="3919"/>
                  </a:lnSpc>
                  <a:spcBef>
                    <a:spcPct val="0"/>
                  </a:spcBef>
                  <a:spcAft>
                    <a:spcPts val="0"/>
                  </a:spcAft>
                  <a:buClrTx/>
                  <a:buSzTx/>
                  <a:buFontTx/>
                  <a:buNone/>
                  <a:tabLst/>
                  <a:defRPr/>
                </a:pPr>
                <a:endParaRPr kumimoji="0" lang="en-US" sz="2800" b="0" i="0" u="none" strike="noStrike" kern="1200" cap="none" spc="0" normalizeH="0" baseline="0" noProof="0">
                  <a:ln>
                    <a:noFill/>
                  </a:ln>
                  <a:solidFill>
                    <a:srgbClr val="2F2F2F">
                      <a:lumMod val="75000"/>
                      <a:lumOff val="25000"/>
                    </a:srgbClr>
                  </a:solidFill>
                  <a:effectLst/>
                  <a:uLnTx/>
                  <a:uFillTx/>
                  <a:latin typeface="Arial" panose="020B0604020202020204" pitchFamily="34" charset="0"/>
                  <a:ea typeface="+mn-ea"/>
                  <a:cs typeface="Arial" panose="020B0604020202020204" pitchFamily="34" charset="0"/>
                </a:endParaRPr>
              </a:p>
            </p:txBody>
          </p:sp>
        </p:grpSp>
        <p:sp>
          <p:nvSpPr>
            <p:cNvPr id="14" name="Rettangolo 13">
              <a:extLst>
                <a:ext uri="{FF2B5EF4-FFF2-40B4-BE49-F238E27FC236}">
                  <a16:creationId xmlns:a16="http://schemas.microsoft.com/office/drawing/2014/main" id="{55199736-B8B6-4C9A-8BAF-233E07A0CA89}"/>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3" name="TextBox 13"/>
          <p:cNvSpPr txBox="1"/>
          <p:nvPr/>
        </p:nvSpPr>
        <p:spPr>
          <a:xfrm>
            <a:off x="841829" y="1004417"/>
            <a:ext cx="16410214" cy="1023293"/>
          </a:xfrm>
          <a:prstGeom prst="rect">
            <a:avLst/>
          </a:prstGeom>
        </p:spPr>
        <p:txBody>
          <a:bodyPr wrap="square" lIns="0" tIns="0" rIns="0" bIns="0" rtlCol="0" anchor="t">
            <a:spAutoFit/>
          </a:bodyPr>
          <a:lstStyle/>
          <a:p>
            <a:pPr marL="0" marR="0" lvl="0" indent="0" algn="ctr" defTabSz="914400" rtl="0" eaLnBrk="1" fontAlgn="auto" latinLnBrk="0" hangingPunct="1">
              <a:lnSpc>
                <a:spcPts val="8960"/>
              </a:lnSpc>
              <a:spcBef>
                <a:spcPct val="0"/>
              </a:spcBef>
              <a:spcAft>
                <a:spcPts val="0"/>
              </a:spcAft>
              <a:buClrTx/>
              <a:buSzTx/>
              <a:buFontTx/>
              <a:buNone/>
              <a:tabLst/>
              <a:defRPr/>
            </a:pPr>
            <a:r>
              <a:rPr kumimoji="0" lang="en-US" sz="5400" b="1" i="0" u="none" strike="noStrike" kern="1200" cap="none" spc="0" normalizeH="0" baseline="0" noProof="0">
                <a:ln>
                  <a:noFill/>
                </a:ln>
                <a:solidFill>
                  <a:srgbClr val="CC0033"/>
                </a:solidFill>
                <a:effectLst/>
                <a:uLnTx/>
                <a:uFillTx/>
                <a:latin typeface="Arial"/>
                <a:ea typeface="+mn-ea"/>
                <a:cs typeface="Arial" panose="020B0604020202020204" pitchFamily="34" charset="0"/>
              </a:rPr>
              <a:t>Demo-Sites retrofitting actions, goals and results</a:t>
            </a:r>
          </a:p>
        </p:txBody>
      </p:sp>
      <p:sp>
        <p:nvSpPr>
          <p:cNvPr id="22" name="TextBox 21">
            <a:extLst>
              <a:ext uri="{FF2B5EF4-FFF2-40B4-BE49-F238E27FC236}">
                <a16:creationId xmlns:a16="http://schemas.microsoft.com/office/drawing/2014/main" id="{F21DCD0B-B68A-4D7A-9F6C-6D71442D13F2}"/>
              </a:ext>
            </a:extLst>
          </p:cNvPr>
          <p:cNvSpPr txBox="1"/>
          <p:nvPr/>
        </p:nvSpPr>
        <p:spPr>
          <a:xfrm>
            <a:off x="514542" y="2259671"/>
            <a:ext cx="17286515" cy="485518"/>
          </a:xfrm>
          <a:prstGeom prst="rect">
            <a:avLst/>
          </a:prstGeom>
        </p:spPr>
        <p:txBody>
          <a:bodyPr wrap="square" lIns="0" tIns="0" rIns="0" bIns="0" rtlCol="0" anchor="t">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sv-SE" sz="2400" b="0" i="0" u="none" strike="noStrike" kern="100" cap="none" spc="0" normalizeH="0" baseline="0" noProof="0" err="1">
                <a:ln>
                  <a:noFill/>
                </a:ln>
                <a:solidFill>
                  <a:srgbClr val="404040"/>
                </a:solidFill>
                <a:effectLst/>
                <a:uLnTx/>
                <a:uFillTx/>
                <a:latin typeface="Arial"/>
                <a:ea typeface="+mn-ea"/>
                <a:cs typeface="+mn-cs"/>
              </a:rPr>
              <a:t>There</a:t>
            </a:r>
            <a:r>
              <a:rPr kumimoji="0" lang="sv-SE" sz="2400" b="0" i="0" u="none" strike="noStrike" kern="100" cap="none" spc="0" normalizeH="0" baseline="0" noProof="0">
                <a:ln>
                  <a:noFill/>
                </a:ln>
                <a:solidFill>
                  <a:srgbClr val="404040"/>
                </a:solidFill>
                <a:effectLst/>
                <a:uLnTx/>
                <a:uFillTx/>
                <a:latin typeface="Arial"/>
                <a:ea typeface="+mn-ea"/>
                <a:cs typeface="+mn-cs"/>
              </a:rPr>
              <a:t> </a:t>
            </a:r>
            <a:r>
              <a:rPr kumimoji="0" lang="sv-SE" sz="2400" b="0" i="0" u="none" strike="noStrike" kern="100" cap="none" spc="0" normalizeH="0" baseline="0" noProof="0" err="1">
                <a:ln>
                  <a:noFill/>
                </a:ln>
                <a:solidFill>
                  <a:srgbClr val="404040"/>
                </a:solidFill>
                <a:effectLst/>
                <a:uLnTx/>
                <a:uFillTx/>
                <a:latin typeface="Arial"/>
                <a:ea typeface="+mn-ea"/>
                <a:cs typeface="+mn-cs"/>
              </a:rPr>
              <a:t>were</a:t>
            </a:r>
            <a:r>
              <a:rPr kumimoji="0" lang="sv-SE" sz="2400" b="0" i="0" u="none" strike="noStrike" kern="100" cap="none" spc="0" normalizeH="0" baseline="0" noProof="0">
                <a:ln>
                  <a:noFill/>
                </a:ln>
                <a:solidFill>
                  <a:srgbClr val="404040"/>
                </a:solidFill>
                <a:effectLst/>
                <a:uLnTx/>
                <a:uFillTx/>
                <a:latin typeface="Arial"/>
                <a:ea typeface="+mn-ea"/>
                <a:cs typeface="+mn-cs"/>
              </a:rPr>
              <a:t> </a:t>
            </a:r>
            <a:r>
              <a:rPr kumimoji="0" lang="sv-SE" sz="2400" b="0" i="0" u="none" strike="noStrike" kern="100" cap="none" spc="0" normalizeH="0" baseline="0" noProof="0" err="1">
                <a:ln>
                  <a:noFill/>
                </a:ln>
                <a:solidFill>
                  <a:srgbClr val="404040"/>
                </a:solidFill>
                <a:effectLst/>
                <a:uLnTx/>
                <a:uFillTx/>
                <a:latin typeface="Arial"/>
                <a:ea typeface="+mn-ea"/>
                <a:cs typeface="+mn-cs"/>
              </a:rPr>
              <a:t>six</a:t>
            </a:r>
            <a:r>
              <a:rPr kumimoji="0" lang="sv-SE" sz="2400" b="0" i="0" u="none" strike="noStrike" kern="100" cap="none" spc="0" normalizeH="0" baseline="0" noProof="0">
                <a:ln>
                  <a:noFill/>
                </a:ln>
                <a:solidFill>
                  <a:srgbClr val="404040"/>
                </a:solidFill>
                <a:effectLst/>
                <a:uLnTx/>
                <a:uFillTx/>
                <a:latin typeface="Arial"/>
                <a:ea typeface="+mn-ea"/>
                <a:cs typeface="+mn-cs"/>
              </a:rPr>
              <a:t> demo-sites in the RETROFEED </a:t>
            </a:r>
            <a:r>
              <a:rPr kumimoji="0" lang="sv-SE" sz="2400" b="0" i="0" u="none" strike="noStrike" kern="100" cap="none" spc="0" normalizeH="0" baseline="0" noProof="0" err="1">
                <a:ln>
                  <a:noFill/>
                </a:ln>
                <a:solidFill>
                  <a:srgbClr val="404040"/>
                </a:solidFill>
                <a:effectLst/>
                <a:uLnTx/>
                <a:uFillTx/>
                <a:latin typeface="Arial"/>
                <a:ea typeface="+mn-ea"/>
                <a:cs typeface="+mn-cs"/>
              </a:rPr>
              <a:t>project</a:t>
            </a:r>
            <a:r>
              <a:rPr kumimoji="0" lang="sv-SE" sz="2400" b="0" i="0" u="none" strike="noStrike" kern="100" cap="none" spc="0" normalizeH="0" baseline="0" noProof="0">
                <a:ln>
                  <a:noFill/>
                </a:ln>
                <a:solidFill>
                  <a:srgbClr val="404040"/>
                </a:solidFill>
                <a:effectLst/>
                <a:uLnTx/>
                <a:uFillTx/>
                <a:latin typeface="Arial"/>
                <a:ea typeface="+mn-ea"/>
                <a:cs typeface="+mn-cs"/>
              </a:rPr>
              <a:t>. </a:t>
            </a:r>
          </a:p>
        </p:txBody>
      </p:sp>
    </p:spTree>
    <p:extLst>
      <p:ext uri="{BB962C8B-B14F-4D97-AF65-F5344CB8AC3E}">
        <p14:creationId xmlns:p14="http://schemas.microsoft.com/office/powerpoint/2010/main" val="4045484643"/>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extruta 1">
            <a:extLst>
              <a:ext uri="{FF2B5EF4-FFF2-40B4-BE49-F238E27FC236}">
                <a16:creationId xmlns:a16="http://schemas.microsoft.com/office/drawing/2014/main" id="{CCE47E9F-CA6B-B8EB-E10E-1C31F83F3916}"/>
              </a:ext>
            </a:extLst>
          </p:cNvPr>
          <p:cNvSpPr txBox="1"/>
          <p:nvPr/>
        </p:nvSpPr>
        <p:spPr>
          <a:xfrm>
            <a:off x="3486150" y="3219450"/>
            <a:ext cx="11315700" cy="2215991"/>
          </a:xfrm>
          <a:prstGeom prst="rect">
            <a:avLst/>
          </a:prstGeom>
          <a:noFill/>
        </p:spPr>
        <p:txBody>
          <a:bodyPr wrap="square" rtlCol="0">
            <a:spAutoFit/>
          </a:bodyPr>
          <a:lstStyle/>
          <a:p>
            <a:pPr algn="ctr"/>
            <a:r>
              <a:rPr lang="sv-SE" sz="13800" dirty="0">
                <a:solidFill>
                  <a:schemeClr val="bg1"/>
                </a:solidFill>
              </a:rPr>
              <a:t>ASAS</a:t>
            </a:r>
          </a:p>
        </p:txBody>
      </p:sp>
    </p:spTree>
    <p:extLst>
      <p:ext uri="{BB962C8B-B14F-4D97-AF65-F5344CB8AC3E}">
        <p14:creationId xmlns:p14="http://schemas.microsoft.com/office/powerpoint/2010/main" val="300552841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6"/>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marL="0" marR="0" lvl="0" indent="0" algn="ctr" defTabSz="914400" rtl="0" eaLnBrk="1" fontAlgn="auto" latinLnBrk="0" hangingPunct="1">
                <a:lnSpc>
                  <a:spcPts val="3919"/>
                </a:lnSpc>
                <a:spcBef>
                  <a:spcPct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OCR A Extended" panose="02010509020102010303" pitchFamily="50" charset="0"/>
                  <a:ea typeface="+mn-ea"/>
                  <a:cs typeface="+mn-cs"/>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4"/>
          <a:srcRect/>
          <a:stretch>
            <a:fillRect/>
          </a:stretch>
        </p:blipFill>
        <p:spPr>
          <a:xfrm>
            <a:off x="0" y="9447976"/>
            <a:ext cx="3459892" cy="839024"/>
          </a:xfrm>
          <a:prstGeom prst="rect">
            <a:avLst/>
          </a:prstGeom>
        </p:spPr>
      </p:pic>
      <p:grpSp>
        <p:nvGrpSpPr>
          <p:cNvPr id="3" name="Gruppo 2">
            <a:extLst>
              <a:ext uri="{FF2B5EF4-FFF2-40B4-BE49-F238E27FC236}">
                <a16:creationId xmlns:a16="http://schemas.microsoft.com/office/drawing/2014/main" id="{1C29CBCA-BE0A-4EF6-AC69-329941E1DCFD}"/>
              </a:ext>
            </a:extLst>
          </p:cNvPr>
          <p:cNvGrpSpPr/>
          <p:nvPr/>
        </p:nvGrpSpPr>
        <p:grpSpPr>
          <a:xfrm>
            <a:off x="-12" y="138554"/>
            <a:ext cx="18288002" cy="681138"/>
            <a:chOff x="-12" y="138554"/>
            <a:chExt cx="18288002" cy="681138"/>
          </a:xfrm>
        </p:grpSpPr>
        <p:grpSp>
          <p:nvGrpSpPr>
            <p:cNvPr id="2" name="Gruppo 1">
              <a:extLst>
                <a:ext uri="{FF2B5EF4-FFF2-40B4-BE49-F238E27FC236}">
                  <a16:creationId xmlns:a16="http://schemas.microsoft.com/office/drawing/2014/main" id="{24E9C7AF-0093-476F-826C-A2702AB72892}"/>
                </a:ext>
              </a:extLst>
            </p:cNvPr>
            <p:cNvGrpSpPr/>
            <p:nvPr/>
          </p:nvGrpSpPr>
          <p:grpSpPr>
            <a:xfrm>
              <a:off x="0" y="153125"/>
              <a:ext cx="17907000" cy="666567"/>
              <a:chOff x="0" y="153125"/>
              <a:chExt cx="17907000" cy="666567"/>
            </a:xfrm>
          </p:grpSpPr>
          <p:grpSp>
            <p:nvGrpSpPr>
              <p:cNvPr id="16" name="Gruppo 15">
                <a:extLst>
                  <a:ext uri="{FF2B5EF4-FFF2-40B4-BE49-F238E27FC236}">
                    <a16:creationId xmlns:a16="http://schemas.microsoft.com/office/drawing/2014/main" id="{DAC42A46-917D-41AB-8F07-E15E54D0F7D4}"/>
                  </a:ext>
                </a:extLst>
              </p:cNvPr>
              <p:cNvGrpSpPr/>
              <p:nvPr/>
            </p:nvGrpSpPr>
            <p:grpSpPr>
              <a:xfrm>
                <a:off x="0" y="153125"/>
                <a:ext cx="13958844" cy="666567"/>
                <a:chOff x="0" y="153125"/>
                <a:chExt cx="13958844" cy="666567"/>
              </a:xfrm>
            </p:grpSpPr>
            <p:pic>
              <p:nvPicPr>
                <p:cNvPr id="10" name="Picture 10"/>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1" name="TextBox 11"/>
                <p:cNvSpPr txBox="1"/>
                <p:nvPr/>
              </p:nvSpPr>
              <p:spPr>
                <a:xfrm>
                  <a:off x="228600" y="257980"/>
                  <a:ext cx="9296400" cy="456856"/>
                </a:xfrm>
                <a:prstGeom prst="rect">
                  <a:avLst/>
                </a:prstGeom>
              </p:spPr>
              <p:txBody>
                <a:bodyPr wrap="square" lIns="0" tIns="0" rIns="0" bIns="0" rtlCol="0" anchor="t">
                  <a:spAutoFit/>
                </a:bodyPr>
                <a:lstStyle/>
                <a:p>
                  <a:pPr marL="0" marR="0" lvl="0" indent="0" algn="l" defTabSz="914400" rtl="0" eaLnBrk="1" fontAlgn="auto" latinLnBrk="0" hangingPunct="1">
                    <a:lnSpc>
                      <a:spcPts val="3919"/>
                    </a:lnSpc>
                    <a:spcBef>
                      <a:spcPct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2" name="TextBox 11">
                <a:extLst>
                  <a:ext uri="{FF2B5EF4-FFF2-40B4-BE49-F238E27FC236}">
                    <a16:creationId xmlns:a16="http://schemas.microsoft.com/office/drawing/2014/main" id="{1BD9B5F4-614C-4EB6-8C5B-120A5420CE43}"/>
                  </a:ext>
                </a:extLst>
              </p:cNvPr>
              <p:cNvSpPr txBox="1"/>
              <p:nvPr/>
            </p:nvSpPr>
            <p:spPr>
              <a:xfrm>
                <a:off x="12154296" y="257980"/>
                <a:ext cx="5752704" cy="456856"/>
              </a:xfrm>
              <a:prstGeom prst="rect">
                <a:avLst/>
              </a:prstGeom>
            </p:spPr>
            <p:txBody>
              <a:bodyPr wrap="square" lIns="0" tIns="0" rIns="0" bIns="0" rtlCol="0" anchor="t">
                <a:spAutoFit/>
              </a:bodyPr>
              <a:lstStyle/>
              <a:p>
                <a:pPr marL="0" marR="0" lvl="0" indent="0" algn="r" defTabSz="914400" rtl="0" eaLnBrk="1" fontAlgn="auto" latinLnBrk="0" hangingPunct="1">
                  <a:lnSpc>
                    <a:spcPts val="3919"/>
                  </a:lnSpc>
                  <a:spcBef>
                    <a:spcPct val="0"/>
                  </a:spcBef>
                  <a:spcAft>
                    <a:spcPts val="0"/>
                  </a:spcAft>
                  <a:buClrTx/>
                  <a:buSzTx/>
                  <a:buFontTx/>
                  <a:buNone/>
                  <a:tabLst/>
                  <a:defRPr/>
                </a:pPr>
                <a:endParaRPr kumimoji="0" lang="en-US" sz="2800" b="0" i="0" u="none" strike="noStrike" kern="1200" cap="none" spc="0" normalizeH="0" baseline="0" noProof="0">
                  <a:ln>
                    <a:noFill/>
                  </a:ln>
                  <a:solidFill>
                    <a:srgbClr val="2F2F2F">
                      <a:lumMod val="75000"/>
                      <a:lumOff val="25000"/>
                    </a:srgbClr>
                  </a:solidFill>
                  <a:effectLst/>
                  <a:uLnTx/>
                  <a:uFillTx/>
                  <a:latin typeface="Arial" panose="020B0604020202020204" pitchFamily="34" charset="0"/>
                  <a:ea typeface="+mn-ea"/>
                  <a:cs typeface="Arial" panose="020B0604020202020204" pitchFamily="34" charset="0"/>
                </a:endParaRPr>
              </a:p>
            </p:txBody>
          </p:sp>
        </p:grpSp>
        <p:sp>
          <p:nvSpPr>
            <p:cNvPr id="14" name="Rettangolo 13">
              <a:extLst>
                <a:ext uri="{FF2B5EF4-FFF2-40B4-BE49-F238E27FC236}">
                  <a16:creationId xmlns:a16="http://schemas.microsoft.com/office/drawing/2014/main" id="{55199736-B8B6-4C9A-8BAF-233E07A0CA89}"/>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pic>
        <p:nvPicPr>
          <p:cNvPr id="7" name="Picture 4" descr="Text&#10;&#10;Description automatically generated with medium confidence">
            <a:extLst>
              <a:ext uri="{FF2B5EF4-FFF2-40B4-BE49-F238E27FC236}">
                <a16:creationId xmlns:a16="http://schemas.microsoft.com/office/drawing/2014/main" id="{14837D2F-ED0E-6EF4-957F-AEDA40BC766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69900" y="1384300"/>
            <a:ext cx="7581900" cy="7581900"/>
          </a:xfrm>
          <a:prstGeom prst="rect">
            <a:avLst/>
          </a:prstGeom>
        </p:spPr>
      </p:pic>
      <p:sp>
        <p:nvSpPr>
          <p:cNvPr id="8" name="TextBox 6">
            <a:extLst>
              <a:ext uri="{FF2B5EF4-FFF2-40B4-BE49-F238E27FC236}">
                <a16:creationId xmlns:a16="http://schemas.microsoft.com/office/drawing/2014/main" id="{9B19BDB4-12F9-D007-1B2F-37F02BB26AC1}"/>
              </a:ext>
            </a:extLst>
          </p:cNvPr>
          <p:cNvSpPr txBox="1"/>
          <p:nvPr/>
        </p:nvSpPr>
        <p:spPr>
          <a:xfrm>
            <a:off x="8648700" y="2358936"/>
            <a:ext cx="8547100" cy="729430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4D4D4D"/>
                </a:solidFill>
                <a:effectLst/>
                <a:uLnTx/>
                <a:uFillTx/>
                <a:latin typeface="+mj-lt"/>
                <a:ea typeface="+mn-ea"/>
                <a:cs typeface="+mn-cs"/>
              </a:rPr>
              <a:t>12.2 </a:t>
            </a:r>
            <a:r>
              <a:rPr kumimoji="0" lang="en-US" sz="2800" b="0" i="0" u="none" strike="noStrike" kern="1200" cap="none" spc="0" normalizeH="0" baseline="0" noProof="0">
                <a:ln>
                  <a:noFill/>
                </a:ln>
                <a:solidFill>
                  <a:srgbClr val="4D4D4D"/>
                </a:solidFill>
                <a:effectLst/>
                <a:uLnTx/>
                <a:uFillTx/>
                <a:latin typeface="+mj-lt"/>
                <a:ea typeface="+mn-ea"/>
                <a:cs typeface="+mn-cs"/>
              </a:rPr>
              <a:t>By 2030, achieve the sustainable management and efficient use of natural resourc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1" u="none" strike="noStrike" kern="1200" cap="none" spc="0" normalizeH="0" baseline="0" noProof="0">
                <a:ln>
                  <a:noFill/>
                </a:ln>
                <a:solidFill>
                  <a:srgbClr val="4D4D4D"/>
                </a:solidFill>
                <a:effectLst/>
                <a:uLnTx/>
                <a:uFillTx/>
                <a:latin typeface="+mj-lt"/>
                <a:ea typeface="+mn-ea"/>
                <a:cs typeface="+mn-cs"/>
              </a:rPr>
              <a:t>Indicator: Material footprint, material footprint per capita and material footprint per GDP</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4D4D4D"/>
              </a:solidFill>
              <a:effectLst/>
              <a:uLnTx/>
              <a:uFillTx/>
              <a:latin typeface="+mj-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4D4D4D"/>
                </a:solidFill>
                <a:effectLst/>
                <a:uLnTx/>
                <a:uFillTx/>
                <a:latin typeface="+mj-lt"/>
                <a:ea typeface="+mn-ea"/>
                <a:cs typeface="+mn-cs"/>
              </a:rPr>
              <a:t>12.5 </a:t>
            </a:r>
            <a:r>
              <a:rPr kumimoji="0" lang="en-US" sz="2800" b="0" i="0" u="none" strike="noStrike" kern="1200" cap="none" spc="0" normalizeH="0" baseline="0" noProof="0">
                <a:ln>
                  <a:noFill/>
                </a:ln>
                <a:solidFill>
                  <a:srgbClr val="4D4D4D"/>
                </a:solidFill>
                <a:effectLst/>
                <a:uLnTx/>
                <a:uFillTx/>
                <a:latin typeface="+mj-lt"/>
                <a:ea typeface="+mn-ea"/>
                <a:cs typeface="+mn-cs"/>
              </a:rPr>
              <a:t>By 2030, substantially reduce waste generation through prevention, reduction, recycling and reu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1" u="none" strike="noStrike" kern="1200" cap="none" spc="0" normalizeH="0" baseline="0" noProof="0">
                <a:ln>
                  <a:noFill/>
                </a:ln>
                <a:solidFill>
                  <a:srgbClr val="4D4D4D"/>
                </a:solidFill>
                <a:effectLst/>
                <a:uLnTx/>
                <a:uFillTx/>
                <a:latin typeface="+mj-lt"/>
                <a:ea typeface="+mn-ea"/>
                <a:cs typeface="+mn-cs"/>
              </a:rPr>
              <a:t>Indicator: national recycling rate, tons of material recycle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4D4D4D"/>
              </a:solidFill>
              <a:effectLst/>
              <a:uLnTx/>
              <a:uFillTx/>
              <a:latin typeface="+mj-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4D4D4D"/>
                </a:solidFill>
                <a:effectLst/>
                <a:uLnTx/>
                <a:uFillTx/>
                <a:latin typeface="+mj-lt"/>
                <a:ea typeface="+mn-ea"/>
                <a:cs typeface="+mn-cs"/>
              </a:rPr>
              <a:t>12.6 </a:t>
            </a:r>
            <a:r>
              <a:rPr kumimoji="0" lang="en-US" sz="2800" b="0" i="0" u="none" strike="noStrike" kern="1200" cap="none" spc="0" normalizeH="0" baseline="0" noProof="0">
                <a:ln>
                  <a:noFill/>
                </a:ln>
                <a:solidFill>
                  <a:srgbClr val="4D4D4D"/>
                </a:solidFill>
                <a:effectLst/>
                <a:uLnTx/>
                <a:uFillTx/>
                <a:latin typeface="+mj-lt"/>
                <a:ea typeface="+mn-ea"/>
                <a:cs typeface="+mn-cs"/>
              </a:rPr>
              <a:t>Encourage companies, especially large and transnational companies, to adopt sustainable practices and to integrate sustainability information into their reporting cyc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1" u="none" strike="noStrike" kern="1200" cap="none" spc="0" normalizeH="0" baseline="0" noProof="0">
                <a:ln>
                  <a:noFill/>
                </a:ln>
                <a:solidFill>
                  <a:srgbClr val="4D4D4D"/>
                </a:solidFill>
                <a:effectLst/>
                <a:uLnTx/>
                <a:uFillTx/>
                <a:latin typeface="+mj-lt"/>
                <a:ea typeface="+mn-ea"/>
                <a:cs typeface="+mn-cs"/>
              </a:rPr>
              <a:t>Indicator: number of companies publishing sustainable reports</a:t>
            </a:r>
            <a:br>
              <a:rPr kumimoji="0" lang="en-US" sz="2000" b="0" i="0" u="none" strike="noStrike" kern="1200" cap="none" spc="0" normalizeH="0" baseline="0" noProof="0">
                <a:ln>
                  <a:noFill/>
                </a:ln>
                <a:solidFill>
                  <a:srgbClr val="2F2F2F"/>
                </a:solidFill>
                <a:effectLst/>
                <a:uLnTx/>
                <a:uFillTx/>
                <a:latin typeface="Arial"/>
                <a:ea typeface="+mn-ea"/>
                <a:cs typeface="+mn-cs"/>
              </a:rPr>
            </a:br>
            <a:endParaRPr kumimoji="0" lang="sv-SE" sz="2000" b="0" i="0" u="none" strike="noStrike" kern="1200" cap="none" spc="0" normalizeH="0" baseline="0" noProof="0">
              <a:ln>
                <a:noFill/>
              </a:ln>
              <a:solidFill>
                <a:srgbClr val="2F2F2F"/>
              </a:solidFill>
              <a:effectLst/>
              <a:uLnTx/>
              <a:uFillTx/>
              <a:latin typeface="Arial"/>
              <a:ea typeface="+mn-ea"/>
              <a:cs typeface="+mn-cs"/>
            </a:endParaRPr>
          </a:p>
        </p:txBody>
      </p:sp>
      <p:sp>
        <p:nvSpPr>
          <p:cNvPr id="9" name="Title 1">
            <a:extLst>
              <a:ext uri="{FF2B5EF4-FFF2-40B4-BE49-F238E27FC236}">
                <a16:creationId xmlns:a16="http://schemas.microsoft.com/office/drawing/2014/main" id="{E83C0003-08CC-C8BC-487E-F87C3AD79712}"/>
              </a:ext>
            </a:extLst>
          </p:cNvPr>
          <p:cNvSpPr txBox="1">
            <a:spLocks/>
          </p:cNvSpPr>
          <p:nvPr/>
        </p:nvSpPr>
        <p:spPr>
          <a:xfrm>
            <a:off x="8312150" y="1104900"/>
            <a:ext cx="9728200" cy="1143000"/>
          </a:xfrm>
          <a:prstGeom prst="rect">
            <a:avLst/>
          </a:prstGeom>
        </p:spPr>
        <p:txBody>
          <a:bodyPr vert="horz" lIns="91440" tIns="45720" rIns="91440" bIns="45720" rtlCol="0" anchor="ctr">
            <a:normAutofit fontScale="90000" lnSpcReduction="10000"/>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sv-SE" sz="4000" b="1">
                <a:solidFill>
                  <a:srgbClr val="CC0033"/>
                </a:solidFill>
                <a:ea typeface="+mn-ea"/>
                <a:cs typeface="Arial" panose="020B0604020202020204" pitchFamily="34" charset="0"/>
              </a:rPr>
              <a:t>Goal 12: Responsible consumption and production</a:t>
            </a:r>
          </a:p>
        </p:txBody>
      </p:sp>
    </p:spTree>
    <p:extLst>
      <p:ext uri="{BB962C8B-B14F-4D97-AF65-F5344CB8AC3E}">
        <p14:creationId xmlns:p14="http://schemas.microsoft.com/office/powerpoint/2010/main" val="1087680511"/>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descr="A picture containing building, indoor, plane, table&#10;&#10;Description automatically generated">
            <a:extLst>
              <a:ext uri="{FF2B5EF4-FFF2-40B4-BE49-F238E27FC236}">
                <a16:creationId xmlns:a16="http://schemas.microsoft.com/office/drawing/2014/main" id="{2ECBB25D-652A-4D8F-92B4-E30E1ED5FE18}"/>
              </a:ext>
            </a:extLst>
          </p:cNvPr>
          <p:cNvPicPr>
            <a:picLocks noChangeAspect="1"/>
          </p:cNvPicPr>
          <p:nvPr/>
        </p:nvPicPr>
        <p:blipFill rotWithShape="1">
          <a:blip r:embed="rId3">
            <a:alphaModFix amt="20000"/>
            <a:extLst>
              <a:ext uri="{28A0092B-C50C-407E-A947-70E740481C1C}">
                <a14:useLocalDpi xmlns:a14="http://schemas.microsoft.com/office/drawing/2010/main" val="0"/>
              </a:ext>
            </a:extLst>
          </a:blip>
          <a:srcRect t="28368"/>
          <a:stretch/>
        </p:blipFill>
        <p:spPr>
          <a:xfrm>
            <a:off x="228600" y="3115427"/>
            <a:ext cx="17699981" cy="5739113"/>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6"/>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4"/>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5"/>
          <a:srcRect/>
          <a:stretch>
            <a:fillRect/>
          </a:stretch>
        </p:blipFill>
        <p:spPr>
          <a:xfrm>
            <a:off x="0" y="8901113"/>
            <a:ext cx="5715000" cy="1385887"/>
          </a:xfrm>
          <a:prstGeom prst="rect">
            <a:avLst/>
          </a:prstGeom>
        </p:spPr>
      </p:pic>
      <p:grpSp>
        <p:nvGrpSpPr>
          <p:cNvPr id="2" name="Gruppo 1">
            <a:extLst>
              <a:ext uri="{FF2B5EF4-FFF2-40B4-BE49-F238E27FC236}">
                <a16:creationId xmlns:a16="http://schemas.microsoft.com/office/drawing/2014/main" id="{D8D71BB5-458F-411D-AFA9-C648954E9F40}"/>
              </a:ext>
            </a:extLst>
          </p:cNvPr>
          <p:cNvGrpSpPr/>
          <p:nvPr/>
        </p:nvGrpSpPr>
        <p:grpSpPr>
          <a:xfrm>
            <a:off x="-12" y="138554"/>
            <a:ext cx="18288002" cy="681138"/>
            <a:chOff x="-12" y="138554"/>
            <a:chExt cx="18288002" cy="681138"/>
          </a:xfrm>
        </p:grpSpPr>
        <p:grpSp>
          <p:nvGrpSpPr>
            <p:cNvPr id="16" name="Gruppo 15">
              <a:extLst>
                <a:ext uri="{FF2B5EF4-FFF2-40B4-BE49-F238E27FC236}">
                  <a16:creationId xmlns:a16="http://schemas.microsoft.com/office/drawing/2014/main" id="{DAC42A46-917D-41AB-8F07-E15E54D0F7D4}"/>
                </a:ext>
              </a:extLst>
            </p:cNvPr>
            <p:cNvGrpSpPr/>
            <p:nvPr/>
          </p:nvGrpSpPr>
          <p:grpSpPr>
            <a:xfrm>
              <a:off x="0" y="153125"/>
              <a:ext cx="13958844" cy="666567"/>
              <a:chOff x="0" y="153125"/>
              <a:chExt cx="13958844" cy="666567"/>
            </a:xfrm>
          </p:grpSpPr>
          <p:pic>
            <p:nvPicPr>
              <p:cNvPr id="10" name="Picture 10"/>
              <p:cNvPicPr>
                <a:picLocks noChangeAspect="1"/>
              </p:cNvPicPr>
              <p:nvPr/>
            </p:nvPicPr>
            <p:blipFill>
              <a:blip r:embed="rId6"/>
              <a:srcRect l="134" t="91287" b="3943"/>
              <a:stretch>
                <a:fillRect/>
              </a:stretch>
            </p:blipFill>
            <p:spPr>
              <a:xfrm>
                <a:off x="0" y="153125"/>
                <a:ext cx="13958844" cy="666567"/>
              </a:xfrm>
              <a:prstGeom prst="rect">
                <a:avLst/>
              </a:prstGeom>
            </p:spPr>
          </p:pic>
          <p:sp>
            <p:nvSpPr>
              <p:cNvPr id="11" name="TextBox 11"/>
              <p:cNvSpPr txBox="1"/>
              <p:nvPr/>
            </p:nvSpPr>
            <p:spPr>
              <a:xfrm>
                <a:off x="228600" y="257980"/>
                <a:ext cx="5752704" cy="456856"/>
              </a:xfrm>
              <a:prstGeom prst="rect">
                <a:avLst/>
              </a:prstGeom>
            </p:spPr>
            <p:txBody>
              <a:bodyPr wrap="square" lIns="0" tIns="0" rIns="0" bIns="0" rtlCol="0" anchor="t">
                <a:spAutoFit/>
              </a:bodyPr>
              <a:lstStyle/>
              <a:p>
                <a:pPr>
                  <a:lnSpc>
                    <a:spcPts val="3919"/>
                  </a:lnSpc>
                  <a:spcBef>
                    <a:spcPct val="0"/>
                  </a:spcBef>
                </a:pPr>
                <a:endParaRPr lang="en-US" sz="2800" b="1">
                  <a:solidFill>
                    <a:srgbClr val="FFFFFF"/>
                  </a:solidFill>
                  <a:latin typeface="Arial" panose="020B0604020202020204" pitchFamily="34" charset="0"/>
                  <a:cs typeface="Arial" panose="020B0604020202020204" pitchFamily="34" charset="0"/>
                </a:endParaRPr>
              </a:p>
            </p:txBody>
          </p:sp>
        </p:grpSp>
        <p:sp>
          <p:nvSpPr>
            <p:cNvPr id="12" name="Rettangolo 11">
              <a:extLst>
                <a:ext uri="{FF2B5EF4-FFF2-40B4-BE49-F238E27FC236}">
                  <a16:creationId xmlns:a16="http://schemas.microsoft.com/office/drawing/2014/main" id="{F2E90E36-F5DF-479E-BF3B-C6F6A1CEA4E7}"/>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9" name="TextBox 14">
            <a:extLst>
              <a:ext uri="{FF2B5EF4-FFF2-40B4-BE49-F238E27FC236}">
                <a16:creationId xmlns:a16="http://schemas.microsoft.com/office/drawing/2014/main" id="{B5C457C5-5E6A-4DD1-9F95-583C431D5128}"/>
              </a:ext>
            </a:extLst>
          </p:cNvPr>
          <p:cNvSpPr txBox="1"/>
          <p:nvPr/>
        </p:nvSpPr>
        <p:spPr>
          <a:xfrm>
            <a:off x="971806" y="3768991"/>
            <a:ext cx="7162789" cy="4431983"/>
          </a:xfrm>
          <a:prstGeom prst="rect">
            <a:avLst/>
          </a:prstGeom>
        </p:spPr>
        <p:txBody>
          <a:bodyPr wrap="square" lIns="0" tIns="0" rIns="0" bIns="0" rtlCol="0" anchor="t">
            <a:spAutoFit/>
          </a:bodyPr>
          <a:lstStyle/>
          <a:p>
            <a:pPr>
              <a:buClr>
                <a:schemeClr val="accent5"/>
              </a:buClr>
            </a:pPr>
            <a:r>
              <a:rPr lang="en-US" sz="3200" b="1" dirty="0">
                <a:solidFill>
                  <a:schemeClr val="accent1"/>
                </a:solidFill>
              </a:rPr>
              <a:t>Retrofitting actions</a:t>
            </a:r>
          </a:p>
          <a:p>
            <a:pPr>
              <a:buClr>
                <a:schemeClr val="accent5"/>
              </a:buClr>
            </a:pPr>
            <a:endParaRPr lang="en-US" sz="3200" b="1" dirty="0"/>
          </a:p>
          <a:p>
            <a:pPr marL="457200" indent="-457200">
              <a:buClr>
                <a:srgbClr val="CC0033"/>
              </a:buClr>
              <a:buFont typeface="Wingdings" panose="05000000000000000000" pitchFamily="2" charset="2"/>
              <a:buChar char="ü"/>
            </a:pPr>
            <a:r>
              <a:rPr lang="en-US" sz="3200" b="1" dirty="0" err="1"/>
              <a:t>Delacquering</a:t>
            </a:r>
            <a:r>
              <a:rPr lang="en-US" sz="3200" b="1" dirty="0"/>
              <a:t> system</a:t>
            </a:r>
          </a:p>
          <a:p>
            <a:pPr marL="457200" indent="-457200">
              <a:buClr>
                <a:srgbClr val="CC0033"/>
              </a:buClr>
              <a:buFont typeface="Wingdings" panose="05000000000000000000" pitchFamily="2" charset="2"/>
              <a:buChar char="ü"/>
            </a:pPr>
            <a:endParaRPr lang="en-US" sz="3200" b="1" dirty="0"/>
          </a:p>
          <a:p>
            <a:pPr marL="457200" indent="-457200">
              <a:buClr>
                <a:srgbClr val="CC0033"/>
              </a:buClr>
              <a:buFont typeface="Wingdings" panose="05000000000000000000" pitchFamily="2" charset="2"/>
              <a:buChar char="ü"/>
            </a:pPr>
            <a:r>
              <a:rPr lang="en-US" sz="3200" b="1" dirty="0"/>
              <a:t>O</a:t>
            </a:r>
            <a:r>
              <a:rPr lang="en-US" sz="3200" b="1" baseline="-25000" dirty="0"/>
              <a:t>2</a:t>
            </a:r>
            <a:r>
              <a:rPr lang="en-US" sz="3200" b="1" dirty="0"/>
              <a:t> injection system</a:t>
            </a:r>
          </a:p>
          <a:p>
            <a:pPr marL="457200" indent="-457200">
              <a:buClr>
                <a:srgbClr val="CC0033"/>
              </a:buClr>
              <a:buFont typeface="Wingdings" panose="05000000000000000000" pitchFamily="2" charset="2"/>
              <a:buChar char="ü"/>
            </a:pPr>
            <a:endParaRPr lang="en-US" sz="3200" b="1" dirty="0"/>
          </a:p>
          <a:p>
            <a:pPr marL="457200" indent="-457200">
              <a:buClr>
                <a:srgbClr val="CC0033"/>
              </a:buClr>
              <a:buFont typeface="Wingdings" panose="05000000000000000000" pitchFamily="2" charset="2"/>
              <a:buChar char="ü"/>
            </a:pPr>
            <a:r>
              <a:rPr lang="en-US" sz="3200" b="1" dirty="0"/>
              <a:t>New burner head design</a:t>
            </a:r>
          </a:p>
          <a:p>
            <a:pPr marL="457200" indent="-457200">
              <a:buClr>
                <a:srgbClr val="CC0033"/>
              </a:buClr>
              <a:buFont typeface="Wingdings" panose="05000000000000000000" pitchFamily="2" charset="2"/>
              <a:buChar char="ü"/>
            </a:pPr>
            <a:endParaRPr lang="en-US" sz="3200" b="1" dirty="0"/>
          </a:p>
          <a:p>
            <a:pPr marL="457200" indent="-457200">
              <a:buClr>
                <a:srgbClr val="CC0033"/>
              </a:buClr>
              <a:buFont typeface="Wingdings" panose="05000000000000000000" pitchFamily="2" charset="2"/>
              <a:buChar char="ü"/>
            </a:pPr>
            <a:r>
              <a:rPr lang="en-US" sz="3200" b="1" dirty="0"/>
              <a:t>O</a:t>
            </a:r>
            <a:r>
              <a:rPr lang="en-US" sz="3200" b="1" baseline="-25000" dirty="0"/>
              <a:t>2</a:t>
            </a:r>
            <a:r>
              <a:rPr lang="en-US" sz="3200" b="1" dirty="0"/>
              <a:t> and TOC analyzers</a:t>
            </a:r>
            <a:endParaRPr lang="es-ES" sz="3200" b="1" dirty="0"/>
          </a:p>
        </p:txBody>
      </p:sp>
      <p:sp>
        <p:nvSpPr>
          <p:cNvPr id="26" name="TextBox 14">
            <a:extLst>
              <a:ext uri="{FF2B5EF4-FFF2-40B4-BE49-F238E27FC236}">
                <a16:creationId xmlns:a16="http://schemas.microsoft.com/office/drawing/2014/main" id="{7D36EA49-80B0-4761-8A24-F05F322EAC77}"/>
              </a:ext>
            </a:extLst>
          </p:cNvPr>
          <p:cNvSpPr txBox="1"/>
          <p:nvPr/>
        </p:nvSpPr>
        <p:spPr>
          <a:xfrm>
            <a:off x="9264833" y="3307326"/>
            <a:ext cx="8663748" cy="5355312"/>
          </a:xfrm>
          <a:prstGeom prst="rect">
            <a:avLst/>
          </a:prstGeom>
        </p:spPr>
        <p:txBody>
          <a:bodyPr wrap="square" lIns="0" tIns="0" rIns="0" bIns="0" rtlCol="0" anchor="t">
            <a:spAutoFit/>
          </a:bodyPr>
          <a:lstStyle/>
          <a:p>
            <a:pPr>
              <a:buClr>
                <a:schemeClr val="accent5"/>
              </a:buClr>
            </a:pPr>
            <a:r>
              <a:rPr lang="en-US" sz="3200" b="1">
                <a:solidFill>
                  <a:schemeClr val="accent2">
                    <a:lumMod val="75000"/>
                  </a:schemeClr>
                </a:solidFill>
              </a:rPr>
              <a:t>Goals</a:t>
            </a:r>
          </a:p>
          <a:p>
            <a:pPr>
              <a:buClr>
                <a:schemeClr val="accent5"/>
              </a:buClr>
            </a:pPr>
            <a:endParaRPr lang="en-US" sz="3200" b="1"/>
          </a:p>
          <a:p>
            <a:pPr marL="457200" indent="-457200">
              <a:buClr>
                <a:schemeClr val="accent2">
                  <a:lumMod val="75000"/>
                </a:schemeClr>
              </a:buClr>
              <a:buFont typeface="Wingdings" panose="05000000000000000000" pitchFamily="2" charset="2"/>
              <a:buChar char="ü"/>
            </a:pPr>
            <a:r>
              <a:rPr lang="en-GB" sz="3200" b="1"/>
              <a:t>50% increment in the amount of scrap</a:t>
            </a:r>
          </a:p>
          <a:p>
            <a:pPr marL="457200" indent="-457200">
              <a:buClr>
                <a:srgbClr val="99CC99"/>
              </a:buClr>
              <a:buFont typeface="Wingdings" panose="05000000000000000000" pitchFamily="2" charset="2"/>
              <a:buChar char="ü"/>
            </a:pPr>
            <a:endParaRPr lang="en-US" sz="2000" b="1"/>
          </a:p>
          <a:p>
            <a:pPr marL="457200" indent="-457200">
              <a:buClr>
                <a:schemeClr val="accent2">
                  <a:lumMod val="75000"/>
                </a:schemeClr>
              </a:buClr>
              <a:buFont typeface="Wingdings" panose="05000000000000000000" pitchFamily="2" charset="2"/>
              <a:buChar char="ü"/>
            </a:pPr>
            <a:r>
              <a:rPr lang="en-US" sz="3200" b="1"/>
              <a:t>Reduction of the energy consumption 15 times</a:t>
            </a:r>
          </a:p>
          <a:p>
            <a:pPr marL="457200" indent="-457200">
              <a:buClr>
                <a:srgbClr val="99CC99"/>
              </a:buClr>
              <a:buFont typeface="Wingdings" panose="05000000000000000000" pitchFamily="2" charset="2"/>
              <a:buChar char="ü"/>
            </a:pPr>
            <a:endParaRPr lang="en-US" sz="2400" b="1"/>
          </a:p>
          <a:p>
            <a:pPr marL="457200" indent="-457200">
              <a:buClr>
                <a:schemeClr val="accent2">
                  <a:lumMod val="75000"/>
                </a:schemeClr>
              </a:buClr>
              <a:buFont typeface="Wingdings" panose="05000000000000000000" pitchFamily="2" charset="2"/>
              <a:buChar char="ü"/>
            </a:pPr>
            <a:r>
              <a:rPr lang="en-US" sz="3200" b="1"/>
              <a:t>More efficient combustion</a:t>
            </a:r>
          </a:p>
          <a:p>
            <a:pPr marL="457200" indent="-457200">
              <a:buClr>
                <a:srgbClr val="99CC99"/>
              </a:buClr>
              <a:buFont typeface="Wingdings" panose="05000000000000000000" pitchFamily="2" charset="2"/>
              <a:buChar char="ü"/>
            </a:pPr>
            <a:endParaRPr lang="en-US" sz="2400" b="1"/>
          </a:p>
          <a:p>
            <a:pPr marL="457200" indent="-457200">
              <a:buClr>
                <a:schemeClr val="accent2">
                  <a:lumMod val="75000"/>
                </a:schemeClr>
              </a:buClr>
              <a:buFont typeface="Wingdings" panose="05000000000000000000" pitchFamily="2" charset="2"/>
              <a:buChar char="ü"/>
            </a:pPr>
            <a:r>
              <a:rPr lang="en-US" sz="3200" b="1"/>
              <a:t>Reduction of the GHG emissions</a:t>
            </a:r>
          </a:p>
          <a:p>
            <a:pPr marL="457200" indent="-457200">
              <a:buClr>
                <a:srgbClr val="99CC99"/>
              </a:buClr>
              <a:buFont typeface="Wingdings" panose="05000000000000000000" pitchFamily="2" charset="2"/>
              <a:buChar char="ü"/>
            </a:pPr>
            <a:endParaRPr lang="en-US" sz="2400" b="1"/>
          </a:p>
          <a:p>
            <a:pPr marL="457200" indent="-457200">
              <a:buClr>
                <a:schemeClr val="accent2">
                  <a:lumMod val="75000"/>
                </a:schemeClr>
              </a:buClr>
              <a:buFont typeface="Wingdings" panose="05000000000000000000" pitchFamily="2" charset="2"/>
              <a:buChar char="ü"/>
            </a:pPr>
            <a:r>
              <a:rPr lang="en-US" sz="3200" b="1"/>
              <a:t>Improved M&amp;C system</a:t>
            </a:r>
            <a:endParaRPr lang="es-ES" sz="3200" b="1"/>
          </a:p>
        </p:txBody>
      </p:sp>
      <p:cxnSp>
        <p:nvCxnSpPr>
          <p:cNvPr id="22" name="Conector recto 21">
            <a:extLst>
              <a:ext uri="{FF2B5EF4-FFF2-40B4-BE49-F238E27FC236}">
                <a16:creationId xmlns:a16="http://schemas.microsoft.com/office/drawing/2014/main" id="{9FC0026C-9C0D-4C19-96D8-569D0A2602DC}"/>
              </a:ext>
            </a:extLst>
          </p:cNvPr>
          <p:cNvCxnSpPr>
            <a:cxnSpLocks/>
          </p:cNvCxnSpPr>
          <p:nvPr/>
        </p:nvCxnSpPr>
        <p:spPr>
          <a:xfrm>
            <a:off x="8915400" y="3115427"/>
            <a:ext cx="0" cy="2880000"/>
          </a:xfrm>
          <a:prstGeom prst="line">
            <a:avLst/>
          </a:prstGeom>
          <a:ln w="63500"/>
        </p:spPr>
        <p:style>
          <a:lnRef idx="1">
            <a:schemeClr val="accent1"/>
          </a:lnRef>
          <a:fillRef idx="0">
            <a:schemeClr val="accent1"/>
          </a:fillRef>
          <a:effectRef idx="0">
            <a:schemeClr val="accent1"/>
          </a:effectRef>
          <a:fontRef idx="minor">
            <a:schemeClr val="tx1"/>
          </a:fontRef>
        </p:style>
      </p:cxnSp>
      <p:cxnSp>
        <p:nvCxnSpPr>
          <p:cNvPr id="23" name="Conector recto 22">
            <a:extLst>
              <a:ext uri="{FF2B5EF4-FFF2-40B4-BE49-F238E27FC236}">
                <a16:creationId xmlns:a16="http://schemas.microsoft.com/office/drawing/2014/main" id="{4AA0FCEF-C219-4FCC-B709-3C1AA09BC25C}"/>
              </a:ext>
            </a:extLst>
          </p:cNvPr>
          <p:cNvCxnSpPr>
            <a:cxnSpLocks/>
          </p:cNvCxnSpPr>
          <p:nvPr/>
        </p:nvCxnSpPr>
        <p:spPr>
          <a:xfrm>
            <a:off x="8915400" y="5898716"/>
            <a:ext cx="0" cy="2880000"/>
          </a:xfrm>
          <a:prstGeom prst="line">
            <a:avLst/>
          </a:prstGeom>
          <a:ln w="63500">
            <a:solidFill>
              <a:srgbClr val="99CC99"/>
            </a:solidFill>
          </a:ln>
        </p:spPr>
        <p:style>
          <a:lnRef idx="1">
            <a:schemeClr val="accent1"/>
          </a:lnRef>
          <a:fillRef idx="0">
            <a:schemeClr val="accent1"/>
          </a:fillRef>
          <a:effectRef idx="0">
            <a:schemeClr val="accent1"/>
          </a:effectRef>
          <a:fontRef idx="minor">
            <a:schemeClr val="tx1"/>
          </a:fontRef>
        </p:style>
      </p:cxnSp>
      <p:pic>
        <p:nvPicPr>
          <p:cNvPr id="4" name="Imagen 113">
            <a:extLst>
              <a:ext uri="{FF2B5EF4-FFF2-40B4-BE49-F238E27FC236}">
                <a16:creationId xmlns:a16="http://schemas.microsoft.com/office/drawing/2014/main" id="{36157C0D-4F26-46F7-B880-83100D1F971A}"/>
              </a:ext>
            </a:extLst>
          </p:cNvPr>
          <p:cNvPicPr>
            <a:picLocks noChangeAspect="1"/>
          </p:cNvPicPr>
          <p:nvPr/>
        </p:nvPicPr>
        <p:blipFill rotWithShape="1">
          <a:blip r:embed="rId7"/>
          <a:srcRect r="7132" b="12033"/>
          <a:stretch/>
        </p:blipFill>
        <p:spPr>
          <a:xfrm>
            <a:off x="9264833" y="978282"/>
            <a:ext cx="2739964" cy="1036941"/>
          </a:xfrm>
          <a:prstGeom prst="rect">
            <a:avLst/>
          </a:prstGeom>
        </p:spPr>
      </p:pic>
      <p:sp>
        <p:nvSpPr>
          <p:cNvPr id="24" name="TextBox 23">
            <a:extLst>
              <a:ext uri="{FF2B5EF4-FFF2-40B4-BE49-F238E27FC236}">
                <a16:creationId xmlns:a16="http://schemas.microsoft.com/office/drawing/2014/main" id="{18A1E8C5-B4EA-439B-9904-844DAB8EC6FB}"/>
              </a:ext>
            </a:extLst>
          </p:cNvPr>
          <p:cNvSpPr txBox="1"/>
          <p:nvPr/>
        </p:nvSpPr>
        <p:spPr>
          <a:xfrm>
            <a:off x="741948" y="1119170"/>
            <a:ext cx="13958841" cy="830997"/>
          </a:xfrm>
          <a:prstGeom prst="rect">
            <a:avLst/>
          </a:prstGeom>
          <a:noFill/>
        </p:spPr>
        <p:txBody>
          <a:bodyPr wrap="square">
            <a:spAutoFit/>
          </a:bodyPr>
          <a:lstStyle/>
          <a:p>
            <a:r>
              <a:rPr lang="en-US" sz="4800" b="1" dirty="0">
                <a:solidFill>
                  <a:srgbClr val="CC0033"/>
                </a:solidFill>
                <a:latin typeface="+mj-lt"/>
                <a:cs typeface="Arial" panose="020B0604020202020204" pitchFamily="34" charset="0"/>
              </a:rPr>
              <a:t>Actions, goals and results at</a:t>
            </a:r>
          </a:p>
        </p:txBody>
      </p:sp>
    </p:spTree>
    <p:extLst>
      <p:ext uri="{BB962C8B-B14F-4D97-AF65-F5344CB8AC3E}">
        <p14:creationId xmlns:p14="http://schemas.microsoft.com/office/powerpoint/2010/main" val="4205848860"/>
      </p:ext>
    </p:extLst>
  </p:cSld>
  <p:clrMapOvr>
    <a:masterClrMapping/>
  </p:clrMapOvr>
  <mc:AlternateContent xmlns:mc="http://schemas.openxmlformats.org/markup-compatibility/2006" xmlns:p14="http://schemas.microsoft.com/office/powerpoint/2010/main">
    <mc:Choice Requires="p14">
      <p:transition spd="slow" p14:dur="2000" advTm="92160"/>
    </mc:Choice>
    <mc:Fallback xmlns="">
      <p:transition spd="slow" advTm="92160"/>
    </mc:Fallback>
  </mc:AlternateContent>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6"/>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marL="0" marR="0" lvl="0" indent="0" algn="ctr" defTabSz="914400" rtl="0" eaLnBrk="1" fontAlgn="auto" latinLnBrk="0" hangingPunct="1">
                <a:lnSpc>
                  <a:spcPts val="3919"/>
                </a:lnSpc>
                <a:spcBef>
                  <a:spcPct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OCR A Extended" panose="02010509020102010303" pitchFamily="50" charset="0"/>
                  <a:ea typeface="+mn-ea"/>
                  <a:cs typeface="+mn-cs"/>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4"/>
          <a:srcRect/>
          <a:stretch>
            <a:fillRect/>
          </a:stretch>
        </p:blipFill>
        <p:spPr>
          <a:xfrm>
            <a:off x="0" y="8901113"/>
            <a:ext cx="5715000" cy="1385887"/>
          </a:xfrm>
          <a:prstGeom prst="rect">
            <a:avLst/>
          </a:prstGeom>
        </p:spPr>
      </p:pic>
      <p:grpSp>
        <p:nvGrpSpPr>
          <p:cNvPr id="3" name="Gruppo 2">
            <a:extLst>
              <a:ext uri="{FF2B5EF4-FFF2-40B4-BE49-F238E27FC236}">
                <a16:creationId xmlns:a16="http://schemas.microsoft.com/office/drawing/2014/main" id="{1C29CBCA-BE0A-4EF6-AC69-329941E1DCFD}"/>
              </a:ext>
            </a:extLst>
          </p:cNvPr>
          <p:cNvGrpSpPr/>
          <p:nvPr/>
        </p:nvGrpSpPr>
        <p:grpSpPr>
          <a:xfrm>
            <a:off x="-12" y="138554"/>
            <a:ext cx="18288002" cy="681138"/>
            <a:chOff x="-12" y="138554"/>
            <a:chExt cx="18288002" cy="681138"/>
          </a:xfrm>
        </p:grpSpPr>
        <p:grpSp>
          <p:nvGrpSpPr>
            <p:cNvPr id="2" name="Gruppo 1">
              <a:extLst>
                <a:ext uri="{FF2B5EF4-FFF2-40B4-BE49-F238E27FC236}">
                  <a16:creationId xmlns:a16="http://schemas.microsoft.com/office/drawing/2014/main" id="{24E9C7AF-0093-476F-826C-A2702AB72892}"/>
                </a:ext>
              </a:extLst>
            </p:cNvPr>
            <p:cNvGrpSpPr/>
            <p:nvPr/>
          </p:nvGrpSpPr>
          <p:grpSpPr>
            <a:xfrm>
              <a:off x="0" y="153125"/>
              <a:ext cx="17907000" cy="666567"/>
              <a:chOff x="0" y="153125"/>
              <a:chExt cx="17907000" cy="666567"/>
            </a:xfrm>
          </p:grpSpPr>
          <p:grpSp>
            <p:nvGrpSpPr>
              <p:cNvPr id="16" name="Gruppo 15">
                <a:extLst>
                  <a:ext uri="{FF2B5EF4-FFF2-40B4-BE49-F238E27FC236}">
                    <a16:creationId xmlns:a16="http://schemas.microsoft.com/office/drawing/2014/main" id="{DAC42A46-917D-41AB-8F07-E15E54D0F7D4}"/>
                  </a:ext>
                </a:extLst>
              </p:cNvPr>
              <p:cNvGrpSpPr/>
              <p:nvPr/>
            </p:nvGrpSpPr>
            <p:grpSpPr>
              <a:xfrm>
                <a:off x="0" y="153125"/>
                <a:ext cx="13958844" cy="666567"/>
                <a:chOff x="0" y="153125"/>
                <a:chExt cx="13958844" cy="666567"/>
              </a:xfrm>
            </p:grpSpPr>
            <p:pic>
              <p:nvPicPr>
                <p:cNvPr id="10" name="Picture 10"/>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1" name="TextBox 11"/>
                <p:cNvSpPr txBox="1"/>
                <p:nvPr/>
              </p:nvSpPr>
              <p:spPr>
                <a:xfrm>
                  <a:off x="228600" y="257980"/>
                  <a:ext cx="9144000" cy="456856"/>
                </a:xfrm>
                <a:prstGeom prst="rect">
                  <a:avLst/>
                </a:prstGeom>
              </p:spPr>
              <p:txBody>
                <a:bodyPr wrap="square" lIns="0" tIns="0" rIns="0" bIns="0" rtlCol="0" anchor="t">
                  <a:spAutoFit/>
                </a:bodyPr>
                <a:lstStyle/>
                <a:p>
                  <a:pPr marL="0" marR="0" lvl="0" indent="0" algn="l" defTabSz="914400" rtl="0" eaLnBrk="1" fontAlgn="auto" latinLnBrk="0" hangingPunct="1">
                    <a:lnSpc>
                      <a:spcPts val="3919"/>
                    </a:lnSpc>
                    <a:spcBef>
                      <a:spcPct val="0"/>
                    </a:spcBef>
                    <a:spcAft>
                      <a:spcPts val="0"/>
                    </a:spcAft>
                    <a:buClrTx/>
                    <a:buSzTx/>
                    <a:buFontTx/>
                    <a:buNone/>
                    <a:tabLst/>
                    <a:defRPr/>
                  </a:pPr>
                  <a:endParaRPr kumimoji="0" lang="en-US" sz="2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2" name="TextBox 11">
                <a:extLst>
                  <a:ext uri="{FF2B5EF4-FFF2-40B4-BE49-F238E27FC236}">
                    <a16:creationId xmlns:a16="http://schemas.microsoft.com/office/drawing/2014/main" id="{1BD9B5F4-614C-4EB6-8C5B-120A5420CE43}"/>
                  </a:ext>
                </a:extLst>
              </p:cNvPr>
              <p:cNvSpPr txBox="1"/>
              <p:nvPr/>
            </p:nvSpPr>
            <p:spPr>
              <a:xfrm>
                <a:off x="12154296" y="257980"/>
                <a:ext cx="5752704" cy="456856"/>
              </a:xfrm>
              <a:prstGeom prst="rect">
                <a:avLst/>
              </a:prstGeom>
            </p:spPr>
            <p:txBody>
              <a:bodyPr wrap="square" lIns="0" tIns="0" rIns="0" bIns="0" rtlCol="0" anchor="t">
                <a:spAutoFit/>
              </a:bodyPr>
              <a:lstStyle/>
              <a:p>
                <a:pPr marL="0" marR="0" lvl="0" indent="0" algn="r" defTabSz="914400" rtl="0" eaLnBrk="1" fontAlgn="auto" latinLnBrk="0" hangingPunct="1">
                  <a:lnSpc>
                    <a:spcPts val="3919"/>
                  </a:lnSpc>
                  <a:spcBef>
                    <a:spcPct val="0"/>
                  </a:spcBef>
                  <a:spcAft>
                    <a:spcPts val="0"/>
                  </a:spcAft>
                  <a:buClrTx/>
                  <a:buSzTx/>
                  <a:buFontTx/>
                  <a:buNone/>
                  <a:tabLst/>
                  <a:defRPr/>
                </a:pPr>
                <a:endParaRPr kumimoji="0" lang="en-US" sz="2800" b="0" i="0" u="none" strike="noStrike" kern="1200" cap="none" spc="0" normalizeH="0" baseline="0" noProof="0">
                  <a:ln>
                    <a:noFill/>
                  </a:ln>
                  <a:solidFill>
                    <a:srgbClr val="2F2F2F">
                      <a:lumMod val="75000"/>
                      <a:lumOff val="25000"/>
                    </a:srgbClr>
                  </a:solidFill>
                  <a:effectLst/>
                  <a:uLnTx/>
                  <a:uFillTx/>
                  <a:latin typeface="Arial" panose="020B0604020202020204" pitchFamily="34" charset="0"/>
                  <a:ea typeface="+mn-ea"/>
                  <a:cs typeface="Arial" panose="020B0604020202020204" pitchFamily="34" charset="0"/>
                </a:endParaRPr>
              </a:p>
            </p:txBody>
          </p:sp>
        </p:grpSp>
        <p:sp>
          <p:nvSpPr>
            <p:cNvPr id="14" name="Rettangolo 13">
              <a:extLst>
                <a:ext uri="{FF2B5EF4-FFF2-40B4-BE49-F238E27FC236}">
                  <a16:creationId xmlns:a16="http://schemas.microsoft.com/office/drawing/2014/main" id="{55199736-B8B6-4C9A-8BAF-233E07A0CA89}"/>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pic>
        <p:nvPicPr>
          <p:cNvPr id="1034" name="Picture 10" descr="RETROFEED ASAS">
            <a:extLst>
              <a:ext uri="{FF2B5EF4-FFF2-40B4-BE49-F238E27FC236}">
                <a16:creationId xmlns:a16="http://schemas.microsoft.com/office/drawing/2014/main" id="{D31A2110-625B-4FE3-9A22-3ACB99F60EEA}"/>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3121399" y="1140359"/>
            <a:ext cx="2365035" cy="613431"/>
          </a:xfrm>
          <a:prstGeom prst="rect">
            <a:avLst/>
          </a:prstGeom>
          <a:noFill/>
          <a:extLst>
            <a:ext uri="{909E8E84-426E-40DD-AFC4-6F175D3DCCD1}">
              <a14:hiddenFill xmlns:a14="http://schemas.microsoft.com/office/drawing/2010/main">
                <a:solidFill>
                  <a:srgbClr val="FFFFFF"/>
                </a:solidFill>
              </a14:hiddenFill>
            </a:ext>
          </a:extLst>
        </p:spPr>
      </p:pic>
      <p:sp>
        <p:nvSpPr>
          <p:cNvPr id="22" name="TextBox 14">
            <a:extLst>
              <a:ext uri="{FF2B5EF4-FFF2-40B4-BE49-F238E27FC236}">
                <a16:creationId xmlns:a16="http://schemas.microsoft.com/office/drawing/2014/main" id="{D017B3E6-791A-FA81-0461-E130D280368B}"/>
              </a:ext>
            </a:extLst>
          </p:cNvPr>
          <p:cNvSpPr txBox="1"/>
          <p:nvPr/>
        </p:nvSpPr>
        <p:spPr>
          <a:xfrm>
            <a:off x="669471" y="1943632"/>
            <a:ext cx="7162789" cy="553998"/>
          </a:xfrm>
          <a:prstGeom prst="rect">
            <a:avLst/>
          </a:prstGeom>
        </p:spPr>
        <p:txBody>
          <a:bodyPr wrap="square" lIns="0" tIns="0" rIns="0" bIns="0" rtlCol="0" anchor="t">
            <a:spAutoFit/>
          </a:bodyPr>
          <a:lstStyle/>
          <a:p>
            <a:pPr marL="457200" marR="0" lvl="0" indent="-457200" algn="l" defTabSz="914400" rtl="0" eaLnBrk="1" fontAlgn="auto" latinLnBrk="0" hangingPunct="1">
              <a:lnSpc>
                <a:spcPct val="100000"/>
              </a:lnSpc>
              <a:spcBef>
                <a:spcPts val="0"/>
              </a:spcBef>
              <a:spcAft>
                <a:spcPts val="0"/>
              </a:spcAft>
              <a:buClr>
                <a:srgbClr val="CC0033"/>
              </a:buClr>
              <a:buSzTx/>
              <a:buFont typeface="Wingdings" panose="05000000000000000000" pitchFamily="2" charset="2"/>
              <a:buChar char="ü"/>
              <a:tabLst/>
              <a:defRPr/>
            </a:pPr>
            <a:r>
              <a:rPr kumimoji="0" lang="en-US" sz="3600" b="1" i="0" u="none" strike="noStrike" kern="1200" cap="none" spc="0" normalizeH="0" baseline="0" noProof="0" err="1">
                <a:ln>
                  <a:noFill/>
                </a:ln>
                <a:solidFill>
                  <a:srgbClr val="2F2F2F"/>
                </a:solidFill>
                <a:effectLst/>
                <a:uLnTx/>
                <a:uFillTx/>
                <a:latin typeface="Arial"/>
                <a:ea typeface="+mn-ea"/>
                <a:cs typeface="+mn-cs"/>
              </a:rPr>
              <a:t>Delacquering</a:t>
            </a:r>
            <a:r>
              <a:rPr kumimoji="0" lang="en-US" sz="3600" b="1" i="0" u="none" strike="noStrike" kern="1200" cap="none" spc="0" normalizeH="0" baseline="0" noProof="0">
                <a:ln>
                  <a:noFill/>
                </a:ln>
                <a:solidFill>
                  <a:srgbClr val="2F2F2F"/>
                </a:solidFill>
                <a:effectLst/>
                <a:uLnTx/>
                <a:uFillTx/>
                <a:latin typeface="Arial"/>
                <a:ea typeface="+mn-ea"/>
                <a:cs typeface="+mn-cs"/>
              </a:rPr>
              <a:t> system</a:t>
            </a:r>
          </a:p>
        </p:txBody>
      </p:sp>
      <p:pic>
        <p:nvPicPr>
          <p:cNvPr id="25" name="Imagen 24">
            <a:extLst>
              <a:ext uri="{FF2B5EF4-FFF2-40B4-BE49-F238E27FC236}">
                <a16:creationId xmlns:a16="http://schemas.microsoft.com/office/drawing/2014/main" id="{A3F065DE-0E03-614C-D2E4-54D9EECFDAC8}"/>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669471" y="2809432"/>
            <a:ext cx="11103931" cy="5095429"/>
          </a:xfrm>
          <a:prstGeom prst="rect">
            <a:avLst/>
          </a:prstGeom>
          <a:noFill/>
          <a:ln>
            <a:noFill/>
          </a:ln>
        </p:spPr>
      </p:pic>
      <p:sp>
        <p:nvSpPr>
          <p:cNvPr id="31" name="textruta 30">
            <a:extLst>
              <a:ext uri="{FF2B5EF4-FFF2-40B4-BE49-F238E27FC236}">
                <a16:creationId xmlns:a16="http://schemas.microsoft.com/office/drawing/2014/main" id="{8FE51E4C-4FCD-3430-58F4-8A803C5B90FB}"/>
              </a:ext>
            </a:extLst>
          </p:cNvPr>
          <p:cNvSpPr txBox="1"/>
          <p:nvPr/>
        </p:nvSpPr>
        <p:spPr>
          <a:xfrm>
            <a:off x="669471" y="8216664"/>
            <a:ext cx="16684674" cy="923330"/>
          </a:xfrm>
          <a:prstGeom prst="rect">
            <a:avLst/>
          </a:prstGeom>
          <a:noFill/>
        </p:spPr>
        <p:txBody>
          <a:bodyPr wrap="square">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GB" sz="1800" b="0" i="1" u="none" strike="noStrike" kern="100" cap="none" spc="0" normalizeH="0" baseline="0" noProof="0" dirty="0" err="1">
                <a:ln>
                  <a:noFill/>
                </a:ln>
                <a:solidFill>
                  <a:srgbClr val="404040"/>
                </a:solidFill>
                <a:effectLst/>
                <a:uLnTx/>
                <a:uFillTx/>
                <a:latin typeface="Liberation Serif"/>
                <a:ea typeface="Noto Sans CJK SC"/>
                <a:cs typeface="Lohit Devanagari"/>
              </a:rPr>
              <a:t>Delacquering</a:t>
            </a:r>
            <a:r>
              <a:rPr kumimoji="0" lang="en-GB" sz="1800" b="0" i="1" u="none" strike="noStrike" kern="100" cap="none" spc="0" normalizeH="0" baseline="0" noProof="0" dirty="0">
                <a:ln>
                  <a:noFill/>
                </a:ln>
                <a:solidFill>
                  <a:srgbClr val="404040"/>
                </a:solidFill>
                <a:effectLst/>
                <a:uLnTx/>
                <a:uFillTx/>
                <a:latin typeface="Liberation Serif"/>
                <a:ea typeface="Noto Sans CJK SC"/>
                <a:cs typeface="Lohit Devanagari"/>
              </a:rPr>
              <a:t> Process: a) Material filling is performed, b) Material is conveyed through a conveyor, c) Material is transferred to the drum furnace, d) Lacquer removal process is completed inside the drum furnace with the specified parameters, e) The system has comprehensive automation, f) Waste materials (dust, etc.) are separated, g) Material exit occurred, h) </a:t>
            </a:r>
            <a:r>
              <a:rPr kumimoji="0" lang="en-GB" sz="1800" b="0" i="1" u="none" strike="noStrike" kern="100" cap="none" spc="0" normalizeH="0" baseline="0" noProof="0" dirty="0" err="1">
                <a:ln>
                  <a:noFill/>
                </a:ln>
                <a:solidFill>
                  <a:srgbClr val="404040"/>
                </a:solidFill>
                <a:effectLst/>
                <a:uLnTx/>
                <a:uFillTx/>
                <a:latin typeface="Liberation Serif"/>
                <a:ea typeface="Noto Sans CJK SC"/>
                <a:cs typeface="Lohit Devanagari"/>
              </a:rPr>
              <a:t>Delacquered</a:t>
            </a:r>
            <a:r>
              <a:rPr kumimoji="0" lang="en-GB" sz="1800" b="0" i="1" u="none" strike="noStrike" kern="100" cap="none" spc="0" normalizeH="0" baseline="0" noProof="0" dirty="0">
                <a:ln>
                  <a:noFill/>
                </a:ln>
                <a:solidFill>
                  <a:srgbClr val="404040"/>
                </a:solidFill>
                <a:effectLst/>
                <a:uLnTx/>
                <a:uFillTx/>
                <a:latin typeface="Liberation Serif"/>
                <a:ea typeface="Noto Sans CJK SC"/>
                <a:cs typeface="Lohit Devanagari"/>
              </a:rPr>
              <a:t> material is obtained.</a:t>
            </a:r>
            <a:endParaRPr kumimoji="0" lang="sv-SE" sz="1800" b="0" i="1" u="none" strike="noStrike" kern="100" cap="none" spc="0" normalizeH="0" baseline="0" noProof="0" dirty="0">
              <a:ln>
                <a:noFill/>
              </a:ln>
              <a:solidFill>
                <a:srgbClr val="404040"/>
              </a:solidFill>
              <a:effectLst/>
              <a:uLnTx/>
              <a:uFillTx/>
              <a:latin typeface="Liberation Serif"/>
              <a:ea typeface="Noto Sans CJK SC"/>
              <a:cs typeface="Lohit Devanagari"/>
            </a:endParaRPr>
          </a:p>
        </p:txBody>
      </p:sp>
      <p:sp>
        <p:nvSpPr>
          <p:cNvPr id="8" name="TextBox 13">
            <a:extLst>
              <a:ext uri="{FF2B5EF4-FFF2-40B4-BE49-F238E27FC236}">
                <a16:creationId xmlns:a16="http://schemas.microsoft.com/office/drawing/2014/main" id="{A852908A-3A57-F674-23AE-407E48F0B64D}"/>
              </a:ext>
            </a:extLst>
          </p:cNvPr>
          <p:cNvSpPr txBox="1"/>
          <p:nvPr/>
        </p:nvSpPr>
        <p:spPr>
          <a:xfrm>
            <a:off x="-418135" y="799670"/>
            <a:ext cx="16194313" cy="1040798"/>
          </a:xfrm>
          <a:prstGeom prst="rect">
            <a:avLst/>
          </a:prstGeom>
        </p:spPr>
        <p:txBody>
          <a:bodyPr wrap="square" lIns="0" tIns="0" rIns="0" bIns="0" rtlCol="0" anchor="t">
            <a:spAutoFit/>
          </a:bodyPr>
          <a:lstStyle/>
          <a:p>
            <a:pPr marL="0" marR="0" lvl="0" indent="0" algn="ctr" defTabSz="914400" rtl="0" eaLnBrk="1" fontAlgn="auto" latinLnBrk="0" hangingPunct="1">
              <a:lnSpc>
                <a:spcPts val="8960"/>
              </a:lnSpc>
              <a:spcBef>
                <a:spcPct val="0"/>
              </a:spcBef>
              <a:spcAft>
                <a:spcPts val="0"/>
              </a:spcAft>
              <a:buClrTx/>
              <a:buSzTx/>
              <a:buFontTx/>
              <a:buNone/>
              <a:tabLst/>
              <a:defRPr/>
            </a:pPr>
            <a:r>
              <a:rPr kumimoji="0" lang="en-US" sz="6000" b="1" i="0" u="none" strike="noStrike" kern="1200" cap="none" spc="0" normalizeH="0" baseline="0" noProof="0">
                <a:ln>
                  <a:noFill/>
                </a:ln>
                <a:solidFill>
                  <a:srgbClr val="CC0033"/>
                </a:solidFill>
                <a:effectLst/>
                <a:uLnTx/>
                <a:uFillTx/>
                <a:latin typeface="Arial"/>
                <a:ea typeface="+mn-ea"/>
                <a:cs typeface="Arial" panose="020B0604020202020204" pitchFamily="34" charset="0"/>
              </a:rPr>
              <a:t>Actions, goals and results at</a:t>
            </a:r>
          </a:p>
        </p:txBody>
      </p:sp>
      <p:pic>
        <p:nvPicPr>
          <p:cNvPr id="5" name="Bildobjekt 4">
            <a:extLst>
              <a:ext uri="{FF2B5EF4-FFF2-40B4-BE49-F238E27FC236}">
                <a16:creationId xmlns:a16="http://schemas.microsoft.com/office/drawing/2014/main" id="{E8FD5421-C353-0A1E-6C62-46FFC20FCAE6}"/>
              </a:ext>
            </a:extLst>
          </p:cNvPr>
          <p:cNvPicPr>
            <a:picLocks noChangeAspect="1"/>
          </p:cNvPicPr>
          <p:nvPr/>
        </p:nvPicPr>
        <p:blipFill>
          <a:blip r:embed="rId8"/>
          <a:stretch>
            <a:fillRect/>
          </a:stretch>
        </p:blipFill>
        <p:spPr>
          <a:xfrm>
            <a:off x="11960679" y="2847975"/>
            <a:ext cx="5657850" cy="2295525"/>
          </a:xfrm>
          <a:prstGeom prst="rect">
            <a:avLst/>
          </a:prstGeom>
        </p:spPr>
      </p:pic>
    </p:spTree>
    <p:extLst>
      <p:ext uri="{BB962C8B-B14F-4D97-AF65-F5344CB8AC3E}">
        <p14:creationId xmlns:p14="http://schemas.microsoft.com/office/powerpoint/2010/main" val="3793846377"/>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6"/>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marL="0" marR="0" lvl="0" indent="0" algn="ctr" defTabSz="914400" rtl="0" eaLnBrk="1" fontAlgn="auto" latinLnBrk="0" hangingPunct="1">
                <a:lnSpc>
                  <a:spcPts val="3919"/>
                </a:lnSpc>
                <a:spcBef>
                  <a:spcPct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OCR A Extended" panose="02010509020102010303" pitchFamily="50" charset="0"/>
                  <a:ea typeface="+mn-ea"/>
                  <a:cs typeface="+mn-cs"/>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4"/>
          <a:srcRect/>
          <a:stretch>
            <a:fillRect/>
          </a:stretch>
        </p:blipFill>
        <p:spPr>
          <a:xfrm>
            <a:off x="0" y="8901113"/>
            <a:ext cx="5715000" cy="1385887"/>
          </a:xfrm>
          <a:prstGeom prst="rect">
            <a:avLst/>
          </a:prstGeom>
        </p:spPr>
      </p:pic>
      <p:grpSp>
        <p:nvGrpSpPr>
          <p:cNvPr id="3" name="Gruppo 2">
            <a:extLst>
              <a:ext uri="{FF2B5EF4-FFF2-40B4-BE49-F238E27FC236}">
                <a16:creationId xmlns:a16="http://schemas.microsoft.com/office/drawing/2014/main" id="{1C29CBCA-BE0A-4EF6-AC69-329941E1DCFD}"/>
              </a:ext>
            </a:extLst>
          </p:cNvPr>
          <p:cNvGrpSpPr/>
          <p:nvPr/>
        </p:nvGrpSpPr>
        <p:grpSpPr>
          <a:xfrm>
            <a:off x="-12" y="138554"/>
            <a:ext cx="18288002" cy="681138"/>
            <a:chOff x="-12" y="138554"/>
            <a:chExt cx="18288002" cy="681138"/>
          </a:xfrm>
        </p:grpSpPr>
        <p:grpSp>
          <p:nvGrpSpPr>
            <p:cNvPr id="2" name="Gruppo 1">
              <a:extLst>
                <a:ext uri="{FF2B5EF4-FFF2-40B4-BE49-F238E27FC236}">
                  <a16:creationId xmlns:a16="http://schemas.microsoft.com/office/drawing/2014/main" id="{24E9C7AF-0093-476F-826C-A2702AB72892}"/>
                </a:ext>
              </a:extLst>
            </p:cNvPr>
            <p:cNvGrpSpPr/>
            <p:nvPr/>
          </p:nvGrpSpPr>
          <p:grpSpPr>
            <a:xfrm>
              <a:off x="0" y="153125"/>
              <a:ext cx="17907000" cy="666567"/>
              <a:chOff x="0" y="153125"/>
              <a:chExt cx="17907000" cy="666567"/>
            </a:xfrm>
          </p:grpSpPr>
          <p:grpSp>
            <p:nvGrpSpPr>
              <p:cNvPr id="16" name="Gruppo 15">
                <a:extLst>
                  <a:ext uri="{FF2B5EF4-FFF2-40B4-BE49-F238E27FC236}">
                    <a16:creationId xmlns:a16="http://schemas.microsoft.com/office/drawing/2014/main" id="{DAC42A46-917D-41AB-8F07-E15E54D0F7D4}"/>
                  </a:ext>
                </a:extLst>
              </p:cNvPr>
              <p:cNvGrpSpPr/>
              <p:nvPr/>
            </p:nvGrpSpPr>
            <p:grpSpPr>
              <a:xfrm>
                <a:off x="0" y="153125"/>
                <a:ext cx="13958844" cy="666567"/>
                <a:chOff x="0" y="153125"/>
                <a:chExt cx="13958844" cy="666567"/>
              </a:xfrm>
            </p:grpSpPr>
            <p:pic>
              <p:nvPicPr>
                <p:cNvPr id="10" name="Picture 10"/>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1" name="TextBox 11"/>
                <p:cNvSpPr txBox="1"/>
                <p:nvPr/>
              </p:nvSpPr>
              <p:spPr>
                <a:xfrm>
                  <a:off x="228600" y="257980"/>
                  <a:ext cx="9144000" cy="456856"/>
                </a:xfrm>
                <a:prstGeom prst="rect">
                  <a:avLst/>
                </a:prstGeom>
              </p:spPr>
              <p:txBody>
                <a:bodyPr wrap="square" lIns="0" tIns="0" rIns="0" bIns="0" rtlCol="0" anchor="t">
                  <a:spAutoFit/>
                </a:bodyPr>
                <a:lstStyle/>
                <a:p>
                  <a:pPr marL="0" marR="0" lvl="0" indent="0" algn="l" defTabSz="914400" rtl="0" eaLnBrk="1" fontAlgn="auto" latinLnBrk="0" hangingPunct="1">
                    <a:lnSpc>
                      <a:spcPts val="3919"/>
                    </a:lnSpc>
                    <a:spcBef>
                      <a:spcPct val="0"/>
                    </a:spcBef>
                    <a:spcAft>
                      <a:spcPts val="0"/>
                    </a:spcAft>
                    <a:buClrTx/>
                    <a:buSzTx/>
                    <a:buFontTx/>
                    <a:buNone/>
                    <a:tabLst/>
                    <a:defRPr/>
                  </a:pPr>
                  <a:endParaRPr kumimoji="0" lang="en-US" sz="2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2" name="TextBox 11">
                <a:extLst>
                  <a:ext uri="{FF2B5EF4-FFF2-40B4-BE49-F238E27FC236}">
                    <a16:creationId xmlns:a16="http://schemas.microsoft.com/office/drawing/2014/main" id="{1BD9B5F4-614C-4EB6-8C5B-120A5420CE43}"/>
                  </a:ext>
                </a:extLst>
              </p:cNvPr>
              <p:cNvSpPr txBox="1"/>
              <p:nvPr/>
            </p:nvSpPr>
            <p:spPr>
              <a:xfrm>
                <a:off x="12154296" y="257980"/>
                <a:ext cx="5752704" cy="456856"/>
              </a:xfrm>
              <a:prstGeom prst="rect">
                <a:avLst/>
              </a:prstGeom>
            </p:spPr>
            <p:txBody>
              <a:bodyPr wrap="square" lIns="0" tIns="0" rIns="0" bIns="0" rtlCol="0" anchor="t">
                <a:spAutoFit/>
              </a:bodyPr>
              <a:lstStyle/>
              <a:p>
                <a:pPr marL="0" marR="0" lvl="0" indent="0" algn="r" defTabSz="914400" rtl="0" eaLnBrk="1" fontAlgn="auto" latinLnBrk="0" hangingPunct="1">
                  <a:lnSpc>
                    <a:spcPts val="3919"/>
                  </a:lnSpc>
                  <a:spcBef>
                    <a:spcPct val="0"/>
                  </a:spcBef>
                  <a:spcAft>
                    <a:spcPts val="0"/>
                  </a:spcAft>
                  <a:buClrTx/>
                  <a:buSzTx/>
                  <a:buFontTx/>
                  <a:buNone/>
                  <a:tabLst/>
                  <a:defRPr/>
                </a:pPr>
                <a:endParaRPr kumimoji="0" lang="en-US" sz="2800" b="0" i="0" u="none" strike="noStrike" kern="1200" cap="none" spc="0" normalizeH="0" baseline="0" noProof="0">
                  <a:ln>
                    <a:noFill/>
                  </a:ln>
                  <a:solidFill>
                    <a:srgbClr val="2F2F2F">
                      <a:lumMod val="75000"/>
                      <a:lumOff val="25000"/>
                    </a:srgbClr>
                  </a:solidFill>
                  <a:effectLst/>
                  <a:uLnTx/>
                  <a:uFillTx/>
                  <a:latin typeface="Arial" panose="020B0604020202020204" pitchFamily="34" charset="0"/>
                  <a:ea typeface="+mn-ea"/>
                  <a:cs typeface="Arial" panose="020B0604020202020204" pitchFamily="34" charset="0"/>
                </a:endParaRPr>
              </a:p>
            </p:txBody>
          </p:sp>
        </p:grpSp>
        <p:sp>
          <p:nvSpPr>
            <p:cNvPr id="14" name="Rettangolo 13">
              <a:extLst>
                <a:ext uri="{FF2B5EF4-FFF2-40B4-BE49-F238E27FC236}">
                  <a16:creationId xmlns:a16="http://schemas.microsoft.com/office/drawing/2014/main" id="{55199736-B8B6-4C9A-8BAF-233E07A0CA89}"/>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22" name="TextBox 14">
            <a:extLst>
              <a:ext uri="{FF2B5EF4-FFF2-40B4-BE49-F238E27FC236}">
                <a16:creationId xmlns:a16="http://schemas.microsoft.com/office/drawing/2014/main" id="{D017B3E6-791A-FA81-0461-E130D280368B}"/>
              </a:ext>
            </a:extLst>
          </p:cNvPr>
          <p:cNvSpPr txBox="1"/>
          <p:nvPr/>
        </p:nvSpPr>
        <p:spPr>
          <a:xfrm>
            <a:off x="1672818" y="2116572"/>
            <a:ext cx="7162789" cy="492443"/>
          </a:xfrm>
          <a:prstGeom prst="rect">
            <a:avLst/>
          </a:prstGeom>
        </p:spPr>
        <p:txBody>
          <a:bodyPr wrap="square" lIns="0" tIns="0" rIns="0" bIns="0" rtlCol="0" anchor="t">
            <a:spAutoFit/>
          </a:bodyPr>
          <a:lstStyle/>
          <a:p>
            <a:pPr marL="457200" marR="0" lvl="0" indent="-457200" algn="l" defTabSz="914400" rtl="0" eaLnBrk="1" fontAlgn="auto" latinLnBrk="0" hangingPunct="1">
              <a:lnSpc>
                <a:spcPct val="100000"/>
              </a:lnSpc>
              <a:spcBef>
                <a:spcPts val="0"/>
              </a:spcBef>
              <a:spcAft>
                <a:spcPts val="0"/>
              </a:spcAft>
              <a:buClr>
                <a:srgbClr val="CC0033"/>
              </a:buClr>
              <a:buSzTx/>
              <a:buFont typeface="Wingdings" panose="05000000000000000000" pitchFamily="2" charset="2"/>
              <a:buChar char="ü"/>
              <a:tabLst/>
              <a:defRPr/>
            </a:pPr>
            <a:r>
              <a:rPr kumimoji="0" lang="en-US" sz="3200" b="1" i="0" u="none" strike="noStrike" kern="1200" cap="none" spc="0" normalizeH="0" baseline="0" noProof="0">
                <a:ln>
                  <a:noFill/>
                </a:ln>
                <a:solidFill>
                  <a:srgbClr val="2F2F2F"/>
                </a:solidFill>
                <a:effectLst/>
                <a:uLnTx/>
                <a:uFillTx/>
                <a:latin typeface="Arial"/>
                <a:ea typeface="+mn-ea"/>
                <a:cs typeface="+mn-cs"/>
              </a:rPr>
              <a:t>O</a:t>
            </a:r>
            <a:r>
              <a:rPr kumimoji="0" lang="en-US" sz="3200" b="1" i="0" u="none" strike="noStrike" kern="1200" cap="none" spc="0" normalizeH="0" baseline="-25000" noProof="0">
                <a:ln>
                  <a:noFill/>
                </a:ln>
                <a:solidFill>
                  <a:srgbClr val="2F2F2F"/>
                </a:solidFill>
                <a:effectLst/>
                <a:uLnTx/>
                <a:uFillTx/>
                <a:latin typeface="Arial"/>
                <a:ea typeface="+mn-ea"/>
                <a:cs typeface="+mn-cs"/>
              </a:rPr>
              <a:t>2</a:t>
            </a:r>
            <a:r>
              <a:rPr kumimoji="0" lang="en-US" sz="3200" b="1" i="0" u="none" strike="noStrike" kern="1200" cap="none" spc="0" normalizeH="0" baseline="0" noProof="0">
                <a:ln>
                  <a:noFill/>
                </a:ln>
                <a:solidFill>
                  <a:srgbClr val="2F2F2F"/>
                </a:solidFill>
                <a:effectLst/>
                <a:uLnTx/>
                <a:uFillTx/>
                <a:latin typeface="Arial"/>
                <a:ea typeface="+mn-ea"/>
                <a:cs typeface="+mn-cs"/>
              </a:rPr>
              <a:t> injection system</a:t>
            </a:r>
          </a:p>
        </p:txBody>
      </p:sp>
      <p:grpSp>
        <p:nvGrpSpPr>
          <p:cNvPr id="6" name="Grupp 5">
            <a:extLst>
              <a:ext uri="{FF2B5EF4-FFF2-40B4-BE49-F238E27FC236}">
                <a16:creationId xmlns:a16="http://schemas.microsoft.com/office/drawing/2014/main" id="{F83BFA65-2AD9-307C-A832-3FB2C714CD00}"/>
              </a:ext>
            </a:extLst>
          </p:cNvPr>
          <p:cNvGrpSpPr/>
          <p:nvPr/>
        </p:nvGrpSpPr>
        <p:grpSpPr>
          <a:xfrm>
            <a:off x="1745775" y="2874099"/>
            <a:ext cx="12428018" cy="5908721"/>
            <a:chOff x="303107" y="1400595"/>
            <a:chExt cx="11670471" cy="5474646"/>
          </a:xfrm>
        </p:grpSpPr>
        <p:sp>
          <p:nvSpPr>
            <p:cNvPr id="8" name="Dikdörtgen 2">
              <a:extLst>
                <a:ext uri="{FF2B5EF4-FFF2-40B4-BE49-F238E27FC236}">
                  <a16:creationId xmlns:a16="http://schemas.microsoft.com/office/drawing/2014/main" id="{B03ECE7A-9074-1DCC-1524-49990B13E372}"/>
                </a:ext>
              </a:extLst>
            </p:cNvPr>
            <p:cNvSpPr/>
            <p:nvPr/>
          </p:nvSpPr>
          <p:spPr>
            <a:xfrm>
              <a:off x="476314" y="6418385"/>
              <a:ext cx="3445055" cy="45685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800" b="0" i="0" u="none" strike="noStrike" kern="1200" cap="none" spc="0" normalizeH="0" baseline="0" noProof="0">
                  <a:ln>
                    <a:noFill/>
                  </a:ln>
                  <a:solidFill>
                    <a:srgbClr val="FFFFFF"/>
                  </a:solidFill>
                  <a:effectLst/>
                  <a:uLnTx/>
                  <a:uFillTx/>
                  <a:latin typeface="Arial"/>
                  <a:ea typeface="+mn-ea"/>
                  <a:cs typeface="+mn-cs"/>
                </a:rPr>
                <a:t>CFD Analysis</a:t>
              </a:r>
            </a:p>
          </p:txBody>
        </p:sp>
        <p:sp>
          <p:nvSpPr>
            <p:cNvPr id="9" name="Dikdörtgen 10">
              <a:extLst>
                <a:ext uri="{FF2B5EF4-FFF2-40B4-BE49-F238E27FC236}">
                  <a16:creationId xmlns:a16="http://schemas.microsoft.com/office/drawing/2014/main" id="{43CB45EF-0F3C-8E93-6AD9-7392FDC96FCD}"/>
                </a:ext>
              </a:extLst>
            </p:cNvPr>
            <p:cNvSpPr/>
            <p:nvPr/>
          </p:nvSpPr>
          <p:spPr>
            <a:xfrm>
              <a:off x="6047935" y="6426827"/>
              <a:ext cx="5914612" cy="44841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800" b="0" i="0" u="none" strike="noStrike" kern="1200" cap="none" spc="0" normalizeH="0" baseline="0" noProof="0">
                  <a:ln>
                    <a:noFill/>
                  </a:ln>
                  <a:solidFill>
                    <a:srgbClr val="FFFFFF"/>
                  </a:solidFill>
                  <a:effectLst/>
                  <a:uLnTx/>
                  <a:uFillTx/>
                  <a:latin typeface="Arial"/>
                  <a:ea typeface="+mn-ea"/>
                  <a:cs typeface="+mn-cs"/>
                </a:rPr>
                <a:t>Integration</a:t>
              </a:r>
            </a:p>
          </p:txBody>
        </p:sp>
        <p:sp>
          <p:nvSpPr>
            <p:cNvPr id="15" name="Dikdörtgen 11">
              <a:extLst>
                <a:ext uri="{FF2B5EF4-FFF2-40B4-BE49-F238E27FC236}">
                  <a16:creationId xmlns:a16="http://schemas.microsoft.com/office/drawing/2014/main" id="{BA58F769-5393-1271-392E-0F3D6226B14F}"/>
                </a:ext>
              </a:extLst>
            </p:cNvPr>
            <p:cNvSpPr/>
            <p:nvPr/>
          </p:nvSpPr>
          <p:spPr>
            <a:xfrm>
              <a:off x="3918206" y="6358859"/>
              <a:ext cx="2237949" cy="51638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800" b="0" i="0" u="none" strike="noStrike" kern="1200" cap="none" spc="0" normalizeH="0" baseline="0" noProof="0">
                  <a:ln>
                    <a:noFill/>
                  </a:ln>
                  <a:solidFill>
                    <a:srgbClr val="FFFFFF"/>
                  </a:solidFill>
                  <a:effectLst/>
                  <a:uLnTx/>
                  <a:uFillTx/>
                  <a:latin typeface="Arial"/>
                  <a:ea typeface="+mn-ea"/>
                  <a:cs typeface="+mn-cs"/>
                </a:rPr>
                <a:t>Development</a:t>
              </a:r>
            </a:p>
          </p:txBody>
        </p:sp>
        <p:pic>
          <p:nvPicPr>
            <p:cNvPr id="21" name="Resim 8">
              <a:extLst>
                <a:ext uri="{FF2B5EF4-FFF2-40B4-BE49-F238E27FC236}">
                  <a16:creationId xmlns:a16="http://schemas.microsoft.com/office/drawing/2014/main" id="{80A70C49-9E8A-59C7-8FAF-B238215809F5}"/>
                </a:ext>
              </a:extLst>
            </p:cNvPr>
            <p:cNvPicPr>
              <a:picLocks noChangeAspect="1"/>
            </p:cNvPicPr>
            <p:nvPr/>
          </p:nvPicPr>
          <p:blipFill>
            <a:blip r:embed="rId6"/>
            <a:stretch>
              <a:fillRect/>
            </a:stretch>
          </p:blipFill>
          <p:spPr>
            <a:xfrm>
              <a:off x="303107" y="1400595"/>
              <a:ext cx="3741445" cy="5017790"/>
            </a:xfrm>
            <a:prstGeom prst="rect">
              <a:avLst/>
            </a:prstGeom>
          </p:spPr>
        </p:pic>
        <p:pic>
          <p:nvPicPr>
            <p:cNvPr id="23" name="Resim 21">
              <a:extLst>
                <a:ext uri="{FF2B5EF4-FFF2-40B4-BE49-F238E27FC236}">
                  <a16:creationId xmlns:a16="http://schemas.microsoft.com/office/drawing/2014/main" id="{A2D48A6F-878B-411E-3615-192F40AFCCCE}"/>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921369" y="1569497"/>
              <a:ext cx="2237948" cy="4848888"/>
            </a:xfrm>
            <a:prstGeom prst="rect">
              <a:avLst/>
            </a:prstGeom>
          </p:spPr>
        </p:pic>
        <p:pic>
          <p:nvPicPr>
            <p:cNvPr id="26" name="Resim 22">
              <a:extLst>
                <a:ext uri="{FF2B5EF4-FFF2-40B4-BE49-F238E27FC236}">
                  <a16:creationId xmlns:a16="http://schemas.microsoft.com/office/drawing/2014/main" id="{92E8D982-C8D4-5588-AF26-1EBAAC3ACFEF}"/>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156154" y="1561054"/>
              <a:ext cx="2245741" cy="4865772"/>
            </a:xfrm>
            <a:prstGeom prst="rect">
              <a:avLst/>
            </a:prstGeom>
          </p:spPr>
        </p:pic>
        <p:pic>
          <p:nvPicPr>
            <p:cNvPr id="27" name="Resim 23">
              <a:extLst>
                <a:ext uri="{FF2B5EF4-FFF2-40B4-BE49-F238E27FC236}">
                  <a16:creationId xmlns:a16="http://schemas.microsoft.com/office/drawing/2014/main" id="{DE2357DE-B864-35A1-253F-11DC1314D8DB}"/>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370527" y="1614315"/>
              <a:ext cx="3603051" cy="4804070"/>
            </a:xfrm>
            <a:prstGeom prst="rect">
              <a:avLst/>
            </a:prstGeom>
          </p:spPr>
        </p:pic>
      </p:grpSp>
      <p:pic>
        <p:nvPicPr>
          <p:cNvPr id="25" name="Picture 10" descr="RETROFEED ASAS">
            <a:extLst>
              <a:ext uri="{FF2B5EF4-FFF2-40B4-BE49-F238E27FC236}">
                <a16:creationId xmlns:a16="http://schemas.microsoft.com/office/drawing/2014/main" id="{71FCDC51-1BC9-17AC-78A2-70F9355FC269}"/>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3121399" y="1140359"/>
            <a:ext cx="2365035" cy="613431"/>
          </a:xfrm>
          <a:prstGeom prst="rect">
            <a:avLst/>
          </a:prstGeom>
          <a:noFill/>
          <a:extLst>
            <a:ext uri="{909E8E84-426E-40DD-AFC4-6F175D3DCCD1}">
              <a14:hiddenFill xmlns:a14="http://schemas.microsoft.com/office/drawing/2010/main">
                <a:solidFill>
                  <a:srgbClr val="FFFFFF"/>
                </a:solidFill>
              </a14:hiddenFill>
            </a:ext>
          </a:extLst>
        </p:spPr>
      </p:pic>
      <p:sp>
        <p:nvSpPr>
          <p:cNvPr id="29" name="TextBox 13">
            <a:extLst>
              <a:ext uri="{FF2B5EF4-FFF2-40B4-BE49-F238E27FC236}">
                <a16:creationId xmlns:a16="http://schemas.microsoft.com/office/drawing/2014/main" id="{B479CA86-63EF-5A32-05C0-0761A3CF55DF}"/>
              </a:ext>
            </a:extLst>
          </p:cNvPr>
          <p:cNvSpPr txBox="1"/>
          <p:nvPr/>
        </p:nvSpPr>
        <p:spPr>
          <a:xfrm>
            <a:off x="-418135" y="799670"/>
            <a:ext cx="16194313" cy="1040798"/>
          </a:xfrm>
          <a:prstGeom prst="rect">
            <a:avLst/>
          </a:prstGeom>
        </p:spPr>
        <p:txBody>
          <a:bodyPr wrap="square" lIns="0" tIns="0" rIns="0" bIns="0" rtlCol="0" anchor="t">
            <a:spAutoFit/>
          </a:bodyPr>
          <a:lstStyle/>
          <a:p>
            <a:pPr marL="0" marR="0" lvl="0" indent="0" algn="ctr" defTabSz="914400" rtl="0" eaLnBrk="1" fontAlgn="auto" latinLnBrk="0" hangingPunct="1">
              <a:lnSpc>
                <a:spcPts val="8960"/>
              </a:lnSpc>
              <a:spcBef>
                <a:spcPct val="0"/>
              </a:spcBef>
              <a:spcAft>
                <a:spcPts val="0"/>
              </a:spcAft>
              <a:buClrTx/>
              <a:buSzTx/>
              <a:buFontTx/>
              <a:buNone/>
              <a:tabLst/>
              <a:defRPr/>
            </a:pPr>
            <a:r>
              <a:rPr kumimoji="0" lang="en-US" sz="6000" b="1" i="0" u="none" strike="noStrike" kern="1200" cap="none" spc="0" normalizeH="0" baseline="0" noProof="0">
                <a:ln>
                  <a:noFill/>
                </a:ln>
                <a:solidFill>
                  <a:srgbClr val="CC0033"/>
                </a:solidFill>
                <a:effectLst/>
                <a:uLnTx/>
                <a:uFillTx/>
                <a:latin typeface="Arial"/>
                <a:ea typeface="+mn-ea"/>
                <a:cs typeface="Arial" panose="020B0604020202020204" pitchFamily="34" charset="0"/>
              </a:rPr>
              <a:t>Actions, goals and results at</a:t>
            </a:r>
          </a:p>
        </p:txBody>
      </p:sp>
    </p:spTree>
    <p:extLst>
      <p:ext uri="{BB962C8B-B14F-4D97-AF65-F5344CB8AC3E}">
        <p14:creationId xmlns:p14="http://schemas.microsoft.com/office/powerpoint/2010/main" val="2578088094"/>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6"/>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marL="0" marR="0" lvl="0" indent="0" algn="ctr" defTabSz="914400" rtl="0" eaLnBrk="1" fontAlgn="auto" latinLnBrk="0" hangingPunct="1">
                <a:lnSpc>
                  <a:spcPts val="3919"/>
                </a:lnSpc>
                <a:spcBef>
                  <a:spcPct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OCR A Extended" panose="02010509020102010303" pitchFamily="50" charset="0"/>
                  <a:ea typeface="+mn-ea"/>
                  <a:cs typeface="+mn-cs"/>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4"/>
          <a:srcRect/>
          <a:stretch>
            <a:fillRect/>
          </a:stretch>
        </p:blipFill>
        <p:spPr>
          <a:xfrm>
            <a:off x="0" y="8901113"/>
            <a:ext cx="5715000" cy="1385887"/>
          </a:xfrm>
          <a:prstGeom prst="rect">
            <a:avLst/>
          </a:prstGeom>
        </p:spPr>
      </p:pic>
      <p:grpSp>
        <p:nvGrpSpPr>
          <p:cNvPr id="3" name="Gruppo 2">
            <a:extLst>
              <a:ext uri="{FF2B5EF4-FFF2-40B4-BE49-F238E27FC236}">
                <a16:creationId xmlns:a16="http://schemas.microsoft.com/office/drawing/2014/main" id="{1C29CBCA-BE0A-4EF6-AC69-329941E1DCFD}"/>
              </a:ext>
            </a:extLst>
          </p:cNvPr>
          <p:cNvGrpSpPr/>
          <p:nvPr/>
        </p:nvGrpSpPr>
        <p:grpSpPr>
          <a:xfrm>
            <a:off x="-12" y="138554"/>
            <a:ext cx="18288002" cy="681138"/>
            <a:chOff x="-12" y="138554"/>
            <a:chExt cx="18288002" cy="681138"/>
          </a:xfrm>
        </p:grpSpPr>
        <p:grpSp>
          <p:nvGrpSpPr>
            <p:cNvPr id="2" name="Gruppo 1">
              <a:extLst>
                <a:ext uri="{FF2B5EF4-FFF2-40B4-BE49-F238E27FC236}">
                  <a16:creationId xmlns:a16="http://schemas.microsoft.com/office/drawing/2014/main" id="{24E9C7AF-0093-476F-826C-A2702AB72892}"/>
                </a:ext>
              </a:extLst>
            </p:cNvPr>
            <p:cNvGrpSpPr/>
            <p:nvPr/>
          </p:nvGrpSpPr>
          <p:grpSpPr>
            <a:xfrm>
              <a:off x="0" y="153125"/>
              <a:ext cx="17907000" cy="666567"/>
              <a:chOff x="0" y="153125"/>
              <a:chExt cx="17907000" cy="666567"/>
            </a:xfrm>
          </p:grpSpPr>
          <p:grpSp>
            <p:nvGrpSpPr>
              <p:cNvPr id="16" name="Gruppo 15">
                <a:extLst>
                  <a:ext uri="{FF2B5EF4-FFF2-40B4-BE49-F238E27FC236}">
                    <a16:creationId xmlns:a16="http://schemas.microsoft.com/office/drawing/2014/main" id="{DAC42A46-917D-41AB-8F07-E15E54D0F7D4}"/>
                  </a:ext>
                </a:extLst>
              </p:cNvPr>
              <p:cNvGrpSpPr/>
              <p:nvPr/>
            </p:nvGrpSpPr>
            <p:grpSpPr>
              <a:xfrm>
                <a:off x="0" y="153125"/>
                <a:ext cx="13958844" cy="666567"/>
                <a:chOff x="0" y="153125"/>
                <a:chExt cx="13958844" cy="666567"/>
              </a:xfrm>
            </p:grpSpPr>
            <p:pic>
              <p:nvPicPr>
                <p:cNvPr id="10" name="Picture 10"/>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1" name="TextBox 11"/>
                <p:cNvSpPr txBox="1"/>
                <p:nvPr/>
              </p:nvSpPr>
              <p:spPr>
                <a:xfrm>
                  <a:off x="228600" y="257980"/>
                  <a:ext cx="9144000" cy="456856"/>
                </a:xfrm>
                <a:prstGeom prst="rect">
                  <a:avLst/>
                </a:prstGeom>
              </p:spPr>
              <p:txBody>
                <a:bodyPr wrap="square" lIns="0" tIns="0" rIns="0" bIns="0" rtlCol="0" anchor="t">
                  <a:spAutoFit/>
                </a:bodyPr>
                <a:lstStyle/>
                <a:p>
                  <a:pPr marL="0" marR="0" lvl="0" indent="0" algn="l" defTabSz="914400" rtl="0" eaLnBrk="1" fontAlgn="auto" latinLnBrk="0" hangingPunct="1">
                    <a:lnSpc>
                      <a:spcPts val="3919"/>
                    </a:lnSpc>
                    <a:spcBef>
                      <a:spcPct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2" name="TextBox 11">
                <a:extLst>
                  <a:ext uri="{FF2B5EF4-FFF2-40B4-BE49-F238E27FC236}">
                    <a16:creationId xmlns:a16="http://schemas.microsoft.com/office/drawing/2014/main" id="{1BD9B5F4-614C-4EB6-8C5B-120A5420CE43}"/>
                  </a:ext>
                </a:extLst>
              </p:cNvPr>
              <p:cNvSpPr txBox="1"/>
              <p:nvPr/>
            </p:nvSpPr>
            <p:spPr>
              <a:xfrm>
                <a:off x="12154296" y="257980"/>
                <a:ext cx="5752704" cy="456856"/>
              </a:xfrm>
              <a:prstGeom prst="rect">
                <a:avLst/>
              </a:prstGeom>
            </p:spPr>
            <p:txBody>
              <a:bodyPr wrap="square" lIns="0" tIns="0" rIns="0" bIns="0" rtlCol="0" anchor="t">
                <a:spAutoFit/>
              </a:bodyPr>
              <a:lstStyle/>
              <a:p>
                <a:pPr marL="0" marR="0" lvl="0" indent="0" algn="r" defTabSz="914400" rtl="0" eaLnBrk="1" fontAlgn="auto" latinLnBrk="0" hangingPunct="1">
                  <a:lnSpc>
                    <a:spcPts val="3919"/>
                  </a:lnSpc>
                  <a:spcBef>
                    <a:spcPct val="0"/>
                  </a:spcBef>
                  <a:spcAft>
                    <a:spcPts val="0"/>
                  </a:spcAft>
                  <a:buClrTx/>
                  <a:buSzTx/>
                  <a:buFontTx/>
                  <a:buNone/>
                  <a:tabLst/>
                  <a:defRPr/>
                </a:pPr>
                <a:endParaRPr kumimoji="0" lang="en-US" sz="2800" b="0" i="0" u="none" strike="noStrike" kern="1200" cap="none" spc="0" normalizeH="0" baseline="0" noProof="0">
                  <a:ln>
                    <a:noFill/>
                  </a:ln>
                  <a:solidFill>
                    <a:srgbClr val="2F2F2F">
                      <a:lumMod val="75000"/>
                      <a:lumOff val="25000"/>
                    </a:srgbClr>
                  </a:solidFill>
                  <a:effectLst/>
                  <a:uLnTx/>
                  <a:uFillTx/>
                  <a:latin typeface="Arial" panose="020B0604020202020204" pitchFamily="34" charset="0"/>
                  <a:ea typeface="+mn-ea"/>
                  <a:cs typeface="Arial" panose="020B0604020202020204" pitchFamily="34" charset="0"/>
                </a:endParaRPr>
              </a:p>
            </p:txBody>
          </p:sp>
        </p:grpSp>
        <p:sp>
          <p:nvSpPr>
            <p:cNvPr id="14" name="Rettangolo 13">
              <a:extLst>
                <a:ext uri="{FF2B5EF4-FFF2-40B4-BE49-F238E27FC236}">
                  <a16:creationId xmlns:a16="http://schemas.microsoft.com/office/drawing/2014/main" id="{55199736-B8B6-4C9A-8BAF-233E07A0CA89}"/>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22" name="TextBox 14">
            <a:extLst>
              <a:ext uri="{FF2B5EF4-FFF2-40B4-BE49-F238E27FC236}">
                <a16:creationId xmlns:a16="http://schemas.microsoft.com/office/drawing/2014/main" id="{D017B3E6-791A-FA81-0461-E130D280368B}"/>
              </a:ext>
            </a:extLst>
          </p:cNvPr>
          <p:cNvSpPr txBox="1"/>
          <p:nvPr/>
        </p:nvSpPr>
        <p:spPr>
          <a:xfrm>
            <a:off x="1928633" y="2160273"/>
            <a:ext cx="7162789" cy="492443"/>
          </a:xfrm>
          <a:prstGeom prst="rect">
            <a:avLst/>
          </a:prstGeom>
        </p:spPr>
        <p:txBody>
          <a:bodyPr wrap="square" lIns="0" tIns="0" rIns="0" bIns="0" rtlCol="0" anchor="t">
            <a:spAutoFit/>
          </a:bodyPr>
          <a:lstStyle/>
          <a:p>
            <a:pPr marL="457200" marR="0" lvl="0" indent="-457200" algn="l" defTabSz="914400" rtl="0" eaLnBrk="1" fontAlgn="auto" latinLnBrk="0" hangingPunct="1">
              <a:lnSpc>
                <a:spcPct val="100000"/>
              </a:lnSpc>
              <a:spcBef>
                <a:spcPts val="0"/>
              </a:spcBef>
              <a:spcAft>
                <a:spcPts val="0"/>
              </a:spcAft>
              <a:buClr>
                <a:srgbClr val="CC0033"/>
              </a:buClr>
              <a:buSzTx/>
              <a:buFont typeface="Wingdings" panose="05000000000000000000" pitchFamily="2" charset="2"/>
              <a:buChar char="ü"/>
              <a:tabLst/>
              <a:defRPr/>
            </a:pPr>
            <a:r>
              <a:rPr kumimoji="0" lang="en-US" sz="3200" b="1" i="0" u="none" strike="noStrike" kern="1200" cap="none" spc="0" normalizeH="0" baseline="0" noProof="0" dirty="0">
                <a:ln>
                  <a:noFill/>
                </a:ln>
                <a:solidFill>
                  <a:srgbClr val="2F2F2F"/>
                </a:solidFill>
                <a:effectLst/>
                <a:uLnTx/>
                <a:uFillTx/>
                <a:latin typeface="Arial"/>
                <a:ea typeface="+mn-ea"/>
                <a:cs typeface="+mn-cs"/>
              </a:rPr>
              <a:t>New burner head design</a:t>
            </a:r>
          </a:p>
        </p:txBody>
      </p:sp>
      <p:grpSp>
        <p:nvGrpSpPr>
          <p:cNvPr id="4" name="Grupp 3">
            <a:extLst>
              <a:ext uri="{FF2B5EF4-FFF2-40B4-BE49-F238E27FC236}">
                <a16:creationId xmlns:a16="http://schemas.microsoft.com/office/drawing/2014/main" id="{975A47C3-A91E-AC1B-68E0-8DA334DD7F47}"/>
              </a:ext>
            </a:extLst>
          </p:cNvPr>
          <p:cNvGrpSpPr/>
          <p:nvPr/>
        </p:nvGrpSpPr>
        <p:grpSpPr>
          <a:xfrm>
            <a:off x="1781394" y="2938368"/>
            <a:ext cx="13534807" cy="5962746"/>
            <a:chOff x="577200" y="1730027"/>
            <a:chExt cx="11340005" cy="5063819"/>
          </a:xfrm>
        </p:grpSpPr>
        <p:pic>
          <p:nvPicPr>
            <p:cNvPr id="6" name="Resim 20">
              <a:extLst>
                <a:ext uri="{FF2B5EF4-FFF2-40B4-BE49-F238E27FC236}">
                  <a16:creationId xmlns:a16="http://schemas.microsoft.com/office/drawing/2014/main" id="{22D5A15E-332D-9313-11F4-3D5A3BE3A14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12619" y="1773136"/>
              <a:ext cx="3448206" cy="4597608"/>
            </a:xfrm>
            <a:prstGeom prst="rect">
              <a:avLst/>
            </a:prstGeom>
          </p:spPr>
        </p:pic>
        <p:pic>
          <p:nvPicPr>
            <p:cNvPr id="8" name="Resim 24">
              <a:extLst>
                <a:ext uri="{FF2B5EF4-FFF2-40B4-BE49-F238E27FC236}">
                  <a16:creationId xmlns:a16="http://schemas.microsoft.com/office/drawing/2014/main" id="{ACB382B2-BF5F-CC77-00AD-B47D4913B79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078210" y="1773136"/>
              <a:ext cx="3501010" cy="2625757"/>
            </a:xfrm>
            <a:prstGeom prst="rect">
              <a:avLst/>
            </a:prstGeom>
          </p:spPr>
        </p:pic>
        <p:pic>
          <p:nvPicPr>
            <p:cNvPr id="9" name="Resim 26">
              <a:extLst>
                <a:ext uri="{FF2B5EF4-FFF2-40B4-BE49-F238E27FC236}">
                  <a16:creationId xmlns:a16="http://schemas.microsoft.com/office/drawing/2014/main" id="{6F3B6ED4-80A8-FF0B-6E5B-F7A64C733693}"/>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526613" y="1761280"/>
              <a:ext cx="2196008" cy="4553544"/>
            </a:xfrm>
            <a:prstGeom prst="rect">
              <a:avLst/>
            </a:prstGeom>
          </p:spPr>
        </p:pic>
        <p:sp>
          <p:nvSpPr>
            <p:cNvPr id="15" name="Dikdörtgen 2">
              <a:extLst>
                <a:ext uri="{FF2B5EF4-FFF2-40B4-BE49-F238E27FC236}">
                  <a16:creationId xmlns:a16="http://schemas.microsoft.com/office/drawing/2014/main" id="{B0A6C836-10D7-30B7-9F47-20D08E7F1826}"/>
                </a:ext>
              </a:extLst>
            </p:cNvPr>
            <p:cNvSpPr/>
            <p:nvPr/>
          </p:nvSpPr>
          <p:spPr>
            <a:xfrm>
              <a:off x="577200" y="6316339"/>
              <a:ext cx="3501010" cy="47750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800" b="0" i="0" u="none" strike="noStrike" kern="1200" cap="none" spc="0" normalizeH="0" baseline="0" noProof="0">
                  <a:ln>
                    <a:noFill/>
                  </a:ln>
                  <a:solidFill>
                    <a:srgbClr val="FFFFFF"/>
                  </a:solidFill>
                  <a:effectLst/>
                  <a:uLnTx/>
                  <a:uFillTx/>
                  <a:latin typeface="Arial"/>
                  <a:ea typeface="+mn-ea"/>
                  <a:cs typeface="+mn-cs"/>
                </a:rPr>
                <a:t>ASAS Reverberatory Melting Furnace</a:t>
              </a:r>
            </a:p>
          </p:txBody>
        </p:sp>
        <p:sp>
          <p:nvSpPr>
            <p:cNvPr id="21" name="Dikdörtgen 10">
              <a:extLst>
                <a:ext uri="{FF2B5EF4-FFF2-40B4-BE49-F238E27FC236}">
                  <a16:creationId xmlns:a16="http://schemas.microsoft.com/office/drawing/2014/main" id="{25DB155D-11BA-6263-BAD2-D9C8C297DE51}"/>
                </a:ext>
              </a:extLst>
            </p:cNvPr>
            <p:cNvSpPr/>
            <p:nvPr/>
          </p:nvSpPr>
          <p:spPr>
            <a:xfrm>
              <a:off x="4078210" y="4359240"/>
              <a:ext cx="3465591" cy="40203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800" b="0" i="0" u="none" strike="noStrike" kern="1200" cap="none" spc="0" normalizeH="0" baseline="0" noProof="0">
                  <a:ln>
                    <a:noFill/>
                  </a:ln>
                  <a:solidFill>
                    <a:srgbClr val="FFFFFF"/>
                  </a:solidFill>
                  <a:effectLst/>
                  <a:uLnTx/>
                  <a:uFillTx/>
                  <a:latin typeface="Arial"/>
                  <a:ea typeface="+mn-ea"/>
                  <a:cs typeface="+mn-cs"/>
                </a:rPr>
                <a:t>Refractory Change</a:t>
              </a:r>
            </a:p>
          </p:txBody>
        </p:sp>
        <p:sp>
          <p:nvSpPr>
            <p:cNvPr id="27" name="Dikdörtgen 11">
              <a:extLst>
                <a:ext uri="{FF2B5EF4-FFF2-40B4-BE49-F238E27FC236}">
                  <a16:creationId xmlns:a16="http://schemas.microsoft.com/office/drawing/2014/main" id="{131B4201-FA78-9400-F0D1-002A84F83B5F}"/>
                </a:ext>
              </a:extLst>
            </p:cNvPr>
            <p:cNvSpPr/>
            <p:nvPr/>
          </p:nvSpPr>
          <p:spPr>
            <a:xfrm>
              <a:off x="7560989" y="6303055"/>
              <a:ext cx="2161632" cy="47902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800" b="0" i="0" u="none" strike="noStrike" kern="1200" cap="none" spc="0" normalizeH="0" baseline="0" noProof="0">
                  <a:ln>
                    <a:noFill/>
                  </a:ln>
                  <a:solidFill>
                    <a:srgbClr val="FFFFFF"/>
                  </a:solidFill>
                  <a:effectLst/>
                  <a:uLnTx/>
                  <a:uFillTx/>
                  <a:latin typeface="Arial"/>
                  <a:ea typeface="+mn-ea"/>
                  <a:cs typeface="+mn-cs"/>
                </a:rPr>
                <a:t>Old Burner</a:t>
              </a:r>
            </a:p>
          </p:txBody>
        </p:sp>
        <p:pic>
          <p:nvPicPr>
            <p:cNvPr id="28" name="Resim 12">
              <a:extLst>
                <a:ext uri="{FF2B5EF4-FFF2-40B4-BE49-F238E27FC236}">
                  <a16:creationId xmlns:a16="http://schemas.microsoft.com/office/drawing/2014/main" id="{55FE2859-172E-AFA2-D645-B0731D14C0E7}"/>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078407" y="4740765"/>
              <a:ext cx="3448206" cy="1588878"/>
            </a:xfrm>
            <a:prstGeom prst="rect">
              <a:avLst/>
            </a:prstGeom>
          </p:spPr>
        </p:pic>
        <p:sp>
          <p:nvSpPr>
            <p:cNvPr id="29" name="Dikdörtgen 13">
              <a:extLst>
                <a:ext uri="{FF2B5EF4-FFF2-40B4-BE49-F238E27FC236}">
                  <a16:creationId xmlns:a16="http://schemas.microsoft.com/office/drawing/2014/main" id="{33CB5E01-937A-D349-9C92-59123B530DFC}"/>
                </a:ext>
              </a:extLst>
            </p:cNvPr>
            <p:cNvSpPr/>
            <p:nvPr/>
          </p:nvSpPr>
          <p:spPr>
            <a:xfrm>
              <a:off x="4095595" y="6314823"/>
              <a:ext cx="3448206" cy="47902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800" b="0" i="0" u="none" strike="noStrike" kern="1200" cap="none" spc="0" normalizeH="0" baseline="0" noProof="0">
                  <a:ln>
                    <a:noFill/>
                  </a:ln>
                  <a:solidFill>
                    <a:srgbClr val="FFFFFF"/>
                  </a:solidFill>
                  <a:effectLst/>
                  <a:uLnTx/>
                  <a:uFillTx/>
                  <a:latin typeface="Arial"/>
                  <a:ea typeface="+mn-ea"/>
                  <a:cs typeface="+mn-cs"/>
                </a:rPr>
                <a:t>Burners Location</a:t>
              </a:r>
            </a:p>
          </p:txBody>
        </p:sp>
        <p:pic>
          <p:nvPicPr>
            <p:cNvPr id="30" name="Resim 14">
              <a:extLst>
                <a:ext uri="{FF2B5EF4-FFF2-40B4-BE49-F238E27FC236}">
                  <a16:creationId xmlns:a16="http://schemas.microsoft.com/office/drawing/2014/main" id="{DA1517C4-1725-B0A5-887F-B3C047E9F541}"/>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722621" y="1730027"/>
              <a:ext cx="2194584" cy="4754932"/>
            </a:xfrm>
            <a:prstGeom prst="rect">
              <a:avLst/>
            </a:prstGeom>
          </p:spPr>
        </p:pic>
        <p:sp>
          <p:nvSpPr>
            <p:cNvPr id="34" name="Dikdörtgen 15">
              <a:extLst>
                <a:ext uri="{FF2B5EF4-FFF2-40B4-BE49-F238E27FC236}">
                  <a16:creationId xmlns:a16="http://schemas.microsoft.com/office/drawing/2014/main" id="{67C8EBE3-AB9C-6B6B-145D-3791D565DE31}"/>
                </a:ext>
              </a:extLst>
            </p:cNvPr>
            <p:cNvSpPr/>
            <p:nvPr/>
          </p:nvSpPr>
          <p:spPr>
            <a:xfrm>
              <a:off x="9722620" y="6316339"/>
              <a:ext cx="2194583" cy="47750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1800" b="0" i="0" u="none" strike="noStrike" kern="1200" cap="none" spc="0" normalizeH="0" baseline="0" noProof="0">
                  <a:ln>
                    <a:noFill/>
                  </a:ln>
                  <a:solidFill>
                    <a:srgbClr val="FFFFFF"/>
                  </a:solidFill>
                  <a:effectLst/>
                  <a:uLnTx/>
                  <a:uFillTx/>
                  <a:latin typeface="Arial"/>
                  <a:ea typeface="+mn-ea"/>
                  <a:cs typeface="+mn-cs"/>
                </a:rPr>
                <a:t>Novel Burner</a:t>
              </a:r>
            </a:p>
          </p:txBody>
        </p:sp>
      </p:grpSp>
      <p:pic>
        <p:nvPicPr>
          <p:cNvPr id="5" name="Picture 10" descr="RETROFEED ASAS">
            <a:extLst>
              <a:ext uri="{FF2B5EF4-FFF2-40B4-BE49-F238E27FC236}">
                <a16:creationId xmlns:a16="http://schemas.microsoft.com/office/drawing/2014/main" id="{D1B5580C-B91D-F4B4-5EB8-70C4E07C6673}"/>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3121399" y="1140359"/>
            <a:ext cx="2365035" cy="613431"/>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13">
            <a:extLst>
              <a:ext uri="{FF2B5EF4-FFF2-40B4-BE49-F238E27FC236}">
                <a16:creationId xmlns:a16="http://schemas.microsoft.com/office/drawing/2014/main" id="{49452DB3-218F-9210-CA51-E26723E89306}"/>
              </a:ext>
            </a:extLst>
          </p:cNvPr>
          <p:cNvSpPr txBox="1"/>
          <p:nvPr/>
        </p:nvSpPr>
        <p:spPr>
          <a:xfrm>
            <a:off x="-418135" y="799670"/>
            <a:ext cx="16194313" cy="1040798"/>
          </a:xfrm>
          <a:prstGeom prst="rect">
            <a:avLst/>
          </a:prstGeom>
        </p:spPr>
        <p:txBody>
          <a:bodyPr wrap="square" lIns="0" tIns="0" rIns="0" bIns="0" rtlCol="0" anchor="t">
            <a:spAutoFit/>
          </a:bodyPr>
          <a:lstStyle/>
          <a:p>
            <a:pPr marL="0" marR="0" lvl="0" indent="0" algn="ctr" defTabSz="914400" rtl="0" eaLnBrk="1" fontAlgn="auto" latinLnBrk="0" hangingPunct="1">
              <a:lnSpc>
                <a:spcPts val="8960"/>
              </a:lnSpc>
              <a:spcBef>
                <a:spcPct val="0"/>
              </a:spcBef>
              <a:spcAft>
                <a:spcPts val="0"/>
              </a:spcAft>
              <a:buClrTx/>
              <a:buSzTx/>
              <a:buFontTx/>
              <a:buNone/>
              <a:tabLst/>
              <a:defRPr/>
            </a:pPr>
            <a:r>
              <a:rPr kumimoji="0" lang="en-US" sz="6000" b="1" i="0" u="none" strike="noStrike" kern="1200" cap="none" spc="0" normalizeH="0" baseline="0" noProof="0" dirty="0">
                <a:ln>
                  <a:noFill/>
                </a:ln>
                <a:solidFill>
                  <a:srgbClr val="CC0033"/>
                </a:solidFill>
                <a:effectLst/>
                <a:uLnTx/>
                <a:uFillTx/>
                <a:latin typeface="Arial"/>
                <a:ea typeface="+mn-ea"/>
                <a:cs typeface="Arial" panose="020B0604020202020204" pitchFamily="34" charset="0"/>
              </a:rPr>
              <a:t>Actions, goals and results at</a:t>
            </a:r>
          </a:p>
        </p:txBody>
      </p:sp>
    </p:spTree>
    <p:extLst>
      <p:ext uri="{BB962C8B-B14F-4D97-AF65-F5344CB8AC3E}">
        <p14:creationId xmlns:p14="http://schemas.microsoft.com/office/powerpoint/2010/main" val="568288431"/>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6"/>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marL="0" marR="0" lvl="0" indent="0" algn="ctr" defTabSz="914400" rtl="0" eaLnBrk="1" fontAlgn="auto" latinLnBrk="0" hangingPunct="1">
                <a:lnSpc>
                  <a:spcPts val="3919"/>
                </a:lnSpc>
                <a:spcBef>
                  <a:spcPct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OCR A Extended" panose="02010509020102010303" pitchFamily="50" charset="0"/>
                  <a:ea typeface="+mn-ea"/>
                  <a:cs typeface="+mn-cs"/>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4"/>
          <a:srcRect/>
          <a:stretch>
            <a:fillRect/>
          </a:stretch>
        </p:blipFill>
        <p:spPr>
          <a:xfrm>
            <a:off x="0" y="8901113"/>
            <a:ext cx="5715000" cy="1385887"/>
          </a:xfrm>
          <a:prstGeom prst="rect">
            <a:avLst/>
          </a:prstGeom>
        </p:spPr>
      </p:pic>
      <p:grpSp>
        <p:nvGrpSpPr>
          <p:cNvPr id="3" name="Gruppo 2">
            <a:extLst>
              <a:ext uri="{FF2B5EF4-FFF2-40B4-BE49-F238E27FC236}">
                <a16:creationId xmlns:a16="http://schemas.microsoft.com/office/drawing/2014/main" id="{1C29CBCA-BE0A-4EF6-AC69-329941E1DCFD}"/>
              </a:ext>
            </a:extLst>
          </p:cNvPr>
          <p:cNvGrpSpPr/>
          <p:nvPr/>
        </p:nvGrpSpPr>
        <p:grpSpPr>
          <a:xfrm>
            <a:off x="-12" y="138554"/>
            <a:ext cx="18288002" cy="681138"/>
            <a:chOff x="-12" y="138554"/>
            <a:chExt cx="18288002" cy="681138"/>
          </a:xfrm>
        </p:grpSpPr>
        <p:grpSp>
          <p:nvGrpSpPr>
            <p:cNvPr id="2" name="Gruppo 1">
              <a:extLst>
                <a:ext uri="{FF2B5EF4-FFF2-40B4-BE49-F238E27FC236}">
                  <a16:creationId xmlns:a16="http://schemas.microsoft.com/office/drawing/2014/main" id="{24E9C7AF-0093-476F-826C-A2702AB72892}"/>
                </a:ext>
              </a:extLst>
            </p:cNvPr>
            <p:cNvGrpSpPr/>
            <p:nvPr/>
          </p:nvGrpSpPr>
          <p:grpSpPr>
            <a:xfrm>
              <a:off x="0" y="153125"/>
              <a:ext cx="17907000" cy="666567"/>
              <a:chOff x="0" y="153125"/>
              <a:chExt cx="17907000" cy="666567"/>
            </a:xfrm>
          </p:grpSpPr>
          <p:grpSp>
            <p:nvGrpSpPr>
              <p:cNvPr id="16" name="Gruppo 15">
                <a:extLst>
                  <a:ext uri="{FF2B5EF4-FFF2-40B4-BE49-F238E27FC236}">
                    <a16:creationId xmlns:a16="http://schemas.microsoft.com/office/drawing/2014/main" id="{DAC42A46-917D-41AB-8F07-E15E54D0F7D4}"/>
                  </a:ext>
                </a:extLst>
              </p:cNvPr>
              <p:cNvGrpSpPr/>
              <p:nvPr/>
            </p:nvGrpSpPr>
            <p:grpSpPr>
              <a:xfrm>
                <a:off x="0" y="153125"/>
                <a:ext cx="13958844" cy="666567"/>
                <a:chOff x="0" y="153125"/>
                <a:chExt cx="13958844" cy="666567"/>
              </a:xfrm>
            </p:grpSpPr>
            <p:pic>
              <p:nvPicPr>
                <p:cNvPr id="10" name="Picture 10"/>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1" name="TextBox 11"/>
                <p:cNvSpPr txBox="1"/>
                <p:nvPr/>
              </p:nvSpPr>
              <p:spPr>
                <a:xfrm>
                  <a:off x="228600" y="257980"/>
                  <a:ext cx="9144000" cy="456856"/>
                </a:xfrm>
                <a:prstGeom prst="rect">
                  <a:avLst/>
                </a:prstGeom>
              </p:spPr>
              <p:txBody>
                <a:bodyPr wrap="square" lIns="0" tIns="0" rIns="0" bIns="0" rtlCol="0" anchor="t">
                  <a:spAutoFit/>
                </a:bodyPr>
                <a:lstStyle/>
                <a:p>
                  <a:pPr marL="0" marR="0" lvl="0" indent="0" algn="l" defTabSz="914400" rtl="0" eaLnBrk="1" fontAlgn="auto" latinLnBrk="0" hangingPunct="1">
                    <a:lnSpc>
                      <a:spcPts val="3919"/>
                    </a:lnSpc>
                    <a:spcBef>
                      <a:spcPct val="0"/>
                    </a:spcBef>
                    <a:spcAft>
                      <a:spcPts val="0"/>
                    </a:spcAft>
                    <a:buClrTx/>
                    <a:buSzTx/>
                    <a:buFontTx/>
                    <a:buNone/>
                    <a:tabLst/>
                    <a:defRPr/>
                  </a:pPr>
                  <a:endParaRPr kumimoji="0" lang="en-US" sz="2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2" name="TextBox 11">
                <a:extLst>
                  <a:ext uri="{FF2B5EF4-FFF2-40B4-BE49-F238E27FC236}">
                    <a16:creationId xmlns:a16="http://schemas.microsoft.com/office/drawing/2014/main" id="{1BD9B5F4-614C-4EB6-8C5B-120A5420CE43}"/>
                  </a:ext>
                </a:extLst>
              </p:cNvPr>
              <p:cNvSpPr txBox="1"/>
              <p:nvPr/>
            </p:nvSpPr>
            <p:spPr>
              <a:xfrm>
                <a:off x="12154296" y="257980"/>
                <a:ext cx="5752704" cy="456856"/>
              </a:xfrm>
              <a:prstGeom prst="rect">
                <a:avLst/>
              </a:prstGeom>
            </p:spPr>
            <p:txBody>
              <a:bodyPr wrap="square" lIns="0" tIns="0" rIns="0" bIns="0" rtlCol="0" anchor="t">
                <a:spAutoFit/>
              </a:bodyPr>
              <a:lstStyle/>
              <a:p>
                <a:pPr marL="0" marR="0" lvl="0" indent="0" algn="r" defTabSz="914400" rtl="0" eaLnBrk="1" fontAlgn="auto" latinLnBrk="0" hangingPunct="1">
                  <a:lnSpc>
                    <a:spcPts val="3919"/>
                  </a:lnSpc>
                  <a:spcBef>
                    <a:spcPct val="0"/>
                  </a:spcBef>
                  <a:spcAft>
                    <a:spcPts val="0"/>
                  </a:spcAft>
                  <a:buClrTx/>
                  <a:buSzTx/>
                  <a:buFontTx/>
                  <a:buNone/>
                  <a:tabLst/>
                  <a:defRPr/>
                </a:pPr>
                <a:endParaRPr kumimoji="0" lang="en-US" sz="2800" b="0" i="0" u="none" strike="noStrike" kern="1200" cap="none" spc="0" normalizeH="0" baseline="0" noProof="0">
                  <a:ln>
                    <a:noFill/>
                  </a:ln>
                  <a:solidFill>
                    <a:srgbClr val="2F2F2F">
                      <a:lumMod val="75000"/>
                      <a:lumOff val="25000"/>
                    </a:srgbClr>
                  </a:solidFill>
                  <a:effectLst/>
                  <a:uLnTx/>
                  <a:uFillTx/>
                  <a:latin typeface="Arial" panose="020B0604020202020204" pitchFamily="34" charset="0"/>
                  <a:ea typeface="+mn-ea"/>
                  <a:cs typeface="Arial" panose="020B0604020202020204" pitchFamily="34" charset="0"/>
                </a:endParaRPr>
              </a:p>
            </p:txBody>
          </p:sp>
        </p:grpSp>
        <p:sp>
          <p:nvSpPr>
            <p:cNvPr id="14" name="Rettangolo 13">
              <a:extLst>
                <a:ext uri="{FF2B5EF4-FFF2-40B4-BE49-F238E27FC236}">
                  <a16:creationId xmlns:a16="http://schemas.microsoft.com/office/drawing/2014/main" id="{55199736-B8B6-4C9A-8BAF-233E07A0CA89}"/>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pic>
        <p:nvPicPr>
          <p:cNvPr id="13" name="Picture 10" descr="RETROFEED ASAS">
            <a:extLst>
              <a:ext uri="{FF2B5EF4-FFF2-40B4-BE49-F238E27FC236}">
                <a16:creationId xmlns:a16="http://schemas.microsoft.com/office/drawing/2014/main" id="{D4AB6B47-B4DF-E89C-40C8-A734F858E5CE}"/>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3121399" y="1140359"/>
            <a:ext cx="2365035" cy="613431"/>
          </a:xfrm>
          <a:prstGeom prst="rect">
            <a:avLst/>
          </a:prstGeom>
          <a:noFill/>
          <a:extLst>
            <a:ext uri="{909E8E84-426E-40DD-AFC4-6F175D3DCCD1}">
              <a14:hiddenFill xmlns:a14="http://schemas.microsoft.com/office/drawing/2010/main">
                <a:solidFill>
                  <a:srgbClr val="FFFFFF"/>
                </a:solidFill>
              </a14:hiddenFill>
            </a:ext>
          </a:extLst>
        </p:spPr>
      </p:pic>
      <p:sp>
        <p:nvSpPr>
          <p:cNvPr id="22" name="TextBox 13">
            <a:extLst>
              <a:ext uri="{FF2B5EF4-FFF2-40B4-BE49-F238E27FC236}">
                <a16:creationId xmlns:a16="http://schemas.microsoft.com/office/drawing/2014/main" id="{BE679074-041B-766D-97AC-28AE67CDB16D}"/>
              </a:ext>
            </a:extLst>
          </p:cNvPr>
          <p:cNvSpPr txBox="1"/>
          <p:nvPr/>
        </p:nvSpPr>
        <p:spPr>
          <a:xfrm>
            <a:off x="-418135" y="799670"/>
            <a:ext cx="16194313" cy="1040798"/>
          </a:xfrm>
          <a:prstGeom prst="rect">
            <a:avLst/>
          </a:prstGeom>
        </p:spPr>
        <p:txBody>
          <a:bodyPr wrap="square" lIns="0" tIns="0" rIns="0" bIns="0" rtlCol="0" anchor="t">
            <a:spAutoFit/>
          </a:bodyPr>
          <a:lstStyle/>
          <a:p>
            <a:pPr marL="0" marR="0" lvl="0" indent="0" algn="ctr" defTabSz="914400" rtl="0" eaLnBrk="1" fontAlgn="auto" latinLnBrk="0" hangingPunct="1">
              <a:lnSpc>
                <a:spcPts val="8960"/>
              </a:lnSpc>
              <a:spcBef>
                <a:spcPct val="0"/>
              </a:spcBef>
              <a:spcAft>
                <a:spcPts val="0"/>
              </a:spcAft>
              <a:buClrTx/>
              <a:buSzTx/>
              <a:buFontTx/>
              <a:buNone/>
              <a:tabLst/>
              <a:defRPr/>
            </a:pPr>
            <a:r>
              <a:rPr kumimoji="0" lang="en-US" sz="6000" b="1" i="0" u="none" strike="noStrike" kern="1200" cap="none" spc="0" normalizeH="0" baseline="0" noProof="0" dirty="0">
                <a:ln>
                  <a:noFill/>
                </a:ln>
                <a:solidFill>
                  <a:srgbClr val="CC0033"/>
                </a:solidFill>
                <a:effectLst/>
                <a:uLnTx/>
                <a:uFillTx/>
                <a:latin typeface="Arial"/>
                <a:ea typeface="+mn-ea"/>
                <a:cs typeface="Arial" panose="020B0604020202020204" pitchFamily="34" charset="0"/>
              </a:rPr>
              <a:t>Actions, goals and results at</a:t>
            </a:r>
          </a:p>
        </p:txBody>
      </p:sp>
      <p:sp>
        <p:nvSpPr>
          <p:cNvPr id="5" name="textruta 4">
            <a:extLst>
              <a:ext uri="{FF2B5EF4-FFF2-40B4-BE49-F238E27FC236}">
                <a16:creationId xmlns:a16="http://schemas.microsoft.com/office/drawing/2014/main" id="{6F1E67EC-598D-A0E3-05EE-B28BBA930DB3}"/>
              </a:ext>
            </a:extLst>
          </p:cNvPr>
          <p:cNvSpPr txBox="1"/>
          <p:nvPr/>
        </p:nvSpPr>
        <p:spPr>
          <a:xfrm>
            <a:off x="2761263" y="7678005"/>
            <a:ext cx="12766908" cy="954107"/>
          </a:xfrm>
          <a:prstGeom prst="rect">
            <a:avLst/>
          </a:prstGeom>
          <a:solidFill>
            <a:schemeClr val="accent2"/>
          </a:solidFill>
        </p:spPr>
        <p:style>
          <a:lnRef idx="3">
            <a:schemeClr val="lt1"/>
          </a:lnRef>
          <a:fillRef idx="1">
            <a:schemeClr val="accent3"/>
          </a:fillRef>
          <a:effectRef idx="1">
            <a:schemeClr val="accent3"/>
          </a:effectRef>
          <a:fontRef idx="minor">
            <a:schemeClr val="lt1"/>
          </a:fontRef>
        </p:style>
        <p:txBody>
          <a:bodyPr wrap="square">
            <a:spAutoFit/>
          </a:bodyPr>
          <a:lstStyle/>
          <a:p>
            <a:pPr algn="l"/>
            <a:r>
              <a:rPr lang="en-US" sz="2800" b="0" i="0" u="none" strike="noStrike" baseline="0" dirty="0">
                <a:solidFill>
                  <a:srgbClr val="000000"/>
                </a:solidFill>
                <a:latin typeface="Arial" panose="020B0604020202020204" pitchFamily="34" charset="0"/>
              </a:rPr>
              <a:t>All of the output materials have been investigated and they have showed properties admissible for proceeding with upcoming processing. </a:t>
            </a:r>
          </a:p>
        </p:txBody>
      </p:sp>
      <p:graphicFrame>
        <p:nvGraphicFramePr>
          <p:cNvPr id="6" name="Tabell 6">
            <a:extLst>
              <a:ext uri="{FF2B5EF4-FFF2-40B4-BE49-F238E27FC236}">
                <a16:creationId xmlns:a16="http://schemas.microsoft.com/office/drawing/2014/main" id="{9A12A92F-279F-FE14-9CD6-186FE6060CB3}"/>
              </a:ext>
            </a:extLst>
          </p:cNvPr>
          <p:cNvGraphicFramePr>
            <a:graphicFrameLocks noGrp="1"/>
          </p:cNvGraphicFramePr>
          <p:nvPr>
            <p:extLst>
              <p:ext uri="{D42A27DB-BD31-4B8C-83A1-F6EECF244321}">
                <p14:modId xmlns:p14="http://schemas.microsoft.com/office/powerpoint/2010/main" val="2103259157"/>
              </p:ext>
            </p:extLst>
          </p:nvPr>
        </p:nvGraphicFramePr>
        <p:xfrm>
          <a:off x="2630203" y="2157451"/>
          <a:ext cx="10491196" cy="5169420"/>
        </p:xfrm>
        <a:graphic>
          <a:graphicData uri="http://schemas.openxmlformats.org/drawingml/2006/table">
            <a:tbl>
              <a:tblPr firstRow="1" bandRow="1">
                <a:tableStyleId>{5C22544A-7EE6-4342-B048-85BDC9FD1C3A}</a:tableStyleId>
              </a:tblPr>
              <a:tblGrid>
                <a:gridCol w="6581867">
                  <a:extLst>
                    <a:ext uri="{9D8B030D-6E8A-4147-A177-3AD203B41FA5}">
                      <a16:colId xmlns:a16="http://schemas.microsoft.com/office/drawing/2014/main" val="4266591021"/>
                    </a:ext>
                  </a:extLst>
                </a:gridCol>
                <a:gridCol w="1863306">
                  <a:extLst>
                    <a:ext uri="{9D8B030D-6E8A-4147-A177-3AD203B41FA5}">
                      <a16:colId xmlns:a16="http://schemas.microsoft.com/office/drawing/2014/main" val="3074388336"/>
                    </a:ext>
                  </a:extLst>
                </a:gridCol>
                <a:gridCol w="2046023">
                  <a:extLst>
                    <a:ext uri="{9D8B030D-6E8A-4147-A177-3AD203B41FA5}">
                      <a16:colId xmlns:a16="http://schemas.microsoft.com/office/drawing/2014/main" val="3802931362"/>
                    </a:ext>
                  </a:extLst>
                </a:gridCol>
              </a:tblGrid>
              <a:tr h="902220">
                <a:tc>
                  <a:txBody>
                    <a:bodyPr/>
                    <a:lstStyle/>
                    <a:p>
                      <a:pPr algn="ctr"/>
                      <a:endParaRPr lang="sv-SE" sz="3200" dirty="0"/>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sv-SE" sz="3200" dirty="0">
                          <a:highlight>
                            <a:srgbClr val="CC0033"/>
                          </a:highlight>
                        </a:rPr>
                        <a:t>GOA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sv-SE" sz="3200" dirty="0">
                          <a:highlight>
                            <a:srgbClr val="CC0033"/>
                          </a:highlight>
                        </a:rPr>
                        <a:t>RESUL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4038397222"/>
                  </a:ext>
                </a:extLst>
              </a:tr>
              <a:tr h="9022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2F2F2F"/>
                          </a:solidFill>
                          <a:effectLst/>
                          <a:uLnTx/>
                          <a:uFillTx/>
                          <a:latin typeface="+mn-lt"/>
                          <a:ea typeface="+mn-ea"/>
                          <a:cs typeface="+mn-cs"/>
                        </a:rPr>
                        <a:t>Scrap usage increas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3200" b="1" i="0" u="none" strike="noStrike" kern="1200" cap="none" spc="0" normalizeH="0" baseline="0" noProof="0" dirty="0">
                          <a:ln w="22225">
                            <a:solidFill>
                              <a:srgbClr val="99CC99"/>
                            </a:solidFill>
                            <a:prstDash val="solid"/>
                          </a:ln>
                          <a:solidFill>
                            <a:srgbClr val="CC0033"/>
                          </a:solidFill>
                          <a:effectLst/>
                          <a:uLnTx/>
                          <a:uFillTx/>
                          <a:latin typeface="+mn-lt"/>
                          <a:ea typeface="+mn-ea"/>
                          <a:cs typeface="+mn-cs"/>
                        </a:rPr>
                        <a:t>48%</a:t>
                      </a:r>
                    </a:p>
                    <a:p>
                      <a:pPr algn="ctr"/>
                      <a:endParaRPr lang="sv-SE" sz="32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3200" b="1" i="0" u="none" strike="noStrike" kern="1200" cap="none" spc="0" normalizeH="0" baseline="0" noProof="0" dirty="0">
                          <a:ln w="22225">
                            <a:solidFill>
                              <a:srgbClr val="99CC99"/>
                            </a:solidFill>
                            <a:prstDash val="solid"/>
                          </a:ln>
                          <a:solidFill>
                            <a:srgbClr val="99CC99">
                              <a:lumMod val="75000"/>
                            </a:srgbClr>
                          </a:solidFill>
                          <a:effectLst/>
                          <a:uLnTx/>
                          <a:uFillTx/>
                          <a:latin typeface="+mn-lt"/>
                          <a:ea typeface="+mn-ea"/>
                          <a:cs typeface="+mn-cs"/>
                        </a:rPr>
                        <a:t>57%</a:t>
                      </a:r>
                    </a:p>
                    <a:p>
                      <a:pPr algn="ctr"/>
                      <a:endParaRPr lang="sv-SE" sz="32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07802955"/>
                  </a:ext>
                </a:extLst>
              </a:tr>
              <a:tr h="9022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2F2F2F"/>
                          </a:solidFill>
                          <a:effectLst/>
                          <a:uLnTx/>
                          <a:uFillTx/>
                          <a:latin typeface="+mn-lt"/>
                          <a:ea typeface="+mn-ea"/>
                          <a:cs typeface="+mn-cs"/>
                        </a:rPr>
                        <a:t>Reduction in energy consumption</a:t>
                      </a:r>
                    </a:p>
                    <a:p>
                      <a:pPr algn="ctr"/>
                      <a:endParaRPr lang="sv-SE" sz="2800" baseline="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3200" b="1" i="0" u="none" strike="noStrike" kern="1200" cap="none" spc="0" normalizeH="0" baseline="0" noProof="0" dirty="0">
                          <a:ln w="22225">
                            <a:solidFill>
                              <a:srgbClr val="99CC99"/>
                            </a:solidFill>
                            <a:prstDash val="solid"/>
                          </a:ln>
                          <a:solidFill>
                            <a:srgbClr val="CC0033"/>
                          </a:solidFill>
                          <a:effectLst/>
                          <a:uLnTx/>
                          <a:uFillTx/>
                          <a:latin typeface="+mn-lt"/>
                          <a:ea typeface="+mn-ea"/>
                          <a:cs typeface="+mn-cs"/>
                        </a:rPr>
                        <a:t>20%</a:t>
                      </a:r>
                    </a:p>
                    <a:p>
                      <a:pPr algn="ctr"/>
                      <a:endParaRPr lang="sv-SE" sz="32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3200" b="1" i="0" u="none" strike="noStrike" kern="1200" cap="none" spc="0" normalizeH="0" baseline="0" noProof="0" dirty="0">
                          <a:ln w="22225">
                            <a:solidFill>
                              <a:srgbClr val="99CC99"/>
                            </a:solidFill>
                            <a:prstDash val="solid"/>
                          </a:ln>
                          <a:solidFill>
                            <a:srgbClr val="99CC99">
                              <a:lumMod val="75000"/>
                            </a:srgbClr>
                          </a:solidFill>
                          <a:effectLst/>
                          <a:uLnTx/>
                          <a:uFillTx/>
                          <a:latin typeface="+mn-lt"/>
                          <a:ea typeface="+mn-ea"/>
                          <a:cs typeface="+mn-cs"/>
                        </a:rPr>
                        <a:t>18,55%</a:t>
                      </a:r>
                    </a:p>
                    <a:p>
                      <a:pPr algn="ctr"/>
                      <a:endParaRPr lang="sv-SE" sz="32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37007872"/>
                  </a:ext>
                </a:extLst>
              </a:tr>
              <a:tr h="9022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2F2F2F"/>
                          </a:solidFill>
                          <a:effectLst/>
                          <a:uLnTx/>
                          <a:uFillTx/>
                          <a:latin typeface="+mn-lt"/>
                          <a:ea typeface="+mn-ea"/>
                          <a:cs typeface="+mn-cs"/>
                        </a:rPr>
                        <a:t>Reduction in CO2 emissions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3200" b="1" i="0" u="none" strike="noStrike" kern="1200" cap="none" spc="0" normalizeH="0" baseline="0" noProof="0" dirty="0">
                          <a:ln w="22225">
                            <a:solidFill>
                              <a:srgbClr val="99CC99"/>
                            </a:solidFill>
                            <a:prstDash val="solid"/>
                          </a:ln>
                          <a:solidFill>
                            <a:srgbClr val="CC0033"/>
                          </a:solidFill>
                          <a:effectLst/>
                          <a:uLnTx/>
                          <a:uFillTx/>
                          <a:latin typeface="+mn-lt"/>
                          <a:ea typeface="+mn-ea"/>
                          <a:cs typeface="+mn-cs"/>
                        </a:rPr>
                        <a:t>30%</a:t>
                      </a:r>
                    </a:p>
                    <a:p>
                      <a:pPr algn="ctr"/>
                      <a:endParaRPr lang="sv-SE" sz="32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3200" b="1" i="0" u="none" strike="noStrike" kern="1200" cap="none" spc="0" normalizeH="0" baseline="0" noProof="0" dirty="0">
                          <a:ln w="22225">
                            <a:solidFill>
                              <a:srgbClr val="99CC99"/>
                            </a:solidFill>
                            <a:prstDash val="solid"/>
                          </a:ln>
                          <a:solidFill>
                            <a:srgbClr val="99CC99">
                              <a:lumMod val="75000"/>
                            </a:srgbClr>
                          </a:solidFill>
                          <a:effectLst/>
                          <a:uLnTx/>
                          <a:uFillTx/>
                          <a:latin typeface="+mn-lt"/>
                          <a:ea typeface="+mn-ea"/>
                          <a:cs typeface="+mn-cs"/>
                        </a:rPr>
                        <a:t>75</a:t>
                      </a:r>
                      <a:r>
                        <a:rPr kumimoji="0" lang="tr-TR" sz="3200" b="1" i="0" u="none" strike="noStrike" kern="1200" cap="none" spc="0" normalizeH="0" baseline="0" noProof="0" dirty="0">
                          <a:ln w="22225">
                            <a:solidFill>
                              <a:srgbClr val="99CC99"/>
                            </a:solidFill>
                            <a:prstDash val="solid"/>
                          </a:ln>
                          <a:solidFill>
                            <a:srgbClr val="99CC99">
                              <a:lumMod val="75000"/>
                            </a:srgbClr>
                          </a:solidFill>
                          <a:effectLst/>
                          <a:uLnTx/>
                          <a:uFillTx/>
                          <a:latin typeface="+mn-lt"/>
                          <a:ea typeface="+mn-ea"/>
                          <a:cs typeface="+mn-cs"/>
                        </a:rPr>
                        <a:t>%</a:t>
                      </a:r>
                    </a:p>
                    <a:p>
                      <a:pPr algn="ctr"/>
                      <a:endParaRPr lang="sv-SE" sz="32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98611061"/>
                  </a:ext>
                </a:extLst>
              </a:tr>
              <a:tr h="9022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2F2F2F"/>
                          </a:solidFill>
                          <a:effectLst/>
                          <a:uLnTx/>
                          <a:uFillTx/>
                          <a:latin typeface="+mn-lt"/>
                          <a:ea typeface="+mn-ea"/>
                          <a:cs typeface="+mn-cs"/>
                        </a:rPr>
                        <a:t>Reduction in </a:t>
                      </a:r>
                      <a:r>
                        <a:rPr kumimoji="0" lang="en-US" sz="2800" b="1" i="0" u="none" strike="noStrike" kern="1200" cap="none" spc="0" normalizeH="0" baseline="0" noProof="0" dirty="0" err="1">
                          <a:ln>
                            <a:noFill/>
                          </a:ln>
                          <a:solidFill>
                            <a:srgbClr val="2F2F2F"/>
                          </a:solidFill>
                          <a:effectLst/>
                          <a:uLnTx/>
                          <a:uFillTx/>
                          <a:latin typeface="+mn-lt"/>
                          <a:ea typeface="+mn-ea"/>
                          <a:cs typeface="+mn-cs"/>
                        </a:rPr>
                        <a:t>fossile</a:t>
                      </a:r>
                      <a:r>
                        <a:rPr kumimoji="0" lang="en-US" sz="2800" b="1" i="0" u="none" strike="noStrike" kern="1200" cap="none" spc="0" normalizeH="0" baseline="0" noProof="0" dirty="0">
                          <a:ln>
                            <a:noFill/>
                          </a:ln>
                          <a:solidFill>
                            <a:srgbClr val="2F2F2F"/>
                          </a:solidFill>
                          <a:effectLst/>
                          <a:uLnTx/>
                          <a:uFillTx/>
                          <a:latin typeface="+mn-lt"/>
                          <a:ea typeface="+mn-ea"/>
                          <a:cs typeface="+mn-cs"/>
                        </a:rPr>
                        <a:t> resource</a:t>
                      </a:r>
                      <a:endParaRPr kumimoji="0" lang="es-ES" sz="2800" b="1" i="0" u="none" strike="noStrike" kern="1200" cap="none" spc="0" normalizeH="0" baseline="0" noProof="0" dirty="0">
                        <a:ln>
                          <a:noFill/>
                        </a:ln>
                        <a:solidFill>
                          <a:srgbClr val="2F2F2F"/>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2800" b="1" i="0" u="none" strike="noStrike" kern="1200" cap="none" spc="0" normalizeH="0" baseline="0" dirty="0">
                        <a:ln>
                          <a:noFill/>
                        </a:ln>
                        <a:solidFill>
                          <a:srgbClr val="2F2F2F"/>
                        </a:solidFill>
                        <a:effectLst/>
                        <a:uLnTx/>
                        <a:uFillTx/>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3200" b="1" i="0" u="none" strike="noStrike" kern="1200" cap="none" spc="0" normalizeH="0" baseline="0" noProof="0" dirty="0">
                          <a:ln w="22225">
                            <a:solidFill>
                              <a:srgbClr val="99CC99"/>
                            </a:solidFill>
                            <a:prstDash val="solid"/>
                          </a:ln>
                          <a:solidFill>
                            <a:srgbClr val="CC0033"/>
                          </a:solidFill>
                          <a:effectLst/>
                          <a:uLnTx/>
                          <a:uFillTx/>
                          <a:latin typeface="+mn-lt"/>
                          <a:ea typeface="+mn-ea"/>
                          <a:cs typeface="+mn-cs"/>
                        </a:rPr>
                        <a:t>30%</a:t>
                      </a:r>
                    </a:p>
                    <a:p>
                      <a:pPr algn="ctr"/>
                      <a:endParaRPr lang="sv-SE" sz="32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r-TR" sz="3200" b="1" i="0" u="none" strike="noStrike" kern="1200" cap="none" spc="0" normalizeH="0" baseline="0" noProof="0" dirty="0">
                          <a:ln w="22225">
                            <a:solidFill>
                              <a:srgbClr val="99CC99"/>
                            </a:solidFill>
                            <a:prstDash val="solid"/>
                          </a:ln>
                          <a:solidFill>
                            <a:srgbClr val="99CC99">
                              <a:lumMod val="75000"/>
                            </a:srgbClr>
                          </a:solidFill>
                          <a:effectLst/>
                          <a:uLnTx/>
                          <a:uFillTx/>
                          <a:latin typeface="+mn-lt"/>
                          <a:ea typeface="+mn-ea"/>
                          <a:cs typeface="+mn-cs"/>
                        </a:rPr>
                        <a:t>19%</a:t>
                      </a:r>
                    </a:p>
                    <a:p>
                      <a:pPr algn="ctr"/>
                      <a:endParaRPr lang="sv-SE" sz="32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38081966"/>
                  </a:ext>
                </a:extLst>
              </a:tr>
            </a:tbl>
          </a:graphicData>
        </a:graphic>
      </p:graphicFrame>
    </p:spTree>
    <p:extLst>
      <p:ext uri="{BB962C8B-B14F-4D97-AF65-F5344CB8AC3E}">
        <p14:creationId xmlns:p14="http://schemas.microsoft.com/office/powerpoint/2010/main" val="2694954459"/>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extruta 1">
            <a:extLst>
              <a:ext uri="{FF2B5EF4-FFF2-40B4-BE49-F238E27FC236}">
                <a16:creationId xmlns:a16="http://schemas.microsoft.com/office/drawing/2014/main" id="{CCE47E9F-CA6B-B8EB-E10E-1C31F83F3916}"/>
              </a:ext>
            </a:extLst>
          </p:cNvPr>
          <p:cNvSpPr txBox="1"/>
          <p:nvPr/>
        </p:nvSpPr>
        <p:spPr>
          <a:xfrm>
            <a:off x="3486150" y="3219450"/>
            <a:ext cx="11315700" cy="2215991"/>
          </a:xfrm>
          <a:prstGeom prst="rect">
            <a:avLst/>
          </a:prstGeom>
          <a:noFill/>
        </p:spPr>
        <p:txBody>
          <a:bodyPr wrap="square" rtlCol="0">
            <a:spAutoFit/>
          </a:bodyPr>
          <a:lstStyle/>
          <a:p>
            <a:pPr algn="ctr"/>
            <a:r>
              <a:rPr lang="sv-SE" sz="13800" dirty="0">
                <a:solidFill>
                  <a:schemeClr val="bg1"/>
                </a:solidFill>
              </a:rPr>
              <a:t>SECIL</a:t>
            </a:r>
          </a:p>
        </p:txBody>
      </p:sp>
    </p:spTree>
    <p:extLst>
      <p:ext uri="{BB962C8B-B14F-4D97-AF65-F5344CB8AC3E}">
        <p14:creationId xmlns:p14="http://schemas.microsoft.com/office/powerpoint/2010/main" val="4286706633"/>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6E4D79FA-32DD-45C8-8356-363B38C104F1}"/>
              </a:ext>
            </a:extLst>
          </p:cNvPr>
          <p:cNvPicPr>
            <a:picLocks noChangeAspect="1"/>
          </p:cNvPicPr>
          <p:nvPr/>
        </p:nvPicPr>
        <p:blipFill rotWithShape="1">
          <a:blip r:embed="rId3" cstate="screen">
            <a:alphaModFix amt="20000"/>
            <a:extLst>
              <a:ext uri="{28A0092B-C50C-407E-A947-70E740481C1C}">
                <a14:useLocalDpi xmlns:a14="http://schemas.microsoft.com/office/drawing/2010/main"/>
              </a:ext>
            </a:extLst>
          </a:blip>
          <a:srcRect t="43759" b="16844"/>
          <a:stretch/>
        </p:blipFill>
        <p:spPr bwMode="auto">
          <a:xfrm>
            <a:off x="324349" y="3015780"/>
            <a:ext cx="17712000" cy="5260867"/>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6"/>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4"/>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5"/>
          <a:srcRect/>
          <a:stretch>
            <a:fillRect/>
          </a:stretch>
        </p:blipFill>
        <p:spPr>
          <a:xfrm>
            <a:off x="0" y="8901113"/>
            <a:ext cx="5715000" cy="1385887"/>
          </a:xfrm>
          <a:prstGeom prst="rect">
            <a:avLst/>
          </a:prstGeom>
        </p:spPr>
      </p:pic>
      <p:grpSp>
        <p:nvGrpSpPr>
          <p:cNvPr id="2" name="Gruppo 1">
            <a:extLst>
              <a:ext uri="{FF2B5EF4-FFF2-40B4-BE49-F238E27FC236}">
                <a16:creationId xmlns:a16="http://schemas.microsoft.com/office/drawing/2014/main" id="{D8D71BB5-458F-411D-AFA9-C648954E9F40}"/>
              </a:ext>
            </a:extLst>
          </p:cNvPr>
          <p:cNvGrpSpPr/>
          <p:nvPr/>
        </p:nvGrpSpPr>
        <p:grpSpPr>
          <a:xfrm>
            <a:off x="-12" y="138554"/>
            <a:ext cx="18288002" cy="681138"/>
            <a:chOff x="-12" y="138554"/>
            <a:chExt cx="18288002" cy="681138"/>
          </a:xfrm>
        </p:grpSpPr>
        <p:grpSp>
          <p:nvGrpSpPr>
            <p:cNvPr id="16" name="Gruppo 15">
              <a:extLst>
                <a:ext uri="{FF2B5EF4-FFF2-40B4-BE49-F238E27FC236}">
                  <a16:creationId xmlns:a16="http://schemas.microsoft.com/office/drawing/2014/main" id="{DAC42A46-917D-41AB-8F07-E15E54D0F7D4}"/>
                </a:ext>
              </a:extLst>
            </p:cNvPr>
            <p:cNvGrpSpPr/>
            <p:nvPr/>
          </p:nvGrpSpPr>
          <p:grpSpPr>
            <a:xfrm>
              <a:off x="0" y="153125"/>
              <a:ext cx="13958844" cy="666567"/>
              <a:chOff x="0" y="153125"/>
              <a:chExt cx="13958844" cy="666567"/>
            </a:xfrm>
          </p:grpSpPr>
          <p:pic>
            <p:nvPicPr>
              <p:cNvPr id="10" name="Picture 10"/>
              <p:cNvPicPr>
                <a:picLocks noChangeAspect="1"/>
              </p:cNvPicPr>
              <p:nvPr/>
            </p:nvPicPr>
            <p:blipFill>
              <a:blip r:embed="rId6"/>
              <a:srcRect l="134" t="91287" b="3943"/>
              <a:stretch>
                <a:fillRect/>
              </a:stretch>
            </p:blipFill>
            <p:spPr>
              <a:xfrm>
                <a:off x="0" y="153125"/>
                <a:ext cx="13958844" cy="666567"/>
              </a:xfrm>
              <a:prstGeom prst="rect">
                <a:avLst/>
              </a:prstGeom>
            </p:spPr>
          </p:pic>
          <p:sp>
            <p:nvSpPr>
              <p:cNvPr id="11" name="TextBox 11"/>
              <p:cNvSpPr txBox="1"/>
              <p:nvPr/>
            </p:nvSpPr>
            <p:spPr>
              <a:xfrm>
                <a:off x="228600" y="257980"/>
                <a:ext cx="5752704" cy="456856"/>
              </a:xfrm>
              <a:prstGeom prst="rect">
                <a:avLst/>
              </a:prstGeom>
            </p:spPr>
            <p:txBody>
              <a:bodyPr wrap="square" lIns="0" tIns="0" rIns="0" bIns="0" rtlCol="0" anchor="t">
                <a:spAutoFit/>
              </a:bodyPr>
              <a:lstStyle/>
              <a:p>
                <a:pPr>
                  <a:lnSpc>
                    <a:spcPts val="3919"/>
                  </a:lnSpc>
                  <a:spcBef>
                    <a:spcPct val="0"/>
                  </a:spcBef>
                </a:pPr>
                <a:endParaRPr lang="en-US" sz="2800" b="1">
                  <a:solidFill>
                    <a:srgbClr val="FFFFFF"/>
                  </a:solidFill>
                  <a:latin typeface="Arial" panose="020B0604020202020204" pitchFamily="34" charset="0"/>
                  <a:cs typeface="Arial" panose="020B0604020202020204" pitchFamily="34" charset="0"/>
                </a:endParaRPr>
              </a:p>
            </p:txBody>
          </p:sp>
        </p:grpSp>
        <p:sp>
          <p:nvSpPr>
            <p:cNvPr id="12" name="Rettangolo 11">
              <a:extLst>
                <a:ext uri="{FF2B5EF4-FFF2-40B4-BE49-F238E27FC236}">
                  <a16:creationId xmlns:a16="http://schemas.microsoft.com/office/drawing/2014/main" id="{F2E90E36-F5DF-479E-BF3B-C6F6A1CEA4E7}"/>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9" name="TextBox 14">
            <a:extLst>
              <a:ext uri="{FF2B5EF4-FFF2-40B4-BE49-F238E27FC236}">
                <a16:creationId xmlns:a16="http://schemas.microsoft.com/office/drawing/2014/main" id="{B5C457C5-5E6A-4DD1-9F95-583C431D5128}"/>
              </a:ext>
            </a:extLst>
          </p:cNvPr>
          <p:cNvSpPr txBox="1"/>
          <p:nvPr/>
        </p:nvSpPr>
        <p:spPr>
          <a:xfrm>
            <a:off x="1038480" y="3015780"/>
            <a:ext cx="7162789" cy="5170646"/>
          </a:xfrm>
          <a:prstGeom prst="rect">
            <a:avLst/>
          </a:prstGeom>
        </p:spPr>
        <p:txBody>
          <a:bodyPr wrap="square" lIns="0" tIns="0" rIns="0" bIns="0" rtlCol="0" anchor="t">
            <a:spAutoFit/>
          </a:bodyPr>
          <a:lstStyle/>
          <a:p>
            <a:pPr>
              <a:buClr>
                <a:schemeClr val="accent5"/>
              </a:buClr>
            </a:pPr>
            <a:r>
              <a:rPr lang="en-US" sz="2800" b="1">
                <a:solidFill>
                  <a:schemeClr val="accent1"/>
                </a:solidFill>
              </a:rPr>
              <a:t>Retrofitting actions</a:t>
            </a:r>
          </a:p>
          <a:p>
            <a:pPr>
              <a:buClr>
                <a:schemeClr val="accent5"/>
              </a:buClr>
            </a:pPr>
            <a:endParaRPr lang="en-US" sz="2800" b="1"/>
          </a:p>
          <a:p>
            <a:pPr marL="457200" indent="-457200">
              <a:buClr>
                <a:srgbClr val="CC0033"/>
              </a:buClr>
              <a:buFont typeface="Wingdings" panose="05000000000000000000" pitchFamily="2" charset="2"/>
              <a:buChar char="ü"/>
            </a:pPr>
            <a:r>
              <a:rPr lang="en-US" sz="2800" b="1"/>
              <a:t>Full-scale multi-fuel burner design</a:t>
            </a:r>
          </a:p>
          <a:p>
            <a:pPr marL="457200" indent="-457200">
              <a:buClr>
                <a:srgbClr val="CC0033"/>
              </a:buClr>
              <a:buFont typeface="Wingdings" panose="05000000000000000000" pitchFamily="2" charset="2"/>
              <a:buChar char="ü"/>
            </a:pPr>
            <a:endParaRPr lang="en-US" sz="2800" b="1"/>
          </a:p>
          <a:p>
            <a:pPr marL="457200" indent="-457200">
              <a:buClr>
                <a:srgbClr val="CC0033"/>
              </a:buClr>
              <a:buFont typeface="Wingdings" panose="05000000000000000000" pitchFamily="2" charset="2"/>
              <a:buChar char="ü"/>
            </a:pPr>
            <a:r>
              <a:rPr lang="en-US" sz="2800" b="1"/>
              <a:t>Image based combustion diagnosis tool</a:t>
            </a:r>
          </a:p>
          <a:p>
            <a:pPr marL="457200" indent="-457200">
              <a:buClr>
                <a:srgbClr val="CC0033"/>
              </a:buClr>
              <a:buFont typeface="Wingdings" panose="05000000000000000000" pitchFamily="2" charset="2"/>
              <a:buChar char="ü"/>
            </a:pPr>
            <a:endParaRPr lang="en-US" sz="2800" b="1"/>
          </a:p>
          <a:p>
            <a:pPr marL="457200" indent="-457200">
              <a:buClr>
                <a:srgbClr val="CC0033"/>
              </a:buClr>
              <a:buFont typeface="Wingdings" panose="05000000000000000000" pitchFamily="2" charset="2"/>
              <a:buChar char="ü"/>
            </a:pPr>
            <a:r>
              <a:rPr lang="en-US" sz="2800" b="1"/>
              <a:t>Alternative fuels properties determination</a:t>
            </a:r>
          </a:p>
          <a:p>
            <a:pPr marL="457200" indent="-457200">
              <a:buClr>
                <a:srgbClr val="CC0033"/>
              </a:buClr>
              <a:buFont typeface="Wingdings" panose="05000000000000000000" pitchFamily="2" charset="2"/>
              <a:buChar char="ü"/>
            </a:pPr>
            <a:endParaRPr lang="en-US" sz="2800" b="1"/>
          </a:p>
          <a:p>
            <a:pPr marL="457200" indent="-457200">
              <a:buClr>
                <a:srgbClr val="CC0033"/>
              </a:buClr>
              <a:buFont typeface="Wingdings" panose="05000000000000000000" pitchFamily="2" charset="2"/>
              <a:buChar char="ü"/>
            </a:pPr>
            <a:r>
              <a:rPr lang="en-US" sz="2800" b="1"/>
              <a:t>Real time clinker optical characterization</a:t>
            </a:r>
            <a:endParaRPr lang="es-ES" sz="2800" b="1"/>
          </a:p>
        </p:txBody>
      </p:sp>
      <p:sp>
        <p:nvSpPr>
          <p:cNvPr id="26" name="TextBox 14">
            <a:extLst>
              <a:ext uri="{FF2B5EF4-FFF2-40B4-BE49-F238E27FC236}">
                <a16:creationId xmlns:a16="http://schemas.microsoft.com/office/drawing/2014/main" id="{7D36EA49-80B0-4761-8A24-F05F322EAC77}"/>
              </a:ext>
            </a:extLst>
          </p:cNvPr>
          <p:cNvSpPr txBox="1"/>
          <p:nvPr/>
        </p:nvSpPr>
        <p:spPr>
          <a:xfrm>
            <a:off x="10086731" y="3340380"/>
            <a:ext cx="7162789" cy="3877985"/>
          </a:xfrm>
          <a:prstGeom prst="rect">
            <a:avLst/>
          </a:prstGeom>
        </p:spPr>
        <p:txBody>
          <a:bodyPr wrap="square" lIns="0" tIns="0" rIns="0" bIns="0" rtlCol="0" anchor="t">
            <a:spAutoFit/>
          </a:bodyPr>
          <a:lstStyle/>
          <a:p>
            <a:pPr>
              <a:buClr>
                <a:schemeClr val="accent5"/>
              </a:buClr>
            </a:pPr>
            <a:r>
              <a:rPr lang="en-US" sz="2800" b="1">
                <a:solidFill>
                  <a:schemeClr val="accent2">
                    <a:lumMod val="75000"/>
                  </a:schemeClr>
                </a:solidFill>
              </a:rPr>
              <a:t>Goals</a:t>
            </a:r>
          </a:p>
          <a:p>
            <a:pPr>
              <a:buClr>
                <a:schemeClr val="accent5"/>
              </a:buClr>
            </a:pPr>
            <a:endParaRPr lang="en-US" sz="2800" b="1"/>
          </a:p>
          <a:p>
            <a:pPr marL="457200" indent="-457200">
              <a:buClr>
                <a:schemeClr val="accent2">
                  <a:lumMod val="75000"/>
                </a:schemeClr>
              </a:buClr>
              <a:buFont typeface="Wingdings" panose="05000000000000000000" pitchFamily="2" charset="2"/>
              <a:buChar char="ü"/>
            </a:pPr>
            <a:r>
              <a:rPr lang="en-US" sz="2800" b="1"/>
              <a:t>CO</a:t>
            </a:r>
            <a:r>
              <a:rPr lang="en-US" sz="2800" b="1" baseline="-25000"/>
              <a:t>2</a:t>
            </a:r>
            <a:r>
              <a:rPr lang="en-US" sz="2800" b="1"/>
              <a:t> emissions reduction</a:t>
            </a:r>
          </a:p>
          <a:p>
            <a:pPr marL="457200" indent="-457200">
              <a:buClr>
                <a:srgbClr val="99CC99"/>
              </a:buClr>
              <a:buFont typeface="Wingdings" panose="05000000000000000000" pitchFamily="2" charset="2"/>
              <a:buChar char="ü"/>
            </a:pPr>
            <a:endParaRPr lang="en-US" sz="2800" b="1"/>
          </a:p>
          <a:p>
            <a:pPr marL="457200" indent="-457200">
              <a:buClr>
                <a:schemeClr val="accent2">
                  <a:lumMod val="75000"/>
                </a:schemeClr>
              </a:buClr>
              <a:buFont typeface="Wingdings" panose="05000000000000000000" pitchFamily="2" charset="2"/>
              <a:buChar char="ü"/>
            </a:pPr>
            <a:r>
              <a:rPr lang="en-US" sz="2800" b="1"/>
              <a:t>Replacement of fossil fuel close to 80%</a:t>
            </a:r>
          </a:p>
          <a:p>
            <a:pPr>
              <a:buClr>
                <a:srgbClr val="99CC99"/>
              </a:buClr>
            </a:pPr>
            <a:endParaRPr lang="en-US" sz="2800" b="1"/>
          </a:p>
          <a:p>
            <a:pPr marL="457200" indent="-457200">
              <a:buClr>
                <a:schemeClr val="accent2">
                  <a:lumMod val="75000"/>
                </a:schemeClr>
              </a:buClr>
              <a:buFont typeface="Wingdings" panose="05000000000000000000" pitchFamily="2" charset="2"/>
              <a:buChar char="ü"/>
            </a:pPr>
            <a:r>
              <a:rPr lang="en-US" sz="2800" b="1"/>
              <a:t>Increment in energy efficiency</a:t>
            </a:r>
          </a:p>
          <a:p>
            <a:pPr marL="457200" indent="-457200">
              <a:buClr>
                <a:srgbClr val="99CC99"/>
              </a:buClr>
              <a:buFont typeface="Wingdings" panose="05000000000000000000" pitchFamily="2" charset="2"/>
              <a:buChar char="ü"/>
            </a:pPr>
            <a:endParaRPr lang="en-US" sz="2800" b="1"/>
          </a:p>
          <a:p>
            <a:pPr marL="457200" indent="-457200">
              <a:buClr>
                <a:schemeClr val="accent2">
                  <a:lumMod val="75000"/>
                </a:schemeClr>
              </a:buClr>
              <a:buFont typeface="Wingdings" panose="05000000000000000000" pitchFamily="2" charset="2"/>
              <a:buChar char="ü"/>
            </a:pPr>
            <a:r>
              <a:rPr lang="en-US" sz="2800" b="1"/>
              <a:t>M&amp;C improvement</a:t>
            </a:r>
          </a:p>
        </p:txBody>
      </p:sp>
      <p:cxnSp>
        <p:nvCxnSpPr>
          <p:cNvPr id="24" name="Conector recto 23">
            <a:extLst>
              <a:ext uri="{FF2B5EF4-FFF2-40B4-BE49-F238E27FC236}">
                <a16:creationId xmlns:a16="http://schemas.microsoft.com/office/drawing/2014/main" id="{98FC0001-D488-4184-8260-ECD10E34CE06}"/>
              </a:ext>
            </a:extLst>
          </p:cNvPr>
          <p:cNvCxnSpPr>
            <a:cxnSpLocks/>
          </p:cNvCxnSpPr>
          <p:nvPr/>
        </p:nvCxnSpPr>
        <p:spPr>
          <a:xfrm>
            <a:off x="8915400" y="3079034"/>
            <a:ext cx="0" cy="2880000"/>
          </a:xfrm>
          <a:prstGeom prst="line">
            <a:avLst/>
          </a:prstGeom>
          <a:ln w="63500"/>
        </p:spPr>
        <p:style>
          <a:lnRef idx="1">
            <a:schemeClr val="accent1"/>
          </a:lnRef>
          <a:fillRef idx="0">
            <a:schemeClr val="accent1"/>
          </a:fillRef>
          <a:effectRef idx="0">
            <a:schemeClr val="accent1"/>
          </a:effectRef>
          <a:fontRef idx="minor">
            <a:schemeClr val="tx1"/>
          </a:fontRef>
        </p:style>
      </p:cxnSp>
      <p:cxnSp>
        <p:nvCxnSpPr>
          <p:cNvPr id="25" name="Conector recto 24">
            <a:extLst>
              <a:ext uri="{FF2B5EF4-FFF2-40B4-BE49-F238E27FC236}">
                <a16:creationId xmlns:a16="http://schemas.microsoft.com/office/drawing/2014/main" id="{AD4CB6C3-8453-40F4-BF92-A74583B9C483}"/>
              </a:ext>
            </a:extLst>
          </p:cNvPr>
          <p:cNvCxnSpPr>
            <a:cxnSpLocks/>
          </p:cNvCxnSpPr>
          <p:nvPr/>
        </p:nvCxnSpPr>
        <p:spPr>
          <a:xfrm>
            <a:off x="8915400" y="5496674"/>
            <a:ext cx="0" cy="2880000"/>
          </a:xfrm>
          <a:prstGeom prst="line">
            <a:avLst/>
          </a:prstGeom>
          <a:ln w="63500">
            <a:solidFill>
              <a:srgbClr val="99CC99"/>
            </a:solidFill>
          </a:ln>
        </p:spPr>
        <p:style>
          <a:lnRef idx="1">
            <a:schemeClr val="accent1"/>
          </a:lnRef>
          <a:fillRef idx="0">
            <a:schemeClr val="accent1"/>
          </a:fillRef>
          <a:effectRef idx="0">
            <a:schemeClr val="accent1"/>
          </a:effectRef>
          <a:fontRef idx="minor">
            <a:schemeClr val="tx1"/>
          </a:fontRef>
        </p:style>
      </p:cxnSp>
      <p:pic>
        <p:nvPicPr>
          <p:cNvPr id="3" name="Imagen 93">
            <a:extLst>
              <a:ext uri="{FF2B5EF4-FFF2-40B4-BE49-F238E27FC236}">
                <a16:creationId xmlns:a16="http://schemas.microsoft.com/office/drawing/2014/main" id="{9BE0D5D6-4F06-4404-AD81-999FF1F22C15}"/>
              </a:ext>
            </a:extLst>
          </p:cNvPr>
          <p:cNvPicPr>
            <a:picLocks noChangeAspect="1"/>
          </p:cNvPicPr>
          <p:nvPr/>
        </p:nvPicPr>
        <p:blipFill rotWithShape="1">
          <a:blip r:embed="rId7"/>
          <a:srcRect l="23084" t="14316" r="9046" b="7091"/>
          <a:stretch/>
        </p:blipFill>
        <p:spPr>
          <a:xfrm>
            <a:off x="14880476" y="573544"/>
            <a:ext cx="2369044" cy="1936268"/>
          </a:xfrm>
          <a:prstGeom prst="rect">
            <a:avLst/>
          </a:prstGeom>
        </p:spPr>
      </p:pic>
      <p:sp>
        <p:nvSpPr>
          <p:cNvPr id="4" name="TextBox 13">
            <a:extLst>
              <a:ext uri="{FF2B5EF4-FFF2-40B4-BE49-F238E27FC236}">
                <a16:creationId xmlns:a16="http://schemas.microsoft.com/office/drawing/2014/main" id="{CA73BED7-A91F-264D-653F-66BCFF52BF16}"/>
              </a:ext>
            </a:extLst>
          </p:cNvPr>
          <p:cNvSpPr txBox="1"/>
          <p:nvPr/>
        </p:nvSpPr>
        <p:spPr>
          <a:xfrm>
            <a:off x="885371" y="896353"/>
            <a:ext cx="16194313" cy="1040798"/>
          </a:xfrm>
          <a:prstGeom prst="rect">
            <a:avLst/>
          </a:prstGeom>
        </p:spPr>
        <p:txBody>
          <a:bodyPr wrap="square" lIns="0" tIns="0" rIns="0" bIns="0" rtlCol="0" anchor="t">
            <a:spAutoFit/>
          </a:bodyPr>
          <a:lstStyle/>
          <a:p>
            <a:pPr marL="0" marR="0" lvl="0" indent="0" defTabSz="914400" rtl="0" eaLnBrk="1" fontAlgn="auto" latinLnBrk="0" hangingPunct="1">
              <a:lnSpc>
                <a:spcPts val="8960"/>
              </a:lnSpc>
              <a:spcBef>
                <a:spcPct val="0"/>
              </a:spcBef>
              <a:spcAft>
                <a:spcPts val="0"/>
              </a:spcAft>
              <a:buClrTx/>
              <a:buSzTx/>
              <a:buFontTx/>
              <a:buNone/>
              <a:tabLst/>
              <a:defRPr/>
            </a:pPr>
            <a:r>
              <a:rPr kumimoji="0" lang="en-US" sz="6000" b="1" i="0" u="none" strike="noStrike" kern="1200" cap="none" spc="0" normalizeH="0" baseline="0" noProof="0" dirty="0">
                <a:ln>
                  <a:noFill/>
                </a:ln>
                <a:solidFill>
                  <a:srgbClr val="CC0033"/>
                </a:solidFill>
                <a:effectLst/>
                <a:uLnTx/>
                <a:uFillTx/>
                <a:latin typeface="Arial"/>
                <a:ea typeface="+mn-ea"/>
                <a:cs typeface="Arial" panose="020B0604020202020204" pitchFamily="34" charset="0"/>
              </a:rPr>
              <a:t>Actions</a:t>
            </a:r>
            <a:r>
              <a:rPr lang="en-US" sz="6000" b="1" dirty="0">
                <a:solidFill>
                  <a:srgbClr val="CC0033"/>
                </a:solidFill>
                <a:latin typeface="Arial"/>
                <a:cs typeface="Arial" panose="020B0604020202020204" pitchFamily="34" charset="0"/>
              </a:rPr>
              <a:t> and goals</a:t>
            </a:r>
            <a:endParaRPr kumimoji="0" lang="en-US" sz="6000" b="1" i="0" u="none" strike="noStrike" kern="1200" cap="none" spc="0" normalizeH="0" baseline="0" noProof="0" dirty="0">
              <a:ln>
                <a:noFill/>
              </a:ln>
              <a:solidFill>
                <a:srgbClr val="CC0033"/>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1186691097"/>
      </p:ext>
    </p:extLst>
  </p:cSld>
  <p:clrMapOvr>
    <a:masterClrMapping/>
  </p:clrMapOvr>
  <mc:AlternateContent xmlns:mc="http://schemas.openxmlformats.org/markup-compatibility/2006" xmlns:p14="http://schemas.microsoft.com/office/powerpoint/2010/main">
    <mc:Choice Requires="p14">
      <p:transition spd="slow" p14:dur="2000" advTm="86474"/>
    </mc:Choice>
    <mc:Fallback xmlns="">
      <p:transition spd="slow" advTm="86474"/>
    </mc:Fallback>
  </mc:AlternateContent>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6"/>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marL="0" marR="0" lvl="0" indent="0" algn="ctr" defTabSz="914400" rtl="0" eaLnBrk="1" fontAlgn="auto" latinLnBrk="0" hangingPunct="1">
                <a:lnSpc>
                  <a:spcPts val="3919"/>
                </a:lnSpc>
                <a:spcBef>
                  <a:spcPct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OCR A Extended" panose="02010509020102010303" pitchFamily="50" charset="0"/>
                  <a:ea typeface="+mn-ea"/>
                  <a:cs typeface="+mn-cs"/>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4"/>
          <a:srcRect/>
          <a:stretch>
            <a:fillRect/>
          </a:stretch>
        </p:blipFill>
        <p:spPr>
          <a:xfrm>
            <a:off x="0" y="8901113"/>
            <a:ext cx="5715000" cy="1385887"/>
          </a:xfrm>
          <a:prstGeom prst="rect">
            <a:avLst/>
          </a:prstGeom>
        </p:spPr>
      </p:pic>
      <p:grpSp>
        <p:nvGrpSpPr>
          <p:cNvPr id="3" name="Gruppo 2">
            <a:extLst>
              <a:ext uri="{FF2B5EF4-FFF2-40B4-BE49-F238E27FC236}">
                <a16:creationId xmlns:a16="http://schemas.microsoft.com/office/drawing/2014/main" id="{1C29CBCA-BE0A-4EF6-AC69-329941E1DCFD}"/>
              </a:ext>
            </a:extLst>
          </p:cNvPr>
          <p:cNvGrpSpPr/>
          <p:nvPr/>
        </p:nvGrpSpPr>
        <p:grpSpPr>
          <a:xfrm>
            <a:off x="-12" y="138554"/>
            <a:ext cx="18288002" cy="681138"/>
            <a:chOff x="-12" y="138554"/>
            <a:chExt cx="18288002" cy="681138"/>
          </a:xfrm>
        </p:grpSpPr>
        <p:grpSp>
          <p:nvGrpSpPr>
            <p:cNvPr id="2" name="Gruppo 1">
              <a:extLst>
                <a:ext uri="{FF2B5EF4-FFF2-40B4-BE49-F238E27FC236}">
                  <a16:creationId xmlns:a16="http://schemas.microsoft.com/office/drawing/2014/main" id="{24E9C7AF-0093-476F-826C-A2702AB72892}"/>
                </a:ext>
              </a:extLst>
            </p:cNvPr>
            <p:cNvGrpSpPr/>
            <p:nvPr/>
          </p:nvGrpSpPr>
          <p:grpSpPr>
            <a:xfrm>
              <a:off x="0" y="153125"/>
              <a:ext cx="17907000" cy="666567"/>
              <a:chOff x="0" y="153125"/>
              <a:chExt cx="17907000" cy="666567"/>
            </a:xfrm>
          </p:grpSpPr>
          <p:grpSp>
            <p:nvGrpSpPr>
              <p:cNvPr id="16" name="Gruppo 15">
                <a:extLst>
                  <a:ext uri="{FF2B5EF4-FFF2-40B4-BE49-F238E27FC236}">
                    <a16:creationId xmlns:a16="http://schemas.microsoft.com/office/drawing/2014/main" id="{DAC42A46-917D-41AB-8F07-E15E54D0F7D4}"/>
                  </a:ext>
                </a:extLst>
              </p:cNvPr>
              <p:cNvGrpSpPr/>
              <p:nvPr/>
            </p:nvGrpSpPr>
            <p:grpSpPr>
              <a:xfrm>
                <a:off x="0" y="153125"/>
                <a:ext cx="13958844" cy="666567"/>
                <a:chOff x="0" y="153125"/>
                <a:chExt cx="13958844" cy="666567"/>
              </a:xfrm>
            </p:grpSpPr>
            <p:pic>
              <p:nvPicPr>
                <p:cNvPr id="10" name="Picture 10"/>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1" name="TextBox 11"/>
                <p:cNvSpPr txBox="1"/>
                <p:nvPr/>
              </p:nvSpPr>
              <p:spPr>
                <a:xfrm>
                  <a:off x="228600" y="257980"/>
                  <a:ext cx="9144000" cy="456856"/>
                </a:xfrm>
                <a:prstGeom prst="rect">
                  <a:avLst/>
                </a:prstGeom>
              </p:spPr>
              <p:txBody>
                <a:bodyPr wrap="square" lIns="0" tIns="0" rIns="0" bIns="0" rtlCol="0" anchor="t">
                  <a:spAutoFit/>
                </a:bodyPr>
                <a:lstStyle/>
                <a:p>
                  <a:pPr marL="0" marR="0" lvl="0" indent="0" algn="l" defTabSz="914400" rtl="0" eaLnBrk="1" fontAlgn="auto" latinLnBrk="0" hangingPunct="1">
                    <a:lnSpc>
                      <a:spcPts val="3919"/>
                    </a:lnSpc>
                    <a:spcBef>
                      <a:spcPct val="0"/>
                    </a:spcBef>
                    <a:spcAft>
                      <a:spcPts val="0"/>
                    </a:spcAft>
                    <a:buClrTx/>
                    <a:buSzTx/>
                    <a:buFontTx/>
                    <a:buNone/>
                    <a:tabLst/>
                    <a:defRPr/>
                  </a:pPr>
                  <a:endParaRPr kumimoji="0" lang="en-US" sz="2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2" name="TextBox 11">
                <a:extLst>
                  <a:ext uri="{FF2B5EF4-FFF2-40B4-BE49-F238E27FC236}">
                    <a16:creationId xmlns:a16="http://schemas.microsoft.com/office/drawing/2014/main" id="{1BD9B5F4-614C-4EB6-8C5B-120A5420CE43}"/>
                  </a:ext>
                </a:extLst>
              </p:cNvPr>
              <p:cNvSpPr txBox="1"/>
              <p:nvPr/>
            </p:nvSpPr>
            <p:spPr>
              <a:xfrm>
                <a:off x="12154296" y="257980"/>
                <a:ext cx="5752704" cy="456856"/>
              </a:xfrm>
              <a:prstGeom prst="rect">
                <a:avLst/>
              </a:prstGeom>
            </p:spPr>
            <p:txBody>
              <a:bodyPr wrap="square" lIns="0" tIns="0" rIns="0" bIns="0" rtlCol="0" anchor="t">
                <a:spAutoFit/>
              </a:bodyPr>
              <a:lstStyle/>
              <a:p>
                <a:pPr marL="0" marR="0" lvl="0" indent="0" algn="r" defTabSz="914400" rtl="0" eaLnBrk="1" fontAlgn="auto" latinLnBrk="0" hangingPunct="1">
                  <a:lnSpc>
                    <a:spcPts val="3919"/>
                  </a:lnSpc>
                  <a:spcBef>
                    <a:spcPct val="0"/>
                  </a:spcBef>
                  <a:spcAft>
                    <a:spcPts val="0"/>
                  </a:spcAft>
                  <a:buClrTx/>
                  <a:buSzTx/>
                  <a:buFontTx/>
                  <a:buNone/>
                  <a:tabLst/>
                  <a:defRPr/>
                </a:pPr>
                <a:endParaRPr kumimoji="0" lang="en-US" sz="2800" b="0" i="0" u="none" strike="noStrike" kern="1200" cap="none" spc="0" normalizeH="0" baseline="0" noProof="0">
                  <a:ln>
                    <a:noFill/>
                  </a:ln>
                  <a:solidFill>
                    <a:srgbClr val="2F2F2F">
                      <a:lumMod val="75000"/>
                      <a:lumOff val="25000"/>
                    </a:srgbClr>
                  </a:solidFill>
                  <a:effectLst/>
                  <a:uLnTx/>
                  <a:uFillTx/>
                  <a:latin typeface="Arial" panose="020B0604020202020204" pitchFamily="34" charset="0"/>
                  <a:ea typeface="+mn-ea"/>
                  <a:cs typeface="Arial" panose="020B0604020202020204" pitchFamily="34" charset="0"/>
                </a:endParaRPr>
              </a:p>
            </p:txBody>
          </p:sp>
        </p:grpSp>
        <p:sp>
          <p:nvSpPr>
            <p:cNvPr id="14" name="Rettangolo 13">
              <a:extLst>
                <a:ext uri="{FF2B5EF4-FFF2-40B4-BE49-F238E27FC236}">
                  <a16:creationId xmlns:a16="http://schemas.microsoft.com/office/drawing/2014/main" id="{55199736-B8B6-4C9A-8BAF-233E07A0CA89}"/>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pic>
        <p:nvPicPr>
          <p:cNvPr id="38" name="Graphic 37" descr="Marker with solid fill">
            <a:extLst>
              <a:ext uri="{FF2B5EF4-FFF2-40B4-BE49-F238E27FC236}">
                <a16:creationId xmlns:a16="http://schemas.microsoft.com/office/drawing/2014/main" id="{9302B8B0-2A65-4DEA-934F-F619256CD373}"/>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2168527" y="5997277"/>
            <a:ext cx="470548" cy="470548"/>
          </a:xfrm>
          <a:prstGeom prst="rect">
            <a:avLst/>
          </a:prstGeom>
        </p:spPr>
      </p:pic>
      <p:sp>
        <p:nvSpPr>
          <p:cNvPr id="44" name="TextBox 43">
            <a:extLst>
              <a:ext uri="{FF2B5EF4-FFF2-40B4-BE49-F238E27FC236}">
                <a16:creationId xmlns:a16="http://schemas.microsoft.com/office/drawing/2014/main" id="{790636EF-FCDF-450C-A1D9-9DCA09A7B24C}"/>
              </a:ext>
            </a:extLst>
          </p:cNvPr>
          <p:cNvSpPr txBox="1"/>
          <p:nvPr/>
        </p:nvSpPr>
        <p:spPr>
          <a:xfrm>
            <a:off x="11985723" y="6893079"/>
            <a:ext cx="3152677" cy="3231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500" b="1" i="0" u="none" strike="noStrike" kern="1200" cap="none" spc="0" normalizeH="0" baseline="0" noProof="0">
                <a:ln>
                  <a:noFill/>
                </a:ln>
                <a:solidFill>
                  <a:srgbClr val="CC0033"/>
                </a:solidFill>
                <a:effectLst/>
                <a:uLnTx/>
                <a:uFillTx/>
                <a:latin typeface="Arial"/>
                <a:ea typeface="+mn-ea"/>
                <a:cs typeface="Arial" panose="020B0604020202020204" pitchFamily="34" charset="0"/>
              </a:rPr>
              <a:t>Aluminium</a:t>
            </a:r>
            <a:r>
              <a:rPr kumimoji="0" lang="sv-SE" sz="1500" b="0" i="0" u="none" strike="noStrike" kern="1200" cap="none" spc="0" normalizeH="0" baseline="0" noProof="0">
                <a:ln>
                  <a:noFill/>
                </a:ln>
                <a:solidFill>
                  <a:srgbClr val="2F2F2F"/>
                </a:solidFill>
                <a:effectLst/>
                <a:uLnTx/>
                <a:uFillTx/>
                <a:latin typeface="Arial"/>
                <a:ea typeface="+mn-ea"/>
                <a:cs typeface="+mn-cs"/>
              </a:rPr>
              <a:t> </a:t>
            </a:r>
            <a:r>
              <a:rPr kumimoji="0" lang="sv-SE" sz="1500" b="1" i="0" u="none" strike="noStrike" kern="1200" cap="none" spc="0" normalizeH="0" baseline="0" noProof="0" err="1">
                <a:ln>
                  <a:noFill/>
                </a:ln>
                <a:solidFill>
                  <a:srgbClr val="CC0033"/>
                </a:solidFill>
                <a:effectLst/>
                <a:uLnTx/>
                <a:uFillTx/>
                <a:latin typeface="Arial"/>
                <a:ea typeface="+mn-ea"/>
                <a:cs typeface="Arial" panose="020B0604020202020204" pitchFamily="34" charset="0"/>
              </a:rPr>
              <a:t>sector</a:t>
            </a:r>
            <a:endParaRPr kumimoji="0" lang="sv-SE" sz="1500" b="1" i="0" u="none" strike="noStrike" kern="1200" cap="none" spc="0" normalizeH="0" baseline="0" noProof="0">
              <a:ln>
                <a:noFill/>
              </a:ln>
              <a:solidFill>
                <a:srgbClr val="CC0033"/>
              </a:solidFill>
              <a:effectLst/>
              <a:uLnTx/>
              <a:uFillTx/>
              <a:latin typeface="Arial"/>
              <a:ea typeface="+mn-ea"/>
              <a:cs typeface="Arial" panose="020B0604020202020204" pitchFamily="34" charset="0"/>
            </a:endParaRPr>
          </a:p>
        </p:txBody>
      </p:sp>
      <p:sp>
        <p:nvSpPr>
          <p:cNvPr id="15" name="textruta 14">
            <a:extLst>
              <a:ext uri="{FF2B5EF4-FFF2-40B4-BE49-F238E27FC236}">
                <a16:creationId xmlns:a16="http://schemas.microsoft.com/office/drawing/2014/main" id="{9E2BBE4E-9786-8208-4662-3B0A865073AD}"/>
              </a:ext>
            </a:extLst>
          </p:cNvPr>
          <p:cNvSpPr txBox="1"/>
          <p:nvPr/>
        </p:nvSpPr>
        <p:spPr>
          <a:xfrm>
            <a:off x="1515359" y="1999676"/>
            <a:ext cx="9144000" cy="584775"/>
          </a:xfrm>
          <a:prstGeom prst="rect">
            <a:avLst/>
          </a:prstGeom>
          <a:noFill/>
        </p:spPr>
        <p:txBody>
          <a:bodyPr wrap="square">
            <a:spAutoFit/>
          </a:bodyPr>
          <a:lstStyle/>
          <a:p>
            <a:pPr marL="457200" marR="0" lvl="0" indent="-457200" algn="l" defTabSz="914400" rtl="0" eaLnBrk="1" fontAlgn="auto" latinLnBrk="0" hangingPunct="1">
              <a:lnSpc>
                <a:spcPct val="100000"/>
              </a:lnSpc>
              <a:spcBef>
                <a:spcPts val="0"/>
              </a:spcBef>
              <a:spcAft>
                <a:spcPts val="0"/>
              </a:spcAft>
              <a:buClr>
                <a:srgbClr val="CC0033"/>
              </a:buClr>
              <a:buSzTx/>
              <a:buFont typeface="Wingdings" panose="05000000000000000000" pitchFamily="2" charset="2"/>
              <a:buChar char="ü"/>
              <a:tabLst/>
              <a:defRPr/>
            </a:pPr>
            <a:r>
              <a:rPr kumimoji="0" lang="en-US" sz="3200" b="1" i="0" u="none" strike="noStrike" kern="1200" cap="none" spc="0" normalizeH="0" baseline="0" noProof="0" dirty="0">
                <a:ln>
                  <a:noFill/>
                </a:ln>
                <a:solidFill>
                  <a:srgbClr val="2F2F2F"/>
                </a:solidFill>
                <a:effectLst/>
                <a:uLnTx/>
                <a:uFillTx/>
                <a:latin typeface="Arial"/>
                <a:ea typeface="+mn-ea"/>
                <a:cs typeface="+mn-cs"/>
              </a:rPr>
              <a:t>Full-scale multi-fuel burner design</a:t>
            </a:r>
          </a:p>
        </p:txBody>
      </p:sp>
      <p:grpSp>
        <p:nvGrpSpPr>
          <p:cNvPr id="28" name="Group 26">
            <a:extLst>
              <a:ext uri="{FF2B5EF4-FFF2-40B4-BE49-F238E27FC236}">
                <a16:creationId xmlns:a16="http://schemas.microsoft.com/office/drawing/2014/main" id="{FAABA714-E4C6-ED31-89EC-CD36B597775E}"/>
              </a:ext>
            </a:extLst>
          </p:cNvPr>
          <p:cNvGrpSpPr/>
          <p:nvPr/>
        </p:nvGrpSpPr>
        <p:grpSpPr>
          <a:xfrm>
            <a:off x="465222" y="3509699"/>
            <a:ext cx="7114367" cy="3763626"/>
            <a:chOff x="656499" y="4157067"/>
            <a:chExt cx="4091012" cy="2628000"/>
          </a:xfrm>
        </p:grpSpPr>
        <p:pic>
          <p:nvPicPr>
            <p:cNvPr id="29" name="Picture 27">
              <a:extLst>
                <a:ext uri="{FF2B5EF4-FFF2-40B4-BE49-F238E27FC236}">
                  <a16:creationId xmlns:a16="http://schemas.microsoft.com/office/drawing/2014/main" id="{BE19DCF9-C752-1828-4593-1D164ECDF869}"/>
                </a:ext>
              </a:extLst>
            </p:cNvPr>
            <p:cNvPicPr>
              <a:picLocks noChangeAspect="1"/>
            </p:cNvPicPr>
            <p:nvPr/>
          </p:nvPicPr>
          <p:blipFill>
            <a:blip r:embed="rId8">
              <a:lum bright="-20000" contrast="20000"/>
            </a:blip>
            <a:stretch>
              <a:fillRect/>
            </a:stretch>
          </p:blipFill>
          <p:spPr>
            <a:xfrm>
              <a:off x="656499" y="4157067"/>
              <a:ext cx="4091012" cy="2628000"/>
            </a:xfrm>
            <a:prstGeom prst="rect">
              <a:avLst/>
            </a:prstGeom>
            <a:ln>
              <a:noFill/>
            </a:ln>
            <a:effectLst>
              <a:softEdge rad="112500"/>
            </a:effectLst>
          </p:spPr>
        </p:pic>
        <p:sp>
          <p:nvSpPr>
            <p:cNvPr id="30" name="Rectangle 28">
              <a:extLst>
                <a:ext uri="{FF2B5EF4-FFF2-40B4-BE49-F238E27FC236}">
                  <a16:creationId xmlns:a16="http://schemas.microsoft.com/office/drawing/2014/main" id="{18305233-23E3-F17C-4915-20E22B24DBAC}"/>
                </a:ext>
              </a:extLst>
            </p:cNvPr>
            <p:cNvSpPr/>
            <p:nvPr/>
          </p:nvSpPr>
          <p:spPr>
            <a:xfrm>
              <a:off x="2180450" y="4771723"/>
              <a:ext cx="890077" cy="531273"/>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srgbClr val="2F2F2F"/>
                </a:solidFill>
                <a:effectLst/>
                <a:uLnTx/>
                <a:uFillTx/>
                <a:latin typeface="Arial"/>
                <a:ea typeface="+mn-ea"/>
                <a:cs typeface="+mn-cs"/>
              </a:endParaRPr>
            </a:p>
          </p:txBody>
        </p:sp>
      </p:grpSp>
      <p:pic>
        <p:nvPicPr>
          <p:cNvPr id="31" name="Picture 29">
            <a:extLst>
              <a:ext uri="{FF2B5EF4-FFF2-40B4-BE49-F238E27FC236}">
                <a16:creationId xmlns:a16="http://schemas.microsoft.com/office/drawing/2014/main" id="{746705EF-E0E0-9065-7A20-B6C873C3FEA7}"/>
              </a:ext>
            </a:extLst>
          </p:cNvPr>
          <p:cNvPicPr>
            <a:picLocks noChangeAspect="1"/>
          </p:cNvPicPr>
          <p:nvPr/>
        </p:nvPicPr>
        <p:blipFill>
          <a:blip r:embed="rId9"/>
          <a:stretch>
            <a:fillRect/>
          </a:stretch>
        </p:blipFill>
        <p:spPr>
          <a:xfrm>
            <a:off x="5362728" y="2832785"/>
            <a:ext cx="3066329" cy="2153933"/>
          </a:xfrm>
          <a:prstGeom prst="rect">
            <a:avLst/>
          </a:prstGeom>
          <a:ln w="25400">
            <a:solidFill>
              <a:srgbClr val="FF0000"/>
            </a:solidFill>
          </a:ln>
        </p:spPr>
      </p:pic>
      <p:pic>
        <p:nvPicPr>
          <p:cNvPr id="32" name="Picture 10" descr="Diagram&#10;&#10;Description automatically generated">
            <a:extLst>
              <a:ext uri="{FF2B5EF4-FFF2-40B4-BE49-F238E27FC236}">
                <a16:creationId xmlns:a16="http://schemas.microsoft.com/office/drawing/2014/main" id="{082D0979-A0B0-91D7-A6AB-7B90043F7A39}"/>
              </a:ext>
            </a:extLst>
          </p:cNvPr>
          <p:cNvPicPr>
            <a:picLocks noChangeAspect="1"/>
          </p:cNvPicPr>
          <p:nvPr/>
        </p:nvPicPr>
        <p:blipFill rotWithShape="1">
          <a:blip r:embed="rId10">
            <a:extLst>
              <a:ext uri="{28A0092B-C50C-407E-A947-70E740481C1C}">
                <a14:useLocalDpi xmlns:a14="http://schemas.microsoft.com/office/drawing/2010/main" val="0"/>
              </a:ext>
            </a:extLst>
          </a:blip>
          <a:srcRect l="5879" t="71049" r="53528" b="1552"/>
          <a:stretch/>
        </p:blipFill>
        <p:spPr>
          <a:xfrm>
            <a:off x="13832302" y="4337721"/>
            <a:ext cx="4332727" cy="4039542"/>
          </a:xfrm>
          <a:prstGeom prst="rect">
            <a:avLst/>
          </a:prstGeom>
          <a:ln w="28575">
            <a:solidFill>
              <a:srgbClr val="CC0033"/>
            </a:solidFill>
          </a:ln>
          <a:effectLst>
            <a:softEdge rad="112500"/>
          </a:effectLst>
        </p:spPr>
      </p:pic>
      <p:grpSp>
        <p:nvGrpSpPr>
          <p:cNvPr id="33" name="Grupp 32">
            <a:extLst>
              <a:ext uri="{FF2B5EF4-FFF2-40B4-BE49-F238E27FC236}">
                <a16:creationId xmlns:a16="http://schemas.microsoft.com/office/drawing/2014/main" id="{7CAF39E9-0F30-FEDD-C6C8-F0A7AAC982EC}"/>
              </a:ext>
            </a:extLst>
          </p:cNvPr>
          <p:cNvGrpSpPr/>
          <p:nvPr/>
        </p:nvGrpSpPr>
        <p:grpSpPr>
          <a:xfrm>
            <a:off x="7814183" y="4337721"/>
            <a:ext cx="5747878" cy="4135700"/>
            <a:chOff x="8107616" y="4866063"/>
            <a:chExt cx="4897570" cy="4458980"/>
          </a:xfrm>
        </p:grpSpPr>
        <p:pic>
          <p:nvPicPr>
            <p:cNvPr id="34" name="Picture 31" descr="A large metal pipe with holes&#10;&#10;Description automatically generated">
              <a:extLst>
                <a:ext uri="{FF2B5EF4-FFF2-40B4-BE49-F238E27FC236}">
                  <a16:creationId xmlns:a16="http://schemas.microsoft.com/office/drawing/2014/main" id="{5F02C62E-A2D7-54BE-D478-DFFD25EE72D8}"/>
                </a:ext>
              </a:extLst>
            </p:cNvPr>
            <p:cNvPicPr>
              <a:picLocks noChangeAspect="1"/>
            </p:cNvPicPr>
            <p:nvPr/>
          </p:nvPicPr>
          <p:blipFill rotWithShape="1">
            <a:blip r:embed="rId11" cstate="print">
              <a:extLst>
                <a:ext uri="{28A0092B-C50C-407E-A947-70E740481C1C}">
                  <a14:useLocalDpi xmlns:a14="http://schemas.microsoft.com/office/drawing/2010/main" val="0"/>
                </a:ext>
              </a:extLst>
            </a:blip>
            <a:srcRect l="29999" t="22167" r="30934" b="9876"/>
            <a:stretch/>
          </p:blipFill>
          <p:spPr>
            <a:xfrm>
              <a:off x="8758320" y="4866063"/>
              <a:ext cx="4246866" cy="4432363"/>
            </a:xfrm>
            <a:prstGeom prst="rect">
              <a:avLst/>
            </a:prstGeom>
            <a:ln>
              <a:noFill/>
            </a:ln>
            <a:effectLst>
              <a:softEdge rad="112500"/>
            </a:effectLst>
          </p:spPr>
        </p:pic>
        <p:grpSp>
          <p:nvGrpSpPr>
            <p:cNvPr id="45" name="Grupp 44">
              <a:extLst>
                <a:ext uri="{FF2B5EF4-FFF2-40B4-BE49-F238E27FC236}">
                  <a16:creationId xmlns:a16="http://schemas.microsoft.com/office/drawing/2014/main" id="{1825320E-2EBD-B926-E4B0-672EFEF4FA65}"/>
                </a:ext>
              </a:extLst>
            </p:cNvPr>
            <p:cNvGrpSpPr/>
            <p:nvPr/>
          </p:nvGrpSpPr>
          <p:grpSpPr>
            <a:xfrm>
              <a:off x="8107616" y="5126559"/>
              <a:ext cx="4822491" cy="4198484"/>
              <a:chOff x="8107616" y="5126559"/>
              <a:chExt cx="4822491" cy="4198484"/>
            </a:xfrm>
          </p:grpSpPr>
          <p:cxnSp>
            <p:nvCxnSpPr>
              <p:cNvPr id="46" name="Straight Arrow Connector 13">
                <a:extLst>
                  <a:ext uri="{FF2B5EF4-FFF2-40B4-BE49-F238E27FC236}">
                    <a16:creationId xmlns:a16="http://schemas.microsoft.com/office/drawing/2014/main" id="{17F0BEE8-C64E-5695-600E-AC6ED8407128}"/>
                  </a:ext>
                </a:extLst>
              </p:cNvPr>
              <p:cNvCxnSpPr>
                <a:cxnSpLocks/>
              </p:cNvCxnSpPr>
              <p:nvPr/>
            </p:nvCxnSpPr>
            <p:spPr>
              <a:xfrm>
                <a:off x="9613436" y="5675918"/>
                <a:ext cx="1268317" cy="563841"/>
              </a:xfrm>
              <a:prstGeom prst="straightConnector1">
                <a:avLst/>
              </a:prstGeom>
              <a:ln w="82550">
                <a:solidFill>
                  <a:srgbClr val="C00000"/>
                </a:solidFill>
                <a:tailEnd type="stealth" w="lg" len="lg"/>
              </a:ln>
            </p:spPr>
            <p:style>
              <a:lnRef idx="3">
                <a:schemeClr val="accent5"/>
              </a:lnRef>
              <a:fillRef idx="0">
                <a:schemeClr val="accent5"/>
              </a:fillRef>
              <a:effectRef idx="2">
                <a:schemeClr val="accent5"/>
              </a:effectRef>
              <a:fontRef idx="minor">
                <a:schemeClr val="tx1"/>
              </a:fontRef>
            </p:style>
          </p:cxnSp>
          <p:sp>
            <p:nvSpPr>
              <p:cNvPr id="47" name="Rectangle: Rounded Corners 33">
                <a:extLst>
                  <a:ext uri="{FF2B5EF4-FFF2-40B4-BE49-F238E27FC236}">
                    <a16:creationId xmlns:a16="http://schemas.microsoft.com/office/drawing/2014/main" id="{27C88122-A5DD-B3B4-CDFD-6E0C21786E3F}"/>
                  </a:ext>
                </a:extLst>
              </p:cNvPr>
              <p:cNvSpPr/>
              <p:nvPr/>
            </p:nvSpPr>
            <p:spPr>
              <a:xfrm>
                <a:off x="8775603" y="5126559"/>
                <a:ext cx="850805" cy="58618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a:ea typeface="+mn-ea"/>
                    <a:cs typeface="+mn-cs"/>
                  </a:rPr>
                  <a:t>RDF</a:t>
                </a:r>
              </a:p>
            </p:txBody>
          </p:sp>
          <p:cxnSp>
            <p:nvCxnSpPr>
              <p:cNvPr id="48" name="Straight Arrow Connector 36">
                <a:extLst>
                  <a:ext uri="{FF2B5EF4-FFF2-40B4-BE49-F238E27FC236}">
                    <a16:creationId xmlns:a16="http://schemas.microsoft.com/office/drawing/2014/main" id="{623BE4BE-755A-3306-6115-645B4F28B06A}"/>
                  </a:ext>
                </a:extLst>
              </p:cNvPr>
              <p:cNvCxnSpPr>
                <a:cxnSpLocks/>
              </p:cNvCxnSpPr>
              <p:nvPr/>
            </p:nvCxnSpPr>
            <p:spPr>
              <a:xfrm flipV="1">
                <a:off x="9742672" y="7581404"/>
                <a:ext cx="468128" cy="923535"/>
              </a:xfrm>
              <a:prstGeom prst="straightConnector1">
                <a:avLst/>
              </a:prstGeom>
              <a:ln w="82550">
                <a:solidFill>
                  <a:srgbClr val="C00000"/>
                </a:solidFill>
                <a:tailEnd type="stealth" w="lg" len="lg"/>
              </a:ln>
            </p:spPr>
            <p:style>
              <a:lnRef idx="3">
                <a:schemeClr val="accent5"/>
              </a:lnRef>
              <a:fillRef idx="0">
                <a:schemeClr val="accent5"/>
              </a:fillRef>
              <a:effectRef idx="2">
                <a:schemeClr val="accent5"/>
              </a:effectRef>
              <a:fontRef idx="minor">
                <a:schemeClr val="tx1"/>
              </a:fontRef>
            </p:style>
          </p:cxnSp>
          <p:sp>
            <p:nvSpPr>
              <p:cNvPr id="49" name="Rectangle: Rounded Corners 38">
                <a:extLst>
                  <a:ext uri="{FF2B5EF4-FFF2-40B4-BE49-F238E27FC236}">
                    <a16:creationId xmlns:a16="http://schemas.microsoft.com/office/drawing/2014/main" id="{85725251-B409-A86E-A0FE-0C8AC6107827}"/>
                  </a:ext>
                </a:extLst>
              </p:cNvPr>
              <p:cNvSpPr/>
              <p:nvPr/>
            </p:nvSpPr>
            <p:spPr>
              <a:xfrm>
                <a:off x="8935826" y="8504938"/>
                <a:ext cx="2276202" cy="82010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a:ea typeface="+mn-ea"/>
                    <a:cs typeface="+mn-cs"/>
                  </a:rPr>
                  <a:t>Petroleum </a:t>
                </a:r>
                <a:r>
                  <a:rPr kumimoji="0" lang="en-US" sz="1800" b="0" i="0" u="none" strike="noStrike" kern="1200" cap="none" spc="0" normalizeH="0" baseline="0" noProof="0" dirty="0" err="1">
                    <a:ln>
                      <a:noFill/>
                    </a:ln>
                    <a:solidFill>
                      <a:srgbClr val="FFFFFF"/>
                    </a:solidFill>
                    <a:effectLst/>
                    <a:uLnTx/>
                    <a:uFillTx/>
                    <a:latin typeface="Arial"/>
                    <a:ea typeface="+mn-ea"/>
                    <a:cs typeface="+mn-cs"/>
                  </a:rPr>
                  <a:t>coque</a:t>
                </a: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cxnSp>
            <p:nvCxnSpPr>
              <p:cNvPr id="50" name="Straight Arrow Connector 41">
                <a:extLst>
                  <a:ext uri="{FF2B5EF4-FFF2-40B4-BE49-F238E27FC236}">
                    <a16:creationId xmlns:a16="http://schemas.microsoft.com/office/drawing/2014/main" id="{280B8995-B042-A291-EC42-2E501635A4CF}"/>
                  </a:ext>
                </a:extLst>
              </p:cNvPr>
              <p:cNvCxnSpPr>
                <a:cxnSpLocks/>
              </p:cNvCxnSpPr>
              <p:nvPr/>
            </p:nvCxnSpPr>
            <p:spPr>
              <a:xfrm flipH="1" flipV="1">
                <a:off x="11006718" y="7095252"/>
                <a:ext cx="1031182" cy="761916"/>
              </a:xfrm>
              <a:prstGeom prst="straightConnector1">
                <a:avLst/>
              </a:prstGeom>
              <a:ln w="82550">
                <a:solidFill>
                  <a:srgbClr val="00B0F0"/>
                </a:solidFill>
                <a:tailEnd type="stealth" w="lg" len="lg"/>
              </a:ln>
            </p:spPr>
            <p:style>
              <a:lnRef idx="3">
                <a:schemeClr val="accent5"/>
              </a:lnRef>
              <a:fillRef idx="0">
                <a:schemeClr val="accent5"/>
              </a:fillRef>
              <a:effectRef idx="2">
                <a:schemeClr val="accent5"/>
              </a:effectRef>
              <a:fontRef idx="minor">
                <a:schemeClr val="tx1"/>
              </a:fontRef>
            </p:style>
          </p:cxnSp>
          <p:cxnSp>
            <p:nvCxnSpPr>
              <p:cNvPr id="51" name="Straight Arrow Connector 44">
                <a:extLst>
                  <a:ext uri="{FF2B5EF4-FFF2-40B4-BE49-F238E27FC236}">
                    <a16:creationId xmlns:a16="http://schemas.microsoft.com/office/drawing/2014/main" id="{6AEA03C2-E477-F642-D613-C485429CBB73}"/>
                  </a:ext>
                </a:extLst>
              </p:cNvPr>
              <p:cNvCxnSpPr>
                <a:cxnSpLocks/>
              </p:cNvCxnSpPr>
              <p:nvPr/>
            </p:nvCxnSpPr>
            <p:spPr>
              <a:xfrm flipH="1">
                <a:off x="11582400" y="5690121"/>
                <a:ext cx="686908" cy="1007820"/>
              </a:xfrm>
              <a:prstGeom prst="straightConnector1">
                <a:avLst/>
              </a:prstGeom>
              <a:ln w="82550">
                <a:solidFill>
                  <a:srgbClr val="C00000"/>
                </a:solidFill>
                <a:tailEnd type="stealth" w="lg" len="lg"/>
              </a:ln>
            </p:spPr>
            <p:style>
              <a:lnRef idx="3">
                <a:schemeClr val="accent5"/>
              </a:lnRef>
              <a:fillRef idx="0">
                <a:schemeClr val="accent5"/>
              </a:fillRef>
              <a:effectRef idx="2">
                <a:schemeClr val="accent5"/>
              </a:effectRef>
              <a:fontRef idx="minor">
                <a:schemeClr val="tx1"/>
              </a:fontRef>
            </p:style>
          </p:cxnSp>
          <p:sp>
            <p:nvSpPr>
              <p:cNvPr id="52" name="Rectangle: Rounded Corners 53">
                <a:extLst>
                  <a:ext uri="{FF2B5EF4-FFF2-40B4-BE49-F238E27FC236}">
                    <a16:creationId xmlns:a16="http://schemas.microsoft.com/office/drawing/2014/main" id="{A11A4CF8-315B-9193-8EAA-4C6D28A85F9F}"/>
                  </a:ext>
                </a:extLst>
              </p:cNvPr>
              <p:cNvSpPr/>
              <p:nvPr/>
            </p:nvSpPr>
            <p:spPr>
              <a:xfrm>
                <a:off x="12079302" y="5158804"/>
                <a:ext cx="850805" cy="58618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a:ea typeface="+mn-ea"/>
                    <a:cs typeface="+mn-cs"/>
                  </a:rPr>
                  <a:t>Fuel Oil</a:t>
                </a:r>
              </a:p>
            </p:txBody>
          </p:sp>
          <p:sp>
            <p:nvSpPr>
              <p:cNvPr id="53" name="Rectangle: Rounded Corners 55">
                <a:extLst>
                  <a:ext uri="{FF2B5EF4-FFF2-40B4-BE49-F238E27FC236}">
                    <a16:creationId xmlns:a16="http://schemas.microsoft.com/office/drawing/2014/main" id="{36E1F06D-BAF1-7E38-BB01-81ABBB15A0E4}"/>
                  </a:ext>
                </a:extLst>
              </p:cNvPr>
              <p:cNvSpPr/>
              <p:nvPr/>
            </p:nvSpPr>
            <p:spPr>
              <a:xfrm>
                <a:off x="11842699" y="7779174"/>
                <a:ext cx="850805" cy="586188"/>
              </a:xfrm>
              <a:prstGeom prst="roundRect">
                <a:avLst/>
              </a:prstGeom>
              <a:solidFill>
                <a:srgbClr val="00B0F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a:ea typeface="+mn-ea"/>
                    <a:cs typeface="+mn-cs"/>
                  </a:rPr>
                  <a:t>H2</a:t>
                </a:r>
              </a:p>
            </p:txBody>
          </p:sp>
          <p:cxnSp>
            <p:nvCxnSpPr>
              <p:cNvPr id="54" name="Straight Arrow Connector 56">
                <a:extLst>
                  <a:ext uri="{FF2B5EF4-FFF2-40B4-BE49-F238E27FC236}">
                    <a16:creationId xmlns:a16="http://schemas.microsoft.com/office/drawing/2014/main" id="{143315D9-E34A-5004-B211-7559579BD9C0}"/>
                  </a:ext>
                </a:extLst>
              </p:cNvPr>
              <p:cNvCxnSpPr>
                <a:cxnSpLocks/>
              </p:cNvCxnSpPr>
              <p:nvPr/>
            </p:nvCxnSpPr>
            <p:spPr>
              <a:xfrm flipV="1">
                <a:off x="9175358" y="6760941"/>
                <a:ext cx="963483" cy="658975"/>
              </a:xfrm>
              <a:prstGeom prst="straightConnector1">
                <a:avLst/>
              </a:prstGeom>
              <a:ln w="82550">
                <a:solidFill>
                  <a:srgbClr val="C00000"/>
                </a:solidFill>
                <a:tailEnd type="stealth" w="lg" len="lg"/>
              </a:ln>
            </p:spPr>
            <p:style>
              <a:lnRef idx="3">
                <a:schemeClr val="accent5"/>
              </a:lnRef>
              <a:fillRef idx="0">
                <a:schemeClr val="accent5"/>
              </a:fillRef>
              <a:effectRef idx="2">
                <a:schemeClr val="accent5"/>
              </a:effectRef>
              <a:fontRef idx="minor">
                <a:schemeClr val="tx1"/>
              </a:fontRef>
            </p:style>
          </p:cxnSp>
          <p:sp>
            <p:nvSpPr>
              <p:cNvPr id="55" name="Rectangle: Rounded Corners 58">
                <a:extLst>
                  <a:ext uri="{FF2B5EF4-FFF2-40B4-BE49-F238E27FC236}">
                    <a16:creationId xmlns:a16="http://schemas.microsoft.com/office/drawing/2014/main" id="{984C5B31-4EF9-87F0-2DC5-C0C73D5B87E8}"/>
                  </a:ext>
                </a:extLst>
              </p:cNvPr>
              <p:cNvSpPr/>
              <p:nvPr/>
            </p:nvSpPr>
            <p:spPr>
              <a:xfrm>
                <a:off x="8107616" y="7356948"/>
                <a:ext cx="1209608" cy="63095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a:ea typeface="+mn-ea"/>
                    <a:cs typeface="+mn-cs"/>
                  </a:rPr>
                  <a:t>Ignition</a:t>
                </a:r>
              </a:p>
            </p:txBody>
          </p:sp>
        </p:grpSp>
      </p:grpSp>
      <p:sp>
        <p:nvSpPr>
          <p:cNvPr id="6" name="TextBox 13">
            <a:extLst>
              <a:ext uri="{FF2B5EF4-FFF2-40B4-BE49-F238E27FC236}">
                <a16:creationId xmlns:a16="http://schemas.microsoft.com/office/drawing/2014/main" id="{6CA53EDC-1BB0-3BF5-A20E-5B10F010B72D}"/>
              </a:ext>
            </a:extLst>
          </p:cNvPr>
          <p:cNvSpPr txBox="1"/>
          <p:nvPr/>
        </p:nvSpPr>
        <p:spPr>
          <a:xfrm>
            <a:off x="885371" y="896353"/>
            <a:ext cx="16194313" cy="1040798"/>
          </a:xfrm>
          <a:prstGeom prst="rect">
            <a:avLst/>
          </a:prstGeom>
        </p:spPr>
        <p:txBody>
          <a:bodyPr wrap="square" lIns="0" tIns="0" rIns="0" bIns="0" rtlCol="0" anchor="t">
            <a:spAutoFit/>
          </a:bodyPr>
          <a:lstStyle/>
          <a:p>
            <a:pPr marL="0" marR="0" lvl="0" indent="0" defTabSz="914400" rtl="0" eaLnBrk="1" fontAlgn="auto" latinLnBrk="0" hangingPunct="1">
              <a:lnSpc>
                <a:spcPts val="8960"/>
              </a:lnSpc>
              <a:spcBef>
                <a:spcPct val="0"/>
              </a:spcBef>
              <a:spcAft>
                <a:spcPts val="0"/>
              </a:spcAft>
              <a:buClrTx/>
              <a:buSzTx/>
              <a:buFontTx/>
              <a:buNone/>
              <a:tabLst/>
              <a:defRPr/>
            </a:pPr>
            <a:r>
              <a:rPr kumimoji="0" lang="en-US" sz="6000" b="1" i="0" u="none" strike="noStrike" kern="1200" cap="none" spc="0" normalizeH="0" baseline="0" noProof="0" dirty="0">
                <a:ln>
                  <a:noFill/>
                </a:ln>
                <a:solidFill>
                  <a:srgbClr val="CC0033"/>
                </a:solidFill>
                <a:effectLst/>
                <a:uLnTx/>
                <a:uFillTx/>
                <a:latin typeface="Arial"/>
                <a:ea typeface="+mn-ea"/>
                <a:cs typeface="Arial" panose="020B0604020202020204" pitchFamily="34" charset="0"/>
              </a:rPr>
              <a:t>Actions</a:t>
            </a:r>
          </a:p>
        </p:txBody>
      </p:sp>
      <p:sp>
        <p:nvSpPr>
          <p:cNvPr id="13" name="TextBox 12">
            <a:extLst>
              <a:ext uri="{FF2B5EF4-FFF2-40B4-BE49-F238E27FC236}">
                <a16:creationId xmlns:a16="http://schemas.microsoft.com/office/drawing/2014/main" id="{E52FFB0E-7280-6E80-13DB-3A978767FC65}"/>
              </a:ext>
            </a:extLst>
          </p:cNvPr>
          <p:cNvSpPr txBox="1"/>
          <p:nvPr/>
        </p:nvSpPr>
        <p:spPr>
          <a:xfrm>
            <a:off x="1181701" y="7533733"/>
            <a:ext cx="9144000" cy="584775"/>
          </a:xfrm>
          <a:prstGeom prst="rect">
            <a:avLst/>
          </a:prstGeom>
          <a:noFill/>
        </p:spPr>
        <p:txBody>
          <a:bodyPr wrap="square">
            <a:spAutoFit/>
          </a:bodyPr>
          <a:lstStyle/>
          <a:p>
            <a:r>
              <a:rPr kumimoji="0" lang="en-US" sz="3200" b="0" i="0" u="none" strike="noStrike" kern="1200" cap="none" spc="0" normalizeH="0" baseline="0" noProof="0" dirty="0">
                <a:ln>
                  <a:noFill/>
                </a:ln>
                <a:solidFill>
                  <a:srgbClr val="2F2F2F"/>
                </a:solidFill>
                <a:effectLst/>
                <a:uLnTx/>
                <a:uFillTx/>
                <a:latin typeface="Montserrat" panose="00000500000000000000" pitchFamily="2" charset="0"/>
                <a:ea typeface="+mn-ea"/>
                <a:cs typeface="+mn-cs"/>
              </a:rPr>
              <a:t>a) Satellite burner</a:t>
            </a:r>
            <a:endParaRPr lang="sv-SE" sz="3200" dirty="0"/>
          </a:p>
        </p:txBody>
      </p:sp>
      <p:sp>
        <p:nvSpPr>
          <p:cNvPr id="21" name="TextBox 20">
            <a:extLst>
              <a:ext uri="{FF2B5EF4-FFF2-40B4-BE49-F238E27FC236}">
                <a16:creationId xmlns:a16="http://schemas.microsoft.com/office/drawing/2014/main" id="{D16B0971-3562-EEF5-DC76-D434D36C3C37}"/>
              </a:ext>
            </a:extLst>
          </p:cNvPr>
          <p:cNvSpPr txBox="1"/>
          <p:nvPr/>
        </p:nvSpPr>
        <p:spPr>
          <a:xfrm>
            <a:off x="9828029" y="8717339"/>
            <a:ext cx="9144000" cy="584775"/>
          </a:xfrm>
          <a:prstGeom prst="rect">
            <a:avLst/>
          </a:prstGeom>
          <a:noFill/>
        </p:spPr>
        <p:txBody>
          <a:bodyPr wrap="square">
            <a:spAutoFit/>
          </a:bodyPr>
          <a:lstStyle/>
          <a:p>
            <a:r>
              <a:rPr kumimoji="0" lang="en-US" sz="3200" b="0" i="0" u="none" strike="noStrike" kern="1200" cap="none" spc="0" normalizeH="0" baseline="0" noProof="0" dirty="0">
                <a:ln>
                  <a:noFill/>
                </a:ln>
                <a:solidFill>
                  <a:srgbClr val="2F2F2F"/>
                </a:solidFill>
                <a:effectLst/>
                <a:uLnTx/>
                <a:uFillTx/>
                <a:latin typeface="Montserrat" panose="00000500000000000000" pitchFamily="2" charset="0"/>
                <a:ea typeface="+mn-ea"/>
                <a:cs typeface="+mn-cs"/>
              </a:rPr>
              <a:t>b) Inject </a:t>
            </a:r>
            <a:r>
              <a:rPr kumimoji="0" lang="pt-PT" sz="3200" b="0" i="0" u="none" strike="noStrike" kern="1200" cap="none" spc="0" normalizeH="0" baseline="0" noProof="0" dirty="0">
                <a:ln>
                  <a:noFill/>
                </a:ln>
                <a:solidFill>
                  <a:srgbClr val="2F2F2F"/>
                </a:solidFill>
                <a:effectLst/>
                <a:uLnTx/>
                <a:uFillTx/>
                <a:latin typeface="Montserrat" panose="00000500000000000000" pitchFamily="2" charset="0"/>
                <a:ea typeface="+mn-ea"/>
                <a:cs typeface="+mn-cs"/>
              </a:rPr>
              <a:t>H2</a:t>
            </a:r>
            <a:r>
              <a:rPr kumimoji="0" lang="en-US" sz="3200" b="0" i="0" u="none" strike="noStrike" kern="1200" cap="none" spc="0" normalizeH="0" baseline="0" noProof="0" dirty="0">
                <a:ln>
                  <a:noFill/>
                </a:ln>
                <a:solidFill>
                  <a:srgbClr val="2F2F2F"/>
                </a:solidFill>
                <a:effectLst/>
                <a:uLnTx/>
                <a:uFillTx/>
                <a:latin typeface="Montserrat" panose="00000500000000000000" pitchFamily="2" charset="0"/>
                <a:ea typeface="+mn-ea"/>
                <a:cs typeface="+mn-cs"/>
              </a:rPr>
              <a:t> in the main burner</a:t>
            </a:r>
            <a:endParaRPr lang="sv-SE" sz="3200" dirty="0"/>
          </a:p>
        </p:txBody>
      </p:sp>
      <p:pic>
        <p:nvPicPr>
          <p:cNvPr id="25" name="Imagen 93">
            <a:extLst>
              <a:ext uri="{FF2B5EF4-FFF2-40B4-BE49-F238E27FC236}">
                <a16:creationId xmlns:a16="http://schemas.microsoft.com/office/drawing/2014/main" id="{798A2C35-BA9A-A0AC-FDA1-CF0949C4769C}"/>
              </a:ext>
            </a:extLst>
          </p:cNvPr>
          <p:cNvPicPr>
            <a:picLocks noChangeAspect="1"/>
          </p:cNvPicPr>
          <p:nvPr/>
        </p:nvPicPr>
        <p:blipFill rotWithShape="1">
          <a:blip r:embed="rId12"/>
          <a:srcRect l="23084" t="14316" r="9046" b="7091"/>
          <a:stretch/>
        </p:blipFill>
        <p:spPr>
          <a:xfrm>
            <a:off x="14880476" y="573544"/>
            <a:ext cx="2369044" cy="1936268"/>
          </a:xfrm>
          <a:prstGeom prst="rect">
            <a:avLst/>
          </a:prstGeom>
        </p:spPr>
      </p:pic>
      <p:pic>
        <p:nvPicPr>
          <p:cNvPr id="4" name="Picture 5" descr="A large machine with purple pipes&#10;&#10;Description automatically generated with medium confidence">
            <a:extLst>
              <a:ext uri="{FF2B5EF4-FFF2-40B4-BE49-F238E27FC236}">
                <a16:creationId xmlns:a16="http://schemas.microsoft.com/office/drawing/2014/main" id="{825D75DA-8C34-5106-709F-A8E6A9C8A6AD}"/>
              </a:ext>
            </a:extLst>
          </p:cNvPr>
          <p:cNvPicPr>
            <a:picLocks noChangeAspect="1"/>
          </p:cNvPicPr>
          <p:nvPr/>
        </p:nvPicPr>
        <p:blipFill rotWithShape="1">
          <a:blip r:embed="rId13" cstate="print">
            <a:extLst>
              <a:ext uri="{28A0092B-C50C-407E-A947-70E740481C1C}">
                <a14:useLocalDpi xmlns:a14="http://schemas.microsoft.com/office/drawing/2010/main" val="0"/>
              </a:ext>
            </a:extLst>
          </a:blip>
          <a:srcRect l="7222" t="14617" r="8180" b="25435"/>
          <a:stretch/>
        </p:blipFill>
        <p:spPr>
          <a:xfrm>
            <a:off x="9914460" y="1689538"/>
            <a:ext cx="4308536" cy="1999226"/>
          </a:xfrm>
          <a:prstGeom prst="rect">
            <a:avLst/>
          </a:prstGeom>
          <a:ln>
            <a:noFill/>
          </a:ln>
          <a:effectLst>
            <a:softEdge rad="112500"/>
          </a:effectLst>
        </p:spPr>
      </p:pic>
      <p:sp>
        <p:nvSpPr>
          <p:cNvPr id="5" name="TextBox 10">
            <a:extLst>
              <a:ext uri="{FF2B5EF4-FFF2-40B4-BE49-F238E27FC236}">
                <a16:creationId xmlns:a16="http://schemas.microsoft.com/office/drawing/2014/main" id="{717E541F-88F6-6609-8306-633894A37197}"/>
              </a:ext>
            </a:extLst>
          </p:cNvPr>
          <p:cNvSpPr txBox="1"/>
          <p:nvPr/>
        </p:nvSpPr>
        <p:spPr>
          <a:xfrm>
            <a:off x="9895477" y="3580222"/>
            <a:ext cx="3124200" cy="369332"/>
          </a:xfrm>
          <a:prstGeom prst="rect">
            <a:avLst/>
          </a:prstGeom>
          <a:noFill/>
        </p:spPr>
        <p:txBody>
          <a:bodyPr wrap="square" rtlCol="0">
            <a:spAutoFit/>
          </a:bodyPr>
          <a:lstStyle/>
          <a:p>
            <a:pPr defTabSz="1371600"/>
            <a:r>
              <a:rPr lang="en-US" dirty="0">
                <a:latin typeface="Calibri" panose="020F0502020204030204"/>
              </a:rPr>
              <a:t>New secondary burner</a:t>
            </a:r>
          </a:p>
        </p:txBody>
      </p:sp>
      <p:sp>
        <p:nvSpPr>
          <p:cNvPr id="7" name="TextBox 12">
            <a:extLst>
              <a:ext uri="{FF2B5EF4-FFF2-40B4-BE49-F238E27FC236}">
                <a16:creationId xmlns:a16="http://schemas.microsoft.com/office/drawing/2014/main" id="{FCF306B8-BA84-96F3-256F-45A8930B5C10}"/>
              </a:ext>
            </a:extLst>
          </p:cNvPr>
          <p:cNvSpPr txBox="1"/>
          <p:nvPr/>
        </p:nvSpPr>
        <p:spPr>
          <a:xfrm>
            <a:off x="13909838" y="8306461"/>
            <a:ext cx="4327035" cy="369332"/>
          </a:xfrm>
          <a:prstGeom prst="rect">
            <a:avLst/>
          </a:prstGeom>
          <a:noFill/>
        </p:spPr>
        <p:txBody>
          <a:bodyPr wrap="square" rtlCol="0">
            <a:spAutoFit/>
          </a:bodyPr>
          <a:lstStyle/>
          <a:p>
            <a:pPr defTabSz="1371600"/>
            <a:r>
              <a:rPr lang="en-US" dirty="0">
                <a:latin typeface="Calibri" panose="020F0502020204030204"/>
              </a:rPr>
              <a:t>Hydrogen injector for the main burner.</a:t>
            </a:r>
          </a:p>
        </p:txBody>
      </p:sp>
    </p:spTree>
    <p:extLst>
      <p:ext uri="{BB962C8B-B14F-4D97-AF65-F5344CB8AC3E}">
        <p14:creationId xmlns:p14="http://schemas.microsoft.com/office/powerpoint/2010/main" val="3097541893"/>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6"/>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marL="0" marR="0" lvl="0" indent="0" algn="ctr" defTabSz="914400" rtl="0" eaLnBrk="1" fontAlgn="auto" latinLnBrk="0" hangingPunct="1">
                <a:lnSpc>
                  <a:spcPts val="3919"/>
                </a:lnSpc>
                <a:spcBef>
                  <a:spcPct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OCR A Extended" panose="02010509020102010303" pitchFamily="50" charset="0"/>
                  <a:ea typeface="+mn-ea"/>
                  <a:cs typeface="+mn-cs"/>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4"/>
          <a:srcRect/>
          <a:stretch>
            <a:fillRect/>
          </a:stretch>
        </p:blipFill>
        <p:spPr>
          <a:xfrm>
            <a:off x="0" y="8901113"/>
            <a:ext cx="5715000" cy="1385887"/>
          </a:xfrm>
          <a:prstGeom prst="rect">
            <a:avLst/>
          </a:prstGeom>
        </p:spPr>
      </p:pic>
      <p:grpSp>
        <p:nvGrpSpPr>
          <p:cNvPr id="3" name="Gruppo 2">
            <a:extLst>
              <a:ext uri="{FF2B5EF4-FFF2-40B4-BE49-F238E27FC236}">
                <a16:creationId xmlns:a16="http://schemas.microsoft.com/office/drawing/2014/main" id="{1C29CBCA-BE0A-4EF6-AC69-329941E1DCFD}"/>
              </a:ext>
            </a:extLst>
          </p:cNvPr>
          <p:cNvGrpSpPr/>
          <p:nvPr/>
        </p:nvGrpSpPr>
        <p:grpSpPr>
          <a:xfrm>
            <a:off x="-12" y="138554"/>
            <a:ext cx="18288002" cy="681138"/>
            <a:chOff x="-12" y="138554"/>
            <a:chExt cx="18288002" cy="681138"/>
          </a:xfrm>
        </p:grpSpPr>
        <p:grpSp>
          <p:nvGrpSpPr>
            <p:cNvPr id="2" name="Gruppo 1">
              <a:extLst>
                <a:ext uri="{FF2B5EF4-FFF2-40B4-BE49-F238E27FC236}">
                  <a16:creationId xmlns:a16="http://schemas.microsoft.com/office/drawing/2014/main" id="{24E9C7AF-0093-476F-826C-A2702AB72892}"/>
                </a:ext>
              </a:extLst>
            </p:cNvPr>
            <p:cNvGrpSpPr/>
            <p:nvPr/>
          </p:nvGrpSpPr>
          <p:grpSpPr>
            <a:xfrm>
              <a:off x="0" y="153125"/>
              <a:ext cx="17907000" cy="666567"/>
              <a:chOff x="0" y="153125"/>
              <a:chExt cx="17907000" cy="666567"/>
            </a:xfrm>
          </p:grpSpPr>
          <p:grpSp>
            <p:nvGrpSpPr>
              <p:cNvPr id="16" name="Gruppo 15">
                <a:extLst>
                  <a:ext uri="{FF2B5EF4-FFF2-40B4-BE49-F238E27FC236}">
                    <a16:creationId xmlns:a16="http://schemas.microsoft.com/office/drawing/2014/main" id="{DAC42A46-917D-41AB-8F07-E15E54D0F7D4}"/>
                  </a:ext>
                </a:extLst>
              </p:cNvPr>
              <p:cNvGrpSpPr/>
              <p:nvPr/>
            </p:nvGrpSpPr>
            <p:grpSpPr>
              <a:xfrm>
                <a:off x="0" y="153125"/>
                <a:ext cx="13958844" cy="666567"/>
                <a:chOff x="0" y="153125"/>
                <a:chExt cx="13958844" cy="666567"/>
              </a:xfrm>
            </p:grpSpPr>
            <p:pic>
              <p:nvPicPr>
                <p:cNvPr id="10" name="Picture 10"/>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1" name="TextBox 11"/>
                <p:cNvSpPr txBox="1"/>
                <p:nvPr/>
              </p:nvSpPr>
              <p:spPr>
                <a:xfrm>
                  <a:off x="228600" y="257980"/>
                  <a:ext cx="9144000" cy="456856"/>
                </a:xfrm>
                <a:prstGeom prst="rect">
                  <a:avLst/>
                </a:prstGeom>
              </p:spPr>
              <p:txBody>
                <a:bodyPr wrap="square" lIns="0" tIns="0" rIns="0" bIns="0" rtlCol="0" anchor="t">
                  <a:spAutoFit/>
                </a:bodyPr>
                <a:lstStyle/>
                <a:p>
                  <a:pPr marL="0" marR="0" lvl="0" indent="0" algn="l" defTabSz="914400" rtl="0" eaLnBrk="1" fontAlgn="auto" latinLnBrk="0" hangingPunct="1">
                    <a:lnSpc>
                      <a:spcPts val="3919"/>
                    </a:lnSpc>
                    <a:spcBef>
                      <a:spcPct val="0"/>
                    </a:spcBef>
                    <a:spcAft>
                      <a:spcPts val="0"/>
                    </a:spcAft>
                    <a:buClrTx/>
                    <a:buSzTx/>
                    <a:buFontTx/>
                    <a:buNone/>
                    <a:tabLst/>
                    <a:defRPr/>
                  </a:pPr>
                  <a:endParaRPr kumimoji="0" lang="en-US" sz="2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2" name="TextBox 11">
                <a:extLst>
                  <a:ext uri="{FF2B5EF4-FFF2-40B4-BE49-F238E27FC236}">
                    <a16:creationId xmlns:a16="http://schemas.microsoft.com/office/drawing/2014/main" id="{1BD9B5F4-614C-4EB6-8C5B-120A5420CE43}"/>
                  </a:ext>
                </a:extLst>
              </p:cNvPr>
              <p:cNvSpPr txBox="1"/>
              <p:nvPr/>
            </p:nvSpPr>
            <p:spPr>
              <a:xfrm>
                <a:off x="12154296" y="257980"/>
                <a:ext cx="5752704" cy="456856"/>
              </a:xfrm>
              <a:prstGeom prst="rect">
                <a:avLst/>
              </a:prstGeom>
            </p:spPr>
            <p:txBody>
              <a:bodyPr wrap="square" lIns="0" tIns="0" rIns="0" bIns="0" rtlCol="0" anchor="t">
                <a:spAutoFit/>
              </a:bodyPr>
              <a:lstStyle/>
              <a:p>
                <a:pPr marL="0" marR="0" lvl="0" indent="0" algn="r" defTabSz="914400" rtl="0" eaLnBrk="1" fontAlgn="auto" latinLnBrk="0" hangingPunct="1">
                  <a:lnSpc>
                    <a:spcPts val="3919"/>
                  </a:lnSpc>
                  <a:spcBef>
                    <a:spcPct val="0"/>
                  </a:spcBef>
                  <a:spcAft>
                    <a:spcPts val="0"/>
                  </a:spcAft>
                  <a:buClrTx/>
                  <a:buSzTx/>
                  <a:buFontTx/>
                  <a:buNone/>
                  <a:tabLst/>
                  <a:defRPr/>
                </a:pPr>
                <a:endParaRPr kumimoji="0" lang="en-US" sz="2800" b="0" i="0" u="none" strike="noStrike" kern="1200" cap="none" spc="0" normalizeH="0" baseline="0" noProof="0">
                  <a:ln>
                    <a:noFill/>
                  </a:ln>
                  <a:solidFill>
                    <a:srgbClr val="2F2F2F">
                      <a:lumMod val="75000"/>
                      <a:lumOff val="25000"/>
                    </a:srgbClr>
                  </a:solidFill>
                  <a:effectLst/>
                  <a:uLnTx/>
                  <a:uFillTx/>
                  <a:latin typeface="Arial" panose="020B0604020202020204" pitchFamily="34" charset="0"/>
                  <a:ea typeface="+mn-ea"/>
                  <a:cs typeface="Arial" panose="020B0604020202020204" pitchFamily="34" charset="0"/>
                </a:endParaRPr>
              </a:p>
            </p:txBody>
          </p:sp>
        </p:grpSp>
        <p:sp>
          <p:nvSpPr>
            <p:cNvPr id="14" name="Rettangolo 13">
              <a:extLst>
                <a:ext uri="{FF2B5EF4-FFF2-40B4-BE49-F238E27FC236}">
                  <a16:creationId xmlns:a16="http://schemas.microsoft.com/office/drawing/2014/main" id="{55199736-B8B6-4C9A-8BAF-233E07A0CA89}"/>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5" name="textruta 14">
            <a:extLst>
              <a:ext uri="{FF2B5EF4-FFF2-40B4-BE49-F238E27FC236}">
                <a16:creationId xmlns:a16="http://schemas.microsoft.com/office/drawing/2014/main" id="{9E2BBE4E-9786-8208-4662-3B0A865073AD}"/>
              </a:ext>
            </a:extLst>
          </p:cNvPr>
          <p:cNvSpPr txBox="1"/>
          <p:nvPr/>
        </p:nvSpPr>
        <p:spPr>
          <a:xfrm>
            <a:off x="1522314" y="1991446"/>
            <a:ext cx="12114616" cy="1169551"/>
          </a:xfrm>
          <a:prstGeom prst="rect">
            <a:avLst/>
          </a:prstGeom>
          <a:noFill/>
        </p:spPr>
        <p:txBody>
          <a:bodyPr wrap="square">
            <a:spAutoFit/>
          </a:bodyPr>
          <a:lstStyle/>
          <a:p>
            <a:pPr marL="457200" marR="0" lvl="0" indent="-457200" algn="l" defTabSz="914400" rtl="0" eaLnBrk="1" fontAlgn="auto" latinLnBrk="0" hangingPunct="1">
              <a:lnSpc>
                <a:spcPct val="100000"/>
              </a:lnSpc>
              <a:spcBef>
                <a:spcPts val="0"/>
              </a:spcBef>
              <a:spcAft>
                <a:spcPts val="0"/>
              </a:spcAft>
              <a:buClr>
                <a:srgbClr val="CC0033"/>
              </a:buClr>
              <a:buSzTx/>
              <a:buFont typeface="Wingdings" panose="05000000000000000000" pitchFamily="2" charset="2"/>
              <a:buChar char="ü"/>
              <a:tabLst/>
              <a:defRPr/>
            </a:pPr>
            <a:r>
              <a:rPr kumimoji="0" lang="en-US" sz="2200" b="1" i="0" u="none" strike="noStrike" kern="1200" cap="none" spc="0" normalizeH="0" baseline="0" noProof="0" dirty="0">
                <a:ln>
                  <a:noFill/>
                </a:ln>
                <a:solidFill>
                  <a:srgbClr val="2F2F2F"/>
                </a:solidFill>
                <a:effectLst/>
                <a:uLnTx/>
                <a:uFillTx/>
                <a:latin typeface="Arial"/>
                <a:ea typeface="+mn-ea"/>
                <a:cs typeface="+mn-cs"/>
              </a:rPr>
              <a:t>New sensors for combustion diagnosis</a:t>
            </a:r>
            <a:r>
              <a:rPr kumimoji="0" lang="en-US" sz="2400" b="1" i="0" u="none" strike="noStrike" kern="1200" cap="none" spc="0" normalizeH="0" baseline="0" noProof="0" dirty="0">
                <a:ln>
                  <a:noFill/>
                </a:ln>
                <a:solidFill>
                  <a:srgbClr val="2F2F2F"/>
                </a:solidFill>
                <a:effectLst/>
                <a:uLnTx/>
                <a:uFillTx/>
                <a:latin typeface="Arial"/>
                <a:ea typeface="+mn-ea"/>
                <a:cs typeface="+mn-cs"/>
              </a:rPr>
              <a:t> , alternative fuel properties determination</a:t>
            </a:r>
            <a:r>
              <a:rPr kumimoji="0" lang="en-US" sz="2200" b="1" i="0" u="none" strike="noStrike" kern="1200" cap="none" spc="0" normalizeH="0" baseline="0" noProof="0" dirty="0">
                <a:ln>
                  <a:noFill/>
                </a:ln>
                <a:solidFill>
                  <a:srgbClr val="2F2F2F"/>
                </a:solidFill>
                <a:effectLst/>
                <a:uLnTx/>
                <a:uFillTx/>
                <a:latin typeface="Arial"/>
                <a:ea typeface="+mn-ea"/>
                <a:cs typeface="+mn-cs"/>
              </a:rPr>
              <a:t> and real time clinker optical characterization</a:t>
            </a:r>
            <a:endParaRPr kumimoji="0" lang="es-ES" sz="2200" b="1" i="0" u="none" strike="noStrike" kern="1200" cap="none" spc="0" normalizeH="0" baseline="0" noProof="0" dirty="0">
              <a:ln>
                <a:noFill/>
              </a:ln>
              <a:solidFill>
                <a:srgbClr val="2F2F2F"/>
              </a:solidFill>
              <a:effectLst/>
              <a:uLnTx/>
              <a:uFillTx/>
              <a:latin typeface="Arial"/>
              <a:ea typeface="+mn-ea"/>
              <a:cs typeface="+mn-cs"/>
            </a:endParaRPr>
          </a:p>
          <a:p>
            <a:pPr marL="457200" marR="0" lvl="0" indent="-457200" algn="l" defTabSz="914400" rtl="0" eaLnBrk="1" fontAlgn="auto" latinLnBrk="0" hangingPunct="1">
              <a:lnSpc>
                <a:spcPct val="100000"/>
              </a:lnSpc>
              <a:spcBef>
                <a:spcPts val="0"/>
              </a:spcBef>
              <a:spcAft>
                <a:spcPts val="0"/>
              </a:spcAft>
              <a:buClr>
                <a:srgbClr val="CC0033"/>
              </a:buClr>
              <a:buSzTx/>
              <a:buFont typeface="Wingdings" panose="05000000000000000000" pitchFamily="2" charset="2"/>
              <a:buChar char="ü"/>
              <a:tabLst/>
              <a:defRPr/>
            </a:pPr>
            <a:endParaRPr kumimoji="0" lang="en-US" sz="2200" b="1" i="0" u="none" strike="noStrike" kern="1200" cap="none" spc="0" normalizeH="0" baseline="0" noProof="0" dirty="0">
              <a:ln>
                <a:noFill/>
              </a:ln>
              <a:solidFill>
                <a:srgbClr val="2F2F2F"/>
              </a:solidFill>
              <a:effectLst/>
              <a:uLnTx/>
              <a:uFillTx/>
              <a:latin typeface="Arial"/>
              <a:ea typeface="+mn-ea"/>
              <a:cs typeface="+mn-cs"/>
            </a:endParaRPr>
          </a:p>
        </p:txBody>
      </p:sp>
      <p:pic>
        <p:nvPicPr>
          <p:cNvPr id="60" name="Picture 7">
            <a:extLst>
              <a:ext uri="{FF2B5EF4-FFF2-40B4-BE49-F238E27FC236}">
                <a16:creationId xmlns:a16="http://schemas.microsoft.com/office/drawing/2014/main" id="{29D2AC73-18E7-F57D-D882-CC39B3AC0CF2}"/>
              </a:ext>
            </a:extLst>
          </p:cNvPr>
          <p:cNvPicPr>
            <a:picLocks noChangeAspect="1"/>
          </p:cNvPicPr>
          <p:nvPr/>
        </p:nvPicPr>
        <p:blipFill rotWithShape="1">
          <a:blip r:embed="rId6"/>
          <a:srcRect l="20416" t="26297" r="42917" b="24428"/>
          <a:stretch/>
        </p:blipFill>
        <p:spPr>
          <a:xfrm>
            <a:off x="1777219" y="3035101"/>
            <a:ext cx="8496834" cy="6422903"/>
          </a:xfrm>
          <a:prstGeom prst="rect">
            <a:avLst/>
          </a:prstGeom>
        </p:spPr>
      </p:pic>
      <p:sp>
        <p:nvSpPr>
          <p:cNvPr id="4" name="TextBox 13">
            <a:extLst>
              <a:ext uri="{FF2B5EF4-FFF2-40B4-BE49-F238E27FC236}">
                <a16:creationId xmlns:a16="http://schemas.microsoft.com/office/drawing/2014/main" id="{C9377C2D-5CD2-A01D-FB67-658F162D454B}"/>
              </a:ext>
            </a:extLst>
          </p:cNvPr>
          <p:cNvSpPr txBox="1"/>
          <p:nvPr/>
        </p:nvSpPr>
        <p:spPr>
          <a:xfrm>
            <a:off x="885371" y="896353"/>
            <a:ext cx="16194313" cy="1040798"/>
          </a:xfrm>
          <a:prstGeom prst="rect">
            <a:avLst/>
          </a:prstGeom>
        </p:spPr>
        <p:txBody>
          <a:bodyPr wrap="square" lIns="0" tIns="0" rIns="0" bIns="0" rtlCol="0" anchor="t">
            <a:spAutoFit/>
          </a:bodyPr>
          <a:lstStyle/>
          <a:p>
            <a:pPr marL="0" marR="0" lvl="0" indent="0" defTabSz="914400" rtl="0" eaLnBrk="1" fontAlgn="auto" latinLnBrk="0" hangingPunct="1">
              <a:lnSpc>
                <a:spcPts val="8960"/>
              </a:lnSpc>
              <a:spcBef>
                <a:spcPct val="0"/>
              </a:spcBef>
              <a:spcAft>
                <a:spcPts val="0"/>
              </a:spcAft>
              <a:buClrTx/>
              <a:buSzTx/>
              <a:buFontTx/>
              <a:buNone/>
              <a:tabLst/>
              <a:defRPr/>
            </a:pPr>
            <a:r>
              <a:rPr kumimoji="0" lang="en-US" sz="6000" b="1" i="0" u="none" strike="noStrike" kern="1200" cap="none" spc="0" normalizeH="0" baseline="0" noProof="0" dirty="0">
                <a:ln>
                  <a:noFill/>
                </a:ln>
                <a:solidFill>
                  <a:srgbClr val="CC0033"/>
                </a:solidFill>
                <a:effectLst/>
                <a:uLnTx/>
                <a:uFillTx/>
                <a:latin typeface="Arial"/>
                <a:ea typeface="+mn-ea"/>
                <a:cs typeface="Arial" panose="020B0604020202020204" pitchFamily="34" charset="0"/>
              </a:rPr>
              <a:t>Actions</a:t>
            </a:r>
          </a:p>
        </p:txBody>
      </p:sp>
      <p:pic>
        <p:nvPicPr>
          <p:cNvPr id="6" name="Imagen 93">
            <a:extLst>
              <a:ext uri="{FF2B5EF4-FFF2-40B4-BE49-F238E27FC236}">
                <a16:creationId xmlns:a16="http://schemas.microsoft.com/office/drawing/2014/main" id="{96DC578D-193A-2DA8-C87C-A512E4061D2C}"/>
              </a:ext>
            </a:extLst>
          </p:cNvPr>
          <p:cNvPicPr>
            <a:picLocks noChangeAspect="1"/>
          </p:cNvPicPr>
          <p:nvPr/>
        </p:nvPicPr>
        <p:blipFill rotWithShape="1">
          <a:blip r:embed="rId7"/>
          <a:srcRect l="23084" t="14316" r="9046" b="7091"/>
          <a:stretch/>
        </p:blipFill>
        <p:spPr>
          <a:xfrm>
            <a:off x="14880476" y="573544"/>
            <a:ext cx="2369044" cy="1936268"/>
          </a:xfrm>
          <a:prstGeom prst="rect">
            <a:avLst/>
          </a:prstGeom>
        </p:spPr>
      </p:pic>
      <p:pic>
        <p:nvPicPr>
          <p:cNvPr id="9" name="Picture 13">
            <a:extLst>
              <a:ext uri="{FF2B5EF4-FFF2-40B4-BE49-F238E27FC236}">
                <a16:creationId xmlns:a16="http://schemas.microsoft.com/office/drawing/2014/main" id="{425150E3-0F09-BEB3-E6E0-3776FC4722BC}"/>
              </a:ext>
            </a:extLst>
          </p:cNvPr>
          <p:cNvPicPr>
            <a:picLocks noChangeAspect="1"/>
          </p:cNvPicPr>
          <p:nvPr/>
        </p:nvPicPr>
        <p:blipFill rotWithShape="1">
          <a:blip r:embed="rId8"/>
          <a:srcRect l="32500" t="54444" r="50000" b="16618"/>
          <a:stretch/>
        </p:blipFill>
        <p:spPr>
          <a:xfrm>
            <a:off x="10699469" y="3127050"/>
            <a:ext cx="6518750" cy="5290581"/>
          </a:xfrm>
          <a:prstGeom prst="rect">
            <a:avLst/>
          </a:prstGeom>
        </p:spPr>
      </p:pic>
    </p:spTree>
    <p:extLst>
      <p:ext uri="{BB962C8B-B14F-4D97-AF65-F5344CB8AC3E}">
        <p14:creationId xmlns:p14="http://schemas.microsoft.com/office/powerpoint/2010/main" val="943592480"/>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6"/>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marL="0" marR="0" lvl="0" indent="0" algn="ctr" defTabSz="914400" rtl="0" eaLnBrk="1" fontAlgn="auto" latinLnBrk="0" hangingPunct="1">
                <a:lnSpc>
                  <a:spcPts val="3919"/>
                </a:lnSpc>
                <a:spcBef>
                  <a:spcPct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OCR A Extended" panose="02010509020102010303" pitchFamily="50" charset="0"/>
                  <a:ea typeface="+mn-ea"/>
                  <a:cs typeface="+mn-cs"/>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4"/>
          <a:srcRect/>
          <a:stretch>
            <a:fillRect/>
          </a:stretch>
        </p:blipFill>
        <p:spPr>
          <a:xfrm>
            <a:off x="0" y="8901113"/>
            <a:ext cx="5715000" cy="1385887"/>
          </a:xfrm>
          <a:prstGeom prst="rect">
            <a:avLst/>
          </a:prstGeom>
        </p:spPr>
      </p:pic>
      <p:grpSp>
        <p:nvGrpSpPr>
          <p:cNvPr id="3" name="Gruppo 2">
            <a:extLst>
              <a:ext uri="{FF2B5EF4-FFF2-40B4-BE49-F238E27FC236}">
                <a16:creationId xmlns:a16="http://schemas.microsoft.com/office/drawing/2014/main" id="{1C29CBCA-BE0A-4EF6-AC69-329941E1DCFD}"/>
              </a:ext>
            </a:extLst>
          </p:cNvPr>
          <p:cNvGrpSpPr/>
          <p:nvPr/>
        </p:nvGrpSpPr>
        <p:grpSpPr>
          <a:xfrm>
            <a:off x="-12" y="138554"/>
            <a:ext cx="18288002" cy="681138"/>
            <a:chOff x="-12" y="138554"/>
            <a:chExt cx="18288002" cy="681138"/>
          </a:xfrm>
        </p:grpSpPr>
        <p:grpSp>
          <p:nvGrpSpPr>
            <p:cNvPr id="2" name="Gruppo 1">
              <a:extLst>
                <a:ext uri="{FF2B5EF4-FFF2-40B4-BE49-F238E27FC236}">
                  <a16:creationId xmlns:a16="http://schemas.microsoft.com/office/drawing/2014/main" id="{24E9C7AF-0093-476F-826C-A2702AB72892}"/>
                </a:ext>
              </a:extLst>
            </p:cNvPr>
            <p:cNvGrpSpPr/>
            <p:nvPr/>
          </p:nvGrpSpPr>
          <p:grpSpPr>
            <a:xfrm>
              <a:off x="0" y="153125"/>
              <a:ext cx="17907000" cy="666567"/>
              <a:chOff x="0" y="153125"/>
              <a:chExt cx="17907000" cy="666567"/>
            </a:xfrm>
          </p:grpSpPr>
          <p:grpSp>
            <p:nvGrpSpPr>
              <p:cNvPr id="16" name="Gruppo 15">
                <a:extLst>
                  <a:ext uri="{FF2B5EF4-FFF2-40B4-BE49-F238E27FC236}">
                    <a16:creationId xmlns:a16="http://schemas.microsoft.com/office/drawing/2014/main" id="{DAC42A46-917D-41AB-8F07-E15E54D0F7D4}"/>
                  </a:ext>
                </a:extLst>
              </p:cNvPr>
              <p:cNvGrpSpPr/>
              <p:nvPr/>
            </p:nvGrpSpPr>
            <p:grpSpPr>
              <a:xfrm>
                <a:off x="0" y="153125"/>
                <a:ext cx="13958844" cy="666567"/>
                <a:chOff x="0" y="153125"/>
                <a:chExt cx="13958844" cy="666567"/>
              </a:xfrm>
            </p:grpSpPr>
            <p:pic>
              <p:nvPicPr>
                <p:cNvPr id="10" name="Picture 10"/>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1" name="TextBox 11"/>
                <p:cNvSpPr txBox="1"/>
                <p:nvPr/>
              </p:nvSpPr>
              <p:spPr>
                <a:xfrm>
                  <a:off x="228600" y="257980"/>
                  <a:ext cx="9144000" cy="456856"/>
                </a:xfrm>
                <a:prstGeom prst="rect">
                  <a:avLst/>
                </a:prstGeom>
              </p:spPr>
              <p:txBody>
                <a:bodyPr wrap="square" lIns="0" tIns="0" rIns="0" bIns="0" rtlCol="0" anchor="t">
                  <a:spAutoFit/>
                </a:bodyPr>
                <a:lstStyle/>
                <a:p>
                  <a:pPr marL="0" marR="0" lvl="0" indent="0" algn="l" defTabSz="914400" rtl="0" eaLnBrk="1" fontAlgn="auto" latinLnBrk="0" hangingPunct="1">
                    <a:lnSpc>
                      <a:spcPts val="3919"/>
                    </a:lnSpc>
                    <a:spcBef>
                      <a:spcPct val="0"/>
                    </a:spcBef>
                    <a:spcAft>
                      <a:spcPts val="0"/>
                    </a:spcAft>
                    <a:buClrTx/>
                    <a:buSzTx/>
                    <a:buFontTx/>
                    <a:buNone/>
                    <a:tabLst/>
                    <a:defRPr/>
                  </a:pPr>
                  <a:endParaRPr kumimoji="0" lang="en-US" sz="2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2" name="TextBox 11">
                <a:extLst>
                  <a:ext uri="{FF2B5EF4-FFF2-40B4-BE49-F238E27FC236}">
                    <a16:creationId xmlns:a16="http://schemas.microsoft.com/office/drawing/2014/main" id="{1BD9B5F4-614C-4EB6-8C5B-120A5420CE43}"/>
                  </a:ext>
                </a:extLst>
              </p:cNvPr>
              <p:cNvSpPr txBox="1"/>
              <p:nvPr/>
            </p:nvSpPr>
            <p:spPr>
              <a:xfrm>
                <a:off x="12154296" y="257980"/>
                <a:ext cx="5752704" cy="456856"/>
              </a:xfrm>
              <a:prstGeom prst="rect">
                <a:avLst/>
              </a:prstGeom>
            </p:spPr>
            <p:txBody>
              <a:bodyPr wrap="square" lIns="0" tIns="0" rIns="0" bIns="0" rtlCol="0" anchor="t">
                <a:spAutoFit/>
              </a:bodyPr>
              <a:lstStyle/>
              <a:p>
                <a:pPr marL="0" marR="0" lvl="0" indent="0" algn="r" defTabSz="914400" rtl="0" eaLnBrk="1" fontAlgn="auto" latinLnBrk="0" hangingPunct="1">
                  <a:lnSpc>
                    <a:spcPts val="3919"/>
                  </a:lnSpc>
                  <a:spcBef>
                    <a:spcPct val="0"/>
                  </a:spcBef>
                  <a:spcAft>
                    <a:spcPts val="0"/>
                  </a:spcAft>
                  <a:buClrTx/>
                  <a:buSzTx/>
                  <a:buFontTx/>
                  <a:buNone/>
                  <a:tabLst/>
                  <a:defRPr/>
                </a:pPr>
                <a:endParaRPr kumimoji="0" lang="en-US" sz="2800" b="0" i="0" u="none" strike="noStrike" kern="1200" cap="none" spc="0" normalizeH="0" baseline="0" noProof="0">
                  <a:ln>
                    <a:noFill/>
                  </a:ln>
                  <a:solidFill>
                    <a:srgbClr val="2F2F2F">
                      <a:lumMod val="75000"/>
                      <a:lumOff val="25000"/>
                    </a:srgbClr>
                  </a:solidFill>
                  <a:effectLst/>
                  <a:uLnTx/>
                  <a:uFillTx/>
                  <a:latin typeface="Arial" panose="020B0604020202020204" pitchFamily="34" charset="0"/>
                  <a:ea typeface="+mn-ea"/>
                  <a:cs typeface="Arial" panose="020B0604020202020204" pitchFamily="34" charset="0"/>
                </a:endParaRPr>
              </a:p>
            </p:txBody>
          </p:sp>
        </p:grpSp>
        <p:sp>
          <p:nvSpPr>
            <p:cNvPr id="14" name="Rettangolo 13">
              <a:extLst>
                <a:ext uri="{FF2B5EF4-FFF2-40B4-BE49-F238E27FC236}">
                  <a16:creationId xmlns:a16="http://schemas.microsoft.com/office/drawing/2014/main" id="{55199736-B8B6-4C9A-8BAF-233E07A0CA89}"/>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5" name="textruta 14">
            <a:extLst>
              <a:ext uri="{FF2B5EF4-FFF2-40B4-BE49-F238E27FC236}">
                <a16:creationId xmlns:a16="http://schemas.microsoft.com/office/drawing/2014/main" id="{9E2BBE4E-9786-8208-4662-3B0A865073AD}"/>
              </a:ext>
            </a:extLst>
          </p:cNvPr>
          <p:cNvSpPr txBox="1"/>
          <p:nvPr/>
        </p:nvSpPr>
        <p:spPr>
          <a:xfrm>
            <a:off x="1522314" y="1991446"/>
            <a:ext cx="12114616" cy="1169551"/>
          </a:xfrm>
          <a:prstGeom prst="rect">
            <a:avLst/>
          </a:prstGeom>
          <a:noFill/>
        </p:spPr>
        <p:txBody>
          <a:bodyPr wrap="square">
            <a:spAutoFit/>
          </a:bodyPr>
          <a:lstStyle/>
          <a:p>
            <a:pPr marL="457200" marR="0" lvl="0" indent="-457200" algn="l" defTabSz="914400" rtl="0" eaLnBrk="1" fontAlgn="auto" latinLnBrk="0" hangingPunct="1">
              <a:lnSpc>
                <a:spcPct val="100000"/>
              </a:lnSpc>
              <a:spcBef>
                <a:spcPts val="0"/>
              </a:spcBef>
              <a:spcAft>
                <a:spcPts val="0"/>
              </a:spcAft>
              <a:buClr>
                <a:srgbClr val="CC0033"/>
              </a:buClr>
              <a:buSzTx/>
              <a:buFont typeface="Wingdings" panose="05000000000000000000" pitchFamily="2" charset="2"/>
              <a:buChar char="ü"/>
              <a:tabLst/>
              <a:defRPr/>
            </a:pPr>
            <a:r>
              <a:rPr kumimoji="0" lang="en-US" sz="2200" b="1" i="0" u="none" strike="noStrike" kern="1200" cap="none" spc="0" normalizeH="0" baseline="0" noProof="0" dirty="0">
                <a:ln>
                  <a:noFill/>
                </a:ln>
                <a:solidFill>
                  <a:srgbClr val="2F2F2F"/>
                </a:solidFill>
                <a:effectLst/>
                <a:uLnTx/>
                <a:uFillTx/>
                <a:latin typeface="Arial"/>
                <a:ea typeface="+mn-ea"/>
                <a:cs typeface="+mn-cs"/>
              </a:rPr>
              <a:t>New sensors for combustion diagnosis</a:t>
            </a:r>
            <a:r>
              <a:rPr kumimoji="0" lang="en-US" sz="2400" b="1" i="0" u="none" strike="noStrike" kern="1200" cap="none" spc="0" normalizeH="0" baseline="0" noProof="0" dirty="0">
                <a:ln>
                  <a:noFill/>
                </a:ln>
                <a:solidFill>
                  <a:srgbClr val="2F2F2F"/>
                </a:solidFill>
                <a:effectLst/>
                <a:uLnTx/>
                <a:uFillTx/>
                <a:latin typeface="Arial"/>
                <a:ea typeface="+mn-ea"/>
                <a:cs typeface="+mn-cs"/>
              </a:rPr>
              <a:t> , alternative fuel properties determination</a:t>
            </a:r>
            <a:r>
              <a:rPr kumimoji="0" lang="en-US" sz="2200" b="1" i="0" u="none" strike="noStrike" kern="1200" cap="none" spc="0" normalizeH="0" baseline="0" noProof="0" dirty="0">
                <a:ln>
                  <a:noFill/>
                </a:ln>
                <a:solidFill>
                  <a:srgbClr val="2F2F2F"/>
                </a:solidFill>
                <a:effectLst/>
                <a:uLnTx/>
                <a:uFillTx/>
                <a:latin typeface="Arial"/>
                <a:ea typeface="+mn-ea"/>
                <a:cs typeface="+mn-cs"/>
              </a:rPr>
              <a:t> and real time clinker optical characterization</a:t>
            </a:r>
            <a:endParaRPr kumimoji="0" lang="es-ES" sz="2200" b="1" i="0" u="none" strike="noStrike" kern="1200" cap="none" spc="0" normalizeH="0" baseline="0" noProof="0" dirty="0">
              <a:ln>
                <a:noFill/>
              </a:ln>
              <a:solidFill>
                <a:srgbClr val="2F2F2F"/>
              </a:solidFill>
              <a:effectLst/>
              <a:uLnTx/>
              <a:uFillTx/>
              <a:latin typeface="Arial"/>
              <a:ea typeface="+mn-ea"/>
              <a:cs typeface="+mn-cs"/>
            </a:endParaRPr>
          </a:p>
          <a:p>
            <a:pPr marL="457200" marR="0" lvl="0" indent="-457200" algn="l" defTabSz="914400" rtl="0" eaLnBrk="1" fontAlgn="auto" latinLnBrk="0" hangingPunct="1">
              <a:lnSpc>
                <a:spcPct val="100000"/>
              </a:lnSpc>
              <a:spcBef>
                <a:spcPts val="0"/>
              </a:spcBef>
              <a:spcAft>
                <a:spcPts val="0"/>
              </a:spcAft>
              <a:buClr>
                <a:srgbClr val="CC0033"/>
              </a:buClr>
              <a:buSzTx/>
              <a:buFont typeface="Wingdings" panose="05000000000000000000" pitchFamily="2" charset="2"/>
              <a:buChar char="ü"/>
              <a:tabLst/>
              <a:defRPr/>
            </a:pPr>
            <a:endParaRPr kumimoji="0" lang="en-US" sz="2200" b="1" i="0" u="none" strike="noStrike" kern="1200" cap="none" spc="0" normalizeH="0" baseline="0" noProof="0" dirty="0">
              <a:ln>
                <a:noFill/>
              </a:ln>
              <a:solidFill>
                <a:srgbClr val="2F2F2F"/>
              </a:solidFill>
              <a:effectLst/>
              <a:uLnTx/>
              <a:uFillTx/>
              <a:latin typeface="Arial"/>
              <a:ea typeface="+mn-ea"/>
              <a:cs typeface="+mn-cs"/>
            </a:endParaRPr>
          </a:p>
        </p:txBody>
      </p:sp>
      <p:grpSp>
        <p:nvGrpSpPr>
          <p:cNvPr id="57" name="Group 49">
            <a:extLst>
              <a:ext uri="{FF2B5EF4-FFF2-40B4-BE49-F238E27FC236}">
                <a16:creationId xmlns:a16="http://schemas.microsoft.com/office/drawing/2014/main" id="{DF5C1A71-7894-4678-1118-7F591BD8E1A6}"/>
              </a:ext>
            </a:extLst>
          </p:cNvPr>
          <p:cNvGrpSpPr/>
          <p:nvPr/>
        </p:nvGrpSpPr>
        <p:grpSpPr>
          <a:xfrm>
            <a:off x="9384337" y="5367058"/>
            <a:ext cx="2301104" cy="2315681"/>
            <a:chOff x="10239990" y="4174673"/>
            <a:chExt cx="2989620" cy="2916000"/>
          </a:xfrm>
        </p:grpSpPr>
        <p:pic>
          <p:nvPicPr>
            <p:cNvPr id="58" name="Picture 42" descr="A picture containing engineering, steel, outdoor, screenshot&#10;&#10;Description automatically generated">
              <a:extLst>
                <a:ext uri="{FF2B5EF4-FFF2-40B4-BE49-F238E27FC236}">
                  <a16:creationId xmlns:a16="http://schemas.microsoft.com/office/drawing/2014/main" id="{C8142369-D246-7437-71A2-7A58EF9A4319}"/>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4992" t="3588" r="3110" b="14331"/>
            <a:stretch/>
          </p:blipFill>
          <p:spPr bwMode="auto">
            <a:xfrm>
              <a:off x="10239990" y="4174673"/>
              <a:ext cx="2989620" cy="291600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59" name="Rectangle 47">
              <a:extLst>
                <a:ext uri="{FF2B5EF4-FFF2-40B4-BE49-F238E27FC236}">
                  <a16:creationId xmlns:a16="http://schemas.microsoft.com/office/drawing/2014/main" id="{D60CA534-7AC6-869E-4EE7-1CA5B9BAFC70}"/>
                </a:ext>
              </a:extLst>
            </p:cNvPr>
            <p:cNvSpPr/>
            <p:nvPr/>
          </p:nvSpPr>
          <p:spPr>
            <a:xfrm>
              <a:off x="10363200" y="4755675"/>
              <a:ext cx="2743200" cy="91440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pic>
        <p:nvPicPr>
          <p:cNvPr id="61" name="Picture 13">
            <a:extLst>
              <a:ext uri="{FF2B5EF4-FFF2-40B4-BE49-F238E27FC236}">
                <a16:creationId xmlns:a16="http://schemas.microsoft.com/office/drawing/2014/main" id="{A825CE93-5DEB-FD4E-1ED9-3E3ADEE108E7}"/>
              </a:ext>
            </a:extLst>
          </p:cNvPr>
          <p:cNvPicPr>
            <a:picLocks noChangeAspect="1"/>
          </p:cNvPicPr>
          <p:nvPr/>
        </p:nvPicPr>
        <p:blipFill rotWithShape="1">
          <a:blip r:embed="rId7"/>
          <a:srcRect l="32500" t="54444" r="50000" b="16618"/>
          <a:stretch/>
        </p:blipFill>
        <p:spPr>
          <a:xfrm>
            <a:off x="431995" y="3181308"/>
            <a:ext cx="6518750" cy="5290581"/>
          </a:xfrm>
          <a:prstGeom prst="rect">
            <a:avLst/>
          </a:prstGeom>
        </p:spPr>
      </p:pic>
      <p:pic>
        <p:nvPicPr>
          <p:cNvPr id="62" name="Picture 22">
            <a:extLst>
              <a:ext uri="{FF2B5EF4-FFF2-40B4-BE49-F238E27FC236}">
                <a16:creationId xmlns:a16="http://schemas.microsoft.com/office/drawing/2014/main" id="{D4877744-749D-08B3-EC84-52195B14C5FE}"/>
              </a:ext>
            </a:extLst>
          </p:cNvPr>
          <p:cNvPicPr>
            <a:picLocks noChangeAspect="1"/>
          </p:cNvPicPr>
          <p:nvPr/>
        </p:nvPicPr>
        <p:blipFill rotWithShape="1">
          <a:blip r:embed="rId8"/>
          <a:srcRect l="16250" t="5261" r="20568" b="18148"/>
          <a:stretch/>
        </p:blipFill>
        <p:spPr>
          <a:xfrm>
            <a:off x="12299981" y="2665517"/>
            <a:ext cx="3772357" cy="257224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63" name="Picture 37">
            <a:extLst>
              <a:ext uri="{FF2B5EF4-FFF2-40B4-BE49-F238E27FC236}">
                <a16:creationId xmlns:a16="http://schemas.microsoft.com/office/drawing/2014/main" id="{EE28E2BD-808C-51FE-1276-5B76653340F1}"/>
              </a:ext>
            </a:extLst>
          </p:cNvPr>
          <p:cNvPicPr>
            <a:picLocks noChangeAspect="1"/>
          </p:cNvPicPr>
          <p:nvPr/>
        </p:nvPicPr>
        <p:blipFill rotWithShape="1">
          <a:blip r:embed="rId9"/>
          <a:srcRect r="31675"/>
          <a:stretch/>
        </p:blipFill>
        <p:spPr>
          <a:xfrm>
            <a:off x="11816851" y="5393392"/>
            <a:ext cx="4298647" cy="2263012"/>
          </a:xfrm>
          <a:prstGeom prst="rect">
            <a:avLst/>
          </a:prstGeom>
          <a:ln w="28575">
            <a:solidFill>
              <a:srgbClr val="FF0000"/>
            </a:solidFill>
          </a:ln>
        </p:spPr>
      </p:pic>
      <p:pic>
        <p:nvPicPr>
          <p:cNvPr id="1024" name="Picture 38" descr="Text, whiteboard&#10;&#10;Description automatically generated">
            <a:extLst>
              <a:ext uri="{FF2B5EF4-FFF2-40B4-BE49-F238E27FC236}">
                <a16:creationId xmlns:a16="http://schemas.microsoft.com/office/drawing/2014/main" id="{2D3716CD-2DE5-FB45-87AD-51045B3D6CE4}"/>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26098" t="15218" r="22702" b="32448"/>
          <a:stretch/>
        </p:blipFill>
        <p:spPr>
          <a:xfrm>
            <a:off x="9354007" y="2665517"/>
            <a:ext cx="2863541" cy="257224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025" name="Picture 39">
            <a:extLst>
              <a:ext uri="{FF2B5EF4-FFF2-40B4-BE49-F238E27FC236}">
                <a16:creationId xmlns:a16="http://schemas.microsoft.com/office/drawing/2014/main" id="{02773A40-2260-DCF9-DB66-F031CA46F238}"/>
              </a:ext>
            </a:extLst>
          </p:cNvPr>
          <p:cNvPicPr>
            <a:picLocks noChangeAspect="1"/>
          </p:cNvPicPr>
          <p:nvPr/>
        </p:nvPicPr>
        <p:blipFill rotWithShape="1">
          <a:blip r:embed="rId11"/>
          <a:srcRect t="9967" r="866" b="21916"/>
          <a:stretch/>
        </p:blipFill>
        <p:spPr>
          <a:xfrm>
            <a:off x="11822309" y="7842777"/>
            <a:ext cx="4298647" cy="1752056"/>
          </a:xfrm>
          <a:prstGeom prst="rect">
            <a:avLst/>
          </a:prstGeom>
          <a:ln w="28575">
            <a:solidFill>
              <a:srgbClr val="FF0000"/>
            </a:solidFill>
          </a:ln>
        </p:spPr>
      </p:pic>
      <p:grpSp>
        <p:nvGrpSpPr>
          <p:cNvPr id="1026" name="Group 50">
            <a:extLst>
              <a:ext uri="{FF2B5EF4-FFF2-40B4-BE49-F238E27FC236}">
                <a16:creationId xmlns:a16="http://schemas.microsoft.com/office/drawing/2014/main" id="{3BE77A40-65E1-455C-489C-8393A06D3C98}"/>
              </a:ext>
            </a:extLst>
          </p:cNvPr>
          <p:cNvGrpSpPr/>
          <p:nvPr/>
        </p:nvGrpSpPr>
        <p:grpSpPr>
          <a:xfrm>
            <a:off x="9396668" y="7855144"/>
            <a:ext cx="2276440" cy="1825209"/>
            <a:chOff x="9391868" y="7211263"/>
            <a:chExt cx="2996844" cy="2520000"/>
          </a:xfrm>
        </p:grpSpPr>
        <p:pic>
          <p:nvPicPr>
            <p:cNvPr id="1027" name="Picture 40" descr="A drawing of a machine&#10;&#10;Description automatically generated with low confidence">
              <a:extLst>
                <a:ext uri="{FF2B5EF4-FFF2-40B4-BE49-F238E27FC236}">
                  <a16:creationId xmlns:a16="http://schemas.microsoft.com/office/drawing/2014/main" id="{A4E0919A-9F16-223E-79F3-D330D787DE7D}"/>
                </a:ext>
              </a:extLst>
            </p:cNvPr>
            <p:cNvPicPr>
              <a:picLocks noChangeAspect="1"/>
            </p:cNvPicPr>
            <p:nvPr/>
          </p:nvPicPr>
          <p:blipFill rotWithShape="1">
            <a:blip r:embed="rId12">
              <a:extLst>
                <a:ext uri="{28A0092B-C50C-407E-A947-70E740481C1C}">
                  <a14:useLocalDpi xmlns:a14="http://schemas.microsoft.com/office/drawing/2010/main" val="0"/>
                </a:ext>
              </a:extLst>
            </a:blip>
            <a:srcRect l="28391" r="30037" b="27766"/>
            <a:stretch/>
          </p:blipFill>
          <p:spPr bwMode="auto">
            <a:xfrm>
              <a:off x="9391868" y="7211263"/>
              <a:ext cx="2996844" cy="252000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a:ext uri="{53640926-AAD7-44D8-BBD7-CCE9431645EC}">
                <a14:shadowObscured xmlns:a14="http://schemas.microsoft.com/office/drawing/2010/main"/>
              </a:ext>
            </a:extLst>
          </p:spPr>
        </p:pic>
        <p:sp>
          <p:nvSpPr>
            <p:cNvPr id="1028" name="Rectangle 48">
              <a:extLst>
                <a:ext uri="{FF2B5EF4-FFF2-40B4-BE49-F238E27FC236}">
                  <a16:creationId xmlns:a16="http://schemas.microsoft.com/office/drawing/2014/main" id="{69120F21-E98F-A1B5-D8CC-88C1BA5836E7}"/>
                </a:ext>
              </a:extLst>
            </p:cNvPr>
            <p:cNvSpPr/>
            <p:nvPr/>
          </p:nvSpPr>
          <p:spPr>
            <a:xfrm>
              <a:off x="9939512" y="8369126"/>
              <a:ext cx="2293936" cy="91440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4" name="TextBox 13">
            <a:extLst>
              <a:ext uri="{FF2B5EF4-FFF2-40B4-BE49-F238E27FC236}">
                <a16:creationId xmlns:a16="http://schemas.microsoft.com/office/drawing/2014/main" id="{C9377C2D-5CD2-A01D-FB67-658F162D454B}"/>
              </a:ext>
            </a:extLst>
          </p:cNvPr>
          <p:cNvSpPr txBox="1"/>
          <p:nvPr/>
        </p:nvSpPr>
        <p:spPr>
          <a:xfrm>
            <a:off x="885371" y="896353"/>
            <a:ext cx="16194313" cy="1040798"/>
          </a:xfrm>
          <a:prstGeom prst="rect">
            <a:avLst/>
          </a:prstGeom>
        </p:spPr>
        <p:txBody>
          <a:bodyPr wrap="square" lIns="0" tIns="0" rIns="0" bIns="0" rtlCol="0" anchor="t">
            <a:spAutoFit/>
          </a:bodyPr>
          <a:lstStyle/>
          <a:p>
            <a:pPr marL="0" marR="0" lvl="0" indent="0" defTabSz="914400" rtl="0" eaLnBrk="1" fontAlgn="auto" latinLnBrk="0" hangingPunct="1">
              <a:lnSpc>
                <a:spcPts val="8960"/>
              </a:lnSpc>
              <a:spcBef>
                <a:spcPct val="0"/>
              </a:spcBef>
              <a:spcAft>
                <a:spcPts val="0"/>
              </a:spcAft>
              <a:buClrTx/>
              <a:buSzTx/>
              <a:buFontTx/>
              <a:buNone/>
              <a:tabLst/>
              <a:defRPr/>
            </a:pPr>
            <a:r>
              <a:rPr kumimoji="0" lang="en-US" sz="6000" b="1" i="0" u="none" strike="noStrike" kern="1200" cap="none" spc="0" normalizeH="0" baseline="0" noProof="0" dirty="0">
                <a:ln>
                  <a:noFill/>
                </a:ln>
                <a:solidFill>
                  <a:srgbClr val="CC0033"/>
                </a:solidFill>
                <a:effectLst/>
                <a:uLnTx/>
                <a:uFillTx/>
                <a:latin typeface="Arial"/>
                <a:ea typeface="+mn-ea"/>
                <a:cs typeface="Arial" panose="020B0604020202020204" pitchFamily="34" charset="0"/>
              </a:rPr>
              <a:t>Actions</a:t>
            </a:r>
          </a:p>
        </p:txBody>
      </p:sp>
      <p:pic>
        <p:nvPicPr>
          <p:cNvPr id="6" name="Imagen 93">
            <a:extLst>
              <a:ext uri="{FF2B5EF4-FFF2-40B4-BE49-F238E27FC236}">
                <a16:creationId xmlns:a16="http://schemas.microsoft.com/office/drawing/2014/main" id="{96DC578D-193A-2DA8-C87C-A512E4061D2C}"/>
              </a:ext>
            </a:extLst>
          </p:cNvPr>
          <p:cNvPicPr>
            <a:picLocks noChangeAspect="1"/>
          </p:cNvPicPr>
          <p:nvPr/>
        </p:nvPicPr>
        <p:blipFill rotWithShape="1">
          <a:blip r:embed="rId13"/>
          <a:srcRect l="23084" t="14316" r="9046" b="7091"/>
          <a:stretch/>
        </p:blipFill>
        <p:spPr>
          <a:xfrm>
            <a:off x="14880476" y="573544"/>
            <a:ext cx="2369044" cy="1936268"/>
          </a:xfrm>
          <a:prstGeom prst="rect">
            <a:avLst/>
          </a:prstGeom>
        </p:spPr>
      </p:pic>
      <p:sp>
        <p:nvSpPr>
          <p:cNvPr id="5" name="Rectangle 43">
            <a:extLst>
              <a:ext uri="{FF2B5EF4-FFF2-40B4-BE49-F238E27FC236}">
                <a16:creationId xmlns:a16="http://schemas.microsoft.com/office/drawing/2014/main" id="{A1619AD7-DCDE-90D5-B181-44FF4D9FCB77}"/>
              </a:ext>
            </a:extLst>
          </p:cNvPr>
          <p:cNvSpPr/>
          <p:nvPr/>
        </p:nvSpPr>
        <p:spPr>
          <a:xfrm>
            <a:off x="9301904" y="4942322"/>
            <a:ext cx="304800" cy="3472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t>
            </a:r>
          </a:p>
        </p:txBody>
      </p:sp>
      <p:sp>
        <p:nvSpPr>
          <p:cNvPr id="7" name="Rectangle 44">
            <a:extLst>
              <a:ext uri="{FF2B5EF4-FFF2-40B4-BE49-F238E27FC236}">
                <a16:creationId xmlns:a16="http://schemas.microsoft.com/office/drawing/2014/main" id="{9D4E8625-C13D-6AED-186F-A2411B6B3524}"/>
              </a:ext>
            </a:extLst>
          </p:cNvPr>
          <p:cNvSpPr/>
          <p:nvPr/>
        </p:nvSpPr>
        <p:spPr>
          <a:xfrm>
            <a:off x="9354007" y="7373245"/>
            <a:ext cx="304800" cy="3472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2</a:t>
            </a:r>
          </a:p>
        </p:txBody>
      </p:sp>
      <p:sp>
        <p:nvSpPr>
          <p:cNvPr id="8" name="Rectangle 45">
            <a:extLst>
              <a:ext uri="{FF2B5EF4-FFF2-40B4-BE49-F238E27FC236}">
                <a16:creationId xmlns:a16="http://schemas.microsoft.com/office/drawing/2014/main" id="{8753B4D4-9ECA-9AC5-0DBE-D48BCFE2CDAE}"/>
              </a:ext>
            </a:extLst>
          </p:cNvPr>
          <p:cNvSpPr/>
          <p:nvPr/>
        </p:nvSpPr>
        <p:spPr>
          <a:xfrm>
            <a:off x="12217548" y="4904880"/>
            <a:ext cx="304800" cy="3472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5</a:t>
            </a:r>
          </a:p>
        </p:txBody>
      </p:sp>
      <p:sp>
        <p:nvSpPr>
          <p:cNvPr id="9" name="Rectangle 46">
            <a:extLst>
              <a:ext uri="{FF2B5EF4-FFF2-40B4-BE49-F238E27FC236}">
                <a16:creationId xmlns:a16="http://schemas.microsoft.com/office/drawing/2014/main" id="{5EB6F6F2-63E8-457D-3195-07FADE823648}"/>
              </a:ext>
            </a:extLst>
          </p:cNvPr>
          <p:cNvSpPr/>
          <p:nvPr/>
        </p:nvSpPr>
        <p:spPr>
          <a:xfrm>
            <a:off x="9372600" y="9356062"/>
            <a:ext cx="304800" cy="3472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7</a:t>
            </a:r>
          </a:p>
        </p:txBody>
      </p:sp>
    </p:spTree>
    <p:extLst>
      <p:ext uri="{BB962C8B-B14F-4D97-AF65-F5344CB8AC3E}">
        <p14:creationId xmlns:p14="http://schemas.microsoft.com/office/powerpoint/2010/main" val="268007809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6"/>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marL="0" marR="0" lvl="0" indent="0" algn="ctr" defTabSz="914400" rtl="0" eaLnBrk="1" fontAlgn="auto" latinLnBrk="0" hangingPunct="1">
                <a:lnSpc>
                  <a:spcPts val="3919"/>
                </a:lnSpc>
                <a:spcBef>
                  <a:spcPct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OCR A Extended" panose="02010509020102010303" pitchFamily="50" charset="0"/>
                  <a:ea typeface="+mn-ea"/>
                  <a:cs typeface="+mn-cs"/>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4"/>
          <a:srcRect/>
          <a:stretch>
            <a:fillRect/>
          </a:stretch>
        </p:blipFill>
        <p:spPr>
          <a:xfrm>
            <a:off x="0" y="9447976"/>
            <a:ext cx="3459892" cy="839024"/>
          </a:xfrm>
          <a:prstGeom prst="rect">
            <a:avLst/>
          </a:prstGeom>
        </p:spPr>
      </p:pic>
      <p:grpSp>
        <p:nvGrpSpPr>
          <p:cNvPr id="3" name="Gruppo 2">
            <a:extLst>
              <a:ext uri="{FF2B5EF4-FFF2-40B4-BE49-F238E27FC236}">
                <a16:creationId xmlns:a16="http://schemas.microsoft.com/office/drawing/2014/main" id="{1C29CBCA-BE0A-4EF6-AC69-329941E1DCFD}"/>
              </a:ext>
            </a:extLst>
          </p:cNvPr>
          <p:cNvGrpSpPr/>
          <p:nvPr/>
        </p:nvGrpSpPr>
        <p:grpSpPr>
          <a:xfrm>
            <a:off x="-12" y="138554"/>
            <a:ext cx="18288002" cy="681138"/>
            <a:chOff x="-12" y="138554"/>
            <a:chExt cx="18288002" cy="681138"/>
          </a:xfrm>
        </p:grpSpPr>
        <p:grpSp>
          <p:nvGrpSpPr>
            <p:cNvPr id="2" name="Gruppo 1">
              <a:extLst>
                <a:ext uri="{FF2B5EF4-FFF2-40B4-BE49-F238E27FC236}">
                  <a16:creationId xmlns:a16="http://schemas.microsoft.com/office/drawing/2014/main" id="{24E9C7AF-0093-476F-826C-A2702AB72892}"/>
                </a:ext>
              </a:extLst>
            </p:cNvPr>
            <p:cNvGrpSpPr/>
            <p:nvPr/>
          </p:nvGrpSpPr>
          <p:grpSpPr>
            <a:xfrm>
              <a:off x="0" y="153125"/>
              <a:ext cx="17907000" cy="666567"/>
              <a:chOff x="0" y="153125"/>
              <a:chExt cx="17907000" cy="666567"/>
            </a:xfrm>
          </p:grpSpPr>
          <p:grpSp>
            <p:nvGrpSpPr>
              <p:cNvPr id="16" name="Gruppo 15">
                <a:extLst>
                  <a:ext uri="{FF2B5EF4-FFF2-40B4-BE49-F238E27FC236}">
                    <a16:creationId xmlns:a16="http://schemas.microsoft.com/office/drawing/2014/main" id="{DAC42A46-917D-41AB-8F07-E15E54D0F7D4}"/>
                  </a:ext>
                </a:extLst>
              </p:cNvPr>
              <p:cNvGrpSpPr/>
              <p:nvPr/>
            </p:nvGrpSpPr>
            <p:grpSpPr>
              <a:xfrm>
                <a:off x="0" y="153125"/>
                <a:ext cx="13958844" cy="666567"/>
                <a:chOff x="0" y="153125"/>
                <a:chExt cx="13958844" cy="666567"/>
              </a:xfrm>
            </p:grpSpPr>
            <p:pic>
              <p:nvPicPr>
                <p:cNvPr id="10" name="Picture 10"/>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1" name="TextBox 11"/>
                <p:cNvSpPr txBox="1"/>
                <p:nvPr/>
              </p:nvSpPr>
              <p:spPr>
                <a:xfrm>
                  <a:off x="228600" y="257980"/>
                  <a:ext cx="9296400" cy="456856"/>
                </a:xfrm>
                <a:prstGeom prst="rect">
                  <a:avLst/>
                </a:prstGeom>
              </p:spPr>
              <p:txBody>
                <a:bodyPr wrap="square" lIns="0" tIns="0" rIns="0" bIns="0" rtlCol="0" anchor="t">
                  <a:spAutoFit/>
                </a:bodyPr>
                <a:lstStyle/>
                <a:p>
                  <a:pPr marL="0" marR="0" lvl="0" indent="0" algn="l" defTabSz="914400" rtl="0" eaLnBrk="1" fontAlgn="auto" latinLnBrk="0" hangingPunct="1">
                    <a:lnSpc>
                      <a:spcPts val="3919"/>
                    </a:lnSpc>
                    <a:spcBef>
                      <a:spcPct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2" name="TextBox 11">
                <a:extLst>
                  <a:ext uri="{FF2B5EF4-FFF2-40B4-BE49-F238E27FC236}">
                    <a16:creationId xmlns:a16="http://schemas.microsoft.com/office/drawing/2014/main" id="{1BD9B5F4-614C-4EB6-8C5B-120A5420CE43}"/>
                  </a:ext>
                </a:extLst>
              </p:cNvPr>
              <p:cNvSpPr txBox="1"/>
              <p:nvPr/>
            </p:nvSpPr>
            <p:spPr>
              <a:xfrm>
                <a:off x="12154296" y="257980"/>
                <a:ext cx="5752704" cy="456856"/>
              </a:xfrm>
              <a:prstGeom prst="rect">
                <a:avLst/>
              </a:prstGeom>
            </p:spPr>
            <p:txBody>
              <a:bodyPr wrap="square" lIns="0" tIns="0" rIns="0" bIns="0" rtlCol="0" anchor="t">
                <a:spAutoFit/>
              </a:bodyPr>
              <a:lstStyle/>
              <a:p>
                <a:pPr marL="0" marR="0" lvl="0" indent="0" algn="r" defTabSz="914400" rtl="0" eaLnBrk="1" fontAlgn="auto" latinLnBrk="0" hangingPunct="1">
                  <a:lnSpc>
                    <a:spcPts val="3919"/>
                  </a:lnSpc>
                  <a:spcBef>
                    <a:spcPct val="0"/>
                  </a:spcBef>
                  <a:spcAft>
                    <a:spcPts val="0"/>
                  </a:spcAft>
                  <a:buClrTx/>
                  <a:buSzTx/>
                  <a:buFontTx/>
                  <a:buNone/>
                  <a:tabLst/>
                  <a:defRPr/>
                </a:pPr>
                <a:endParaRPr kumimoji="0" lang="en-US" sz="2800" b="0" i="0" u="none" strike="noStrike" kern="1200" cap="none" spc="0" normalizeH="0" baseline="0" noProof="0">
                  <a:ln>
                    <a:noFill/>
                  </a:ln>
                  <a:solidFill>
                    <a:srgbClr val="2F2F2F">
                      <a:lumMod val="75000"/>
                      <a:lumOff val="25000"/>
                    </a:srgbClr>
                  </a:solidFill>
                  <a:effectLst/>
                  <a:uLnTx/>
                  <a:uFillTx/>
                  <a:latin typeface="Arial" panose="020B0604020202020204" pitchFamily="34" charset="0"/>
                  <a:ea typeface="+mn-ea"/>
                  <a:cs typeface="Arial" panose="020B0604020202020204" pitchFamily="34" charset="0"/>
                </a:endParaRPr>
              </a:p>
            </p:txBody>
          </p:sp>
        </p:grpSp>
        <p:sp>
          <p:nvSpPr>
            <p:cNvPr id="14" name="Rettangolo 13">
              <a:extLst>
                <a:ext uri="{FF2B5EF4-FFF2-40B4-BE49-F238E27FC236}">
                  <a16:creationId xmlns:a16="http://schemas.microsoft.com/office/drawing/2014/main" id="{55199736-B8B6-4C9A-8BAF-233E07A0CA89}"/>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4" name="Title 1">
            <a:extLst>
              <a:ext uri="{FF2B5EF4-FFF2-40B4-BE49-F238E27FC236}">
                <a16:creationId xmlns:a16="http://schemas.microsoft.com/office/drawing/2014/main" id="{00328EF1-5CC4-18E0-3092-5DB0884F3787}"/>
              </a:ext>
            </a:extLst>
          </p:cNvPr>
          <p:cNvSpPr txBox="1">
            <a:spLocks/>
          </p:cNvSpPr>
          <p:nvPr/>
        </p:nvSpPr>
        <p:spPr>
          <a:xfrm>
            <a:off x="7258050" y="1056562"/>
            <a:ext cx="9309100" cy="1196618"/>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sv-SE" sz="4000" b="1" err="1">
                <a:solidFill>
                  <a:srgbClr val="CC0033"/>
                </a:solidFill>
                <a:ea typeface="+mn-ea"/>
                <a:cs typeface="Arial" panose="020B0604020202020204" pitchFamily="34" charset="0"/>
              </a:rPr>
              <a:t>Goal</a:t>
            </a:r>
            <a:r>
              <a:rPr lang="sv-SE" sz="4000" b="1">
                <a:solidFill>
                  <a:srgbClr val="CC0033"/>
                </a:solidFill>
                <a:ea typeface="+mn-ea"/>
                <a:cs typeface="Arial" panose="020B0604020202020204" pitchFamily="34" charset="0"/>
              </a:rPr>
              <a:t> 13: </a:t>
            </a:r>
            <a:r>
              <a:rPr lang="sv-SE" sz="4000" b="1" err="1">
                <a:solidFill>
                  <a:srgbClr val="CC0033"/>
                </a:solidFill>
                <a:ea typeface="+mn-ea"/>
                <a:cs typeface="Arial" panose="020B0604020202020204" pitchFamily="34" charset="0"/>
              </a:rPr>
              <a:t>Climate</a:t>
            </a:r>
            <a:r>
              <a:rPr lang="sv-SE" sz="4000" b="1">
                <a:solidFill>
                  <a:srgbClr val="CC0033"/>
                </a:solidFill>
                <a:ea typeface="+mn-ea"/>
                <a:cs typeface="Arial" panose="020B0604020202020204" pitchFamily="34" charset="0"/>
              </a:rPr>
              <a:t> action</a:t>
            </a:r>
          </a:p>
        </p:txBody>
      </p:sp>
      <p:pic>
        <p:nvPicPr>
          <p:cNvPr id="5" name="Picture 5" descr="Diagram&#10;&#10;Description automatically generated">
            <a:extLst>
              <a:ext uri="{FF2B5EF4-FFF2-40B4-BE49-F238E27FC236}">
                <a16:creationId xmlns:a16="http://schemas.microsoft.com/office/drawing/2014/main" id="{11608133-5EA2-9D77-5276-D03D97F7914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212850" y="1549400"/>
            <a:ext cx="6311900" cy="6607992"/>
          </a:xfrm>
          <a:prstGeom prst="rect">
            <a:avLst/>
          </a:prstGeom>
        </p:spPr>
      </p:pic>
      <p:sp>
        <p:nvSpPr>
          <p:cNvPr id="6" name="Rectangle 1">
            <a:extLst>
              <a:ext uri="{FF2B5EF4-FFF2-40B4-BE49-F238E27FC236}">
                <a16:creationId xmlns:a16="http://schemas.microsoft.com/office/drawing/2014/main" id="{124434A1-9F68-281B-7765-EFE7F374DD81}"/>
              </a:ext>
            </a:extLst>
          </p:cNvPr>
          <p:cNvSpPr>
            <a:spLocks noChangeArrowheads="1"/>
          </p:cNvSpPr>
          <p:nvPr/>
        </p:nvSpPr>
        <p:spPr bwMode="auto">
          <a:xfrm>
            <a:off x="9254624" y="2176298"/>
            <a:ext cx="8176126" cy="2348523"/>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04742" tIns="47610" rIns="91440" bIns="5713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sv-SE" altLang="sv-SE" sz="2800" b="1" i="0" u="none" strike="noStrike" kern="1200" cap="none" spc="0" normalizeH="0" baseline="0" noProof="0">
                <a:ln>
                  <a:noFill/>
                </a:ln>
                <a:solidFill>
                  <a:srgbClr val="4D4D4D"/>
                </a:solidFill>
                <a:effectLst/>
                <a:uLnTx/>
                <a:uFillTx/>
                <a:latin typeface="+mj-lt"/>
                <a:ea typeface="+mn-ea"/>
                <a:cs typeface="+mn-cs"/>
              </a:rPr>
              <a:t>13.3: </a:t>
            </a:r>
            <a:r>
              <a:rPr kumimoji="0" lang="sv-SE" altLang="sv-SE" sz="2800" b="0" i="0" u="none" strike="noStrike" kern="1200" cap="none" spc="0" normalizeH="0" baseline="0" noProof="0">
                <a:ln>
                  <a:noFill/>
                </a:ln>
                <a:solidFill>
                  <a:srgbClr val="4D4D4D"/>
                </a:solidFill>
                <a:effectLst/>
                <a:uLnTx/>
                <a:uFillTx/>
                <a:latin typeface="+mj-lt"/>
                <a:ea typeface="+mn-ea"/>
                <a:cs typeface="+mn-cs"/>
              </a:rPr>
              <a:t>By 2030 </a:t>
            </a:r>
            <a:r>
              <a:rPr kumimoji="0" lang="sv-SE" altLang="sv-SE" sz="2800" b="0" i="0" u="none" strike="noStrike" kern="1200" cap="none" spc="0" normalizeH="0" baseline="0" noProof="0" err="1">
                <a:ln>
                  <a:noFill/>
                </a:ln>
                <a:solidFill>
                  <a:srgbClr val="4D4D4D"/>
                </a:solidFill>
                <a:effectLst/>
                <a:uLnTx/>
                <a:uFillTx/>
                <a:latin typeface="+mj-lt"/>
                <a:ea typeface="+mn-ea"/>
                <a:cs typeface="+mn-cs"/>
              </a:rPr>
              <a:t>improve</a:t>
            </a:r>
            <a:r>
              <a:rPr kumimoji="0" lang="sv-SE" altLang="sv-SE" sz="2800" b="0" i="0" u="none" strike="noStrike" kern="1200" cap="none" spc="0" normalizeH="0" baseline="0" noProof="0">
                <a:ln>
                  <a:noFill/>
                </a:ln>
                <a:solidFill>
                  <a:srgbClr val="4D4D4D"/>
                </a:solidFill>
                <a:effectLst/>
                <a:uLnTx/>
                <a:uFillTx/>
                <a:latin typeface="+mj-lt"/>
                <a:ea typeface="+mn-ea"/>
                <a:cs typeface="+mn-cs"/>
              </a:rPr>
              <a:t> </a:t>
            </a:r>
            <a:r>
              <a:rPr kumimoji="0" lang="sv-SE" altLang="sv-SE" sz="2800" b="0" i="0" u="none" strike="noStrike" kern="1200" cap="none" spc="0" normalizeH="0" baseline="0" noProof="0" err="1">
                <a:ln>
                  <a:noFill/>
                </a:ln>
                <a:solidFill>
                  <a:srgbClr val="4D4D4D"/>
                </a:solidFill>
                <a:effectLst/>
                <a:uLnTx/>
                <a:uFillTx/>
                <a:latin typeface="+mj-lt"/>
                <a:ea typeface="+mn-ea"/>
                <a:cs typeface="+mn-cs"/>
              </a:rPr>
              <a:t>education</a:t>
            </a:r>
            <a:r>
              <a:rPr kumimoji="0" lang="sv-SE" altLang="sv-SE" sz="2800" b="0" i="0" u="none" strike="noStrike" kern="1200" cap="none" spc="0" normalizeH="0" baseline="0" noProof="0">
                <a:ln>
                  <a:noFill/>
                </a:ln>
                <a:solidFill>
                  <a:srgbClr val="4D4D4D"/>
                </a:solidFill>
                <a:effectLst/>
                <a:uLnTx/>
                <a:uFillTx/>
                <a:latin typeface="+mj-lt"/>
                <a:ea typeface="+mn-ea"/>
                <a:cs typeface="+mn-cs"/>
              </a:rPr>
              <a:t>, </a:t>
            </a:r>
            <a:r>
              <a:rPr kumimoji="0" lang="sv-SE" altLang="sv-SE" sz="2800" b="0" i="0" u="none" strike="noStrike" kern="1200" cap="none" spc="0" normalizeH="0" baseline="0" noProof="0" err="1">
                <a:ln>
                  <a:noFill/>
                </a:ln>
                <a:solidFill>
                  <a:srgbClr val="4D4D4D"/>
                </a:solidFill>
                <a:effectLst/>
                <a:uLnTx/>
                <a:uFillTx/>
                <a:latin typeface="+mj-lt"/>
                <a:ea typeface="+mn-ea"/>
                <a:cs typeface="+mn-cs"/>
              </a:rPr>
              <a:t>awareness-raising</a:t>
            </a:r>
            <a:r>
              <a:rPr kumimoji="0" lang="sv-SE" altLang="sv-SE" sz="2800" b="0" i="0" u="none" strike="noStrike" kern="1200" cap="none" spc="0" normalizeH="0" baseline="0" noProof="0">
                <a:ln>
                  <a:noFill/>
                </a:ln>
                <a:solidFill>
                  <a:srgbClr val="4D4D4D"/>
                </a:solidFill>
                <a:effectLst/>
                <a:uLnTx/>
                <a:uFillTx/>
                <a:latin typeface="+mj-lt"/>
                <a:ea typeface="+mn-ea"/>
                <a:cs typeface="+mn-cs"/>
              </a:rPr>
              <a:t> and human and </a:t>
            </a:r>
            <a:r>
              <a:rPr kumimoji="0" lang="sv-SE" altLang="sv-SE" sz="2800" b="0" i="0" u="none" strike="noStrike" kern="1200" cap="none" spc="0" normalizeH="0" baseline="0" noProof="0" err="1">
                <a:ln>
                  <a:noFill/>
                </a:ln>
                <a:solidFill>
                  <a:srgbClr val="4D4D4D"/>
                </a:solidFill>
                <a:effectLst/>
                <a:uLnTx/>
                <a:uFillTx/>
                <a:latin typeface="+mj-lt"/>
                <a:ea typeface="+mn-ea"/>
                <a:cs typeface="+mn-cs"/>
              </a:rPr>
              <a:t>institutional</a:t>
            </a:r>
            <a:r>
              <a:rPr kumimoji="0" lang="sv-SE" altLang="sv-SE" sz="2800" b="0" i="0" u="none" strike="noStrike" kern="1200" cap="none" spc="0" normalizeH="0" baseline="0" noProof="0">
                <a:ln>
                  <a:noFill/>
                </a:ln>
                <a:solidFill>
                  <a:srgbClr val="4D4D4D"/>
                </a:solidFill>
                <a:effectLst/>
                <a:uLnTx/>
                <a:uFillTx/>
                <a:latin typeface="+mj-lt"/>
                <a:ea typeface="+mn-ea"/>
                <a:cs typeface="+mn-cs"/>
              </a:rPr>
              <a:t> </a:t>
            </a:r>
            <a:r>
              <a:rPr kumimoji="0" lang="sv-SE" altLang="sv-SE" sz="2800" b="0" i="0" u="none" strike="noStrike" kern="1200" cap="none" spc="0" normalizeH="0" baseline="0" noProof="0" err="1">
                <a:ln>
                  <a:noFill/>
                </a:ln>
                <a:solidFill>
                  <a:srgbClr val="4D4D4D"/>
                </a:solidFill>
                <a:effectLst/>
                <a:uLnTx/>
                <a:uFillTx/>
                <a:latin typeface="+mj-lt"/>
                <a:ea typeface="+mn-ea"/>
                <a:cs typeface="+mn-cs"/>
              </a:rPr>
              <a:t>capacity</a:t>
            </a:r>
            <a:r>
              <a:rPr kumimoji="0" lang="sv-SE" altLang="sv-SE" sz="2800" b="0" i="0" u="none" strike="noStrike" kern="1200" cap="none" spc="0" normalizeH="0" baseline="0" noProof="0">
                <a:ln>
                  <a:noFill/>
                </a:ln>
                <a:solidFill>
                  <a:srgbClr val="4D4D4D"/>
                </a:solidFill>
                <a:effectLst/>
                <a:uLnTx/>
                <a:uFillTx/>
                <a:latin typeface="+mj-lt"/>
                <a:ea typeface="+mn-ea"/>
                <a:cs typeface="+mn-cs"/>
              </a:rPr>
              <a:t> on </a:t>
            </a:r>
            <a:r>
              <a:rPr kumimoji="0" lang="sv-SE" altLang="sv-SE" sz="2800" b="0" i="0" u="none" strike="noStrike" kern="1200" cap="none" spc="0" normalizeH="0" baseline="0" noProof="0" err="1">
                <a:ln>
                  <a:noFill/>
                </a:ln>
                <a:solidFill>
                  <a:srgbClr val="4D4D4D"/>
                </a:solidFill>
                <a:effectLst/>
                <a:uLnTx/>
                <a:uFillTx/>
                <a:latin typeface="+mj-lt"/>
                <a:ea typeface="+mn-ea"/>
                <a:cs typeface="+mn-cs"/>
              </a:rPr>
              <a:t>climate</a:t>
            </a:r>
            <a:r>
              <a:rPr kumimoji="0" lang="sv-SE" altLang="sv-SE" sz="2800" b="0" i="0" u="none" strike="noStrike" kern="1200" cap="none" spc="0" normalizeH="0" baseline="0" noProof="0">
                <a:ln>
                  <a:noFill/>
                </a:ln>
                <a:solidFill>
                  <a:srgbClr val="4D4D4D"/>
                </a:solidFill>
                <a:effectLst/>
                <a:uLnTx/>
                <a:uFillTx/>
                <a:latin typeface="+mj-lt"/>
                <a:ea typeface="+mn-ea"/>
                <a:cs typeface="+mn-cs"/>
              </a:rPr>
              <a:t> </a:t>
            </a:r>
            <a:r>
              <a:rPr kumimoji="0" lang="sv-SE" altLang="sv-SE" sz="2800" b="0" i="0" u="none" strike="noStrike" kern="1200" cap="none" spc="0" normalizeH="0" baseline="0" noProof="0" err="1">
                <a:ln>
                  <a:noFill/>
                </a:ln>
                <a:solidFill>
                  <a:srgbClr val="4D4D4D"/>
                </a:solidFill>
                <a:effectLst/>
                <a:uLnTx/>
                <a:uFillTx/>
                <a:latin typeface="+mj-lt"/>
                <a:ea typeface="+mn-ea"/>
                <a:cs typeface="+mn-cs"/>
              </a:rPr>
              <a:t>change</a:t>
            </a:r>
            <a:r>
              <a:rPr kumimoji="0" lang="sv-SE" altLang="sv-SE" sz="2800" b="0" i="0" u="none" strike="noStrike" kern="1200" cap="none" spc="0" normalizeH="0" baseline="0" noProof="0">
                <a:ln>
                  <a:noFill/>
                </a:ln>
                <a:solidFill>
                  <a:srgbClr val="4D4D4D"/>
                </a:solidFill>
                <a:effectLst/>
                <a:uLnTx/>
                <a:uFillTx/>
                <a:latin typeface="+mj-lt"/>
                <a:ea typeface="+mn-ea"/>
                <a:cs typeface="+mn-cs"/>
              </a:rPr>
              <a:t> </a:t>
            </a:r>
            <a:r>
              <a:rPr kumimoji="0" lang="sv-SE" altLang="sv-SE" sz="2800" b="0" i="0" u="none" strike="noStrike" kern="1200" cap="none" spc="0" normalizeH="0" baseline="0" noProof="0" err="1">
                <a:ln>
                  <a:noFill/>
                </a:ln>
                <a:solidFill>
                  <a:srgbClr val="4D4D4D"/>
                </a:solidFill>
                <a:effectLst/>
                <a:uLnTx/>
                <a:uFillTx/>
                <a:latin typeface="+mj-lt"/>
                <a:ea typeface="+mn-ea"/>
                <a:cs typeface="+mn-cs"/>
              </a:rPr>
              <a:t>mitigation</a:t>
            </a:r>
            <a:r>
              <a:rPr kumimoji="0" lang="sv-SE" altLang="sv-SE" sz="2800" b="0" i="0" u="none" strike="noStrike" kern="1200" cap="none" spc="0" normalizeH="0" baseline="0" noProof="0">
                <a:ln>
                  <a:noFill/>
                </a:ln>
                <a:solidFill>
                  <a:srgbClr val="4D4D4D"/>
                </a:solidFill>
                <a:effectLst/>
                <a:uLnTx/>
                <a:uFillTx/>
                <a:latin typeface="+mj-lt"/>
                <a:ea typeface="+mn-ea"/>
                <a:cs typeface="+mn-cs"/>
              </a:rPr>
              <a:t>, adaptation, </a:t>
            </a:r>
            <a:r>
              <a:rPr kumimoji="0" lang="sv-SE" altLang="sv-SE" sz="2800" b="0" i="0" u="none" strike="noStrike" kern="1200" cap="none" spc="0" normalizeH="0" baseline="0" noProof="0" err="1">
                <a:ln>
                  <a:noFill/>
                </a:ln>
                <a:solidFill>
                  <a:srgbClr val="4D4D4D"/>
                </a:solidFill>
                <a:effectLst/>
                <a:uLnTx/>
                <a:uFillTx/>
                <a:latin typeface="+mj-lt"/>
                <a:ea typeface="+mn-ea"/>
                <a:cs typeface="+mn-cs"/>
              </a:rPr>
              <a:t>impact</a:t>
            </a:r>
            <a:r>
              <a:rPr kumimoji="0" lang="sv-SE" altLang="sv-SE" sz="2800" b="0" i="0" u="none" strike="noStrike" kern="1200" cap="none" spc="0" normalizeH="0" baseline="0" noProof="0">
                <a:ln>
                  <a:noFill/>
                </a:ln>
                <a:solidFill>
                  <a:srgbClr val="4D4D4D"/>
                </a:solidFill>
                <a:effectLst/>
                <a:uLnTx/>
                <a:uFillTx/>
                <a:latin typeface="+mj-lt"/>
                <a:ea typeface="+mn-ea"/>
                <a:cs typeface="+mn-cs"/>
              </a:rPr>
              <a:t> </a:t>
            </a:r>
            <a:r>
              <a:rPr kumimoji="0" lang="sv-SE" altLang="sv-SE" sz="2800" b="0" i="0" u="none" strike="noStrike" kern="1200" cap="none" spc="0" normalizeH="0" baseline="0" noProof="0" err="1">
                <a:ln>
                  <a:noFill/>
                </a:ln>
                <a:solidFill>
                  <a:srgbClr val="4D4D4D"/>
                </a:solidFill>
                <a:effectLst/>
                <a:uLnTx/>
                <a:uFillTx/>
                <a:latin typeface="+mj-lt"/>
                <a:ea typeface="+mn-ea"/>
                <a:cs typeface="+mn-cs"/>
              </a:rPr>
              <a:t>reduction</a:t>
            </a:r>
            <a:r>
              <a:rPr kumimoji="0" lang="sv-SE" altLang="sv-SE" sz="2800" b="0" i="0" u="none" strike="noStrike" kern="1200" cap="none" spc="0" normalizeH="0" baseline="0" noProof="0">
                <a:ln>
                  <a:noFill/>
                </a:ln>
                <a:solidFill>
                  <a:srgbClr val="4D4D4D"/>
                </a:solidFill>
                <a:effectLst/>
                <a:uLnTx/>
                <a:uFillTx/>
                <a:latin typeface="+mj-lt"/>
                <a:ea typeface="+mn-ea"/>
                <a:cs typeface="+mn-cs"/>
              </a:rPr>
              <a:t> and </a:t>
            </a:r>
            <a:r>
              <a:rPr kumimoji="0" lang="sv-SE" altLang="sv-SE" sz="2800" b="0" i="0" u="none" strike="noStrike" kern="1200" cap="none" spc="0" normalizeH="0" baseline="0" noProof="0" err="1">
                <a:ln>
                  <a:noFill/>
                </a:ln>
                <a:solidFill>
                  <a:srgbClr val="4D4D4D"/>
                </a:solidFill>
                <a:effectLst/>
                <a:uLnTx/>
                <a:uFillTx/>
                <a:latin typeface="+mj-lt"/>
                <a:ea typeface="+mn-ea"/>
                <a:cs typeface="+mn-cs"/>
              </a:rPr>
              <a:t>early</a:t>
            </a:r>
            <a:r>
              <a:rPr kumimoji="0" lang="sv-SE" altLang="sv-SE" sz="2800" b="0" i="0" u="none" strike="noStrike" kern="1200" cap="none" spc="0" normalizeH="0" baseline="0" noProof="0">
                <a:ln>
                  <a:noFill/>
                </a:ln>
                <a:solidFill>
                  <a:srgbClr val="4D4D4D"/>
                </a:solidFill>
                <a:effectLst/>
                <a:uLnTx/>
                <a:uFillTx/>
                <a:latin typeface="+mj-lt"/>
                <a:ea typeface="+mn-ea"/>
                <a:cs typeface="+mn-cs"/>
              </a:rPr>
              <a:t> </a:t>
            </a:r>
            <a:r>
              <a:rPr kumimoji="0" lang="sv-SE" altLang="sv-SE" sz="2800" b="0" i="0" u="none" strike="noStrike" kern="1200" cap="none" spc="0" normalizeH="0" baseline="0" noProof="0" err="1">
                <a:ln>
                  <a:noFill/>
                </a:ln>
                <a:solidFill>
                  <a:srgbClr val="4D4D4D"/>
                </a:solidFill>
                <a:effectLst/>
                <a:uLnTx/>
                <a:uFillTx/>
                <a:latin typeface="+mj-lt"/>
                <a:ea typeface="+mn-ea"/>
                <a:cs typeface="+mn-cs"/>
              </a:rPr>
              <a:t>warning</a:t>
            </a:r>
            <a:r>
              <a:rPr kumimoji="0" lang="sv-SE" altLang="sv-SE" sz="2800" b="0" i="0" u="none" strike="noStrike" kern="1200" cap="none" spc="0" normalizeH="0" baseline="0" noProof="0">
                <a:ln>
                  <a:noFill/>
                </a:ln>
                <a:solidFill>
                  <a:srgbClr val="4D4D4D"/>
                </a:solidFill>
                <a:effectLst/>
                <a:uLnTx/>
                <a:uFillTx/>
                <a:latin typeface="+mj-lt"/>
                <a:ea typeface="+mn-ea"/>
                <a:cs typeface="+mn-cs"/>
              </a:rPr>
              <a:t>.</a:t>
            </a:r>
          </a:p>
        </p:txBody>
      </p:sp>
    </p:spTree>
    <p:extLst>
      <p:ext uri="{BB962C8B-B14F-4D97-AF65-F5344CB8AC3E}">
        <p14:creationId xmlns:p14="http://schemas.microsoft.com/office/powerpoint/2010/main" val="1392121092"/>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a:extLst>
              <a:ext uri="{FF2B5EF4-FFF2-40B4-BE49-F238E27FC236}">
                <a16:creationId xmlns:a16="http://schemas.microsoft.com/office/drawing/2014/main" id="{98799FA6-242B-4FD5-B9E0-83122CE6C004}"/>
              </a:ext>
            </a:extLst>
          </p:cNvPr>
          <p:cNvGrpSpPr/>
          <p:nvPr/>
        </p:nvGrpSpPr>
        <p:grpSpPr>
          <a:xfrm>
            <a:off x="4329156" y="9810036"/>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marL="0" marR="0" lvl="0" indent="0" algn="ctr" defTabSz="914400" rtl="0" eaLnBrk="1" fontAlgn="auto" latinLnBrk="0" hangingPunct="1">
                <a:lnSpc>
                  <a:spcPts val="3919"/>
                </a:lnSpc>
                <a:spcBef>
                  <a:spcPct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OCR A Extended" panose="02010509020102010303" pitchFamily="50" charset="0"/>
                  <a:ea typeface="+mn-ea"/>
                  <a:cs typeface="+mn-cs"/>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4"/>
          <a:srcRect/>
          <a:stretch>
            <a:fillRect/>
          </a:stretch>
        </p:blipFill>
        <p:spPr>
          <a:xfrm>
            <a:off x="0" y="8901113"/>
            <a:ext cx="5715000" cy="1385887"/>
          </a:xfrm>
          <a:prstGeom prst="rect">
            <a:avLst/>
          </a:prstGeom>
        </p:spPr>
      </p:pic>
      <p:grpSp>
        <p:nvGrpSpPr>
          <p:cNvPr id="3" name="Gruppo 2">
            <a:extLst>
              <a:ext uri="{FF2B5EF4-FFF2-40B4-BE49-F238E27FC236}">
                <a16:creationId xmlns:a16="http://schemas.microsoft.com/office/drawing/2014/main" id="{1C29CBCA-BE0A-4EF6-AC69-329941E1DCFD}"/>
              </a:ext>
            </a:extLst>
          </p:cNvPr>
          <p:cNvGrpSpPr/>
          <p:nvPr/>
        </p:nvGrpSpPr>
        <p:grpSpPr>
          <a:xfrm>
            <a:off x="-12" y="138554"/>
            <a:ext cx="18288002" cy="681138"/>
            <a:chOff x="-12" y="138554"/>
            <a:chExt cx="18288002" cy="681138"/>
          </a:xfrm>
        </p:grpSpPr>
        <p:grpSp>
          <p:nvGrpSpPr>
            <p:cNvPr id="2" name="Gruppo 1">
              <a:extLst>
                <a:ext uri="{FF2B5EF4-FFF2-40B4-BE49-F238E27FC236}">
                  <a16:creationId xmlns:a16="http://schemas.microsoft.com/office/drawing/2014/main" id="{24E9C7AF-0093-476F-826C-A2702AB72892}"/>
                </a:ext>
              </a:extLst>
            </p:cNvPr>
            <p:cNvGrpSpPr/>
            <p:nvPr/>
          </p:nvGrpSpPr>
          <p:grpSpPr>
            <a:xfrm>
              <a:off x="0" y="153125"/>
              <a:ext cx="17907000" cy="666567"/>
              <a:chOff x="0" y="153125"/>
              <a:chExt cx="17907000" cy="666567"/>
            </a:xfrm>
          </p:grpSpPr>
          <p:grpSp>
            <p:nvGrpSpPr>
              <p:cNvPr id="16" name="Gruppo 15">
                <a:extLst>
                  <a:ext uri="{FF2B5EF4-FFF2-40B4-BE49-F238E27FC236}">
                    <a16:creationId xmlns:a16="http://schemas.microsoft.com/office/drawing/2014/main" id="{DAC42A46-917D-41AB-8F07-E15E54D0F7D4}"/>
                  </a:ext>
                </a:extLst>
              </p:cNvPr>
              <p:cNvGrpSpPr/>
              <p:nvPr/>
            </p:nvGrpSpPr>
            <p:grpSpPr>
              <a:xfrm>
                <a:off x="0" y="153125"/>
                <a:ext cx="13958844" cy="666567"/>
                <a:chOff x="0" y="153125"/>
                <a:chExt cx="13958844" cy="666567"/>
              </a:xfrm>
            </p:grpSpPr>
            <p:pic>
              <p:nvPicPr>
                <p:cNvPr id="10" name="Picture 10"/>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1" name="TextBox 11"/>
                <p:cNvSpPr txBox="1"/>
                <p:nvPr/>
              </p:nvSpPr>
              <p:spPr>
                <a:xfrm>
                  <a:off x="228600" y="257980"/>
                  <a:ext cx="9144000" cy="456856"/>
                </a:xfrm>
                <a:prstGeom prst="rect">
                  <a:avLst/>
                </a:prstGeom>
              </p:spPr>
              <p:txBody>
                <a:bodyPr wrap="square" lIns="0" tIns="0" rIns="0" bIns="0" rtlCol="0" anchor="t">
                  <a:spAutoFit/>
                </a:bodyPr>
                <a:lstStyle/>
                <a:p>
                  <a:pPr marL="0" marR="0" lvl="0" indent="0" algn="l" defTabSz="914400" rtl="0" eaLnBrk="1" fontAlgn="auto" latinLnBrk="0" hangingPunct="1">
                    <a:lnSpc>
                      <a:spcPts val="3919"/>
                    </a:lnSpc>
                    <a:spcBef>
                      <a:spcPct val="0"/>
                    </a:spcBef>
                    <a:spcAft>
                      <a:spcPts val="0"/>
                    </a:spcAft>
                    <a:buClrTx/>
                    <a:buSzTx/>
                    <a:buFontTx/>
                    <a:buNone/>
                    <a:tabLst/>
                    <a:defRPr/>
                  </a:pPr>
                  <a:endParaRPr kumimoji="0" lang="en-US" sz="2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2" name="TextBox 11">
                <a:extLst>
                  <a:ext uri="{FF2B5EF4-FFF2-40B4-BE49-F238E27FC236}">
                    <a16:creationId xmlns:a16="http://schemas.microsoft.com/office/drawing/2014/main" id="{1BD9B5F4-614C-4EB6-8C5B-120A5420CE43}"/>
                  </a:ext>
                </a:extLst>
              </p:cNvPr>
              <p:cNvSpPr txBox="1"/>
              <p:nvPr/>
            </p:nvSpPr>
            <p:spPr>
              <a:xfrm>
                <a:off x="12154296" y="257980"/>
                <a:ext cx="5752704" cy="456856"/>
              </a:xfrm>
              <a:prstGeom prst="rect">
                <a:avLst/>
              </a:prstGeom>
            </p:spPr>
            <p:txBody>
              <a:bodyPr wrap="square" lIns="0" tIns="0" rIns="0" bIns="0" rtlCol="0" anchor="t">
                <a:spAutoFit/>
              </a:bodyPr>
              <a:lstStyle/>
              <a:p>
                <a:pPr marL="0" marR="0" lvl="0" indent="0" algn="r" defTabSz="914400" rtl="0" eaLnBrk="1" fontAlgn="auto" latinLnBrk="0" hangingPunct="1">
                  <a:lnSpc>
                    <a:spcPts val="3919"/>
                  </a:lnSpc>
                  <a:spcBef>
                    <a:spcPct val="0"/>
                  </a:spcBef>
                  <a:spcAft>
                    <a:spcPts val="0"/>
                  </a:spcAft>
                  <a:buClrTx/>
                  <a:buSzTx/>
                  <a:buFontTx/>
                  <a:buNone/>
                  <a:tabLst/>
                  <a:defRPr/>
                </a:pPr>
                <a:endParaRPr kumimoji="0" lang="en-US" sz="2800" b="0" i="0" u="none" strike="noStrike" kern="1200" cap="none" spc="0" normalizeH="0" baseline="0" noProof="0">
                  <a:ln>
                    <a:noFill/>
                  </a:ln>
                  <a:solidFill>
                    <a:srgbClr val="2F2F2F">
                      <a:lumMod val="75000"/>
                      <a:lumOff val="25000"/>
                    </a:srgbClr>
                  </a:solidFill>
                  <a:effectLst/>
                  <a:uLnTx/>
                  <a:uFillTx/>
                  <a:latin typeface="Arial" panose="020B0604020202020204" pitchFamily="34" charset="0"/>
                  <a:ea typeface="+mn-ea"/>
                  <a:cs typeface="Arial" panose="020B0604020202020204" pitchFamily="34" charset="0"/>
                </a:endParaRPr>
              </a:p>
            </p:txBody>
          </p:sp>
        </p:grpSp>
        <p:sp>
          <p:nvSpPr>
            <p:cNvPr id="14" name="Rettangolo 13">
              <a:extLst>
                <a:ext uri="{FF2B5EF4-FFF2-40B4-BE49-F238E27FC236}">
                  <a16:creationId xmlns:a16="http://schemas.microsoft.com/office/drawing/2014/main" id="{55199736-B8B6-4C9A-8BAF-233E07A0CA89}"/>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4" name="TextBox 13">
            <a:extLst>
              <a:ext uri="{FF2B5EF4-FFF2-40B4-BE49-F238E27FC236}">
                <a16:creationId xmlns:a16="http://schemas.microsoft.com/office/drawing/2014/main" id="{C9377C2D-5CD2-A01D-FB67-658F162D454B}"/>
              </a:ext>
            </a:extLst>
          </p:cNvPr>
          <p:cNvSpPr txBox="1"/>
          <p:nvPr/>
        </p:nvSpPr>
        <p:spPr>
          <a:xfrm>
            <a:off x="885371" y="896353"/>
            <a:ext cx="16194313" cy="1040798"/>
          </a:xfrm>
          <a:prstGeom prst="rect">
            <a:avLst/>
          </a:prstGeom>
        </p:spPr>
        <p:txBody>
          <a:bodyPr wrap="square" lIns="0" tIns="0" rIns="0" bIns="0" rtlCol="0" anchor="t">
            <a:spAutoFit/>
          </a:bodyPr>
          <a:lstStyle/>
          <a:p>
            <a:pPr marL="0" marR="0" lvl="0" indent="0" defTabSz="914400" rtl="0" eaLnBrk="1" fontAlgn="auto" latinLnBrk="0" hangingPunct="1">
              <a:lnSpc>
                <a:spcPts val="8960"/>
              </a:lnSpc>
              <a:spcBef>
                <a:spcPct val="0"/>
              </a:spcBef>
              <a:spcAft>
                <a:spcPts val="0"/>
              </a:spcAft>
              <a:buClrTx/>
              <a:buSzTx/>
              <a:buFontTx/>
              <a:buNone/>
              <a:tabLst/>
              <a:defRPr/>
            </a:pPr>
            <a:r>
              <a:rPr kumimoji="0" lang="en-US" sz="6000" b="1" i="0" u="none" strike="noStrike" kern="1200" cap="none" spc="0" normalizeH="0" baseline="0" noProof="0" dirty="0">
                <a:ln>
                  <a:noFill/>
                </a:ln>
                <a:solidFill>
                  <a:srgbClr val="CC0033"/>
                </a:solidFill>
                <a:effectLst/>
                <a:uLnTx/>
                <a:uFillTx/>
                <a:latin typeface="Arial"/>
                <a:ea typeface="+mn-ea"/>
                <a:cs typeface="Arial" panose="020B0604020202020204" pitchFamily="34" charset="0"/>
              </a:rPr>
              <a:t>Results </a:t>
            </a:r>
          </a:p>
        </p:txBody>
      </p:sp>
      <p:pic>
        <p:nvPicPr>
          <p:cNvPr id="6" name="Imagen 93">
            <a:extLst>
              <a:ext uri="{FF2B5EF4-FFF2-40B4-BE49-F238E27FC236}">
                <a16:creationId xmlns:a16="http://schemas.microsoft.com/office/drawing/2014/main" id="{96DC578D-193A-2DA8-C87C-A512E4061D2C}"/>
              </a:ext>
            </a:extLst>
          </p:cNvPr>
          <p:cNvPicPr>
            <a:picLocks noChangeAspect="1"/>
          </p:cNvPicPr>
          <p:nvPr/>
        </p:nvPicPr>
        <p:blipFill rotWithShape="1">
          <a:blip r:embed="rId6"/>
          <a:srcRect l="23084" t="14316" r="9046" b="7091"/>
          <a:stretch/>
        </p:blipFill>
        <p:spPr>
          <a:xfrm>
            <a:off x="15895162" y="292887"/>
            <a:ext cx="2369044" cy="1936268"/>
          </a:xfrm>
          <a:prstGeom prst="rect">
            <a:avLst/>
          </a:prstGeom>
        </p:spPr>
      </p:pic>
      <p:sp>
        <p:nvSpPr>
          <p:cNvPr id="13" name="TextBox 26">
            <a:extLst>
              <a:ext uri="{FF2B5EF4-FFF2-40B4-BE49-F238E27FC236}">
                <a16:creationId xmlns:a16="http://schemas.microsoft.com/office/drawing/2014/main" id="{53150D35-7639-91DB-6C4A-CA00811F49AC}"/>
              </a:ext>
            </a:extLst>
          </p:cNvPr>
          <p:cNvSpPr txBox="1"/>
          <p:nvPr/>
        </p:nvSpPr>
        <p:spPr>
          <a:xfrm>
            <a:off x="394401" y="2097038"/>
            <a:ext cx="16770924" cy="5346592"/>
          </a:xfrm>
          <a:prstGeom prst="rect">
            <a:avLst/>
          </a:prstGeom>
          <a:noFill/>
        </p:spPr>
        <p:txBody>
          <a:bodyPr wrap="square">
            <a:spAutoFit/>
          </a:bodyPr>
          <a:lstStyle/>
          <a:p>
            <a:pPr marL="428625" indent="-428625" algn="just" defTabSz="1371600" fontAlgn="base">
              <a:lnSpc>
                <a:spcPct val="150000"/>
              </a:lnSpc>
              <a:spcBef>
                <a:spcPts val="1500"/>
              </a:spcBef>
              <a:spcAft>
                <a:spcPct val="0"/>
              </a:spcAft>
              <a:buClr>
                <a:prstClr val="white"/>
              </a:buClr>
              <a:buFont typeface="Arial" panose="020B0604020202020204" pitchFamily="34" charset="0"/>
              <a:buChar char="•"/>
              <a:defRPr/>
            </a:pPr>
            <a:r>
              <a:rPr lang="en-US" altLang="en-US" sz="2700" b="1" dirty="0">
                <a:latin typeface="Montserrat" panose="00000500000000000000" pitchFamily="2" charset="0"/>
              </a:rPr>
              <a:t>Clinker Quality</a:t>
            </a:r>
            <a:r>
              <a:rPr lang="en-US" altLang="en-US" sz="2700" dirty="0">
                <a:latin typeface="Montserrat" panose="00000500000000000000" pitchFamily="2" charset="0"/>
              </a:rPr>
              <a:t>: no changes in quality parameters during trial and higher stability in the manufacturing process.</a:t>
            </a:r>
          </a:p>
          <a:p>
            <a:pPr marL="428625" indent="-428625" algn="just" defTabSz="1371600" fontAlgn="base">
              <a:lnSpc>
                <a:spcPct val="150000"/>
              </a:lnSpc>
              <a:spcBef>
                <a:spcPts val="1500"/>
              </a:spcBef>
              <a:spcAft>
                <a:spcPct val="0"/>
              </a:spcAft>
              <a:buClr>
                <a:prstClr val="white"/>
              </a:buClr>
              <a:buFont typeface="Arial" panose="020B0604020202020204" pitchFamily="34" charset="0"/>
              <a:buChar char="•"/>
              <a:defRPr/>
            </a:pPr>
            <a:r>
              <a:rPr lang="en-US" sz="2700" b="1" dirty="0">
                <a:latin typeface="Montserrat" panose="00000500000000000000" pitchFamily="2" charset="0"/>
              </a:rPr>
              <a:t>Alternative Fuel Rate</a:t>
            </a:r>
            <a:r>
              <a:rPr lang="en-US" sz="2700" dirty="0">
                <a:latin typeface="Montserrat" panose="00000500000000000000" pitchFamily="2" charset="0"/>
              </a:rPr>
              <a:t>:</a:t>
            </a:r>
          </a:p>
          <a:p>
            <a:pPr marL="428625" indent="-428625" algn="just" defTabSz="1371600" fontAlgn="base">
              <a:lnSpc>
                <a:spcPct val="150000"/>
              </a:lnSpc>
              <a:spcBef>
                <a:spcPts val="1500"/>
              </a:spcBef>
              <a:spcAft>
                <a:spcPct val="0"/>
              </a:spcAft>
              <a:buClr>
                <a:prstClr val="white"/>
              </a:buClr>
              <a:buFont typeface="Arial" panose="020B0604020202020204" pitchFamily="34" charset="0"/>
              <a:buChar char="•"/>
              <a:defRPr/>
            </a:pPr>
            <a:r>
              <a:rPr lang="en-US" sz="2700" b="1" dirty="0">
                <a:latin typeface="Montserrat" panose="00000500000000000000" pitchFamily="2" charset="0"/>
              </a:rPr>
              <a:t>Energy Efficiency</a:t>
            </a:r>
            <a:r>
              <a:rPr lang="en-US" sz="2700" dirty="0">
                <a:latin typeface="Montserrat" panose="00000500000000000000" pitchFamily="2" charset="0"/>
              </a:rPr>
              <a:t>:</a:t>
            </a:r>
            <a:endParaRPr lang="pt-PT" sz="2700" dirty="0">
              <a:latin typeface="Montserrat" panose="00000500000000000000" pitchFamily="2" charset="0"/>
            </a:endParaRPr>
          </a:p>
          <a:p>
            <a:pPr marL="428625" indent="-428625" algn="just" defTabSz="1371600" fontAlgn="base">
              <a:lnSpc>
                <a:spcPct val="150000"/>
              </a:lnSpc>
              <a:spcBef>
                <a:spcPts val="1500"/>
              </a:spcBef>
              <a:spcAft>
                <a:spcPct val="0"/>
              </a:spcAft>
              <a:buClr>
                <a:prstClr val="white"/>
              </a:buClr>
              <a:buFont typeface="Arial" panose="020B0604020202020204" pitchFamily="34" charset="0"/>
              <a:buChar char="•"/>
              <a:defRPr/>
            </a:pPr>
            <a:endParaRPr lang="en-US" sz="2700" dirty="0">
              <a:latin typeface="Montserrat" panose="00000500000000000000" pitchFamily="2" charset="0"/>
            </a:endParaRPr>
          </a:p>
          <a:p>
            <a:pPr marL="428625" indent="-428625" algn="just" defTabSz="1371600" fontAlgn="base">
              <a:lnSpc>
                <a:spcPct val="150000"/>
              </a:lnSpc>
              <a:spcBef>
                <a:spcPts val="1500"/>
              </a:spcBef>
              <a:spcAft>
                <a:spcPct val="0"/>
              </a:spcAft>
              <a:buClr>
                <a:prstClr val="white"/>
              </a:buClr>
              <a:buFont typeface="Arial" panose="020B0604020202020204" pitchFamily="34" charset="0"/>
              <a:buChar char="•"/>
              <a:defRPr/>
            </a:pPr>
            <a:endParaRPr lang="en-US" altLang="en-US" sz="2700" dirty="0">
              <a:latin typeface="Montserrat" panose="00000500000000000000" pitchFamily="2" charset="0"/>
            </a:endParaRPr>
          </a:p>
          <a:p>
            <a:pPr marL="428625" indent="-428625" algn="just" defTabSz="1371600" fontAlgn="base">
              <a:lnSpc>
                <a:spcPct val="150000"/>
              </a:lnSpc>
              <a:spcBef>
                <a:spcPts val="1500"/>
              </a:spcBef>
              <a:spcAft>
                <a:spcPct val="0"/>
              </a:spcAft>
              <a:buClr>
                <a:prstClr val="white"/>
              </a:buClr>
              <a:buFont typeface="Arial" panose="020B0604020202020204" pitchFamily="34" charset="0"/>
              <a:buChar char="•"/>
              <a:defRPr/>
            </a:pPr>
            <a:endParaRPr lang="en-US" altLang="en-US" sz="2700" dirty="0">
              <a:latin typeface="Montserrat" panose="00000500000000000000" pitchFamily="2" charset="0"/>
            </a:endParaRPr>
          </a:p>
        </p:txBody>
      </p:sp>
      <p:graphicFrame>
        <p:nvGraphicFramePr>
          <p:cNvPr id="21" name="Chart 4">
            <a:extLst>
              <a:ext uri="{FF2B5EF4-FFF2-40B4-BE49-F238E27FC236}">
                <a16:creationId xmlns:a16="http://schemas.microsoft.com/office/drawing/2014/main" id="{86643B35-A7C1-817A-D838-CDC7E7B9807D}"/>
              </a:ext>
            </a:extLst>
          </p:cNvPr>
          <p:cNvGraphicFramePr>
            <a:graphicFrameLocks/>
          </p:cNvGraphicFramePr>
          <p:nvPr>
            <p:extLst>
              <p:ext uri="{D42A27DB-BD31-4B8C-83A1-F6EECF244321}">
                <p14:modId xmlns:p14="http://schemas.microsoft.com/office/powerpoint/2010/main" val="2686982201"/>
              </p:ext>
            </p:extLst>
          </p:nvPr>
        </p:nvGraphicFramePr>
        <p:xfrm>
          <a:off x="1475962" y="4905096"/>
          <a:ext cx="8211527" cy="41954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2" name="Chart 5">
            <a:extLst>
              <a:ext uri="{FF2B5EF4-FFF2-40B4-BE49-F238E27FC236}">
                <a16:creationId xmlns:a16="http://schemas.microsoft.com/office/drawing/2014/main" id="{58092351-DF96-3FAF-7720-80828572EB4B}"/>
              </a:ext>
            </a:extLst>
          </p:cNvPr>
          <p:cNvGraphicFramePr>
            <a:graphicFrameLocks/>
          </p:cNvGraphicFramePr>
          <p:nvPr>
            <p:extLst>
              <p:ext uri="{D42A27DB-BD31-4B8C-83A1-F6EECF244321}">
                <p14:modId xmlns:p14="http://schemas.microsoft.com/office/powerpoint/2010/main" val="3964870607"/>
              </p:ext>
            </p:extLst>
          </p:nvPr>
        </p:nvGraphicFramePr>
        <p:xfrm>
          <a:off x="10106094" y="4896839"/>
          <a:ext cx="7787505" cy="4195443"/>
        </p:xfrm>
        <a:graphic>
          <a:graphicData uri="http://schemas.openxmlformats.org/drawingml/2006/chart">
            <c:chart xmlns:c="http://schemas.openxmlformats.org/drawingml/2006/chart" xmlns:r="http://schemas.openxmlformats.org/officeDocument/2006/relationships" r:id="rId8"/>
          </a:graphicData>
        </a:graphic>
      </p:graphicFrame>
      <p:sp>
        <p:nvSpPr>
          <p:cNvPr id="23" name="Oval 6">
            <a:extLst>
              <a:ext uri="{FF2B5EF4-FFF2-40B4-BE49-F238E27FC236}">
                <a16:creationId xmlns:a16="http://schemas.microsoft.com/office/drawing/2014/main" id="{88A94419-FD1A-9633-D4B6-80C06F0D9FE2}"/>
              </a:ext>
            </a:extLst>
          </p:cNvPr>
          <p:cNvSpPr/>
          <p:nvPr/>
        </p:nvSpPr>
        <p:spPr>
          <a:xfrm>
            <a:off x="6726166" y="4250640"/>
            <a:ext cx="3622703" cy="1564215"/>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71600"/>
            <a:r>
              <a:rPr lang="en-US" sz="2400" b="1" dirty="0">
                <a:solidFill>
                  <a:schemeClr val="tx1"/>
                </a:solidFill>
                <a:latin typeface="Calibri" panose="020F0502020204030204"/>
              </a:rPr>
              <a:t> </a:t>
            </a:r>
            <a:r>
              <a:rPr lang="en-US" sz="2700" b="1" dirty="0">
                <a:solidFill>
                  <a:schemeClr val="tx1"/>
                </a:solidFill>
                <a:latin typeface="Calibri" panose="020F0502020204030204"/>
              </a:rPr>
              <a:t>+13% to +34%</a:t>
            </a:r>
          </a:p>
        </p:txBody>
      </p:sp>
      <p:sp>
        <p:nvSpPr>
          <p:cNvPr id="24" name="Oval 8">
            <a:extLst>
              <a:ext uri="{FF2B5EF4-FFF2-40B4-BE49-F238E27FC236}">
                <a16:creationId xmlns:a16="http://schemas.microsoft.com/office/drawing/2014/main" id="{77AC7BF2-BFF1-3D60-D6F8-1C29926AA25A}"/>
              </a:ext>
            </a:extLst>
          </p:cNvPr>
          <p:cNvSpPr/>
          <p:nvPr/>
        </p:nvSpPr>
        <p:spPr>
          <a:xfrm>
            <a:off x="13810067" y="4250640"/>
            <a:ext cx="3170526" cy="1564215"/>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71600"/>
            <a:r>
              <a:rPr lang="en-US" sz="2400" b="1" dirty="0">
                <a:solidFill>
                  <a:schemeClr val="tx1"/>
                </a:solidFill>
                <a:latin typeface="Calibri" panose="020F0502020204030204"/>
              </a:rPr>
              <a:t> </a:t>
            </a:r>
            <a:r>
              <a:rPr lang="en-US" sz="2700" b="1" dirty="0">
                <a:solidFill>
                  <a:schemeClr val="tx1"/>
                </a:solidFill>
                <a:latin typeface="Calibri" panose="020F0502020204030204"/>
              </a:rPr>
              <a:t>-5%</a:t>
            </a:r>
          </a:p>
        </p:txBody>
      </p:sp>
      <p:pic>
        <p:nvPicPr>
          <p:cNvPr id="25" name="Picture 6" descr="Button upload up increase arrow">
            <a:extLst>
              <a:ext uri="{FF2B5EF4-FFF2-40B4-BE49-F238E27FC236}">
                <a16:creationId xmlns:a16="http://schemas.microsoft.com/office/drawing/2014/main" id="{CF1780A0-995E-8235-3107-342B8919083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495906" y="4603446"/>
            <a:ext cx="858603" cy="858603"/>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6" descr="Button upload up increase arrow">
            <a:extLst>
              <a:ext uri="{FF2B5EF4-FFF2-40B4-BE49-F238E27FC236}">
                <a16:creationId xmlns:a16="http://schemas.microsoft.com/office/drawing/2014/main" id="{0CD4C35C-9479-E39A-3857-F01B023C642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rot="10800000">
            <a:off x="14042754" y="4605956"/>
            <a:ext cx="858603" cy="85860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7" name="Chart 4">
            <a:extLst>
              <a:ext uri="{FF2B5EF4-FFF2-40B4-BE49-F238E27FC236}">
                <a16:creationId xmlns:a16="http://schemas.microsoft.com/office/drawing/2014/main" id="{E3CFE93A-3824-E867-3ED5-4E50ED27FBD1}"/>
              </a:ext>
            </a:extLst>
          </p:cNvPr>
          <p:cNvGraphicFramePr>
            <a:graphicFrameLocks/>
          </p:cNvGraphicFramePr>
          <p:nvPr>
            <p:extLst>
              <p:ext uri="{D42A27DB-BD31-4B8C-83A1-F6EECF244321}">
                <p14:modId xmlns:p14="http://schemas.microsoft.com/office/powerpoint/2010/main" val="745301766"/>
              </p:ext>
            </p:extLst>
          </p:nvPr>
        </p:nvGraphicFramePr>
        <p:xfrm>
          <a:off x="1475962" y="4896839"/>
          <a:ext cx="8211527" cy="4195443"/>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2524437546"/>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a:extLst>
              <a:ext uri="{FF2B5EF4-FFF2-40B4-BE49-F238E27FC236}">
                <a16:creationId xmlns:a16="http://schemas.microsoft.com/office/drawing/2014/main" id="{98799FA6-242B-4FD5-B9E0-83122CE6C004}"/>
              </a:ext>
            </a:extLst>
          </p:cNvPr>
          <p:cNvGrpSpPr/>
          <p:nvPr/>
        </p:nvGrpSpPr>
        <p:grpSpPr>
          <a:xfrm>
            <a:off x="4329156" y="9810036"/>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marL="0" marR="0" lvl="0" indent="0" algn="ctr" defTabSz="914400" rtl="0" eaLnBrk="1" fontAlgn="auto" latinLnBrk="0" hangingPunct="1">
                <a:lnSpc>
                  <a:spcPts val="3919"/>
                </a:lnSpc>
                <a:spcBef>
                  <a:spcPct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OCR A Extended" panose="02010509020102010303" pitchFamily="50" charset="0"/>
                  <a:ea typeface="+mn-ea"/>
                  <a:cs typeface="+mn-cs"/>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4"/>
          <a:srcRect/>
          <a:stretch>
            <a:fillRect/>
          </a:stretch>
        </p:blipFill>
        <p:spPr>
          <a:xfrm>
            <a:off x="0" y="8901113"/>
            <a:ext cx="5715000" cy="1385887"/>
          </a:xfrm>
          <a:prstGeom prst="rect">
            <a:avLst/>
          </a:prstGeom>
        </p:spPr>
      </p:pic>
      <p:grpSp>
        <p:nvGrpSpPr>
          <p:cNvPr id="3" name="Gruppo 2">
            <a:extLst>
              <a:ext uri="{FF2B5EF4-FFF2-40B4-BE49-F238E27FC236}">
                <a16:creationId xmlns:a16="http://schemas.microsoft.com/office/drawing/2014/main" id="{1C29CBCA-BE0A-4EF6-AC69-329941E1DCFD}"/>
              </a:ext>
            </a:extLst>
          </p:cNvPr>
          <p:cNvGrpSpPr/>
          <p:nvPr/>
        </p:nvGrpSpPr>
        <p:grpSpPr>
          <a:xfrm>
            <a:off x="-12" y="138554"/>
            <a:ext cx="18288002" cy="681138"/>
            <a:chOff x="-12" y="138554"/>
            <a:chExt cx="18288002" cy="681138"/>
          </a:xfrm>
        </p:grpSpPr>
        <p:grpSp>
          <p:nvGrpSpPr>
            <p:cNvPr id="2" name="Gruppo 1">
              <a:extLst>
                <a:ext uri="{FF2B5EF4-FFF2-40B4-BE49-F238E27FC236}">
                  <a16:creationId xmlns:a16="http://schemas.microsoft.com/office/drawing/2014/main" id="{24E9C7AF-0093-476F-826C-A2702AB72892}"/>
                </a:ext>
              </a:extLst>
            </p:cNvPr>
            <p:cNvGrpSpPr/>
            <p:nvPr/>
          </p:nvGrpSpPr>
          <p:grpSpPr>
            <a:xfrm>
              <a:off x="0" y="153125"/>
              <a:ext cx="17907000" cy="666567"/>
              <a:chOff x="0" y="153125"/>
              <a:chExt cx="17907000" cy="666567"/>
            </a:xfrm>
          </p:grpSpPr>
          <p:grpSp>
            <p:nvGrpSpPr>
              <p:cNvPr id="16" name="Gruppo 15">
                <a:extLst>
                  <a:ext uri="{FF2B5EF4-FFF2-40B4-BE49-F238E27FC236}">
                    <a16:creationId xmlns:a16="http://schemas.microsoft.com/office/drawing/2014/main" id="{DAC42A46-917D-41AB-8F07-E15E54D0F7D4}"/>
                  </a:ext>
                </a:extLst>
              </p:cNvPr>
              <p:cNvGrpSpPr/>
              <p:nvPr/>
            </p:nvGrpSpPr>
            <p:grpSpPr>
              <a:xfrm>
                <a:off x="0" y="153125"/>
                <a:ext cx="13958844" cy="666567"/>
                <a:chOff x="0" y="153125"/>
                <a:chExt cx="13958844" cy="666567"/>
              </a:xfrm>
            </p:grpSpPr>
            <p:pic>
              <p:nvPicPr>
                <p:cNvPr id="10" name="Picture 10"/>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1" name="TextBox 11"/>
                <p:cNvSpPr txBox="1"/>
                <p:nvPr/>
              </p:nvSpPr>
              <p:spPr>
                <a:xfrm>
                  <a:off x="228600" y="257980"/>
                  <a:ext cx="9144000" cy="456856"/>
                </a:xfrm>
                <a:prstGeom prst="rect">
                  <a:avLst/>
                </a:prstGeom>
              </p:spPr>
              <p:txBody>
                <a:bodyPr wrap="square" lIns="0" tIns="0" rIns="0" bIns="0" rtlCol="0" anchor="t">
                  <a:spAutoFit/>
                </a:bodyPr>
                <a:lstStyle/>
                <a:p>
                  <a:pPr marL="0" marR="0" lvl="0" indent="0" algn="l" defTabSz="914400" rtl="0" eaLnBrk="1" fontAlgn="auto" latinLnBrk="0" hangingPunct="1">
                    <a:lnSpc>
                      <a:spcPts val="3919"/>
                    </a:lnSpc>
                    <a:spcBef>
                      <a:spcPct val="0"/>
                    </a:spcBef>
                    <a:spcAft>
                      <a:spcPts val="0"/>
                    </a:spcAft>
                    <a:buClrTx/>
                    <a:buSzTx/>
                    <a:buFontTx/>
                    <a:buNone/>
                    <a:tabLst/>
                    <a:defRPr/>
                  </a:pPr>
                  <a:endParaRPr kumimoji="0" lang="en-US" sz="2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2" name="TextBox 11">
                <a:extLst>
                  <a:ext uri="{FF2B5EF4-FFF2-40B4-BE49-F238E27FC236}">
                    <a16:creationId xmlns:a16="http://schemas.microsoft.com/office/drawing/2014/main" id="{1BD9B5F4-614C-4EB6-8C5B-120A5420CE43}"/>
                  </a:ext>
                </a:extLst>
              </p:cNvPr>
              <p:cNvSpPr txBox="1"/>
              <p:nvPr/>
            </p:nvSpPr>
            <p:spPr>
              <a:xfrm>
                <a:off x="12154296" y="257980"/>
                <a:ext cx="5752704" cy="456856"/>
              </a:xfrm>
              <a:prstGeom prst="rect">
                <a:avLst/>
              </a:prstGeom>
            </p:spPr>
            <p:txBody>
              <a:bodyPr wrap="square" lIns="0" tIns="0" rIns="0" bIns="0" rtlCol="0" anchor="t">
                <a:spAutoFit/>
              </a:bodyPr>
              <a:lstStyle/>
              <a:p>
                <a:pPr marL="0" marR="0" lvl="0" indent="0" algn="r" defTabSz="914400" rtl="0" eaLnBrk="1" fontAlgn="auto" latinLnBrk="0" hangingPunct="1">
                  <a:lnSpc>
                    <a:spcPts val="3919"/>
                  </a:lnSpc>
                  <a:spcBef>
                    <a:spcPct val="0"/>
                  </a:spcBef>
                  <a:spcAft>
                    <a:spcPts val="0"/>
                  </a:spcAft>
                  <a:buClrTx/>
                  <a:buSzTx/>
                  <a:buFontTx/>
                  <a:buNone/>
                  <a:tabLst/>
                  <a:defRPr/>
                </a:pPr>
                <a:endParaRPr kumimoji="0" lang="en-US" sz="2800" b="0" i="0" u="none" strike="noStrike" kern="1200" cap="none" spc="0" normalizeH="0" baseline="0" noProof="0">
                  <a:ln>
                    <a:noFill/>
                  </a:ln>
                  <a:solidFill>
                    <a:srgbClr val="2F2F2F">
                      <a:lumMod val="75000"/>
                      <a:lumOff val="25000"/>
                    </a:srgbClr>
                  </a:solidFill>
                  <a:effectLst/>
                  <a:uLnTx/>
                  <a:uFillTx/>
                  <a:latin typeface="Arial" panose="020B0604020202020204" pitchFamily="34" charset="0"/>
                  <a:ea typeface="+mn-ea"/>
                  <a:cs typeface="Arial" panose="020B0604020202020204" pitchFamily="34" charset="0"/>
                </a:endParaRPr>
              </a:p>
            </p:txBody>
          </p:sp>
        </p:grpSp>
        <p:sp>
          <p:nvSpPr>
            <p:cNvPr id="14" name="Rettangolo 13">
              <a:extLst>
                <a:ext uri="{FF2B5EF4-FFF2-40B4-BE49-F238E27FC236}">
                  <a16:creationId xmlns:a16="http://schemas.microsoft.com/office/drawing/2014/main" id="{55199736-B8B6-4C9A-8BAF-233E07A0CA89}"/>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4" name="TextBox 13">
            <a:extLst>
              <a:ext uri="{FF2B5EF4-FFF2-40B4-BE49-F238E27FC236}">
                <a16:creationId xmlns:a16="http://schemas.microsoft.com/office/drawing/2014/main" id="{C9377C2D-5CD2-A01D-FB67-658F162D454B}"/>
              </a:ext>
            </a:extLst>
          </p:cNvPr>
          <p:cNvSpPr txBox="1"/>
          <p:nvPr/>
        </p:nvSpPr>
        <p:spPr>
          <a:xfrm>
            <a:off x="885371" y="896353"/>
            <a:ext cx="16194313" cy="1040798"/>
          </a:xfrm>
          <a:prstGeom prst="rect">
            <a:avLst/>
          </a:prstGeom>
        </p:spPr>
        <p:txBody>
          <a:bodyPr wrap="square" lIns="0" tIns="0" rIns="0" bIns="0" rtlCol="0" anchor="t">
            <a:spAutoFit/>
          </a:bodyPr>
          <a:lstStyle/>
          <a:p>
            <a:pPr marL="0" marR="0" lvl="0" indent="0" defTabSz="914400" rtl="0" eaLnBrk="1" fontAlgn="auto" latinLnBrk="0" hangingPunct="1">
              <a:lnSpc>
                <a:spcPts val="8960"/>
              </a:lnSpc>
              <a:spcBef>
                <a:spcPct val="0"/>
              </a:spcBef>
              <a:spcAft>
                <a:spcPts val="0"/>
              </a:spcAft>
              <a:buClrTx/>
              <a:buSzTx/>
              <a:buFontTx/>
              <a:buNone/>
              <a:tabLst/>
              <a:defRPr/>
            </a:pPr>
            <a:r>
              <a:rPr kumimoji="0" lang="en-US" sz="6000" b="1" i="0" u="none" strike="noStrike" kern="1200" cap="none" spc="0" normalizeH="0" baseline="0" noProof="0" dirty="0">
                <a:ln>
                  <a:noFill/>
                </a:ln>
                <a:solidFill>
                  <a:srgbClr val="CC0033"/>
                </a:solidFill>
                <a:effectLst/>
                <a:uLnTx/>
                <a:uFillTx/>
                <a:latin typeface="Arial"/>
                <a:ea typeface="+mn-ea"/>
                <a:cs typeface="Arial" panose="020B0604020202020204" pitchFamily="34" charset="0"/>
              </a:rPr>
              <a:t>Results </a:t>
            </a:r>
          </a:p>
        </p:txBody>
      </p:sp>
      <p:pic>
        <p:nvPicPr>
          <p:cNvPr id="6" name="Imagen 93">
            <a:extLst>
              <a:ext uri="{FF2B5EF4-FFF2-40B4-BE49-F238E27FC236}">
                <a16:creationId xmlns:a16="http://schemas.microsoft.com/office/drawing/2014/main" id="{96DC578D-193A-2DA8-C87C-A512E4061D2C}"/>
              </a:ext>
            </a:extLst>
          </p:cNvPr>
          <p:cNvPicPr>
            <a:picLocks noChangeAspect="1"/>
          </p:cNvPicPr>
          <p:nvPr/>
        </p:nvPicPr>
        <p:blipFill rotWithShape="1">
          <a:blip r:embed="rId6"/>
          <a:srcRect l="23084" t="14316" r="9046" b="7091"/>
          <a:stretch/>
        </p:blipFill>
        <p:spPr>
          <a:xfrm>
            <a:off x="15895162" y="292887"/>
            <a:ext cx="2369044" cy="1936268"/>
          </a:xfrm>
          <a:prstGeom prst="rect">
            <a:avLst/>
          </a:prstGeom>
        </p:spPr>
      </p:pic>
      <p:sp>
        <p:nvSpPr>
          <p:cNvPr id="9" name="TextBox 26">
            <a:extLst>
              <a:ext uri="{FF2B5EF4-FFF2-40B4-BE49-F238E27FC236}">
                <a16:creationId xmlns:a16="http://schemas.microsoft.com/office/drawing/2014/main" id="{CEB17154-1D0E-F98F-A416-33C95394814A}"/>
              </a:ext>
            </a:extLst>
          </p:cNvPr>
          <p:cNvSpPr txBox="1"/>
          <p:nvPr/>
        </p:nvSpPr>
        <p:spPr>
          <a:xfrm>
            <a:off x="758538" y="1866901"/>
            <a:ext cx="16770924" cy="8609023"/>
          </a:xfrm>
          <a:prstGeom prst="rect">
            <a:avLst/>
          </a:prstGeom>
          <a:noFill/>
        </p:spPr>
        <p:txBody>
          <a:bodyPr wrap="square">
            <a:spAutoFit/>
          </a:bodyPr>
          <a:lstStyle/>
          <a:p>
            <a:pPr marL="428625" indent="-428625" algn="just" defTabSz="1371600" fontAlgn="base">
              <a:lnSpc>
                <a:spcPct val="150000"/>
              </a:lnSpc>
              <a:spcBef>
                <a:spcPts val="1500"/>
              </a:spcBef>
              <a:spcAft>
                <a:spcPct val="0"/>
              </a:spcAft>
              <a:buClr>
                <a:prstClr val="white"/>
              </a:buClr>
              <a:buFont typeface="Arial" panose="020B0604020202020204" pitchFamily="34" charset="0"/>
              <a:buChar char="•"/>
              <a:defRPr/>
            </a:pPr>
            <a:r>
              <a:rPr lang="pt-PT" sz="2700" b="1" dirty="0">
                <a:latin typeface="Montserrat" panose="00000500000000000000" pitchFamily="2" charset="0"/>
              </a:rPr>
              <a:t>CO</a:t>
            </a:r>
            <a:r>
              <a:rPr lang="pt-PT" sz="2700" b="1" baseline="-25000" dirty="0">
                <a:latin typeface="Montserrat" panose="00000500000000000000" pitchFamily="2" charset="0"/>
              </a:rPr>
              <a:t>2</a:t>
            </a:r>
            <a:r>
              <a:rPr lang="en-US" sz="2700" b="1" dirty="0">
                <a:latin typeface="Montserrat" panose="00000500000000000000" pitchFamily="2" charset="0"/>
              </a:rPr>
              <a:t> emissions from combustion</a:t>
            </a:r>
            <a:r>
              <a:rPr lang="en-US" sz="2700" dirty="0">
                <a:latin typeface="Montserrat" panose="00000500000000000000" pitchFamily="2" charset="0"/>
              </a:rPr>
              <a:t>:</a:t>
            </a:r>
          </a:p>
          <a:p>
            <a:pPr marL="428625" indent="-428625" algn="just" defTabSz="1371600" fontAlgn="base">
              <a:lnSpc>
                <a:spcPct val="150000"/>
              </a:lnSpc>
              <a:spcBef>
                <a:spcPts val="1500"/>
              </a:spcBef>
              <a:spcAft>
                <a:spcPct val="0"/>
              </a:spcAft>
              <a:buClr>
                <a:prstClr val="white"/>
              </a:buClr>
              <a:buFont typeface="Arial" panose="020B0604020202020204" pitchFamily="34" charset="0"/>
              <a:buChar char="•"/>
              <a:defRPr/>
            </a:pPr>
            <a:endParaRPr lang="en-US" sz="2700" dirty="0">
              <a:latin typeface="Montserrat" panose="00000500000000000000" pitchFamily="2" charset="0"/>
            </a:endParaRPr>
          </a:p>
          <a:p>
            <a:pPr marL="428625" indent="-428625" algn="just" defTabSz="1371600" fontAlgn="base">
              <a:lnSpc>
                <a:spcPct val="150000"/>
              </a:lnSpc>
              <a:spcBef>
                <a:spcPts val="1500"/>
              </a:spcBef>
              <a:spcAft>
                <a:spcPct val="0"/>
              </a:spcAft>
              <a:buClr>
                <a:prstClr val="white"/>
              </a:buClr>
              <a:buFont typeface="Arial" panose="020B0604020202020204" pitchFamily="34" charset="0"/>
              <a:buChar char="•"/>
              <a:defRPr/>
            </a:pPr>
            <a:endParaRPr lang="en-US" sz="2700" dirty="0">
              <a:latin typeface="Montserrat" panose="00000500000000000000" pitchFamily="2" charset="0"/>
            </a:endParaRPr>
          </a:p>
          <a:p>
            <a:pPr marL="428625" indent="-428625" algn="just" defTabSz="1371600" fontAlgn="base">
              <a:lnSpc>
                <a:spcPct val="150000"/>
              </a:lnSpc>
              <a:spcBef>
                <a:spcPts val="1500"/>
              </a:spcBef>
              <a:spcAft>
                <a:spcPct val="0"/>
              </a:spcAft>
              <a:buClr>
                <a:prstClr val="white"/>
              </a:buClr>
              <a:buFont typeface="Arial" panose="020B0604020202020204" pitchFamily="34" charset="0"/>
              <a:buChar char="•"/>
              <a:defRPr/>
            </a:pPr>
            <a:endParaRPr lang="en-US" sz="2700" dirty="0">
              <a:latin typeface="Montserrat" panose="00000500000000000000" pitchFamily="2" charset="0"/>
            </a:endParaRPr>
          </a:p>
          <a:p>
            <a:pPr marL="428625" indent="-428625" algn="just" defTabSz="1371600" fontAlgn="base">
              <a:lnSpc>
                <a:spcPct val="150000"/>
              </a:lnSpc>
              <a:spcBef>
                <a:spcPts val="1500"/>
              </a:spcBef>
              <a:spcAft>
                <a:spcPct val="0"/>
              </a:spcAft>
              <a:buClr>
                <a:prstClr val="white"/>
              </a:buClr>
              <a:buFont typeface="Arial" panose="020B0604020202020204" pitchFamily="34" charset="0"/>
              <a:buChar char="•"/>
              <a:defRPr/>
            </a:pPr>
            <a:endParaRPr lang="en-US" sz="2700" dirty="0">
              <a:latin typeface="Montserrat" panose="00000500000000000000" pitchFamily="2" charset="0"/>
            </a:endParaRPr>
          </a:p>
          <a:p>
            <a:pPr marL="428625" indent="-428625" algn="just" defTabSz="1371600" fontAlgn="base">
              <a:lnSpc>
                <a:spcPct val="150000"/>
              </a:lnSpc>
              <a:spcBef>
                <a:spcPts val="1500"/>
              </a:spcBef>
              <a:spcAft>
                <a:spcPct val="0"/>
              </a:spcAft>
              <a:buClr>
                <a:prstClr val="white"/>
              </a:buClr>
              <a:buFont typeface="Arial" panose="020B0604020202020204" pitchFamily="34" charset="0"/>
              <a:buChar char="•"/>
              <a:defRPr/>
            </a:pPr>
            <a:endParaRPr lang="en-US" sz="2700" dirty="0">
              <a:latin typeface="Montserrat" panose="00000500000000000000" pitchFamily="2" charset="0"/>
            </a:endParaRPr>
          </a:p>
          <a:p>
            <a:pPr marL="428625" indent="-428625" algn="just" defTabSz="1371600" fontAlgn="base">
              <a:lnSpc>
                <a:spcPct val="150000"/>
              </a:lnSpc>
              <a:spcBef>
                <a:spcPts val="1500"/>
              </a:spcBef>
              <a:spcAft>
                <a:spcPct val="0"/>
              </a:spcAft>
              <a:buClr>
                <a:prstClr val="white"/>
              </a:buClr>
              <a:buFont typeface="Arial" panose="020B0604020202020204" pitchFamily="34" charset="0"/>
              <a:buChar char="•"/>
              <a:defRPr/>
            </a:pPr>
            <a:endParaRPr lang="en-US" sz="2700" dirty="0">
              <a:latin typeface="Montserrat" panose="00000500000000000000" pitchFamily="2" charset="0"/>
            </a:endParaRPr>
          </a:p>
          <a:p>
            <a:pPr marL="428625" indent="-428625" algn="just" defTabSz="1371600" fontAlgn="base">
              <a:lnSpc>
                <a:spcPct val="150000"/>
              </a:lnSpc>
              <a:spcBef>
                <a:spcPts val="1500"/>
              </a:spcBef>
              <a:spcAft>
                <a:spcPct val="0"/>
              </a:spcAft>
              <a:buClr>
                <a:prstClr val="white"/>
              </a:buClr>
              <a:buFont typeface="Arial" panose="020B0604020202020204" pitchFamily="34" charset="0"/>
              <a:buChar char="•"/>
              <a:defRPr/>
            </a:pPr>
            <a:r>
              <a:rPr lang="en-US" sz="2700" b="1" dirty="0">
                <a:latin typeface="Montserrat" panose="00000500000000000000" pitchFamily="2" charset="0"/>
              </a:rPr>
              <a:t>Other atmospheric emissions</a:t>
            </a:r>
            <a:r>
              <a:rPr lang="en-US" sz="2700" dirty="0">
                <a:latin typeface="Montserrat" panose="00000500000000000000" pitchFamily="2" charset="0"/>
              </a:rPr>
              <a:t>: </a:t>
            </a:r>
            <a:r>
              <a:rPr lang="en-US" altLang="en-US" sz="2700" dirty="0">
                <a:latin typeface="Montserrat" panose="00000500000000000000" pitchFamily="2" charset="0"/>
              </a:rPr>
              <a:t>all continuously monitored parameters comply with legal limit values during trial: dust, NO</a:t>
            </a:r>
            <a:r>
              <a:rPr lang="en-US" altLang="en-US" sz="2700" baseline="-25000" dirty="0">
                <a:latin typeface="Montserrat" panose="00000500000000000000" pitchFamily="2" charset="0"/>
              </a:rPr>
              <a:t>X</a:t>
            </a:r>
            <a:r>
              <a:rPr lang="en-US" altLang="en-US" sz="2700" dirty="0">
                <a:latin typeface="Montserrat" panose="00000500000000000000" pitchFamily="2" charset="0"/>
              </a:rPr>
              <a:t>, SO</a:t>
            </a:r>
            <a:r>
              <a:rPr lang="en-US" altLang="en-US" sz="2700" baseline="-25000" dirty="0">
                <a:latin typeface="Montserrat" panose="00000500000000000000" pitchFamily="2" charset="0"/>
              </a:rPr>
              <a:t>2</a:t>
            </a:r>
            <a:r>
              <a:rPr lang="en-US" altLang="en-US" sz="2700" dirty="0">
                <a:latin typeface="Montserrat" panose="00000500000000000000" pitchFamily="2" charset="0"/>
              </a:rPr>
              <a:t>, CO, NH</a:t>
            </a:r>
            <a:r>
              <a:rPr lang="en-US" altLang="en-US" sz="2700" baseline="-25000" dirty="0">
                <a:latin typeface="Montserrat" panose="00000500000000000000" pitchFamily="2" charset="0"/>
              </a:rPr>
              <a:t>3</a:t>
            </a:r>
            <a:r>
              <a:rPr lang="en-US" altLang="en-US" sz="2700" dirty="0">
                <a:latin typeface="Montserrat" panose="00000500000000000000" pitchFamily="2" charset="0"/>
              </a:rPr>
              <a:t>, HCl, HF, TOC.</a:t>
            </a:r>
          </a:p>
          <a:p>
            <a:pPr marL="428625" indent="-428625" algn="just" defTabSz="1371600" fontAlgn="base">
              <a:lnSpc>
                <a:spcPct val="150000"/>
              </a:lnSpc>
              <a:spcBef>
                <a:spcPts val="1500"/>
              </a:spcBef>
              <a:spcAft>
                <a:spcPct val="0"/>
              </a:spcAft>
              <a:buClr>
                <a:prstClr val="white"/>
              </a:buClr>
              <a:buFont typeface="Arial" panose="020B0604020202020204" pitchFamily="34" charset="0"/>
              <a:buChar char="•"/>
              <a:defRPr/>
            </a:pPr>
            <a:endParaRPr lang="en-US" sz="2700" dirty="0">
              <a:latin typeface="Montserrat" panose="00000500000000000000" pitchFamily="2" charset="0"/>
            </a:endParaRPr>
          </a:p>
          <a:p>
            <a:pPr marL="428625" indent="-428625" algn="just" defTabSz="1371600" fontAlgn="base">
              <a:lnSpc>
                <a:spcPct val="150000"/>
              </a:lnSpc>
              <a:spcBef>
                <a:spcPts val="1500"/>
              </a:spcBef>
              <a:spcAft>
                <a:spcPct val="0"/>
              </a:spcAft>
              <a:buClr>
                <a:prstClr val="white"/>
              </a:buClr>
              <a:buFont typeface="Arial" panose="020B0604020202020204" pitchFamily="34" charset="0"/>
              <a:buChar char="•"/>
              <a:defRPr/>
            </a:pPr>
            <a:endParaRPr lang="en-US" altLang="en-US" sz="2700" dirty="0">
              <a:latin typeface="Montserrat" panose="00000500000000000000" pitchFamily="2" charset="0"/>
            </a:endParaRPr>
          </a:p>
        </p:txBody>
      </p:sp>
      <p:graphicFrame>
        <p:nvGraphicFramePr>
          <p:cNvPr id="15" name="Chart 3">
            <a:extLst>
              <a:ext uri="{FF2B5EF4-FFF2-40B4-BE49-F238E27FC236}">
                <a16:creationId xmlns:a16="http://schemas.microsoft.com/office/drawing/2014/main" id="{1AB84693-5720-876C-B4C2-7168AF5AF64B}"/>
              </a:ext>
            </a:extLst>
          </p:cNvPr>
          <p:cNvGraphicFramePr>
            <a:graphicFrameLocks/>
          </p:cNvGraphicFramePr>
          <p:nvPr>
            <p:extLst>
              <p:ext uri="{D42A27DB-BD31-4B8C-83A1-F6EECF244321}">
                <p14:modId xmlns:p14="http://schemas.microsoft.com/office/powerpoint/2010/main" val="1247813780"/>
              </p:ext>
            </p:extLst>
          </p:nvPr>
        </p:nvGraphicFramePr>
        <p:xfrm>
          <a:off x="4040967" y="2290639"/>
          <a:ext cx="10206066" cy="5298563"/>
        </p:xfrm>
        <a:graphic>
          <a:graphicData uri="http://schemas.openxmlformats.org/drawingml/2006/chart">
            <c:chart xmlns:c="http://schemas.openxmlformats.org/drawingml/2006/chart" xmlns:r="http://schemas.openxmlformats.org/officeDocument/2006/relationships" r:id="rId7"/>
          </a:graphicData>
        </a:graphic>
      </p:graphicFrame>
      <p:sp>
        <p:nvSpPr>
          <p:cNvPr id="28" name="Oval 6">
            <a:extLst>
              <a:ext uri="{FF2B5EF4-FFF2-40B4-BE49-F238E27FC236}">
                <a16:creationId xmlns:a16="http://schemas.microsoft.com/office/drawing/2014/main" id="{93752877-EF64-FDE7-1AC4-6EE08100B639}"/>
              </a:ext>
            </a:extLst>
          </p:cNvPr>
          <p:cNvSpPr/>
          <p:nvPr/>
        </p:nvSpPr>
        <p:spPr>
          <a:xfrm>
            <a:off x="13839213" y="3350883"/>
            <a:ext cx="3170526" cy="1564215"/>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71600"/>
            <a:r>
              <a:rPr lang="en-US" sz="2400" b="1" dirty="0">
                <a:solidFill>
                  <a:schemeClr val="tx1"/>
                </a:solidFill>
                <a:latin typeface="Calibri" panose="020F0502020204030204"/>
              </a:rPr>
              <a:t> </a:t>
            </a:r>
            <a:r>
              <a:rPr lang="en-US" sz="2700" b="1" dirty="0">
                <a:solidFill>
                  <a:schemeClr val="tx1"/>
                </a:solidFill>
                <a:latin typeface="Calibri" panose="020F0502020204030204"/>
              </a:rPr>
              <a:t>-7% to -11%</a:t>
            </a:r>
          </a:p>
        </p:txBody>
      </p:sp>
      <p:pic>
        <p:nvPicPr>
          <p:cNvPr id="29" name="Picture 6" descr="Button upload up increase arrow">
            <a:extLst>
              <a:ext uri="{FF2B5EF4-FFF2-40B4-BE49-F238E27FC236}">
                <a16:creationId xmlns:a16="http://schemas.microsoft.com/office/drawing/2014/main" id="{4E9CB008-D0B5-8CB7-7737-1E90CC62F57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rot="10800000">
            <a:off x="13450008" y="3703689"/>
            <a:ext cx="858603" cy="8586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13138796"/>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a:extLst>
              <a:ext uri="{FF2B5EF4-FFF2-40B4-BE49-F238E27FC236}">
                <a16:creationId xmlns:a16="http://schemas.microsoft.com/office/drawing/2014/main" id="{98799FA6-242B-4FD5-B9E0-83122CE6C004}"/>
              </a:ext>
            </a:extLst>
          </p:cNvPr>
          <p:cNvGrpSpPr/>
          <p:nvPr/>
        </p:nvGrpSpPr>
        <p:grpSpPr>
          <a:xfrm>
            <a:off x="4329156" y="9810036"/>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marL="0" marR="0" lvl="0" indent="0" algn="ctr" defTabSz="914400" rtl="0" eaLnBrk="1" fontAlgn="auto" latinLnBrk="0" hangingPunct="1">
                <a:lnSpc>
                  <a:spcPts val="3919"/>
                </a:lnSpc>
                <a:spcBef>
                  <a:spcPct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OCR A Extended" panose="02010509020102010303" pitchFamily="50" charset="0"/>
                  <a:ea typeface="+mn-ea"/>
                  <a:cs typeface="+mn-cs"/>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4"/>
          <a:srcRect/>
          <a:stretch>
            <a:fillRect/>
          </a:stretch>
        </p:blipFill>
        <p:spPr>
          <a:xfrm>
            <a:off x="0" y="8901113"/>
            <a:ext cx="5715000" cy="1385887"/>
          </a:xfrm>
          <a:prstGeom prst="rect">
            <a:avLst/>
          </a:prstGeom>
        </p:spPr>
      </p:pic>
      <p:grpSp>
        <p:nvGrpSpPr>
          <p:cNvPr id="3" name="Gruppo 2">
            <a:extLst>
              <a:ext uri="{FF2B5EF4-FFF2-40B4-BE49-F238E27FC236}">
                <a16:creationId xmlns:a16="http://schemas.microsoft.com/office/drawing/2014/main" id="{1C29CBCA-BE0A-4EF6-AC69-329941E1DCFD}"/>
              </a:ext>
            </a:extLst>
          </p:cNvPr>
          <p:cNvGrpSpPr/>
          <p:nvPr/>
        </p:nvGrpSpPr>
        <p:grpSpPr>
          <a:xfrm>
            <a:off x="-12" y="138554"/>
            <a:ext cx="18288002" cy="681138"/>
            <a:chOff x="-12" y="138554"/>
            <a:chExt cx="18288002" cy="681138"/>
          </a:xfrm>
        </p:grpSpPr>
        <p:grpSp>
          <p:nvGrpSpPr>
            <p:cNvPr id="2" name="Gruppo 1">
              <a:extLst>
                <a:ext uri="{FF2B5EF4-FFF2-40B4-BE49-F238E27FC236}">
                  <a16:creationId xmlns:a16="http://schemas.microsoft.com/office/drawing/2014/main" id="{24E9C7AF-0093-476F-826C-A2702AB72892}"/>
                </a:ext>
              </a:extLst>
            </p:cNvPr>
            <p:cNvGrpSpPr/>
            <p:nvPr/>
          </p:nvGrpSpPr>
          <p:grpSpPr>
            <a:xfrm>
              <a:off x="0" y="153125"/>
              <a:ext cx="17907000" cy="666567"/>
              <a:chOff x="0" y="153125"/>
              <a:chExt cx="17907000" cy="666567"/>
            </a:xfrm>
          </p:grpSpPr>
          <p:grpSp>
            <p:nvGrpSpPr>
              <p:cNvPr id="16" name="Gruppo 15">
                <a:extLst>
                  <a:ext uri="{FF2B5EF4-FFF2-40B4-BE49-F238E27FC236}">
                    <a16:creationId xmlns:a16="http://schemas.microsoft.com/office/drawing/2014/main" id="{DAC42A46-917D-41AB-8F07-E15E54D0F7D4}"/>
                  </a:ext>
                </a:extLst>
              </p:cNvPr>
              <p:cNvGrpSpPr/>
              <p:nvPr/>
            </p:nvGrpSpPr>
            <p:grpSpPr>
              <a:xfrm>
                <a:off x="0" y="153125"/>
                <a:ext cx="13958844" cy="666567"/>
                <a:chOff x="0" y="153125"/>
                <a:chExt cx="13958844" cy="666567"/>
              </a:xfrm>
            </p:grpSpPr>
            <p:pic>
              <p:nvPicPr>
                <p:cNvPr id="10" name="Picture 10"/>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1" name="TextBox 11"/>
                <p:cNvSpPr txBox="1"/>
                <p:nvPr/>
              </p:nvSpPr>
              <p:spPr>
                <a:xfrm>
                  <a:off x="228600" y="257980"/>
                  <a:ext cx="9144000" cy="456856"/>
                </a:xfrm>
                <a:prstGeom prst="rect">
                  <a:avLst/>
                </a:prstGeom>
              </p:spPr>
              <p:txBody>
                <a:bodyPr wrap="square" lIns="0" tIns="0" rIns="0" bIns="0" rtlCol="0" anchor="t">
                  <a:spAutoFit/>
                </a:bodyPr>
                <a:lstStyle/>
                <a:p>
                  <a:pPr marL="0" marR="0" lvl="0" indent="0" algn="l" defTabSz="914400" rtl="0" eaLnBrk="1" fontAlgn="auto" latinLnBrk="0" hangingPunct="1">
                    <a:lnSpc>
                      <a:spcPts val="3919"/>
                    </a:lnSpc>
                    <a:spcBef>
                      <a:spcPct val="0"/>
                    </a:spcBef>
                    <a:spcAft>
                      <a:spcPts val="0"/>
                    </a:spcAft>
                    <a:buClrTx/>
                    <a:buSzTx/>
                    <a:buFontTx/>
                    <a:buNone/>
                    <a:tabLst/>
                    <a:defRPr/>
                  </a:pPr>
                  <a:endParaRPr kumimoji="0" lang="en-US" sz="2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2" name="TextBox 11">
                <a:extLst>
                  <a:ext uri="{FF2B5EF4-FFF2-40B4-BE49-F238E27FC236}">
                    <a16:creationId xmlns:a16="http://schemas.microsoft.com/office/drawing/2014/main" id="{1BD9B5F4-614C-4EB6-8C5B-120A5420CE43}"/>
                  </a:ext>
                </a:extLst>
              </p:cNvPr>
              <p:cNvSpPr txBox="1"/>
              <p:nvPr/>
            </p:nvSpPr>
            <p:spPr>
              <a:xfrm>
                <a:off x="12154296" y="257980"/>
                <a:ext cx="5752704" cy="456856"/>
              </a:xfrm>
              <a:prstGeom prst="rect">
                <a:avLst/>
              </a:prstGeom>
            </p:spPr>
            <p:txBody>
              <a:bodyPr wrap="square" lIns="0" tIns="0" rIns="0" bIns="0" rtlCol="0" anchor="t">
                <a:spAutoFit/>
              </a:bodyPr>
              <a:lstStyle/>
              <a:p>
                <a:pPr marL="0" marR="0" lvl="0" indent="0" algn="r" defTabSz="914400" rtl="0" eaLnBrk="1" fontAlgn="auto" latinLnBrk="0" hangingPunct="1">
                  <a:lnSpc>
                    <a:spcPts val="3919"/>
                  </a:lnSpc>
                  <a:spcBef>
                    <a:spcPct val="0"/>
                  </a:spcBef>
                  <a:spcAft>
                    <a:spcPts val="0"/>
                  </a:spcAft>
                  <a:buClrTx/>
                  <a:buSzTx/>
                  <a:buFontTx/>
                  <a:buNone/>
                  <a:tabLst/>
                  <a:defRPr/>
                </a:pPr>
                <a:endParaRPr kumimoji="0" lang="en-US" sz="2800" b="0" i="0" u="none" strike="noStrike" kern="1200" cap="none" spc="0" normalizeH="0" baseline="0" noProof="0">
                  <a:ln>
                    <a:noFill/>
                  </a:ln>
                  <a:solidFill>
                    <a:srgbClr val="2F2F2F">
                      <a:lumMod val="75000"/>
                      <a:lumOff val="25000"/>
                    </a:srgbClr>
                  </a:solidFill>
                  <a:effectLst/>
                  <a:uLnTx/>
                  <a:uFillTx/>
                  <a:latin typeface="Arial" panose="020B0604020202020204" pitchFamily="34" charset="0"/>
                  <a:ea typeface="+mn-ea"/>
                  <a:cs typeface="Arial" panose="020B0604020202020204" pitchFamily="34" charset="0"/>
                </a:endParaRPr>
              </a:p>
            </p:txBody>
          </p:sp>
        </p:grpSp>
        <p:sp>
          <p:nvSpPr>
            <p:cNvPr id="14" name="Rettangolo 13">
              <a:extLst>
                <a:ext uri="{FF2B5EF4-FFF2-40B4-BE49-F238E27FC236}">
                  <a16:creationId xmlns:a16="http://schemas.microsoft.com/office/drawing/2014/main" id="{55199736-B8B6-4C9A-8BAF-233E07A0CA89}"/>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4" name="TextBox 13">
            <a:extLst>
              <a:ext uri="{FF2B5EF4-FFF2-40B4-BE49-F238E27FC236}">
                <a16:creationId xmlns:a16="http://schemas.microsoft.com/office/drawing/2014/main" id="{C9377C2D-5CD2-A01D-FB67-658F162D454B}"/>
              </a:ext>
            </a:extLst>
          </p:cNvPr>
          <p:cNvSpPr txBox="1"/>
          <p:nvPr/>
        </p:nvSpPr>
        <p:spPr>
          <a:xfrm>
            <a:off x="885371" y="896353"/>
            <a:ext cx="16194313" cy="1040798"/>
          </a:xfrm>
          <a:prstGeom prst="rect">
            <a:avLst/>
          </a:prstGeom>
        </p:spPr>
        <p:txBody>
          <a:bodyPr wrap="square" lIns="0" tIns="0" rIns="0" bIns="0" rtlCol="0" anchor="t">
            <a:spAutoFit/>
          </a:bodyPr>
          <a:lstStyle/>
          <a:p>
            <a:pPr marL="0" marR="0" lvl="0" indent="0" defTabSz="914400" rtl="0" eaLnBrk="1" fontAlgn="auto" latinLnBrk="0" hangingPunct="1">
              <a:lnSpc>
                <a:spcPts val="8960"/>
              </a:lnSpc>
              <a:spcBef>
                <a:spcPct val="0"/>
              </a:spcBef>
              <a:spcAft>
                <a:spcPts val="0"/>
              </a:spcAft>
              <a:buClrTx/>
              <a:buSzTx/>
              <a:buFontTx/>
              <a:buNone/>
              <a:tabLst/>
              <a:defRPr/>
            </a:pPr>
            <a:r>
              <a:rPr kumimoji="0" lang="en-US" sz="6000" b="1" i="0" u="none" strike="noStrike" kern="1200" cap="none" spc="0" normalizeH="0" baseline="0" noProof="0" dirty="0">
                <a:ln>
                  <a:noFill/>
                </a:ln>
                <a:solidFill>
                  <a:srgbClr val="CC0033"/>
                </a:solidFill>
                <a:effectLst/>
                <a:uLnTx/>
                <a:uFillTx/>
                <a:latin typeface="Arial"/>
                <a:ea typeface="+mn-ea"/>
                <a:cs typeface="Arial" panose="020B0604020202020204" pitchFamily="34" charset="0"/>
              </a:rPr>
              <a:t>Impact </a:t>
            </a:r>
          </a:p>
        </p:txBody>
      </p:sp>
      <p:pic>
        <p:nvPicPr>
          <p:cNvPr id="6" name="Imagen 93">
            <a:extLst>
              <a:ext uri="{FF2B5EF4-FFF2-40B4-BE49-F238E27FC236}">
                <a16:creationId xmlns:a16="http://schemas.microsoft.com/office/drawing/2014/main" id="{96DC578D-193A-2DA8-C87C-A512E4061D2C}"/>
              </a:ext>
            </a:extLst>
          </p:cNvPr>
          <p:cNvPicPr>
            <a:picLocks noChangeAspect="1"/>
          </p:cNvPicPr>
          <p:nvPr/>
        </p:nvPicPr>
        <p:blipFill rotWithShape="1">
          <a:blip r:embed="rId6"/>
          <a:srcRect l="23084" t="14316" r="9046" b="7091"/>
          <a:stretch/>
        </p:blipFill>
        <p:spPr>
          <a:xfrm>
            <a:off x="15895162" y="292887"/>
            <a:ext cx="2369044" cy="1936268"/>
          </a:xfrm>
          <a:prstGeom prst="rect">
            <a:avLst/>
          </a:prstGeom>
        </p:spPr>
      </p:pic>
      <p:sp>
        <p:nvSpPr>
          <p:cNvPr id="5" name="TextBox 16">
            <a:extLst>
              <a:ext uri="{FF2B5EF4-FFF2-40B4-BE49-F238E27FC236}">
                <a16:creationId xmlns:a16="http://schemas.microsoft.com/office/drawing/2014/main" id="{2B523E83-E7BF-2537-B77F-6CF9BCFD9DF8}"/>
              </a:ext>
            </a:extLst>
          </p:cNvPr>
          <p:cNvSpPr txBox="1"/>
          <p:nvPr/>
        </p:nvSpPr>
        <p:spPr>
          <a:xfrm>
            <a:off x="758540" y="1866901"/>
            <a:ext cx="8585715" cy="6700809"/>
          </a:xfrm>
          <a:prstGeom prst="rect">
            <a:avLst/>
          </a:prstGeom>
          <a:noFill/>
        </p:spPr>
        <p:txBody>
          <a:bodyPr wrap="square">
            <a:spAutoFit/>
          </a:bodyPr>
          <a:lstStyle/>
          <a:p>
            <a:pPr marL="428625" indent="-428625" algn="just" defTabSz="1371600" fontAlgn="base">
              <a:lnSpc>
                <a:spcPct val="150000"/>
              </a:lnSpc>
              <a:spcBef>
                <a:spcPts val="1500"/>
              </a:spcBef>
              <a:spcAft>
                <a:spcPct val="0"/>
              </a:spcAft>
              <a:buFont typeface="Arial" panose="020B0604020202020204" pitchFamily="34" charset="0"/>
              <a:buChar char="•"/>
              <a:defRPr/>
            </a:pPr>
            <a:r>
              <a:rPr lang="en-US" altLang="en-US" sz="2700" b="1" dirty="0">
                <a:latin typeface="Montserrat" panose="00000500000000000000" pitchFamily="2" charset="0"/>
              </a:rPr>
              <a:t>Optimization</a:t>
            </a:r>
            <a:r>
              <a:rPr lang="en-US" altLang="en-US" sz="2700" dirty="0">
                <a:latin typeface="Montserrat" panose="00000500000000000000" pitchFamily="2" charset="0"/>
              </a:rPr>
              <a:t>:</a:t>
            </a:r>
          </a:p>
          <a:p>
            <a:pPr marL="1114425" lvl="1" indent="-428625" algn="just" defTabSz="1371600" fontAlgn="base">
              <a:lnSpc>
                <a:spcPct val="150000"/>
              </a:lnSpc>
              <a:spcBef>
                <a:spcPts val="1500"/>
              </a:spcBef>
              <a:spcAft>
                <a:spcPct val="0"/>
              </a:spcAft>
              <a:buFont typeface="Arial" panose="020B0604020202020204" pitchFamily="34" charset="0"/>
              <a:buChar char="•"/>
              <a:defRPr/>
            </a:pPr>
            <a:r>
              <a:rPr lang="en-US" sz="2400" dirty="0">
                <a:latin typeface="Montserrat" panose="00000500000000000000" pitchFamily="2" charset="0"/>
              </a:rPr>
              <a:t>Reduce carbon footprint</a:t>
            </a:r>
          </a:p>
          <a:p>
            <a:pPr marL="1114425" lvl="1" indent="-428625" algn="just" defTabSz="1371600" fontAlgn="base">
              <a:lnSpc>
                <a:spcPct val="150000"/>
              </a:lnSpc>
              <a:spcBef>
                <a:spcPts val="1500"/>
              </a:spcBef>
              <a:spcAft>
                <a:spcPct val="0"/>
              </a:spcAft>
              <a:buFont typeface="Arial" panose="020B0604020202020204" pitchFamily="34" charset="0"/>
              <a:buChar char="•"/>
              <a:defRPr/>
            </a:pPr>
            <a:r>
              <a:rPr lang="en-US" sz="2400" dirty="0">
                <a:latin typeface="Montserrat" panose="00000500000000000000" pitchFamily="2" charset="0"/>
              </a:rPr>
              <a:t>Reduce energy consumption</a:t>
            </a:r>
          </a:p>
          <a:p>
            <a:pPr marL="1114425" lvl="1" indent="-428625" algn="just" defTabSz="1371600" fontAlgn="base">
              <a:lnSpc>
                <a:spcPct val="150000"/>
              </a:lnSpc>
              <a:spcBef>
                <a:spcPts val="1500"/>
              </a:spcBef>
              <a:spcAft>
                <a:spcPct val="0"/>
              </a:spcAft>
              <a:buFont typeface="Arial" panose="020B0604020202020204" pitchFamily="34" charset="0"/>
              <a:buChar char="•"/>
              <a:defRPr/>
            </a:pPr>
            <a:r>
              <a:rPr lang="en-US" sz="2400" dirty="0">
                <a:latin typeface="Montserrat" panose="00000500000000000000" pitchFamily="2" charset="0"/>
              </a:rPr>
              <a:t>Improve productivity</a:t>
            </a:r>
          </a:p>
          <a:p>
            <a:pPr marL="1114425" lvl="1" indent="-428625" algn="just" defTabSz="1371600" fontAlgn="base">
              <a:lnSpc>
                <a:spcPct val="150000"/>
              </a:lnSpc>
              <a:spcBef>
                <a:spcPts val="1500"/>
              </a:spcBef>
              <a:spcAft>
                <a:spcPct val="0"/>
              </a:spcAft>
              <a:buFont typeface="Arial" panose="020B0604020202020204" pitchFamily="34" charset="0"/>
              <a:buChar char="•"/>
              <a:defRPr/>
            </a:pPr>
            <a:r>
              <a:rPr lang="en-US" sz="2400" dirty="0">
                <a:latin typeface="Montserrat" panose="00000500000000000000" pitchFamily="2" charset="0"/>
              </a:rPr>
              <a:t>Improve quality</a:t>
            </a:r>
          </a:p>
          <a:p>
            <a:pPr marL="428625" indent="-428625" algn="just" defTabSz="1371600" fontAlgn="base">
              <a:lnSpc>
                <a:spcPct val="150000"/>
              </a:lnSpc>
              <a:spcBef>
                <a:spcPts val="1500"/>
              </a:spcBef>
              <a:spcAft>
                <a:spcPct val="0"/>
              </a:spcAft>
              <a:buFont typeface="Arial" panose="020B0604020202020204" pitchFamily="34" charset="0"/>
              <a:buChar char="•"/>
              <a:defRPr/>
            </a:pPr>
            <a:r>
              <a:rPr lang="en-US" altLang="en-US" sz="2700" dirty="0">
                <a:latin typeface="Montserrat" panose="00000500000000000000" pitchFamily="2" charset="0"/>
              </a:rPr>
              <a:t>Validation of </a:t>
            </a:r>
            <a:r>
              <a:rPr lang="en-US" altLang="en-US" sz="2700" b="1" dirty="0">
                <a:latin typeface="Montserrat" panose="00000500000000000000" pitchFamily="2" charset="0"/>
              </a:rPr>
              <a:t>hydrogen combustion trials </a:t>
            </a:r>
            <a:r>
              <a:rPr lang="en-US" altLang="en-US" sz="2700" dirty="0">
                <a:latin typeface="Montserrat" panose="00000500000000000000" pitchFamily="2" charset="0"/>
              </a:rPr>
              <a:t>at industrial scale.</a:t>
            </a:r>
          </a:p>
          <a:p>
            <a:pPr marL="428625" indent="-428625" algn="just" defTabSz="1371600" fontAlgn="base">
              <a:lnSpc>
                <a:spcPct val="150000"/>
              </a:lnSpc>
              <a:spcBef>
                <a:spcPts val="1500"/>
              </a:spcBef>
              <a:spcAft>
                <a:spcPct val="0"/>
              </a:spcAft>
              <a:buFont typeface="Arial" panose="020B0604020202020204" pitchFamily="34" charset="0"/>
              <a:buChar char="•"/>
              <a:defRPr/>
            </a:pPr>
            <a:r>
              <a:rPr lang="en-US" altLang="en-US" sz="2700" dirty="0">
                <a:latin typeface="Montserrat" panose="00000500000000000000" pitchFamily="2" charset="0"/>
              </a:rPr>
              <a:t>Development of </a:t>
            </a:r>
            <a:r>
              <a:rPr lang="en-US" altLang="en-US" sz="2700" b="1" dirty="0">
                <a:latin typeface="Montserrat" panose="00000500000000000000" pitchFamily="2" charset="0"/>
              </a:rPr>
              <a:t>machine learning models</a:t>
            </a:r>
            <a:r>
              <a:rPr lang="en-US" altLang="en-US" sz="2700" dirty="0">
                <a:latin typeface="Montserrat" panose="00000500000000000000" pitchFamily="2" charset="0"/>
              </a:rPr>
              <a:t>.</a:t>
            </a:r>
          </a:p>
          <a:p>
            <a:pPr marL="428625" indent="-428625" algn="just" defTabSz="1371600" fontAlgn="base">
              <a:lnSpc>
                <a:spcPct val="150000"/>
              </a:lnSpc>
              <a:spcBef>
                <a:spcPts val="1500"/>
              </a:spcBef>
              <a:spcAft>
                <a:spcPct val="0"/>
              </a:spcAft>
              <a:buFont typeface="Arial" panose="020B0604020202020204" pitchFamily="34" charset="0"/>
              <a:buChar char="•"/>
              <a:defRPr/>
            </a:pPr>
            <a:r>
              <a:rPr lang="en-US" altLang="en-US" sz="2700" dirty="0">
                <a:latin typeface="Montserrat" panose="00000500000000000000" pitchFamily="2" charset="0"/>
              </a:rPr>
              <a:t>Development of </a:t>
            </a:r>
            <a:r>
              <a:rPr lang="en-US" altLang="en-US" sz="2700" b="1" dirty="0">
                <a:latin typeface="Montserrat" panose="00000500000000000000" pitchFamily="2" charset="0"/>
              </a:rPr>
              <a:t>replication strategy</a:t>
            </a:r>
            <a:r>
              <a:rPr lang="en-US" altLang="en-US" sz="2700" dirty="0">
                <a:latin typeface="Montserrat" panose="00000500000000000000" pitchFamily="2" charset="0"/>
              </a:rPr>
              <a:t>.</a:t>
            </a:r>
          </a:p>
        </p:txBody>
      </p:sp>
      <p:pic>
        <p:nvPicPr>
          <p:cNvPr id="7" name="Picture 17" descr="A picture containing outdoor, pipe, engineering&#10;&#10;Description automatically generated">
            <a:extLst>
              <a:ext uri="{FF2B5EF4-FFF2-40B4-BE49-F238E27FC236}">
                <a16:creationId xmlns:a16="http://schemas.microsoft.com/office/drawing/2014/main" id="{C48D313D-DFDB-C1F1-40DB-17E924B1E7A9}"/>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rot="5400000">
            <a:off x="10945277" y="2545273"/>
            <a:ext cx="7800102" cy="5850077"/>
          </a:xfrm>
          <a:prstGeom prst="rect">
            <a:avLst/>
          </a:prstGeom>
          <a:ln>
            <a:noFill/>
          </a:ln>
          <a:effectLst>
            <a:softEdge rad="112500"/>
          </a:effectLst>
        </p:spPr>
      </p:pic>
      <p:pic>
        <p:nvPicPr>
          <p:cNvPr id="8" name="Picture 2" descr="Monarch Energy Plans $426 Million Green Hydrogen Hub - Green Hydrogen News">
            <a:extLst>
              <a:ext uri="{FF2B5EF4-FFF2-40B4-BE49-F238E27FC236}">
                <a16:creationId xmlns:a16="http://schemas.microsoft.com/office/drawing/2014/main" id="{A9E0768B-A839-2BC2-406D-F9297BA6E62E}"/>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8054" t="3439" r="26028"/>
          <a:stretch/>
        </p:blipFill>
        <p:spPr bwMode="auto">
          <a:xfrm>
            <a:off x="9707457" y="5470310"/>
            <a:ext cx="1862253" cy="1931030"/>
          </a:xfrm>
          <a:prstGeom prst="ellipse">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13" name="Picture 4" descr="Circular Economy : GCCA">
            <a:extLst>
              <a:ext uri="{FF2B5EF4-FFF2-40B4-BE49-F238E27FC236}">
                <a16:creationId xmlns:a16="http://schemas.microsoft.com/office/drawing/2014/main" id="{DDF82144-C256-A701-D8B5-AE85B34DE3BE}"/>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9604321" y="1402559"/>
            <a:ext cx="2008568" cy="2410281"/>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6" descr="New additives could turn concrete into an effective carbon sink | MIT News  | Massachusetts Institute of Technology">
            <a:extLst>
              <a:ext uri="{FF2B5EF4-FFF2-40B4-BE49-F238E27FC236}">
                <a16:creationId xmlns:a16="http://schemas.microsoft.com/office/drawing/2014/main" id="{3A15F45A-C15C-1B71-6BA2-AD12962FECDC}"/>
              </a:ext>
            </a:extLst>
          </p:cNvPr>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16222" t="473" r="14820" b="-473"/>
          <a:stretch/>
        </p:blipFill>
        <p:spPr bwMode="auto">
          <a:xfrm>
            <a:off x="9707457" y="3723290"/>
            <a:ext cx="1862253" cy="1800384"/>
          </a:xfrm>
          <a:prstGeom prst="ellipse">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22" name="Picture 2" descr="Resultado de imagem para queimador chama forno cimento">
            <a:extLst>
              <a:ext uri="{FF2B5EF4-FFF2-40B4-BE49-F238E27FC236}">
                <a16:creationId xmlns:a16="http://schemas.microsoft.com/office/drawing/2014/main" id="{69DFC15E-87E3-B9D3-F447-D4DFE20D9E72}"/>
              </a:ext>
            </a:extLst>
          </p:cNvPr>
          <p:cNvPicPr>
            <a:picLocks noChangeAspect="1" noChangeArrowheads="1"/>
          </p:cNvPicPr>
          <p:nvPr/>
        </p:nvPicPr>
        <p:blipFill>
          <a:blip r:embed="rId11"/>
          <a:srcRect/>
          <a:stretch>
            <a:fillRect/>
          </a:stretch>
        </p:blipFill>
        <p:spPr bwMode="auto">
          <a:xfrm flipH="1">
            <a:off x="9694832" y="7406960"/>
            <a:ext cx="1893858" cy="1867398"/>
          </a:xfrm>
          <a:prstGeom prst="ellipse">
            <a:avLst/>
          </a:prstGeom>
          <a:ln>
            <a:noFill/>
          </a:ln>
          <a:effectLst>
            <a:softEdge rad="112500"/>
          </a:effectLst>
        </p:spPr>
      </p:pic>
    </p:spTree>
    <p:extLst>
      <p:ext uri="{BB962C8B-B14F-4D97-AF65-F5344CB8AC3E}">
        <p14:creationId xmlns:p14="http://schemas.microsoft.com/office/powerpoint/2010/main" val="2219819426"/>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extruta 1">
            <a:extLst>
              <a:ext uri="{FF2B5EF4-FFF2-40B4-BE49-F238E27FC236}">
                <a16:creationId xmlns:a16="http://schemas.microsoft.com/office/drawing/2014/main" id="{CCE47E9F-CA6B-B8EB-E10E-1C31F83F3916}"/>
              </a:ext>
            </a:extLst>
          </p:cNvPr>
          <p:cNvSpPr txBox="1"/>
          <p:nvPr/>
        </p:nvSpPr>
        <p:spPr>
          <a:xfrm>
            <a:off x="3486150" y="3181350"/>
            <a:ext cx="11315700" cy="2215991"/>
          </a:xfrm>
          <a:prstGeom prst="rect">
            <a:avLst/>
          </a:prstGeom>
          <a:noFill/>
        </p:spPr>
        <p:txBody>
          <a:bodyPr wrap="square" rtlCol="0">
            <a:spAutoFit/>
          </a:bodyPr>
          <a:lstStyle/>
          <a:p>
            <a:pPr algn="ctr"/>
            <a:r>
              <a:rPr lang="sv-SE" sz="13800" dirty="0" err="1">
                <a:solidFill>
                  <a:schemeClr val="bg1"/>
                </a:solidFill>
              </a:rPr>
              <a:t>Fertiberia</a:t>
            </a:r>
            <a:endParaRPr lang="sv-SE" sz="13800" dirty="0">
              <a:solidFill>
                <a:schemeClr val="bg1"/>
              </a:solidFill>
            </a:endParaRPr>
          </a:p>
        </p:txBody>
      </p:sp>
    </p:spTree>
    <p:extLst>
      <p:ext uri="{BB962C8B-B14F-4D97-AF65-F5344CB8AC3E}">
        <p14:creationId xmlns:p14="http://schemas.microsoft.com/office/powerpoint/2010/main" val="2713115924"/>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descr="A close up of a road&#10;&#10;Description automatically generated">
            <a:extLst>
              <a:ext uri="{FF2B5EF4-FFF2-40B4-BE49-F238E27FC236}">
                <a16:creationId xmlns:a16="http://schemas.microsoft.com/office/drawing/2014/main" id="{8D6F7200-C8C8-4924-A4EC-00672247B088}"/>
              </a:ext>
            </a:extLst>
          </p:cNvPr>
          <p:cNvPicPr>
            <a:picLocks noChangeAspect="1"/>
          </p:cNvPicPr>
          <p:nvPr/>
        </p:nvPicPr>
        <p:blipFill>
          <a:blip r:embed="rId3" cstate="print">
            <a:alphaModFix amt="20000"/>
            <a:extLst>
              <a:ext uri="{28A0092B-C50C-407E-A947-70E740481C1C}">
                <a14:useLocalDpi xmlns:a14="http://schemas.microsoft.com/office/drawing/2010/main" val="0"/>
              </a:ext>
            </a:extLst>
          </a:blip>
          <a:stretch>
            <a:fillRect/>
          </a:stretch>
        </p:blipFill>
        <p:spPr>
          <a:xfrm>
            <a:off x="286074" y="3040002"/>
            <a:ext cx="17715829" cy="5821477"/>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6"/>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4"/>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marL="0" marR="0" lvl="0" indent="0" algn="ctr" defTabSz="914400" rtl="0" eaLnBrk="1" fontAlgn="auto" latinLnBrk="0" hangingPunct="1">
                <a:lnSpc>
                  <a:spcPts val="3919"/>
                </a:lnSpc>
                <a:spcBef>
                  <a:spcPct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OCR A Extended" panose="02010509020102010303" pitchFamily="50" charset="0"/>
                  <a:ea typeface="+mn-ea"/>
                  <a:cs typeface="+mn-cs"/>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5"/>
          <a:srcRect/>
          <a:stretch>
            <a:fillRect/>
          </a:stretch>
        </p:blipFill>
        <p:spPr>
          <a:xfrm>
            <a:off x="0" y="8901113"/>
            <a:ext cx="5715000" cy="1385887"/>
          </a:xfrm>
          <a:prstGeom prst="rect">
            <a:avLst/>
          </a:prstGeom>
        </p:spPr>
      </p:pic>
      <p:grpSp>
        <p:nvGrpSpPr>
          <p:cNvPr id="2" name="Gruppo 1">
            <a:extLst>
              <a:ext uri="{FF2B5EF4-FFF2-40B4-BE49-F238E27FC236}">
                <a16:creationId xmlns:a16="http://schemas.microsoft.com/office/drawing/2014/main" id="{D8D71BB5-458F-411D-AFA9-C648954E9F40}"/>
              </a:ext>
            </a:extLst>
          </p:cNvPr>
          <p:cNvGrpSpPr/>
          <p:nvPr/>
        </p:nvGrpSpPr>
        <p:grpSpPr>
          <a:xfrm>
            <a:off x="-12" y="138554"/>
            <a:ext cx="18288002" cy="681138"/>
            <a:chOff x="-12" y="138554"/>
            <a:chExt cx="18288002" cy="681138"/>
          </a:xfrm>
        </p:grpSpPr>
        <p:grpSp>
          <p:nvGrpSpPr>
            <p:cNvPr id="16" name="Gruppo 15">
              <a:extLst>
                <a:ext uri="{FF2B5EF4-FFF2-40B4-BE49-F238E27FC236}">
                  <a16:creationId xmlns:a16="http://schemas.microsoft.com/office/drawing/2014/main" id="{DAC42A46-917D-41AB-8F07-E15E54D0F7D4}"/>
                </a:ext>
              </a:extLst>
            </p:cNvPr>
            <p:cNvGrpSpPr/>
            <p:nvPr/>
          </p:nvGrpSpPr>
          <p:grpSpPr>
            <a:xfrm>
              <a:off x="0" y="153125"/>
              <a:ext cx="13958844" cy="666567"/>
              <a:chOff x="0" y="153125"/>
              <a:chExt cx="13958844" cy="666567"/>
            </a:xfrm>
          </p:grpSpPr>
          <p:pic>
            <p:nvPicPr>
              <p:cNvPr id="10" name="Picture 10"/>
              <p:cNvPicPr>
                <a:picLocks noChangeAspect="1"/>
              </p:cNvPicPr>
              <p:nvPr/>
            </p:nvPicPr>
            <p:blipFill>
              <a:blip r:embed="rId6"/>
              <a:srcRect l="134" t="91287" b="3943"/>
              <a:stretch>
                <a:fillRect/>
              </a:stretch>
            </p:blipFill>
            <p:spPr>
              <a:xfrm>
                <a:off x="0" y="153125"/>
                <a:ext cx="13958844" cy="666567"/>
              </a:xfrm>
              <a:prstGeom prst="rect">
                <a:avLst/>
              </a:prstGeom>
            </p:spPr>
          </p:pic>
          <p:sp>
            <p:nvSpPr>
              <p:cNvPr id="11" name="TextBox 11"/>
              <p:cNvSpPr txBox="1"/>
              <p:nvPr/>
            </p:nvSpPr>
            <p:spPr>
              <a:xfrm>
                <a:off x="228600" y="257980"/>
                <a:ext cx="5752704" cy="456856"/>
              </a:xfrm>
              <a:prstGeom prst="rect">
                <a:avLst/>
              </a:prstGeom>
            </p:spPr>
            <p:txBody>
              <a:bodyPr wrap="square" lIns="0" tIns="0" rIns="0" bIns="0" rtlCol="0" anchor="t">
                <a:spAutoFit/>
              </a:bodyPr>
              <a:lstStyle/>
              <a:p>
                <a:pPr marL="0" marR="0" lvl="0" indent="0" algn="l" defTabSz="914400" rtl="0" eaLnBrk="1" fontAlgn="auto" latinLnBrk="0" hangingPunct="1">
                  <a:lnSpc>
                    <a:spcPts val="3919"/>
                  </a:lnSpc>
                  <a:spcBef>
                    <a:spcPct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2" name="Rettangolo 11">
              <a:extLst>
                <a:ext uri="{FF2B5EF4-FFF2-40B4-BE49-F238E27FC236}">
                  <a16:creationId xmlns:a16="http://schemas.microsoft.com/office/drawing/2014/main" id="{F2E90E36-F5DF-479E-BF3B-C6F6A1CEA4E7}"/>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9" name="TextBox 14">
            <a:extLst>
              <a:ext uri="{FF2B5EF4-FFF2-40B4-BE49-F238E27FC236}">
                <a16:creationId xmlns:a16="http://schemas.microsoft.com/office/drawing/2014/main" id="{B5C457C5-5E6A-4DD1-9F95-583C431D5128}"/>
              </a:ext>
            </a:extLst>
          </p:cNvPr>
          <p:cNvSpPr txBox="1"/>
          <p:nvPr/>
        </p:nvSpPr>
        <p:spPr>
          <a:xfrm>
            <a:off x="773531" y="4711033"/>
            <a:ext cx="7162789" cy="2462213"/>
          </a:xfrm>
          <a:prstGeom prst="rect">
            <a:avLst/>
          </a:prstGeom>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
                <a:srgbClr val="F2F2F2"/>
              </a:buClr>
              <a:buSzTx/>
              <a:buFontTx/>
              <a:buNone/>
              <a:tabLst/>
              <a:defRPr/>
            </a:pPr>
            <a:r>
              <a:rPr kumimoji="0" lang="en-US" sz="3200" b="1" i="0" u="none" strike="noStrike" kern="1200" cap="none" spc="0" normalizeH="0" baseline="0" noProof="0">
                <a:ln>
                  <a:noFill/>
                </a:ln>
                <a:solidFill>
                  <a:srgbClr val="CC0033"/>
                </a:solidFill>
                <a:effectLst/>
                <a:uLnTx/>
                <a:uFillTx/>
                <a:latin typeface="Arial"/>
                <a:ea typeface="+mn-ea"/>
                <a:cs typeface="+mn-cs"/>
              </a:rPr>
              <a:t>Retrofitting actions</a:t>
            </a:r>
          </a:p>
          <a:p>
            <a:pPr marL="0" marR="0" lvl="0" indent="0" algn="l" defTabSz="914400" rtl="0" eaLnBrk="1" fontAlgn="auto" latinLnBrk="0" hangingPunct="1">
              <a:lnSpc>
                <a:spcPct val="100000"/>
              </a:lnSpc>
              <a:spcBef>
                <a:spcPts val="0"/>
              </a:spcBef>
              <a:spcAft>
                <a:spcPts val="0"/>
              </a:spcAft>
              <a:buClr>
                <a:srgbClr val="F2F2F2"/>
              </a:buClr>
              <a:buSzTx/>
              <a:buFontTx/>
              <a:buNone/>
              <a:tabLst/>
              <a:defRPr/>
            </a:pPr>
            <a:endParaRPr kumimoji="0" lang="en-US" sz="3200" b="1" i="0" u="none" strike="noStrike" kern="1200" cap="none" spc="0" normalizeH="0" baseline="0" noProof="0">
              <a:ln>
                <a:noFill/>
              </a:ln>
              <a:solidFill>
                <a:srgbClr val="2F2F2F"/>
              </a:solidFill>
              <a:effectLst/>
              <a:uLnTx/>
              <a:uFillTx/>
              <a:latin typeface="Arial"/>
              <a:ea typeface="+mn-ea"/>
              <a:cs typeface="+mn-cs"/>
            </a:endParaRPr>
          </a:p>
          <a:p>
            <a:pPr marL="457200" marR="0" lvl="0" indent="-457200" algn="l" defTabSz="914400" rtl="0" eaLnBrk="1" fontAlgn="auto" latinLnBrk="0" hangingPunct="1">
              <a:lnSpc>
                <a:spcPct val="100000"/>
              </a:lnSpc>
              <a:spcBef>
                <a:spcPts val="0"/>
              </a:spcBef>
              <a:spcAft>
                <a:spcPts val="0"/>
              </a:spcAft>
              <a:buClr>
                <a:srgbClr val="CC0033"/>
              </a:buClr>
              <a:buSzTx/>
              <a:buFont typeface="Wingdings" panose="05000000000000000000" pitchFamily="2" charset="2"/>
              <a:buChar char="ü"/>
              <a:tabLst/>
              <a:defRPr/>
            </a:pPr>
            <a:r>
              <a:rPr kumimoji="0" lang="en-US" sz="3200" b="1" i="0" u="none" strike="noStrike" kern="1200" cap="none" spc="0" normalizeH="0" baseline="0" noProof="0">
                <a:ln>
                  <a:noFill/>
                </a:ln>
                <a:solidFill>
                  <a:srgbClr val="2F2F2F"/>
                </a:solidFill>
                <a:effectLst/>
                <a:uLnTx/>
                <a:uFillTx/>
                <a:latin typeface="Arial"/>
                <a:ea typeface="+mn-ea"/>
                <a:cs typeface="+mn-cs"/>
              </a:rPr>
              <a:t>New design of an in-line reactor for alternative phosphorus sources. </a:t>
            </a:r>
            <a:endParaRPr kumimoji="0" lang="es-ES" sz="3200" b="1" i="0" u="none" strike="noStrike" kern="1200" cap="none" spc="0" normalizeH="0" baseline="0" noProof="0">
              <a:ln>
                <a:noFill/>
              </a:ln>
              <a:solidFill>
                <a:srgbClr val="2F2F2F"/>
              </a:solidFill>
              <a:effectLst/>
              <a:uLnTx/>
              <a:uFillTx/>
              <a:latin typeface="Arial"/>
              <a:ea typeface="+mn-ea"/>
              <a:cs typeface="+mn-cs"/>
            </a:endParaRPr>
          </a:p>
        </p:txBody>
      </p:sp>
      <p:sp>
        <p:nvSpPr>
          <p:cNvPr id="26" name="TextBox 14">
            <a:extLst>
              <a:ext uri="{FF2B5EF4-FFF2-40B4-BE49-F238E27FC236}">
                <a16:creationId xmlns:a16="http://schemas.microsoft.com/office/drawing/2014/main" id="{7D36EA49-80B0-4761-8A24-F05F322EAC77}"/>
              </a:ext>
            </a:extLst>
          </p:cNvPr>
          <p:cNvSpPr txBox="1"/>
          <p:nvPr/>
        </p:nvSpPr>
        <p:spPr>
          <a:xfrm>
            <a:off x="9372601" y="3242306"/>
            <a:ext cx="8511346" cy="5170646"/>
          </a:xfrm>
          <a:prstGeom prst="rect">
            <a:avLst/>
          </a:prstGeom>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
                <a:srgbClr val="F2F2F2"/>
              </a:buClr>
              <a:buSzTx/>
              <a:buFontTx/>
              <a:buNone/>
              <a:tabLst/>
              <a:defRPr/>
            </a:pPr>
            <a:r>
              <a:rPr kumimoji="0" lang="en-US" sz="2800" b="1" i="0" u="none" strike="noStrike" kern="1200" cap="none" spc="0" normalizeH="0" baseline="0" noProof="0">
                <a:ln>
                  <a:noFill/>
                </a:ln>
                <a:solidFill>
                  <a:srgbClr val="99CC99">
                    <a:lumMod val="75000"/>
                  </a:srgbClr>
                </a:solidFill>
                <a:effectLst/>
                <a:uLnTx/>
                <a:uFillTx/>
                <a:latin typeface="Arial"/>
                <a:ea typeface="+mn-ea"/>
                <a:cs typeface="+mn-cs"/>
              </a:rPr>
              <a:t>Goals</a:t>
            </a:r>
          </a:p>
          <a:p>
            <a:pPr marL="0" marR="0" lvl="0" indent="0" algn="l" defTabSz="914400" rtl="0" eaLnBrk="1" fontAlgn="auto" latinLnBrk="0" hangingPunct="1">
              <a:lnSpc>
                <a:spcPct val="100000"/>
              </a:lnSpc>
              <a:spcBef>
                <a:spcPts val="0"/>
              </a:spcBef>
              <a:spcAft>
                <a:spcPts val="0"/>
              </a:spcAft>
              <a:buClr>
                <a:srgbClr val="F2F2F2"/>
              </a:buClr>
              <a:buSzTx/>
              <a:buFontTx/>
              <a:buNone/>
              <a:tabLst/>
              <a:defRPr/>
            </a:pPr>
            <a:endParaRPr kumimoji="0" lang="en-US" sz="2800" b="1" i="0" u="none" strike="noStrike" kern="1200" cap="none" spc="0" normalizeH="0" baseline="0" noProof="0">
              <a:ln>
                <a:noFill/>
              </a:ln>
              <a:solidFill>
                <a:srgbClr val="2F2F2F"/>
              </a:solidFill>
              <a:effectLst/>
              <a:uLnTx/>
              <a:uFillTx/>
              <a:latin typeface="Arial"/>
              <a:ea typeface="+mn-ea"/>
              <a:cs typeface="+mn-cs"/>
            </a:endParaRPr>
          </a:p>
          <a:p>
            <a:pPr marL="457200" marR="0" lvl="0" indent="-457200" algn="l" defTabSz="914400" rtl="0" eaLnBrk="1" fontAlgn="auto" latinLnBrk="0" hangingPunct="1">
              <a:lnSpc>
                <a:spcPct val="100000"/>
              </a:lnSpc>
              <a:spcBef>
                <a:spcPts val="0"/>
              </a:spcBef>
              <a:spcAft>
                <a:spcPts val="0"/>
              </a:spcAft>
              <a:buClr>
                <a:srgbClr val="99CC99">
                  <a:lumMod val="75000"/>
                </a:srgbClr>
              </a:buClr>
              <a:buSzTx/>
              <a:buFont typeface="Wingdings" panose="05000000000000000000" pitchFamily="2" charset="2"/>
              <a:buChar char="ü"/>
              <a:tabLst/>
              <a:defRPr/>
            </a:pPr>
            <a:r>
              <a:rPr kumimoji="0" lang="en-GB" sz="2800" b="1" i="0" u="none" strike="noStrike" kern="1200" cap="none" spc="0" normalizeH="0" baseline="0" noProof="0">
                <a:ln>
                  <a:noFill/>
                </a:ln>
                <a:solidFill>
                  <a:srgbClr val="2F2F2F"/>
                </a:solidFill>
                <a:effectLst/>
                <a:uLnTx/>
                <a:uFillTx/>
                <a:latin typeface="Arial"/>
                <a:ea typeface="+mn-ea"/>
                <a:cs typeface="+mn-cs"/>
              </a:rPr>
              <a:t>Replace at least 10% of the currently used phosphorous sources.</a:t>
            </a:r>
          </a:p>
          <a:p>
            <a:pPr marL="457200" marR="0" lvl="0" indent="-457200" algn="l" defTabSz="914400" rtl="0" eaLnBrk="1" fontAlgn="auto" latinLnBrk="0" hangingPunct="1">
              <a:lnSpc>
                <a:spcPct val="100000"/>
              </a:lnSpc>
              <a:spcBef>
                <a:spcPts val="0"/>
              </a:spcBef>
              <a:spcAft>
                <a:spcPts val="0"/>
              </a:spcAft>
              <a:buClr>
                <a:srgbClr val="99CC99"/>
              </a:buClr>
              <a:buSzTx/>
              <a:buFont typeface="Wingdings" panose="05000000000000000000" pitchFamily="2" charset="2"/>
              <a:buChar char="ü"/>
              <a:tabLst/>
              <a:defRPr/>
            </a:pPr>
            <a:endParaRPr kumimoji="0" lang="en-GB" sz="2800" b="1" i="0" u="none" strike="noStrike" kern="1200" cap="none" spc="0" normalizeH="0" baseline="0" noProof="0">
              <a:ln>
                <a:noFill/>
              </a:ln>
              <a:solidFill>
                <a:srgbClr val="2F2F2F"/>
              </a:solidFill>
              <a:effectLst/>
              <a:uLnTx/>
              <a:uFillTx/>
              <a:latin typeface="Arial"/>
              <a:ea typeface="+mn-ea"/>
              <a:cs typeface="+mn-cs"/>
            </a:endParaRPr>
          </a:p>
          <a:p>
            <a:pPr marL="457200" marR="0" lvl="0" indent="-457200" algn="l" defTabSz="914400" rtl="0" eaLnBrk="1" fontAlgn="auto" latinLnBrk="0" hangingPunct="1">
              <a:lnSpc>
                <a:spcPct val="100000"/>
              </a:lnSpc>
              <a:spcBef>
                <a:spcPts val="0"/>
              </a:spcBef>
              <a:spcAft>
                <a:spcPts val="0"/>
              </a:spcAft>
              <a:buClr>
                <a:srgbClr val="99CC99">
                  <a:lumMod val="75000"/>
                </a:srgbClr>
              </a:buClr>
              <a:buSzTx/>
              <a:buFont typeface="Wingdings" panose="05000000000000000000" pitchFamily="2" charset="2"/>
              <a:buChar char="ü"/>
              <a:tabLst/>
              <a:defRPr/>
            </a:pPr>
            <a:r>
              <a:rPr kumimoji="0" lang="en-GB" sz="2800" b="1" i="0" u="none" strike="noStrike" kern="1200" cap="none" spc="0" normalizeH="0" baseline="0" noProof="0">
                <a:ln>
                  <a:noFill/>
                </a:ln>
                <a:solidFill>
                  <a:srgbClr val="2F2F2F"/>
                </a:solidFill>
                <a:effectLst/>
                <a:uLnTx/>
                <a:uFillTx/>
                <a:latin typeface="Arial"/>
                <a:ea typeface="+mn-ea"/>
                <a:cs typeface="+mn-cs"/>
              </a:rPr>
              <a:t>Recover valuable raw materials from wastes such as ashes, </a:t>
            </a:r>
            <a:r>
              <a:rPr kumimoji="0" lang="en-GB" sz="2800" b="1" i="0" u="none" strike="noStrike" kern="1200" cap="none" spc="0" normalizeH="0" baseline="0" noProof="0" err="1">
                <a:ln>
                  <a:noFill/>
                </a:ln>
                <a:solidFill>
                  <a:srgbClr val="2F2F2F"/>
                </a:solidFill>
                <a:effectLst/>
                <a:uLnTx/>
                <a:uFillTx/>
                <a:latin typeface="Arial"/>
                <a:ea typeface="+mn-ea"/>
                <a:cs typeface="+mn-cs"/>
              </a:rPr>
              <a:t>struvites</a:t>
            </a:r>
            <a:r>
              <a:rPr kumimoji="0" lang="en-GB" sz="2800" b="1" i="0" u="none" strike="noStrike" kern="1200" cap="none" spc="0" normalizeH="0" baseline="0" noProof="0">
                <a:ln>
                  <a:noFill/>
                </a:ln>
                <a:solidFill>
                  <a:srgbClr val="2F2F2F"/>
                </a:solidFill>
                <a:effectLst/>
                <a:uLnTx/>
                <a:uFillTx/>
                <a:latin typeface="Arial"/>
                <a:ea typeface="+mn-ea"/>
                <a:cs typeface="+mn-cs"/>
              </a:rPr>
              <a:t>, etc.</a:t>
            </a:r>
          </a:p>
          <a:p>
            <a:pPr marL="457200" marR="0" lvl="0" indent="-457200" algn="l" defTabSz="914400" rtl="0" eaLnBrk="1" fontAlgn="auto" latinLnBrk="0" hangingPunct="1">
              <a:lnSpc>
                <a:spcPct val="100000"/>
              </a:lnSpc>
              <a:spcBef>
                <a:spcPts val="0"/>
              </a:spcBef>
              <a:spcAft>
                <a:spcPts val="0"/>
              </a:spcAft>
              <a:buClr>
                <a:srgbClr val="99CC99"/>
              </a:buClr>
              <a:buSzTx/>
              <a:buFont typeface="Wingdings" panose="05000000000000000000" pitchFamily="2" charset="2"/>
              <a:buChar char="ü"/>
              <a:tabLst/>
              <a:defRPr/>
            </a:pPr>
            <a:endParaRPr kumimoji="0" lang="en-US" sz="2800" b="1" i="0" u="none" strike="noStrike" kern="1200" cap="none" spc="0" normalizeH="0" baseline="0" noProof="0">
              <a:ln>
                <a:noFill/>
              </a:ln>
              <a:solidFill>
                <a:srgbClr val="2F2F2F"/>
              </a:solidFill>
              <a:effectLst/>
              <a:uLnTx/>
              <a:uFillTx/>
              <a:latin typeface="Arial"/>
              <a:ea typeface="+mn-ea"/>
              <a:cs typeface="+mn-cs"/>
            </a:endParaRPr>
          </a:p>
          <a:p>
            <a:pPr marL="457200" marR="0" lvl="0" indent="-457200" algn="l" defTabSz="914400" rtl="0" eaLnBrk="1" fontAlgn="auto" latinLnBrk="0" hangingPunct="1">
              <a:lnSpc>
                <a:spcPct val="100000"/>
              </a:lnSpc>
              <a:spcBef>
                <a:spcPts val="0"/>
              </a:spcBef>
              <a:spcAft>
                <a:spcPts val="0"/>
              </a:spcAft>
              <a:buClr>
                <a:srgbClr val="99CC99">
                  <a:lumMod val="75000"/>
                </a:srgbClr>
              </a:buClr>
              <a:buSzTx/>
              <a:buFont typeface="Wingdings" panose="05000000000000000000" pitchFamily="2" charset="2"/>
              <a:buChar char="ü"/>
              <a:tabLst/>
              <a:defRPr/>
            </a:pPr>
            <a:r>
              <a:rPr kumimoji="0" lang="en-US" sz="2800" b="1" i="0" u="none" strike="noStrike" kern="1200" cap="none" spc="0" normalizeH="0" baseline="0" noProof="0">
                <a:ln>
                  <a:noFill/>
                </a:ln>
                <a:solidFill>
                  <a:srgbClr val="2F2F2F"/>
                </a:solidFill>
                <a:effectLst/>
                <a:uLnTx/>
                <a:uFillTx/>
                <a:latin typeface="Arial"/>
                <a:ea typeface="+mn-ea"/>
                <a:cs typeface="+mn-cs"/>
              </a:rPr>
              <a:t>Reduction of cost and energy consumption (reduction of CO2 emission).</a:t>
            </a:r>
          </a:p>
          <a:p>
            <a:pPr marL="457200" marR="0" lvl="0" indent="-457200" algn="l" defTabSz="914400" rtl="0" eaLnBrk="1" fontAlgn="auto" latinLnBrk="0" hangingPunct="1">
              <a:lnSpc>
                <a:spcPct val="100000"/>
              </a:lnSpc>
              <a:spcBef>
                <a:spcPts val="0"/>
              </a:spcBef>
              <a:spcAft>
                <a:spcPts val="0"/>
              </a:spcAft>
              <a:buClr>
                <a:srgbClr val="99CC99"/>
              </a:buClr>
              <a:buSzTx/>
              <a:buFont typeface="Wingdings" panose="05000000000000000000" pitchFamily="2" charset="2"/>
              <a:buChar char="ü"/>
              <a:tabLst/>
              <a:defRPr/>
            </a:pPr>
            <a:endParaRPr kumimoji="0" lang="en-US" sz="2800" b="1" i="0" u="none" strike="noStrike" kern="1200" cap="none" spc="0" normalizeH="0" baseline="0" noProof="0">
              <a:ln>
                <a:noFill/>
              </a:ln>
              <a:solidFill>
                <a:srgbClr val="2F2F2F"/>
              </a:solidFill>
              <a:effectLst/>
              <a:uLnTx/>
              <a:uFillTx/>
              <a:latin typeface="Arial"/>
              <a:ea typeface="+mn-ea"/>
              <a:cs typeface="+mn-cs"/>
            </a:endParaRPr>
          </a:p>
          <a:p>
            <a:pPr marL="457200" marR="0" lvl="0" indent="-457200" algn="l" defTabSz="914400" rtl="0" eaLnBrk="1" fontAlgn="auto" latinLnBrk="0" hangingPunct="1">
              <a:lnSpc>
                <a:spcPct val="100000"/>
              </a:lnSpc>
              <a:spcBef>
                <a:spcPts val="0"/>
              </a:spcBef>
              <a:spcAft>
                <a:spcPts val="0"/>
              </a:spcAft>
              <a:buClr>
                <a:srgbClr val="99CC99">
                  <a:lumMod val="75000"/>
                </a:srgbClr>
              </a:buClr>
              <a:buSzTx/>
              <a:buFont typeface="Wingdings" panose="05000000000000000000" pitchFamily="2" charset="2"/>
              <a:buChar char="ü"/>
              <a:tabLst/>
              <a:defRPr/>
            </a:pPr>
            <a:r>
              <a:rPr kumimoji="0" lang="en-US" sz="2800" b="1" i="0" u="none" strike="noStrike" kern="1200" cap="none" spc="0" normalizeH="0" baseline="0" noProof="0">
                <a:ln>
                  <a:noFill/>
                </a:ln>
                <a:solidFill>
                  <a:srgbClr val="2F2F2F"/>
                </a:solidFill>
                <a:effectLst/>
                <a:uLnTx/>
                <a:uFillTx/>
                <a:latin typeface="Arial"/>
                <a:ea typeface="+mn-ea"/>
                <a:cs typeface="+mn-cs"/>
              </a:rPr>
              <a:t>M&amp;C system improvement.</a:t>
            </a:r>
            <a:endParaRPr kumimoji="0" lang="es-ES" sz="2800" b="1" i="0" u="none" strike="noStrike" kern="1200" cap="none" spc="0" normalizeH="0" baseline="0" noProof="0">
              <a:ln>
                <a:noFill/>
              </a:ln>
              <a:solidFill>
                <a:srgbClr val="2F2F2F"/>
              </a:solidFill>
              <a:effectLst/>
              <a:uLnTx/>
              <a:uFillTx/>
              <a:latin typeface="Arial"/>
              <a:ea typeface="+mn-ea"/>
              <a:cs typeface="+mn-cs"/>
            </a:endParaRPr>
          </a:p>
        </p:txBody>
      </p:sp>
      <p:cxnSp>
        <p:nvCxnSpPr>
          <p:cNvPr id="21" name="Conector recto 20">
            <a:extLst>
              <a:ext uri="{FF2B5EF4-FFF2-40B4-BE49-F238E27FC236}">
                <a16:creationId xmlns:a16="http://schemas.microsoft.com/office/drawing/2014/main" id="{6FC5688E-FA35-45DB-8675-BD50E91004D5}"/>
              </a:ext>
            </a:extLst>
          </p:cNvPr>
          <p:cNvCxnSpPr>
            <a:cxnSpLocks/>
          </p:cNvCxnSpPr>
          <p:nvPr/>
        </p:nvCxnSpPr>
        <p:spPr>
          <a:xfrm>
            <a:off x="8915400" y="3040002"/>
            <a:ext cx="0" cy="2880000"/>
          </a:xfrm>
          <a:prstGeom prst="line">
            <a:avLst/>
          </a:prstGeom>
          <a:ln w="63500"/>
        </p:spPr>
        <p:style>
          <a:lnRef idx="1">
            <a:schemeClr val="accent1"/>
          </a:lnRef>
          <a:fillRef idx="0">
            <a:schemeClr val="accent1"/>
          </a:fillRef>
          <a:effectRef idx="0">
            <a:schemeClr val="accent1"/>
          </a:effectRef>
          <a:fontRef idx="minor">
            <a:schemeClr val="tx1"/>
          </a:fontRef>
        </p:style>
      </p:cxnSp>
      <p:cxnSp>
        <p:nvCxnSpPr>
          <p:cNvPr id="22" name="Conector recto 21">
            <a:extLst>
              <a:ext uri="{FF2B5EF4-FFF2-40B4-BE49-F238E27FC236}">
                <a16:creationId xmlns:a16="http://schemas.microsoft.com/office/drawing/2014/main" id="{BDDCA4B0-4414-4BBC-A6F3-7F4FC6B01A01}"/>
              </a:ext>
            </a:extLst>
          </p:cNvPr>
          <p:cNvCxnSpPr>
            <a:cxnSpLocks/>
          </p:cNvCxnSpPr>
          <p:nvPr/>
        </p:nvCxnSpPr>
        <p:spPr>
          <a:xfrm>
            <a:off x="8915400" y="5920002"/>
            <a:ext cx="0" cy="2981111"/>
          </a:xfrm>
          <a:prstGeom prst="line">
            <a:avLst/>
          </a:prstGeom>
          <a:ln w="63500">
            <a:solidFill>
              <a:srgbClr val="99CC99"/>
            </a:solidFill>
          </a:ln>
        </p:spPr>
        <p:style>
          <a:lnRef idx="1">
            <a:schemeClr val="accent1"/>
          </a:lnRef>
          <a:fillRef idx="0">
            <a:schemeClr val="accent1"/>
          </a:fillRef>
          <a:effectRef idx="0">
            <a:schemeClr val="accent1"/>
          </a:effectRef>
          <a:fontRef idx="minor">
            <a:schemeClr val="tx1"/>
          </a:fontRef>
        </p:style>
      </p:cxnSp>
      <p:pic>
        <p:nvPicPr>
          <p:cNvPr id="4" name="Imagen 117">
            <a:extLst>
              <a:ext uri="{FF2B5EF4-FFF2-40B4-BE49-F238E27FC236}">
                <a16:creationId xmlns:a16="http://schemas.microsoft.com/office/drawing/2014/main" id="{EB7893A8-61CD-43A4-B79A-81E1004AE936}"/>
              </a:ext>
            </a:extLst>
          </p:cNvPr>
          <p:cNvPicPr>
            <a:picLocks noChangeAspect="1"/>
          </p:cNvPicPr>
          <p:nvPr/>
        </p:nvPicPr>
        <p:blipFill>
          <a:blip r:embed="rId7"/>
          <a:stretch>
            <a:fillRect/>
          </a:stretch>
        </p:blipFill>
        <p:spPr>
          <a:xfrm>
            <a:off x="14079867" y="834263"/>
            <a:ext cx="2950385" cy="1105105"/>
          </a:xfrm>
          <a:prstGeom prst="rect">
            <a:avLst/>
          </a:prstGeom>
        </p:spPr>
      </p:pic>
      <p:sp>
        <p:nvSpPr>
          <p:cNvPr id="3" name="TextBox 13">
            <a:extLst>
              <a:ext uri="{FF2B5EF4-FFF2-40B4-BE49-F238E27FC236}">
                <a16:creationId xmlns:a16="http://schemas.microsoft.com/office/drawing/2014/main" id="{CFB3F7EA-82FC-502A-E969-16FC694A05DE}"/>
              </a:ext>
            </a:extLst>
          </p:cNvPr>
          <p:cNvSpPr txBox="1"/>
          <p:nvPr/>
        </p:nvSpPr>
        <p:spPr>
          <a:xfrm>
            <a:off x="286074" y="1046853"/>
            <a:ext cx="16194314" cy="1040798"/>
          </a:xfrm>
          <a:prstGeom prst="rect">
            <a:avLst/>
          </a:prstGeom>
        </p:spPr>
        <p:txBody>
          <a:bodyPr wrap="square" lIns="0" tIns="0" rIns="0" bIns="0" rtlCol="0" anchor="t">
            <a:spAutoFit/>
          </a:bodyPr>
          <a:lstStyle/>
          <a:p>
            <a:pPr marL="0" marR="0" lvl="0" indent="0" algn="ctr" defTabSz="914445" rtl="0" eaLnBrk="1" fontAlgn="auto" latinLnBrk="0" hangingPunct="1">
              <a:lnSpc>
                <a:spcPts val="8961"/>
              </a:lnSpc>
              <a:spcBef>
                <a:spcPct val="0"/>
              </a:spcBef>
              <a:spcAft>
                <a:spcPts val="0"/>
              </a:spcAft>
              <a:buClrTx/>
              <a:buSzTx/>
              <a:buFontTx/>
              <a:buNone/>
              <a:tabLst/>
              <a:defRPr/>
            </a:pPr>
            <a:r>
              <a:rPr kumimoji="0" lang="en-US" sz="6000" b="1" i="0" u="none" strike="noStrike" kern="1200" cap="none" spc="0" normalizeH="0" baseline="0" noProof="0" dirty="0">
                <a:ln>
                  <a:noFill/>
                </a:ln>
                <a:solidFill>
                  <a:srgbClr val="CC0033"/>
                </a:solidFill>
                <a:effectLst/>
                <a:uLnTx/>
                <a:uFillTx/>
                <a:latin typeface="Arial"/>
                <a:ea typeface="+mn-ea"/>
                <a:cs typeface="Arial" panose="020B0604020202020204" pitchFamily="34" charset="0"/>
              </a:rPr>
              <a:t>Actions, goals and results at</a:t>
            </a:r>
          </a:p>
        </p:txBody>
      </p:sp>
    </p:spTree>
    <p:extLst>
      <p:ext uri="{BB962C8B-B14F-4D97-AF65-F5344CB8AC3E}">
        <p14:creationId xmlns:p14="http://schemas.microsoft.com/office/powerpoint/2010/main" val="3671488744"/>
      </p:ext>
    </p:extLst>
  </p:cSld>
  <p:clrMapOvr>
    <a:masterClrMapping/>
  </p:clrMapOvr>
  <mc:AlternateContent xmlns:mc="http://schemas.openxmlformats.org/markup-compatibility/2006" xmlns:p14="http://schemas.microsoft.com/office/powerpoint/2010/main">
    <mc:Choice Requires="p14">
      <p:transition spd="slow" p14:dur="2000" advTm="57810"/>
    </mc:Choice>
    <mc:Fallback xmlns="">
      <p:transition spd="slow" advTm="57810"/>
    </mc:Fallback>
  </mc:AlternateContent>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13">
            <a:extLst>
              <a:ext uri="{FF2B5EF4-FFF2-40B4-BE49-F238E27FC236}">
                <a16:creationId xmlns:a16="http://schemas.microsoft.com/office/drawing/2014/main" id="{FAE9CDFC-B7A3-4F86-9A78-CC6346C2B57E}"/>
              </a:ext>
            </a:extLst>
          </p:cNvPr>
          <p:cNvSpPr txBox="1"/>
          <p:nvPr/>
        </p:nvSpPr>
        <p:spPr>
          <a:xfrm>
            <a:off x="9394634" y="2588243"/>
            <a:ext cx="4597760" cy="801310"/>
          </a:xfrm>
          <a:prstGeom prst="rect">
            <a:avLst/>
          </a:prstGeom>
        </p:spPr>
        <p:txBody>
          <a:bodyPr wrap="square" lIns="0" tIns="0" rIns="0" bIns="0" rtlCol="0" anchor="ctr">
            <a:spAutoFit/>
          </a:bodyPr>
          <a:lstStyle/>
          <a:p>
            <a:pPr algn="ctr" defTabSz="1243767">
              <a:lnSpc>
                <a:spcPts val="7126"/>
              </a:lnSpc>
              <a:spcBef>
                <a:spcPct val="0"/>
              </a:spcBef>
            </a:pPr>
            <a:endParaRPr lang="en-US" sz="3500" b="1" dirty="0">
              <a:solidFill>
                <a:srgbClr val="4F81BD"/>
              </a:solidFill>
              <a:latin typeface="Calibri"/>
              <a:cs typeface="Arial" panose="020B0604020202020204" pitchFamily="34" charset="0"/>
            </a:endParaRPr>
          </a:p>
        </p:txBody>
      </p:sp>
      <p:sp>
        <p:nvSpPr>
          <p:cNvPr id="25" name="TextBox 13">
            <a:extLst>
              <a:ext uri="{FF2B5EF4-FFF2-40B4-BE49-F238E27FC236}">
                <a16:creationId xmlns:a16="http://schemas.microsoft.com/office/drawing/2014/main" id="{F655B051-383E-4AEC-9F6A-073441C0509D}"/>
              </a:ext>
            </a:extLst>
          </p:cNvPr>
          <p:cNvSpPr txBox="1"/>
          <p:nvPr/>
        </p:nvSpPr>
        <p:spPr>
          <a:xfrm>
            <a:off x="1474096" y="2156151"/>
            <a:ext cx="6847192" cy="774956"/>
          </a:xfrm>
          <a:prstGeom prst="rect">
            <a:avLst/>
          </a:prstGeom>
        </p:spPr>
        <p:txBody>
          <a:bodyPr wrap="square" lIns="0" tIns="0" rIns="0" bIns="0" rtlCol="0" anchor="ctr">
            <a:spAutoFit/>
          </a:bodyPr>
          <a:lstStyle/>
          <a:p>
            <a:pPr algn="ctr" defTabSz="1243767">
              <a:lnSpc>
                <a:spcPts val="7126"/>
              </a:lnSpc>
              <a:spcBef>
                <a:spcPct val="0"/>
              </a:spcBef>
            </a:pPr>
            <a:r>
              <a:rPr lang="en-US" sz="2720" b="1" dirty="0">
                <a:solidFill>
                  <a:srgbClr val="9BBB59">
                    <a:lumMod val="50000"/>
                  </a:srgbClr>
                </a:solidFill>
                <a:latin typeface="Calibri"/>
                <a:cs typeface="Arial" panose="020B0604020202020204" pitchFamily="34" charset="0"/>
              </a:rPr>
              <a:t>GRANULATOR MODIFICATIONS</a:t>
            </a:r>
          </a:p>
        </p:txBody>
      </p:sp>
      <p:pic>
        <p:nvPicPr>
          <p:cNvPr id="7" name="Picture 4" descr="NPK 239">
            <a:extLst>
              <a:ext uri="{FF2B5EF4-FFF2-40B4-BE49-F238E27FC236}">
                <a16:creationId xmlns:a16="http://schemas.microsoft.com/office/drawing/2014/main" id="{27DFACA5-1BFD-BA15-FD98-3AE4AB770A4A}"/>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786298" y="3227221"/>
            <a:ext cx="4200803" cy="2871399"/>
          </a:xfrm>
          <a:prstGeom prst="rect">
            <a:avLst/>
          </a:prstGeom>
          <a:noFill/>
          <a:ln w="25400">
            <a:solidFill>
              <a:srgbClr val="008000"/>
            </a:solidFill>
            <a:miter lim="800000"/>
            <a:headEnd/>
            <a:tailEnd/>
          </a:ln>
          <a:extLst>
            <a:ext uri="{909E8E84-426E-40DD-AFC4-6F175D3DCCD1}">
              <a14:hiddenFill xmlns:a14="http://schemas.microsoft.com/office/drawing/2010/main">
                <a:solidFill>
                  <a:srgbClr val="FFFFFF"/>
                </a:solidFill>
              </a14:hiddenFill>
            </a:ext>
          </a:extLst>
        </p:spPr>
      </p:pic>
      <p:pic>
        <p:nvPicPr>
          <p:cNvPr id="5" name="Imagen 4">
            <a:extLst>
              <a:ext uri="{FF2B5EF4-FFF2-40B4-BE49-F238E27FC236}">
                <a16:creationId xmlns:a16="http://schemas.microsoft.com/office/drawing/2014/main" id="{3C885642-4E0F-1616-FBCB-A6DBAD57464E}"/>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722642" y="5810280"/>
            <a:ext cx="5030217" cy="3057899"/>
          </a:xfrm>
          <a:prstGeom prst="rect">
            <a:avLst/>
          </a:prstGeom>
          <a:noFill/>
          <a:ln>
            <a:noFill/>
          </a:ln>
        </p:spPr>
      </p:pic>
      <p:grpSp>
        <p:nvGrpSpPr>
          <p:cNvPr id="6" name="Gruppo 2">
            <a:extLst>
              <a:ext uri="{FF2B5EF4-FFF2-40B4-BE49-F238E27FC236}">
                <a16:creationId xmlns:a16="http://schemas.microsoft.com/office/drawing/2014/main" id="{B2932D74-7BEF-C4C4-8412-96CF83551A5D}"/>
              </a:ext>
            </a:extLst>
          </p:cNvPr>
          <p:cNvGrpSpPr/>
          <p:nvPr/>
        </p:nvGrpSpPr>
        <p:grpSpPr>
          <a:xfrm>
            <a:off x="1871411" y="13441"/>
            <a:ext cx="14545180" cy="541737"/>
            <a:chOff x="-12" y="138554"/>
            <a:chExt cx="18288002" cy="681138"/>
          </a:xfrm>
        </p:grpSpPr>
        <p:pic>
          <p:nvPicPr>
            <p:cNvPr id="8" name="Picture 10">
              <a:extLst>
                <a:ext uri="{FF2B5EF4-FFF2-40B4-BE49-F238E27FC236}">
                  <a16:creationId xmlns:a16="http://schemas.microsoft.com/office/drawing/2014/main" id="{52F288B3-E496-746C-891D-39A7B2F02E15}"/>
                </a:ext>
              </a:extLst>
            </p:cNvPr>
            <p:cNvPicPr>
              <a:picLocks noChangeAspect="1"/>
            </p:cNvPicPr>
            <p:nvPr/>
          </p:nvPicPr>
          <p:blipFill>
            <a:blip r:embed="rId4"/>
            <a:srcRect l="134" t="91287" b="3943"/>
            <a:stretch>
              <a:fillRect/>
            </a:stretch>
          </p:blipFill>
          <p:spPr>
            <a:xfrm>
              <a:off x="0" y="153125"/>
              <a:ext cx="13958844" cy="666567"/>
            </a:xfrm>
            <a:prstGeom prst="rect">
              <a:avLst/>
            </a:prstGeom>
          </p:spPr>
        </p:pic>
        <p:sp>
          <p:nvSpPr>
            <p:cNvPr id="9" name="Rettangolo 13">
              <a:extLst>
                <a:ext uri="{FF2B5EF4-FFF2-40B4-BE49-F238E27FC236}">
                  <a16:creationId xmlns:a16="http://schemas.microsoft.com/office/drawing/2014/main" id="{C1007E5A-1190-CFD0-0383-38E2159D76D2}"/>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43767"/>
              <a:endParaRPr lang="en-GB" sz="1431">
                <a:solidFill>
                  <a:prstClr val="white"/>
                </a:solidFill>
                <a:latin typeface="Calibri"/>
              </a:endParaRPr>
            </a:p>
          </p:txBody>
        </p:sp>
      </p:grpSp>
      <p:sp>
        <p:nvSpPr>
          <p:cNvPr id="13" name="TextBox 11">
            <a:extLst>
              <a:ext uri="{FF2B5EF4-FFF2-40B4-BE49-F238E27FC236}">
                <a16:creationId xmlns:a16="http://schemas.microsoft.com/office/drawing/2014/main" id="{D8503155-944A-E2D2-3EC5-7AE7D16B3235}"/>
              </a:ext>
            </a:extLst>
          </p:cNvPr>
          <p:cNvSpPr txBox="1"/>
          <p:nvPr/>
        </p:nvSpPr>
        <p:spPr>
          <a:xfrm>
            <a:off x="2041455" y="162500"/>
            <a:ext cx="4575356" cy="363113"/>
          </a:xfrm>
          <a:prstGeom prst="rect">
            <a:avLst/>
          </a:prstGeom>
        </p:spPr>
        <p:txBody>
          <a:bodyPr wrap="square" lIns="0" tIns="0" rIns="0" bIns="0" rtlCol="0" anchor="t">
            <a:spAutoFit/>
          </a:bodyPr>
          <a:lstStyle/>
          <a:p>
            <a:pPr defTabSz="1243767">
              <a:lnSpc>
                <a:spcPts val="3116"/>
              </a:lnSpc>
              <a:spcBef>
                <a:spcPct val="0"/>
              </a:spcBef>
            </a:pPr>
            <a:r>
              <a:rPr lang="en-US" sz="2227" b="1" dirty="0">
                <a:solidFill>
                  <a:srgbClr val="FFFFFF"/>
                </a:solidFill>
                <a:latin typeface="Arial" panose="020B0604020202020204" pitchFamily="34" charset="0"/>
                <a:cs typeface="Arial" panose="020B0604020202020204" pitchFamily="34" charset="0"/>
              </a:rPr>
              <a:t>FERTIBERIA Demo-site</a:t>
            </a:r>
          </a:p>
        </p:txBody>
      </p:sp>
      <p:pic>
        <p:nvPicPr>
          <p:cNvPr id="14" name="Picture 12">
            <a:extLst>
              <a:ext uri="{FF2B5EF4-FFF2-40B4-BE49-F238E27FC236}">
                <a16:creationId xmlns:a16="http://schemas.microsoft.com/office/drawing/2014/main" id="{0B702204-10E1-27A2-1EBC-DB922AAD5083}"/>
              </a:ext>
            </a:extLst>
          </p:cNvPr>
          <p:cNvPicPr>
            <a:picLocks noChangeAspect="1"/>
          </p:cNvPicPr>
          <p:nvPr/>
        </p:nvPicPr>
        <p:blipFill>
          <a:blip r:embed="rId5"/>
          <a:srcRect/>
          <a:stretch>
            <a:fillRect/>
          </a:stretch>
        </p:blipFill>
        <p:spPr>
          <a:xfrm>
            <a:off x="2018676" y="9009873"/>
            <a:ext cx="4545369" cy="1102252"/>
          </a:xfrm>
          <a:prstGeom prst="rect">
            <a:avLst/>
          </a:prstGeom>
        </p:spPr>
      </p:pic>
      <p:grpSp>
        <p:nvGrpSpPr>
          <p:cNvPr id="15" name="Gruppo 16">
            <a:extLst>
              <a:ext uri="{FF2B5EF4-FFF2-40B4-BE49-F238E27FC236}">
                <a16:creationId xmlns:a16="http://schemas.microsoft.com/office/drawing/2014/main" id="{EF44C30A-6842-E777-E8C8-B2F36696329A}"/>
              </a:ext>
            </a:extLst>
          </p:cNvPr>
          <p:cNvGrpSpPr/>
          <p:nvPr/>
        </p:nvGrpSpPr>
        <p:grpSpPr>
          <a:xfrm>
            <a:off x="5318881" y="9603284"/>
            <a:ext cx="11102027" cy="530148"/>
            <a:chOff x="4329156" y="9649198"/>
            <a:chExt cx="13958844" cy="666567"/>
          </a:xfrm>
        </p:grpSpPr>
        <p:pic>
          <p:nvPicPr>
            <p:cNvPr id="26" name="Picture 12">
              <a:extLst>
                <a:ext uri="{FF2B5EF4-FFF2-40B4-BE49-F238E27FC236}">
                  <a16:creationId xmlns:a16="http://schemas.microsoft.com/office/drawing/2014/main" id="{FA928388-9EBD-F4F6-3E8B-7E6CBFF61FD1}"/>
                </a:ext>
              </a:extLst>
            </p:cNvPr>
            <p:cNvPicPr>
              <a:picLocks noChangeAspect="1"/>
            </p:cNvPicPr>
            <p:nvPr/>
          </p:nvPicPr>
          <p:blipFill>
            <a:blip r:embed="rId6"/>
            <a:srcRect l="134" t="91287" b="3943"/>
            <a:stretch>
              <a:fillRect/>
            </a:stretch>
          </p:blipFill>
          <p:spPr>
            <a:xfrm rot="-10800000">
              <a:off x="4329156" y="9649198"/>
              <a:ext cx="13958844" cy="666567"/>
            </a:xfrm>
            <a:prstGeom prst="rect">
              <a:avLst/>
            </a:prstGeom>
          </p:spPr>
        </p:pic>
        <p:sp>
          <p:nvSpPr>
            <p:cNvPr id="27" name="TextBox 16">
              <a:extLst>
                <a:ext uri="{FF2B5EF4-FFF2-40B4-BE49-F238E27FC236}">
                  <a16:creationId xmlns:a16="http://schemas.microsoft.com/office/drawing/2014/main" id="{5C5F626F-11BC-F69E-A95A-97C85A4BECEF}"/>
                </a:ext>
              </a:extLst>
            </p:cNvPr>
            <p:cNvSpPr txBox="1"/>
            <p:nvPr/>
          </p:nvSpPr>
          <p:spPr>
            <a:xfrm>
              <a:off x="14400029" y="9732289"/>
              <a:ext cx="3636320" cy="469691"/>
            </a:xfrm>
            <a:prstGeom prst="rect">
              <a:avLst/>
            </a:prstGeom>
          </p:spPr>
          <p:txBody>
            <a:bodyPr wrap="square" lIns="0" tIns="0" rIns="0" bIns="0" rtlCol="0" anchor="t">
              <a:spAutoFit/>
            </a:bodyPr>
            <a:lstStyle/>
            <a:p>
              <a:pPr algn="ctr" defTabSz="1243767">
                <a:lnSpc>
                  <a:spcPts val="3116"/>
                </a:lnSpc>
                <a:spcBef>
                  <a:spcPct val="0"/>
                </a:spcBef>
              </a:pPr>
              <a:r>
                <a:rPr lang="en-US" sz="2227" b="1" dirty="0">
                  <a:solidFill>
                    <a:srgbClr val="FFFFFF"/>
                  </a:solidFill>
                  <a:latin typeface="OCR A Extended" panose="02010509020102010303" pitchFamily="50" charset="0"/>
                </a:rPr>
                <a:t>www.retrofeed.eu</a:t>
              </a:r>
            </a:p>
          </p:txBody>
        </p:sp>
      </p:grpSp>
      <p:sp>
        <p:nvSpPr>
          <p:cNvPr id="30" name="TextBox 13">
            <a:extLst>
              <a:ext uri="{FF2B5EF4-FFF2-40B4-BE49-F238E27FC236}">
                <a16:creationId xmlns:a16="http://schemas.microsoft.com/office/drawing/2014/main" id="{83562EF7-B224-921E-187E-31F019C1B898}"/>
              </a:ext>
            </a:extLst>
          </p:cNvPr>
          <p:cNvSpPr txBox="1"/>
          <p:nvPr/>
        </p:nvSpPr>
        <p:spPr>
          <a:xfrm>
            <a:off x="6987101" y="2169014"/>
            <a:ext cx="10470499" cy="774956"/>
          </a:xfrm>
          <a:prstGeom prst="rect">
            <a:avLst/>
          </a:prstGeom>
        </p:spPr>
        <p:txBody>
          <a:bodyPr wrap="square" lIns="0" tIns="0" rIns="0" bIns="0" rtlCol="0" anchor="ctr">
            <a:spAutoFit/>
          </a:bodyPr>
          <a:lstStyle>
            <a:defPPr>
              <a:defRPr lang="es-ES"/>
            </a:defPPr>
            <a:lvl1pPr algn="ctr">
              <a:lnSpc>
                <a:spcPts val="5239"/>
              </a:lnSpc>
              <a:spcBef>
                <a:spcPct val="0"/>
              </a:spcBef>
              <a:defRPr sz="2000" b="1">
                <a:solidFill>
                  <a:schemeClr val="accent3">
                    <a:lumMod val="50000"/>
                  </a:schemeClr>
                </a:solidFill>
                <a:latin typeface="+mj-lt"/>
                <a:cs typeface="Arial" panose="020B0604020202020204" pitchFamily="34" charset="0"/>
              </a:defRPr>
            </a:lvl1pPr>
          </a:lstStyle>
          <a:p>
            <a:pPr defTabSz="1243767">
              <a:lnSpc>
                <a:spcPts val="7126"/>
              </a:lnSpc>
            </a:pPr>
            <a:r>
              <a:rPr lang="en-US" sz="2720" dirty="0">
                <a:solidFill>
                  <a:srgbClr val="9BBB59">
                    <a:lumMod val="50000"/>
                  </a:srgbClr>
                </a:solidFill>
                <a:latin typeface="Calibri"/>
              </a:rPr>
              <a:t>NEW &amp; MODIFIED EQUIPMENT</a:t>
            </a:r>
          </a:p>
        </p:txBody>
      </p:sp>
      <p:pic>
        <p:nvPicPr>
          <p:cNvPr id="31" name="Imagen 30">
            <a:extLst>
              <a:ext uri="{FF2B5EF4-FFF2-40B4-BE49-F238E27FC236}">
                <a16:creationId xmlns:a16="http://schemas.microsoft.com/office/drawing/2014/main" id="{840E99B7-FEF3-5E85-BC91-99196C0C4250}"/>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8941673" y="5209206"/>
            <a:ext cx="3702732" cy="4088575"/>
          </a:xfrm>
          <a:prstGeom prst="rect">
            <a:avLst/>
          </a:prstGeom>
          <a:noFill/>
          <a:ln>
            <a:noFill/>
          </a:ln>
        </p:spPr>
      </p:pic>
      <p:pic>
        <p:nvPicPr>
          <p:cNvPr id="32" name="Imagen 31" descr="Imagen que contiene pastel, mujer, edificio, hombre&#10;&#10;Descripción generada automáticamente">
            <a:extLst>
              <a:ext uri="{FF2B5EF4-FFF2-40B4-BE49-F238E27FC236}">
                <a16:creationId xmlns:a16="http://schemas.microsoft.com/office/drawing/2014/main" id="{3F8975FD-6B93-52E8-591D-B1C8D47A9E22}"/>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2726268" y="3093779"/>
            <a:ext cx="2532250" cy="5486543"/>
          </a:xfrm>
          <a:prstGeom prst="rect">
            <a:avLst/>
          </a:prstGeom>
        </p:spPr>
      </p:pic>
      <p:pic>
        <p:nvPicPr>
          <p:cNvPr id="33" name="Imagen 32" descr="Imagen que contiene sucio, edificio, interior, roto&#10;&#10;Descripción generada automáticamente">
            <a:extLst>
              <a:ext uri="{FF2B5EF4-FFF2-40B4-BE49-F238E27FC236}">
                <a16:creationId xmlns:a16="http://schemas.microsoft.com/office/drawing/2014/main" id="{670C9095-44F7-DF8E-5905-41B8AA5DCBD9}"/>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rot="5400000">
            <a:off x="7837274" y="3765062"/>
            <a:ext cx="3305011" cy="1859069"/>
          </a:xfrm>
          <a:prstGeom prst="rect">
            <a:avLst/>
          </a:prstGeom>
        </p:spPr>
      </p:pic>
      <p:sp>
        <p:nvSpPr>
          <p:cNvPr id="2" name="TextBox 14">
            <a:extLst>
              <a:ext uri="{FF2B5EF4-FFF2-40B4-BE49-F238E27FC236}">
                <a16:creationId xmlns:a16="http://schemas.microsoft.com/office/drawing/2014/main" id="{1DE11CF4-7A27-D1B0-BCC8-F89190EFD782}"/>
              </a:ext>
            </a:extLst>
          </p:cNvPr>
          <p:cNvSpPr txBox="1"/>
          <p:nvPr/>
        </p:nvSpPr>
        <p:spPr>
          <a:xfrm>
            <a:off x="2351391" y="1682541"/>
            <a:ext cx="14858344" cy="492443"/>
          </a:xfrm>
          <a:prstGeom prst="rect">
            <a:avLst/>
          </a:prstGeom>
        </p:spPr>
        <p:txBody>
          <a:bodyPr wrap="square" lIns="0" tIns="0" rIns="0" bIns="0" rtlCol="0" anchor="t">
            <a:spAutoFit/>
          </a:bodyPr>
          <a:lstStyle/>
          <a:p>
            <a:pPr marL="457200" marR="0" lvl="0" indent="-457200" algn="l" defTabSz="914400" rtl="0" eaLnBrk="1" fontAlgn="auto" latinLnBrk="0" hangingPunct="1">
              <a:lnSpc>
                <a:spcPct val="100000"/>
              </a:lnSpc>
              <a:spcBef>
                <a:spcPts val="0"/>
              </a:spcBef>
              <a:spcAft>
                <a:spcPts val="0"/>
              </a:spcAft>
              <a:buClr>
                <a:srgbClr val="CC0033"/>
              </a:buClr>
              <a:buSzTx/>
              <a:buFont typeface="Wingdings" panose="05000000000000000000" pitchFamily="2" charset="2"/>
              <a:buChar char="ü"/>
              <a:tabLst/>
              <a:defRPr/>
            </a:pPr>
            <a:r>
              <a:rPr kumimoji="0" lang="en-US" sz="3200" b="1" i="0" u="none" strike="noStrike" kern="1200" cap="none" spc="0" normalizeH="0" baseline="0" noProof="0" dirty="0">
                <a:ln>
                  <a:noFill/>
                </a:ln>
                <a:solidFill>
                  <a:srgbClr val="2F2F2F"/>
                </a:solidFill>
                <a:effectLst/>
                <a:uLnTx/>
                <a:uFillTx/>
                <a:latin typeface="Arial"/>
                <a:ea typeface="+mn-ea"/>
                <a:cs typeface="+mn-cs"/>
              </a:rPr>
              <a:t>New design of an in-line reactor for alternative phosphorus sources. </a:t>
            </a:r>
            <a:endParaRPr kumimoji="0" lang="es-ES" sz="3200" b="1" i="0" u="none" strike="noStrike" kern="1200" cap="none" spc="0" normalizeH="0" baseline="0" noProof="0" dirty="0">
              <a:ln>
                <a:noFill/>
              </a:ln>
              <a:solidFill>
                <a:srgbClr val="2F2F2F"/>
              </a:solidFill>
              <a:effectLst/>
              <a:uLnTx/>
              <a:uFillTx/>
              <a:latin typeface="Arial"/>
              <a:ea typeface="+mn-ea"/>
              <a:cs typeface="+mn-cs"/>
            </a:endParaRPr>
          </a:p>
        </p:txBody>
      </p:sp>
      <p:pic>
        <p:nvPicPr>
          <p:cNvPr id="3" name="Imagen 117">
            <a:extLst>
              <a:ext uri="{FF2B5EF4-FFF2-40B4-BE49-F238E27FC236}">
                <a16:creationId xmlns:a16="http://schemas.microsoft.com/office/drawing/2014/main" id="{9B43BCF5-442F-744E-468E-542BA80D50FB}"/>
              </a:ext>
            </a:extLst>
          </p:cNvPr>
          <p:cNvPicPr>
            <a:picLocks noChangeAspect="1"/>
          </p:cNvPicPr>
          <p:nvPr/>
        </p:nvPicPr>
        <p:blipFill>
          <a:blip r:embed="rId10"/>
          <a:stretch>
            <a:fillRect/>
          </a:stretch>
        </p:blipFill>
        <p:spPr>
          <a:xfrm>
            <a:off x="14017924" y="284987"/>
            <a:ext cx="2950385" cy="1105105"/>
          </a:xfrm>
          <a:prstGeom prst="rect">
            <a:avLst/>
          </a:prstGeom>
        </p:spPr>
      </p:pic>
      <p:sp>
        <p:nvSpPr>
          <p:cNvPr id="4" name="TextBox 13">
            <a:extLst>
              <a:ext uri="{FF2B5EF4-FFF2-40B4-BE49-F238E27FC236}">
                <a16:creationId xmlns:a16="http://schemas.microsoft.com/office/drawing/2014/main" id="{C44BDB04-3EA8-3B93-D0E0-7B2610852AFB}"/>
              </a:ext>
            </a:extLst>
          </p:cNvPr>
          <p:cNvSpPr txBox="1"/>
          <p:nvPr/>
        </p:nvSpPr>
        <p:spPr>
          <a:xfrm>
            <a:off x="224131" y="497577"/>
            <a:ext cx="16194314" cy="1040798"/>
          </a:xfrm>
          <a:prstGeom prst="rect">
            <a:avLst/>
          </a:prstGeom>
        </p:spPr>
        <p:txBody>
          <a:bodyPr wrap="square" lIns="0" tIns="0" rIns="0" bIns="0" rtlCol="0" anchor="t">
            <a:spAutoFit/>
          </a:bodyPr>
          <a:lstStyle/>
          <a:p>
            <a:pPr marL="0" marR="0" lvl="0" indent="0" algn="ctr" defTabSz="914445" rtl="0" eaLnBrk="1" fontAlgn="auto" latinLnBrk="0" hangingPunct="1">
              <a:lnSpc>
                <a:spcPts val="8961"/>
              </a:lnSpc>
              <a:spcBef>
                <a:spcPct val="0"/>
              </a:spcBef>
              <a:spcAft>
                <a:spcPts val="0"/>
              </a:spcAft>
              <a:buClrTx/>
              <a:buSzTx/>
              <a:buFontTx/>
              <a:buNone/>
              <a:tabLst/>
              <a:defRPr/>
            </a:pPr>
            <a:r>
              <a:rPr kumimoji="0" lang="en-US" sz="6000" b="1" i="0" u="none" strike="noStrike" kern="1200" cap="none" spc="0" normalizeH="0" baseline="0" noProof="0" dirty="0">
                <a:ln>
                  <a:noFill/>
                </a:ln>
                <a:solidFill>
                  <a:srgbClr val="CC0033"/>
                </a:solidFill>
                <a:effectLst/>
                <a:uLnTx/>
                <a:uFillTx/>
                <a:latin typeface="Arial"/>
                <a:ea typeface="+mn-ea"/>
                <a:cs typeface="Arial" panose="020B0604020202020204" pitchFamily="34" charset="0"/>
              </a:rPr>
              <a:t>Actions, goals and results at</a:t>
            </a:r>
          </a:p>
        </p:txBody>
      </p:sp>
    </p:spTree>
    <p:extLst>
      <p:ext uri="{BB962C8B-B14F-4D97-AF65-F5344CB8AC3E}">
        <p14:creationId xmlns:p14="http://schemas.microsoft.com/office/powerpoint/2010/main" val="4023596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6"/>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marL="0" marR="0" lvl="0" indent="0" algn="ctr" defTabSz="914400" rtl="0" eaLnBrk="1" fontAlgn="auto" latinLnBrk="0" hangingPunct="1">
                <a:lnSpc>
                  <a:spcPts val="3919"/>
                </a:lnSpc>
                <a:spcBef>
                  <a:spcPct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OCR A Extended" panose="02010509020102010303" pitchFamily="50" charset="0"/>
                  <a:ea typeface="+mn-ea"/>
                  <a:cs typeface="+mn-cs"/>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4"/>
          <a:srcRect/>
          <a:stretch>
            <a:fillRect/>
          </a:stretch>
        </p:blipFill>
        <p:spPr>
          <a:xfrm>
            <a:off x="0" y="8901113"/>
            <a:ext cx="5715000" cy="1385887"/>
          </a:xfrm>
          <a:prstGeom prst="rect">
            <a:avLst/>
          </a:prstGeom>
        </p:spPr>
      </p:pic>
      <p:grpSp>
        <p:nvGrpSpPr>
          <p:cNvPr id="3" name="Gruppo 2">
            <a:extLst>
              <a:ext uri="{FF2B5EF4-FFF2-40B4-BE49-F238E27FC236}">
                <a16:creationId xmlns:a16="http://schemas.microsoft.com/office/drawing/2014/main" id="{1C29CBCA-BE0A-4EF6-AC69-329941E1DCFD}"/>
              </a:ext>
            </a:extLst>
          </p:cNvPr>
          <p:cNvGrpSpPr/>
          <p:nvPr/>
        </p:nvGrpSpPr>
        <p:grpSpPr>
          <a:xfrm>
            <a:off x="-12" y="138554"/>
            <a:ext cx="18288002" cy="681138"/>
            <a:chOff x="-12" y="138554"/>
            <a:chExt cx="18288002" cy="681138"/>
          </a:xfrm>
        </p:grpSpPr>
        <p:grpSp>
          <p:nvGrpSpPr>
            <p:cNvPr id="2" name="Gruppo 1">
              <a:extLst>
                <a:ext uri="{FF2B5EF4-FFF2-40B4-BE49-F238E27FC236}">
                  <a16:creationId xmlns:a16="http://schemas.microsoft.com/office/drawing/2014/main" id="{24E9C7AF-0093-476F-826C-A2702AB72892}"/>
                </a:ext>
              </a:extLst>
            </p:cNvPr>
            <p:cNvGrpSpPr/>
            <p:nvPr/>
          </p:nvGrpSpPr>
          <p:grpSpPr>
            <a:xfrm>
              <a:off x="0" y="153125"/>
              <a:ext cx="17907000" cy="666567"/>
              <a:chOff x="0" y="153125"/>
              <a:chExt cx="17907000" cy="666567"/>
            </a:xfrm>
          </p:grpSpPr>
          <p:grpSp>
            <p:nvGrpSpPr>
              <p:cNvPr id="16" name="Gruppo 15">
                <a:extLst>
                  <a:ext uri="{FF2B5EF4-FFF2-40B4-BE49-F238E27FC236}">
                    <a16:creationId xmlns:a16="http://schemas.microsoft.com/office/drawing/2014/main" id="{DAC42A46-917D-41AB-8F07-E15E54D0F7D4}"/>
                  </a:ext>
                </a:extLst>
              </p:cNvPr>
              <p:cNvGrpSpPr/>
              <p:nvPr/>
            </p:nvGrpSpPr>
            <p:grpSpPr>
              <a:xfrm>
                <a:off x="0" y="153125"/>
                <a:ext cx="13958844" cy="666567"/>
                <a:chOff x="0" y="153125"/>
                <a:chExt cx="13958844" cy="666567"/>
              </a:xfrm>
            </p:grpSpPr>
            <p:pic>
              <p:nvPicPr>
                <p:cNvPr id="10" name="Picture 10"/>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1" name="TextBox 11"/>
                <p:cNvSpPr txBox="1"/>
                <p:nvPr/>
              </p:nvSpPr>
              <p:spPr>
                <a:xfrm>
                  <a:off x="228600" y="257980"/>
                  <a:ext cx="9144000" cy="456856"/>
                </a:xfrm>
                <a:prstGeom prst="rect">
                  <a:avLst/>
                </a:prstGeom>
              </p:spPr>
              <p:txBody>
                <a:bodyPr wrap="square" lIns="0" tIns="0" rIns="0" bIns="0" rtlCol="0" anchor="t">
                  <a:spAutoFit/>
                </a:bodyPr>
                <a:lstStyle/>
                <a:p>
                  <a:pPr marL="0" marR="0" lvl="0" indent="0" algn="l" defTabSz="914400" rtl="0" eaLnBrk="1" fontAlgn="auto" latinLnBrk="0" hangingPunct="1">
                    <a:lnSpc>
                      <a:spcPts val="3919"/>
                    </a:lnSpc>
                    <a:spcBef>
                      <a:spcPct val="0"/>
                    </a:spcBef>
                    <a:spcAft>
                      <a:spcPts val="0"/>
                    </a:spcAft>
                    <a:buClrTx/>
                    <a:buSzTx/>
                    <a:buFontTx/>
                    <a:buNone/>
                    <a:tabLst/>
                    <a:defRPr/>
                  </a:pPr>
                  <a:endParaRPr kumimoji="0" lang="en-US" sz="2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2" name="TextBox 11">
                <a:extLst>
                  <a:ext uri="{FF2B5EF4-FFF2-40B4-BE49-F238E27FC236}">
                    <a16:creationId xmlns:a16="http://schemas.microsoft.com/office/drawing/2014/main" id="{1BD9B5F4-614C-4EB6-8C5B-120A5420CE43}"/>
                  </a:ext>
                </a:extLst>
              </p:cNvPr>
              <p:cNvSpPr txBox="1"/>
              <p:nvPr/>
            </p:nvSpPr>
            <p:spPr>
              <a:xfrm>
                <a:off x="12154296" y="257980"/>
                <a:ext cx="5752704" cy="456856"/>
              </a:xfrm>
              <a:prstGeom prst="rect">
                <a:avLst/>
              </a:prstGeom>
            </p:spPr>
            <p:txBody>
              <a:bodyPr wrap="square" lIns="0" tIns="0" rIns="0" bIns="0" rtlCol="0" anchor="t">
                <a:spAutoFit/>
              </a:bodyPr>
              <a:lstStyle/>
              <a:p>
                <a:pPr marL="0" marR="0" lvl="0" indent="0" algn="r" defTabSz="914400" rtl="0" eaLnBrk="1" fontAlgn="auto" latinLnBrk="0" hangingPunct="1">
                  <a:lnSpc>
                    <a:spcPts val="3919"/>
                  </a:lnSpc>
                  <a:spcBef>
                    <a:spcPct val="0"/>
                  </a:spcBef>
                  <a:spcAft>
                    <a:spcPts val="0"/>
                  </a:spcAft>
                  <a:buClrTx/>
                  <a:buSzTx/>
                  <a:buFontTx/>
                  <a:buNone/>
                  <a:tabLst/>
                  <a:defRPr/>
                </a:pPr>
                <a:endParaRPr kumimoji="0" lang="en-US" sz="2800" b="0" i="0" u="none" strike="noStrike" kern="1200" cap="none" spc="0" normalizeH="0" baseline="0" noProof="0">
                  <a:ln>
                    <a:noFill/>
                  </a:ln>
                  <a:solidFill>
                    <a:srgbClr val="2F2F2F">
                      <a:lumMod val="75000"/>
                      <a:lumOff val="25000"/>
                    </a:srgbClr>
                  </a:solidFill>
                  <a:effectLst/>
                  <a:uLnTx/>
                  <a:uFillTx/>
                  <a:latin typeface="Arial" panose="020B0604020202020204" pitchFamily="34" charset="0"/>
                  <a:ea typeface="+mn-ea"/>
                  <a:cs typeface="Arial" panose="020B0604020202020204" pitchFamily="34" charset="0"/>
                </a:endParaRPr>
              </a:p>
            </p:txBody>
          </p:sp>
        </p:grpSp>
        <p:sp>
          <p:nvSpPr>
            <p:cNvPr id="14" name="Rettangolo 13">
              <a:extLst>
                <a:ext uri="{FF2B5EF4-FFF2-40B4-BE49-F238E27FC236}">
                  <a16:creationId xmlns:a16="http://schemas.microsoft.com/office/drawing/2014/main" id="{55199736-B8B6-4C9A-8BAF-233E07A0CA89}"/>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22" name="TextBox 14">
            <a:extLst>
              <a:ext uri="{FF2B5EF4-FFF2-40B4-BE49-F238E27FC236}">
                <a16:creationId xmlns:a16="http://schemas.microsoft.com/office/drawing/2014/main" id="{D3C98928-A3A1-8781-6C69-6CDFA14D877F}"/>
              </a:ext>
            </a:extLst>
          </p:cNvPr>
          <p:cNvSpPr txBox="1"/>
          <p:nvPr/>
        </p:nvSpPr>
        <p:spPr>
          <a:xfrm>
            <a:off x="1943428" y="2300241"/>
            <a:ext cx="14858344" cy="492443"/>
          </a:xfrm>
          <a:prstGeom prst="rect">
            <a:avLst/>
          </a:prstGeom>
        </p:spPr>
        <p:txBody>
          <a:bodyPr wrap="square" lIns="0" tIns="0" rIns="0" bIns="0" rtlCol="0" anchor="t">
            <a:spAutoFit/>
          </a:bodyPr>
          <a:lstStyle/>
          <a:p>
            <a:pPr marL="457200" marR="0" lvl="0" indent="-457200" algn="l" defTabSz="914400" rtl="0" eaLnBrk="1" fontAlgn="auto" latinLnBrk="0" hangingPunct="1">
              <a:lnSpc>
                <a:spcPct val="100000"/>
              </a:lnSpc>
              <a:spcBef>
                <a:spcPts val="0"/>
              </a:spcBef>
              <a:spcAft>
                <a:spcPts val="0"/>
              </a:spcAft>
              <a:buClr>
                <a:srgbClr val="CC0033"/>
              </a:buClr>
              <a:buSzTx/>
              <a:buFont typeface="Wingdings" panose="05000000000000000000" pitchFamily="2" charset="2"/>
              <a:buChar char="ü"/>
              <a:tabLst/>
              <a:defRPr/>
            </a:pPr>
            <a:r>
              <a:rPr kumimoji="0" lang="en-US" sz="3200" b="1" i="0" u="none" strike="noStrike" kern="1200" cap="none" spc="0" normalizeH="0" baseline="0" noProof="0" dirty="0">
                <a:ln>
                  <a:noFill/>
                </a:ln>
                <a:solidFill>
                  <a:srgbClr val="2F2F2F"/>
                </a:solidFill>
                <a:effectLst/>
                <a:uLnTx/>
                <a:uFillTx/>
                <a:latin typeface="Arial"/>
                <a:ea typeface="+mn-ea"/>
                <a:cs typeface="+mn-cs"/>
              </a:rPr>
              <a:t>New design of an in-line reactor for alternative phosphorus sources. </a:t>
            </a:r>
            <a:endParaRPr kumimoji="0" lang="es-ES" sz="3200" b="1" i="0" u="none" strike="noStrike" kern="1200" cap="none" spc="0" normalizeH="0" baseline="0" noProof="0" dirty="0">
              <a:ln>
                <a:noFill/>
              </a:ln>
              <a:solidFill>
                <a:srgbClr val="2F2F2F"/>
              </a:solidFill>
              <a:effectLst/>
              <a:uLnTx/>
              <a:uFillTx/>
              <a:latin typeface="Arial"/>
              <a:ea typeface="+mn-ea"/>
              <a:cs typeface="+mn-cs"/>
            </a:endParaRPr>
          </a:p>
        </p:txBody>
      </p:sp>
      <p:pic>
        <p:nvPicPr>
          <p:cNvPr id="15" name="Bildobjekt 14">
            <a:extLst>
              <a:ext uri="{FF2B5EF4-FFF2-40B4-BE49-F238E27FC236}">
                <a16:creationId xmlns:a16="http://schemas.microsoft.com/office/drawing/2014/main" id="{F501E166-4631-CBD4-9E5E-D44908553089}"/>
              </a:ext>
            </a:extLst>
          </p:cNvPr>
          <p:cNvPicPr>
            <a:picLocks noChangeAspect="1"/>
          </p:cNvPicPr>
          <p:nvPr/>
        </p:nvPicPr>
        <p:blipFill>
          <a:blip r:embed="rId6"/>
          <a:stretch>
            <a:fillRect/>
          </a:stretch>
        </p:blipFill>
        <p:spPr>
          <a:xfrm>
            <a:off x="1370287" y="2929446"/>
            <a:ext cx="7590520" cy="6261248"/>
          </a:xfrm>
          <a:prstGeom prst="rect">
            <a:avLst/>
          </a:prstGeom>
        </p:spPr>
      </p:pic>
      <p:pic>
        <p:nvPicPr>
          <p:cNvPr id="6" name="Imagen 117">
            <a:extLst>
              <a:ext uri="{FF2B5EF4-FFF2-40B4-BE49-F238E27FC236}">
                <a16:creationId xmlns:a16="http://schemas.microsoft.com/office/drawing/2014/main" id="{72E13B7D-D404-CE8E-EBCA-A87835359653}"/>
              </a:ext>
            </a:extLst>
          </p:cNvPr>
          <p:cNvPicPr>
            <a:picLocks noChangeAspect="1"/>
          </p:cNvPicPr>
          <p:nvPr/>
        </p:nvPicPr>
        <p:blipFill>
          <a:blip r:embed="rId7"/>
          <a:stretch>
            <a:fillRect/>
          </a:stretch>
        </p:blipFill>
        <p:spPr>
          <a:xfrm>
            <a:off x="14079867" y="834263"/>
            <a:ext cx="2950385" cy="1105105"/>
          </a:xfrm>
          <a:prstGeom prst="rect">
            <a:avLst/>
          </a:prstGeom>
        </p:spPr>
      </p:pic>
      <p:sp>
        <p:nvSpPr>
          <p:cNvPr id="13" name="TextBox 13">
            <a:extLst>
              <a:ext uri="{FF2B5EF4-FFF2-40B4-BE49-F238E27FC236}">
                <a16:creationId xmlns:a16="http://schemas.microsoft.com/office/drawing/2014/main" id="{1E42D3B8-9CAE-3163-1924-1C1137DEABA1}"/>
              </a:ext>
            </a:extLst>
          </p:cNvPr>
          <p:cNvSpPr txBox="1"/>
          <p:nvPr/>
        </p:nvSpPr>
        <p:spPr>
          <a:xfrm>
            <a:off x="286074" y="1046853"/>
            <a:ext cx="16194314" cy="1040798"/>
          </a:xfrm>
          <a:prstGeom prst="rect">
            <a:avLst/>
          </a:prstGeom>
        </p:spPr>
        <p:txBody>
          <a:bodyPr wrap="square" lIns="0" tIns="0" rIns="0" bIns="0" rtlCol="0" anchor="t">
            <a:spAutoFit/>
          </a:bodyPr>
          <a:lstStyle/>
          <a:p>
            <a:pPr marL="0" marR="0" lvl="0" indent="0" algn="ctr" defTabSz="914445" rtl="0" eaLnBrk="1" fontAlgn="auto" latinLnBrk="0" hangingPunct="1">
              <a:lnSpc>
                <a:spcPts val="8961"/>
              </a:lnSpc>
              <a:spcBef>
                <a:spcPct val="0"/>
              </a:spcBef>
              <a:spcAft>
                <a:spcPts val="0"/>
              </a:spcAft>
              <a:buClrTx/>
              <a:buSzTx/>
              <a:buFontTx/>
              <a:buNone/>
              <a:tabLst/>
              <a:defRPr/>
            </a:pPr>
            <a:r>
              <a:rPr kumimoji="0" lang="en-US" sz="6000" b="1" i="0" u="none" strike="noStrike" kern="1200" cap="none" spc="0" normalizeH="0" baseline="0" noProof="0" dirty="0">
                <a:ln>
                  <a:noFill/>
                </a:ln>
                <a:solidFill>
                  <a:srgbClr val="CC0033"/>
                </a:solidFill>
                <a:effectLst/>
                <a:uLnTx/>
                <a:uFillTx/>
                <a:latin typeface="Arial"/>
                <a:ea typeface="+mn-ea"/>
                <a:cs typeface="Arial" panose="020B0604020202020204" pitchFamily="34" charset="0"/>
              </a:rPr>
              <a:t>Actions, goals and results at</a:t>
            </a:r>
          </a:p>
        </p:txBody>
      </p:sp>
      <p:sp>
        <p:nvSpPr>
          <p:cNvPr id="23" name="TextBox 22">
            <a:extLst>
              <a:ext uri="{FF2B5EF4-FFF2-40B4-BE49-F238E27FC236}">
                <a16:creationId xmlns:a16="http://schemas.microsoft.com/office/drawing/2014/main" id="{66DFF235-FEE3-A2A9-AA95-0E66BC90FE89}"/>
              </a:ext>
            </a:extLst>
          </p:cNvPr>
          <p:cNvSpPr txBox="1"/>
          <p:nvPr/>
        </p:nvSpPr>
        <p:spPr>
          <a:xfrm>
            <a:off x="9507867" y="3361678"/>
            <a:ext cx="7753438" cy="526297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2F2F2F"/>
                </a:solidFill>
                <a:effectLst/>
                <a:uLnTx/>
                <a:uFillTx/>
                <a:latin typeface="Arial"/>
                <a:ea typeface="+mn-ea"/>
                <a:cs typeface="+mn-cs"/>
              </a:rPr>
              <a:t>The pilot plant, showed that the design is very good for the new process, and it runs very well according to expectations. So, it complies with the goals of:</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2F2F2F"/>
              </a:solidFill>
              <a:effectLst/>
              <a:uLnTx/>
              <a:uFillTx/>
              <a:latin typeface="Arial"/>
              <a:ea typeface="+mn-ea"/>
              <a:cs typeface="+mn-cs"/>
            </a:endParaRPr>
          </a:p>
          <a:p>
            <a:pPr marL="342900" marR="0" lvl="0" indent="-342900" algn="l" defTabSz="914400" rtl="0" eaLnBrk="1" fontAlgn="auto" latinLnBrk="0" hangingPunct="1">
              <a:lnSpc>
                <a:spcPct val="100000"/>
              </a:lnSpc>
              <a:spcBef>
                <a:spcPts val="0"/>
              </a:spcBef>
              <a:spcAft>
                <a:spcPts val="0"/>
              </a:spcAft>
              <a:buClr>
                <a:srgbClr val="99CC99"/>
              </a:buClr>
              <a:buSzTx/>
              <a:buFont typeface="Wingdings" panose="05000000000000000000" pitchFamily="2" charset="2"/>
              <a:buChar char="ü"/>
              <a:tabLst/>
              <a:defRPr/>
            </a:pPr>
            <a:r>
              <a:rPr kumimoji="0" lang="en-US" sz="2800" b="0" i="0" u="none" strike="noStrike" kern="1200" cap="none" spc="0" normalizeH="0" baseline="0" noProof="0" dirty="0">
                <a:ln>
                  <a:noFill/>
                </a:ln>
                <a:solidFill>
                  <a:srgbClr val="2F2F2F"/>
                </a:solidFill>
                <a:effectLst/>
                <a:uLnTx/>
                <a:uFillTx/>
                <a:latin typeface="Arial"/>
                <a:ea typeface="+mn-ea"/>
                <a:cs typeface="+mn-cs"/>
              </a:rPr>
              <a:t>energy saving (5 GWh/year of reduced energy consumption ~ 22 %)</a:t>
            </a:r>
          </a:p>
          <a:p>
            <a:pPr marL="342900" marR="0" lvl="0" indent="-342900" algn="l" defTabSz="914400" rtl="0" eaLnBrk="1" fontAlgn="auto" latinLnBrk="0" hangingPunct="1">
              <a:lnSpc>
                <a:spcPct val="100000"/>
              </a:lnSpc>
              <a:spcBef>
                <a:spcPts val="0"/>
              </a:spcBef>
              <a:spcAft>
                <a:spcPts val="0"/>
              </a:spcAft>
              <a:buClr>
                <a:srgbClr val="99CC99"/>
              </a:buClr>
              <a:buSzTx/>
              <a:buFont typeface="Wingdings" panose="05000000000000000000" pitchFamily="2" charset="2"/>
              <a:buChar char="ü"/>
              <a:tabLst/>
              <a:defRPr/>
            </a:pPr>
            <a:r>
              <a:rPr kumimoji="0" lang="en-US" sz="2800" b="0" i="0" u="none" strike="noStrike" kern="1200" cap="none" spc="0" normalizeH="0" baseline="0" noProof="0" dirty="0">
                <a:ln>
                  <a:noFill/>
                </a:ln>
                <a:solidFill>
                  <a:srgbClr val="2F2F2F"/>
                </a:solidFill>
                <a:effectLst/>
                <a:uLnTx/>
                <a:uFillTx/>
                <a:latin typeface="Arial"/>
                <a:ea typeface="+mn-ea"/>
                <a:cs typeface="+mn-cs"/>
              </a:rPr>
              <a:t>water balance</a:t>
            </a:r>
          </a:p>
          <a:p>
            <a:pPr marL="342900" marR="0" lvl="0" indent="-342900" algn="l" defTabSz="914400" rtl="0" eaLnBrk="1" fontAlgn="auto" latinLnBrk="0" hangingPunct="1">
              <a:lnSpc>
                <a:spcPct val="100000"/>
              </a:lnSpc>
              <a:spcBef>
                <a:spcPts val="0"/>
              </a:spcBef>
              <a:spcAft>
                <a:spcPts val="0"/>
              </a:spcAft>
              <a:buClr>
                <a:srgbClr val="99CC99"/>
              </a:buClr>
              <a:buSzTx/>
              <a:buFont typeface="Wingdings" panose="05000000000000000000" pitchFamily="2" charset="2"/>
              <a:buChar char="ü"/>
              <a:tabLst/>
              <a:defRPr/>
            </a:pPr>
            <a:r>
              <a:rPr kumimoji="0" lang="en-US" sz="2800" b="0" i="0" u="none" strike="noStrike" kern="1200" cap="none" spc="0" normalizeH="0" baseline="0" noProof="0" dirty="0">
                <a:ln>
                  <a:noFill/>
                </a:ln>
                <a:solidFill>
                  <a:srgbClr val="2F2F2F"/>
                </a:solidFill>
                <a:effectLst/>
                <a:uLnTx/>
                <a:uFillTx/>
                <a:latin typeface="Arial"/>
                <a:ea typeface="+mn-ea"/>
                <a:cs typeface="+mn-cs"/>
              </a:rPr>
              <a:t>by-products use</a:t>
            </a:r>
          </a:p>
          <a:p>
            <a:pPr marL="342900" marR="0" lvl="0" indent="-342900" algn="l" defTabSz="914400" rtl="0" eaLnBrk="1" fontAlgn="auto" latinLnBrk="0" hangingPunct="1">
              <a:lnSpc>
                <a:spcPct val="100000"/>
              </a:lnSpc>
              <a:spcBef>
                <a:spcPts val="0"/>
              </a:spcBef>
              <a:spcAft>
                <a:spcPts val="0"/>
              </a:spcAft>
              <a:buClr>
                <a:srgbClr val="99CC99"/>
              </a:buClr>
              <a:buSzTx/>
              <a:buFont typeface="Wingdings" panose="05000000000000000000" pitchFamily="2" charset="2"/>
              <a:buChar char="ü"/>
              <a:tabLst/>
              <a:defRPr/>
            </a:pPr>
            <a:r>
              <a:rPr kumimoji="0" lang="en-US" sz="2800" b="0" i="0" u="none" strike="noStrike" kern="1200" cap="none" spc="0" normalizeH="0" baseline="0" noProof="0" dirty="0">
                <a:ln>
                  <a:noFill/>
                </a:ln>
                <a:solidFill>
                  <a:srgbClr val="2F2F2F"/>
                </a:solidFill>
                <a:effectLst/>
                <a:uLnTx/>
                <a:uFillTx/>
                <a:latin typeface="Arial"/>
                <a:ea typeface="+mn-ea"/>
                <a:cs typeface="+mn-cs"/>
              </a:rPr>
              <a:t>new sources of P2O5 in circular economy use (2,952 ton/year lower P2O5 consumption ~ 18 %)</a:t>
            </a:r>
            <a:endParaRPr lang="sv-SE" sz="2800" dirty="0"/>
          </a:p>
        </p:txBody>
      </p:sp>
    </p:spTree>
    <p:extLst>
      <p:ext uri="{BB962C8B-B14F-4D97-AF65-F5344CB8AC3E}">
        <p14:creationId xmlns:p14="http://schemas.microsoft.com/office/powerpoint/2010/main" val="1043427335"/>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extruta 1">
            <a:extLst>
              <a:ext uri="{FF2B5EF4-FFF2-40B4-BE49-F238E27FC236}">
                <a16:creationId xmlns:a16="http://schemas.microsoft.com/office/drawing/2014/main" id="{CCE47E9F-CA6B-B8EB-E10E-1C31F83F3916}"/>
              </a:ext>
            </a:extLst>
          </p:cNvPr>
          <p:cNvSpPr txBox="1"/>
          <p:nvPr/>
        </p:nvSpPr>
        <p:spPr>
          <a:xfrm>
            <a:off x="3486150" y="3181350"/>
            <a:ext cx="11315700" cy="2215991"/>
          </a:xfrm>
          <a:prstGeom prst="rect">
            <a:avLst/>
          </a:prstGeom>
          <a:noFill/>
        </p:spPr>
        <p:txBody>
          <a:bodyPr wrap="square" rtlCol="0">
            <a:spAutoFit/>
          </a:bodyPr>
          <a:lstStyle/>
          <a:p>
            <a:pPr algn="ctr"/>
            <a:r>
              <a:rPr lang="sv-SE" sz="13800" dirty="0">
                <a:solidFill>
                  <a:schemeClr val="bg1"/>
                </a:solidFill>
              </a:rPr>
              <a:t>FENO (</a:t>
            </a:r>
            <a:r>
              <a:rPr lang="sv-SE" sz="13800" dirty="0" err="1">
                <a:solidFill>
                  <a:schemeClr val="bg1"/>
                </a:solidFill>
              </a:rPr>
              <a:t>Pittini</a:t>
            </a:r>
            <a:r>
              <a:rPr lang="sv-SE" sz="13800" dirty="0">
                <a:solidFill>
                  <a:schemeClr val="bg1"/>
                </a:solidFill>
              </a:rPr>
              <a:t>)</a:t>
            </a:r>
          </a:p>
        </p:txBody>
      </p:sp>
    </p:spTree>
    <p:extLst>
      <p:ext uri="{BB962C8B-B14F-4D97-AF65-F5344CB8AC3E}">
        <p14:creationId xmlns:p14="http://schemas.microsoft.com/office/powerpoint/2010/main" val="2653702874"/>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6FB10D54-872A-4321-A299-5E7A8C17CAF5}"/>
              </a:ext>
            </a:extLst>
          </p:cNvPr>
          <p:cNvPicPr>
            <a:picLocks noChangeAspect="1"/>
          </p:cNvPicPr>
          <p:nvPr/>
        </p:nvPicPr>
        <p:blipFill rotWithShape="1">
          <a:blip r:embed="rId3">
            <a:alphaModFix amt="20000"/>
          </a:blip>
          <a:srcRect t="23260" b="17641"/>
          <a:stretch/>
        </p:blipFill>
        <p:spPr>
          <a:xfrm>
            <a:off x="287989" y="3397713"/>
            <a:ext cx="17712000" cy="5461853"/>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6"/>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4"/>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5"/>
          <a:srcRect/>
          <a:stretch>
            <a:fillRect/>
          </a:stretch>
        </p:blipFill>
        <p:spPr>
          <a:xfrm>
            <a:off x="0" y="8901113"/>
            <a:ext cx="5715000" cy="1385887"/>
          </a:xfrm>
          <a:prstGeom prst="rect">
            <a:avLst/>
          </a:prstGeom>
        </p:spPr>
      </p:pic>
      <p:grpSp>
        <p:nvGrpSpPr>
          <p:cNvPr id="2" name="Gruppo 1">
            <a:extLst>
              <a:ext uri="{FF2B5EF4-FFF2-40B4-BE49-F238E27FC236}">
                <a16:creationId xmlns:a16="http://schemas.microsoft.com/office/drawing/2014/main" id="{D8D71BB5-458F-411D-AFA9-C648954E9F40}"/>
              </a:ext>
            </a:extLst>
          </p:cNvPr>
          <p:cNvGrpSpPr/>
          <p:nvPr/>
        </p:nvGrpSpPr>
        <p:grpSpPr>
          <a:xfrm>
            <a:off x="-12" y="138554"/>
            <a:ext cx="18288002" cy="681138"/>
            <a:chOff x="-12" y="138554"/>
            <a:chExt cx="18288002" cy="681138"/>
          </a:xfrm>
        </p:grpSpPr>
        <p:grpSp>
          <p:nvGrpSpPr>
            <p:cNvPr id="16" name="Gruppo 15">
              <a:extLst>
                <a:ext uri="{FF2B5EF4-FFF2-40B4-BE49-F238E27FC236}">
                  <a16:creationId xmlns:a16="http://schemas.microsoft.com/office/drawing/2014/main" id="{DAC42A46-917D-41AB-8F07-E15E54D0F7D4}"/>
                </a:ext>
              </a:extLst>
            </p:cNvPr>
            <p:cNvGrpSpPr/>
            <p:nvPr/>
          </p:nvGrpSpPr>
          <p:grpSpPr>
            <a:xfrm>
              <a:off x="0" y="153125"/>
              <a:ext cx="13958844" cy="666567"/>
              <a:chOff x="0" y="153125"/>
              <a:chExt cx="13958844" cy="666567"/>
            </a:xfrm>
          </p:grpSpPr>
          <p:pic>
            <p:nvPicPr>
              <p:cNvPr id="10" name="Picture 10"/>
              <p:cNvPicPr>
                <a:picLocks noChangeAspect="1"/>
              </p:cNvPicPr>
              <p:nvPr/>
            </p:nvPicPr>
            <p:blipFill>
              <a:blip r:embed="rId6"/>
              <a:srcRect l="134" t="91287" b="3943"/>
              <a:stretch>
                <a:fillRect/>
              </a:stretch>
            </p:blipFill>
            <p:spPr>
              <a:xfrm>
                <a:off x="0" y="153125"/>
                <a:ext cx="13958844" cy="666567"/>
              </a:xfrm>
              <a:prstGeom prst="rect">
                <a:avLst/>
              </a:prstGeom>
            </p:spPr>
          </p:pic>
          <p:sp>
            <p:nvSpPr>
              <p:cNvPr id="11" name="TextBox 11"/>
              <p:cNvSpPr txBox="1"/>
              <p:nvPr/>
            </p:nvSpPr>
            <p:spPr>
              <a:xfrm>
                <a:off x="228600" y="257980"/>
                <a:ext cx="5752704" cy="456856"/>
              </a:xfrm>
              <a:prstGeom prst="rect">
                <a:avLst/>
              </a:prstGeom>
            </p:spPr>
            <p:txBody>
              <a:bodyPr wrap="square" lIns="0" tIns="0" rIns="0" bIns="0" rtlCol="0" anchor="t">
                <a:spAutoFit/>
              </a:bodyPr>
              <a:lstStyle/>
              <a:p>
                <a:pPr>
                  <a:lnSpc>
                    <a:spcPts val="3919"/>
                  </a:lnSpc>
                  <a:spcBef>
                    <a:spcPct val="0"/>
                  </a:spcBef>
                </a:pPr>
                <a:endParaRPr lang="en-US" sz="2800" b="1">
                  <a:solidFill>
                    <a:srgbClr val="FFFFFF"/>
                  </a:solidFill>
                  <a:latin typeface="Arial" panose="020B0604020202020204" pitchFamily="34" charset="0"/>
                  <a:cs typeface="Arial" panose="020B0604020202020204" pitchFamily="34" charset="0"/>
                </a:endParaRPr>
              </a:p>
            </p:txBody>
          </p:sp>
        </p:grpSp>
        <p:sp>
          <p:nvSpPr>
            <p:cNvPr id="12" name="Rettangolo 11">
              <a:extLst>
                <a:ext uri="{FF2B5EF4-FFF2-40B4-BE49-F238E27FC236}">
                  <a16:creationId xmlns:a16="http://schemas.microsoft.com/office/drawing/2014/main" id="{F2E90E36-F5DF-479E-BF3B-C6F6A1CEA4E7}"/>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9" name="TextBox 14">
            <a:extLst>
              <a:ext uri="{FF2B5EF4-FFF2-40B4-BE49-F238E27FC236}">
                <a16:creationId xmlns:a16="http://schemas.microsoft.com/office/drawing/2014/main" id="{B5C457C5-5E6A-4DD1-9F95-583C431D5128}"/>
              </a:ext>
            </a:extLst>
          </p:cNvPr>
          <p:cNvSpPr txBox="1"/>
          <p:nvPr/>
        </p:nvSpPr>
        <p:spPr>
          <a:xfrm>
            <a:off x="1020300" y="4224565"/>
            <a:ext cx="7162789" cy="5909310"/>
          </a:xfrm>
          <a:prstGeom prst="rect">
            <a:avLst/>
          </a:prstGeom>
        </p:spPr>
        <p:txBody>
          <a:bodyPr wrap="square" lIns="0" tIns="0" rIns="0" bIns="0" rtlCol="0" anchor="t">
            <a:spAutoFit/>
          </a:bodyPr>
          <a:lstStyle/>
          <a:p>
            <a:pPr>
              <a:buClr>
                <a:schemeClr val="accent5"/>
              </a:buClr>
            </a:pPr>
            <a:r>
              <a:rPr lang="en-US" sz="3200" b="1">
                <a:solidFill>
                  <a:schemeClr val="accent1"/>
                </a:solidFill>
              </a:rPr>
              <a:t>Retrofitting actions FENO </a:t>
            </a:r>
          </a:p>
          <a:p>
            <a:pPr>
              <a:buClr>
                <a:schemeClr val="accent5"/>
              </a:buClr>
            </a:pPr>
            <a:endParaRPr lang="en-US" sz="3200" b="1"/>
          </a:p>
          <a:p>
            <a:pPr marL="457200" indent="-457200">
              <a:buClr>
                <a:srgbClr val="CC0033"/>
              </a:buClr>
              <a:buFont typeface="Wingdings" panose="05000000000000000000" pitchFamily="2" charset="2"/>
              <a:buChar char="ü"/>
            </a:pPr>
            <a:r>
              <a:rPr lang="en-US" sz="3200" b="1"/>
              <a:t>Burner modification for feeding biochar and plastic grains </a:t>
            </a:r>
          </a:p>
          <a:p>
            <a:pPr marL="457200" indent="-457200">
              <a:buClr>
                <a:srgbClr val="CC0033"/>
              </a:buClr>
              <a:buFont typeface="Wingdings" panose="05000000000000000000" pitchFamily="2" charset="2"/>
              <a:buChar char="ü"/>
            </a:pPr>
            <a:endParaRPr lang="en-US" sz="3200" b="1"/>
          </a:p>
          <a:p>
            <a:pPr marL="457200" indent="-457200">
              <a:buClr>
                <a:srgbClr val="CC0033"/>
              </a:buClr>
              <a:buFont typeface="Wingdings" panose="05000000000000000000" pitchFamily="2" charset="2"/>
              <a:buChar char="ü"/>
            </a:pPr>
            <a:r>
              <a:rPr lang="en-US" sz="3200" b="1"/>
              <a:t>Injection system </a:t>
            </a:r>
          </a:p>
          <a:p>
            <a:pPr marL="457200" indent="-457200">
              <a:buClr>
                <a:srgbClr val="CC0033"/>
              </a:buClr>
              <a:buFont typeface="Wingdings" panose="05000000000000000000" pitchFamily="2" charset="2"/>
              <a:buChar char="ü"/>
            </a:pPr>
            <a:endParaRPr lang="en-US" sz="3200" b="1"/>
          </a:p>
          <a:p>
            <a:pPr>
              <a:buClr>
                <a:srgbClr val="CC0033"/>
              </a:buClr>
            </a:pPr>
            <a:endParaRPr lang="en-US" sz="3200" b="1">
              <a:solidFill>
                <a:schemeClr val="accent1"/>
              </a:solidFill>
            </a:endParaRPr>
          </a:p>
          <a:p>
            <a:pPr marL="457200" indent="-457200">
              <a:buClr>
                <a:srgbClr val="CC0033"/>
              </a:buClr>
              <a:buFont typeface="Wingdings" panose="05000000000000000000" pitchFamily="2" charset="2"/>
              <a:buChar char="ü"/>
            </a:pPr>
            <a:endParaRPr lang="en-US" sz="3200" b="1">
              <a:solidFill>
                <a:schemeClr val="accent1"/>
              </a:solidFill>
            </a:endParaRPr>
          </a:p>
          <a:p>
            <a:pPr>
              <a:buClr>
                <a:srgbClr val="CC0033"/>
              </a:buClr>
            </a:pPr>
            <a:endParaRPr lang="en-US" sz="3200" b="1">
              <a:solidFill>
                <a:schemeClr val="accent1"/>
              </a:solidFill>
            </a:endParaRPr>
          </a:p>
          <a:p>
            <a:pPr>
              <a:buClr>
                <a:srgbClr val="CC0033"/>
              </a:buClr>
            </a:pPr>
            <a:endParaRPr lang="en-US" sz="3200" b="1">
              <a:solidFill>
                <a:schemeClr val="accent1"/>
              </a:solidFill>
            </a:endParaRPr>
          </a:p>
          <a:p>
            <a:pPr marL="457200" indent="-457200">
              <a:buClr>
                <a:srgbClr val="CC0033"/>
              </a:buClr>
              <a:buFont typeface="Wingdings" panose="05000000000000000000" pitchFamily="2" charset="2"/>
              <a:buChar char="ü"/>
            </a:pPr>
            <a:endParaRPr lang="es-ES" sz="3200" b="1"/>
          </a:p>
        </p:txBody>
      </p:sp>
      <p:sp>
        <p:nvSpPr>
          <p:cNvPr id="26" name="TextBox 14">
            <a:extLst>
              <a:ext uri="{FF2B5EF4-FFF2-40B4-BE49-F238E27FC236}">
                <a16:creationId xmlns:a16="http://schemas.microsoft.com/office/drawing/2014/main" id="{7D36EA49-80B0-4761-8A24-F05F322EAC77}"/>
              </a:ext>
            </a:extLst>
          </p:cNvPr>
          <p:cNvSpPr txBox="1"/>
          <p:nvPr/>
        </p:nvSpPr>
        <p:spPr>
          <a:xfrm>
            <a:off x="10380023" y="4007611"/>
            <a:ext cx="7162789" cy="3447098"/>
          </a:xfrm>
          <a:prstGeom prst="rect">
            <a:avLst/>
          </a:prstGeom>
        </p:spPr>
        <p:txBody>
          <a:bodyPr wrap="square" lIns="0" tIns="0" rIns="0" bIns="0" rtlCol="0" anchor="t">
            <a:spAutoFit/>
          </a:bodyPr>
          <a:lstStyle/>
          <a:p>
            <a:pPr>
              <a:buClr>
                <a:schemeClr val="accent5"/>
              </a:buClr>
            </a:pPr>
            <a:r>
              <a:rPr lang="en-US" sz="3200" b="1">
                <a:solidFill>
                  <a:schemeClr val="accent2">
                    <a:lumMod val="75000"/>
                  </a:schemeClr>
                </a:solidFill>
              </a:rPr>
              <a:t>Goals</a:t>
            </a:r>
          </a:p>
          <a:p>
            <a:pPr>
              <a:buClr>
                <a:schemeClr val="accent5"/>
              </a:buClr>
            </a:pPr>
            <a:endParaRPr lang="en-US" sz="3200" b="1"/>
          </a:p>
          <a:p>
            <a:pPr marL="457200" indent="-457200">
              <a:buClr>
                <a:schemeClr val="accent2">
                  <a:lumMod val="75000"/>
                </a:schemeClr>
              </a:buClr>
              <a:buFont typeface="Wingdings" panose="05000000000000000000" pitchFamily="2" charset="2"/>
              <a:buChar char="ü"/>
            </a:pPr>
            <a:r>
              <a:rPr lang="en-US" sz="3200" b="1"/>
              <a:t>Reduction of GHG emissions </a:t>
            </a:r>
          </a:p>
          <a:p>
            <a:pPr marL="457200" indent="-457200">
              <a:buClr>
                <a:srgbClr val="99CC99"/>
              </a:buClr>
              <a:buFont typeface="Wingdings" panose="05000000000000000000" pitchFamily="2" charset="2"/>
              <a:buChar char="ü"/>
            </a:pPr>
            <a:endParaRPr lang="en-US" sz="3200" b="1"/>
          </a:p>
          <a:p>
            <a:pPr marL="457200" indent="-457200">
              <a:buClr>
                <a:schemeClr val="accent2">
                  <a:lumMod val="75000"/>
                </a:schemeClr>
              </a:buClr>
              <a:buFont typeface="Wingdings" panose="05000000000000000000" pitchFamily="2" charset="2"/>
              <a:buChar char="ü"/>
            </a:pPr>
            <a:r>
              <a:rPr lang="en-US" sz="3200" b="1"/>
              <a:t>Use of alternative feedstock</a:t>
            </a:r>
          </a:p>
          <a:p>
            <a:pPr>
              <a:buClr>
                <a:schemeClr val="accent2">
                  <a:lumMod val="75000"/>
                </a:schemeClr>
              </a:buClr>
            </a:pPr>
            <a:endParaRPr lang="en-US" sz="3200" b="1"/>
          </a:p>
          <a:p>
            <a:pPr marL="457200" indent="-457200">
              <a:buClr>
                <a:schemeClr val="accent2">
                  <a:lumMod val="75000"/>
                </a:schemeClr>
              </a:buClr>
              <a:buFont typeface="Wingdings" panose="05000000000000000000" pitchFamily="2" charset="2"/>
              <a:buChar char="ü"/>
            </a:pPr>
            <a:r>
              <a:rPr lang="en-US" sz="3200" b="1"/>
              <a:t>M&amp;C system improvement</a:t>
            </a:r>
            <a:endParaRPr lang="es-ES" sz="3200" b="1"/>
          </a:p>
        </p:txBody>
      </p:sp>
      <p:cxnSp>
        <p:nvCxnSpPr>
          <p:cNvPr id="22" name="Conector recto 21">
            <a:extLst>
              <a:ext uri="{FF2B5EF4-FFF2-40B4-BE49-F238E27FC236}">
                <a16:creationId xmlns:a16="http://schemas.microsoft.com/office/drawing/2014/main" id="{C1C13E5C-9B1F-4C49-A1A9-8711ED072063}"/>
              </a:ext>
            </a:extLst>
          </p:cNvPr>
          <p:cNvCxnSpPr>
            <a:cxnSpLocks/>
          </p:cNvCxnSpPr>
          <p:nvPr/>
        </p:nvCxnSpPr>
        <p:spPr>
          <a:xfrm>
            <a:off x="8915400" y="3397713"/>
            <a:ext cx="0" cy="2880000"/>
          </a:xfrm>
          <a:prstGeom prst="line">
            <a:avLst/>
          </a:prstGeom>
          <a:ln w="63500"/>
        </p:spPr>
        <p:style>
          <a:lnRef idx="1">
            <a:schemeClr val="accent1"/>
          </a:lnRef>
          <a:fillRef idx="0">
            <a:schemeClr val="accent1"/>
          </a:fillRef>
          <a:effectRef idx="0">
            <a:schemeClr val="accent1"/>
          </a:effectRef>
          <a:fontRef idx="minor">
            <a:schemeClr val="tx1"/>
          </a:fontRef>
        </p:style>
      </p:cxnSp>
      <p:cxnSp>
        <p:nvCxnSpPr>
          <p:cNvPr id="23" name="Conector recto 22">
            <a:extLst>
              <a:ext uri="{FF2B5EF4-FFF2-40B4-BE49-F238E27FC236}">
                <a16:creationId xmlns:a16="http://schemas.microsoft.com/office/drawing/2014/main" id="{F94BB75A-6E76-4134-ACE8-6F0CFB1646EA}"/>
              </a:ext>
            </a:extLst>
          </p:cNvPr>
          <p:cNvCxnSpPr>
            <a:cxnSpLocks/>
          </p:cNvCxnSpPr>
          <p:nvPr/>
        </p:nvCxnSpPr>
        <p:spPr>
          <a:xfrm>
            <a:off x="8905164" y="6021113"/>
            <a:ext cx="0" cy="2880000"/>
          </a:xfrm>
          <a:prstGeom prst="line">
            <a:avLst/>
          </a:prstGeom>
          <a:ln w="63500">
            <a:solidFill>
              <a:srgbClr val="99CC99"/>
            </a:solidFill>
          </a:ln>
        </p:spPr>
        <p:style>
          <a:lnRef idx="1">
            <a:schemeClr val="accent1"/>
          </a:lnRef>
          <a:fillRef idx="0">
            <a:schemeClr val="accent1"/>
          </a:fillRef>
          <a:effectRef idx="0">
            <a:schemeClr val="accent1"/>
          </a:effectRef>
          <a:fontRef idx="minor">
            <a:schemeClr val="tx1"/>
          </a:fontRef>
        </p:style>
      </p:cxnSp>
      <p:pic>
        <p:nvPicPr>
          <p:cNvPr id="3" name="Imagen 115">
            <a:extLst>
              <a:ext uri="{FF2B5EF4-FFF2-40B4-BE49-F238E27FC236}">
                <a16:creationId xmlns:a16="http://schemas.microsoft.com/office/drawing/2014/main" id="{B5E46839-6851-4D0B-A989-A54DF41E5DB2}"/>
              </a:ext>
            </a:extLst>
          </p:cNvPr>
          <p:cNvPicPr>
            <a:picLocks noChangeAspect="1"/>
          </p:cNvPicPr>
          <p:nvPr/>
        </p:nvPicPr>
        <p:blipFill>
          <a:blip r:embed="rId7"/>
          <a:stretch>
            <a:fillRect/>
          </a:stretch>
        </p:blipFill>
        <p:spPr>
          <a:xfrm>
            <a:off x="16632590" y="341196"/>
            <a:ext cx="1426810" cy="1197757"/>
          </a:xfrm>
          <a:prstGeom prst="rect">
            <a:avLst/>
          </a:prstGeom>
        </p:spPr>
      </p:pic>
      <p:sp>
        <p:nvSpPr>
          <p:cNvPr id="4" name="TextBox 13">
            <a:extLst>
              <a:ext uri="{FF2B5EF4-FFF2-40B4-BE49-F238E27FC236}">
                <a16:creationId xmlns:a16="http://schemas.microsoft.com/office/drawing/2014/main" id="{4DBA6E6C-EF4B-454F-10E8-510ECCEF6124}"/>
              </a:ext>
            </a:extLst>
          </p:cNvPr>
          <p:cNvSpPr txBox="1"/>
          <p:nvPr/>
        </p:nvSpPr>
        <p:spPr>
          <a:xfrm>
            <a:off x="885371" y="896353"/>
            <a:ext cx="16194313" cy="1040798"/>
          </a:xfrm>
          <a:prstGeom prst="rect">
            <a:avLst/>
          </a:prstGeom>
        </p:spPr>
        <p:txBody>
          <a:bodyPr wrap="square" lIns="0" tIns="0" rIns="0" bIns="0" rtlCol="0" anchor="t">
            <a:spAutoFit/>
          </a:bodyPr>
          <a:lstStyle/>
          <a:p>
            <a:pPr marL="0" marR="0" lvl="0" indent="0" algn="ctr" defTabSz="914400" rtl="0" eaLnBrk="1" fontAlgn="auto" latinLnBrk="0" hangingPunct="1">
              <a:lnSpc>
                <a:spcPts val="8960"/>
              </a:lnSpc>
              <a:spcBef>
                <a:spcPct val="0"/>
              </a:spcBef>
              <a:spcAft>
                <a:spcPts val="0"/>
              </a:spcAft>
              <a:buClrTx/>
              <a:buSzTx/>
              <a:buFontTx/>
              <a:buNone/>
              <a:tabLst/>
              <a:defRPr/>
            </a:pPr>
            <a:r>
              <a:rPr kumimoji="0" lang="en-US" sz="6000" b="1" i="0" u="none" strike="noStrike" kern="1200" cap="none" spc="0" normalizeH="0" baseline="0" noProof="0" dirty="0">
                <a:ln>
                  <a:noFill/>
                </a:ln>
                <a:solidFill>
                  <a:srgbClr val="CC0033"/>
                </a:solidFill>
                <a:effectLst/>
                <a:uLnTx/>
                <a:uFillTx/>
                <a:latin typeface="Arial"/>
                <a:ea typeface="+mn-ea"/>
                <a:cs typeface="Arial" panose="020B0604020202020204" pitchFamily="34" charset="0"/>
              </a:rPr>
              <a:t>Actions and goals   </a:t>
            </a:r>
          </a:p>
        </p:txBody>
      </p:sp>
    </p:spTree>
    <p:extLst>
      <p:ext uri="{BB962C8B-B14F-4D97-AF65-F5344CB8AC3E}">
        <p14:creationId xmlns:p14="http://schemas.microsoft.com/office/powerpoint/2010/main" val="740776874"/>
      </p:ext>
    </p:extLst>
  </p:cSld>
  <p:clrMapOvr>
    <a:masterClrMapping/>
  </p:clrMapOvr>
  <mc:AlternateContent xmlns:mc="http://schemas.openxmlformats.org/markup-compatibility/2006" xmlns:p14="http://schemas.microsoft.com/office/powerpoint/2010/main">
    <mc:Choice Requires="p14">
      <p:transition spd="slow" p14:dur="2000" advTm="83130"/>
    </mc:Choice>
    <mc:Fallback xmlns="">
      <p:transition spd="slow" advTm="83130"/>
    </mc:Fallback>
  </mc:AlternateContent>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6"/>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4"/>
          <a:srcRect/>
          <a:stretch>
            <a:fillRect/>
          </a:stretch>
        </p:blipFill>
        <p:spPr>
          <a:xfrm>
            <a:off x="0" y="8901113"/>
            <a:ext cx="5715000" cy="1385887"/>
          </a:xfrm>
          <a:prstGeom prst="rect">
            <a:avLst/>
          </a:prstGeom>
        </p:spPr>
      </p:pic>
      <p:grpSp>
        <p:nvGrpSpPr>
          <p:cNvPr id="2" name="Gruppo 1">
            <a:extLst>
              <a:ext uri="{FF2B5EF4-FFF2-40B4-BE49-F238E27FC236}">
                <a16:creationId xmlns:a16="http://schemas.microsoft.com/office/drawing/2014/main" id="{D8D71BB5-458F-411D-AFA9-C648954E9F40}"/>
              </a:ext>
            </a:extLst>
          </p:cNvPr>
          <p:cNvGrpSpPr/>
          <p:nvPr/>
        </p:nvGrpSpPr>
        <p:grpSpPr>
          <a:xfrm>
            <a:off x="-12" y="138554"/>
            <a:ext cx="18288002" cy="681138"/>
            <a:chOff x="-12" y="138554"/>
            <a:chExt cx="18288002" cy="681138"/>
          </a:xfrm>
        </p:grpSpPr>
        <p:grpSp>
          <p:nvGrpSpPr>
            <p:cNvPr id="16" name="Gruppo 15">
              <a:extLst>
                <a:ext uri="{FF2B5EF4-FFF2-40B4-BE49-F238E27FC236}">
                  <a16:creationId xmlns:a16="http://schemas.microsoft.com/office/drawing/2014/main" id="{DAC42A46-917D-41AB-8F07-E15E54D0F7D4}"/>
                </a:ext>
              </a:extLst>
            </p:cNvPr>
            <p:cNvGrpSpPr/>
            <p:nvPr/>
          </p:nvGrpSpPr>
          <p:grpSpPr>
            <a:xfrm>
              <a:off x="0" y="153125"/>
              <a:ext cx="13958844" cy="666567"/>
              <a:chOff x="0" y="153125"/>
              <a:chExt cx="13958844" cy="666567"/>
            </a:xfrm>
          </p:grpSpPr>
          <p:pic>
            <p:nvPicPr>
              <p:cNvPr id="10" name="Picture 10"/>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1" name="TextBox 11"/>
              <p:cNvSpPr txBox="1"/>
              <p:nvPr/>
            </p:nvSpPr>
            <p:spPr>
              <a:xfrm>
                <a:off x="228600" y="257980"/>
                <a:ext cx="5752704" cy="456856"/>
              </a:xfrm>
              <a:prstGeom prst="rect">
                <a:avLst/>
              </a:prstGeom>
            </p:spPr>
            <p:txBody>
              <a:bodyPr wrap="square" lIns="0" tIns="0" rIns="0" bIns="0" rtlCol="0" anchor="t">
                <a:spAutoFit/>
              </a:bodyPr>
              <a:lstStyle/>
              <a:p>
                <a:pPr>
                  <a:lnSpc>
                    <a:spcPts val="3919"/>
                  </a:lnSpc>
                  <a:spcBef>
                    <a:spcPct val="0"/>
                  </a:spcBef>
                </a:pPr>
                <a:endParaRPr lang="en-US" sz="2800" b="1">
                  <a:solidFill>
                    <a:srgbClr val="FFFFFF"/>
                  </a:solidFill>
                  <a:latin typeface="Arial" panose="020B0604020202020204" pitchFamily="34" charset="0"/>
                  <a:cs typeface="Arial" panose="020B0604020202020204" pitchFamily="34" charset="0"/>
                </a:endParaRPr>
              </a:p>
            </p:txBody>
          </p:sp>
        </p:grpSp>
        <p:sp>
          <p:nvSpPr>
            <p:cNvPr id="12" name="Rettangolo 11">
              <a:extLst>
                <a:ext uri="{FF2B5EF4-FFF2-40B4-BE49-F238E27FC236}">
                  <a16:creationId xmlns:a16="http://schemas.microsoft.com/office/drawing/2014/main" id="{F2E90E36-F5DF-479E-BF3B-C6F6A1CEA4E7}"/>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3" name="Imagen 115">
            <a:extLst>
              <a:ext uri="{FF2B5EF4-FFF2-40B4-BE49-F238E27FC236}">
                <a16:creationId xmlns:a16="http://schemas.microsoft.com/office/drawing/2014/main" id="{B5E46839-6851-4D0B-A989-A54DF41E5DB2}"/>
              </a:ext>
            </a:extLst>
          </p:cNvPr>
          <p:cNvPicPr>
            <a:picLocks noChangeAspect="1"/>
          </p:cNvPicPr>
          <p:nvPr/>
        </p:nvPicPr>
        <p:blipFill>
          <a:blip r:embed="rId6"/>
          <a:stretch>
            <a:fillRect/>
          </a:stretch>
        </p:blipFill>
        <p:spPr>
          <a:xfrm>
            <a:off x="16689224" y="386588"/>
            <a:ext cx="1426810" cy="1197757"/>
          </a:xfrm>
          <a:prstGeom prst="rect">
            <a:avLst/>
          </a:prstGeom>
        </p:spPr>
      </p:pic>
      <p:sp>
        <p:nvSpPr>
          <p:cNvPr id="4" name="TextBox 13">
            <a:extLst>
              <a:ext uri="{FF2B5EF4-FFF2-40B4-BE49-F238E27FC236}">
                <a16:creationId xmlns:a16="http://schemas.microsoft.com/office/drawing/2014/main" id="{4DBA6E6C-EF4B-454F-10E8-510ECCEF6124}"/>
              </a:ext>
            </a:extLst>
          </p:cNvPr>
          <p:cNvSpPr txBox="1"/>
          <p:nvPr/>
        </p:nvSpPr>
        <p:spPr>
          <a:xfrm>
            <a:off x="885371" y="896353"/>
            <a:ext cx="16194313" cy="1040798"/>
          </a:xfrm>
          <a:prstGeom prst="rect">
            <a:avLst/>
          </a:prstGeom>
        </p:spPr>
        <p:txBody>
          <a:bodyPr wrap="square" lIns="0" tIns="0" rIns="0" bIns="0" rtlCol="0" anchor="t">
            <a:spAutoFit/>
          </a:bodyPr>
          <a:lstStyle/>
          <a:p>
            <a:pPr marL="0" marR="0" lvl="0" indent="0" defTabSz="914400" rtl="0" eaLnBrk="1" fontAlgn="auto" latinLnBrk="0" hangingPunct="1">
              <a:lnSpc>
                <a:spcPts val="8960"/>
              </a:lnSpc>
              <a:spcBef>
                <a:spcPct val="0"/>
              </a:spcBef>
              <a:spcAft>
                <a:spcPts val="0"/>
              </a:spcAft>
              <a:buClrTx/>
              <a:buSzTx/>
              <a:buFontTx/>
              <a:buNone/>
              <a:tabLst/>
              <a:defRPr/>
            </a:pPr>
            <a:r>
              <a:rPr kumimoji="0" lang="en-US" sz="6000" b="1" i="0" u="none" strike="noStrike" kern="1200" cap="none" spc="0" normalizeH="0" baseline="0" noProof="0" dirty="0">
                <a:ln>
                  <a:noFill/>
                </a:ln>
                <a:solidFill>
                  <a:srgbClr val="CC0033"/>
                </a:solidFill>
                <a:effectLst/>
                <a:uLnTx/>
                <a:uFillTx/>
                <a:latin typeface="Arial"/>
                <a:ea typeface="+mn-ea"/>
                <a:cs typeface="Arial" panose="020B0604020202020204" pitchFamily="34" charset="0"/>
              </a:rPr>
              <a:t>Carried out activities</a:t>
            </a:r>
          </a:p>
        </p:txBody>
      </p:sp>
      <p:sp>
        <p:nvSpPr>
          <p:cNvPr id="8" name="Rectangle 3">
            <a:extLst>
              <a:ext uri="{FF2B5EF4-FFF2-40B4-BE49-F238E27FC236}">
                <a16:creationId xmlns:a16="http://schemas.microsoft.com/office/drawing/2014/main" id="{C288AE58-91DF-1387-23B9-51798F478E34}"/>
              </a:ext>
            </a:extLst>
          </p:cNvPr>
          <p:cNvSpPr txBox="1">
            <a:spLocks noChangeArrowheads="1"/>
          </p:cNvSpPr>
          <p:nvPr/>
        </p:nvSpPr>
        <p:spPr bwMode="auto">
          <a:xfrm>
            <a:off x="1511152" y="1842538"/>
            <a:ext cx="9073008" cy="1716788"/>
          </a:xfrm>
          <a:prstGeom prst="rect">
            <a:avLst/>
          </a:prstGeom>
          <a:noFill/>
          <a:ln w="9525">
            <a:noFill/>
            <a:miter lim="800000"/>
            <a:headEnd/>
            <a:tailEnd/>
          </a:ln>
        </p:spPr>
        <p:txBody>
          <a:bodyPr/>
          <a:lstStyle/>
          <a:p>
            <a:pPr marL="571500" indent="-571500">
              <a:buFont typeface="Arial" panose="020B0604020202020204" pitchFamily="34" charset="0"/>
              <a:buChar char="•"/>
            </a:pPr>
            <a:endParaRPr lang="sv-SE" sz="2400" dirty="0">
              <a:latin typeface="Univers"/>
              <a:cs typeface="Calibri" panose="020F0502020204030204"/>
            </a:endParaRPr>
          </a:p>
          <a:p>
            <a:pPr marL="571500" indent="-571500">
              <a:buFont typeface="Arial" panose="020B0604020202020204" pitchFamily="34" charset="0"/>
              <a:buChar char="•"/>
            </a:pPr>
            <a:r>
              <a:rPr lang="sv-SE" sz="2400" dirty="0" err="1">
                <a:latin typeface="Univers"/>
                <a:cs typeface="Calibri" panose="020F0502020204030204"/>
              </a:rPr>
              <a:t>Injection</a:t>
            </a:r>
            <a:r>
              <a:rPr lang="sv-SE" sz="2400" dirty="0">
                <a:latin typeface="Univers"/>
                <a:cs typeface="Calibri" panose="020F0502020204030204"/>
              </a:rPr>
              <a:t> test </a:t>
            </a:r>
            <a:r>
              <a:rPr lang="sv-SE" sz="2400" dirty="0" err="1">
                <a:latin typeface="Univers"/>
                <a:cs typeface="Calibri" panose="020F0502020204030204"/>
              </a:rPr>
              <a:t>with</a:t>
            </a:r>
            <a:r>
              <a:rPr lang="sv-SE" sz="2400" dirty="0">
                <a:latin typeface="Univers"/>
                <a:cs typeface="Calibri" panose="020F0502020204030204"/>
              </a:rPr>
              <a:t> alternative materials</a:t>
            </a:r>
          </a:p>
          <a:p>
            <a:pPr marL="571500" indent="-571500">
              <a:buFont typeface="Arial" panose="020B0604020202020204" pitchFamily="34" charset="0"/>
              <a:buChar char="•"/>
            </a:pPr>
            <a:r>
              <a:rPr lang="sv-SE" sz="2400" dirty="0" err="1">
                <a:latin typeface="Univers"/>
                <a:cs typeface="Calibri" panose="020F0502020204030204"/>
              </a:rPr>
              <a:t>Burner</a:t>
            </a:r>
            <a:r>
              <a:rPr lang="sv-SE" sz="2400" dirty="0">
                <a:latin typeface="Univers"/>
                <a:cs typeface="Calibri" panose="020F0502020204030204"/>
              </a:rPr>
              <a:t> test </a:t>
            </a:r>
            <a:r>
              <a:rPr lang="sv-SE" sz="2400" dirty="0" err="1">
                <a:latin typeface="Univers"/>
                <a:cs typeface="Calibri" panose="020F0502020204030204"/>
              </a:rPr>
              <a:t>with</a:t>
            </a:r>
            <a:r>
              <a:rPr lang="sv-SE" sz="2400" dirty="0">
                <a:latin typeface="Univers"/>
                <a:cs typeface="Calibri" panose="020F0502020204030204"/>
              </a:rPr>
              <a:t> polymers</a:t>
            </a:r>
          </a:p>
          <a:p>
            <a:pPr marL="571500" indent="-571500">
              <a:buFont typeface="Arial" panose="020B0604020202020204" pitchFamily="34" charset="0"/>
              <a:buChar char="•"/>
            </a:pPr>
            <a:r>
              <a:rPr lang="sv-SE" sz="2400" dirty="0">
                <a:latin typeface="Univers"/>
                <a:cs typeface="Calibri" panose="020F0502020204030204"/>
              </a:rPr>
              <a:t>Slag sent for </a:t>
            </a:r>
            <a:r>
              <a:rPr lang="sv-SE" sz="2400" dirty="0" err="1">
                <a:latin typeface="Univers"/>
                <a:cs typeface="Calibri" panose="020F0502020204030204"/>
              </a:rPr>
              <a:t>thermal</a:t>
            </a:r>
            <a:r>
              <a:rPr lang="sv-SE" sz="2400" dirty="0">
                <a:latin typeface="Univers"/>
                <a:cs typeface="Calibri" panose="020F0502020204030204"/>
              </a:rPr>
              <a:t> </a:t>
            </a:r>
            <a:r>
              <a:rPr lang="sv-SE" sz="2400" dirty="0" err="1">
                <a:latin typeface="Univers"/>
                <a:cs typeface="Calibri" panose="020F0502020204030204"/>
              </a:rPr>
              <a:t>buffer</a:t>
            </a:r>
            <a:r>
              <a:rPr lang="sv-SE" sz="2400" dirty="0">
                <a:latin typeface="Univers"/>
                <a:cs typeface="Calibri" panose="020F0502020204030204"/>
              </a:rPr>
              <a:t> tests</a:t>
            </a:r>
          </a:p>
          <a:p>
            <a:pPr marL="0" lvl="1">
              <a:spcBef>
                <a:spcPct val="20000"/>
              </a:spcBef>
              <a:defRPr/>
            </a:pPr>
            <a:endParaRPr lang="it-IT" altLang="it-IT" sz="3200" dirty="0">
              <a:solidFill>
                <a:srgbClr val="00358E"/>
              </a:solidFill>
              <a:latin typeface="Univers"/>
              <a:cs typeface="Calibri" panose="020F0502020204030204"/>
            </a:endParaRPr>
          </a:p>
          <a:p>
            <a:pPr marL="0" lvl="1" algn="just">
              <a:spcBef>
                <a:spcPct val="20000"/>
              </a:spcBef>
              <a:defRPr/>
            </a:pPr>
            <a:endParaRPr lang="it-IT" altLang="it-IT" sz="2200" dirty="0">
              <a:solidFill>
                <a:srgbClr val="00358E"/>
              </a:solidFill>
              <a:latin typeface="Univers"/>
              <a:cs typeface="Calibri" panose="020F0502020204030204"/>
            </a:endParaRPr>
          </a:p>
          <a:p>
            <a:pPr marL="0" lvl="1" algn="just">
              <a:spcBef>
                <a:spcPct val="20000"/>
              </a:spcBef>
              <a:defRPr/>
            </a:pPr>
            <a:endParaRPr lang="it-IT" altLang="it-IT" sz="4800" dirty="0">
              <a:solidFill>
                <a:srgbClr val="00358E"/>
              </a:solidFill>
              <a:latin typeface="Univers"/>
              <a:cs typeface="Calibri" panose="020F0502020204030204"/>
            </a:endParaRPr>
          </a:p>
        </p:txBody>
      </p:sp>
      <p:pic>
        <p:nvPicPr>
          <p:cNvPr id="14" name="Immagine 16" descr="Immagine che contiene calore, natura, caminetto, edificio&#10;&#10;Descrizione generata automaticamente">
            <a:extLst>
              <a:ext uri="{FF2B5EF4-FFF2-40B4-BE49-F238E27FC236}">
                <a16:creationId xmlns:a16="http://schemas.microsoft.com/office/drawing/2014/main" id="{0FB4A0A7-2258-E104-5E39-566C91BD5612}"/>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30360" t="18462" r="12655" b="29452"/>
          <a:stretch/>
        </p:blipFill>
        <p:spPr>
          <a:xfrm rot="5400000">
            <a:off x="5921220" y="5037499"/>
            <a:ext cx="4922756" cy="2024800"/>
          </a:xfrm>
          <a:prstGeom prst="rect">
            <a:avLst/>
          </a:prstGeom>
        </p:spPr>
      </p:pic>
      <p:pic>
        <p:nvPicPr>
          <p:cNvPr id="21" name="Immagine 17" descr="Immagine che contiene edificio, ponteggio, blu&#10;&#10;Descrizione generata automaticamente">
            <a:extLst>
              <a:ext uri="{FF2B5EF4-FFF2-40B4-BE49-F238E27FC236}">
                <a16:creationId xmlns:a16="http://schemas.microsoft.com/office/drawing/2014/main" id="{C9BAE0CE-8708-938A-8B19-D5C1E86947E7}"/>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929023" y="1852720"/>
            <a:ext cx="6158496" cy="4105664"/>
          </a:xfrm>
          <a:prstGeom prst="rect">
            <a:avLst/>
          </a:prstGeom>
        </p:spPr>
      </p:pic>
      <p:graphicFrame>
        <p:nvGraphicFramePr>
          <p:cNvPr id="22" name="Tabella 7">
            <a:extLst>
              <a:ext uri="{FF2B5EF4-FFF2-40B4-BE49-F238E27FC236}">
                <a16:creationId xmlns:a16="http://schemas.microsoft.com/office/drawing/2014/main" id="{1D26FE49-3F49-5247-798C-CA7C1EBCA65C}"/>
              </a:ext>
            </a:extLst>
          </p:cNvPr>
          <p:cNvGraphicFramePr>
            <a:graphicFrameLocks noGrp="1"/>
          </p:cNvGraphicFramePr>
          <p:nvPr>
            <p:extLst>
              <p:ext uri="{D42A27DB-BD31-4B8C-83A1-F6EECF244321}">
                <p14:modId xmlns:p14="http://schemas.microsoft.com/office/powerpoint/2010/main" val="1763620123"/>
              </p:ext>
            </p:extLst>
          </p:nvPr>
        </p:nvGraphicFramePr>
        <p:xfrm>
          <a:off x="10929023" y="6080940"/>
          <a:ext cx="5857764" cy="3492240"/>
        </p:xfrm>
        <a:graphic>
          <a:graphicData uri="http://schemas.openxmlformats.org/drawingml/2006/table">
            <a:tbl>
              <a:tblPr firstRow="1" bandRow="1">
                <a:tableStyleId>{5C22544A-7EE6-4342-B048-85BDC9FD1C3A}</a:tableStyleId>
              </a:tblPr>
              <a:tblGrid>
                <a:gridCol w="3041170">
                  <a:extLst>
                    <a:ext uri="{9D8B030D-6E8A-4147-A177-3AD203B41FA5}">
                      <a16:colId xmlns:a16="http://schemas.microsoft.com/office/drawing/2014/main" val="3922505697"/>
                    </a:ext>
                  </a:extLst>
                </a:gridCol>
                <a:gridCol w="2816594">
                  <a:extLst>
                    <a:ext uri="{9D8B030D-6E8A-4147-A177-3AD203B41FA5}">
                      <a16:colId xmlns:a16="http://schemas.microsoft.com/office/drawing/2014/main" val="2384821811"/>
                    </a:ext>
                  </a:extLst>
                </a:gridCol>
              </a:tblGrid>
              <a:tr h="548640">
                <a:tc gridSpan="2">
                  <a:txBody>
                    <a:bodyPr/>
                    <a:lstStyle/>
                    <a:p>
                      <a:pPr algn="ctr"/>
                      <a:r>
                        <a:rPr lang="it-IT" sz="2400" dirty="0"/>
                        <a:t>Alternative Material Injection System</a:t>
                      </a:r>
                      <a:endParaRPr lang="en-US" sz="2400" dirty="0"/>
                    </a:p>
                  </a:txBody>
                  <a:tcPr marL="182880" marR="182880" marT="91440" marB="91440" anchor="ctr"/>
                </a:tc>
                <a:tc hMerge="1">
                  <a:txBody>
                    <a:bodyPr/>
                    <a:lstStyle/>
                    <a:p>
                      <a:pPr algn="ctr"/>
                      <a:r>
                        <a:rPr lang="it-IT" sz="2800"/>
                        <a:t>Time slot</a:t>
                      </a:r>
                      <a:endParaRPr lang="en-US" sz="2800"/>
                    </a:p>
                  </a:txBody>
                  <a:tcPr anchor="ctr"/>
                </a:tc>
                <a:extLst>
                  <a:ext uri="{0D108BD9-81ED-4DB2-BD59-A6C34878D82A}">
                    <a16:rowId xmlns:a16="http://schemas.microsoft.com/office/drawing/2014/main" val="1825325334"/>
                  </a:ext>
                </a:extLst>
              </a:tr>
              <a:tr h="518160">
                <a:tc>
                  <a:txBody>
                    <a:bodyPr/>
                    <a:lstStyle/>
                    <a:p>
                      <a:pPr algn="l"/>
                      <a:r>
                        <a:rPr lang="it-IT" sz="2000" kern="1200" err="1">
                          <a:solidFill>
                            <a:schemeClr val="tx1"/>
                          </a:solidFill>
                          <a:latin typeface="Univers"/>
                          <a:ea typeface="+mn-ea"/>
                          <a:cs typeface="Calibri" panose="020F0502020204030204"/>
                        </a:rPr>
                        <a:t>Year</a:t>
                      </a:r>
                      <a:r>
                        <a:rPr lang="it-IT" sz="2000" kern="1200">
                          <a:solidFill>
                            <a:schemeClr val="tx1"/>
                          </a:solidFill>
                          <a:latin typeface="Univers"/>
                          <a:ea typeface="+mn-ea"/>
                          <a:cs typeface="Calibri" panose="020F0502020204030204"/>
                        </a:rPr>
                        <a:t> of retrofitting</a:t>
                      </a:r>
                      <a:endParaRPr lang="en-US" sz="2000" kern="1200">
                        <a:solidFill>
                          <a:schemeClr val="tx1"/>
                        </a:solidFill>
                        <a:latin typeface="Univers"/>
                        <a:ea typeface="+mn-ea"/>
                        <a:cs typeface="Calibri" panose="020F0502020204030204"/>
                      </a:endParaRPr>
                    </a:p>
                  </a:txBody>
                  <a:tcPr marL="182880" marR="182880" marT="91440" marB="91440" anchor="ctr"/>
                </a:tc>
                <a:tc>
                  <a:txBody>
                    <a:bodyPr/>
                    <a:lstStyle/>
                    <a:p>
                      <a:pPr algn="l"/>
                      <a:r>
                        <a:rPr lang="it-IT" sz="2000" kern="1200">
                          <a:solidFill>
                            <a:schemeClr val="tx1"/>
                          </a:solidFill>
                          <a:latin typeface="Univers"/>
                          <a:ea typeface="+mn-ea"/>
                          <a:cs typeface="Calibri" panose="020F0502020204030204"/>
                        </a:rPr>
                        <a:t>2021/2022</a:t>
                      </a:r>
                      <a:endParaRPr lang="en-US" sz="2000" kern="1200">
                        <a:solidFill>
                          <a:schemeClr val="tx1"/>
                        </a:solidFill>
                        <a:latin typeface="Univers"/>
                        <a:ea typeface="+mn-ea"/>
                        <a:cs typeface="Calibri" panose="020F0502020204030204"/>
                      </a:endParaRPr>
                    </a:p>
                  </a:txBody>
                  <a:tcPr marL="182880" marR="182880" marT="91440" marB="91440" anchor="ctr"/>
                </a:tc>
                <a:extLst>
                  <a:ext uri="{0D108BD9-81ED-4DB2-BD59-A6C34878D82A}">
                    <a16:rowId xmlns:a16="http://schemas.microsoft.com/office/drawing/2014/main" val="312593073"/>
                  </a:ext>
                </a:extLst>
              </a:tr>
              <a:tr h="522540">
                <a:tc>
                  <a:txBody>
                    <a:bodyPr/>
                    <a:lstStyle/>
                    <a:p>
                      <a:pPr marL="0" marR="0" lvl="0" indent="0" algn="l" defTabSz="914400" rtl="0" eaLnBrk="1" fontAlgn="base" latinLnBrk="0" hangingPunct="1">
                        <a:lnSpc>
                          <a:spcPct val="100000"/>
                        </a:lnSpc>
                        <a:spcBef>
                          <a:spcPct val="20000"/>
                        </a:spcBef>
                        <a:spcAft>
                          <a:spcPct val="0"/>
                        </a:spcAft>
                        <a:buClrTx/>
                        <a:buSzTx/>
                        <a:buFontTx/>
                        <a:buNone/>
                        <a:tabLst/>
                        <a:defRPr/>
                      </a:pPr>
                      <a:r>
                        <a:rPr lang="it-IT" sz="2000" b="0">
                          <a:solidFill>
                            <a:schemeClr val="tx1"/>
                          </a:solidFill>
                          <a:latin typeface="Univers" pitchFamily="34" charset="0"/>
                        </a:rPr>
                        <a:t>Silo </a:t>
                      </a:r>
                      <a:r>
                        <a:rPr lang="it-IT" sz="2000" b="0" err="1">
                          <a:solidFill>
                            <a:schemeClr val="tx1"/>
                          </a:solidFill>
                          <a:latin typeface="Univers" pitchFamily="34" charset="0"/>
                        </a:rPr>
                        <a:t>capacity</a:t>
                      </a:r>
                      <a:endParaRPr kumimoji="0" lang="it-IT" sz="2000" b="0" i="0" u="none" strike="noStrike" cap="none" normalizeH="0" baseline="-25000">
                        <a:ln>
                          <a:noFill/>
                        </a:ln>
                        <a:solidFill>
                          <a:schemeClr val="tx1"/>
                        </a:solidFill>
                        <a:effectLst/>
                        <a:latin typeface="Univers" pitchFamily="34" charset="0"/>
                        <a:sym typeface="Symbol" pitchFamily="18" charset="2"/>
                      </a:endParaRPr>
                    </a:p>
                  </a:txBody>
                  <a:tcPr marL="179952" marR="179952" marT="93630" marB="93630"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lang="it-IT" sz="2000" b="0">
                          <a:solidFill>
                            <a:schemeClr val="tx1"/>
                          </a:solidFill>
                          <a:latin typeface="Univers" pitchFamily="34" charset="0"/>
                        </a:rPr>
                        <a:t>100 m</a:t>
                      </a:r>
                      <a:r>
                        <a:rPr lang="it-IT" sz="2000" b="0" baseline="30000">
                          <a:solidFill>
                            <a:schemeClr val="tx1"/>
                          </a:solidFill>
                          <a:latin typeface="Univers" pitchFamily="34" charset="0"/>
                        </a:rPr>
                        <a:t>3</a:t>
                      </a:r>
                      <a:endParaRPr lang="it-IT" sz="2000" b="0">
                        <a:solidFill>
                          <a:schemeClr val="tx1"/>
                        </a:solidFill>
                        <a:latin typeface="Univers" pitchFamily="34" charset="0"/>
                      </a:endParaRPr>
                    </a:p>
                  </a:txBody>
                  <a:tcPr marL="179952" marR="179952" marT="93630" marB="93630" anchor="ctr" horzOverflow="overflow"/>
                </a:tc>
                <a:extLst>
                  <a:ext uri="{0D108BD9-81ED-4DB2-BD59-A6C34878D82A}">
                    <a16:rowId xmlns:a16="http://schemas.microsoft.com/office/drawing/2014/main" val="52196536"/>
                  </a:ext>
                </a:extLst>
              </a:tr>
              <a:tr h="52254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it-IT" sz="2000" b="0" i="0" u="none" strike="noStrike" cap="none" normalizeH="0" baseline="0">
                          <a:ln>
                            <a:noFill/>
                          </a:ln>
                          <a:solidFill>
                            <a:schemeClr val="tx1"/>
                          </a:solidFill>
                          <a:effectLst/>
                          <a:latin typeface="Univers" pitchFamily="34" charset="0"/>
                          <a:sym typeface="Symbol" pitchFamily="18" charset="2"/>
                        </a:rPr>
                        <a:t>Dispenser </a:t>
                      </a:r>
                      <a:r>
                        <a:rPr kumimoji="0" lang="it-IT" sz="2000" b="0" i="0" u="none" strike="noStrike" cap="none" normalizeH="0" baseline="0" err="1">
                          <a:ln>
                            <a:noFill/>
                          </a:ln>
                          <a:solidFill>
                            <a:schemeClr val="tx1"/>
                          </a:solidFill>
                          <a:effectLst/>
                          <a:latin typeface="Univers" pitchFamily="34" charset="0"/>
                          <a:sym typeface="Symbol" pitchFamily="18" charset="2"/>
                        </a:rPr>
                        <a:t>capacity</a:t>
                      </a:r>
                      <a:endParaRPr kumimoji="0" lang="it-IT" sz="2000" b="0" i="0" u="none" strike="noStrike" cap="none" normalizeH="0" baseline="0">
                        <a:ln>
                          <a:noFill/>
                        </a:ln>
                        <a:solidFill>
                          <a:schemeClr val="tx1"/>
                        </a:solidFill>
                        <a:effectLst/>
                        <a:latin typeface="Univers" pitchFamily="34" charset="0"/>
                        <a:sym typeface="Symbol" pitchFamily="18" charset="2"/>
                      </a:endParaRPr>
                    </a:p>
                  </a:txBody>
                  <a:tcPr marL="179952" marR="179952" marT="93630" marB="93630"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defRPr/>
                      </a:pPr>
                      <a:r>
                        <a:rPr lang="it-IT" sz="2000" b="0">
                          <a:solidFill>
                            <a:schemeClr val="tx1"/>
                          </a:solidFill>
                          <a:latin typeface="Univers" pitchFamily="34" charset="0"/>
                        </a:rPr>
                        <a:t>3 m</a:t>
                      </a:r>
                      <a:r>
                        <a:rPr lang="it-IT" sz="2000" b="0" baseline="30000">
                          <a:solidFill>
                            <a:schemeClr val="tx1"/>
                          </a:solidFill>
                          <a:latin typeface="Univers" pitchFamily="34" charset="0"/>
                        </a:rPr>
                        <a:t>3</a:t>
                      </a:r>
                      <a:endParaRPr lang="it-IT" sz="2000" b="0">
                        <a:solidFill>
                          <a:schemeClr val="tx1"/>
                        </a:solidFill>
                        <a:latin typeface="Univers" pitchFamily="34" charset="0"/>
                      </a:endParaRPr>
                    </a:p>
                  </a:txBody>
                  <a:tcPr marL="179952" marR="179952" marT="93630" marB="93630" anchor="ctr" horzOverflow="overflow"/>
                </a:tc>
                <a:extLst>
                  <a:ext uri="{0D108BD9-81ED-4DB2-BD59-A6C34878D82A}">
                    <a16:rowId xmlns:a16="http://schemas.microsoft.com/office/drawing/2014/main" val="986465282"/>
                  </a:ext>
                </a:extLst>
              </a:tr>
              <a:tr h="52254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it-IT" sz="2000" b="0" i="0" u="none" strike="noStrike" cap="none" normalizeH="0" baseline="0">
                          <a:ln>
                            <a:noFill/>
                          </a:ln>
                          <a:solidFill>
                            <a:schemeClr val="tx1"/>
                          </a:solidFill>
                          <a:effectLst/>
                          <a:latin typeface="Univers" pitchFamily="34" charset="0"/>
                          <a:sym typeface="Symbol" pitchFamily="18" charset="2"/>
                        </a:rPr>
                        <a:t>Material injector</a:t>
                      </a:r>
                    </a:p>
                  </a:txBody>
                  <a:tcPr marL="179952" marR="179952" marT="93630" marB="93630"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it-IT" sz="2000" b="0" i="0" u="none" strike="noStrike" cap="none" normalizeH="0" baseline="0">
                          <a:ln>
                            <a:noFill/>
                          </a:ln>
                          <a:solidFill>
                            <a:schemeClr val="tx1"/>
                          </a:solidFill>
                          <a:effectLst/>
                          <a:latin typeface="Univers" pitchFamily="34" charset="0"/>
                        </a:rPr>
                        <a:t>Up to 40 kg/min</a:t>
                      </a:r>
                    </a:p>
                  </a:txBody>
                  <a:tcPr marL="179952" marR="179952" marT="93630" marB="93630" anchor="ctr" horzOverflow="overflow"/>
                </a:tc>
                <a:extLst>
                  <a:ext uri="{0D108BD9-81ED-4DB2-BD59-A6C34878D82A}">
                    <a16:rowId xmlns:a16="http://schemas.microsoft.com/office/drawing/2014/main" val="557538520"/>
                  </a:ext>
                </a:extLst>
              </a:tr>
              <a:tr h="85782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it-IT" sz="2000" b="0" i="0" u="none" strike="noStrike" cap="none" normalizeH="0" baseline="0">
                          <a:ln>
                            <a:noFill/>
                          </a:ln>
                          <a:solidFill>
                            <a:schemeClr val="tx1"/>
                          </a:solidFill>
                          <a:effectLst/>
                          <a:latin typeface="Univers" pitchFamily="34" charset="0"/>
                          <a:sym typeface="Symbol" pitchFamily="18" charset="2"/>
                        </a:rPr>
                        <a:t>Annual consumption</a:t>
                      </a:r>
                    </a:p>
                  </a:txBody>
                  <a:tcPr marL="179952" marR="179952" marT="93630" marB="93630" anchor="ct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it-IT" sz="2000" b="0" i="0" u="none" strike="noStrike" cap="none" normalizeH="0" baseline="0" dirty="0">
                          <a:ln>
                            <a:noFill/>
                          </a:ln>
                          <a:solidFill>
                            <a:schemeClr val="tx1"/>
                          </a:solidFill>
                          <a:effectLst/>
                          <a:latin typeface="Univers" pitchFamily="34" charset="0"/>
                        </a:rPr>
                        <a:t>Up to 4’000 t/y</a:t>
                      </a:r>
                    </a:p>
                  </a:txBody>
                  <a:tcPr marL="179952" marR="179952" marT="93630" marB="93630" anchor="ctr" horzOverflow="overflow"/>
                </a:tc>
                <a:extLst>
                  <a:ext uri="{0D108BD9-81ED-4DB2-BD59-A6C34878D82A}">
                    <a16:rowId xmlns:a16="http://schemas.microsoft.com/office/drawing/2014/main" val="4030276513"/>
                  </a:ext>
                </a:extLst>
              </a:tr>
            </a:tbl>
          </a:graphicData>
        </a:graphic>
      </p:graphicFrame>
      <p:sp>
        <p:nvSpPr>
          <p:cNvPr id="23" name="Rectangle 3">
            <a:extLst>
              <a:ext uri="{FF2B5EF4-FFF2-40B4-BE49-F238E27FC236}">
                <a16:creationId xmlns:a16="http://schemas.microsoft.com/office/drawing/2014/main" id="{146A05B5-9FDD-84DA-FE02-B777B6163135}"/>
              </a:ext>
            </a:extLst>
          </p:cNvPr>
          <p:cNvSpPr txBox="1">
            <a:spLocks noChangeArrowheads="1"/>
          </p:cNvSpPr>
          <p:nvPr/>
        </p:nvSpPr>
        <p:spPr bwMode="auto">
          <a:xfrm>
            <a:off x="2335215" y="8467030"/>
            <a:ext cx="2376608" cy="538762"/>
          </a:xfrm>
          <a:prstGeom prst="rect">
            <a:avLst/>
          </a:prstGeom>
          <a:noFill/>
          <a:ln w="9525">
            <a:noFill/>
            <a:miter lim="800000"/>
            <a:headEnd/>
            <a:tailEnd/>
          </a:ln>
        </p:spPr>
        <p:txBody>
          <a:bodyPr/>
          <a:lstStyle/>
          <a:p>
            <a:r>
              <a:rPr lang="sv-SE" sz="2400" dirty="0">
                <a:latin typeface="Univers"/>
                <a:cs typeface="Calibri" panose="020F0502020204030204"/>
              </a:rPr>
              <a:t>EAF </a:t>
            </a:r>
            <a:r>
              <a:rPr lang="sv-SE" sz="2400" dirty="0" err="1">
                <a:latin typeface="Univers"/>
                <a:cs typeface="Calibri" panose="020F0502020204030204"/>
              </a:rPr>
              <a:t>Burner</a:t>
            </a:r>
            <a:endParaRPr lang="sv-SE" sz="2400" dirty="0">
              <a:latin typeface="Univers"/>
              <a:cs typeface="Calibri" panose="020F0502020204030204"/>
            </a:endParaRPr>
          </a:p>
          <a:p>
            <a:pPr marL="0" lvl="1">
              <a:spcBef>
                <a:spcPct val="20000"/>
              </a:spcBef>
              <a:defRPr/>
            </a:pPr>
            <a:endParaRPr lang="it-IT" altLang="it-IT" sz="3200" dirty="0">
              <a:latin typeface="Univers"/>
              <a:cs typeface="Calibri" panose="020F0502020204030204"/>
            </a:endParaRPr>
          </a:p>
          <a:p>
            <a:pPr marL="0" lvl="1" algn="just">
              <a:spcBef>
                <a:spcPct val="20000"/>
              </a:spcBef>
              <a:defRPr/>
            </a:pPr>
            <a:endParaRPr lang="it-IT" altLang="it-IT" sz="2200" dirty="0">
              <a:latin typeface="Univers"/>
              <a:cs typeface="Calibri" panose="020F0502020204030204"/>
            </a:endParaRPr>
          </a:p>
          <a:p>
            <a:pPr marL="0" lvl="1" algn="just">
              <a:spcBef>
                <a:spcPct val="20000"/>
              </a:spcBef>
              <a:defRPr/>
            </a:pPr>
            <a:endParaRPr lang="it-IT" altLang="it-IT" sz="4800" dirty="0">
              <a:latin typeface="Univers"/>
              <a:cs typeface="Calibri" panose="020F0502020204030204"/>
            </a:endParaRPr>
          </a:p>
        </p:txBody>
      </p:sp>
      <p:sp>
        <p:nvSpPr>
          <p:cNvPr id="24" name="Rectangle 3">
            <a:extLst>
              <a:ext uri="{FF2B5EF4-FFF2-40B4-BE49-F238E27FC236}">
                <a16:creationId xmlns:a16="http://schemas.microsoft.com/office/drawing/2014/main" id="{57DAB51D-559A-F64B-7456-578F71A43624}"/>
              </a:ext>
            </a:extLst>
          </p:cNvPr>
          <p:cNvSpPr txBox="1">
            <a:spLocks noChangeArrowheads="1"/>
          </p:cNvSpPr>
          <p:nvPr/>
        </p:nvSpPr>
        <p:spPr bwMode="auto">
          <a:xfrm>
            <a:off x="4822337" y="8467030"/>
            <a:ext cx="2376608" cy="538762"/>
          </a:xfrm>
          <a:prstGeom prst="rect">
            <a:avLst/>
          </a:prstGeom>
          <a:noFill/>
          <a:ln w="9525">
            <a:noFill/>
            <a:miter lim="800000"/>
            <a:headEnd/>
            <a:tailEnd/>
          </a:ln>
        </p:spPr>
        <p:txBody>
          <a:bodyPr/>
          <a:lstStyle/>
          <a:p>
            <a:r>
              <a:rPr lang="sv-SE" sz="2400" dirty="0" err="1">
                <a:latin typeface="Univers"/>
                <a:cs typeface="Calibri" panose="020F0502020204030204"/>
              </a:rPr>
              <a:t>Methane</a:t>
            </a:r>
            <a:r>
              <a:rPr lang="sv-SE" sz="2400" dirty="0">
                <a:latin typeface="Univers"/>
                <a:cs typeface="Calibri" panose="020F0502020204030204"/>
              </a:rPr>
              <a:t> Test</a:t>
            </a:r>
          </a:p>
          <a:p>
            <a:pPr marL="0" lvl="1">
              <a:spcBef>
                <a:spcPct val="20000"/>
              </a:spcBef>
              <a:defRPr/>
            </a:pPr>
            <a:endParaRPr lang="it-IT" altLang="it-IT" sz="3200" dirty="0">
              <a:latin typeface="Univers"/>
              <a:cs typeface="Calibri" panose="020F0502020204030204"/>
            </a:endParaRPr>
          </a:p>
          <a:p>
            <a:pPr marL="0" lvl="1" algn="just">
              <a:spcBef>
                <a:spcPct val="20000"/>
              </a:spcBef>
              <a:defRPr/>
            </a:pPr>
            <a:endParaRPr lang="it-IT" altLang="it-IT" sz="2200" dirty="0">
              <a:latin typeface="Univers"/>
              <a:cs typeface="Calibri" panose="020F0502020204030204"/>
            </a:endParaRPr>
          </a:p>
          <a:p>
            <a:pPr marL="0" lvl="1" algn="just">
              <a:spcBef>
                <a:spcPct val="20000"/>
              </a:spcBef>
              <a:defRPr/>
            </a:pPr>
            <a:endParaRPr lang="it-IT" altLang="it-IT" sz="4800" dirty="0">
              <a:latin typeface="Univers"/>
              <a:cs typeface="Calibri" panose="020F0502020204030204"/>
            </a:endParaRPr>
          </a:p>
        </p:txBody>
      </p:sp>
      <p:sp>
        <p:nvSpPr>
          <p:cNvPr id="25" name="Rectangle 3">
            <a:extLst>
              <a:ext uri="{FF2B5EF4-FFF2-40B4-BE49-F238E27FC236}">
                <a16:creationId xmlns:a16="http://schemas.microsoft.com/office/drawing/2014/main" id="{E5F2B79F-6F81-40BE-F79D-E83C83F44290}"/>
              </a:ext>
            </a:extLst>
          </p:cNvPr>
          <p:cNvSpPr txBox="1">
            <a:spLocks noChangeArrowheads="1"/>
          </p:cNvSpPr>
          <p:nvPr/>
        </p:nvSpPr>
        <p:spPr bwMode="auto">
          <a:xfrm>
            <a:off x="7197230" y="8484768"/>
            <a:ext cx="2376608" cy="538762"/>
          </a:xfrm>
          <a:prstGeom prst="rect">
            <a:avLst/>
          </a:prstGeom>
          <a:noFill/>
          <a:ln w="9525">
            <a:noFill/>
            <a:miter lim="800000"/>
            <a:headEnd/>
            <a:tailEnd/>
          </a:ln>
        </p:spPr>
        <p:txBody>
          <a:bodyPr/>
          <a:lstStyle/>
          <a:p>
            <a:r>
              <a:rPr lang="sv-SE" sz="2400" dirty="0">
                <a:latin typeface="Univers"/>
                <a:cs typeface="Calibri" panose="020F0502020204030204"/>
              </a:rPr>
              <a:t>Polymers Test</a:t>
            </a:r>
          </a:p>
          <a:p>
            <a:pPr marL="0" lvl="1">
              <a:spcBef>
                <a:spcPct val="20000"/>
              </a:spcBef>
              <a:defRPr/>
            </a:pPr>
            <a:endParaRPr lang="it-IT" altLang="it-IT" sz="3200" dirty="0">
              <a:solidFill>
                <a:srgbClr val="00358E"/>
              </a:solidFill>
              <a:latin typeface="Univers"/>
              <a:cs typeface="Calibri" panose="020F0502020204030204"/>
            </a:endParaRPr>
          </a:p>
          <a:p>
            <a:pPr marL="0" lvl="1" algn="just">
              <a:spcBef>
                <a:spcPct val="20000"/>
              </a:spcBef>
              <a:defRPr/>
            </a:pPr>
            <a:endParaRPr lang="it-IT" altLang="it-IT" sz="2200" dirty="0">
              <a:solidFill>
                <a:srgbClr val="00358E"/>
              </a:solidFill>
              <a:latin typeface="Univers"/>
              <a:cs typeface="Calibri" panose="020F0502020204030204"/>
            </a:endParaRPr>
          </a:p>
          <a:p>
            <a:pPr marL="0" lvl="1" algn="just">
              <a:spcBef>
                <a:spcPct val="20000"/>
              </a:spcBef>
              <a:defRPr/>
            </a:pPr>
            <a:endParaRPr lang="it-IT" altLang="it-IT" sz="4800" dirty="0">
              <a:solidFill>
                <a:srgbClr val="00358E"/>
              </a:solidFill>
              <a:latin typeface="Univers"/>
              <a:cs typeface="Calibri" panose="020F0502020204030204"/>
            </a:endParaRPr>
          </a:p>
        </p:txBody>
      </p:sp>
      <p:pic>
        <p:nvPicPr>
          <p:cNvPr id="26" name="Immagine 8" descr="Immagine che contiene terreno, casa, cemento, Materiale composito&#10;&#10;Descrizione generata automaticamente">
            <a:extLst>
              <a:ext uri="{FF2B5EF4-FFF2-40B4-BE49-F238E27FC236}">
                <a16:creationId xmlns:a16="http://schemas.microsoft.com/office/drawing/2014/main" id="{D97DCE61-46D7-3630-0B95-1C6E90B46179}"/>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rot="5400000">
            <a:off x="838181" y="4945773"/>
            <a:ext cx="4909310" cy="2221700"/>
          </a:xfrm>
          <a:prstGeom prst="rect">
            <a:avLst/>
          </a:prstGeom>
        </p:spPr>
      </p:pic>
      <p:pic>
        <p:nvPicPr>
          <p:cNvPr id="27" name="Immagine 13" descr="Immagine che contiene natura, calore, edificio, caminetto&#10;&#10;Descrizione generata automaticamente">
            <a:extLst>
              <a:ext uri="{FF2B5EF4-FFF2-40B4-BE49-F238E27FC236}">
                <a16:creationId xmlns:a16="http://schemas.microsoft.com/office/drawing/2014/main" id="{70928B94-15C3-9317-4200-67D0E868E37A}"/>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26200" t="23278" r="13600" b="19917"/>
          <a:stretch/>
        </p:blipFill>
        <p:spPr>
          <a:xfrm rot="5400000">
            <a:off x="3363421" y="5004756"/>
            <a:ext cx="4922756" cy="2090286"/>
          </a:xfrm>
          <a:prstGeom prst="rect">
            <a:avLst/>
          </a:prstGeom>
        </p:spPr>
      </p:pic>
    </p:spTree>
    <p:extLst>
      <p:ext uri="{BB962C8B-B14F-4D97-AF65-F5344CB8AC3E}">
        <p14:creationId xmlns:p14="http://schemas.microsoft.com/office/powerpoint/2010/main" val="936678764"/>
      </p:ext>
    </p:extLst>
  </p:cSld>
  <p:clrMapOvr>
    <a:masterClrMapping/>
  </p:clrMapOvr>
  <mc:AlternateContent xmlns:mc="http://schemas.openxmlformats.org/markup-compatibility/2006" xmlns:p14="http://schemas.microsoft.com/office/powerpoint/2010/main">
    <mc:Choice Requires="p14">
      <p:transition spd="slow" p14:dur="2000" advTm="83130"/>
    </mc:Choice>
    <mc:Fallback xmlns="">
      <p:transition spd="slow" advTm="83130"/>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6"/>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marL="0" marR="0" lvl="0" indent="0" algn="ctr" defTabSz="914400" rtl="0" eaLnBrk="1" fontAlgn="auto" latinLnBrk="0" hangingPunct="1">
                <a:lnSpc>
                  <a:spcPts val="3919"/>
                </a:lnSpc>
                <a:spcBef>
                  <a:spcPct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OCR A Extended" panose="02010509020102010303" pitchFamily="50" charset="0"/>
                  <a:ea typeface="+mn-ea"/>
                  <a:cs typeface="+mn-cs"/>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4"/>
          <a:srcRect/>
          <a:stretch>
            <a:fillRect/>
          </a:stretch>
        </p:blipFill>
        <p:spPr>
          <a:xfrm>
            <a:off x="0" y="9447976"/>
            <a:ext cx="3459892" cy="839024"/>
          </a:xfrm>
          <a:prstGeom prst="rect">
            <a:avLst/>
          </a:prstGeom>
        </p:spPr>
      </p:pic>
      <p:grpSp>
        <p:nvGrpSpPr>
          <p:cNvPr id="3" name="Gruppo 2">
            <a:extLst>
              <a:ext uri="{FF2B5EF4-FFF2-40B4-BE49-F238E27FC236}">
                <a16:creationId xmlns:a16="http://schemas.microsoft.com/office/drawing/2014/main" id="{1C29CBCA-BE0A-4EF6-AC69-329941E1DCFD}"/>
              </a:ext>
            </a:extLst>
          </p:cNvPr>
          <p:cNvGrpSpPr/>
          <p:nvPr/>
        </p:nvGrpSpPr>
        <p:grpSpPr>
          <a:xfrm>
            <a:off x="-12" y="138554"/>
            <a:ext cx="18288002" cy="681138"/>
            <a:chOff x="-12" y="138554"/>
            <a:chExt cx="18288002" cy="681138"/>
          </a:xfrm>
        </p:grpSpPr>
        <p:grpSp>
          <p:nvGrpSpPr>
            <p:cNvPr id="2" name="Gruppo 1">
              <a:extLst>
                <a:ext uri="{FF2B5EF4-FFF2-40B4-BE49-F238E27FC236}">
                  <a16:creationId xmlns:a16="http://schemas.microsoft.com/office/drawing/2014/main" id="{24E9C7AF-0093-476F-826C-A2702AB72892}"/>
                </a:ext>
              </a:extLst>
            </p:cNvPr>
            <p:cNvGrpSpPr/>
            <p:nvPr/>
          </p:nvGrpSpPr>
          <p:grpSpPr>
            <a:xfrm>
              <a:off x="0" y="153125"/>
              <a:ext cx="17907000" cy="666567"/>
              <a:chOff x="0" y="153125"/>
              <a:chExt cx="17907000" cy="666567"/>
            </a:xfrm>
          </p:grpSpPr>
          <p:grpSp>
            <p:nvGrpSpPr>
              <p:cNvPr id="16" name="Gruppo 15">
                <a:extLst>
                  <a:ext uri="{FF2B5EF4-FFF2-40B4-BE49-F238E27FC236}">
                    <a16:creationId xmlns:a16="http://schemas.microsoft.com/office/drawing/2014/main" id="{DAC42A46-917D-41AB-8F07-E15E54D0F7D4}"/>
                  </a:ext>
                </a:extLst>
              </p:cNvPr>
              <p:cNvGrpSpPr/>
              <p:nvPr/>
            </p:nvGrpSpPr>
            <p:grpSpPr>
              <a:xfrm>
                <a:off x="0" y="153125"/>
                <a:ext cx="13958844" cy="666567"/>
                <a:chOff x="0" y="153125"/>
                <a:chExt cx="13958844" cy="666567"/>
              </a:xfrm>
            </p:grpSpPr>
            <p:pic>
              <p:nvPicPr>
                <p:cNvPr id="10" name="Picture 10"/>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1" name="TextBox 11"/>
                <p:cNvSpPr txBox="1"/>
                <p:nvPr/>
              </p:nvSpPr>
              <p:spPr>
                <a:xfrm>
                  <a:off x="228600" y="257980"/>
                  <a:ext cx="9296400" cy="456856"/>
                </a:xfrm>
                <a:prstGeom prst="rect">
                  <a:avLst/>
                </a:prstGeom>
              </p:spPr>
              <p:txBody>
                <a:bodyPr wrap="square" lIns="0" tIns="0" rIns="0" bIns="0" rtlCol="0" anchor="t">
                  <a:spAutoFit/>
                </a:bodyPr>
                <a:lstStyle/>
                <a:p>
                  <a:pPr marL="0" marR="0" lvl="0" indent="0" algn="l" defTabSz="914400" rtl="0" eaLnBrk="1" fontAlgn="auto" latinLnBrk="0" hangingPunct="1">
                    <a:lnSpc>
                      <a:spcPts val="3919"/>
                    </a:lnSpc>
                    <a:spcBef>
                      <a:spcPct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2" name="TextBox 11">
                <a:extLst>
                  <a:ext uri="{FF2B5EF4-FFF2-40B4-BE49-F238E27FC236}">
                    <a16:creationId xmlns:a16="http://schemas.microsoft.com/office/drawing/2014/main" id="{1BD9B5F4-614C-4EB6-8C5B-120A5420CE43}"/>
                  </a:ext>
                </a:extLst>
              </p:cNvPr>
              <p:cNvSpPr txBox="1"/>
              <p:nvPr/>
            </p:nvSpPr>
            <p:spPr>
              <a:xfrm>
                <a:off x="12154296" y="257980"/>
                <a:ext cx="5752704" cy="456856"/>
              </a:xfrm>
              <a:prstGeom prst="rect">
                <a:avLst/>
              </a:prstGeom>
            </p:spPr>
            <p:txBody>
              <a:bodyPr wrap="square" lIns="0" tIns="0" rIns="0" bIns="0" rtlCol="0" anchor="t">
                <a:spAutoFit/>
              </a:bodyPr>
              <a:lstStyle/>
              <a:p>
                <a:pPr marL="0" marR="0" lvl="0" indent="0" algn="r" defTabSz="914400" rtl="0" eaLnBrk="1" fontAlgn="auto" latinLnBrk="0" hangingPunct="1">
                  <a:lnSpc>
                    <a:spcPts val="3919"/>
                  </a:lnSpc>
                  <a:spcBef>
                    <a:spcPct val="0"/>
                  </a:spcBef>
                  <a:spcAft>
                    <a:spcPts val="0"/>
                  </a:spcAft>
                  <a:buClrTx/>
                  <a:buSzTx/>
                  <a:buFontTx/>
                  <a:buNone/>
                  <a:tabLst/>
                  <a:defRPr/>
                </a:pPr>
                <a:endParaRPr kumimoji="0" lang="en-US" sz="2800" b="0" i="0" u="none" strike="noStrike" kern="1200" cap="none" spc="0" normalizeH="0" baseline="0" noProof="0">
                  <a:ln>
                    <a:noFill/>
                  </a:ln>
                  <a:solidFill>
                    <a:srgbClr val="2F2F2F">
                      <a:lumMod val="75000"/>
                      <a:lumOff val="25000"/>
                    </a:srgbClr>
                  </a:solidFill>
                  <a:effectLst/>
                  <a:uLnTx/>
                  <a:uFillTx/>
                  <a:latin typeface="Arial" panose="020B0604020202020204" pitchFamily="34" charset="0"/>
                  <a:ea typeface="+mn-ea"/>
                  <a:cs typeface="Arial" panose="020B0604020202020204" pitchFamily="34" charset="0"/>
                </a:endParaRPr>
              </a:p>
            </p:txBody>
          </p:sp>
        </p:grpSp>
        <p:sp>
          <p:nvSpPr>
            <p:cNvPr id="14" name="Rettangolo 13">
              <a:extLst>
                <a:ext uri="{FF2B5EF4-FFF2-40B4-BE49-F238E27FC236}">
                  <a16:creationId xmlns:a16="http://schemas.microsoft.com/office/drawing/2014/main" id="{55199736-B8B6-4C9A-8BAF-233E07A0CA89}"/>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5" name="Title 1">
            <a:extLst>
              <a:ext uri="{FF2B5EF4-FFF2-40B4-BE49-F238E27FC236}">
                <a16:creationId xmlns:a16="http://schemas.microsoft.com/office/drawing/2014/main" id="{3521B84D-32A5-868F-0C42-B67B40851AD2}"/>
              </a:ext>
            </a:extLst>
          </p:cNvPr>
          <p:cNvSpPr txBox="1">
            <a:spLocks/>
          </p:cNvSpPr>
          <p:nvPr/>
        </p:nvSpPr>
        <p:spPr>
          <a:xfrm>
            <a:off x="574305" y="714836"/>
            <a:ext cx="8229600" cy="114300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sv-SE" sz="4800" b="1">
                <a:solidFill>
                  <a:srgbClr val="CC0033"/>
                </a:solidFill>
                <a:ea typeface="+mn-ea"/>
                <a:cs typeface="Arial" panose="020B0604020202020204" pitchFamily="34" charset="0"/>
              </a:rPr>
              <a:t>Summary of Chapter 1</a:t>
            </a:r>
          </a:p>
        </p:txBody>
      </p:sp>
      <p:sp>
        <p:nvSpPr>
          <p:cNvPr id="21" name="Content Placeholder 2">
            <a:extLst>
              <a:ext uri="{FF2B5EF4-FFF2-40B4-BE49-F238E27FC236}">
                <a16:creationId xmlns:a16="http://schemas.microsoft.com/office/drawing/2014/main" id="{9DD8EB14-DED2-B035-E2E4-E9F3E81DF46D}"/>
              </a:ext>
            </a:extLst>
          </p:cNvPr>
          <p:cNvSpPr txBox="1">
            <a:spLocks/>
          </p:cNvSpPr>
          <p:nvPr/>
        </p:nvSpPr>
        <p:spPr>
          <a:xfrm>
            <a:off x="1109141" y="1904832"/>
            <a:ext cx="14104189" cy="7457536"/>
          </a:xfrm>
          <a:prstGeom prst="rect">
            <a:avLst/>
          </a:prstGeom>
        </p:spPr>
        <p:txBody>
          <a:bodyPr vert="horz" lIns="91440" tIns="45720" rIns="91440" bIns="45720" rtlCol="0">
            <a:normAutofit fontScale="92500" lnSpcReduction="10000"/>
          </a:bodyPr>
          <a:lstStyle>
            <a:lvl1pPr marL="0" indent="0" algn="ctr" defTabSz="914400" rtl="0" eaLnBrk="1" latinLnBrk="0" hangingPunct="1">
              <a:spcBef>
                <a:spcPct val="20000"/>
              </a:spcBef>
              <a:buFont typeface="Arial" pitchFamily="34" charset="0"/>
              <a:buNone/>
              <a:defRPr sz="3200" kern="1200">
                <a:solidFill>
                  <a:schemeClr val="tx1">
                    <a:tint val="75000"/>
                  </a:schemeClr>
                </a:solidFill>
                <a:latin typeface="+mn-lt"/>
                <a:ea typeface="+mn-ea"/>
                <a:cs typeface="+mn-cs"/>
              </a:defRPr>
            </a:lvl1pPr>
            <a:lvl2pPr marL="457200" indent="0" algn="ctr" defTabSz="914400"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l"/>
            <a:r>
              <a:rPr lang="sv-SE" err="1">
                <a:solidFill>
                  <a:schemeClr val="tx1"/>
                </a:solidFill>
              </a:rPr>
              <a:t>We</a:t>
            </a:r>
            <a:r>
              <a:rPr lang="sv-SE">
                <a:solidFill>
                  <a:schemeClr val="tx1"/>
                </a:solidFill>
              </a:rPr>
              <a:t> </a:t>
            </a:r>
            <a:r>
              <a:rPr lang="sv-SE" err="1">
                <a:solidFill>
                  <a:schemeClr val="tx1"/>
                </a:solidFill>
              </a:rPr>
              <a:t>have</a:t>
            </a:r>
            <a:r>
              <a:rPr lang="sv-SE">
                <a:solidFill>
                  <a:schemeClr val="tx1"/>
                </a:solidFill>
              </a:rPr>
              <a:t> </a:t>
            </a:r>
            <a:r>
              <a:rPr lang="sv-SE" err="1">
                <a:solidFill>
                  <a:schemeClr val="tx1"/>
                </a:solidFill>
              </a:rPr>
              <a:t>learnt</a:t>
            </a:r>
            <a:r>
              <a:rPr lang="sv-SE">
                <a:solidFill>
                  <a:schemeClr val="tx1"/>
                </a:solidFill>
              </a:rPr>
              <a:t> </a:t>
            </a:r>
            <a:r>
              <a:rPr lang="sv-SE" err="1">
                <a:solidFill>
                  <a:schemeClr val="tx1"/>
                </a:solidFill>
              </a:rPr>
              <a:t>about</a:t>
            </a:r>
            <a:r>
              <a:rPr lang="sv-SE">
                <a:solidFill>
                  <a:schemeClr val="tx1"/>
                </a:solidFill>
              </a:rPr>
              <a:t> </a:t>
            </a:r>
            <a:r>
              <a:rPr lang="sv-SE" err="1">
                <a:solidFill>
                  <a:schemeClr val="tx1"/>
                </a:solidFill>
              </a:rPr>
              <a:t>four</a:t>
            </a:r>
            <a:r>
              <a:rPr lang="sv-SE">
                <a:solidFill>
                  <a:schemeClr val="tx1"/>
                </a:solidFill>
              </a:rPr>
              <a:t> major drivers for </a:t>
            </a:r>
            <a:r>
              <a:rPr lang="sv-SE" err="1">
                <a:solidFill>
                  <a:schemeClr val="tx1"/>
                </a:solidFill>
              </a:rPr>
              <a:t>retrofitting</a:t>
            </a:r>
            <a:r>
              <a:rPr lang="sv-SE">
                <a:solidFill>
                  <a:schemeClr val="tx1"/>
                </a:solidFill>
              </a:rPr>
              <a:t>: </a:t>
            </a:r>
          </a:p>
          <a:p>
            <a:pPr marL="742950" indent="-742950" algn="l">
              <a:lnSpc>
                <a:spcPct val="150000"/>
              </a:lnSpc>
              <a:buFont typeface="+mj-lt"/>
              <a:buAutoNum type="alphaUcPeriod"/>
            </a:pPr>
            <a:r>
              <a:rPr lang="sv-SE" kern="100">
                <a:solidFill>
                  <a:schemeClr val="tx1"/>
                </a:solidFill>
                <a:latin typeface="+mj-lt"/>
              </a:rPr>
              <a:t>EU policy </a:t>
            </a:r>
            <a:r>
              <a:rPr lang="sv-SE" kern="100" err="1">
                <a:solidFill>
                  <a:schemeClr val="tx1"/>
                </a:solidFill>
                <a:latin typeface="+mj-lt"/>
              </a:rPr>
              <a:t>framework</a:t>
            </a:r>
            <a:endParaRPr lang="sv-SE" kern="100">
              <a:solidFill>
                <a:schemeClr val="tx1"/>
              </a:solidFill>
              <a:latin typeface="+mj-lt"/>
            </a:endParaRPr>
          </a:p>
          <a:p>
            <a:pPr marL="742950" indent="-742950" algn="l">
              <a:lnSpc>
                <a:spcPct val="150000"/>
              </a:lnSpc>
              <a:buFont typeface="+mj-lt"/>
              <a:buAutoNum type="alphaUcPeriod"/>
            </a:pPr>
            <a:r>
              <a:rPr lang="sv-SE" kern="100">
                <a:solidFill>
                  <a:schemeClr val="tx1"/>
                </a:solidFill>
                <a:latin typeface="+mj-lt"/>
              </a:rPr>
              <a:t>Price Signals</a:t>
            </a:r>
          </a:p>
          <a:p>
            <a:pPr marL="742950" indent="-742950" algn="l">
              <a:lnSpc>
                <a:spcPct val="150000"/>
              </a:lnSpc>
              <a:buFont typeface="+mj-lt"/>
              <a:buAutoNum type="alphaUcPeriod"/>
            </a:pPr>
            <a:r>
              <a:rPr lang="sv-SE" kern="100">
                <a:solidFill>
                  <a:schemeClr val="tx1"/>
                </a:solidFill>
                <a:latin typeface="+mj-lt"/>
              </a:rPr>
              <a:t>International </a:t>
            </a:r>
            <a:r>
              <a:rPr lang="sv-SE" kern="100" err="1">
                <a:solidFill>
                  <a:schemeClr val="tx1"/>
                </a:solidFill>
                <a:latin typeface="+mj-lt"/>
              </a:rPr>
              <a:t>Competition</a:t>
            </a:r>
            <a:endParaRPr lang="sv-SE" kern="100">
              <a:solidFill>
                <a:schemeClr val="tx1"/>
              </a:solidFill>
              <a:latin typeface="+mj-lt"/>
            </a:endParaRPr>
          </a:p>
          <a:p>
            <a:pPr marL="742950" indent="-742950" algn="l">
              <a:lnSpc>
                <a:spcPct val="150000"/>
              </a:lnSpc>
              <a:buFont typeface="+mj-lt"/>
              <a:buAutoNum type="alphaUcPeriod"/>
            </a:pPr>
            <a:r>
              <a:rPr lang="sv-SE" kern="100">
                <a:solidFill>
                  <a:schemeClr val="tx1"/>
                </a:solidFill>
                <a:latin typeface="+mj-lt"/>
              </a:rPr>
              <a:t>Company Culture</a:t>
            </a:r>
          </a:p>
          <a:p>
            <a:pPr algn="l"/>
            <a:endParaRPr lang="sv-SE">
              <a:solidFill>
                <a:schemeClr val="tx1"/>
              </a:solidFill>
            </a:endParaRPr>
          </a:p>
          <a:p>
            <a:pPr algn="l"/>
            <a:r>
              <a:rPr lang="sv-SE" err="1">
                <a:solidFill>
                  <a:schemeClr val="tx1"/>
                </a:solidFill>
              </a:rPr>
              <a:t>We</a:t>
            </a:r>
            <a:r>
              <a:rPr lang="sv-SE">
                <a:solidFill>
                  <a:schemeClr val="tx1"/>
                </a:solidFill>
              </a:rPr>
              <a:t> </a:t>
            </a:r>
            <a:r>
              <a:rPr lang="sv-SE" err="1">
                <a:solidFill>
                  <a:schemeClr val="tx1"/>
                </a:solidFill>
              </a:rPr>
              <a:t>have</a:t>
            </a:r>
            <a:r>
              <a:rPr lang="sv-SE">
                <a:solidFill>
                  <a:schemeClr val="tx1"/>
                </a:solidFill>
              </a:rPr>
              <a:t> </a:t>
            </a:r>
            <a:r>
              <a:rPr lang="sv-SE" err="1">
                <a:solidFill>
                  <a:schemeClr val="tx1"/>
                </a:solidFill>
              </a:rPr>
              <a:t>also</a:t>
            </a:r>
            <a:r>
              <a:rPr lang="sv-SE">
                <a:solidFill>
                  <a:schemeClr val="tx1"/>
                </a:solidFill>
              </a:rPr>
              <a:t> </a:t>
            </a:r>
            <a:r>
              <a:rPr lang="sv-SE" err="1">
                <a:solidFill>
                  <a:schemeClr val="tx1"/>
                </a:solidFill>
              </a:rPr>
              <a:t>learnt</a:t>
            </a:r>
            <a:r>
              <a:rPr lang="sv-SE">
                <a:solidFill>
                  <a:schemeClr val="tx1"/>
                </a:solidFill>
              </a:rPr>
              <a:t> </a:t>
            </a:r>
            <a:r>
              <a:rPr lang="sv-SE" err="1">
                <a:solidFill>
                  <a:schemeClr val="tx1"/>
                </a:solidFill>
              </a:rPr>
              <a:t>about</a:t>
            </a:r>
            <a:r>
              <a:rPr lang="sv-SE">
                <a:solidFill>
                  <a:schemeClr val="tx1"/>
                </a:solidFill>
              </a:rPr>
              <a:t> </a:t>
            </a:r>
            <a:r>
              <a:rPr lang="sv-SE" err="1">
                <a:solidFill>
                  <a:schemeClr val="tx1"/>
                </a:solidFill>
              </a:rPr>
              <a:t>which</a:t>
            </a:r>
            <a:r>
              <a:rPr lang="sv-SE">
                <a:solidFill>
                  <a:schemeClr val="tx1"/>
                </a:solidFill>
              </a:rPr>
              <a:t> </a:t>
            </a:r>
            <a:r>
              <a:rPr lang="sv-SE" err="1">
                <a:solidFill>
                  <a:schemeClr val="tx1"/>
                </a:solidFill>
              </a:rPr>
              <a:t>Sustainable</a:t>
            </a:r>
            <a:r>
              <a:rPr lang="sv-SE">
                <a:solidFill>
                  <a:schemeClr val="tx1"/>
                </a:solidFill>
              </a:rPr>
              <a:t> </a:t>
            </a:r>
            <a:r>
              <a:rPr lang="sv-SE" err="1">
                <a:solidFill>
                  <a:schemeClr val="tx1"/>
                </a:solidFill>
              </a:rPr>
              <a:t>development</a:t>
            </a:r>
            <a:r>
              <a:rPr lang="sv-SE">
                <a:solidFill>
                  <a:schemeClr val="tx1"/>
                </a:solidFill>
              </a:rPr>
              <a:t> </a:t>
            </a:r>
            <a:r>
              <a:rPr lang="sv-SE" err="1">
                <a:solidFill>
                  <a:schemeClr val="tx1"/>
                </a:solidFill>
              </a:rPr>
              <a:t>goals</a:t>
            </a:r>
            <a:r>
              <a:rPr lang="sv-SE">
                <a:solidFill>
                  <a:schemeClr val="tx1"/>
                </a:solidFill>
              </a:rPr>
              <a:t> (SDGs) </a:t>
            </a:r>
            <a:r>
              <a:rPr lang="sv-SE" err="1">
                <a:solidFill>
                  <a:schemeClr val="tx1"/>
                </a:solidFill>
              </a:rPr>
              <a:t>retrofitting</a:t>
            </a:r>
            <a:r>
              <a:rPr lang="sv-SE">
                <a:solidFill>
                  <a:schemeClr val="tx1"/>
                </a:solidFill>
              </a:rPr>
              <a:t> actions  in process </a:t>
            </a:r>
            <a:r>
              <a:rPr lang="sv-SE" err="1">
                <a:solidFill>
                  <a:schemeClr val="tx1"/>
                </a:solidFill>
              </a:rPr>
              <a:t>industry</a:t>
            </a:r>
            <a:r>
              <a:rPr lang="sv-SE">
                <a:solidFill>
                  <a:schemeClr val="tx1"/>
                </a:solidFill>
              </a:rPr>
              <a:t> </a:t>
            </a:r>
            <a:r>
              <a:rPr lang="sv-SE" err="1">
                <a:solidFill>
                  <a:schemeClr val="tx1"/>
                </a:solidFill>
              </a:rPr>
              <a:t>contributes</a:t>
            </a:r>
            <a:r>
              <a:rPr lang="sv-SE">
                <a:solidFill>
                  <a:schemeClr val="tx1"/>
                </a:solidFill>
              </a:rPr>
              <a:t> to. </a:t>
            </a:r>
          </a:p>
          <a:p>
            <a:pPr algn="l">
              <a:lnSpc>
                <a:spcPct val="150000"/>
              </a:lnSpc>
            </a:pPr>
            <a:r>
              <a:rPr lang="sv-SE" kern="100" err="1">
                <a:solidFill>
                  <a:schemeClr val="tx1"/>
                </a:solidFill>
                <a:latin typeface="+mj-lt"/>
              </a:rPr>
              <a:t>Goal</a:t>
            </a:r>
            <a:r>
              <a:rPr lang="sv-SE" kern="100">
                <a:solidFill>
                  <a:schemeClr val="tx1"/>
                </a:solidFill>
                <a:latin typeface="+mj-lt"/>
              </a:rPr>
              <a:t> 9: Industry, innovation and </a:t>
            </a:r>
            <a:r>
              <a:rPr lang="sv-SE" kern="100" err="1">
                <a:solidFill>
                  <a:schemeClr val="tx1"/>
                </a:solidFill>
                <a:latin typeface="+mj-lt"/>
              </a:rPr>
              <a:t>infrastructure</a:t>
            </a:r>
            <a:endParaRPr lang="sv-SE" kern="100">
              <a:solidFill>
                <a:schemeClr val="tx1"/>
              </a:solidFill>
              <a:latin typeface="+mj-lt"/>
            </a:endParaRPr>
          </a:p>
          <a:p>
            <a:pPr algn="l">
              <a:lnSpc>
                <a:spcPct val="150000"/>
              </a:lnSpc>
            </a:pPr>
            <a:r>
              <a:rPr lang="sv-SE" kern="100" err="1">
                <a:solidFill>
                  <a:schemeClr val="tx1"/>
                </a:solidFill>
                <a:latin typeface="+mj-lt"/>
              </a:rPr>
              <a:t>Goal</a:t>
            </a:r>
            <a:r>
              <a:rPr lang="sv-SE" kern="100">
                <a:solidFill>
                  <a:schemeClr val="tx1"/>
                </a:solidFill>
                <a:latin typeface="+mj-lt"/>
              </a:rPr>
              <a:t> 12: </a:t>
            </a:r>
            <a:r>
              <a:rPr lang="sv-SE" kern="100" err="1">
                <a:solidFill>
                  <a:schemeClr val="tx1"/>
                </a:solidFill>
                <a:latin typeface="+mj-lt"/>
              </a:rPr>
              <a:t>Responsible</a:t>
            </a:r>
            <a:r>
              <a:rPr lang="sv-SE" kern="100">
                <a:solidFill>
                  <a:schemeClr val="tx1"/>
                </a:solidFill>
                <a:latin typeface="+mj-lt"/>
              </a:rPr>
              <a:t> </a:t>
            </a:r>
            <a:r>
              <a:rPr lang="sv-SE" kern="100" err="1">
                <a:solidFill>
                  <a:schemeClr val="tx1"/>
                </a:solidFill>
                <a:latin typeface="+mj-lt"/>
              </a:rPr>
              <a:t>consumption</a:t>
            </a:r>
            <a:r>
              <a:rPr lang="sv-SE" kern="100">
                <a:solidFill>
                  <a:schemeClr val="tx1"/>
                </a:solidFill>
                <a:latin typeface="+mj-lt"/>
              </a:rPr>
              <a:t> and </a:t>
            </a:r>
            <a:r>
              <a:rPr lang="sv-SE" kern="100" err="1">
                <a:solidFill>
                  <a:schemeClr val="tx1"/>
                </a:solidFill>
                <a:latin typeface="+mj-lt"/>
              </a:rPr>
              <a:t>production</a:t>
            </a:r>
            <a:endParaRPr lang="sv-SE" kern="100">
              <a:solidFill>
                <a:schemeClr val="tx1"/>
              </a:solidFill>
              <a:latin typeface="+mj-lt"/>
            </a:endParaRPr>
          </a:p>
          <a:p>
            <a:pPr algn="l">
              <a:lnSpc>
                <a:spcPct val="150000"/>
              </a:lnSpc>
            </a:pPr>
            <a:r>
              <a:rPr lang="sv-SE" kern="100" err="1">
                <a:solidFill>
                  <a:schemeClr val="tx1"/>
                </a:solidFill>
                <a:latin typeface="+mj-lt"/>
              </a:rPr>
              <a:t>Goal</a:t>
            </a:r>
            <a:r>
              <a:rPr lang="sv-SE" kern="100">
                <a:solidFill>
                  <a:schemeClr val="tx1"/>
                </a:solidFill>
                <a:latin typeface="+mj-lt"/>
              </a:rPr>
              <a:t> 13: </a:t>
            </a:r>
            <a:r>
              <a:rPr lang="sv-SE" kern="100" err="1">
                <a:solidFill>
                  <a:schemeClr val="tx1"/>
                </a:solidFill>
                <a:latin typeface="+mj-lt"/>
              </a:rPr>
              <a:t>Climate</a:t>
            </a:r>
            <a:r>
              <a:rPr lang="sv-SE" kern="100">
                <a:solidFill>
                  <a:schemeClr val="tx1"/>
                </a:solidFill>
                <a:latin typeface="+mj-lt"/>
              </a:rPr>
              <a:t> action</a:t>
            </a:r>
          </a:p>
          <a:p>
            <a:pPr algn="l"/>
            <a:endParaRPr lang="sv-SE"/>
          </a:p>
        </p:txBody>
      </p:sp>
    </p:spTree>
    <p:extLst>
      <p:ext uri="{BB962C8B-B14F-4D97-AF65-F5344CB8AC3E}">
        <p14:creationId xmlns:p14="http://schemas.microsoft.com/office/powerpoint/2010/main" val="992831768"/>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n 115">
            <a:extLst>
              <a:ext uri="{FF2B5EF4-FFF2-40B4-BE49-F238E27FC236}">
                <a16:creationId xmlns:a16="http://schemas.microsoft.com/office/drawing/2014/main" id="{B5E46839-6851-4D0B-A989-A54DF41E5DB2}"/>
              </a:ext>
            </a:extLst>
          </p:cNvPr>
          <p:cNvPicPr>
            <a:picLocks noChangeAspect="1"/>
          </p:cNvPicPr>
          <p:nvPr/>
        </p:nvPicPr>
        <p:blipFill>
          <a:blip r:embed="rId3"/>
          <a:stretch>
            <a:fillRect/>
          </a:stretch>
        </p:blipFill>
        <p:spPr>
          <a:xfrm>
            <a:off x="16829654" y="356268"/>
            <a:ext cx="1308980" cy="1098843"/>
          </a:xfrm>
          <a:prstGeom prst="rect">
            <a:avLst/>
          </a:prstGeom>
        </p:spPr>
      </p:pic>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6"/>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4"/>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5"/>
          <a:srcRect/>
          <a:stretch>
            <a:fillRect/>
          </a:stretch>
        </p:blipFill>
        <p:spPr>
          <a:xfrm>
            <a:off x="0" y="8901113"/>
            <a:ext cx="5715000" cy="1385887"/>
          </a:xfrm>
          <a:prstGeom prst="rect">
            <a:avLst/>
          </a:prstGeom>
        </p:spPr>
      </p:pic>
      <p:grpSp>
        <p:nvGrpSpPr>
          <p:cNvPr id="2" name="Gruppo 1">
            <a:extLst>
              <a:ext uri="{FF2B5EF4-FFF2-40B4-BE49-F238E27FC236}">
                <a16:creationId xmlns:a16="http://schemas.microsoft.com/office/drawing/2014/main" id="{D8D71BB5-458F-411D-AFA9-C648954E9F40}"/>
              </a:ext>
            </a:extLst>
          </p:cNvPr>
          <p:cNvGrpSpPr/>
          <p:nvPr/>
        </p:nvGrpSpPr>
        <p:grpSpPr>
          <a:xfrm>
            <a:off x="-12" y="138554"/>
            <a:ext cx="18288002" cy="681138"/>
            <a:chOff x="-12" y="138554"/>
            <a:chExt cx="18288002" cy="681138"/>
          </a:xfrm>
        </p:grpSpPr>
        <p:grpSp>
          <p:nvGrpSpPr>
            <p:cNvPr id="16" name="Gruppo 15">
              <a:extLst>
                <a:ext uri="{FF2B5EF4-FFF2-40B4-BE49-F238E27FC236}">
                  <a16:creationId xmlns:a16="http://schemas.microsoft.com/office/drawing/2014/main" id="{DAC42A46-917D-41AB-8F07-E15E54D0F7D4}"/>
                </a:ext>
              </a:extLst>
            </p:cNvPr>
            <p:cNvGrpSpPr/>
            <p:nvPr/>
          </p:nvGrpSpPr>
          <p:grpSpPr>
            <a:xfrm>
              <a:off x="0" y="153125"/>
              <a:ext cx="13958844" cy="666567"/>
              <a:chOff x="0" y="153125"/>
              <a:chExt cx="13958844" cy="666567"/>
            </a:xfrm>
          </p:grpSpPr>
          <p:pic>
            <p:nvPicPr>
              <p:cNvPr id="10" name="Picture 10"/>
              <p:cNvPicPr>
                <a:picLocks noChangeAspect="1"/>
              </p:cNvPicPr>
              <p:nvPr/>
            </p:nvPicPr>
            <p:blipFill>
              <a:blip r:embed="rId6"/>
              <a:srcRect l="134" t="91287" b="3943"/>
              <a:stretch>
                <a:fillRect/>
              </a:stretch>
            </p:blipFill>
            <p:spPr>
              <a:xfrm>
                <a:off x="0" y="153125"/>
                <a:ext cx="13958844" cy="666567"/>
              </a:xfrm>
              <a:prstGeom prst="rect">
                <a:avLst/>
              </a:prstGeom>
            </p:spPr>
          </p:pic>
          <p:sp>
            <p:nvSpPr>
              <p:cNvPr id="11" name="TextBox 11"/>
              <p:cNvSpPr txBox="1"/>
              <p:nvPr/>
            </p:nvSpPr>
            <p:spPr>
              <a:xfrm>
                <a:off x="228600" y="257980"/>
                <a:ext cx="5752704" cy="456856"/>
              </a:xfrm>
              <a:prstGeom prst="rect">
                <a:avLst/>
              </a:prstGeom>
            </p:spPr>
            <p:txBody>
              <a:bodyPr wrap="square" lIns="0" tIns="0" rIns="0" bIns="0" rtlCol="0" anchor="t">
                <a:spAutoFit/>
              </a:bodyPr>
              <a:lstStyle/>
              <a:p>
                <a:pPr>
                  <a:lnSpc>
                    <a:spcPts val="3919"/>
                  </a:lnSpc>
                  <a:spcBef>
                    <a:spcPct val="0"/>
                  </a:spcBef>
                </a:pPr>
                <a:endParaRPr lang="en-US" sz="2800" b="1">
                  <a:solidFill>
                    <a:srgbClr val="FFFFFF"/>
                  </a:solidFill>
                  <a:latin typeface="Arial" panose="020B0604020202020204" pitchFamily="34" charset="0"/>
                  <a:cs typeface="Arial" panose="020B0604020202020204" pitchFamily="34" charset="0"/>
                </a:endParaRPr>
              </a:p>
            </p:txBody>
          </p:sp>
        </p:grpSp>
        <p:sp>
          <p:nvSpPr>
            <p:cNvPr id="12" name="Rettangolo 11">
              <a:extLst>
                <a:ext uri="{FF2B5EF4-FFF2-40B4-BE49-F238E27FC236}">
                  <a16:creationId xmlns:a16="http://schemas.microsoft.com/office/drawing/2014/main" id="{F2E90E36-F5DF-479E-BF3B-C6F6A1CEA4E7}"/>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4" name="TextBox 13">
            <a:extLst>
              <a:ext uri="{FF2B5EF4-FFF2-40B4-BE49-F238E27FC236}">
                <a16:creationId xmlns:a16="http://schemas.microsoft.com/office/drawing/2014/main" id="{4DBA6E6C-EF4B-454F-10E8-510ECCEF6124}"/>
              </a:ext>
            </a:extLst>
          </p:cNvPr>
          <p:cNvSpPr txBox="1"/>
          <p:nvPr/>
        </p:nvSpPr>
        <p:spPr>
          <a:xfrm>
            <a:off x="885371" y="896353"/>
            <a:ext cx="16194313" cy="1040798"/>
          </a:xfrm>
          <a:prstGeom prst="rect">
            <a:avLst/>
          </a:prstGeom>
        </p:spPr>
        <p:txBody>
          <a:bodyPr wrap="square" lIns="0" tIns="0" rIns="0" bIns="0" rtlCol="0" anchor="t">
            <a:spAutoFit/>
          </a:bodyPr>
          <a:lstStyle/>
          <a:p>
            <a:pPr marL="0" marR="0" lvl="0" indent="0" defTabSz="914400" rtl="0" eaLnBrk="1" fontAlgn="auto" latinLnBrk="0" hangingPunct="1">
              <a:lnSpc>
                <a:spcPts val="8960"/>
              </a:lnSpc>
              <a:spcBef>
                <a:spcPct val="0"/>
              </a:spcBef>
              <a:spcAft>
                <a:spcPts val="0"/>
              </a:spcAft>
              <a:buClrTx/>
              <a:buSzTx/>
              <a:buFontTx/>
              <a:buNone/>
              <a:tabLst/>
              <a:defRPr/>
            </a:pPr>
            <a:r>
              <a:rPr kumimoji="0" lang="en-US" sz="6000" b="1" i="0" u="none" strike="noStrike" kern="1200" cap="none" spc="0" normalizeH="0" baseline="0" noProof="0" dirty="0">
                <a:ln>
                  <a:noFill/>
                </a:ln>
                <a:solidFill>
                  <a:srgbClr val="CC0033"/>
                </a:solidFill>
                <a:effectLst/>
                <a:uLnTx/>
                <a:uFillTx/>
                <a:latin typeface="Arial"/>
                <a:ea typeface="+mn-ea"/>
                <a:cs typeface="Arial" panose="020B0604020202020204" pitchFamily="34" charset="0"/>
              </a:rPr>
              <a:t>Carried out activities</a:t>
            </a:r>
          </a:p>
        </p:txBody>
      </p:sp>
      <p:sp>
        <p:nvSpPr>
          <p:cNvPr id="5" name="TextBox 14">
            <a:extLst>
              <a:ext uri="{FF2B5EF4-FFF2-40B4-BE49-F238E27FC236}">
                <a16:creationId xmlns:a16="http://schemas.microsoft.com/office/drawing/2014/main" id="{F301D1AF-9EAA-2037-CAEE-92EEA6D83251}"/>
              </a:ext>
            </a:extLst>
          </p:cNvPr>
          <p:cNvSpPr txBox="1"/>
          <p:nvPr/>
        </p:nvSpPr>
        <p:spPr>
          <a:xfrm>
            <a:off x="998830" y="2334778"/>
            <a:ext cx="10199053" cy="1107996"/>
          </a:xfrm>
          <a:prstGeom prst="rect">
            <a:avLst/>
          </a:prstGeom>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2400" b="0" i="0" u="none" strike="noStrike" kern="1200" cap="none" spc="0" normalizeH="0" baseline="0" noProof="0" dirty="0" err="1">
                <a:ln>
                  <a:noFill/>
                </a:ln>
                <a:solidFill>
                  <a:srgbClr val="2F2F2F"/>
                </a:solidFill>
                <a:effectLst/>
                <a:uLnTx/>
                <a:uFillTx/>
                <a:latin typeface="Univers"/>
                <a:ea typeface="+mn-ea"/>
                <a:cs typeface="Calibri" panose="020F0502020204030204"/>
              </a:rPr>
              <a:t>Trials</a:t>
            </a:r>
            <a:r>
              <a:rPr kumimoji="0" lang="sv-SE" sz="2400" b="0" i="0" u="none" strike="noStrike" kern="1200" cap="none" spc="0" normalizeH="0" baseline="0" noProof="0" dirty="0">
                <a:ln>
                  <a:noFill/>
                </a:ln>
                <a:solidFill>
                  <a:srgbClr val="2F2F2F"/>
                </a:solidFill>
                <a:effectLst/>
                <a:uLnTx/>
                <a:uFillTx/>
                <a:latin typeface="Univers"/>
                <a:ea typeface="+mn-ea"/>
                <a:cs typeface="Calibri" panose="020F0502020204030204"/>
              </a:rPr>
              <a:t> </a:t>
            </a:r>
            <a:r>
              <a:rPr kumimoji="0" lang="sv-SE" sz="2400" b="0" i="0" u="none" strike="noStrike" kern="1200" cap="none" spc="0" normalizeH="0" baseline="0" noProof="0" dirty="0" err="1">
                <a:ln>
                  <a:noFill/>
                </a:ln>
                <a:solidFill>
                  <a:srgbClr val="2F2F2F"/>
                </a:solidFill>
                <a:effectLst/>
                <a:uLnTx/>
                <a:uFillTx/>
                <a:latin typeface="Univers"/>
                <a:ea typeface="+mn-ea"/>
                <a:cs typeface="Calibri" panose="020F0502020204030204"/>
              </a:rPr>
              <a:t>with</a:t>
            </a:r>
            <a:r>
              <a:rPr kumimoji="0" lang="sv-SE" sz="2400" b="0" i="0" u="none" strike="noStrike" kern="1200" cap="none" spc="0" normalizeH="0" baseline="0" noProof="0" dirty="0">
                <a:ln>
                  <a:noFill/>
                </a:ln>
                <a:solidFill>
                  <a:srgbClr val="2F2F2F"/>
                </a:solidFill>
                <a:effectLst/>
                <a:uLnTx/>
                <a:uFillTx/>
                <a:latin typeface="Univers"/>
                <a:ea typeface="+mn-ea"/>
                <a:cs typeface="Calibri" panose="020F0502020204030204"/>
              </a:rPr>
              <a:t> different material </a:t>
            </a:r>
            <a:r>
              <a:rPr kumimoji="0" lang="sv-SE" sz="2400" b="0" i="0" u="none" strike="noStrike" kern="1200" cap="none" spc="0" normalizeH="0" baseline="0" noProof="0" dirty="0" err="1">
                <a:ln>
                  <a:noFill/>
                </a:ln>
                <a:solidFill>
                  <a:srgbClr val="2F2F2F"/>
                </a:solidFill>
                <a:effectLst/>
                <a:uLnTx/>
                <a:uFillTx/>
                <a:latin typeface="Univers"/>
                <a:ea typeface="+mn-ea"/>
                <a:cs typeface="Calibri" panose="020F0502020204030204"/>
              </a:rPr>
              <a:t>used</a:t>
            </a:r>
            <a:r>
              <a:rPr kumimoji="0" lang="sv-SE" sz="2400" b="0" i="0" u="none" strike="noStrike" kern="1200" cap="none" spc="0" normalizeH="0" baseline="0" noProof="0" dirty="0">
                <a:ln>
                  <a:noFill/>
                </a:ln>
                <a:solidFill>
                  <a:srgbClr val="2F2F2F"/>
                </a:solidFill>
                <a:effectLst/>
                <a:uLnTx/>
                <a:uFillTx/>
                <a:latin typeface="Univers"/>
                <a:ea typeface="+mn-ea"/>
                <a:cs typeface="Calibri" panose="020F0502020204030204"/>
              </a:rPr>
              <a:t> as </a:t>
            </a:r>
            <a:r>
              <a:rPr kumimoji="0" lang="sv-SE" sz="2400" b="0" i="0" u="none" strike="noStrike" kern="1200" cap="none" spc="0" normalizeH="0" baseline="0" noProof="0" dirty="0" err="1">
                <a:ln>
                  <a:noFill/>
                </a:ln>
                <a:solidFill>
                  <a:srgbClr val="2F2F2F"/>
                </a:solidFill>
                <a:effectLst/>
                <a:uLnTx/>
                <a:uFillTx/>
                <a:latin typeface="Univers"/>
                <a:ea typeface="+mn-ea"/>
                <a:cs typeface="Calibri" panose="020F0502020204030204"/>
              </a:rPr>
              <a:t>foaming</a:t>
            </a:r>
            <a:r>
              <a:rPr kumimoji="0" lang="sv-SE" sz="2400" b="0" i="0" u="none" strike="noStrike" kern="1200" cap="none" spc="0" normalizeH="0" baseline="0" noProof="0" dirty="0">
                <a:ln>
                  <a:noFill/>
                </a:ln>
                <a:solidFill>
                  <a:srgbClr val="2F2F2F"/>
                </a:solidFill>
                <a:effectLst/>
                <a:uLnTx/>
                <a:uFillTx/>
                <a:latin typeface="Univers"/>
                <a:ea typeface="+mn-ea"/>
                <a:cs typeface="Calibri" panose="020F0502020204030204"/>
              </a:rPr>
              <a:t> agent and </a:t>
            </a:r>
            <a:r>
              <a:rPr kumimoji="0" lang="sv-SE" sz="2400" b="0" i="0" u="none" strike="noStrike" kern="1200" cap="none" spc="0" normalizeH="0" baseline="0" noProof="0" dirty="0" err="1">
                <a:ln>
                  <a:noFill/>
                </a:ln>
                <a:solidFill>
                  <a:srgbClr val="2F2F2F"/>
                </a:solidFill>
                <a:effectLst/>
                <a:uLnTx/>
                <a:uFillTx/>
                <a:latin typeface="Univers"/>
                <a:ea typeface="+mn-ea"/>
                <a:cs typeface="Calibri" panose="020F0502020204030204"/>
              </a:rPr>
              <a:t>natural</a:t>
            </a:r>
            <a:r>
              <a:rPr kumimoji="0" lang="sv-SE" sz="2400" b="0" i="0" u="none" strike="noStrike" kern="1200" cap="none" spc="0" normalizeH="0" baseline="0" noProof="0" dirty="0">
                <a:ln>
                  <a:noFill/>
                </a:ln>
                <a:solidFill>
                  <a:srgbClr val="2F2F2F"/>
                </a:solidFill>
                <a:effectLst/>
                <a:uLnTx/>
                <a:uFillTx/>
                <a:latin typeface="Univers"/>
                <a:ea typeface="+mn-ea"/>
                <a:cs typeface="Calibri" panose="020F0502020204030204"/>
              </a:rPr>
              <a:t> gas </a:t>
            </a:r>
            <a:r>
              <a:rPr kumimoji="0" lang="sv-SE" sz="2400" b="0" i="0" u="none" strike="noStrike" kern="1200" cap="none" spc="0" normalizeH="0" baseline="0" noProof="0" dirty="0" err="1">
                <a:ln>
                  <a:noFill/>
                </a:ln>
                <a:solidFill>
                  <a:srgbClr val="2F2F2F"/>
                </a:solidFill>
                <a:effectLst/>
                <a:uLnTx/>
                <a:uFillTx/>
                <a:latin typeface="Univers"/>
                <a:ea typeface="+mn-ea"/>
                <a:cs typeface="Calibri" panose="020F0502020204030204"/>
              </a:rPr>
              <a:t>replacement</a:t>
            </a:r>
            <a:r>
              <a:rPr kumimoji="0" lang="sv-SE" sz="2400" b="0" i="0" u="none" strike="noStrike" kern="1200" cap="none" spc="0" normalizeH="0" baseline="0" noProof="0" dirty="0">
                <a:ln>
                  <a:noFill/>
                </a:ln>
                <a:solidFill>
                  <a:srgbClr val="2F2F2F"/>
                </a:solidFill>
                <a:effectLst/>
                <a:uLnTx/>
                <a:uFillTx/>
                <a:latin typeface="Univers"/>
                <a:ea typeface="+mn-ea"/>
                <a:cs typeface="Calibri" panose="020F0502020204030204"/>
              </a:rPr>
              <a:t> as </a:t>
            </a:r>
            <a:r>
              <a:rPr kumimoji="0" lang="sv-SE" sz="2400" b="0" i="0" u="none" strike="noStrike" kern="1200" cap="none" spc="0" normalizeH="0" baseline="0" noProof="0" dirty="0" err="1">
                <a:ln>
                  <a:noFill/>
                </a:ln>
                <a:solidFill>
                  <a:srgbClr val="2F2F2F"/>
                </a:solidFill>
                <a:effectLst/>
                <a:uLnTx/>
                <a:uFillTx/>
                <a:latin typeface="Univers"/>
                <a:ea typeface="+mn-ea"/>
                <a:cs typeface="Calibri" panose="020F0502020204030204"/>
              </a:rPr>
              <a:t>burner</a:t>
            </a:r>
            <a:r>
              <a:rPr kumimoji="0" lang="sv-SE" sz="2400" b="0" i="0" u="none" strike="noStrike" kern="1200" cap="none" spc="0" normalizeH="0" baseline="0" noProof="0" dirty="0">
                <a:ln>
                  <a:noFill/>
                </a:ln>
                <a:solidFill>
                  <a:srgbClr val="2F2F2F"/>
                </a:solidFill>
                <a:effectLst/>
                <a:uLnTx/>
                <a:uFillTx/>
                <a:latin typeface="Univers"/>
                <a:ea typeface="+mn-ea"/>
                <a:cs typeface="Calibri" panose="020F0502020204030204"/>
              </a:rPr>
              <a:t>. </a:t>
            </a:r>
            <a:r>
              <a:rPr kumimoji="0" lang="en-US" sz="2400" b="0" i="0" u="none" strike="noStrike" kern="1200" cap="none" spc="0" normalizeH="0" baseline="0" noProof="0" dirty="0">
                <a:ln>
                  <a:noFill/>
                </a:ln>
                <a:solidFill>
                  <a:srgbClr val="2F2F2F"/>
                </a:solidFill>
                <a:effectLst/>
                <a:uLnTx/>
                <a:uFillTx/>
                <a:latin typeface="Univers"/>
                <a:ea typeface="+mn-ea"/>
                <a:cs typeface="Calibri" panose="020F0502020204030204"/>
              </a:rPr>
              <a:t>Several products has been tested in FENO plant such as:</a:t>
            </a:r>
          </a:p>
        </p:txBody>
      </p:sp>
      <p:pic>
        <p:nvPicPr>
          <p:cNvPr id="7" name="image45.jpeg">
            <a:extLst>
              <a:ext uri="{FF2B5EF4-FFF2-40B4-BE49-F238E27FC236}">
                <a16:creationId xmlns:a16="http://schemas.microsoft.com/office/drawing/2014/main" id="{D66B7320-82C2-A205-3FB1-88B4C34922EF}"/>
              </a:ext>
            </a:extLst>
          </p:cNvPr>
          <p:cNvPicPr>
            <a:picLocks noChangeAspect="1"/>
          </p:cNvPicPr>
          <p:nvPr/>
        </p:nvPicPr>
        <p:blipFill>
          <a:blip r:embed="rId7" cstate="print"/>
          <a:stretch>
            <a:fillRect/>
          </a:stretch>
        </p:blipFill>
        <p:spPr>
          <a:xfrm>
            <a:off x="12275137" y="3287220"/>
            <a:ext cx="5060151" cy="3375151"/>
          </a:xfrm>
          <a:prstGeom prst="rect">
            <a:avLst/>
          </a:prstGeom>
        </p:spPr>
      </p:pic>
      <p:sp>
        <p:nvSpPr>
          <p:cNvPr id="8" name="TextBox 26">
            <a:extLst>
              <a:ext uri="{FF2B5EF4-FFF2-40B4-BE49-F238E27FC236}">
                <a16:creationId xmlns:a16="http://schemas.microsoft.com/office/drawing/2014/main" id="{E18464C0-EDF8-E268-C5C0-91E69CC07F1C}"/>
              </a:ext>
            </a:extLst>
          </p:cNvPr>
          <p:cNvSpPr txBox="1"/>
          <p:nvPr/>
        </p:nvSpPr>
        <p:spPr>
          <a:xfrm>
            <a:off x="12423993" y="7123710"/>
            <a:ext cx="5060151" cy="66656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2F2F2F"/>
                </a:solidFill>
                <a:effectLst/>
                <a:uLnTx/>
                <a:uFillTx/>
                <a:latin typeface="Arial" panose="020B0604020202020204" pitchFamily="34" charset="0"/>
                <a:ea typeface="Arial MT"/>
                <a:cs typeface="Arial MT"/>
              </a:rPr>
              <a:t>FERRIERE</a:t>
            </a:r>
            <a:r>
              <a:rPr kumimoji="0" lang="en-US" sz="1800" b="0" i="1" u="none" strike="noStrike" kern="1200" cap="none" spc="-40" normalizeH="0" baseline="0" noProof="0" dirty="0">
                <a:ln>
                  <a:noFill/>
                </a:ln>
                <a:solidFill>
                  <a:srgbClr val="2F2F2F"/>
                </a:solidFill>
                <a:effectLst/>
                <a:uLnTx/>
                <a:uFillTx/>
                <a:latin typeface="Arial" panose="020B0604020202020204" pitchFamily="34" charset="0"/>
                <a:ea typeface="Arial MT"/>
                <a:cs typeface="Arial MT"/>
              </a:rPr>
              <a:t> </a:t>
            </a:r>
            <a:r>
              <a:rPr kumimoji="0" lang="en-US" sz="1800" b="0" i="1" u="none" strike="noStrike" kern="1200" cap="none" spc="0" normalizeH="0" baseline="0" noProof="0" dirty="0">
                <a:ln>
                  <a:noFill/>
                </a:ln>
                <a:solidFill>
                  <a:srgbClr val="2F2F2F"/>
                </a:solidFill>
                <a:effectLst/>
                <a:uLnTx/>
                <a:uFillTx/>
                <a:latin typeface="Arial" panose="020B0604020202020204" pitchFamily="34" charset="0"/>
                <a:ea typeface="Arial MT"/>
                <a:cs typeface="Arial MT"/>
              </a:rPr>
              <a:t>NORD</a:t>
            </a:r>
            <a:r>
              <a:rPr kumimoji="0" lang="en-US" sz="1800" b="0" i="1" u="none" strike="noStrike" kern="1200" cap="none" spc="-45" normalizeH="0" baseline="0" noProof="0" dirty="0">
                <a:ln>
                  <a:noFill/>
                </a:ln>
                <a:solidFill>
                  <a:srgbClr val="2F2F2F"/>
                </a:solidFill>
                <a:effectLst/>
                <a:uLnTx/>
                <a:uFillTx/>
                <a:latin typeface="Arial" panose="020B0604020202020204" pitchFamily="34" charset="0"/>
                <a:ea typeface="Arial MT"/>
                <a:cs typeface="Arial MT"/>
              </a:rPr>
              <a:t> electric arc furnace (</a:t>
            </a:r>
            <a:r>
              <a:rPr kumimoji="0" lang="en-US" sz="1800" b="0" i="1" u="none" strike="noStrike" kern="1200" cap="none" spc="0" normalizeH="0" baseline="0" noProof="0" dirty="0">
                <a:ln>
                  <a:noFill/>
                </a:ln>
                <a:solidFill>
                  <a:srgbClr val="2F2F2F"/>
                </a:solidFill>
                <a:effectLst/>
                <a:uLnTx/>
                <a:uFillTx/>
                <a:latin typeface="Arial" panose="020B0604020202020204" pitchFamily="34" charset="0"/>
                <a:ea typeface="Arial MT"/>
                <a:cs typeface="Arial MT"/>
              </a:rPr>
              <a:t>EAF),</a:t>
            </a:r>
            <a:r>
              <a:rPr kumimoji="0" lang="en-US" sz="1800" b="0" i="1" u="none" strike="noStrike" kern="1200" cap="none" spc="-30" normalizeH="0" baseline="0" noProof="0" dirty="0">
                <a:ln>
                  <a:noFill/>
                </a:ln>
                <a:solidFill>
                  <a:srgbClr val="2F2F2F"/>
                </a:solidFill>
                <a:effectLst/>
                <a:uLnTx/>
                <a:uFillTx/>
                <a:latin typeface="Arial" panose="020B0604020202020204" pitchFamily="34" charset="0"/>
                <a:ea typeface="Arial MT"/>
                <a:cs typeface="Arial MT"/>
              </a:rPr>
              <a:t> </a:t>
            </a:r>
            <a:r>
              <a:rPr kumimoji="0" lang="en-US" sz="1800" b="0" i="1" u="none" strike="noStrike" kern="1200" cap="none" spc="0" normalizeH="0" baseline="0" noProof="0" dirty="0">
                <a:ln>
                  <a:noFill/>
                </a:ln>
                <a:solidFill>
                  <a:srgbClr val="2F2F2F"/>
                </a:solidFill>
                <a:effectLst/>
                <a:uLnTx/>
                <a:uFillTx/>
                <a:latin typeface="Arial" panose="020B0604020202020204" pitchFamily="34" charset="0"/>
                <a:ea typeface="Arial MT"/>
                <a:cs typeface="Arial MT"/>
              </a:rPr>
              <a:t>position</a:t>
            </a:r>
            <a:r>
              <a:rPr kumimoji="0" lang="en-US" sz="1800" b="0" i="1" u="none" strike="noStrike" kern="1200" cap="none" spc="-25" normalizeH="0" baseline="0" noProof="0" dirty="0">
                <a:ln>
                  <a:noFill/>
                </a:ln>
                <a:solidFill>
                  <a:srgbClr val="2F2F2F"/>
                </a:solidFill>
                <a:effectLst/>
                <a:uLnTx/>
                <a:uFillTx/>
                <a:latin typeface="Arial" panose="020B0604020202020204" pitchFamily="34" charset="0"/>
                <a:ea typeface="Arial MT"/>
                <a:cs typeface="Arial MT"/>
              </a:rPr>
              <a:t> </a:t>
            </a:r>
            <a:r>
              <a:rPr kumimoji="0" lang="en-US" sz="1800" b="0" i="1" u="none" strike="noStrike" kern="1200" cap="none" spc="0" normalizeH="0" baseline="0" noProof="0" dirty="0">
                <a:ln>
                  <a:noFill/>
                </a:ln>
                <a:solidFill>
                  <a:srgbClr val="2F2F2F"/>
                </a:solidFill>
                <a:effectLst/>
                <a:uLnTx/>
                <a:uFillTx/>
                <a:latin typeface="Arial" panose="020B0604020202020204" pitchFamily="34" charset="0"/>
                <a:ea typeface="Arial MT"/>
                <a:cs typeface="Arial MT"/>
              </a:rPr>
              <a:t>of</a:t>
            </a:r>
            <a:r>
              <a:rPr kumimoji="0" lang="en-US" sz="1800" b="0" i="1" u="none" strike="noStrike" kern="1200" cap="none" spc="-10" normalizeH="0" baseline="0" noProof="0" dirty="0">
                <a:ln>
                  <a:noFill/>
                </a:ln>
                <a:solidFill>
                  <a:srgbClr val="2F2F2F"/>
                </a:solidFill>
                <a:effectLst/>
                <a:uLnTx/>
                <a:uFillTx/>
                <a:latin typeface="Arial" panose="020B0604020202020204" pitchFamily="34" charset="0"/>
                <a:ea typeface="Arial MT"/>
                <a:cs typeface="Arial MT"/>
              </a:rPr>
              <a:t> </a:t>
            </a:r>
            <a:r>
              <a:rPr kumimoji="0" lang="en-US" sz="1800" b="0" i="1" u="none" strike="noStrike" kern="1200" cap="none" spc="0" normalizeH="0" baseline="0" noProof="0" dirty="0">
                <a:ln>
                  <a:noFill/>
                </a:ln>
                <a:solidFill>
                  <a:srgbClr val="2F2F2F"/>
                </a:solidFill>
                <a:effectLst/>
                <a:uLnTx/>
                <a:uFillTx/>
                <a:latin typeface="Arial" panose="020B0604020202020204" pitchFamily="34" charset="0"/>
                <a:ea typeface="Arial MT"/>
                <a:cs typeface="Arial MT"/>
              </a:rPr>
              <a:t>burners</a:t>
            </a:r>
            <a:r>
              <a:rPr kumimoji="0" lang="en-US" sz="1800" b="0" i="1" u="none" strike="noStrike" kern="1200" cap="none" spc="-35" normalizeH="0" baseline="0" noProof="0" dirty="0">
                <a:ln>
                  <a:noFill/>
                </a:ln>
                <a:solidFill>
                  <a:srgbClr val="2F2F2F"/>
                </a:solidFill>
                <a:effectLst/>
                <a:uLnTx/>
                <a:uFillTx/>
                <a:latin typeface="Arial" panose="020B0604020202020204" pitchFamily="34" charset="0"/>
                <a:ea typeface="Arial MT"/>
                <a:cs typeface="Arial MT"/>
              </a:rPr>
              <a:t> </a:t>
            </a:r>
            <a:r>
              <a:rPr kumimoji="0" lang="en-US" sz="1800" b="0" i="1" u="none" strike="noStrike" kern="1200" cap="none" spc="0" normalizeH="0" baseline="0" noProof="0" dirty="0">
                <a:ln>
                  <a:noFill/>
                </a:ln>
                <a:solidFill>
                  <a:srgbClr val="2F2F2F"/>
                </a:solidFill>
                <a:effectLst/>
                <a:uLnTx/>
                <a:uFillTx/>
                <a:latin typeface="Arial" panose="020B0604020202020204" pitchFamily="34" charset="0"/>
                <a:ea typeface="Arial MT"/>
                <a:cs typeface="Arial MT"/>
              </a:rPr>
              <a:t>and</a:t>
            </a:r>
            <a:r>
              <a:rPr kumimoji="0" lang="en-US" sz="1800" b="0" i="1" u="none" strike="noStrike" kern="1200" cap="none" spc="-25" normalizeH="0" baseline="0" noProof="0" dirty="0">
                <a:ln>
                  <a:noFill/>
                </a:ln>
                <a:solidFill>
                  <a:srgbClr val="2F2F2F"/>
                </a:solidFill>
                <a:effectLst/>
                <a:uLnTx/>
                <a:uFillTx/>
                <a:latin typeface="Arial" panose="020B0604020202020204" pitchFamily="34" charset="0"/>
                <a:ea typeface="Arial MT"/>
                <a:cs typeface="Arial MT"/>
              </a:rPr>
              <a:t> </a:t>
            </a:r>
            <a:r>
              <a:rPr kumimoji="0" lang="en-US" sz="1800" b="0" i="1" u="none" strike="noStrike" kern="1200" cap="none" spc="0" normalizeH="0" baseline="0" noProof="0" dirty="0">
                <a:ln>
                  <a:noFill/>
                </a:ln>
                <a:solidFill>
                  <a:srgbClr val="2F2F2F"/>
                </a:solidFill>
                <a:effectLst/>
                <a:uLnTx/>
                <a:uFillTx/>
                <a:latin typeface="Arial" panose="020B0604020202020204" pitchFamily="34" charset="0"/>
                <a:ea typeface="Arial MT"/>
                <a:cs typeface="Arial MT"/>
              </a:rPr>
              <a:t>injectors</a:t>
            </a:r>
            <a:endParaRPr kumimoji="0" lang="sv-SE" sz="1800" b="0" i="0" u="none" strike="noStrike" kern="1200" cap="none" spc="0" normalizeH="0" baseline="0" noProof="0" dirty="0">
              <a:ln>
                <a:noFill/>
              </a:ln>
              <a:solidFill>
                <a:srgbClr val="2F2F2F"/>
              </a:solidFill>
              <a:effectLst/>
              <a:uLnTx/>
              <a:uFillTx/>
              <a:latin typeface="Arial"/>
              <a:ea typeface="+mn-ea"/>
              <a:cs typeface="+mn-cs"/>
            </a:endParaRPr>
          </a:p>
        </p:txBody>
      </p:sp>
      <p:graphicFrame>
        <p:nvGraphicFramePr>
          <p:cNvPr id="13" name="Tabell 22">
            <a:extLst>
              <a:ext uri="{FF2B5EF4-FFF2-40B4-BE49-F238E27FC236}">
                <a16:creationId xmlns:a16="http://schemas.microsoft.com/office/drawing/2014/main" id="{558ABC3D-7036-CE8B-A7B2-1F050FA39A5C}"/>
              </a:ext>
            </a:extLst>
          </p:cNvPr>
          <p:cNvGraphicFramePr>
            <a:graphicFrameLocks noGrp="1"/>
          </p:cNvGraphicFramePr>
          <p:nvPr>
            <p:extLst>
              <p:ext uri="{D42A27DB-BD31-4B8C-83A1-F6EECF244321}">
                <p14:modId xmlns:p14="http://schemas.microsoft.com/office/powerpoint/2010/main" val="4185985510"/>
              </p:ext>
            </p:extLst>
          </p:nvPr>
        </p:nvGraphicFramePr>
        <p:xfrm>
          <a:off x="952712" y="3698242"/>
          <a:ext cx="10410563" cy="4454138"/>
        </p:xfrm>
        <a:graphic>
          <a:graphicData uri="http://schemas.openxmlformats.org/drawingml/2006/table">
            <a:tbl>
              <a:tblPr/>
              <a:tblGrid>
                <a:gridCol w="2631299">
                  <a:extLst>
                    <a:ext uri="{9D8B030D-6E8A-4147-A177-3AD203B41FA5}">
                      <a16:colId xmlns:a16="http://schemas.microsoft.com/office/drawing/2014/main" val="2286106618"/>
                    </a:ext>
                  </a:extLst>
                </a:gridCol>
                <a:gridCol w="1995972">
                  <a:extLst>
                    <a:ext uri="{9D8B030D-6E8A-4147-A177-3AD203B41FA5}">
                      <a16:colId xmlns:a16="http://schemas.microsoft.com/office/drawing/2014/main" val="2396201835"/>
                    </a:ext>
                  </a:extLst>
                </a:gridCol>
                <a:gridCol w="1677670">
                  <a:extLst>
                    <a:ext uri="{9D8B030D-6E8A-4147-A177-3AD203B41FA5}">
                      <a16:colId xmlns:a16="http://schemas.microsoft.com/office/drawing/2014/main" val="1801421296"/>
                    </a:ext>
                  </a:extLst>
                </a:gridCol>
                <a:gridCol w="2550695">
                  <a:extLst>
                    <a:ext uri="{9D8B030D-6E8A-4147-A177-3AD203B41FA5}">
                      <a16:colId xmlns:a16="http://schemas.microsoft.com/office/drawing/2014/main" val="2740178406"/>
                    </a:ext>
                  </a:extLst>
                </a:gridCol>
                <a:gridCol w="1554927">
                  <a:extLst>
                    <a:ext uri="{9D8B030D-6E8A-4147-A177-3AD203B41FA5}">
                      <a16:colId xmlns:a16="http://schemas.microsoft.com/office/drawing/2014/main" val="1402024321"/>
                    </a:ext>
                  </a:extLst>
                </a:gridCol>
              </a:tblGrid>
              <a:tr h="1317896">
                <a:tc>
                  <a:txBody>
                    <a:bodyPr/>
                    <a:lstStyle/>
                    <a:p>
                      <a:pPr algn="ctr" fontAlgn="base"/>
                      <a:r>
                        <a:rPr lang="it-IT" sz="2400" b="1" i="0">
                          <a:solidFill>
                            <a:srgbClr val="FFFFFF"/>
                          </a:solidFill>
                          <a:effectLst/>
                          <a:latin typeface="Arial" panose="020B0604020202020204" pitchFamily="34" charset="0"/>
                        </a:rPr>
                        <a:t>Material​</a:t>
                      </a:r>
                      <a:endParaRPr lang="it-IT" sz="1600" b="1" i="0">
                        <a:solidFill>
                          <a:srgbClr val="FFFFFF"/>
                        </a:solidFill>
                        <a:effectLst/>
                      </a:endParaRPr>
                    </a:p>
                  </a:txBody>
                  <a:tcPr marL="62267" marR="62267" marT="31133" marB="31133" anchor="ctr">
                    <a:lnL w="7620" cap="flat" cmpd="sng" algn="ctr">
                      <a:solidFill>
                        <a:srgbClr val="FFFFFF"/>
                      </a:solidFill>
                      <a:prstDash val="solid"/>
                      <a:round/>
                      <a:headEnd type="none" w="med" len="med"/>
                      <a:tailEnd type="none" w="med" len="med"/>
                    </a:lnL>
                    <a:lnR w="7620" cap="flat" cmpd="sng" algn="ctr">
                      <a:solidFill>
                        <a:srgbClr val="FFFFFF"/>
                      </a:solidFill>
                      <a:prstDash val="solid"/>
                      <a:round/>
                      <a:headEnd type="none" w="med" len="med"/>
                      <a:tailEnd type="none" w="med" len="med"/>
                    </a:lnR>
                    <a:lnT w="7620" cap="flat" cmpd="sng" algn="ctr">
                      <a:solidFill>
                        <a:srgbClr val="FFFFFF"/>
                      </a:solidFill>
                      <a:prstDash val="solid"/>
                      <a:round/>
                      <a:headEnd type="none" w="med" len="med"/>
                      <a:tailEnd type="none" w="med" len="med"/>
                    </a:lnT>
                    <a:lnB w="7620" cap="flat" cmpd="sng" algn="ctr">
                      <a:solidFill>
                        <a:srgbClr val="FFFFFF"/>
                      </a:solidFill>
                      <a:prstDash val="solid"/>
                      <a:round/>
                      <a:headEnd type="none" w="med" len="med"/>
                      <a:tailEnd type="none" w="med" len="med"/>
                    </a:lnB>
                    <a:solidFill>
                      <a:srgbClr val="CC0033"/>
                    </a:solidFill>
                  </a:tcPr>
                </a:tc>
                <a:tc>
                  <a:txBody>
                    <a:bodyPr/>
                    <a:lstStyle/>
                    <a:p>
                      <a:pPr algn="ctr" fontAlgn="base"/>
                      <a:r>
                        <a:rPr lang="it-IT" sz="2400" b="1" i="0">
                          <a:solidFill>
                            <a:srgbClr val="FFFFFF"/>
                          </a:solidFill>
                          <a:effectLst/>
                          <a:latin typeface="Arial" panose="020B0604020202020204" pitchFamily="34" charset="0"/>
                        </a:rPr>
                        <a:t>Time slot​</a:t>
                      </a:r>
                      <a:endParaRPr lang="it-IT" sz="1600" b="1" i="0">
                        <a:solidFill>
                          <a:srgbClr val="FFFFFF"/>
                        </a:solidFill>
                        <a:effectLst/>
                      </a:endParaRPr>
                    </a:p>
                  </a:txBody>
                  <a:tcPr marL="62267" marR="62267" marT="31133" marB="31133" anchor="ctr">
                    <a:lnL w="7620" cap="flat" cmpd="sng" algn="ctr">
                      <a:solidFill>
                        <a:srgbClr val="FFFFFF"/>
                      </a:solidFill>
                      <a:prstDash val="solid"/>
                      <a:round/>
                      <a:headEnd type="none" w="med" len="med"/>
                      <a:tailEnd type="none" w="med" len="med"/>
                    </a:lnL>
                    <a:lnR w="7620" cap="flat" cmpd="sng" algn="ctr">
                      <a:solidFill>
                        <a:srgbClr val="FFFFFF"/>
                      </a:solidFill>
                      <a:prstDash val="solid"/>
                      <a:round/>
                      <a:headEnd type="none" w="med" len="med"/>
                      <a:tailEnd type="none" w="med" len="med"/>
                    </a:lnR>
                    <a:lnT w="7620" cap="flat" cmpd="sng" algn="ctr">
                      <a:solidFill>
                        <a:srgbClr val="FFFFFF"/>
                      </a:solidFill>
                      <a:prstDash val="solid"/>
                      <a:round/>
                      <a:headEnd type="none" w="med" len="med"/>
                      <a:tailEnd type="none" w="med" len="med"/>
                    </a:lnT>
                    <a:lnB w="7620" cap="flat" cmpd="sng" algn="ctr">
                      <a:solidFill>
                        <a:srgbClr val="FFFFFF"/>
                      </a:solidFill>
                      <a:prstDash val="solid"/>
                      <a:round/>
                      <a:headEnd type="none" w="med" len="med"/>
                      <a:tailEnd type="none" w="med" len="med"/>
                    </a:lnB>
                    <a:solidFill>
                      <a:srgbClr val="CC0033"/>
                    </a:solidFill>
                  </a:tcPr>
                </a:tc>
                <a:tc>
                  <a:txBody>
                    <a:bodyPr/>
                    <a:lstStyle/>
                    <a:p>
                      <a:pPr algn="ctr" fontAlgn="base"/>
                      <a:r>
                        <a:rPr lang="it-IT" sz="2400" b="1" i="0">
                          <a:solidFill>
                            <a:srgbClr val="FFFFFF"/>
                          </a:solidFill>
                          <a:effectLst/>
                          <a:latin typeface="Arial" panose="020B0604020202020204" pitchFamily="34" charset="0"/>
                        </a:rPr>
                        <a:t>Quantity​</a:t>
                      </a:r>
                      <a:endParaRPr lang="it-IT" sz="1600" b="1" i="0">
                        <a:solidFill>
                          <a:srgbClr val="FFFFFF"/>
                        </a:solidFill>
                        <a:effectLst/>
                      </a:endParaRPr>
                    </a:p>
                  </a:txBody>
                  <a:tcPr marL="62267" marR="62267" marT="31133" marB="31133" anchor="ctr">
                    <a:lnL w="7620" cap="flat" cmpd="sng" algn="ctr">
                      <a:solidFill>
                        <a:srgbClr val="FFFFFF"/>
                      </a:solidFill>
                      <a:prstDash val="solid"/>
                      <a:round/>
                      <a:headEnd type="none" w="med" len="med"/>
                      <a:tailEnd type="none" w="med" len="med"/>
                    </a:lnL>
                    <a:lnR w="7620" cap="flat" cmpd="sng" algn="ctr">
                      <a:solidFill>
                        <a:srgbClr val="FFFFFF"/>
                      </a:solidFill>
                      <a:prstDash val="solid"/>
                      <a:round/>
                      <a:headEnd type="none" w="med" len="med"/>
                      <a:tailEnd type="none" w="med" len="med"/>
                    </a:lnR>
                    <a:lnT w="7620" cap="flat" cmpd="sng" algn="ctr">
                      <a:solidFill>
                        <a:srgbClr val="FFFFFF"/>
                      </a:solidFill>
                      <a:prstDash val="solid"/>
                      <a:round/>
                      <a:headEnd type="none" w="med" len="med"/>
                      <a:tailEnd type="none" w="med" len="med"/>
                    </a:lnT>
                    <a:lnB w="7620" cap="flat" cmpd="sng" algn="ctr">
                      <a:solidFill>
                        <a:srgbClr val="FFFFFF"/>
                      </a:solidFill>
                      <a:prstDash val="solid"/>
                      <a:round/>
                      <a:headEnd type="none" w="med" len="med"/>
                      <a:tailEnd type="none" w="med" len="med"/>
                    </a:lnB>
                    <a:solidFill>
                      <a:srgbClr val="CC0033"/>
                    </a:solidFill>
                  </a:tcPr>
                </a:tc>
                <a:tc>
                  <a:txBody>
                    <a:bodyPr/>
                    <a:lstStyle/>
                    <a:p>
                      <a:pPr algn="ctr" fontAlgn="base"/>
                      <a:r>
                        <a:rPr lang="it-IT" sz="2400" b="1" i="0">
                          <a:solidFill>
                            <a:srgbClr val="FFFFFF"/>
                          </a:solidFill>
                          <a:effectLst/>
                          <a:latin typeface="Arial" panose="020B0604020202020204" pitchFamily="34" charset="0"/>
                        </a:rPr>
                        <a:t>Biogenic C content [%]​</a:t>
                      </a:r>
                      <a:endParaRPr lang="it-IT" sz="1600" b="1" i="0">
                        <a:solidFill>
                          <a:srgbClr val="FFFFFF"/>
                        </a:solidFill>
                        <a:effectLst/>
                      </a:endParaRPr>
                    </a:p>
                  </a:txBody>
                  <a:tcPr marL="62267" marR="62267" marT="31133" marB="31133" anchor="ctr">
                    <a:lnL w="7620" cap="flat" cmpd="sng" algn="ctr">
                      <a:solidFill>
                        <a:srgbClr val="FFFFFF"/>
                      </a:solidFill>
                      <a:prstDash val="solid"/>
                      <a:round/>
                      <a:headEnd type="none" w="med" len="med"/>
                      <a:tailEnd type="none" w="med" len="med"/>
                    </a:lnL>
                    <a:lnR w="7620" cap="flat" cmpd="sng" algn="ctr">
                      <a:solidFill>
                        <a:srgbClr val="FFFFFF"/>
                      </a:solidFill>
                      <a:prstDash val="solid"/>
                      <a:round/>
                      <a:headEnd type="none" w="med" len="med"/>
                      <a:tailEnd type="none" w="med" len="med"/>
                    </a:lnR>
                    <a:lnT w="7620" cap="flat" cmpd="sng" algn="ctr">
                      <a:solidFill>
                        <a:srgbClr val="FFFFFF"/>
                      </a:solidFill>
                      <a:prstDash val="solid"/>
                      <a:round/>
                      <a:headEnd type="none" w="med" len="med"/>
                      <a:tailEnd type="none" w="med" len="med"/>
                    </a:lnT>
                    <a:lnB w="7620" cap="flat" cmpd="sng" algn="ctr">
                      <a:solidFill>
                        <a:srgbClr val="FFFFFF"/>
                      </a:solidFill>
                      <a:prstDash val="solid"/>
                      <a:round/>
                      <a:headEnd type="none" w="med" len="med"/>
                      <a:tailEnd type="none" w="med" len="med"/>
                    </a:lnB>
                    <a:solidFill>
                      <a:srgbClr val="CC0033"/>
                    </a:solidFill>
                  </a:tcPr>
                </a:tc>
                <a:tc>
                  <a:txBody>
                    <a:bodyPr/>
                    <a:lstStyle/>
                    <a:p>
                      <a:pPr algn="ctr" fontAlgn="base"/>
                      <a:r>
                        <a:rPr lang="it-IT" sz="2400" b="1" i="0">
                          <a:solidFill>
                            <a:srgbClr val="FFFFFF"/>
                          </a:solidFill>
                          <a:effectLst/>
                          <a:latin typeface="Arial" panose="020B0604020202020204" pitchFamily="34" charset="0"/>
                        </a:rPr>
                        <a:t>N° Heats​</a:t>
                      </a:r>
                      <a:endParaRPr lang="it-IT" sz="1600" b="1" i="0">
                        <a:solidFill>
                          <a:srgbClr val="FFFFFF"/>
                        </a:solidFill>
                        <a:effectLst/>
                      </a:endParaRPr>
                    </a:p>
                  </a:txBody>
                  <a:tcPr marL="62267" marR="62267" marT="31133" marB="31133" anchor="ctr">
                    <a:lnL w="7620" cap="flat" cmpd="sng" algn="ctr">
                      <a:solidFill>
                        <a:srgbClr val="FFFFFF"/>
                      </a:solidFill>
                      <a:prstDash val="solid"/>
                      <a:round/>
                      <a:headEnd type="none" w="med" len="med"/>
                      <a:tailEnd type="none" w="med" len="med"/>
                    </a:lnL>
                    <a:lnR w="7620" cap="flat" cmpd="sng" algn="ctr">
                      <a:solidFill>
                        <a:srgbClr val="FFFFFF"/>
                      </a:solidFill>
                      <a:prstDash val="solid"/>
                      <a:round/>
                      <a:headEnd type="none" w="med" len="med"/>
                      <a:tailEnd type="none" w="med" len="med"/>
                    </a:lnR>
                    <a:lnT w="7620" cap="flat" cmpd="sng" algn="ctr">
                      <a:solidFill>
                        <a:srgbClr val="FFFFFF"/>
                      </a:solidFill>
                      <a:prstDash val="solid"/>
                      <a:round/>
                      <a:headEnd type="none" w="med" len="med"/>
                      <a:tailEnd type="none" w="med" len="med"/>
                    </a:lnT>
                    <a:lnB w="7620" cap="flat" cmpd="sng" algn="ctr">
                      <a:solidFill>
                        <a:srgbClr val="FFFFFF"/>
                      </a:solidFill>
                      <a:prstDash val="solid"/>
                      <a:round/>
                      <a:headEnd type="none" w="med" len="med"/>
                      <a:tailEnd type="none" w="med" len="med"/>
                    </a:lnB>
                    <a:solidFill>
                      <a:srgbClr val="CC0033"/>
                    </a:solidFill>
                  </a:tcPr>
                </a:tc>
                <a:extLst>
                  <a:ext uri="{0D108BD9-81ED-4DB2-BD59-A6C34878D82A}">
                    <a16:rowId xmlns:a16="http://schemas.microsoft.com/office/drawing/2014/main" val="168472579"/>
                  </a:ext>
                </a:extLst>
              </a:tr>
              <a:tr h="537915">
                <a:tc>
                  <a:txBody>
                    <a:bodyPr/>
                    <a:lstStyle/>
                    <a:p>
                      <a:pPr algn="ctr" fontAlgn="base"/>
                      <a:r>
                        <a:rPr lang="it-IT" sz="2000" b="0" i="0" dirty="0">
                          <a:solidFill>
                            <a:schemeClr val="tx1"/>
                          </a:solidFill>
                          <a:effectLst/>
                          <a:latin typeface="Univers" panose="020B0503020202020204" pitchFamily="34" charset="0"/>
                        </a:rPr>
                        <a:t>Polymers​</a:t>
                      </a:r>
                      <a:endParaRPr lang="it-IT" sz="1600" b="0" i="0" dirty="0">
                        <a:solidFill>
                          <a:schemeClr val="tx1"/>
                        </a:solidFill>
                        <a:effectLst/>
                      </a:endParaRPr>
                    </a:p>
                  </a:txBody>
                  <a:tcPr marL="62267" marR="62267" marT="31133" marB="31133" anchor="ctr">
                    <a:lnL w="7620" cap="flat" cmpd="sng" algn="ctr">
                      <a:solidFill>
                        <a:srgbClr val="FFFFFF"/>
                      </a:solidFill>
                      <a:prstDash val="solid"/>
                      <a:round/>
                      <a:headEnd type="none" w="med" len="med"/>
                      <a:tailEnd type="none" w="med" len="med"/>
                    </a:lnL>
                    <a:lnR w="7620" cap="flat" cmpd="sng" algn="ctr">
                      <a:solidFill>
                        <a:srgbClr val="FFFFFF"/>
                      </a:solidFill>
                      <a:prstDash val="solid"/>
                      <a:round/>
                      <a:headEnd type="none" w="med" len="med"/>
                      <a:tailEnd type="none" w="med" len="med"/>
                    </a:lnR>
                    <a:lnT w="7620" cap="flat" cmpd="sng" algn="ctr">
                      <a:solidFill>
                        <a:srgbClr val="FFFFFF"/>
                      </a:solidFill>
                      <a:prstDash val="solid"/>
                      <a:round/>
                      <a:headEnd type="none" w="med" len="med"/>
                      <a:tailEnd type="none" w="med" len="med"/>
                    </a:lnT>
                    <a:lnB w="7620" cap="flat" cmpd="sng" algn="ctr">
                      <a:solidFill>
                        <a:srgbClr val="FFFFFF"/>
                      </a:solidFill>
                      <a:prstDash val="solid"/>
                      <a:round/>
                      <a:headEnd type="none" w="med" len="med"/>
                      <a:tailEnd type="none" w="med" len="med"/>
                    </a:lnB>
                    <a:solidFill>
                      <a:srgbClr val="ECCBCD"/>
                    </a:solidFill>
                  </a:tcPr>
                </a:tc>
                <a:tc>
                  <a:txBody>
                    <a:bodyPr/>
                    <a:lstStyle/>
                    <a:p>
                      <a:pPr algn="ctr" fontAlgn="base"/>
                      <a:r>
                        <a:rPr lang="it-IT" sz="2000" b="0" i="0">
                          <a:solidFill>
                            <a:schemeClr val="tx1"/>
                          </a:solidFill>
                          <a:effectLst/>
                          <a:latin typeface="Univers" panose="020B0503020202020204" pitchFamily="34" charset="0"/>
                        </a:rPr>
                        <a:t>04/22​</a:t>
                      </a:r>
                      <a:endParaRPr lang="it-IT" sz="1600" b="0" i="0">
                        <a:solidFill>
                          <a:schemeClr val="tx1"/>
                        </a:solidFill>
                        <a:effectLst/>
                      </a:endParaRPr>
                    </a:p>
                  </a:txBody>
                  <a:tcPr marL="62267" marR="62267" marT="31133" marB="31133" anchor="ctr">
                    <a:lnL w="7620" cap="flat" cmpd="sng" algn="ctr">
                      <a:solidFill>
                        <a:srgbClr val="FFFFFF"/>
                      </a:solidFill>
                      <a:prstDash val="solid"/>
                      <a:round/>
                      <a:headEnd type="none" w="med" len="med"/>
                      <a:tailEnd type="none" w="med" len="med"/>
                    </a:lnL>
                    <a:lnR w="7620" cap="flat" cmpd="sng" algn="ctr">
                      <a:solidFill>
                        <a:srgbClr val="FFFFFF"/>
                      </a:solidFill>
                      <a:prstDash val="solid"/>
                      <a:round/>
                      <a:headEnd type="none" w="med" len="med"/>
                      <a:tailEnd type="none" w="med" len="med"/>
                    </a:lnR>
                    <a:lnT w="7620" cap="flat" cmpd="sng" algn="ctr">
                      <a:solidFill>
                        <a:srgbClr val="FFFFFF"/>
                      </a:solidFill>
                      <a:prstDash val="solid"/>
                      <a:round/>
                      <a:headEnd type="none" w="med" len="med"/>
                      <a:tailEnd type="none" w="med" len="med"/>
                    </a:lnT>
                    <a:lnB w="7620" cap="flat" cmpd="sng" algn="ctr">
                      <a:solidFill>
                        <a:srgbClr val="FFFFFF"/>
                      </a:solidFill>
                      <a:prstDash val="solid"/>
                      <a:round/>
                      <a:headEnd type="none" w="med" len="med"/>
                      <a:tailEnd type="none" w="med" len="med"/>
                    </a:lnB>
                    <a:solidFill>
                      <a:srgbClr val="ECCBCD"/>
                    </a:solidFill>
                  </a:tcPr>
                </a:tc>
                <a:tc>
                  <a:txBody>
                    <a:bodyPr/>
                    <a:lstStyle/>
                    <a:p>
                      <a:pPr algn="ctr" fontAlgn="base"/>
                      <a:r>
                        <a:rPr lang="it-IT" sz="2000" b="0" i="0">
                          <a:solidFill>
                            <a:schemeClr val="tx1"/>
                          </a:solidFill>
                          <a:effectLst/>
                          <a:latin typeface="Univers" panose="020B0503020202020204" pitchFamily="34" charset="0"/>
                        </a:rPr>
                        <a:t>20 t​</a:t>
                      </a:r>
                      <a:endParaRPr lang="it-IT" sz="1600" b="0" i="0">
                        <a:solidFill>
                          <a:schemeClr val="tx1"/>
                        </a:solidFill>
                        <a:effectLst/>
                      </a:endParaRPr>
                    </a:p>
                  </a:txBody>
                  <a:tcPr marL="62267" marR="62267" marT="31133" marB="31133" anchor="ctr">
                    <a:lnL w="7620" cap="flat" cmpd="sng" algn="ctr">
                      <a:solidFill>
                        <a:srgbClr val="FFFFFF"/>
                      </a:solidFill>
                      <a:prstDash val="solid"/>
                      <a:round/>
                      <a:headEnd type="none" w="med" len="med"/>
                      <a:tailEnd type="none" w="med" len="med"/>
                    </a:lnL>
                    <a:lnR w="7620" cap="flat" cmpd="sng" algn="ctr">
                      <a:solidFill>
                        <a:srgbClr val="FFFFFF"/>
                      </a:solidFill>
                      <a:prstDash val="solid"/>
                      <a:round/>
                      <a:headEnd type="none" w="med" len="med"/>
                      <a:tailEnd type="none" w="med" len="med"/>
                    </a:lnR>
                    <a:lnT w="7620" cap="flat" cmpd="sng" algn="ctr">
                      <a:solidFill>
                        <a:srgbClr val="FFFFFF"/>
                      </a:solidFill>
                      <a:prstDash val="solid"/>
                      <a:round/>
                      <a:headEnd type="none" w="med" len="med"/>
                      <a:tailEnd type="none" w="med" len="med"/>
                    </a:lnT>
                    <a:lnB w="7620" cap="flat" cmpd="sng" algn="ctr">
                      <a:solidFill>
                        <a:srgbClr val="FFFFFF"/>
                      </a:solidFill>
                      <a:prstDash val="solid"/>
                      <a:round/>
                      <a:headEnd type="none" w="med" len="med"/>
                      <a:tailEnd type="none" w="med" len="med"/>
                    </a:lnB>
                    <a:solidFill>
                      <a:srgbClr val="ECCBCD"/>
                    </a:solidFill>
                  </a:tcPr>
                </a:tc>
                <a:tc>
                  <a:txBody>
                    <a:bodyPr/>
                    <a:lstStyle/>
                    <a:p>
                      <a:pPr algn="ctr" fontAlgn="base"/>
                      <a:r>
                        <a:rPr lang="it-IT" sz="2000" b="0" i="0">
                          <a:solidFill>
                            <a:schemeClr val="tx1"/>
                          </a:solidFill>
                          <a:effectLst/>
                          <a:latin typeface="Univers" panose="020B0503020202020204" pitchFamily="34" charset="0"/>
                        </a:rPr>
                        <a:t>30 % ​</a:t>
                      </a:r>
                      <a:endParaRPr lang="it-IT" sz="1600" b="0" i="0">
                        <a:solidFill>
                          <a:schemeClr val="tx1"/>
                        </a:solidFill>
                        <a:effectLst/>
                      </a:endParaRPr>
                    </a:p>
                  </a:txBody>
                  <a:tcPr marL="62267" marR="62267" marT="31133" marB="31133" anchor="ctr">
                    <a:lnL w="7620" cap="flat" cmpd="sng" algn="ctr">
                      <a:solidFill>
                        <a:srgbClr val="FFFFFF"/>
                      </a:solidFill>
                      <a:prstDash val="solid"/>
                      <a:round/>
                      <a:headEnd type="none" w="med" len="med"/>
                      <a:tailEnd type="none" w="med" len="med"/>
                    </a:lnL>
                    <a:lnR w="7620" cap="flat" cmpd="sng" algn="ctr">
                      <a:solidFill>
                        <a:srgbClr val="FFFFFF"/>
                      </a:solidFill>
                      <a:prstDash val="solid"/>
                      <a:round/>
                      <a:headEnd type="none" w="med" len="med"/>
                      <a:tailEnd type="none" w="med" len="med"/>
                    </a:lnR>
                    <a:lnT w="7620" cap="flat" cmpd="sng" algn="ctr">
                      <a:solidFill>
                        <a:srgbClr val="FFFFFF"/>
                      </a:solidFill>
                      <a:prstDash val="solid"/>
                      <a:round/>
                      <a:headEnd type="none" w="med" len="med"/>
                      <a:tailEnd type="none" w="med" len="med"/>
                    </a:lnT>
                    <a:lnB w="7620" cap="flat" cmpd="sng" algn="ctr">
                      <a:solidFill>
                        <a:srgbClr val="FFFFFF"/>
                      </a:solidFill>
                      <a:prstDash val="solid"/>
                      <a:round/>
                      <a:headEnd type="none" w="med" len="med"/>
                      <a:tailEnd type="none" w="med" len="med"/>
                    </a:lnB>
                    <a:solidFill>
                      <a:srgbClr val="ECCBCD"/>
                    </a:solidFill>
                  </a:tcPr>
                </a:tc>
                <a:tc>
                  <a:txBody>
                    <a:bodyPr/>
                    <a:lstStyle/>
                    <a:p>
                      <a:pPr algn="ctr" fontAlgn="base"/>
                      <a:r>
                        <a:rPr lang="it-IT" sz="2000" b="0" i="0" dirty="0">
                          <a:solidFill>
                            <a:schemeClr val="tx1"/>
                          </a:solidFill>
                          <a:effectLst/>
                          <a:latin typeface="Univers" panose="020B0503020202020204" pitchFamily="34" charset="0"/>
                        </a:rPr>
                        <a:t>100​</a:t>
                      </a:r>
                      <a:endParaRPr lang="it-IT" sz="1600" b="0" i="0" dirty="0">
                        <a:solidFill>
                          <a:schemeClr val="tx1"/>
                        </a:solidFill>
                        <a:effectLst/>
                      </a:endParaRPr>
                    </a:p>
                  </a:txBody>
                  <a:tcPr marL="62267" marR="62267" marT="31133" marB="31133" anchor="ctr">
                    <a:lnL w="7620" cap="flat" cmpd="sng" algn="ctr">
                      <a:solidFill>
                        <a:srgbClr val="FFFFFF"/>
                      </a:solidFill>
                      <a:prstDash val="solid"/>
                      <a:round/>
                      <a:headEnd type="none" w="med" len="med"/>
                      <a:tailEnd type="none" w="med" len="med"/>
                    </a:lnL>
                    <a:lnR w="7620" cap="flat" cmpd="sng" algn="ctr">
                      <a:solidFill>
                        <a:srgbClr val="FFFFFF"/>
                      </a:solidFill>
                      <a:prstDash val="solid"/>
                      <a:round/>
                      <a:headEnd type="none" w="med" len="med"/>
                      <a:tailEnd type="none" w="med" len="med"/>
                    </a:lnR>
                    <a:lnT w="7620" cap="flat" cmpd="sng" algn="ctr">
                      <a:solidFill>
                        <a:srgbClr val="FFFFFF"/>
                      </a:solidFill>
                      <a:prstDash val="solid"/>
                      <a:round/>
                      <a:headEnd type="none" w="med" len="med"/>
                      <a:tailEnd type="none" w="med" len="med"/>
                    </a:lnT>
                    <a:lnB w="7620" cap="flat" cmpd="sng" algn="ctr">
                      <a:solidFill>
                        <a:srgbClr val="FFFFFF"/>
                      </a:solidFill>
                      <a:prstDash val="solid"/>
                      <a:round/>
                      <a:headEnd type="none" w="med" len="med"/>
                      <a:tailEnd type="none" w="med" len="med"/>
                    </a:lnB>
                    <a:solidFill>
                      <a:srgbClr val="ECCBCD"/>
                    </a:solidFill>
                  </a:tcPr>
                </a:tc>
                <a:extLst>
                  <a:ext uri="{0D108BD9-81ED-4DB2-BD59-A6C34878D82A}">
                    <a16:rowId xmlns:a16="http://schemas.microsoft.com/office/drawing/2014/main" val="1244570032"/>
                  </a:ext>
                </a:extLst>
              </a:tr>
              <a:tr h="537915">
                <a:tc rowSpan="2">
                  <a:txBody>
                    <a:bodyPr/>
                    <a:lstStyle/>
                    <a:p>
                      <a:pPr algn="ctr" fontAlgn="base"/>
                      <a:r>
                        <a:rPr lang="it-IT" sz="2000" b="0" i="0" dirty="0">
                          <a:solidFill>
                            <a:schemeClr val="tx1"/>
                          </a:solidFill>
                          <a:effectLst/>
                          <a:latin typeface="Univers" panose="020B0503020202020204" pitchFamily="34" charset="0"/>
                        </a:rPr>
                        <a:t>Tire grain​</a:t>
                      </a:r>
                      <a:endParaRPr lang="it-IT" sz="1600" b="0" i="0" dirty="0">
                        <a:solidFill>
                          <a:schemeClr val="tx1"/>
                        </a:solidFill>
                        <a:effectLst/>
                      </a:endParaRPr>
                    </a:p>
                  </a:txBody>
                  <a:tcPr marL="62267" marR="62267" marT="31133" marB="31133" anchor="ctr">
                    <a:lnL w="7620" cap="flat" cmpd="sng" algn="ctr">
                      <a:solidFill>
                        <a:srgbClr val="FFFFFF"/>
                      </a:solidFill>
                      <a:prstDash val="solid"/>
                      <a:round/>
                      <a:headEnd type="none" w="med" len="med"/>
                      <a:tailEnd type="none" w="med" len="med"/>
                    </a:lnL>
                    <a:lnR w="7620" cap="flat" cmpd="sng" algn="ctr">
                      <a:solidFill>
                        <a:srgbClr val="FFFFFF"/>
                      </a:solidFill>
                      <a:prstDash val="solid"/>
                      <a:round/>
                      <a:headEnd type="none" w="med" len="med"/>
                      <a:tailEnd type="none" w="med" len="med"/>
                    </a:lnR>
                    <a:lnT w="7620" cap="flat" cmpd="sng" algn="ctr">
                      <a:solidFill>
                        <a:srgbClr val="FFFFFF"/>
                      </a:solidFill>
                      <a:prstDash val="solid"/>
                      <a:round/>
                      <a:headEnd type="none" w="med" len="med"/>
                      <a:tailEnd type="none" w="med" len="med"/>
                    </a:lnT>
                    <a:lnB w="7620" cap="flat" cmpd="sng" algn="ctr">
                      <a:solidFill>
                        <a:srgbClr val="FFFFFF"/>
                      </a:solidFill>
                      <a:prstDash val="solid"/>
                      <a:round/>
                      <a:headEnd type="none" w="med" len="med"/>
                      <a:tailEnd type="none" w="med" len="med"/>
                    </a:lnB>
                    <a:solidFill>
                      <a:srgbClr val="F6E7E8"/>
                    </a:solidFill>
                  </a:tcPr>
                </a:tc>
                <a:tc>
                  <a:txBody>
                    <a:bodyPr/>
                    <a:lstStyle/>
                    <a:p>
                      <a:pPr algn="ctr" fontAlgn="base"/>
                      <a:r>
                        <a:rPr lang="it-IT" sz="2000" b="0" i="0">
                          <a:solidFill>
                            <a:schemeClr val="tx1"/>
                          </a:solidFill>
                          <a:effectLst/>
                          <a:latin typeface="Univers" panose="020B0503020202020204" pitchFamily="34" charset="0"/>
                        </a:rPr>
                        <a:t>05/22 - 12/22​</a:t>
                      </a:r>
                      <a:endParaRPr lang="it-IT" sz="1600" b="0" i="0">
                        <a:solidFill>
                          <a:schemeClr val="tx1"/>
                        </a:solidFill>
                        <a:effectLst/>
                      </a:endParaRPr>
                    </a:p>
                  </a:txBody>
                  <a:tcPr marL="62267" marR="62267" marT="31133" marB="31133" anchor="ctr">
                    <a:lnL w="7620" cap="flat" cmpd="sng" algn="ctr">
                      <a:solidFill>
                        <a:srgbClr val="FFFFFF"/>
                      </a:solidFill>
                      <a:prstDash val="solid"/>
                      <a:round/>
                      <a:headEnd type="none" w="med" len="med"/>
                      <a:tailEnd type="none" w="med" len="med"/>
                    </a:lnL>
                    <a:lnR w="7620" cap="flat" cmpd="sng" algn="ctr">
                      <a:solidFill>
                        <a:srgbClr val="FFFFFF"/>
                      </a:solidFill>
                      <a:prstDash val="solid"/>
                      <a:round/>
                      <a:headEnd type="none" w="med" len="med"/>
                      <a:tailEnd type="none" w="med" len="med"/>
                    </a:lnR>
                    <a:lnT w="7620" cap="flat" cmpd="sng" algn="ctr">
                      <a:solidFill>
                        <a:srgbClr val="FFFFFF"/>
                      </a:solidFill>
                      <a:prstDash val="solid"/>
                      <a:round/>
                      <a:headEnd type="none" w="med" len="med"/>
                      <a:tailEnd type="none" w="med" len="med"/>
                    </a:lnT>
                    <a:lnB w="7620" cap="flat" cmpd="sng" algn="ctr">
                      <a:solidFill>
                        <a:srgbClr val="FFFFFF"/>
                      </a:solidFill>
                      <a:prstDash val="solid"/>
                      <a:round/>
                      <a:headEnd type="none" w="med" len="med"/>
                      <a:tailEnd type="none" w="med" len="med"/>
                    </a:lnB>
                    <a:solidFill>
                      <a:srgbClr val="F6E7E8"/>
                    </a:solidFill>
                  </a:tcPr>
                </a:tc>
                <a:tc>
                  <a:txBody>
                    <a:bodyPr/>
                    <a:lstStyle/>
                    <a:p>
                      <a:pPr algn="ctr" fontAlgn="base"/>
                      <a:r>
                        <a:rPr lang="it-IT" sz="2000" b="0" i="0">
                          <a:solidFill>
                            <a:schemeClr val="tx1"/>
                          </a:solidFill>
                          <a:effectLst/>
                          <a:latin typeface="Univers" panose="020B0503020202020204" pitchFamily="34" charset="0"/>
                        </a:rPr>
                        <a:t>886 t​</a:t>
                      </a:r>
                      <a:endParaRPr lang="it-IT" sz="1600" b="0" i="0">
                        <a:solidFill>
                          <a:schemeClr val="tx1"/>
                        </a:solidFill>
                        <a:effectLst/>
                      </a:endParaRPr>
                    </a:p>
                  </a:txBody>
                  <a:tcPr marL="62267" marR="62267" marT="31133" marB="31133" anchor="ctr">
                    <a:lnL w="7620" cap="flat" cmpd="sng" algn="ctr">
                      <a:solidFill>
                        <a:srgbClr val="FFFFFF"/>
                      </a:solidFill>
                      <a:prstDash val="solid"/>
                      <a:round/>
                      <a:headEnd type="none" w="med" len="med"/>
                      <a:tailEnd type="none" w="med" len="med"/>
                    </a:lnL>
                    <a:lnR w="7620" cap="flat" cmpd="sng" algn="ctr">
                      <a:solidFill>
                        <a:srgbClr val="FFFFFF"/>
                      </a:solidFill>
                      <a:prstDash val="solid"/>
                      <a:round/>
                      <a:headEnd type="none" w="med" len="med"/>
                      <a:tailEnd type="none" w="med" len="med"/>
                    </a:lnR>
                    <a:lnT w="7620" cap="flat" cmpd="sng" algn="ctr">
                      <a:solidFill>
                        <a:srgbClr val="FFFFFF"/>
                      </a:solidFill>
                      <a:prstDash val="solid"/>
                      <a:round/>
                      <a:headEnd type="none" w="med" len="med"/>
                      <a:tailEnd type="none" w="med" len="med"/>
                    </a:lnT>
                    <a:lnB w="7620" cap="flat" cmpd="sng" algn="ctr">
                      <a:solidFill>
                        <a:srgbClr val="FFFFFF"/>
                      </a:solidFill>
                      <a:prstDash val="solid"/>
                      <a:round/>
                      <a:headEnd type="none" w="med" len="med"/>
                      <a:tailEnd type="none" w="med" len="med"/>
                    </a:lnB>
                    <a:solidFill>
                      <a:srgbClr val="F6E7E8"/>
                    </a:solidFill>
                  </a:tcPr>
                </a:tc>
                <a:tc rowSpan="2">
                  <a:txBody>
                    <a:bodyPr/>
                    <a:lstStyle/>
                    <a:p>
                      <a:pPr algn="ctr" fontAlgn="base"/>
                      <a:r>
                        <a:rPr lang="it-IT" sz="2000" b="0" i="0">
                          <a:solidFill>
                            <a:schemeClr val="tx1"/>
                          </a:solidFill>
                          <a:effectLst/>
                          <a:latin typeface="Univers" panose="020B0503020202020204" pitchFamily="34" charset="0"/>
                        </a:rPr>
                        <a:t>35 %​</a:t>
                      </a:r>
                      <a:endParaRPr lang="it-IT" sz="1600" b="0" i="0">
                        <a:solidFill>
                          <a:schemeClr val="tx1"/>
                        </a:solidFill>
                        <a:effectLst/>
                      </a:endParaRPr>
                    </a:p>
                  </a:txBody>
                  <a:tcPr marL="62267" marR="62267" marT="31133" marB="31133" anchor="ctr">
                    <a:lnL w="7620" cap="flat" cmpd="sng" algn="ctr">
                      <a:solidFill>
                        <a:srgbClr val="FFFFFF"/>
                      </a:solidFill>
                      <a:prstDash val="solid"/>
                      <a:round/>
                      <a:headEnd type="none" w="med" len="med"/>
                      <a:tailEnd type="none" w="med" len="med"/>
                    </a:lnL>
                    <a:lnR w="7620" cap="flat" cmpd="sng" algn="ctr">
                      <a:solidFill>
                        <a:srgbClr val="FFFFFF"/>
                      </a:solidFill>
                      <a:prstDash val="solid"/>
                      <a:round/>
                      <a:headEnd type="none" w="med" len="med"/>
                      <a:tailEnd type="none" w="med" len="med"/>
                    </a:lnR>
                    <a:lnT w="7620" cap="flat" cmpd="sng" algn="ctr">
                      <a:solidFill>
                        <a:srgbClr val="FFFFFF"/>
                      </a:solidFill>
                      <a:prstDash val="solid"/>
                      <a:round/>
                      <a:headEnd type="none" w="med" len="med"/>
                      <a:tailEnd type="none" w="med" len="med"/>
                    </a:lnT>
                    <a:lnB w="7620" cap="flat" cmpd="sng" algn="ctr">
                      <a:solidFill>
                        <a:srgbClr val="FFFFFF"/>
                      </a:solidFill>
                      <a:prstDash val="solid"/>
                      <a:round/>
                      <a:headEnd type="none" w="med" len="med"/>
                      <a:tailEnd type="none" w="med" len="med"/>
                    </a:lnB>
                    <a:solidFill>
                      <a:srgbClr val="F6E7E8"/>
                    </a:solidFill>
                  </a:tcPr>
                </a:tc>
                <a:tc rowSpan="2">
                  <a:txBody>
                    <a:bodyPr/>
                    <a:lstStyle/>
                    <a:p>
                      <a:pPr algn="ctr" fontAlgn="base"/>
                      <a:r>
                        <a:rPr lang="it-IT" sz="2000" b="0" i="0" dirty="0">
                          <a:solidFill>
                            <a:schemeClr val="tx1"/>
                          </a:solidFill>
                          <a:effectLst/>
                          <a:latin typeface="Univers" panose="020B0503020202020204" pitchFamily="34" charset="0"/>
                        </a:rPr>
                        <a:t>6’500​</a:t>
                      </a:r>
                      <a:endParaRPr lang="it-IT" sz="1600" b="0" i="0" dirty="0">
                        <a:solidFill>
                          <a:schemeClr val="tx1"/>
                        </a:solidFill>
                        <a:effectLst/>
                      </a:endParaRPr>
                    </a:p>
                  </a:txBody>
                  <a:tcPr marL="62267" marR="62267" marT="31133" marB="31133" anchor="ctr">
                    <a:lnL w="7620" cap="flat" cmpd="sng" algn="ctr">
                      <a:solidFill>
                        <a:srgbClr val="FFFFFF"/>
                      </a:solidFill>
                      <a:prstDash val="solid"/>
                      <a:round/>
                      <a:headEnd type="none" w="med" len="med"/>
                      <a:tailEnd type="none" w="med" len="med"/>
                    </a:lnL>
                    <a:lnR w="7620" cap="flat" cmpd="sng" algn="ctr">
                      <a:solidFill>
                        <a:srgbClr val="FFFFFF"/>
                      </a:solidFill>
                      <a:prstDash val="solid"/>
                      <a:round/>
                      <a:headEnd type="none" w="med" len="med"/>
                      <a:tailEnd type="none" w="med" len="med"/>
                    </a:lnR>
                    <a:lnT w="7620" cap="flat" cmpd="sng" algn="ctr">
                      <a:solidFill>
                        <a:srgbClr val="FFFFFF"/>
                      </a:solidFill>
                      <a:prstDash val="solid"/>
                      <a:round/>
                      <a:headEnd type="none" w="med" len="med"/>
                      <a:tailEnd type="none" w="med" len="med"/>
                    </a:lnT>
                    <a:lnB w="7620" cap="flat" cmpd="sng" algn="ctr">
                      <a:solidFill>
                        <a:srgbClr val="FFFFFF"/>
                      </a:solidFill>
                      <a:prstDash val="solid"/>
                      <a:round/>
                      <a:headEnd type="none" w="med" len="med"/>
                      <a:tailEnd type="none" w="med" len="med"/>
                    </a:lnB>
                    <a:solidFill>
                      <a:srgbClr val="F6E7E8"/>
                    </a:solidFill>
                  </a:tcPr>
                </a:tc>
                <a:extLst>
                  <a:ext uri="{0D108BD9-81ED-4DB2-BD59-A6C34878D82A}">
                    <a16:rowId xmlns:a16="http://schemas.microsoft.com/office/drawing/2014/main" val="790185587"/>
                  </a:ext>
                </a:extLst>
              </a:tr>
              <a:tr h="537915">
                <a:tc vMerge="1">
                  <a:txBody>
                    <a:bodyPr/>
                    <a:lstStyle/>
                    <a:p>
                      <a:endParaRPr lang="sv-SE"/>
                    </a:p>
                  </a:txBody>
                  <a:tcPr/>
                </a:tc>
                <a:tc>
                  <a:txBody>
                    <a:bodyPr/>
                    <a:lstStyle/>
                    <a:p>
                      <a:pPr algn="ctr" fontAlgn="base"/>
                      <a:r>
                        <a:rPr lang="it-IT" sz="2000" b="0" i="0">
                          <a:solidFill>
                            <a:schemeClr val="tx1"/>
                          </a:solidFill>
                          <a:effectLst/>
                          <a:latin typeface="Univers" panose="020B0503020202020204" pitchFamily="34" charset="0"/>
                        </a:rPr>
                        <a:t>01/23 – 09/23​</a:t>
                      </a:r>
                      <a:endParaRPr lang="it-IT" sz="1600" b="0" i="0">
                        <a:solidFill>
                          <a:schemeClr val="tx1"/>
                        </a:solidFill>
                        <a:effectLst/>
                      </a:endParaRPr>
                    </a:p>
                  </a:txBody>
                  <a:tcPr marL="62267" marR="62267" marT="31133" marB="31133" anchor="ctr">
                    <a:lnL w="7620" cap="flat" cmpd="sng" algn="ctr">
                      <a:solidFill>
                        <a:srgbClr val="FFFFFF"/>
                      </a:solidFill>
                      <a:prstDash val="solid"/>
                      <a:round/>
                      <a:headEnd type="none" w="med" len="med"/>
                      <a:tailEnd type="none" w="med" len="med"/>
                    </a:lnL>
                    <a:lnR w="7620" cap="flat" cmpd="sng" algn="ctr">
                      <a:solidFill>
                        <a:srgbClr val="FFFFFF"/>
                      </a:solidFill>
                      <a:prstDash val="solid"/>
                      <a:round/>
                      <a:headEnd type="none" w="med" len="med"/>
                      <a:tailEnd type="none" w="med" len="med"/>
                    </a:lnR>
                    <a:lnT w="7620" cap="flat" cmpd="sng" algn="ctr">
                      <a:solidFill>
                        <a:srgbClr val="FFFFFF"/>
                      </a:solidFill>
                      <a:prstDash val="solid"/>
                      <a:round/>
                      <a:headEnd type="none" w="med" len="med"/>
                      <a:tailEnd type="none" w="med" len="med"/>
                    </a:lnT>
                    <a:lnB w="7620" cap="flat" cmpd="sng" algn="ctr">
                      <a:solidFill>
                        <a:srgbClr val="FFFFFF"/>
                      </a:solidFill>
                      <a:prstDash val="solid"/>
                      <a:round/>
                      <a:headEnd type="none" w="med" len="med"/>
                      <a:tailEnd type="none" w="med" len="med"/>
                    </a:lnB>
                    <a:solidFill>
                      <a:srgbClr val="ECCBCD"/>
                    </a:solidFill>
                  </a:tcPr>
                </a:tc>
                <a:tc>
                  <a:txBody>
                    <a:bodyPr/>
                    <a:lstStyle/>
                    <a:p>
                      <a:pPr algn="ctr" fontAlgn="base"/>
                      <a:r>
                        <a:rPr lang="it-IT" sz="2000" b="0" i="0">
                          <a:solidFill>
                            <a:schemeClr val="tx1"/>
                          </a:solidFill>
                          <a:effectLst/>
                          <a:latin typeface="Univers" panose="020B0503020202020204" pitchFamily="34" charset="0"/>
                        </a:rPr>
                        <a:t>1’300 t​</a:t>
                      </a:r>
                      <a:endParaRPr lang="it-IT" sz="1600" b="0" i="0">
                        <a:solidFill>
                          <a:schemeClr val="tx1"/>
                        </a:solidFill>
                        <a:effectLst/>
                      </a:endParaRPr>
                    </a:p>
                  </a:txBody>
                  <a:tcPr marL="62267" marR="62267" marT="31133" marB="31133" anchor="ctr">
                    <a:lnL w="7620" cap="flat" cmpd="sng" algn="ctr">
                      <a:solidFill>
                        <a:srgbClr val="FFFFFF"/>
                      </a:solidFill>
                      <a:prstDash val="solid"/>
                      <a:round/>
                      <a:headEnd type="none" w="med" len="med"/>
                      <a:tailEnd type="none" w="med" len="med"/>
                    </a:lnL>
                    <a:lnR w="7620" cap="flat" cmpd="sng" algn="ctr">
                      <a:solidFill>
                        <a:srgbClr val="FFFFFF"/>
                      </a:solidFill>
                      <a:prstDash val="solid"/>
                      <a:round/>
                      <a:headEnd type="none" w="med" len="med"/>
                      <a:tailEnd type="none" w="med" len="med"/>
                    </a:lnR>
                    <a:lnT w="7620" cap="flat" cmpd="sng" algn="ctr">
                      <a:solidFill>
                        <a:srgbClr val="FFFFFF"/>
                      </a:solidFill>
                      <a:prstDash val="solid"/>
                      <a:round/>
                      <a:headEnd type="none" w="med" len="med"/>
                      <a:tailEnd type="none" w="med" len="med"/>
                    </a:lnT>
                    <a:lnB w="7620" cap="flat" cmpd="sng" algn="ctr">
                      <a:solidFill>
                        <a:srgbClr val="FFFFFF"/>
                      </a:solidFill>
                      <a:prstDash val="solid"/>
                      <a:round/>
                      <a:headEnd type="none" w="med" len="med"/>
                      <a:tailEnd type="none" w="med" len="med"/>
                    </a:lnB>
                    <a:solidFill>
                      <a:srgbClr val="ECCBCD"/>
                    </a:solidFill>
                  </a:tcPr>
                </a:tc>
                <a:tc vMerge="1">
                  <a:txBody>
                    <a:bodyPr/>
                    <a:lstStyle/>
                    <a:p>
                      <a:endParaRPr lang="sv-SE"/>
                    </a:p>
                  </a:txBody>
                  <a:tcPr/>
                </a:tc>
                <a:tc vMerge="1">
                  <a:txBody>
                    <a:bodyPr/>
                    <a:lstStyle/>
                    <a:p>
                      <a:endParaRPr lang="sv-SE"/>
                    </a:p>
                  </a:txBody>
                  <a:tcPr/>
                </a:tc>
                <a:extLst>
                  <a:ext uri="{0D108BD9-81ED-4DB2-BD59-A6C34878D82A}">
                    <a16:rowId xmlns:a16="http://schemas.microsoft.com/office/drawing/2014/main" val="2482248177"/>
                  </a:ext>
                </a:extLst>
              </a:tr>
              <a:tr h="984582">
                <a:tc>
                  <a:txBody>
                    <a:bodyPr/>
                    <a:lstStyle/>
                    <a:p>
                      <a:pPr algn="ctr" fontAlgn="base"/>
                      <a:r>
                        <a:rPr lang="it-IT" sz="2000" b="0" i="0" dirty="0">
                          <a:solidFill>
                            <a:schemeClr val="tx1"/>
                          </a:solidFill>
                          <a:effectLst/>
                          <a:latin typeface="Univers" panose="020B0503020202020204" pitchFamily="34" charset="0"/>
                        </a:rPr>
                        <a:t>Blended polymers​</a:t>
                      </a:r>
                      <a:endParaRPr lang="it-IT" sz="1600" b="0" i="0" dirty="0">
                        <a:solidFill>
                          <a:schemeClr val="tx1"/>
                        </a:solidFill>
                        <a:effectLst/>
                      </a:endParaRPr>
                    </a:p>
                  </a:txBody>
                  <a:tcPr marL="62267" marR="62267" marT="31133" marB="31133" anchor="ctr">
                    <a:lnL w="7620" cap="flat" cmpd="sng" algn="ctr">
                      <a:solidFill>
                        <a:srgbClr val="FFFFFF"/>
                      </a:solidFill>
                      <a:prstDash val="solid"/>
                      <a:round/>
                      <a:headEnd type="none" w="med" len="med"/>
                      <a:tailEnd type="none" w="med" len="med"/>
                    </a:lnL>
                    <a:lnR w="7620" cap="flat" cmpd="sng" algn="ctr">
                      <a:solidFill>
                        <a:srgbClr val="FFFFFF"/>
                      </a:solidFill>
                      <a:prstDash val="solid"/>
                      <a:round/>
                      <a:headEnd type="none" w="med" len="med"/>
                      <a:tailEnd type="none" w="med" len="med"/>
                    </a:lnR>
                    <a:lnT w="7620" cap="flat" cmpd="sng" algn="ctr">
                      <a:solidFill>
                        <a:srgbClr val="FFFFFF"/>
                      </a:solidFill>
                      <a:prstDash val="solid"/>
                      <a:round/>
                      <a:headEnd type="none" w="med" len="med"/>
                      <a:tailEnd type="none" w="med" len="med"/>
                    </a:lnT>
                    <a:lnB w="7620" cap="flat" cmpd="sng" algn="ctr">
                      <a:solidFill>
                        <a:srgbClr val="FFFFFF"/>
                      </a:solidFill>
                      <a:prstDash val="solid"/>
                      <a:round/>
                      <a:headEnd type="none" w="med" len="med"/>
                      <a:tailEnd type="none" w="med" len="med"/>
                    </a:lnB>
                    <a:solidFill>
                      <a:srgbClr val="F6E7E8"/>
                    </a:solidFill>
                  </a:tcPr>
                </a:tc>
                <a:tc>
                  <a:txBody>
                    <a:bodyPr/>
                    <a:lstStyle/>
                    <a:p>
                      <a:pPr algn="ctr" fontAlgn="base"/>
                      <a:r>
                        <a:rPr lang="it-IT" sz="2000" b="0" i="0">
                          <a:solidFill>
                            <a:schemeClr val="tx1"/>
                          </a:solidFill>
                          <a:effectLst/>
                          <a:latin typeface="Univers" panose="020B0503020202020204" pitchFamily="34" charset="0"/>
                        </a:rPr>
                        <a:t>04/23​</a:t>
                      </a:r>
                      <a:endParaRPr lang="it-IT" sz="1600" b="0" i="0">
                        <a:solidFill>
                          <a:schemeClr val="tx1"/>
                        </a:solidFill>
                        <a:effectLst/>
                      </a:endParaRPr>
                    </a:p>
                  </a:txBody>
                  <a:tcPr marL="62267" marR="62267" marT="31133" marB="31133" anchor="ctr">
                    <a:lnL w="7620" cap="flat" cmpd="sng" algn="ctr">
                      <a:solidFill>
                        <a:srgbClr val="FFFFFF"/>
                      </a:solidFill>
                      <a:prstDash val="solid"/>
                      <a:round/>
                      <a:headEnd type="none" w="med" len="med"/>
                      <a:tailEnd type="none" w="med" len="med"/>
                    </a:lnL>
                    <a:lnR w="7620" cap="flat" cmpd="sng" algn="ctr">
                      <a:solidFill>
                        <a:srgbClr val="FFFFFF"/>
                      </a:solidFill>
                      <a:prstDash val="solid"/>
                      <a:round/>
                      <a:headEnd type="none" w="med" len="med"/>
                      <a:tailEnd type="none" w="med" len="med"/>
                    </a:lnR>
                    <a:lnT w="7620" cap="flat" cmpd="sng" algn="ctr">
                      <a:solidFill>
                        <a:srgbClr val="FFFFFF"/>
                      </a:solidFill>
                      <a:prstDash val="solid"/>
                      <a:round/>
                      <a:headEnd type="none" w="med" len="med"/>
                      <a:tailEnd type="none" w="med" len="med"/>
                    </a:lnT>
                    <a:lnB w="7620" cap="flat" cmpd="sng" algn="ctr">
                      <a:solidFill>
                        <a:srgbClr val="FFFFFF"/>
                      </a:solidFill>
                      <a:prstDash val="solid"/>
                      <a:round/>
                      <a:headEnd type="none" w="med" len="med"/>
                      <a:tailEnd type="none" w="med" len="med"/>
                    </a:lnB>
                    <a:solidFill>
                      <a:srgbClr val="F6E7E8"/>
                    </a:solidFill>
                  </a:tcPr>
                </a:tc>
                <a:tc>
                  <a:txBody>
                    <a:bodyPr/>
                    <a:lstStyle/>
                    <a:p>
                      <a:pPr algn="ctr" fontAlgn="base"/>
                      <a:r>
                        <a:rPr lang="it-IT" sz="2000" b="0" i="0">
                          <a:solidFill>
                            <a:schemeClr val="tx1"/>
                          </a:solidFill>
                          <a:effectLst/>
                          <a:latin typeface="Univers" panose="020B0503020202020204" pitchFamily="34" charset="0"/>
                        </a:rPr>
                        <a:t>150 t​</a:t>
                      </a:r>
                      <a:endParaRPr lang="it-IT" sz="1600" b="0" i="0">
                        <a:solidFill>
                          <a:schemeClr val="tx1"/>
                        </a:solidFill>
                        <a:effectLst/>
                      </a:endParaRPr>
                    </a:p>
                  </a:txBody>
                  <a:tcPr marL="62267" marR="62267" marT="31133" marB="31133" anchor="ctr">
                    <a:lnL w="7620" cap="flat" cmpd="sng" algn="ctr">
                      <a:solidFill>
                        <a:srgbClr val="FFFFFF"/>
                      </a:solidFill>
                      <a:prstDash val="solid"/>
                      <a:round/>
                      <a:headEnd type="none" w="med" len="med"/>
                      <a:tailEnd type="none" w="med" len="med"/>
                    </a:lnL>
                    <a:lnR w="7620" cap="flat" cmpd="sng" algn="ctr">
                      <a:solidFill>
                        <a:srgbClr val="FFFFFF"/>
                      </a:solidFill>
                      <a:prstDash val="solid"/>
                      <a:round/>
                      <a:headEnd type="none" w="med" len="med"/>
                      <a:tailEnd type="none" w="med" len="med"/>
                    </a:lnR>
                    <a:lnT w="7620" cap="flat" cmpd="sng" algn="ctr">
                      <a:solidFill>
                        <a:srgbClr val="FFFFFF"/>
                      </a:solidFill>
                      <a:prstDash val="solid"/>
                      <a:round/>
                      <a:headEnd type="none" w="med" len="med"/>
                      <a:tailEnd type="none" w="med" len="med"/>
                    </a:lnT>
                    <a:lnB w="7620" cap="flat" cmpd="sng" algn="ctr">
                      <a:solidFill>
                        <a:srgbClr val="FFFFFF"/>
                      </a:solidFill>
                      <a:prstDash val="solid"/>
                      <a:round/>
                      <a:headEnd type="none" w="med" len="med"/>
                      <a:tailEnd type="none" w="med" len="med"/>
                    </a:lnB>
                    <a:solidFill>
                      <a:srgbClr val="F6E7E8"/>
                    </a:solidFill>
                  </a:tcPr>
                </a:tc>
                <a:tc>
                  <a:txBody>
                    <a:bodyPr/>
                    <a:lstStyle/>
                    <a:p>
                      <a:pPr algn="ctr" fontAlgn="base"/>
                      <a:r>
                        <a:rPr lang="it-IT" sz="2000" b="0" i="0" dirty="0">
                          <a:solidFill>
                            <a:schemeClr val="tx1"/>
                          </a:solidFill>
                          <a:effectLst/>
                          <a:latin typeface="Univers" panose="020B0503020202020204" pitchFamily="34" charset="0"/>
                        </a:rPr>
                        <a:t>25 %​</a:t>
                      </a:r>
                      <a:endParaRPr lang="it-IT" sz="1600" b="0" i="0" dirty="0">
                        <a:solidFill>
                          <a:schemeClr val="tx1"/>
                        </a:solidFill>
                        <a:effectLst/>
                      </a:endParaRPr>
                    </a:p>
                  </a:txBody>
                  <a:tcPr marL="62267" marR="62267" marT="31133" marB="31133" anchor="ctr">
                    <a:lnL w="7620" cap="flat" cmpd="sng" algn="ctr">
                      <a:solidFill>
                        <a:srgbClr val="FFFFFF"/>
                      </a:solidFill>
                      <a:prstDash val="solid"/>
                      <a:round/>
                      <a:headEnd type="none" w="med" len="med"/>
                      <a:tailEnd type="none" w="med" len="med"/>
                    </a:lnL>
                    <a:lnR w="7620" cap="flat" cmpd="sng" algn="ctr">
                      <a:solidFill>
                        <a:srgbClr val="FFFFFF"/>
                      </a:solidFill>
                      <a:prstDash val="solid"/>
                      <a:round/>
                      <a:headEnd type="none" w="med" len="med"/>
                      <a:tailEnd type="none" w="med" len="med"/>
                    </a:lnR>
                    <a:lnT w="7620" cap="flat" cmpd="sng" algn="ctr">
                      <a:solidFill>
                        <a:srgbClr val="FFFFFF"/>
                      </a:solidFill>
                      <a:prstDash val="solid"/>
                      <a:round/>
                      <a:headEnd type="none" w="med" len="med"/>
                      <a:tailEnd type="none" w="med" len="med"/>
                    </a:lnT>
                    <a:lnB w="7620" cap="flat" cmpd="sng" algn="ctr">
                      <a:solidFill>
                        <a:srgbClr val="FFFFFF"/>
                      </a:solidFill>
                      <a:prstDash val="solid"/>
                      <a:round/>
                      <a:headEnd type="none" w="med" len="med"/>
                      <a:tailEnd type="none" w="med" len="med"/>
                    </a:lnB>
                    <a:solidFill>
                      <a:srgbClr val="F6E7E8"/>
                    </a:solidFill>
                  </a:tcPr>
                </a:tc>
                <a:tc>
                  <a:txBody>
                    <a:bodyPr/>
                    <a:lstStyle/>
                    <a:p>
                      <a:pPr algn="ctr" fontAlgn="base"/>
                      <a:r>
                        <a:rPr lang="it-IT" sz="2000" b="0" i="0">
                          <a:solidFill>
                            <a:schemeClr val="tx1"/>
                          </a:solidFill>
                          <a:effectLst/>
                          <a:latin typeface="Univers" panose="020B0503020202020204" pitchFamily="34" charset="0"/>
                        </a:rPr>
                        <a:t>500​</a:t>
                      </a:r>
                      <a:endParaRPr lang="it-IT" sz="1600" b="0" i="0">
                        <a:solidFill>
                          <a:schemeClr val="tx1"/>
                        </a:solidFill>
                        <a:effectLst/>
                      </a:endParaRPr>
                    </a:p>
                  </a:txBody>
                  <a:tcPr marL="62267" marR="62267" marT="31133" marB="31133" anchor="ctr">
                    <a:lnL w="7620" cap="flat" cmpd="sng" algn="ctr">
                      <a:solidFill>
                        <a:srgbClr val="FFFFFF"/>
                      </a:solidFill>
                      <a:prstDash val="solid"/>
                      <a:round/>
                      <a:headEnd type="none" w="med" len="med"/>
                      <a:tailEnd type="none" w="med" len="med"/>
                    </a:lnL>
                    <a:lnR w="7620" cap="flat" cmpd="sng" algn="ctr">
                      <a:solidFill>
                        <a:srgbClr val="FFFFFF"/>
                      </a:solidFill>
                      <a:prstDash val="solid"/>
                      <a:round/>
                      <a:headEnd type="none" w="med" len="med"/>
                      <a:tailEnd type="none" w="med" len="med"/>
                    </a:lnR>
                    <a:lnT w="7620" cap="flat" cmpd="sng" algn="ctr">
                      <a:solidFill>
                        <a:srgbClr val="FFFFFF"/>
                      </a:solidFill>
                      <a:prstDash val="solid"/>
                      <a:round/>
                      <a:headEnd type="none" w="med" len="med"/>
                      <a:tailEnd type="none" w="med" len="med"/>
                    </a:lnT>
                    <a:lnB w="7620" cap="flat" cmpd="sng" algn="ctr">
                      <a:solidFill>
                        <a:srgbClr val="FFFFFF"/>
                      </a:solidFill>
                      <a:prstDash val="solid"/>
                      <a:round/>
                      <a:headEnd type="none" w="med" len="med"/>
                      <a:tailEnd type="none" w="med" len="med"/>
                    </a:lnB>
                    <a:solidFill>
                      <a:srgbClr val="F6E7E8"/>
                    </a:solidFill>
                  </a:tcPr>
                </a:tc>
                <a:extLst>
                  <a:ext uri="{0D108BD9-81ED-4DB2-BD59-A6C34878D82A}">
                    <a16:rowId xmlns:a16="http://schemas.microsoft.com/office/drawing/2014/main" val="1916478146"/>
                  </a:ext>
                </a:extLst>
              </a:tr>
              <a:tr h="537915">
                <a:tc>
                  <a:txBody>
                    <a:bodyPr/>
                    <a:lstStyle/>
                    <a:p>
                      <a:pPr algn="ctr" fontAlgn="base"/>
                      <a:r>
                        <a:rPr lang="it-IT" sz="2000" b="0" i="0" dirty="0">
                          <a:solidFill>
                            <a:schemeClr val="tx1"/>
                          </a:solidFill>
                          <a:effectLst/>
                          <a:latin typeface="Univers" panose="020B0503020202020204" pitchFamily="34" charset="0"/>
                        </a:rPr>
                        <a:t>Biochar​</a:t>
                      </a:r>
                      <a:endParaRPr lang="it-IT" sz="1600" b="0" i="0" dirty="0">
                        <a:solidFill>
                          <a:schemeClr val="tx1"/>
                        </a:solidFill>
                        <a:effectLst/>
                      </a:endParaRPr>
                    </a:p>
                  </a:txBody>
                  <a:tcPr marL="62267" marR="62267" marT="31133" marB="31133" anchor="ctr">
                    <a:lnL w="7620" cap="flat" cmpd="sng" algn="ctr">
                      <a:solidFill>
                        <a:srgbClr val="FFFFFF"/>
                      </a:solidFill>
                      <a:prstDash val="solid"/>
                      <a:round/>
                      <a:headEnd type="none" w="med" len="med"/>
                      <a:tailEnd type="none" w="med" len="med"/>
                    </a:lnL>
                    <a:lnR w="7620" cap="flat" cmpd="sng" algn="ctr">
                      <a:solidFill>
                        <a:srgbClr val="FFFFFF"/>
                      </a:solidFill>
                      <a:prstDash val="solid"/>
                      <a:round/>
                      <a:headEnd type="none" w="med" len="med"/>
                      <a:tailEnd type="none" w="med" len="med"/>
                    </a:lnR>
                    <a:lnT w="7620" cap="flat" cmpd="sng" algn="ctr">
                      <a:solidFill>
                        <a:srgbClr val="FFFFFF"/>
                      </a:solidFill>
                      <a:prstDash val="solid"/>
                      <a:round/>
                      <a:headEnd type="none" w="med" len="med"/>
                      <a:tailEnd type="none" w="med" len="med"/>
                    </a:lnT>
                    <a:lnB w="7620" cap="flat" cmpd="sng" algn="ctr">
                      <a:solidFill>
                        <a:srgbClr val="FFFFFF"/>
                      </a:solidFill>
                      <a:prstDash val="solid"/>
                      <a:round/>
                      <a:headEnd type="none" w="med" len="med"/>
                      <a:tailEnd type="none" w="med" len="med"/>
                    </a:lnB>
                    <a:solidFill>
                      <a:srgbClr val="ECCBCD"/>
                    </a:solidFill>
                  </a:tcPr>
                </a:tc>
                <a:tc>
                  <a:txBody>
                    <a:bodyPr/>
                    <a:lstStyle/>
                    <a:p>
                      <a:pPr algn="ctr" fontAlgn="base"/>
                      <a:r>
                        <a:rPr lang="it-IT" sz="2000" b="0" i="0" dirty="0">
                          <a:solidFill>
                            <a:schemeClr val="tx1"/>
                          </a:solidFill>
                          <a:effectLst/>
                          <a:latin typeface="Univers" panose="020B0503020202020204" pitchFamily="34" charset="0"/>
                        </a:rPr>
                        <a:t>09/23 - 10/23​</a:t>
                      </a:r>
                      <a:endParaRPr lang="it-IT" sz="1600" b="0" i="0" dirty="0">
                        <a:solidFill>
                          <a:schemeClr val="tx1"/>
                        </a:solidFill>
                        <a:effectLst/>
                      </a:endParaRPr>
                    </a:p>
                  </a:txBody>
                  <a:tcPr marL="62267" marR="62267" marT="31133" marB="31133" anchor="ctr">
                    <a:lnL w="7620" cap="flat" cmpd="sng" algn="ctr">
                      <a:solidFill>
                        <a:srgbClr val="FFFFFF"/>
                      </a:solidFill>
                      <a:prstDash val="solid"/>
                      <a:round/>
                      <a:headEnd type="none" w="med" len="med"/>
                      <a:tailEnd type="none" w="med" len="med"/>
                    </a:lnL>
                    <a:lnR w="7620" cap="flat" cmpd="sng" algn="ctr">
                      <a:solidFill>
                        <a:srgbClr val="FFFFFF"/>
                      </a:solidFill>
                      <a:prstDash val="solid"/>
                      <a:round/>
                      <a:headEnd type="none" w="med" len="med"/>
                      <a:tailEnd type="none" w="med" len="med"/>
                    </a:lnR>
                    <a:lnT w="7620" cap="flat" cmpd="sng" algn="ctr">
                      <a:solidFill>
                        <a:srgbClr val="FFFFFF"/>
                      </a:solidFill>
                      <a:prstDash val="solid"/>
                      <a:round/>
                      <a:headEnd type="none" w="med" len="med"/>
                      <a:tailEnd type="none" w="med" len="med"/>
                    </a:lnT>
                    <a:lnB w="7620" cap="flat" cmpd="sng" algn="ctr">
                      <a:solidFill>
                        <a:srgbClr val="FFFFFF"/>
                      </a:solidFill>
                      <a:prstDash val="solid"/>
                      <a:round/>
                      <a:headEnd type="none" w="med" len="med"/>
                      <a:tailEnd type="none" w="med" len="med"/>
                    </a:lnB>
                    <a:solidFill>
                      <a:srgbClr val="ECCBCD"/>
                    </a:solidFill>
                  </a:tcPr>
                </a:tc>
                <a:tc>
                  <a:txBody>
                    <a:bodyPr/>
                    <a:lstStyle/>
                    <a:p>
                      <a:pPr algn="ctr" fontAlgn="base"/>
                      <a:r>
                        <a:rPr lang="it-IT" sz="2000" b="0" i="0" dirty="0">
                          <a:solidFill>
                            <a:schemeClr val="tx1"/>
                          </a:solidFill>
                          <a:effectLst/>
                          <a:latin typeface="Univers" panose="020B0503020202020204" pitchFamily="34" charset="0"/>
                        </a:rPr>
                        <a:t>75 t​</a:t>
                      </a:r>
                      <a:endParaRPr lang="it-IT" sz="1600" b="0" i="0" dirty="0">
                        <a:solidFill>
                          <a:schemeClr val="tx1"/>
                        </a:solidFill>
                        <a:effectLst/>
                      </a:endParaRPr>
                    </a:p>
                  </a:txBody>
                  <a:tcPr marL="62267" marR="62267" marT="31133" marB="31133" anchor="ctr">
                    <a:lnL w="7620" cap="flat" cmpd="sng" algn="ctr">
                      <a:solidFill>
                        <a:srgbClr val="FFFFFF"/>
                      </a:solidFill>
                      <a:prstDash val="solid"/>
                      <a:round/>
                      <a:headEnd type="none" w="med" len="med"/>
                      <a:tailEnd type="none" w="med" len="med"/>
                    </a:lnL>
                    <a:lnR w="7620" cap="flat" cmpd="sng" algn="ctr">
                      <a:solidFill>
                        <a:srgbClr val="FFFFFF"/>
                      </a:solidFill>
                      <a:prstDash val="solid"/>
                      <a:round/>
                      <a:headEnd type="none" w="med" len="med"/>
                      <a:tailEnd type="none" w="med" len="med"/>
                    </a:lnR>
                    <a:lnT w="7620" cap="flat" cmpd="sng" algn="ctr">
                      <a:solidFill>
                        <a:srgbClr val="FFFFFF"/>
                      </a:solidFill>
                      <a:prstDash val="solid"/>
                      <a:round/>
                      <a:headEnd type="none" w="med" len="med"/>
                      <a:tailEnd type="none" w="med" len="med"/>
                    </a:lnT>
                    <a:lnB w="7620" cap="flat" cmpd="sng" algn="ctr">
                      <a:solidFill>
                        <a:srgbClr val="FFFFFF"/>
                      </a:solidFill>
                      <a:prstDash val="solid"/>
                      <a:round/>
                      <a:headEnd type="none" w="med" len="med"/>
                      <a:tailEnd type="none" w="med" len="med"/>
                    </a:lnB>
                    <a:solidFill>
                      <a:srgbClr val="ECCBCD"/>
                    </a:solidFill>
                  </a:tcPr>
                </a:tc>
                <a:tc>
                  <a:txBody>
                    <a:bodyPr/>
                    <a:lstStyle/>
                    <a:p>
                      <a:pPr algn="ctr" fontAlgn="base"/>
                      <a:r>
                        <a:rPr lang="it-IT" sz="2000" b="0" i="0">
                          <a:solidFill>
                            <a:schemeClr val="tx1"/>
                          </a:solidFill>
                          <a:effectLst/>
                          <a:latin typeface="Univers" panose="020B0503020202020204" pitchFamily="34" charset="0"/>
                        </a:rPr>
                        <a:t>100 %​</a:t>
                      </a:r>
                      <a:endParaRPr lang="it-IT" sz="1600" b="0" i="0">
                        <a:solidFill>
                          <a:schemeClr val="tx1"/>
                        </a:solidFill>
                        <a:effectLst/>
                      </a:endParaRPr>
                    </a:p>
                  </a:txBody>
                  <a:tcPr marL="62267" marR="62267" marT="31133" marB="31133" anchor="ctr">
                    <a:lnL w="7620" cap="flat" cmpd="sng" algn="ctr">
                      <a:solidFill>
                        <a:srgbClr val="FFFFFF"/>
                      </a:solidFill>
                      <a:prstDash val="solid"/>
                      <a:round/>
                      <a:headEnd type="none" w="med" len="med"/>
                      <a:tailEnd type="none" w="med" len="med"/>
                    </a:lnL>
                    <a:lnR w="7620" cap="flat" cmpd="sng" algn="ctr">
                      <a:solidFill>
                        <a:srgbClr val="FFFFFF"/>
                      </a:solidFill>
                      <a:prstDash val="solid"/>
                      <a:round/>
                      <a:headEnd type="none" w="med" len="med"/>
                      <a:tailEnd type="none" w="med" len="med"/>
                    </a:lnR>
                    <a:lnT w="7620" cap="flat" cmpd="sng" algn="ctr">
                      <a:solidFill>
                        <a:srgbClr val="FFFFFF"/>
                      </a:solidFill>
                      <a:prstDash val="solid"/>
                      <a:round/>
                      <a:headEnd type="none" w="med" len="med"/>
                      <a:tailEnd type="none" w="med" len="med"/>
                    </a:lnT>
                    <a:lnB w="7620" cap="flat" cmpd="sng" algn="ctr">
                      <a:solidFill>
                        <a:srgbClr val="FFFFFF"/>
                      </a:solidFill>
                      <a:prstDash val="solid"/>
                      <a:round/>
                      <a:headEnd type="none" w="med" len="med"/>
                      <a:tailEnd type="none" w="med" len="med"/>
                    </a:lnB>
                    <a:solidFill>
                      <a:srgbClr val="ECCBCD"/>
                    </a:solidFill>
                  </a:tcPr>
                </a:tc>
                <a:tc>
                  <a:txBody>
                    <a:bodyPr/>
                    <a:lstStyle/>
                    <a:p>
                      <a:pPr algn="ctr" fontAlgn="base"/>
                      <a:r>
                        <a:rPr lang="it-IT" sz="2000" b="0" i="0" dirty="0">
                          <a:solidFill>
                            <a:schemeClr val="tx1"/>
                          </a:solidFill>
                          <a:effectLst/>
                          <a:latin typeface="Univers" panose="020B0503020202020204" pitchFamily="34" charset="0"/>
                        </a:rPr>
                        <a:t>250</a:t>
                      </a:r>
                      <a:endParaRPr lang="it-IT" sz="1600" b="0" i="0" dirty="0">
                        <a:solidFill>
                          <a:schemeClr val="tx1"/>
                        </a:solidFill>
                        <a:effectLst/>
                      </a:endParaRPr>
                    </a:p>
                  </a:txBody>
                  <a:tcPr marL="62267" marR="62267" marT="31133" marB="31133" anchor="ctr">
                    <a:lnL w="7620" cap="flat" cmpd="sng" algn="ctr">
                      <a:solidFill>
                        <a:srgbClr val="FFFFFF"/>
                      </a:solidFill>
                      <a:prstDash val="solid"/>
                      <a:round/>
                      <a:headEnd type="none" w="med" len="med"/>
                      <a:tailEnd type="none" w="med" len="med"/>
                    </a:lnL>
                    <a:lnR w="7620" cap="flat" cmpd="sng" algn="ctr">
                      <a:solidFill>
                        <a:srgbClr val="FFFFFF"/>
                      </a:solidFill>
                      <a:prstDash val="solid"/>
                      <a:round/>
                      <a:headEnd type="none" w="med" len="med"/>
                      <a:tailEnd type="none" w="med" len="med"/>
                    </a:lnR>
                    <a:lnT w="7620" cap="flat" cmpd="sng" algn="ctr">
                      <a:solidFill>
                        <a:srgbClr val="FFFFFF"/>
                      </a:solidFill>
                      <a:prstDash val="solid"/>
                      <a:round/>
                      <a:headEnd type="none" w="med" len="med"/>
                      <a:tailEnd type="none" w="med" len="med"/>
                    </a:lnT>
                    <a:lnB w="7620" cap="flat" cmpd="sng" algn="ctr">
                      <a:solidFill>
                        <a:srgbClr val="FFFFFF"/>
                      </a:solidFill>
                      <a:prstDash val="solid"/>
                      <a:round/>
                      <a:headEnd type="none" w="med" len="med"/>
                      <a:tailEnd type="none" w="med" len="med"/>
                    </a:lnB>
                    <a:solidFill>
                      <a:srgbClr val="ECCBCD"/>
                    </a:solidFill>
                  </a:tcPr>
                </a:tc>
                <a:extLst>
                  <a:ext uri="{0D108BD9-81ED-4DB2-BD59-A6C34878D82A}">
                    <a16:rowId xmlns:a16="http://schemas.microsoft.com/office/drawing/2014/main" val="2153498068"/>
                  </a:ext>
                </a:extLst>
              </a:tr>
            </a:tbl>
          </a:graphicData>
        </a:graphic>
      </p:graphicFrame>
      <p:pic>
        <p:nvPicPr>
          <p:cNvPr id="6" name="Imagen 115">
            <a:extLst>
              <a:ext uri="{FF2B5EF4-FFF2-40B4-BE49-F238E27FC236}">
                <a16:creationId xmlns:a16="http://schemas.microsoft.com/office/drawing/2014/main" id="{B8387789-64DC-01FC-5171-A5D4AB1463E9}"/>
              </a:ext>
            </a:extLst>
          </p:cNvPr>
          <p:cNvPicPr>
            <a:picLocks noChangeAspect="1"/>
          </p:cNvPicPr>
          <p:nvPr/>
        </p:nvPicPr>
        <p:blipFill>
          <a:blip r:embed="rId3"/>
          <a:stretch>
            <a:fillRect/>
          </a:stretch>
        </p:blipFill>
        <p:spPr>
          <a:xfrm>
            <a:off x="16689224" y="386588"/>
            <a:ext cx="1426810" cy="1197757"/>
          </a:xfrm>
          <a:prstGeom prst="rect">
            <a:avLst/>
          </a:prstGeom>
        </p:spPr>
      </p:pic>
    </p:spTree>
    <p:extLst>
      <p:ext uri="{BB962C8B-B14F-4D97-AF65-F5344CB8AC3E}">
        <p14:creationId xmlns:p14="http://schemas.microsoft.com/office/powerpoint/2010/main" val="3502371393"/>
      </p:ext>
    </p:extLst>
  </p:cSld>
  <p:clrMapOvr>
    <a:masterClrMapping/>
  </p:clrMapOvr>
  <mc:AlternateContent xmlns:mc="http://schemas.openxmlformats.org/markup-compatibility/2006" xmlns:p14="http://schemas.microsoft.com/office/powerpoint/2010/main">
    <mc:Choice Requires="p14">
      <p:transition spd="slow" p14:dur="2000" advTm="83130"/>
    </mc:Choice>
    <mc:Fallback xmlns="">
      <p:transition spd="slow" advTm="83130"/>
    </mc:Fallback>
  </mc:AlternateContent>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6"/>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4"/>
          <a:srcRect/>
          <a:stretch>
            <a:fillRect/>
          </a:stretch>
        </p:blipFill>
        <p:spPr>
          <a:xfrm>
            <a:off x="0" y="8901113"/>
            <a:ext cx="5715000" cy="1385887"/>
          </a:xfrm>
          <a:prstGeom prst="rect">
            <a:avLst/>
          </a:prstGeom>
        </p:spPr>
      </p:pic>
      <p:grpSp>
        <p:nvGrpSpPr>
          <p:cNvPr id="2" name="Gruppo 1">
            <a:extLst>
              <a:ext uri="{FF2B5EF4-FFF2-40B4-BE49-F238E27FC236}">
                <a16:creationId xmlns:a16="http://schemas.microsoft.com/office/drawing/2014/main" id="{D8D71BB5-458F-411D-AFA9-C648954E9F40}"/>
              </a:ext>
            </a:extLst>
          </p:cNvPr>
          <p:cNvGrpSpPr/>
          <p:nvPr/>
        </p:nvGrpSpPr>
        <p:grpSpPr>
          <a:xfrm>
            <a:off x="-12" y="138554"/>
            <a:ext cx="18288002" cy="681138"/>
            <a:chOff x="-12" y="138554"/>
            <a:chExt cx="18288002" cy="681138"/>
          </a:xfrm>
        </p:grpSpPr>
        <p:grpSp>
          <p:nvGrpSpPr>
            <p:cNvPr id="16" name="Gruppo 15">
              <a:extLst>
                <a:ext uri="{FF2B5EF4-FFF2-40B4-BE49-F238E27FC236}">
                  <a16:creationId xmlns:a16="http://schemas.microsoft.com/office/drawing/2014/main" id="{DAC42A46-917D-41AB-8F07-E15E54D0F7D4}"/>
                </a:ext>
              </a:extLst>
            </p:cNvPr>
            <p:cNvGrpSpPr/>
            <p:nvPr/>
          </p:nvGrpSpPr>
          <p:grpSpPr>
            <a:xfrm>
              <a:off x="0" y="153125"/>
              <a:ext cx="13958844" cy="666567"/>
              <a:chOff x="0" y="153125"/>
              <a:chExt cx="13958844" cy="666567"/>
            </a:xfrm>
          </p:grpSpPr>
          <p:pic>
            <p:nvPicPr>
              <p:cNvPr id="10" name="Picture 10"/>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1" name="TextBox 11"/>
              <p:cNvSpPr txBox="1"/>
              <p:nvPr/>
            </p:nvSpPr>
            <p:spPr>
              <a:xfrm>
                <a:off x="228600" y="257980"/>
                <a:ext cx="5752704" cy="456856"/>
              </a:xfrm>
              <a:prstGeom prst="rect">
                <a:avLst/>
              </a:prstGeom>
            </p:spPr>
            <p:txBody>
              <a:bodyPr wrap="square" lIns="0" tIns="0" rIns="0" bIns="0" rtlCol="0" anchor="t">
                <a:spAutoFit/>
              </a:bodyPr>
              <a:lstStyle/>
              <a:p>
                <a:pPr>
                  <a:lnSpc>
                    <a:spcPts val="3919"/>
                  </a:lnSpc>
                  <a:spcBef>
                    <a:spcPct val="0"/>
                  </a:spcBef>
                </a:pPr>
                <a:endParaRPr lang="en-US" sz="2800" b="1">
                  <a:solidFill>
                    <a:srgbClr val="FFFFFF"/>
                  </a:solidFill>
                  <a:latin typeface="Arial" panose="020B0604020202020204" pitchFamily="34" charset="0"/>
                  <a:cs typeface="Arial" panose="020B0604020202020204" pitchFamily="34" charset="0"/>
                </a:endParaRPr>
              </a:p>
            </p:txBody>
          </p:sp>
        </p:grpSp>
        <p:sp>
          <p:nvSpPr>
            <p:cNvPr id="12" name="Rettangolo 11">
              <a:extLst>
                <a:ext uri="{FF2B5EF4-FFF2-40B4-BE49-F238E27FC236}">
                  <a16:creationId xmlns:a16="http://schemas.microsoft.com/office/drawing/2014/main" id="{F2E90E36-F5DF-479E-BF3B-C6F6A1CEA4E7}"/>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4" name="TextBox 13">
            <a:extLst>
              <a:ext uri="{FF2B5EF4-FFF2-40B4-BE49-F238E27FC236}">
                <a16:creationId xmlns:a16="http://schemas.microsoft.com/office/drawing/2014/main" id="{4DBA6E6C-EF4B-454F-10E8-510ECCEF6124}"/>
              </a:ext>
            </a:extLst>
          </p:cNvPr>
          <p:cNvSpPr txBox="1"/>
          <p:nvPr/>
        </p:nvSpPr>
        <p:spPr>
          <a:xfrm>
            <a:off x="885371" y="896353"/>
            <a:ext cx="16194313" cy="1040798"/>
          </a:xfrm>
          <a:prstGeom prst="rect">
            <a:avLst/>
          </a:prstGeom>
        </p:spPr>
        <p:txBody>
          <a:bodyPr wrap="square" lIns="0" tIns="0" rIns="0" bIns="0" rtlCol="0" anchor="t">
            <a:spAutoFit/>
          </a:bodyPr>
          <a:lstStyle/>
          <a:p>
            <a:pPr>
              <a:lnSpc>
                <a:spcPts val="8960"/>
              </a:lnSpc>
              <a:spcBef>
                <a:spcPct val="0"/>
              </a:spcBef>
              <a:defRPr/>
            </a:pPr>
            <a:r>
              <a:rPr kumimoji="0" lang="en-US" sz="6000" b="1" i="0" u="none" strike="noStrike" kern="1200" cap="none" spc="0" normalizeH="0" baseline="0" noProof="0" dirty="0">
                <a:ln>
                  <a:noFill/>
                </a:ln>
                <a:solidFill>
                  <a:srgbClr val="CC0033"/>
                </a:solidFill>
                <a:effectLst/>
                <a:uLnTx/>
                <a:uFillTx/>
                <a:latin typeface="Arial"/>
                <a:ea typeface="+mn-ea"/>
                <a:cs typeface="Arial" panose="020B0604020202020204" pitchFamily="34" charset="0"/>
              </a:rPr>
              <a:t>Results - </a:t>
            </a:r>
            <a:r>
              <a:rPr lang="sv-SE" sz="4800" b="1" dirty="0" err="1">
                <a:solidFill>
                  <a:srgbClr val="CC0033"/>
                </a:solidFill>
                <a:latin typeface="Arial"/>
                <a:cs typeface="Arial" panose="020B0604020202020204" pitchFamily="34" charset="0"/>
              </a:rPr>
              <a:t>Anthracite</a:t>
            </a:r>
            <a:r>
              <a:rPr lang="sv-SE" sz="4800" b="1" dirty="0">
                <a:solidFill>
                  <a:srgbClr val="CC0033"/>
                </a:solidFill>
                <a:latin typeface="Arial"/>
                <a:cs typeface="Arial" panose="020B0604020202020204" pitchFamily="34" charset="0"/>
              </a:rPr>
              <a:t> Substitution rate </a:t>
            </a:r>
            <a:r>
              <a:rPr lang="sv-SE" sz="4800" b="1" dirty="0" err="1">
                <a:solidFill>
                  <a:srgbClr val="CC0033"/>
                </a:solidFill>
                <a:latin typeface="Arial"/>
                <a:cs typeface="Arial" panose="020B0604020202020204" pitchFamily="34" charset="0"/>
              </a:rPr>
              <a:t>with</a:t>
            </a:r>
            <a:r>
              <a:rPr lang="sv-SE" sz="4800" b="1" dirty="0">
                <a:solidFill>
                  <a:srgbClr val="CC0033"/>
                </a:solidFill>
                <a:latin typeface="Arial"/>
                <a:cs typeface="Arial" panose="020B0604020202020204" pitchFamily="34" charset="0"/>
              </a:rPr>
              <a:t> Tire Grain</a:t>
            </a:r>
            <a:endParaRPr lang="en-US" sz="6000" b="1" dirty="0">
              <a:solidFill>
                <a:srgbClr val="CC0033"/>
              </a:solidFill>
              <a:latin typeface="Arial"/>
              <a:cs typeface="Arial" panose="020B0604020202020204" pitchFamily="34" charset="0"/>
            </a:endParaRPr>
          </a:p>
        </p:txBody>
      </p:sp>
      <p:sp>
        <p:nvSpPr>
          <p:cNvPr id="9" name="TextBox 4">
            <a:extLst>
              <a:ext uri="{FF2B5EF4-FFF2-40B4-BE49-F238E27FC236}">
                <a16:creationId xmlns:a16="http://schemas.microsoft.com/office/drawing/2014/main" id="{0CDD51D4-B829-ECA7-DEF4-A5928C1E8B11}"/>
              </a:ext>
            </a:extLst>
          </p:cNvPr>
          <p:cNvSpPr txBox="1"/>
          <p:nvPr/>
        </p:nvSpPr>
        <p:spPr>
          <a:xfrm>
            <a:off x="1013517" y="6808045"/>
            <a:ext cx="11292670" cy="169033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2400" b="1" i="0" u="none" strike="noStrike" kern="1200" cap="none" spc="0" normalizeH="0" baseline="0" noProof="0" dirty="0">
                <a:ln>
                  <a:noFill/>
                </a:ln>
                <a:solidFill>
                  <a:srgbClr val="2F2F2F"/>
                </a:solidFill>
                <a:effectLst/>
                <a:uLnTx/>
                <a:uFillTx/>
                <a:latin typeface="Univers"/>
                <a:ea typeface="+mn-ea"/>
                <a:cs typeface="Calibri" panose="020F0502020204030204"/>
              </a:rPr>
              <a:t>Results:</a:t>
            </a:r>
          </a:p>
          <a:p>
            <a:pPr marL="742950" marR="0" lvl="1" indent="-285750" algn="l" defTabSz="914400" rtl="0" eaLnBrk="1" fontAlgn="auto" latinLnBrk="0" hangingPunct="1">
              <a:lnSpc>
                <a:spcPct val="150000"/>
              </a:lnSpc>
              <a:spcBef>
                <a:spcPts val="0"/>
              </a:spcBef>
              <a:spcAft>
                <a:spcPts val="0"/>
              </a:spcAft>
              <a:buClrTx/>
              <a:buSzTx/>
              <a:buFont typeface="Courier New" panose="02070309020205020404" pitchFamily="49" charset="0"/>
              <a:buChar char="o"/>
              <a:tabLst/>
              <a:defRPr/>
            </a:pPr>
            <a:r>
              <a:rPr kumimoji="0" lang="en-US" sz="2400" b="0" i="0" u="none" strike="noStrike" kern="1200" cap="none" spc="0" normalizeH="0" baseline="0" noProof="0" dirty="0">
                <a:ln>
                  <a:noFill/>
                </a:ln>
                <a:solidFill>
                  <a:srgbClr val="2F2F2F"/>
                </a:solidFill>
                <a:effectLst/>
                <a:uLnTx/>
                <a:uFillTx/>
                <a:latin typeface="Univers"/>
                <a:ea typeface="+mn-ea"/>
                <a:cs typeface="Calibri" panose="020F0502020204030204"/>
              </a:rPr>
              <a:t>Reduction of substitution rate: positive aspect, optimal value </a:t>
            </a:r>
            <a:r>
              <a:rPr kumimoji="0" lang="en-US" sz="2400" b="0" i="0" u="none" strike="noStrike" kern="1200" cap="none" spc="0" normalizeH="0" baseline="0" noProof="0" dirty="0">
                <a:ln>
                  <a:noFill/>
                </a:ln>
                <a:solidFill>
                  <a:srgbClr val="2F2F2F"/>
                </a:solidFill>
                <a:effectLst/>
                <a:uLnTx/>
                <a:uFillTx/>
                <a:latin typeface="Univers"/>
                <a:ea typeface="+mn-ea"/>
                <a:cs typeface="Calibri" panose="020F0502020204030204"/>
                <a:sym typeface="Wingdings" panose="05000000000000000000" pitchFamily="2" charset="2"/>
              </a:rPr>
              <a:t> 1</a:t>
            </a:r>
            <a:endParaRPr kumimoji="0" lang="en-US" sz="2400" b="0" i="0" u="none" strike="noStrike" kern="1200" cap="none" spc="0" normalizeH="0" baseline="0" noProof="0" dirty="0">
              <a:ln>
                <a:noFill/>
              </a:ln>
              <a:solidFill>
                <a:srgbClr val="2F2F2F"/>
              </a:solidFill>
              <a:effectLst/>
              <a:uLnTx/>
              <a:uFillTx/>
              <a:latin typeface="Univers"/>
              <a:ea typeface="+mn-ea"/>
              <a:cs typeface="Calibri" panose="020F0502020204030204"/>
            </a:endParaRPr>
          </a:p>
          <a:p>
            <a:pPr marL="742950" marR="0" lvl="1" indent="-285750" algn="l" defTabSz="914400" rtl="0" eaLnBrk="1" fontAlgn="auto" latinLnBrk="0" hangingPunct="1">
              <a:lnSpc>
                <a:spcPct val="150000"/>
              </a:lnSpc>
              <a:spcBef>
                <a:spcPts val="0"/>
              </a:spcBef>
              <a:spcAft>
                <a:spcPts val="0"/>
              </a:spcAft>
              <a:buClrTx/>
              <a:buSzTx/>
              <a:buFont typeface="Courier New" panose="02070309020205020404" pitchFamily="49" charset="0"/>
              <a:buChar char="o"/>
              <a:tabLst/>
              <a:defRPr/>
            </a:pPr>
            <a:r>
              <a:rPr kumimoji="0" lang="en-US" sz="2400" b="0" i="0" u="none" strike="noStrike" kern="1200" cap="none" spc="0" normalizeH="0" baseline="0" noProof="0" dirty="0">
                <a:ln>
                  <a:noFill/>
                </a:ln>
                <a:solidFill>
                  <a:srgbClr val="2F2F2F"/>
                </a:solidFill>
                <a:effectLst/>
                <a:uLnTx/>
                <a:uFillTx/>
                <a:latin typeface="Univers"/>
                <a:ea typeface="+mn-ea"/>
                <a:cs typeface="Calibri" panose="020F0502020204030204"/>
                <a:sym typeface="Wingdings" panose="05000000000000000000" pitchFamily="2" charset="2"/>
              </a:rPr>
              <a:t>Reduction of global anthracite consumption</a:t>
            </a:r>
            <a:endParaRPr kumimoji="0" lang="en-US" sz="2400" b="0" i="0" u="none" strike="noStrike" kern="1200" cap="none" spc="0" normalizeH="0" baseline="0" noProof="0" dirty="0">
              <a:ln>
                <a:noFill/>
              </a:ln>
              <a:solidFill>
                <a:srgbClr val="2F2F2F"/>
              </a:solidFill>
              <a:effectLst/>
              <a:uLnTx/>
              <a:uFillTx/>
              <a:latin typeface="Univers"/>
              <a:ea typeface="+mn-ea"/>
              <a:cs typeface="Calibri" panose="020F0502020204030204"/>
            </a:endParaRPr>
          </a:p>
        </p:txBody>
      </p:sp>
      <p:graphicFrame>
        <p:nvGraphicFramePr>
          <p:cNvPr id="8" name="Tabella 7">
            <a:extLst>
              <a:ext uri="{FF2B5EF4-FFF2-40B4-BE49-F238E27FC236}">
                <a16:creationId xmlns:a16="http://schemas.microsoft.com/office/drawing/2014/main" id="{1B4D0E0A-00EF-AC9E-1B20-1DA3AB9D890F}"/>
              </a:ext>
            </a:extLst>
          </p:cNvPr>
          <p:cNvGraphicFramePr>
            <a:graphicFrameLocks noGrp="1"/>
          </p:cNvGraphicFramePr>
          <p:nvPr>
            <p:extLst>
              <p:ext uri="{D42A27DB-BD31-4B8C-83A1-F6EECF244321}">
                <p14:modId xmlns:p14="http://schemas.microsoft.com/office/powerpoint/2010/main" val="577389106"/>
              </p:ext>
            </p:extLst>
          </p:nvPr>
        </p:nvGraphicFramePr>
        <p:xfrm>
          <a:off x="1013517" y="2838343"/>
          <a:ext cx="14249927" cy="3657600"/>
        </p:xfrm>
        <a:graphic>
          <a:graphicData uri="http://schemas.openxmlformats.org/drawingml/2006/table">
            <a:tbl>
              <a:tblPr firstRow="1" bandRow="1">
                <a:tableStyleId>{5C22544A-7EE6-4342-B048-85BDC9FD1C3A}</a:tableStyleId>
              </a:tblPr>
              <a:tblGrid>
                <a:gridCol w="3049090">
                  <a:extLst>
                    <a:ext uri="{9D8B030D-6E8A-4147-A177-3AD203B41FA5}">
                      <a16:colId xmlns:a16="http://schemas.microsoft.com/office/drawing/2014/main" val="3922505697"/>
                    </a:ext>
                  </a:extLst>
                </a:gridCol>
                <a:gridCol w="2468459">
                  <a:extLst>
                    <a:ext uri="{9D8B030D-6E8A-4147-A177-3AD203B41FA5}">
                      <a16:colId xmlns:a16="http://schemas.microsoft.com/office/drawing/2014/main" val="2384821811"/>
                    </a:ext>
                  </a:extLst>
                </a:gridCol>
                <a:gridCol w="2260053">
                  <a:extLst>
                    <a:ext uri="{9D8B030D-6E8A-4147-A177-3AD203B41FA5}">
                      <a16:colId xmlns:a16="http://schemas.microsoft.com/office/drawing/2014/main" val="795763688"/>
                    </a:ext>
                  </a:extLst>
                </a:gridCol>
                <a:gridCol w="2295030">
                  <a:extLst>
                    <a:ext uri="{9D8B030D-6E8A-4147-A177-3AD203B41FA5}">
                      <a16:colId xmlns:a16="http://schemas.microsoft.com/office/drawing/2014/main" val="2002825520"/>
                    </a:ext>
                  </a:extLst>
                </a:gridCol>
                <a:gridCol w="4177295">
                  <a:extLst>
                    <a:ext uri="{9D8B030D-6E8A-4147-A177-3AD203B41FA5}">
                      <a16:colId xmlns:a16="http://schemas.microsoft.com/office/drawing/2014/main" val="1509387649"/>
                    </a:ext>
                  </a:extLst>
                </a:gridCol>
              </a:tblGrid>
              <a:tr h="1463040">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it-IT" sz="2000" dirty="0"/>
                        <a:t>Materials injected</a:t>
                      </a:r>
                      <a:endParaRPr lang="en-US" sz="2000" dirty="0"/>
                    </a:p>
                  </a:txBody>
                  <a:tcPr marL="182880" marR="182880" marT="91440" marB="9144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it-IT" sz="2000" dirty="0"/>
                        <a:t>Time slot</a:t>
                      </a:r>
                      <a:endParaRPr lang="en-US" sz="2000" dirty="0"/>
                    </a:p>
                  </a:txBody>
                  <a:tcPr marL="182880" marR="182880" marT="91440" marB="9144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it-IT" sz="2000"/>
                        <a:t>Specific </a:t>
                      </a:r>
                    </a:p>
                    <a:p>
                      <a:pPr algn="ctr"/>
                      <a:r>
                        <a:rPr lang="it-IT" sz="2000"/>
                        <a:t>Tire Grain Consumption</a:t>
                      </a:r>
                      <a:endParaRPr lang="en-US" sz="2000"/>
                    </a:p>
                  </a:txBody>
                  <a:tcPr marL="182880" marR="182880" marT="91440" marB="9144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it-IT" sz="2000"/>
                        <a:t>Specific Anthracite Consumption</a:t>
                      </a:r>
                      <a:endParaRPr lang="en-US" sz="2000"/>
                    </a:p>
                  </a:txBody>
                  <a:tcPr marL="182880" marR="182880" marT="91440" marB="9144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it-IT" sz="2000"/>
                        <a:t>Substitution rate </a:t>
                      </a:r>
                    </a:p>
                    <a:p>
                      <a:pPr algn="ctr"/>
                      <a:r>
                        <a:rPr lang="it-IT" sz="2000"/>
                        <a:t>(Tire Grain : Anthracite)</a:t>
                      </a:r>
                      <a:endParaRPr lang="en-US" sz="2000"/>
                    </a:p>
                  </a:txBody>
                  <a:tcPr marL="182880" marR="182880" marT="91440" marB="9144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25325334"/>
                  </a:ext>
                </a:extLst>
              </a:tr>
              <a:tr h="548640">
                <a:tc>
                  <a:txBody>
                    <a:bodyPr/>
                    <a:lstStyle/>
                    <a:p>
                      <a:pPr algn="ctr"/>
                      <a:r>
                        <a:rPr lang="it-IT" sz="1800" kern="1200" dirty="0">
                          <a:solidFill>
                            <a:schemeClr val="tx1"/>
                          </a:solidFill>
                          <a:latin typeface="Univers"/>
                          <a:ea typeface="+mn-ea"/>
                          <a:cs typeface="Calibri" panose="020F0502020204030204"/>
                        </a:rPr>
                        <a:t>Anthracite</a:t>
                      </a:r>
                      <a:endParaRPr lang="en-US" sz="1800" kern="1200" dirty="0">
                        <a:solidFill>
                          <a:schemeClr val="tx1"/>
                        </a:solidFill>
                        <a:latin typeface="Univers"/>
                        <a:ea typeface="+mn-ea"/>
                        <a:cs typeface="Calibri" panose="020F0502020204030204"/>
                      </a:endParaRPr>
                    </a:p>
                  </a:txBody>
                  <a:tcPr marL="182880" marR="182880" marT="91440" marB="9144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rowSpan="2">
                  <a:txBody>
                    <a:bodyPr/>
                    <a:lstStyle/>
                    <a:p>
                      <a:pPr algn="ctr"/>
                      <a:r>
                        <a:rPr lang="it-IT" sz="1800" kern="1200">
                          <a:solidFill>
                            <a:schemeClr val="tx1"/>
                          </a:solidFill>
                          <a:latin typeface="Univers"/>
                          <a:ea typeface="+mn-ea"/>
                          <a:cs typeface="Calibri" panose="020F0502020204030204"/>
                        </a:rPr>
                        <a:t>05/22 - 12/22</a:t>
                      </a:r>
                      <a:endParaRPr lang="en-US" sz="1800" kern="1200">
                        <a:solidFill>
                          <a:schemeClr val="tx1"/>
                        </a:solidFill>
                        <a:latin typeface="Univers"/>
                        <a:ea typeface="+mn-ea"/>
                        <a:cs typeface="Calibri" panose="020F0502020204030204"/>
                      </a:endParaRPr>
                    </a:p>
                  </a:txBody>
                  <a:tcPr marL="182880" marR="182880" marT="91440" marB="9144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r>
                        <a:rPr lang="it-IT" sz="1800" kern="1200">
                          <a:solidFill>
                            <a:schemeClr val="tx1"/>
                          </a:solidFill>
                          <a:latin typeface="Univers"/>
                          <a:ea typeface="+mn-ea"/>
                          <a:cs typeface="Calibri" panose="020F0502020204030204"/>
                        </a:rPr>
                        <a:t>0 kg/t</a:t>
                      </a:r>
                      <a:r>
                        <a:rPr lang="it-IT" sz="1800" kern="1200" baseline="-25000">
                          <a:solidFill>
                            <a:schemeClr val="tx1"/>
                          </a:solidFill>
                          <a:latin typeface="Univers"/>
                          <a:ea typeface="+mn-ea"/>
                          <a:cs typeface="Calibri" panose="020F0502020204030204"/>
                        </a:rPr>
                        <a:t>steel</a:t>
                      </a:r>
                      <a:endParaRPr lang="en-US" sz="1800" kern="1200">
                        <a:solidFill>
                          <a:schemeClr val="tx1"/>
                        </a:solidFill>
                        <a:latin typeface="Univers"/>
                        <a:ea typeface="+mn-ea"/>
                        <a:cs typeface="Calibri" panose="020F0502020204030204"/>
                      </a:endParaRPr>
                    </a:p>
                  </a:txBody>
                  <a:tcPr marL="182880" marR="182880" marT="91440" marB="91440" anchor="ctr">
                    <a:lnT w="12700" cap="flat" cmpd="sng" algn="ctr">
                      <a:solidFill>
                        <a:schemeClr val="tx1"/>
                      </a:solidFill>
                      <a:prstDash val="solid"/>
                      <a:round/>
                      <a:headEnd type="none" w="med" len="med"/>
                      <a:tailEnd type="none" w="med" len="med"/>
                    </a:lnT>
                  </a:tcPr>
                </a:tc>
                <a:tc>
                  <a:txBody>
                    <a:bodyPr/>
                    <a:lstStyle/>
                    <a:p>
                      <a:pPr algn="r"/>
                      <a:r>
                        <a:rPr lang="it-IT" sz="1800" kern="1200">
                          <a:solidFill>
                            <a:schemeClr val="tx1"/>
                          </a:solidFill>
                          <a:latin typeface="Univers"/>
                          <a:ea typeface="+mn-ea"/>
                          <a:cs typeface="Calibri" panose="020F0502020204030204"/>
                        </a:rPr>
                        <a:t>7,8 kg/t</a:t>
                      </a:r>
                      <a:r>
                        <a:rPr lang="it-IT" sz="1800" kern="1200" baseline="-25000">
                          <a:solidFill>
                            <a:schemeClr val="tx1"/>
                          </a:solidFill>
                          <a:latin typeface="Univers"/>
                          <a:ea typeface="+mn-ea"/>
                          <a:cs typeface="Calibri" panose="020F0502020204030204"/>
                        </a:rPr>
                        <a:t>steel</a:t>
                      </a:r>
                      <a:endParaRPr lang="en-US" sz="1800" kern="1200">
                        <a:solidFill>
                          <a:schemeClr val="tx1"/>
                        </a:solidFill>
                        <a:latin typeface="Univers"/>
                        <a:ea typeface="+mn-ea"/>
                        <a:cs typeface="Calibri" panose="020F0502020204030204"/>
                      </a:endParaRPr>
                    </a:p>
                  </a:txBody>
                  <a:tcPr marL="182880" marR="182880" marT="91440" marB="91440" anchor="ctr">
                    <a:lnT w="12700" cap="flat" cmpd="sng" algn="ctr">
                      <a:solidFill>
                        <a:schemeClr val="tx1"/>
                      </a:solidFill>
                      <a:prstDash val="solid"/>
                      <a:round/>
                      <a:headEnd type="none" w="med" len="med"/>
                      <a:tailEnd type="none" w="med" len="med"/>
                    </a:lnT>
                  </a:tcPr>
                </a:tc>
                <a:tc rowSpan="2">
                  <a:txBody>
                    <a:bodyPr/>
                    <a:lstStyle/>
                    <a:p>
                      <a:pPr algn="ctr"/>
                      <a:r>
                        <a:rPr lang="it-IT" sz="1800" kern="1200">
                          <a:solidFill>
                            <a:schemeClr val="tx1"/>
                          </a:solidFill>
                          <a:latin typeface="Univers"/>
                          <a:ea typeface="+mn-ea"/>
                          <a:cs typeface="Calibri" panose="020F0502020204030204"/>
                        </a:rPr>
                        <a:t>3</a:t>
                      </a:r>
                      <a:endParaRPr lang="en-US" sz="1800" kern="1200">
                        <a:solidFill>
                          <a:schemeClr val="tx1"/>
                        </a:solidFill>
                        <a:latin typeface="Univers"/>
                        <a:ea typeface="+mn-ea"/>
                        <a:cs typeface="Calibri" panose="020F0502020204030204"/>
                      </a:endParaRPr>
                    </a:p>
                  </a:txBody>
                  <a:tcPr marL="182880" marR="182880" marT="91440" marB="9144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2196536"/>
                  </a:ext>
                </a:extLst>
              </a:tr>
              <a:tr h="548640">
                <a:tc>
                  <a:txBody>
                    <a:bodyPr/>
                    <a:lstStyle/>
                    <a:p>
                      <a:pPr algn="ctr"/>
                      <a:r>
                        <a:rPr lang="it-IT" sz="1800" kern="1200" dirty="0">
                          <a:solidFill>
                            <a:schemeClr val="tx1"/>
                          </a:solidFill>
                          <a:latin typeface="Univers"/>
                          <a:ea typeface="+mn-ea"/>
                          <a:cs typeface="Calibri" panose="020F0502020204030204"/>
                        </a:rPr>
                        <a:t>Anthracite + TG</a:t>
                      </a:r>
                      <a:endParaRPr lang="en-US" sz="1800" kern="1200" dirty="0">
                        <a:solidFill>
                          <a:schemeClr val="tx1"/>
                        </a:solidFill>
                        <a:latin typeface="Univers"/>
                        <a:ea typeface="+mn-ea"/>
                        <a:cs typeface="Calibri" panose="020F0502020204030204"/>
                      </a:endParaRPr>
                    </a:p>
                  </a:txBody>
                  <a:tcPr marL="182880" marR="182880" marT="91440" marB="9144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vMerge="1">
                  <a:txBody>
                    <a:bodyPr/>
                    <a:lstStyle/>
                    <a:p>
                      <a:pPr algn="ctr"/>
                      <a:endParaRPr lang="en-US" sz="2800" kern="1200">
                        <a:solidFill>
                          <a:srgbClr val="00358E"/>
                        </a:solidFill>
                        <a:latin typeface="Univers"/>
                        <a:ea typeface="+mn-ea"/>
                        <a:cs typeface="Calibri" panose="020F0502020204030204"/>
                      </a:endParaRPr>
                    </a:p>
                  </a:txBody>
                  <a:tcPr anchor="ctr"/>
                </a:tc>
                <a:tc>
                  <a:txBody>
                    <a:bodyPr/>
                    <a:lstStyle/>
                    <a:p>
                      <a:pPr algn="r"/>
                      <a:r>
                        <a:rPr lang="it-IT" sz="1800" kern="1200">
                          <a:solidFill>
                            <a:schemeClr val="tx1"/>
                          </a:solidFill>
                          <a:latin typeface="Univers"/>
                          <a:ea typeface="+mn-ea"/>
                          <a:cs typeface="Calibri" panose="020F0502020204030204"/>
                        </a:rPr>
                        <a:t>2,4 kg/t</a:t>
                      </a:r>
                      <a:r>
                        <a:rPr lang="it-IT" sz="1800" kern="1200" baseline="-25000">
                          <a:solidFill>
                            <a:schemeClr val="tx1"/>
                          </a:solidFill>
                          <a:latin typeface="Univers"/>
                          <a:ea typeface="+mn-ea"/>
                          <a:cs typeface="Calibri" panose="020F0502020204030204"/>
                        </a:rPr>
                        <a:t>steel</a:t>
                      </a:r>
                      <a:endParaRPr lang="en-US" sz="1800" kern="1200">
                        <a:solidFill>
                          <a:schemeClr val="tx1"/>
                        </a:solidFill>
                        <a:latin typeface="Univers"/>
                        <a:ea typeface="+mn-ea"/>
                        <a:cs typeface="Calibri" panose="020F0502020204030204"/>
                      </a:endParaRPr>
                    </a:p>
                  </a:txBody>
                  <a:tcPr marL="182880" marR="182880" marT="91440" marB="91440" anchor="ctr">
                    <a:lnB w="12700" cap="flat" cmpd="sng" algn="ctr">
                      <a:solidFill>
                        <a:schemeClr val="tx1"/>
                      </a:solidFill>
                      <a:prstDash val="solid"/>
                      <a:round/>
                      <a:headEnd type="none" w="med" len="med"/>
                      <a:tailEnd type="none" w="med" len="med"/>
                    </a:lnB>
                  </a:tcPr>
                </a:tc>
                <a:tc>
                  <a:txBody>
                    <a:bodyPr/>
                    <a:lstStyle/>
                    <a:p>
                      <a:pPr algn="r"/>
                      <a:r>
                        <a:rPr lang="it-IT" sz="1800" kern="1200">
                          <a:solidFill>
                            <a:schemeClr val="tx1"/>
                          </a:solidFill>
                          <a:latin typeface="Univers"/>
                          <a:ea typeface="+mn-ea"/>
                          <a:cs typeface="Calibri" panose="020F0502020204030204"/>
                        </a:rPr>
                        <a:t>7,0 kg/t</a:t>
                      </a:r>
                      <a:r>
                        <a:rPr lang="it-IT" sz="1800" kern="1200" baseline="-25000">
                          <a:solidFill>
                            <a:schemeClr val="tx1"/>
                          </a:solidFill>
                          <a:latin typeface="Univers"/>
                          <a:ea typeface="+mn-ea"/>
                          <a:cs typeface="Calibri" panose="020F0502020204030204"/>
                        </a:rPr>
                        <a:t>steel</a:t>
                      </a:r>
                      <a:endParaRPr lang="en-US" sz="1800" kern="1200">
                        <a:solidFill>
                          <a:schemeClr val="tx1"/>
                        </a:solidFill>
                        <a:latin typeface="Univers"/>
                        <a:ea typeface="+mn-ea"/>
                        <a:cs typeface="Calibri" panose="020F0502020204030204"/>
                      </a:endParaRPr>
                    </a:p>
                  </a:txBody>
                  <a:tcPr marL="182880" marR="182880" marT="91440" marB="91440" anchor="ctr">
                    <a:lnB w="12700" cap="flat" cmpd="sng" algn="ctr">
                      <a:solidFill>
                        <a:schemeClr val="tx1"/>
                      </a:solidFill>
                      <a:prstDash val="solid"/>
                      <a:round/>
                      <a:headEnd type="none" w="med" len="med"/>
                      <a:tailEnd type="none" w="med" len="med"/>
                    </a:lnB>
                  </a:tcPr>
                </a:tc>
                <a:tc vMerge="1">
                  <a:txBody>
                    <a:bodyPr/>
                    <a:lstStyle/>
                    <a:p>
                      <a:pPr algn="ctr"/>
                      <a:endParaRPr lang="en-US" sz="2800" kern="1200">
                        <a:solidFill>
                          <a:srgbClr val="00358E"/>
                        </a:solidFill>
                        <a:latin typeface="Univers"/>
                        <a:ea typeface="+mn-ea"/>
                        <a:cs typeface="Calibri" panose="020F0502020204030204"/>
                      </a:endParaRPr>
                    </a:p>
                  </a:txBody>
                  <a:tcPr anchor="ctr"/>
                </a:tc>
                <a:extLst>
                  <a:ext uri="{0D108BD9-81ED-4DB2-BD59-A6C34878D82A}">
                    <a16:rowId xmlns:a16="http://schemas.microsoft.com/office/drawing/2014/main" val="3997851775"/>
                  </a:ext>
                </a:extLst>
              </a:tr>
              <a:tr h="548640">
                <a:tc>
                  <a:txBody>
                    <a:bodyPr/>
                    <a:lstStyle/>
                    <a:p>
                      <a:pPr algn="ctr"/>
                      <a:r>
                        <a:rPr lang="it-IT" sz="1800" kern="1200" dirty="0">
                          <a:solidFill>
                            <a:schemeClr val="tx1"/>
                          </a:solidFill>
                          <a:latin typeface="Univers"/>
                          <a:ea typeface="+mn-ea"/>
                          <a:cs typeface="Calibri" panose="020F0502020204030204"/>
                        </a:rPr>
                        <a:t>Anthracite</a:t>
                      </a:r>
                      <a:endParaRPr lang="en-US" sz="1800" kern="1200" dirty="0">
                        <a:solidFill>
                          <a:schemeClr val="tx1"/>
                        </a:solidFill>
                        <a:latin typeface="Univers"/>
                        <a:ea typeface="+mn-ea"/>
                        <a:cs typeface="Calibri" panose="020F0502020204030204"/>
                      </a:endParaRPr>
                    </a:p>
                  </a:txBody>
                  <a:tcPr marL="182880" marR="182880" marT="91440" marB="9144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rowSpan="2">
                  <a:txBody>
                    <a:bodyPr/>
                    <a:lstStyle/>
                    <a:p>
                      <a:pPr algn="ctr"/>
                      <a:r>
                        <a:rPr lang="it-IT" sz="1800" kern="1200">
                          <a:solidFill>
                            <a:schemeClr val="tx1"/>
                          </a:solidFill>
                          <a:latin typeface="Univers"/>
                          <a:ea typeface="+mn-ea"/>
                          <a:cs typeface="Calibri" panose="020F0502020204030204"/>
                        </a:rPr>
                        <a:t>01/23 – 10/23</a:t>
                      </a:r>
                      <a:endParaRPr lang="en-US" sz="1800" kern="1200">
                        <a:solidFill>
                          <a:schemeClr val="tx1"/>
                        </a:solidFill>
                        <a:latin typeface="Univers"/>
                        <a:ea typeface="+mn-ea"/>
                        <a:cs typeface="Calibri" panose="020F0502020204030204"/>
                      </a:endParaRPr>
                    </a:p>
                  </a:txBody>
                  <a:tcPr marL="182880" marR="182880" marT="91440" marB="9144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r>
                        <a:rPr lang="it-IT" sz="1800" kern="1200" dirty="0">
                          <a:solidFill>
                            <a:schemeClr val="tx1"/>
                          </a:solidFill>
                          <a:latin typeface="Univers"/>
                          <a:ea typeface="+mn-ea"/>
                          <a:cs typeface="Calibri" panose="020F0502020204030204"/>
                        </a:rPr>
                        <a:t>0 kg/t</a:t>
                      </a:r>
                      <a:r>
                        <a:rPr lang="it-IT" sz="1800" kern="1200" baseline="-25000" dirty="0">
                          <a:solidFill>
                            <a:schemeClr val="tx1"/>
                          </a:solidFill>
                          <a:latin typeface="Univers"/>
                          <a:ea typeface="+mn-ea"/>
                          <a:cs typeface="Calibri" panose="020F0502020204030204"/>
                        </a:rPr>
                        <a:t>steel</a:t>
                      </a:r>
                      <a:endParaRPr lang="en-US" sz="1800" kern="1200" dirty="0">
                        <a:solidFill>
                          <a:schemeClr val="tx1"/>
                        </a:solidFill>
                        <a:latin typeface="Univers"/>
                        <a:ea typeface="+mn-ea"/>
                        <a:cs typeface="Calibri" panose="020F0502020204030204"/>
                      </a:endParaRPr>
                    </a:p>
                  </a:txBody>
                  <a:tcPr marL="182880" marR="182880" marT="91440" marB="91440" anchor="ctr">
                    <a:lnT w="12700" cap="flat" cmpd="sng" algn="ctr">
                      <a:solidFill>
                        <a:schemeClr val="tx1"/>
                      </a:solidFill>
                      <a:prstDash val="solid"/>
                      <a:round/>
                      <a:headEnd type="none" w="med" len="med"/>
                      <a:tailEnd type="none" w="med" len="med"/>
                    </a:lnT>
                  </a:tcPr>
                </a:tc>
                <a:tc>
                  <a:txBody>
                    <a:bodyPr/>
                    <a:lstStyle/>
                    <a:p>
                      <a:pPr algn="r"/>
                      <a:r>
                        <a:rPr lang="it-IT" sz="1800" kern="1200" dirty="0">
                          <a:solidFill>
                            <a:schemeClr val="tx1"/>
                          </a:solidFill>
                          <a:latin typeface="Univers"/>
                          <a:ea typeface="+mn-ea"/>
                          <a:cs typeface="Calibri" panose="020F0502020204030204"/>
                        </a:rPr>
                        <a:t>7,5 kg/t</a:t>
                      </a:r>
                      <a:r>
                        <a:rPr lang="it-IT" sz="1800" kern="1200" baseline="-25000" dirty="0">
                          <a:solidFill>
                            <a:schemeClr val="tx1"/>
                          </a:solidFill>
                          <a:latin typeface="Univers"/>
                          <a:ea typeface="+mn-ea"/>
                          <a:cs typeface="Calibri" panose="020F0502020204030204"/>
                        </a:rPr>
                        <a:t>steel</a:t>
                      </a:r>
                      <a:endParaRPr lang="en-US" sz="1800" kern="1200" dirty="0">
                        <a:solidFill>
                          <a:schemeClr val="tx1"/>
                        </a:solidFill>
                        <a:latin typeface="Univers"/>
                        <a:ea typeface="+mn-ea"/>
                        <a:cs typeface="Calibri" panose="020F0502020204030204"/>
                      </a:endParaRPr>
                    </a:p>
                  </a:txBody>
                  <a:tcPr marL="182880" marR="182880" marT="91440" marB="91440" anchor="ctr">
                    <a:lnT w="12700" cap="flat" cmpd="sng" algn="ctr">
                      <a:solidFill>
                        <a:schemeClr val="tx1"/>
                      </a:solidFill>
                      <a:prstDash val="solid"/>
                      <a:round/>
                      <a:headEnd type="none" w="med" len="med"/>
                      <a:tailEnd type="none" w="med" len="med"/>
                    </a:lnT>
                  </a:tcPr>
                </a:tc>
                <a:tc rowSpan="2">
                  <a:txBody>
                    <a:bodyPr/>
                    <a:lstStyle/>
                    <a:p>
                      <a:pPr algn="ctr"/>
                      <a:r>
                        <a:rPr lang="it-IT" sz="1800" kern="1200" dirty="0">
                          <a:solidFill>
                            <a:schemeClr val="tx1"/>
                          </a:solidFill>
                          <a:latin typeface="Univers"/>
                          <a:ea typeface="+mn-ea"/>
                          <a:cs typeface="Calibri" panose="020F0502020204030204"/>
                        </a:rPr>
                        <a:t>1,3</a:t>
                      </a:r>
                      <a:endParaRPr lang="en-US" sz="1800" kern="1200" dirty="0">
                        <a:solidFill>
                          <a:schemeClr val="tx1"/>
                        </a:solidFill>
                        <a:latin typeface="Univers"/>
                        <a:ea typeface="+mn-ea"/>
                        <a:cs typeface="Calibri" panose="020F0502020204030204"/>
                      </a:endParaRPr>
                    </a:p>
                  </a:txBody>
                  <a:tcPr marL="182880" marR="182880" marT="91440" marB="9144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121203650"/>
                  </a:ext>
                </a:extLst>
              </a:tr>
              <a:tr h="548640">
                <a:tc>
                  <a:txBody>
                    <a:bodyPr/>
                    <a:lstStyle/>
                    <a:p>
                      <a:pPr algn="ctr"/>
                      <a:r>
                        <a:rPr lang="it-IT" sz="1800" kern="1200" dirty="0">
                          <a:solidFill>
                            <a:schemeClr val="tx1"/>
                          </a:solidFill>
                          <a:latin typeface="Univers"/>
                          <a:ea typeface="+mn-ea"/>
                          <a:cs typeface="Calibri" panose="020F0502020204030204"/>
                        </a:rPr>
                        <a:t>Anthracite + TG</a:t>
                      </a:r>
                      <a:endParaRPr lang="en-US" sz="1800" kern="1200" dirty="0">
                        <a:solidFill>
                          <a:schemeClr val="tx1"/>
                        </a:solidFill>
                        <a:latin typeface="Univers"/>
                        <a:ea typeface="+mn-ea"/>
                        <a:cs typeface="Calibri" panose="020F0502020204030204"/>
                      </a:endParaRPr>
                    </a:p>
                  </a:txBody>
                  <a:tcPr marL="182880" marR="182880" marT="91440" marB="9144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vMerge="1">
                  <a:txBody>
                    <a:bodyPr/>
                    <a:lstStyle/>
                    <a:p>
                      <a:pPr algn="ctr"/>
                      <a:endParaRPr lang="en-US" sz="2800" kern="1200">
                        <a:solidFill>
                          <a:srgbClr val="00358E"/>
                        </a:solidFill>
                        <a:latin typeface="Univers"/>
                        <a:ea typeface="+mn-ea"/>
                        <a:cs typeface="Calibri" panose="020F0502020204030204"/>
                      </a:endParaRPr>
                    </a:p>
                  </a:txBody>
                  <a:tcPr anchor="ctr"/>
                </a:tc>
                <a:tc>
                  <a:txBody>
                    <a:bodyPr/>
                    <a:lstStyle/>
                    <a:p>
                      <a:pPr algn="r"/>
                      <a:r>
                        <a:rPr lang="it-IT" sz="1800" kern="1200">
                          <a:solidFill>
                            <a:schemeClr val="tx1"/>
                          </a:solidFill>
                          <a:latin typeface="Univers"/>
                          <a:ea typeface="+mn-ea"/>
                          <a:cs typeface="Calibri" panose="020F0502020204030204"/>
                        </a:rPr>
                        <a:t>2,0 kg/</a:t>
                      </a:r>
                      <a:r>
                        <a:rPr lang="it-IT" sz="1800" kern="1200" err="1">
                          <a:solidFill>
                            <a:schemeClr val="tx1"/>
                          </a:solidFill>
                          <a:latin typeface="Univers"/>
                          <a:ea typeface="+mn-ea"/>
                          <a:cs typeface="Calibri" panose="020F0502020204030204"/>
                        </a:rPr>
                        <a:t>t</a:t>
                      </a:r>
                      <a:r>
                        <a:rPr lang="it-IT" sz="1800" kern="1200" baseline="-25000" err="1">
                          <a:solidFill>
                            <a:schemeClr val="tx1"/>
                          </a:solidFill>
                          <a:latin typeface="Univers"/>
                          <a:ea typeface="+mn-ea"/>
                          <a:cs typeface="Calibri" panose="020F0502020204030204"/>
                        </a:rPr>
                        <a:t>steel</a:t>
                      </a:r>
                      <a:endParaRPr lang="en-US" sz="1800" kern="1200">
                        <a:solidFill>
                          <a:schemeClr val="tx1"/>
                        </a:solidFill>
                        <a:latin typeface="Univers"/>
                        <a:ea typeface="+mn-ea"/>
                        <a:cs typeface="Calibri" panose="020F0502020204030204"/>
                      </a:endParaRPr>
                    </a:p>
                  </a:txBody>
                  <a:tcPr marL="182880" marR="182880" marT="91440" marB="91440" anchor="ctr">
                    <a:lnB w="12700" cap="flat" cmpd="sng" algn="ctr">
                      <a:solidFill>
                        <a:schemeClr val="tx1"/>
                      </a:solidFill>
                      <a:prstDash val="solid"/>
                      <a:round/>
                      <a:headEnd type="none" w="med" len="med"/>
                      <a:tailEnd type="none" w="med" len="med"/>
                    </a:lnB>
                  </a:tcPr>
                </a:tc>
                <a:tc>
                  <a:txBody>
                    <a:bodyPr/>
                    <a:lstStyle/>
                    <a:p>
                      <a:pPr algn="r"/>
                      <a:r>
                        <a:rPr lang="it-IT" sz="1800" kern="1200" dirty="0">
                          <a:solidFill>
                            <a:schemeClr val="tx1"/>
                          </a:solidFill>
                          <a:latin typeface="Univers"/>
                          <a:ea typeface="+mn-ea"/>
                          <a:cs typeface="Calibri" panose="020F0502020204030204"/>
                        </a:rPr>
                        <a:t>6,0 kg/t</a:t>
                      </a:r>
                      <a:r>
                        <a:rPr lang="it-IT" sz="1800" kern="1200" baseline="-25000" dirty="0">
                          <a:solidFill>
                            <a:schemeClr val="tx1"/>
                          </a:solidFill>
                          <a:latin typeface="Univers"/>
                          <a:ea typeface="+mn-ea"/>
                          <a:cs typeface="Calibri" panose="020F0502020204030204"/>
                        </a:rPr>
                        <a:t>steel</a:t>
                      </a:r>
                      <a:endParaRPr lang="en-US" sz="1800" kern="1200" dirty="0">
                        <a:solidFill>
                          <a:schemeClr val="tx1"/>
                        </a:solidFill>
                        <a:latin typeface="Univers"/>
                        <a:ea typeface="+mn-ea"/>
                        <a:cs typeface="Calibri" panose="020F0502020204030204"/>
                      </a:endParaRPr>
                    </a:p>
                  </a:txBody>
                  <a:tcPr marL="182880" marR="182880" marT="91440" marB="91440" anchor="ctr">
                    <a:lnB w="12700" cap="flat" cmpd="sng" algn="ctr">
                      <a:solidFill>
                        <a:schemeClr val="tx1"/>
                      </a:solidFill>
                      <a:prstDash val="solid"/>
                      <a:round/>
                      <a:headEnd type="none" w="med" len="med"/>
                      <a:tailEnd type="none" w="med" len="med"/>
                    </a:lnB>
                  </a:tcPr>
                </a:tc>
                <a:tc vMerge="1">
                  <a:txBody>
                    <a:bodyPr/>
                    <a:lstStyle/>
                    <a:p>
                      <a:pPr algn="ctr"/>
                      <a:endParaRPr lang="en-US" sz="2800" kern="1200">
                        <a:solidFill>
                          <a:srgbClr val="00358E"/>
                        </a:solidFill>
                        <a:latin typeface="Univers"/>
                        <a:ea typeface="+mn-ea"/>
                        <a:cs typeface="Calibri" panose="020F0502020204030204"/>
                      </a:endParaRPr>
                    </a:p>
                  </a:txBody>
                  <a:tcPr anchor="ctr"/>
                </a:tc>
                <a:extLst>
                  <a:ext uri="{0D108BD9-81ED-4DB2-BD59-A6C34878D82A}">
                    <a16:rowId xmlns:a16="http://schemas.microsoft.com/office/drawing/2014/main" val="923419791"/>
                  </a:ext>
                </a:extLst>
              </a:tr>
            </a:tbl>
          </a:graphicData>
        </a:graphic>
      </p:graphicFrame>
      <p:pic>
        <p:nvPicPr>
          <p:cNvPr id="13" name="Imagen 115">
            <a:extLst>
              <a:ext uri="{FF2B5EF4-FFF2-40B4-BE49-F238E27FC236}">
                <a16:creationId xmlns:a16="http://schemas.microsoft.com/office/drawing/2014/main" id="{151ECE5D-BA07-3C11-60B7-0F864813A06C}"/>
              </a:ext>
            </a:extLst>
          </p:cNvPr>
          <p:cNvPicPr>
            <a:picLocks noChangeAspect="1"/>
          </p:cNvPicPr>
          <p:nvPr/>
        </p:nvPicPr>
        <p:blipFill>
          <a:blip r:embed="rId6"/>
          <a:stretch>
            <a:fillRect/>
          </a:stretch>
        </p:blipFill>
        <p:spPr>
          <a:xfrm>
            <a:off x="16801768" y="386588"/>
            <a:ext cx="1426810" cy="1197757"/>
          </a:xfrm>
          <a:prstGeom prst="rect">
            <a:avLst/>
          </a:prstGeom>
        </p:spPr>
      </p:pic>
    </p:spTree>
    <p:extLst>
      <p:ext uri="{BB962C8B-B14F-4D97-AF65-F5344CB8AC3E}">
        <p14:creationId xmlns:p14="http://schemas.microsoft.com/office/powerpoint/2010/main" val="1539930881"/>
      </p:ext>
    </p:extLst>
  </p:cSld>
  <p:clrMapOvr>
    <a:masterClrMapping/>
  </p:clrMapOvr>
  <mc:AlternateContent xmlns:mc="http://schemas.openxmlformats.org/markup-compatibility/2006" xmlns:p14="http://schemas.microsoft.com/office/powerpoint/2010/main">
    <mc:Choice Requires="p14">
      <p:transition spd="slow" p14:dur="2000" advTm="83130"/>
    </mc:Choice>
    <mc:Fallback xmlns="">
      <p:transition spd="slow" advTm="83130"/>
    </mc:Fallback>
  </mc:AlternateContent>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6"/>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4"/>
          <a:srcRect/>
          <a:stretch>
            <a:fillRect/>
          </a:stretch>
        </p:blipFill>
        <p:spPr>
          <a:xfrm>
            <a:off x="0" y="8901113"/>
            <a:ext cx="5715000" cy="1385887"/>
          </a:xfrm>
          <a:prstGeom prst="rect">
            <a:avLst/>
          </a:prstGeom>
        </p:spPr>
      </p:pic>
      <p:grpSp>
        <p:nvGrpSpPr>
          <p:cNvPr id="2" name="Gruppo 1">
            <a:extLst>
              <a:ext uri="{FF2B5EF4-FFF2-40B4-BE49-F238E27FC236}">
                <a16:creationId xmlns:a16="http://schemas.microsoft.com/office/drawing/2014/main" id="{D8D71BB5-458F-411D-AFA9-C648954E9F40}"/>
              </a:ext>
            </a:extLst>
          </p:cNvPr>
          <p:cNvGrpSpPr/>
          <p:nvPr/>
        </p:nvGrpSpPr>
        <p:grpSpPr>
          <a:xfrm>
            <a:off x="-12" y="138554"/>
            <a:ext cx="18288002" cy="681138"/>
            <a:chOff x="-12" y="138554"/>
            <a:chExt cx="18288002" cy="681138"/>
          </a:xfrm>
        </p:grpSpPr>
        <p:grpSp>
          <p:nvGrpSpPr>
            <p:cNvPr id="16" name="Gruppo 15">
              <a:extLst>
                <a:ext uri="{FF2B5EF4-FFF2-40B4-BE49-F238E27FC236}">
                  <a16:creationId xmlns:a16="http://schemas.microsoft.com/office/drawing/2014/main" id="{DAC42A46-917D-41AB-8F07-E15E54D0F7D4}"/>
                </a:ext>
              </a:extLst>
            </p:cNvPr>
            <p:cNvGrpSpPr/>
            <p:nvPr/>
          </p:nvGrpSpPr>
          <p:grpSpPr>
            <a:xfrm>
              <a:off x="0" y="153125"/>
              <a:ext cx="13958844" cy="666567"/>
              <a:chOff x="0" y="153125"/>
              <a:chExt cx="13958844" cy="666567"/>
            </a:xfrm>
          </p:grpSpPr>
          <p:pic>
            <p:nvPicPr>
              <p:cNvPr id="10" name="Picture 10"/>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1" name="TextBox 11"/>
              <p:cNvSpPr txBox="1"/>
              <p:nvPr/>
            </p:nvSpPr>
            <p:spPr>
              <a:xfrm>
                <a:off x="228600" y="257980"/>
                <a:ext cx="5752704" cy="456856"/>
              </a:xfrm>
              <a:prstGeom prst="rect">
                <a:avLst/>
              </a:prstGeom>
            </p:spPr>
            <p:txBody>
              <a:bodyPr wrap="square" lIns="0" tIns="0" rIns="0" bIns="0" rtlCol="0" anchor="t">
                <a:spAutoFit/>
              </a:bodyPr>
              <a:lstStyle/>
              <a:p>
                <a:pPr>
                  <a:lnSpc>
                    <a:spcPts val="3919"/>
                  </a:lnSpc>
                  <a:spcBef>
                    <a:spcPct val="0"/>
                  </a:spcBef>
                </a:pPr>
                <a:endParaRPr lang="en-US" sz="2800" b="1">
                  <a:solidFill>
                    <a:srgbClr val="FFFFFF"/>
                  </a:solidFill>
                  <a:latin typeface="Arial" panose="020B0604020202020204" pitchFamily="34" charset="0"/>
                  <a:cs typeface="Arial" panose="020B0604020202020204" pitchFamily="34" charset="0"/>
                </a:endParaRPr>
              </a:p>
            </p:txBody>
          </p:sp>
        </p:grpSp>
        <p:sp>
          <p:nvSpPr>
            <p:cNvPr id="12" name="Rettangolo 11">
              <a:extLst>
                <a:ext uri="{FF2B5EF4-FFF2-40B4-BE49-F238E27FC236}">
                  <a16:creationId xmlns:a16="http://schemas.microsoft.com/office/drawing/2014/main" id="{F2E90E36-F5DF-479E-BF3B-C6F6A1CEA4E7}"/>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4" name="TextBox 13">
            <a:extLst>
              <a:ext uri="{FF2B5EF4-FFF2-40B4-BE49-F238E27FC236}">
                <a16:creationId xmlns:a16="http://schemas.microsoft.com/office/drawing/2014/main" id="{4DBA6E6C-EF4B-454F-10E8-510ECCEF6124}"/>
              </a:ext>
            </a:extLst>
          </p:cNvPr>
          <p:cNvSpPr txBox="1"/>
          <p:nvPr/>
        </p:nvSpPr>
        <p:spPr>
          <a:xfrm>
            <a:off x="885371" y="896353"/>
            <a:ext cx="16194313" cy="2194960"/>
          </a:xfrm>
          <a:prstGeom prst="rect">
            <a:avLst/>
          </a:prstGeom>
        </p:spPr>
        <p:txBody>
          <a:bodyPr wrap="square" lIns="0" tIns="0" rIns="0" bIns="0" rtlCol="0" anchor="t">
            <a:spAutoFit/>
          </a:bodyPr>
          <a:lstStyle/>
          <a:p>
            <a:pPr>
              <a:lnSpc>
                <a:spcPts val="8960"/>
              </a:lnSpc>
              <a:spcBef>
                <a:spcPct val="0"/>
              </a:spcBef>
              <a:defRPr/>
            </a:pPr>
            <a:r>
              <a:rPr kumimoji="0" lang="en-US" sz="6000" b="1" i="0" u="none" strike="noStrike" kern="1200" cap="none" spc="0" normalizeH="0" baseline="0" noProof="0" dirty="0">
                <a:ln>
                  <a:noFill/>
                </a:ln>
                <a:solidFill>
                  <a:srgbClr val="CC0033"/>
                </a:solidFill>
                <a:effectLst/>
                <a:uLnTx/>
                <a:uFillTx/>
                <a:latin typeface="Arial"/>
                <a:ea typeface="+mn-ea"/>
                <a:cs typeface="Arial" panose="020B0604020202020204" pitchFamily="34" charset="0"/>
              </a:rPr>
              <a:t>Results  - </a:t>
            </a:r>
            <a:r>
              <a:rPr kumimoji="0" lang="sv-SE" sz="4800" b="1" i="0" u="none" strike="noStrike" kern="1200" cap="none" spc="0" normalizeH="0" baseline="0" noProof="0" dirty="0" err="1">
                <a:ln>
                  <a:noFill/>
                </a:ln>
                <a:solidFill>
                  <a:schemeClr val="accent1"/>
                </a:solidFill>
                <a:effectLst/>
                <a:uLnTx/>
                <a:uFillTx/>
                <a:latin typeface="Univers"/>
                <a:ea typeface="+mn-ea"/>
                <a:cs typeface="Calibri" panose="020F0502020204030204"/>
              </a:rPr>
              <a:t>Anthracite</a:t>
            </a:r>
            <a:r>
              <a:rPr kumimoji="0" lang="sv-SE" sz="4800" b="1" i="0" u="none" strike="noStrike" kern="1200" cap="none" spc="0" normalizeH="0" baseline="0" noProof="0" dirty="0">
                <a:ln>
                  <a:noFill/>
                </a:ln>
                <a:solidFill>
                  <a:schemeClr val="accent1"/>
                </a:solidFill>
                <a:effectLst/>
                <a:uLnTx/>
                <a:uFillTx/>
                <a:latin typeface="Arial"/>
                <a:ea typeface="+mn-ea"/>
                <a:cs typeface="+mn-cs"/>
              </a:rPr>
              <a:t> </a:t>
            </a:r>
            <a:r>
              <a:rPr kumimoji="0" lang="sv-SE" sz="4800" b="1" i="0" u="none" strike="noStrike" kern="1200" cap="none" spc="0" normalizeH="0" baseline="0" noProof="0" dirty="0">
                <a:ln>
                  <a:noFill/>
                </a:ln>
                <a:solidFill>
                  <a:schemeClr val="accent1"/>
                </a:solidFill>
                <a:effectLst/>
                <a:uLnTx/>
                <a:uFillTx/>
                <a:latin typeface="Univers"/>
                <a:ea typeface="+mn-ea"/>
                <a:cs typeface="Calibri" panose="020F0502020204030204"/>
              </a:rPr>
              <a:t>Substitution rate </a:t>
            </a:r>
            <a:r>
              <a:rPr kumimoji="0" lang="sv-SE" sz="4800" b="1" i="0" u="none" strike="noStrike" kern="1200" cap="none" spc="0" normalizeH="0" baseline="0" noProof="0" dirty="0" err="1">
                <a:ln>
                  <a:noFill/>
                </a:ln>
                <a:solidFill>
                  <a:schemeClr val="accent1"/>
                </a:solidFill>
                <a:effectLst/>
                <a:uLnTx/>
                <a:uFillTx/>
                <a:latin typeface="Univers"/>
                <a:ea typeface="+mn-ea"/>
                <a:cs typeface="Calibri" panose="020F0502020204030204"/>
              </a:rPr>
              <a:t>with</a:t>
            </a:r>
            <a:r>
              <a:rPr kumimoji="0" lang="sv-SE" sz="4800" b="1" i="0" u="none" strike="noStrike" kern="1200" cap="none" spc="0" normalizeH="0" baseline="0" noProof="0" dirty="0">
                <a:ln>
                  <a:noFill/>
                </a:ln>
                <a:solidFill>
                  <a:schemeClr val="accent1"/>
                </a:solidFill>
                <a:effectLst/>
                <a:uLnTx/>
                <a:uFillTx/>
                <a:latin typeface="Univers"/>
                <a:ea typeface="+mn-ea"/>
                <a:cs typeface="Calibri" panose="020F0502020204030204"/>
              </a:rPr>
              <a:t> </a:t>
            </a:r>
            <a:r>
              <a:rPr lang="sv-SE" sz="4800" b="1" dirty="0" err="1">
                <a:solidFill>
                  <a:schemeClr val="accent1"/>
                </a:solidFill>
                <a:latin typeface="Univers"/>
                <a:cs typeface="Calibri" panose="020F0502020204030204"/>
              </a:rPr>
              <a:t>Biochar</a:t>
            </a:r>
            <a:endParaRPr kumimoji="0" lang="en-US" sz="5400" b="1" i="0" u="none" strike="noStrike" kern="1200" cap="none" spc="0" normalizeH="0" baseline="0" noProof="0" dirty="0">
              <a:ln>
                <a:noFill/>
              </a:ln>
              <a:solidFill>
                <a:schemeClr val="accent1"/>
              </a:solidFill>
              <a:effectLst/>
              <a:uLnTx/>
              <a:uFillTx/>
              <a:latin typeface="Univers"/>
              <a:ea typeface="+mn-ea"/>
              <a:cs typeface="Calibri" panose="020F0502020204030204"/>
            </a:endParaRPr>
          </a:p>
          <a:p>
            <a:pPr marL="0" marR="0" lvl="0" indent="0" defTabSz="914400" rtl="0" eaLnBrk="1" fontAlgn="auto" latinLnBrk="0" hangingPunct="1">
              <a:lnSpc>
                <a:spcPts val="8960"/>
              </a:lnSpc>
              <a:spcBef>
                <a:spcPct val="0"/>
              </a:spcBef>
              <a:spcAft>
                <a:spcPts val="0"/>
              </a:spcAft>
              <a:buClrTx/>
              <a:buSzTx/>
              <a:buFontTx/>
              <a:buNone/>
              <a:tabLst/>
              <a:defRPr/>
            </a:pPr>
            <a:r>
              <a:rPr kumimoji="0" lang="en-US" sz="6000" b="1" i="0" u="none" strike="noStrike" kern="1200" cap="none" spc="0" normalizeH="0" baseline="0" noProof="0" dirty="0">
                <a:ln>
                  <a:noFill/>
                </a:ln>
                <a:solidFill>
                  <a:srgbClr val="CC0033"/>
                </a:solidFill>
                <a:effectLst/>
                <a:uLnTx/>
                <a:uFillTx/>
                <a:latin typeface="Arial"/>
                <a:ea typeface="+mn-ea"/>
                <a:cs typeface="Arial" panose="020B0604020202020204" pitchFamily="34" charset="0"/>
              </a:rPr>
              <a:t> </a:t>
            </a:r>
          </a:p>
        </p:txBody>
      </p:sp>
      <p:pic>
        <p:nvPicPr>
          <p:cNvPr id="13" name="Imagen 115">
            <a:extLst>
              <a:ext uri="{FF2B5EF4-FFF2-40B4-BE49-F238E27FC236}">
                <a16:creationId xmlns:a16="http://schemas.microsoft.com/office/drawing/2014/main" id="{151ECE5D-BA07-3C11-60B7-0F864813A06C}"/>
              </a:ext>
            </a:extLst>
          </p:cNvPr>
          <p:cNvPicPr>
            <a:picLocks noChangeAspect="1"/>
          </p:cNvPicPr>
          <p:nvPr/>
        </p:nvPicPr>
        <p:blipFill>
          <a:blip r:embed="rId6"/>
          <a:stretch>
            <a:fillRect/>
          </a:stretch>
        </p:blipFill>
        <p:spPr>
          <a:xfrm>
            <a:off x="16689224" y="386588"/>
            <a:ext cx="1426810" cy="1197757"/>
          </a:xfrm>
          <a:prstGeom prst="rect">
            <a:avLst/>
          </a:prstGeom>
        </p:spPr>
      </p:pic>
      <p:graphicFrame>
        <p:nvGraphicFramePr>
          <p:cNvPr id="6" name="Tabella 7">
            <a:extLst>
              <a:ext uri="{FF2B5EF4-FFF2-40B4-BE49-F238E27FC236}">
                <a16:creationId xmlns:a16="http://schemas.microsoft.com/office/drawing/2014/main" id="{BD6CA98B-7CAF-6D8D-CD3A-010AA0F042F7}"/>
              </a:ext>
            </a:extLst>
          </p:cNvPr>
          <p:cNvGraphicFramePr>
            <a:graphicFrameLocks noGrp="1"/>
          </p:cNvGraphicFramePr>
          <p:nvPr>
            <p:extLst>
              <p:ext uri="{D42A27DB-BD31-4B8C-83A1-F6EECF244321}">
                <p14:modId xmlns:p14="http://schemas.microsoft.com/office/powerpoint/2010/main" val="383282395"/>
              </p:ext>
            </p:extLst>
          </p:nvPr>
        </p:nvGraphicFramePr>
        <p:xfrm>
          <a:off x="1047595" y="3167974"/>
          <a:ext cx="15320614" cy="3142700"/>
        </p:xfrm>
        <a:graphic>
          <a:graphicData uri="http://schemas.openxmlformats.org/drawingml/2006/table">
            <a:tbl>
              <a:tblPr firstRow="1" bandRow="1">
                <a:tableStyleId>{5C22544A-7EE6-4342-B048-85BDC9FD1C3A}</a:tableStyleId>
              </a:tblPr>
              <a:tblGrid>
                <a:gridCol w="3483844">
                  <a:extLst>
                    <a:ext uri="{9D8B030D-6E8A-4147-A177-3AD203B41FA5}">
                      <a16:colId xmlns:a16="http://schemas.microsoft.com/office/drawing/2014/main" val="3922505697"/>
                    </a:ext>
                  </a:extLst>
                </a:gridCol>
                <a:gridCol w="2592288">
                  <a:extLst>
                    <a:ext uri="{9D8B030D-6E8A-4147-A177-3AD203B41FA5}">
                      <a16:colId xmlns:a16="http://schemas.microsoft.com/office/drawing/2014/main" val="2384821811"/>
                    </a:ext>
                  </a:extLst>
                </a:gridCol>
                <a:gridCol w="2448272">
                  <a:extLst>
                    <a:ext uri="{9D8B030D-6E8A-4147-A177-3AD203B41FA5}">
                      <a16:colId xmlns:a16="http://schemas.microsoft.com/office/drawing/2014/main" val="795763688"/>
                    </a:ext>
                  </a:extLst>
                </a:gridCol>
                <a:gridCol w="3024336">
                  <a:extLst>
                    <a:ext uri="{9D8B030D-6E8A-4147-A177-3AD203B41FA5}">
                      <a16:colId xmlns:a16="http://schemas.microsoft.com/office/drawing/2014/main" val="2002825520"/>
                    </a:ext>
                  </a:extLst>
                </a:gridCol>
                <a:gridCol w="3771874">
                  <a:extLst>
                    <a:ext uri="{9D8B030D-6E8A-4147-A177-3AD203B41FA5}">
                      <a16:colId xmlns:a16="http://schemas.microsoft.com/office/drawing/2014/main" val="1509387649"/>
                    </a:ext>
                  </a:extLst>
                </a:gridCol>
              </a:tblGrid>
              <a:tr h="1670586">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it-IT" sz="2800" dirty="0"/>
                        <a:t>Materials injected</a:t>
                      </a:r>
                      <a:endParaRPr lang="en-US" sz="2800" dirty="0"/>
                    </a:p>
                  </a:txBody>
                  <a:tcPr marL="182880" marR="182880" marT="91440" marB="9144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it-IT" sz="2800" dirty="0"/>
                        <a:t>Time slot</a:t>
                      </a:r>
                      <a:endParaRPr lang="en-US" sz="2800" dirty="0"/>
                    </a:p>
                  </a:txBody>
                  <a:tcPr marL="182880" marR="182880" marT="91440" marB="9144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it-IT" sz="2800" err="1"/>
                        <a:t>Specific</a:t>
                      </a:r>
                      <a:r>
                        <a:rPr lang="it-IT" sz="2800"/>
                        <a:t> </a:t>
                      </a:r>
                      <a:r>
                        <a:rPr lang="it-IT" sz="2800" err="1"/>
                        <a:t>Biochar</a:t>
                      </a:r>
                      <a:r>
                        <a:rPr lang="it-IT" sz="2800"/>
                        <a:t> Consumption</a:t>
                      </a:r>
                      <a:endParaRPr lang="en-US" sz="2800"/>
                    </a:p>
                  </a:txBody>
                  <a:tcPr marL="182880" marR="182880" marT="91440" marB="9144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it-IT" sz="2800" err="1"/>
                        <a:t>Specific</a:t>
                      </a:r>
                      <a:r>
                        <a:rPr lang="it-IT" sz="2800"/>
                        <a:t> Anthracite Consumption</a:t>
                      </a:r>
                      <a:endParaRPr lang="en-US" sz="2800"/>
                    </a:p>
                  </a:txBody>
                  <a:tcPr marL="182880" marR="182880" marT="91440" marB="9144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it-IT" sz="2800" err="1"/>
                        <a:t>Substitution</a:t>
                      </a:r>
                      <a:r>
                        <a:rPr lang="it-IT" sz="2800"/>
                        <a:t> rate (</a:t>
                      </a:r>
                      <a:r>
                        <a:rPr lang="it-IT" sz="2800" err="1"/>
                        <a:t>Biochar</a:t>
                      </a:r>
                      <a:r>
                        <a:rPr lang="it-IT" sz="2800"/>
                        <a:t> : Anthracite)</a:t>
                      </a:r>
                      <a:endParaRPr lang="en-US" sz="2800"/>
                    </a:p>
                  </a:txBody>
                  <a:tcPr marL="182880" marR="182880" marT="91440" marB="9144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25325334"/>
                  </a:ext>
                </a:extLst>
              </a:tr>
              <a:tr h="626470">
                <a:tc>
                  <a:txBody>
                    <a:bodyPr/>
                    <a:lstStyle/>
                    <a:p>
                      <a:pPr algn="ctr"/>
                      <a:r>
                        <a:rPr lang="it-IT" sz="2400" kern="1200">
                          <a:solidFill>
                            <a:schemeClr val="tx1"/>
                          </a:solidFill>
                          <a:latin typeface="Univers"/>
                          <a:ea typeface="+mn-ea"/>
                          <a:cs typeface="Calibri" panose="020F0502020204030204"/>
                        </a:rPr>
                        <a:t>Anthracite</a:t>
                      </a:r>
                      <a:endParaRPr lang="en-US" sz="2400" kern="1200">
                        <a:solidFill>
                          <a:schemeClr val="tx1"/>
                        </a:solidFill>
                        <a:latin typeface="Univers"/>
                        <a:ea typeface="+mn-ea"/>
                        <a:cs typeface="Calibri" panose="020F0502020204030204"/>
                      </a:endParaRPr>
                    </a:p>
                  </a:txBody>
                  <a:tcPr marL="182880" marR="182880" marT="91440" marB="9144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rowSpan="2">
                  <a:txBody>
                    <a:bodyPr/>
                    <a:lstStyle/>
                    <a:p>
                      <a:pPr algn="ctr"/>
                      <a:r>
                        <a:rPr lang="it-IT" sz="2400" kern="1200">
                          <a:solidFill>
                            <a:schemeClr val="tx1"/>
                          </a:solidFill>
                          <a:latin typeface="Univers"/>
                          <a:ea typeface="+mn-ea"/>
                          <a:cs typeface="Calibri" panose="020F0502020204030204"/>
                        </a:rPr>
                        <a:t>09/23 – 10/23</a:t>
                      </a:r>
                      <a:endParaRPr lang="en-US" sz="2400" kern="1200">
                        <a:solidFill>
                          <a:schemeClr val="tx1"/>
                        </a:solidFill>
                        <a:latin typeface="Univers"/>
                        <a:ea typeface="+mn-ea"/>
                        <a:cs typeface="Calibri" panose="020F0502020204030204"/>
                      </a:endParaRPr>
                    </a:p>
                  </a:txBody>
                  <a:tcPr marL="182880" marR="182880" marT="91440" marB="9144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r>
                        <a:rPr lang="it-IT" sz="2400" kern="1200" dirty="0">
                          <a:solidFill>
                            <a:schemeClr val="tx1"/>
                          </a:solidFill>
                          <a:latin typeface="Univers"/>
                          <a:ea typeface="+mn-ea"/>
                          <a:cs typeface="Calibri" panose="020F0502020204030204"/>
                        </a:rPr>
                        <a:t>0 kg/t</a:t>
                      </a:r>
                      <a:r>
                        <a:rPr lang="it-IT" sz="2400" kern="1200" baseline="-25000" dirty="0">
                          <a:solidFill>
                            <a:schemeClr val="tx1"/>
                          </a:solidFill>
                          <a:latin typeface="Univers"/>
                          <a:ea typeface="+mn-ea"/>
                          <a:cs typeface="Calibri" panose="020F0502020204030204"/>
                        </a:rPr>
                        <a:t>steel</a:t>
                      </a:r>
                      <a:endParaRPr lang="en-US" sz="2400" kern="1200" dirty="0">
                        <a:solidFill>
                          <a:schemeClr val="tx1"/>
                        </a:solidFill>
                        <a:latin typeface="Univers"/>
                        <a:ea typeface="+mn-ea"/>
                        <a:cs typeface="Calibri" panose="020F0502020204030204"/>
                      </a:endParaRPr>
                    </a:p>
                  </a:txBody>
                  <a:tcPr marL="182880" marR="182880" marT="91440" marB="91440" anchor="ctr">
                    <a:lnT w="12700" cap="flat" cmpd="sng" algn="ctr">
                      <a:solidFill>
                        <a:schemeClr val="tx1"/>
                      </a:solidFill>
                      <a:prstDash val="solid"/>
                      <a:round/>
                      <a:headEnd type="none" w="med" len="med"/>
                      <a:tailEnd type="none" w="med" len="med"/>
                    </a:lnT>
                  </a:tcPr>
                </a:tc>
                <a:tc>
                  <a:txBody>
                    <a:bodyPr/>
                    <a:lstStyle/>
                    <a:p>
                      <a:pPr algn="r"/>
                      <a:r>
                        <a:rPr lang="it-IT" sz="2400" kern="1200">
                          <a:solidFill>
                            <a:schemeClr val="tx1"/>
                          </a:solidFill>
                          <a:latin typeface="Univers"/>
                          <a:ea typeface="+mn-ea"/>
                          <a:cs typeface="Calibri" panose="020F0502020204030204"/>
                        </a:rPr>
                        <a:t>7,0 kg/</a:t>
                      </a:r>
                      <a:r>
                        <a:rPr lang="it-IT" sz="2400" kern="1200" err="1">
                          <a:solidFill>
                            <a:schemeClr val="tx1"/>
                          </a:solidFill>
                          <a:latin typeface="Univers"/>
                          <a:ea typeface="+mn-ea"/>
                          <a:cs typeface="Calibri" panose="020F0502020204030204"/>
                        </a:rPr>
                        <a:t>t</a:t>
                      </a:r>
                      <a:r>
                        <a:rPr lang="it-IT" sz="2400" kern="1200" baseline="-25000" err="1">
                          <a:solidFill>
                            <a:schemeClr val="tx1"/>
                          </a:solidFill>
                          <a:latin typeface="Univers"/>
                          <a:ea typeface="+mn-ea"/>
                          <a:cs typeface="Calibri" panose="020F0502020204030204"/>
                        </a:rPr>
                        <a:t>steel</a:t>
                      </a:r>
                      <a:endParaRPr lang="en-US" sz="2400" kern="1200">
                        <a:solidFill>
                          <a:schemeClr val="tx1"/>
                        </a:solidFill>
                        <a:latin typeface="Univers"/>
                        <a:ea typeface="+mn-ea"/>
                        <a:cs typeface="Calibri" panose="020F0502020204030204"/>
                      </a:endParaRPr>
                    </a:p>
                  </a:txBody>
                  <a:tcPr marL="182880" marR="182880" marT="91440" marB="91440" anchor="ctr">
                    <a:lnT w="12700" cap="flat" cmpd="sng" algn="ctr">
                      <a:solidFill>
                        <a:schemeClr val="tx1"/>
                      </a:solidFill>
                      <a:prstDash val="solid"/>
                      <a:round/>
                      <a:headEnd type="none" w="med" len="med"/>
                      <a:tailEnd type="none" w="med" len="med"/>
                    </a:lnT>
                  </a:tcPr>
                </a:tc>
                <a:tc rowSpan="2">
                  <a:txBody>
                    <a:bodyPr/>
                    <a:lstStyle/>
                    <a:p>
                      <a:pPr algn="ctr"/>
                      <a:r>
                        <a:rPr lang="it-IT" sz="2400" kern="1200" dirty="0">
                          <a:solidFill>
                            <a:schemeClr val="tx1"/>
                          </a:solidFill>
                          <a:latin typeface="Univers"/>
                          <a:ea typeface="+mn-ea"/>
                          <a:cs typeface="Calibri" panose="020F0502020204030204"/>
                        </a:rPr>
                        <a:t>1,5</a:t>
                      </a:r>
                      <a:endParaRPr lang="en-US" sz="2400" kern="1200" dirty="0">
                        <a:solidFill>
                          <a:schemeClr val="tx1"/>
                        </a:solidFill>
                        <a:latin typeface="Univers"/>
                        <a:ea typeface="+mn-ea"/>
                        <a:cs typeface="Calibri" panose="020F0502020204030204"/>
                      </a:endParaRPr>
                    </a:p>
                  </a:txBody>
                  <a:tcPr marL="182880" marR="182880" marT="91440" marB="9144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121203650"/>
                  </a:ext>
                </a:extLst>
              </a:tr>
              <a:tr h="626470">
                <a:tc>
                  <a:txBody>
                    <a:bodyPr/>
                    <a:lstStyle/>
                    <a:p>
                      <a:pPr algn="ctr"/>
                      <a:r>
                        <a:rPr lang="it-IT" sz="2400" kern="1200">
                          <a:solidFill>
                            <a:schemeClr val="tx1"/>
                          </a:solidFill>
                          <a:latin typeface="Univers"/>
                          <a:ea typeface="+mn-ea"/>
                          <a:cs typeface="Calibri" panose="020F0502020204030204"/>
                        </a:rPr>
                        <a:t>Anthracite + </a:t>
                      </a:r>
                      <a:r>
                        <a:rPr lang="it-IT" sz="2400" kern="1200" err="1">
                          <a:solidFill>
                            <a:schemeClr val="tx1"/>
                          </a:solidFill>
                          <a:latin typeface="Univers"/>
                          <a:ea typeface="+mn-ea"/>
                          <a:cs typeface="Calibri" panose="020F0502020204030204"/>
                        </a:rPr>
                        <a:t>Biochar</a:t>
                      </a:r>
                      <a:endParaRPr lang="en-US" sz="2400" kern="1200">
                        <a:solidFill>
                          <a:schemeClr val="tx1"/>
                        </a:solidFill>
                        <a:latin typeface="Univers"/>
                        <a:ea typeface="+mn-ea"/>
                        <a:cs typeface="Calibri" panose="020F0502020204030204"/>
                      </a:endParaRPr>
                    </a:p>
                  </a:txBody>
                  <a:tcPr marL="182880" marR="182880" marT="91440" marB="9144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vMerge="1">
                  <a:txBody>
                    <a:bodyPr/>
                    <a:lstStyle/>
                    <a:p>
                      <a:pPr algn="ctr"/>
                      <a:endParaRPr lang="en-US" sz="2800" kern="1200">
                        <a:solidFill>
                          <a:srgbClr val="00358E"/>
                        </a:solidFill>
                        <a:latin typeface="Univers"/>
                        <a:ea typeface="+mn-ea"/>
                        <a:cs typeface="Calibri" panose="020F0502020204030204"/>
                      </a:endParaRPr>
                    </a:p>
                  </a:txBody>
                  <a:tcPr anchor="ctr"/>
                </a:tc>
                <a:tc>
                  <a:txBody>
                    <a:bodyPr/>
                    <a:lstStyle/>
                    <a:p>
                      <a:pPr algn="r"/>
                      <a:r>
                        <a:rPr lang="it-IT" sz="2400" kern="1200">
                          <a:solidFill>
                            <a:schemeClr val="tx1"/>
                          </a:solidFill>
                          <a:latin typeface="Univers"/>
                          <a:ea typeface="+mn-ea"/>
                          <a:cs typeface="Calibri" panose="020F0502020204030204"/>
                        </a:rPr>
                        <a:t>1,5 kg/</a:t>
                      </a:r>
                      <a:r>
                        <a:rPr lang="it-IT" sz="2400" kern="1200" err="1">
                          <a:solidFill>
                            <a:schemeClr val="tx1"/>
                          </a:solidFill>
                          <a:latin typeface="Univers"/>
                          <a:ea typeface="+mn-ea"/>
                          <a:cs typeface="Calibri" panose="020F0502020204030204"/>
                        </a:rPr>
                        <a:t>t</a:t>
                      </a:r>
                      <a:r>
                        <a:rPr lang="it-IT" sz="2400" kern="1200" baseline="-25000" err="1">
                          <a:solidFill>
                            <a:schemeClr val="tx1"/>
                          </a:solidFill>
                          <a:latin typeface="Univers"/>
                          <a:ea typeface="+mn-ea"/>
                          <a:cs typeface="Calibri" panose="020F0502020204030204"/>
                        </a:rPr>
                        <a:t>steel</a:t>
                      </a:r>
                      <a:endParaRPr lang="en-US" sz="2400" kern="1200">
                        <a:solidFill>
                          <a:schemeClr val="tx1"/>
                        </a:solidFill>
                        <a:latin typeface="Univers"/>
                        <a:ea typeface="+mn-ea"/>
                        <a:cs typeface="Calibri" panose="020F0502020204030204"/>
                      </a:endParaRPr>
                    </a:p>
                  </a:txBody>
                  <a:tcPr marL="182880" marR="182880" marT="91440" marB="91440" anchor="ctr">
                    <a:lnB w="12700" cap="flat" cmpd="sng" algn="ctr">
                      <a:solidFill>
                        <a:schemeClr val="tx1"/>
                      </a:solidFill>
                      <a:prstDash val="solid"/>
                      <a:round/>
                      <a:headEnd type="none" w="med" len="med"/>
                      <a:tailEnd type="none" w="med" len="med"/>
                    </a:lnB>
                  </a:tcPr>
                </a:tc>
                <a:tc>
                  <a:txBody>
                    <a:bodyPr/>
                    <a:lstStyle/>
                    <a:p>
                      <a:pPr algn="r"/>
                      <a:r>
                        <a:rPr lang="it-IT" sz="2400" kern="1200" dirty="0">
                          <a:solidFill>
                            <a:schemeClr val="tx1"/>
                          </a:solidFill>
                          <a:latin typeface="Univers"/>
                          <a:ea typeface="+mn-ea"/>
                          <a:cs typeface="Calibri" panose="020F0502020204030204"/>
                        </a:rPr>
                        <a:t>6,0 kg/t</a:t>
                      </a:r>
                      <a:r>
                        <a:rPr lang="it-IT" sz="2400" kern="1200" baseline="-25000" dirty="0">
                          <a:solidFill>
                            <a:schemeClr val="tx1"/>
                          </a:solidFill>
                          <a:latin typeface="Univers"/>
                          <a:ea typeface="+mn-ea"/>
                          <a:cs typeface="Calibri" panose="020F0502020204030204"/>
                        </a:rPr>
                        <a:t>steel</a:t>
                      </a:r>
                      <a:endParaRPr lang="en-US" sz="2400" kern="1200" dirty="0">
                        <a:solidFill>
                          <a:schemeClr val="tx1"/>
                        </a:solidFill>
                        <a:latin typeface="Univers"/>
                        <a:ea typeface="+mn-ea"/>
                        <a:cs typeface="Calibri" panose="020F0502020204030204"/>
                      </a:endParaRPr>
                    </a:p>
                  </a:txBody>
                  <a:tcPr marL="182880" marR="182880" marT="91440" marB="91440" anchor="ctr">
                    <a:lnB w="12700" cap="flat" cmpd="sng" algn="ctr">
                      <a:solidFill>
                        <a:schemeClr val="tx1"/>
                      </a:solidFill>
                      <a:prstDash val="solid"/>
                      <a:round/>
                      <a:headEnd type="none" w="med" len="med"/>
                      <a:tailEnd type="none" w="med" len="med"/>
                    </a:lnB>
                  </a:tcPr>
                </a:tc>
                <a:tc vMerge="1">
                  <a:txBody>
                    <a:bodyPr/>
                    <a:lstStyle/>
                    <a:p>
                      <a:pPr algn="ctr"/>
                      <a:endParaRPr lang="en-US" sz="2800" kern="1200">
                        <a:solidFill>
                          <a:srgbClr val="00358E"/>
                        </a:solidFill>
                        <a:latin typeface="Univers"/>
                        <a:ea typeface="+mn-ea"/>
                        <a:cs typeface="Calibri" panose="020F0502020204030204"/>
                      </a:endParaRPr>
                    </a:p>
                  </a:txBody>
                  <a:tcPr anchor="ctr"/>
                </a:tc>
                <a:extLst>
                  <a:ext uri="{0D108BD9-81ED-4DB2-BD59-A6C34878D82A}">
                    <a16:rowId xmlns:a16="http://schemas.microsoft.com/office/drawing/2014/main" val="923419791"/>
                  </a:ext>
                </a:extLst>
              </a:tr>
            </a:tbl>
          </a:graphicData>
        </a:graphic>
      </p:graphicFrame>
      <p:sp>
        <p:nvSpPr>
          <p:cNvPr id="7" name="TextBox 4">
            <a:extLst>
              <a:ext uri="{FF2B5EF4-FFF2-40B4-BE49-F238E27FC236}">
                <a16:creationId xmlns:a16="http://schemas.microsoft.com/office/drawing/2014/main" id="{1281982A-6634-1FB6-0B0F-1A9FB8BAC510}"/>
              </a:ext>
            </a:extLst>
          </p:cNvPr>
          <p:cNvSpPr txBox="1"/>
          <p:nvPr/>
        </p:nvSpPr>
        <p:spPr>
          <a:xfrm>
            <a:off x="1384549" y="6661210"/>
            <a:ext cx="13015480" cy="1690335"/>
          </a:xfrm>
          <a:prstGeom prst="rect">
            <a:avLst/>
          </a:prstGeom>
          <a:noFill/>
        </p:spPr>
        <p:txBody>
          <a:bodyPr wrap="square" rtlCol="0">
            <a:spAutoFit/>
          </a:bodyPr>
          <a:lstStyle/>
          <a:p>
            <a:pPr marL="571500" indent="-571500">
              <a:lnSpc>
                <a:spcPct val="150000"/>
              </a:lnSpc>
              <a:buFont typeface="Arial" panose="020B0604020202020204" pitchFamily="34" charset="0"/>
              <a:buChar char="•"/>
            </a:pPr>
            <a:r>
              <a:rPr lang="en-US" sz="2400" b="1" dirty="0">
                <a:latin typeface="Univers"/>
                <a:cs typeface="Calibri" panose="020F0502020204030204"/>
              </a:rPr>
              <a:t>Results:</a:t>
            </a:r>
          </a:p>
          <a:p>
            <a:pPr marL="1485900" lvl="1" indent="-571500">
              <a:lnSpc>
                <a:spcPct val="150000"/>
              </a:lnSpc>
              <a:buFont typeface="Courier New" panose="02070309020205020404" pitchFamily="49" charset="0"/>
              <a:buChar char="o"/>
            </a:pPr>
            <a:r>
              <a:rPr lang="en-US" sz="2400" dirty="0">
                <a:latin typeface="Univers"/>
                <a:cs typeface="Calibri" panose="020F0502020204030204"/>
                <a:sym typeface="Wingdings" panose="05000000000000000000" pitchFamily="2" charset="2"/>
              </a:rPr>
              <a:t>Substitution rate better than TG for initial trials: 1,5 vs 3</a:t>
            </a:r>
          </a:p>
          <a:p>
            <a:pPr marL="1485900" lvl="1" indent="-571500">
              <a:lnSpc>
                <a:spcPct val="150000"/>
              </a:lnSpc>
              <a:buFont typeface="Courier New" panose="02070309020205020404" pitchFamily="49" charset="0"/>
              <a:buChar char="o"/>
            </a:pPr>
            <a:r>
              <a:rPr lang="en-US" sz="2400" dirty="0">
                <a:latin typeface="Univers"/>
                <a:cs typeface="Calibri" panose="020F0502020204030204"/>
                <a:sym typeface="Wingdings" panose="05000000000000000000" pitchFamily="2" charset="2"/>
              </a:rPr>
              <a:t>Reduction of global anthracite consumption</a:t>
            </a:r>
            <a:endParaRPr lang="en-US" sz="2400" dirty="0">
              <a:latin typeface="Univers"/>
              <a:cs typeface="Calibri" panose="020F0502020204030204"/>
            </a:endParaRPr>
          </a:p>
        </p:txBody>
      </p:sp>
    </p:spTree>
    <p:extLst>
      <p:ext uri="{BB962C8B-B14F-4D97-AF65-F5344CB8AC3E}">
        <p14:creationId xmlns:p14="http://schemas.microsoft.com/office/powerpoint/2010/main" val="1922528079"/>
      </p:ext>
    </p:extLst>
  </p:cSld>
  <p:clrMapOvr>
    <a:masterClrMapping/>
  </p:clrMapOvr>
  <mc:AlternateContent xmlns:mc="http://schemas.openxmlformats.org/markup-compatibility/2006" xmlns:p14="http://schemas.microsoft.com/office/powerpoint/2010/main">
    <mc:Choice Requires="p14">
      <p:transition spd="slow" p14:dur="2000" advTm="83130"/>
    </mc:Choice>
    <mc:Fallback xmlns="">
      <p:transition spd="slow" advTm="83130"/>
    </mc:Fallback>
  </mc:AlternateContent>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6"/>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4"/>
          <a:srcRect/>
          <a:stretch>
            <a:fillRect/>
          </a:stretch>
        </p:blipFill>
        <p:spPr>
          <a:xfrm>
            <a:off x="0" y="8901113"/>
            <a:ext cx="5715000" cy="1385887"/>
          </a:xfrm>
          <a:prstGeom prst="rect">
            <a:avLst/>
          </a:prstGeom>
        </p:spPr>
      </p:pic>
      <p:grpSp>
        <p:nvGrpSpPr>
          <p:cNvPr id="2" name="Gruppo 1">
            <a:extLst>
              <a:ext uri="{FF2B5EF4-FFF2-40B4-BE49-F238E27FC236}">
                <a16:creationId xmlns:a16="http://schemas.microsoft.com/office/drawing/2014/main" id="{D8D71BB5-458F-411D-AFA9-C648954E9F40}"/>
              </a:ext>
            </a:extLst>
          </p:cNvPr>
          <p:cNvGrpSpPr/>
          <p:nvPr/>
        </p:nvGrpSpPr>
        <p:grpSpPr>
          <a:xfrm>
            <a:off x="-12" y="138554"/>
            <a:ext cx="18288002" cy="681138"/>
            <a:chOff x="-12" y="138554"/>
            <a:chExt cx="18288002" cy="681138"/>
          </a:xfrm>
        </p:grpSpPr>
        <p:grpSp>
          <p:nvGrpSpPr>
            <p:cNvPr id="16" name="Gruppo 15">
              <a:extLst>
                <a:ext uri="{FF2B5EF4-FFF2-40B4-BE49-F238E27FC236}">
                  <a16:creationId xmlns:a16="http://schemas.microsoft.com/office/drawing/2014/main" id="{DAC42A46-917D-41AB-8F07-E15E54D0F7D4}"/>
                </a:ext>
              </a:extLst>
            </p:cNvPr>
            <p:cNvGrpSpPr/>
            <p:nvPr/>
          </p:nvGrpSpPr>
          <p:grpSpPr>
            <a:xfrm>
              <a:off x="0" y="153125"/>
              <a:ext cx="13958844" cy="666567"/>
              <a:chOff x="0" y="153125"/>
              <a:chExt cx="13958844" cy="666567"/>
            </a:xfrm>
          </p:grpSpPr>
          <p:pic>
            <p:nvPicPr>
              <p:cNvPr id="10" name="Picture 10"/>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1" name="TextBox 11"/>
              <p:cNvSpPr txBox="1"/>
              <p:nvPr/>
            </p:nvSpPr>
            <p:spPr>
              <a:xfrm>
                <a:off x="228600" y="257980"/>
                <a:ext cx="5752704" cy="456856"/>
              </a:xfrm>
              <a:prstGeom prst="rect">
                <a:avLst/>
              </a:prstGeom>
            </p:spPr>
            <p:txBody>
              <a:bodyPr wrap="square" lIns="0" tIns="0" rIns="0" bIns="0" rtlCol="0" anchor="t">
                <a:spAutoFit/>
              </a:bodyPr>
              <a:lstStyle/>
              <a:p>
                <a:pPr>
                  <a:lnSpc>
                    <a:spcPts val="3919"/>
                  </a:lnSpc>
                  <a:spcBef>
                    <a:spcPct val="0"/>
                  </a:spcBef>
                </a:pPr>
                <a:endParaRPr lang="en-US" sz="2800" b="1">
                  <a:solidFill>
                    <a:srgbClr val="FFFFFF"/>
                  </a:solidFill>
                  <a:latin typeface="Arial" panose="020B0604020202020204" pitchFamily="34" charset="0"/>
                  <a:cs typeface="Arial" panose="020B0604020202020204" pitchFamily="34" charset="0"/>
                </a:endParaRPr>
              </a:p>
            </p:txBody>
          </p:sp>
        </p:grpSp>
        <p:sp>
          <p:nvSpPr>
            <p:cNvPr id="12" name="Rettangolo 11">
              <a:extLst>
                <a:ext uri="{FF2B5EF4-FFF2-40B4-BE49-F238E27FC236}">
                  <a16:creationId xmlns:a16="http://schemas.microsoft.com/office/drawing/2014/main" id="{F2E90E36-F5DF-479E-BF3B-C6F6A1CEA4E7}"/>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4" name="TextBox 13">
            <a:extLst>
              <a:ext uri="{FF2B5EF4-FFF2-40B4-BE49-F238E27FC236}">
                <a16:creationId xmlns:a16="http://schemas.microsoft.com/office/drawing/2014/main" id="{4DBA6E6C-EF4B-454F-10E8-510ECCEF6124}"/>
              </a:ext>
            </a:extLst>
          </p:cNvPr>
          <p:cNvSpPr txBox="1"/>
          <p:nvPr/>
        </p:nvSpPr>
        <p:spPr>
          <a:xfrm>
            <a:off x="885371" y="896353"/>
            <a:ext cx="16194313" cy="1040798"/>
          </a:xfrm>
          <a:prstGeom prst="rect">
            <a:avLst/>
          </a:prstGeom>
        </p:spPr>
        <p:txBody>
          <a:bodyPr wrap="square" lIns="0" tIns="0" rIns="0" bIns="0" rtlCol="0" anchor="t">
            <a:spAutoFit/>
          </a:bodyPr>
          <a:lstStyle/>
          <a:p>
            <a:pPr>
              <a:lnSpc>
                <a:spcPts val="8960"/>
              </a:lnSpc>
              <a:spcBef>
                <a:spcPct val="0"/>
              </a:spcBef>
              <a:defRPr/>
            </a:pPr>
            <a:r>
              <a:rPr kumimoji="0" lang="en-US" sz="6000" b="1" i="0" u="none" strike="noStrike" kern="1200" cap="none" spc="0" normalizeH="0" baseline="0" noProof="0" dirty="0">
                <a:ln>
                  <a:noFill/>
                </a:ln>
                <a:solidFill>
                  <a:srgbClr val="CC0033"/>
                </a:solidFill>
                <a:effectLst/>
                <a:uLnTx/>
                <a:uFillTx/>
                <a:latin typeface="Arial"/>
                <a:ea typeface="+mn-ea"/>
                <a:cs typeface="Arial" panose="020B0604020202020204" pitchFamily="34" charset="0"/>
              </a:rPr>
              <a:t>Impact  - </a:t>
            </a:r>
            <a:r>
              <a:rPr lang="sv-SE" sz="4800" b="1" dirty="0">
                <a:solidFill>
                  <a:schemeClr val="accent1"/>
                </a:solidFill>
                <a:latin typeface="Univers"/>
                <a:cs typeface="Calibri" panose="020F0502020204030204"/>
              </a:rPr>
              <a:t>CO</a:t>
            </a:r>
            <a:r>
              <a:rPr lang="sv-SE" sz="4800" b="1" baseline="-25000" dirty="0">
                <a:solidFill>
                  <a:schemeClr val="accent1"/>
                </a:solidFill>
                <a:latin typeface="Univers"/>
                <a:cs typeface="Calibri" panose="020F0502020204030204"/>
              </a:rPr>
              <a:t>2</a:t>
            </a:r>
            <a:r>
              <a:rPr lang="sv-SE" sz="4800" b="1" dirty="0">
                <a:solidFill>
                  <a:schemeClr val="accent1"/>
                </a:solidFill>
                <a:latin typeface="Univers"/>
                <a:cs typeface="Calibri" panose="020F0502020204030204"/>
              </a:rPr>
              <a:t> </a:t>
            </a:r>
            <a:r>
              <a:rPr lang="sv-SE" sz="4800" b="1" dirty="0" err="1">
                <a:solidFill>
                  <a:schemeClr val="accent1"/>
                </a:solidFill>
                <a:latin typeface="Univers"/>
                <a:cs typeface="Calibri" panose="020F0502020204030204"/>
              </a:rPr>
              <a:t>reduction</a:t>
            </a:r>
            <a:r>
              <a:rPr lang="sv-SE" sz="4800" b="1" dirty="0">
                <a:solidFill>
                  <a:schemeClr val="accent1"/>
                </a:solidFill>
                <a:latin typeface="Univers"/>
                <a:cs typeface="Calibri" panose="020F0502020204030204"/>
              </a:rPr>
              <a:t> </a:t>
            </a:r>
            <a:r>
              <a:rPr lang="sv-SE" sz="4800" b="1" dirty="0" err="1">
                <a:solidFill>
                  <a:schemeClr val="accent1"/>
                </a:solidFill>
                <a:latin typeface="Univers"/>
                <a:cs typeface="Calibri" panose="020F0502020204030204"/>
              </a:rPr>
              <a:t>with</a:t>
            </a:r>
            <a:r>
              <a:rPr lang="sv-SE" sz="4800" b="1" dirty="0">
                <a:solidFill>
                  <a:schemeClr val="accent1"/>
                </a:solidFill>
                <a:latin typeface="Univers"/>
                <a:cs typeface="Calibri" panose="020F0502020204030204"/>
              </a:rPr>
              <a:t> alternative materials</a:t>
            </a:r>
          </a:p>
        </p:txBody>
      </p:sp>
      <p:pic>
        <p:nvPicPr>
          <p:cNvPr id="13" name="Imagen 115">
            <a:extLst>
              <a:ext uri="{FF2B5EF4-FFF2-40B4-BE49-F238E27FC236}">
                <a16:creationId xmlns:a16="http://schemas.microsoft.com/office/drawing/2014/main" id="{151ECE5D-BA07-3C11-60B7-0F864813A06C}"/>
              </a:ext>
            </a:extLst>
          </p:cNvPr>
          <p:cNvPicPr>
            <a:picLocks noChangeAspect="1"/>
          </p:cNvPicPr>
          <p:nvPr/>
        </p:nvPicPr>
        <p:blipFill>
          <a:blip r:embed="rId6"/>
          <a:stretch>
            <a:fillRect/>
          </a:stretch>
        </p:blipFill>
        <p:spPr>
          <a:xfrm>
            <a:off x="16689224" y="386588"/>
            <a:ext cx="1426810" cy="1197757"/>
          </a:xfrm>
          <a:prstGeom prst="rect">
            <a:avLst/>
          </a:prstGeom>
        </p:spPr>
      </p:pic>
      <p:sp>
        <p:nvSpPr>
          <p:cNvPr id="3" name="Segnaposto numero diapositiva 1">
            <a:extLst>
              <a:ext uri="{FF2B5EF4-FFF2-40B4-BE49-F238E27FC236}">
                <a16:creationId xmlns:a16="http://schemas.microsoft.com/office/drawing/2014/main" id="{65BAE43A-3C61-5D64-08B8-7CE11002DC0B}"/>
              </a:ext>
            </a:extLst>
          </p:cNvPr>
          <p:cNvSpPr>
            <a:spLocks noGrp="1"/>
          </p:cNvSpPr>
          <p:nvPr>
            <p:ph type="sldNum" sz="quarter" idx="12"/>
          </p:nvPr>
        </p:nvSpPr>
        <p:spPr>
          <a:xfrm>
            <a:off x="6088966" y="4960583"/>
            <a:ext cx="2133600" cy="365125"/>
          </a:xfrm>
        </p:spPr>
        <p:txBody>
          <a:bodyPr/>
          <a:lstStyle/>
          <a:p>
            <a:fld id="{19623E6E-DB8D-492F-A988-74A9EAF10C4B}" type="slidenum">
              <a:rPr lang="it-IT" smtClean="0"/>
              <a:t>193</a:t>
            </a:fld>
            <a:endParaRPr lang="it-IT"/>
          </a:p>
        </p:txBody>
      </p:sp>
      <p:graphicFrame>
        <p:nvGraphicFramePr>
          <p:cNvPr id="8" name="Tabella 7">
            <a:extLst>
              <a:ext uri="{FF2B5EF4-FFF2-40B4-BE49-F238E27FC236}">
                <a16:creationId xmlns:a16="http://schemas.microsoft.com/office/drawing/2014/main" id="{55B09F92-C005-26BD-2B88-681736CE9380}"/>
              </a:ext>
            </a:extLst>
          </p:cNvPr>
          <p:cNvGraphicFramePr>
            <a:graphicFrameLocks noGrp="1"/>
          </p:cNvGraphicFramePr>
          <p:nvPr>
            <p:extLst>
              <p:ext uri="{D42A27DB-BD31-4B8C-83A1-F6EECF244321}">
                <p14:modId xmlns:p14="http://schemas.microsoft.com/office/powerpoint/2010/main" val="324778612"/>
              </p:ext>
            </p:extLst>
          </p:nvPr>
        </p:nvGraphicFramePr>
        <p:xfrm>
          <a:off x="1227861" y="3061933"/>
          <a:ext cx="12961438" cy="2987040"/>
        </p:xfrm>
        <a:graphic>
          <a:graphicData uri="http://schemas.openxmlformats.org/drawingml/2006/table">
            <a:tbl>
              <a:tblPr firstRow="1" bandRow="1">
                <a:tableStyleId>{5C22544A-7EE6-4342-B048-85BDC9FD1C3A}</a:tableStyleId>
              </a:tblPr>
              <a:tblGrid>
                <a:gridCol w="3744416">
                  <a:extLst>
                    <a:ext uri="{9D8B030D-6E8A-4147-A177-3AD203B41FA5}">
                      <a16:colId xmlns:a16="http://schemas.microsoft.com/office/drawing/2014/main" val="3922505697"/>
                    </a:ext>
                  </a:extLst>
                </a:gridCol>
                <a:gridCol w="2448272">
                  <a:extLst>
                    <a:ext uri="{9D8B030D-6E8A-4147-A177-3AD203B41FA5}">
                      <a16:colId xmlns:a16="http://schemas.microsoft.com/office/drawing/2014/main" val="2002825520"/>
                    </a:ext>
                  </a:extLst>
                </a:gridCol>
                <a:gridCol w="3024336">
                  <a:extLst>
                    <a:ext uri="{9D8B030D-6E8A-4147-A177-3AD203B41FA5}">
                      <a16:colId xmlns:a16="http://schemas.microsoft.com/office/drawing/2014/main" val="3372605126"/>
                    </a:ext>
                  </a:extLst>
                </a:gridCol>
                <a:gridCol w="3744414">
                  <a:extLst>
                    <a:ext uri="{9D8B030D-6E8A-4147-A177-3AD203B41FA5}">
                      <a16:colId xmlns:a16="http://schemas.microsoft.com/office/drawing/2014/main" val="3242997630"/>
                    </a:ext>
                  </a:extLst>
                </a:gridCol>
              </a:tblGrid>
              <a:tr h="1463040">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it-IT" sz="2800" err="1"/>
                        <a:t>Materials</a:t>
                      </a:r>
                      <a:r>
                        <a:rPr lang="it-IT" sz="2800"/>
                        <a:t> </a:t>
                      </a:r>
                      <a:r>
                        <a:rPr lang="it-IT" sz="2800" err="1"/>
                        <a:t>injected</a:t>
                      </a:r>
                      <a:endParaRPr lang="en-US" sz="2800"/>
                    </a:p>
                  </a:txBody>
                  <a:tcPr marL="182880" marR="182880" marT="91440" marB="9144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it-IT" sz="2800" err="1"/>
                        <a:t>Specific</a:t>
                      </a:r>
                      <a:r>
                        <a:rPr lang="it-IT" sz="2800"/>
                        <a:t> </a:t>
                      </a:r>
                      <a:r>
                        <a:rPr lang="it-IT" sz="2800" err="1"/>
                        <a:t>fossil</a:t>
                      </a:r>
                      <a:endParaRPr lang="it-IT" sz="2800"/>
                    </a:p>
                    <a:p>
                      <a:pPr algn="ctr"/>
                      <a:r>
                        <a:rPr lang="it-IT" sz="2800"/>
                        <a:t>CO2 </a:t>
                      </a:r>
                      <a:r>
                        <a:rPr lang="it-IT" sz="2800" err="1"/>
                        <a:t>reduction</a:t>
                      </a:r>
                      <a:endParaRPr lang="en-US" sz="2800"/>
                    </a:p>
                  </a:txBody>
                  <a:tcPr marL="182880" marR="182880" marT="91440" marB="9144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it-IT" sz="2800" err="1"/>
                        <a:t>Specific</a:t>
                      </a:r>
                      <a:r>
                        <a:rPr lang="it-IT" sz="2800"/>
                        <a:t> </a:t>
                      </a:r>
                    </a:p>
                    <a:p>
                      <a:pPr algn="ctr"/>
                      <a:r>
                        <a:rPr lang="it-IT" sz="2800"/>
                        <a:t>Fossil </a:t>
                      </a:r>
                      <a:r>
                        <a:rPr lang="it-IT" sz="2800" err="1"/>
                        <a:t>fuel</a:t>
                      </a:r>
                      <a:r>
                        <a:rPr lang="it-IT" sz="2800"/>
                        <a:t> </a:t>
                      </a:r>
                      <a:r>
                        <a:rPr lang="it-IT" sz="2800" err="1"/>
                        <a:t>reduction</a:t>
                      </a:r>
                      <a:endParaRPr lang="en-US" sz="2800"/>
                    </a:p>
                  </a:txBody>
                  <a:tcPr marL="182880" marR="182880" marT="91440" marB="9144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it-IT" sz="2800" err="1"/>
                        <a:t>Forecasted</a:t>
                      </a:r>
                      <a:r>
                        <a:rPr lang="it-IT" sz="2800"/>
                        <a:t> </a:t>
                      </a:r>
                      <a:r>
                        <a:rPr lang="it-IT" sz="2800" err="1"/>
                        <a:t>percentage</a:t>
                      </a:r>
                      <a:r>
                        <a:rPr lang="it-IT" sz="2800"/>
                        <a:t> of </a:t>
                      </a:r>
                      <a:r>
                        <a:rPr lang="it-IT" sz="2800" err="1"/>
                        <a:t>anthracite</a:t>
                      </a:r>
                      <a:r>
                        <a:rPr lang="it-IT" sz="2800"/>
                        <a:t> </a:t>
                      </a:r>
                      <a:r>
                        <a:rPr lang="it-IT" sz="2800" err="1"/>
                        <a:t>substituted</a:t>
                      </a:r>
                      <a:endParaRPr lang="en-US" sz="2800"/>
                    </a:p>
                  </a:txBody>
                  <a:tcPr marL="182880" marR="182880" marT="91440" marB="9144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25325334"/>
                  </a:ext>
                </a:extLst>
              </a:tr>
              <a:tr h="548640">
                <a:tc>
                  <a:txBody>
                    <a:bodyPr/>
                    <a:lstStyle/>
                    <a:p>
                      <a:pPr algn="ctr"/>
                      <a:r>
                        <a:rPr lang="it-IT" sz="2400" kern="1200">
                          <a:solidFill>
                            <a:srgbClr val="00358E"/>
                          </a:solidFill>
                          <a:latin typeface="Univers"/>
                          <a:ea typeface="+mn-ea"/>
                          <a:cs typeface="Calibri" panose="020F0502020204030204"/>
                        </a:rPr>
                        <a:t>Anthracite + Tire Grain</a:t>
                      </a:r>
                      <a:endParaRPr lang="en-US" sz="2400" kern="1200">
                        <a:solidFill>
                          <a:srgbClr val="00358E"/>
                        </a:solidFill>
                        <a:latin typeface="Univers"/>
                        <a:ea typeface="+mn-ea"/>
                        <a:cs typeface="Calibri" panose="020F0502020204030204"/>
                      </a:endParaRPr>
                    </a:p>
                  </a:txBody>
                  <a:tcPr marL="182880" marR="182880" marT="91440" marB="9144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r>
                        <a:rPr lang="it-IT" sz="2400" kern="1200">
                          <a:solidFill>
                            <a:srgbClr val="00358E"/>
                          </a:solidFill>
                          <a:latin typeface="Univers"/>
                          <a:ea typeface="+mn-ea"/>
                          <a:cs typeface="Calibri" panose="020F0502020204030204"/>
                        </a:rPr>
                        <a:t>0,6 kg</a:t>
                      </a:r>
                      <a:r>
                        <a:rPr lang="it-IT" sz="2400" kern="1200" baseline="-25000">
                          <a:solidFill>
                            <a:srgbClr val="00358E"/>
                          </a:solidFill>
                          <a:latin typeface="Univers"/>
                          <a:ea typeface="+mn-ea"/>
                          <a:cs typeface="Calibri" panose="020F0502020204030204"/>
                        </a:rPr>
                        <a:t>CO2</a:t>
                      </a:r>
                      <a:r>
                        <a:rPr lang="it-IT" sz="2400" kern="1200">
                          <a:solidFill>
                            <a:srgbClr val="00358E"/>
                          </a:solidFill>
                          <a:latin typeface="Univers"/>
                          <a:ea typeface="+mn-ea"/>
                          <a:cs typeface="Calibri" panose="020F0502020204030204"/>
                        </a:rPr>
                        <a:t>/</a:t>
                      </a:r>
                      <a:r>
                        <a:rPr lang="it-IT" sz="2400" kern="1200" err="1">
                          <a:solidFill>
                            <a:srgbClr val="00358E"/>
                          </a:solidFill>
                          <a:latin typeface="Univers"/>
                          <a:ea typeface="+mn-ea"/>
                          <a:cs typeface="Calibri" panose="020F0502020204030204"/>
                        </a:rPr>
                        <a:t>t</a:t>
                      </a:r>
                      <a:r>
                        <a:rPr lang="it-IT" sz="2400" kern="1200" baseline="-25000" err="1">
                          <a:solidFill>
                            <a:srgbClr val="00358E"/>
                          </a:solidFill>
                          <a:latin typeface="Univers"/>
                          <a:ea typeface="+mn-ea"/>
                          <a:cs typeface="Calibri" panose="020F0502020204030204"/>
                        </a:rPr>
                        <a:t>steel</a:t>
                      </a:r>
                      <a:endParaRPr lang="en-US" sz="2400" kern="1200">
                        <a:solidFill>
                          <a:srgbClr val="00358E"/>
                        </a:solidFill>
                        <a:latin typeface="Univers"/>
                        <a:ea typeface="+mn-ea"/>
                        <a:cs typeface="Calibri" panose="020F0502020204030204"/>
                      </a:endParaRPr>
                    </a:p>
                  </a:txBody>
                  <a:tcPr marL="182880" marR="182880" marT="91440" marB="9144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r>
                        <a:rPr lang="it-IT" sz="2400" kern="1200">
                          <a:solidFill>
                            <a:srgbClr val="00358E"/>
                          </a:solidFill>
                          <a:latin typeface="Univers"/>
                          <a:ea typeface="+mn-ea"/>
                          <a:cs typeface="Calibri" panose="020F0502020204030204"/>
                        </a:rPr>
                        <a:t>880 t</a:t>
                      </a:r>
                      <a:r>
                        <a:rPr lang="it-IT" sz="2400" kern="1200" baseline="-25000">
                          <a:solidFill>
                            <a:srgbClr val="00358E"/>
                          </a:solidFill>
                          <a:latin typeface="Univers"/>
                          <a:ea typeface="+mn-ea"/>
                          <a:cs typeface="Calibri" panose="020F0502020204030204"/>
                        </a:rPr>
                        <a:t>CO2</a:t>
                      </a:r>
                      <a:r>
                        <a:rPr lang="it-IT" sz="2400" kern="1200">
                          <a:solidFill>
                            <a:srgbClr val="00358E"/>
                          </a:solidFill>
                          <a:latin typeface="Univers"/>
                          <a:ea typeface="+mn-ea"/>
                          <a:cs typeface="Calibri" panose="020F0502020204030204"/>
                        </a:rPr>
                        <a:t>/y</a:t>
                      </a:r>
                      <a:endParaRPr lang="en-US" sz="2400" kern="1200">
                        <a:solidFill>
                          <a:srgbClr val="00358E"/>
                        </a:solidFill>
                        <a:latin typeface="Univers"/>
                        <a:ea typeface="+mn-ea"/>
                        <a:cs typeface="Calibri" panose="020F0502020204030204"/>
                      </a:endParaRPr>
                    </a:p>
                  </a:txBody>
                  <a:tcPr marL="182880" marR="182880" marT="91440" marB="9144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r>
                        <a:rPr lang="it-IT" sz="2400" kern="1200">
                          <a:solidFill>
                            <a:srgbClr val="00358E"/>
                          </a:solidFill>
                          <a:latin typeface="Univers"/>
                          <a:ea typeface="+mn-ea"/>
                          <a:cs typeface="Calibri" panose="020F0502020204030204"/>
                        </a:rPr>
                        <a:t>20 %</a:t>
                      </a:r>
                      <a:endParaRPr lang="en-US" sz="2400" kern="1200">
                        <a:solidFill>
                          <a:srgbClr val="00358E"/>
                        </a:solidFill>
                        <a:latin typeface="Univers"/>
                        <a:ea typeface="+mn-ea"/>
                        <a:cs typeface="Calibri" panose="020F0502020204030204"/>
                      </a:endParaRPr>
                    </a:p>
                  </a:txBody>
                  <a:tcPr marL="182880" marR="182880" marT="91440" marB="9144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97851775"/>
                  </a:ext>
                </a:extLst>
              </a:tr>
              <a:tr h="548640">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it-IT" sz="2400" kern="1200">
                          <a:solidFill>
                            <a:srgbClr val="00358E"/>
                          </a:solidFill>
                          <a:latin typeface="Univers"/>
                          <a:ea typeface="+mn-ea"/>
                          <a:cs typeface="Calibri" panose="020F0502020204030204"/>
                        </a:rPr>
                        <a:t>Anthracite</a:t>
                      </a:r>
                      <a:r>
                        <a:rPr lang="en-US" sz="2400" kern="1200">
                          <a:solidFill>
                            <a:srgbClr val="00358E"/>
                          </a:solidFill>
                          <a:latin typeface="Univers"/>
                          <a:ea typeface="+mn-ea"/>
                          <a:cs typeface="Calibri" panose="020F0502020204030204"/>
                        </a:rPr>
                        <a:t> + Biochar</a:t>
                      </a:r>
                    </a:p>
                  </a:txBody>
                  <a:tcPr marL="182880" marR="182880" marT="91440" marB="9144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r>
                        <a:rPr lang="it-IT" sz="2400" kern="1200">
                          <a:solidFill>
                            <a:srgbClr val="00358E"/>
                          </a:solidFill>
                          <a:latin typeface="Univers"/>
                          <a:ea typeface="+mn-ea"/>
                          <a:cs typeface="Calibri" panose="020F0502020204030204"/>
                        </a:rPr>
                        <a:t>3,0 kg</a:t>
                      </a:r>
                      <a:r>
                        <a:rPr lang="it-IT" sz="2400" kern="1200" baseline="-25000">
                          <a:solidFill>
                            <a:srgbClr val="00358E"/>
                          </a:solidFill>
                          <a:latin typeface="Univers"/>
                          <a:ea typeface="+mn-ea"/>
                          <a:cs typeface="Calibri" panose="020F0502020204030204"/>
                        </a:rPr>
                        <a:t>CO2</a:t>
                      </a:r>
                      <a:r>
                        <a:rPr lang="it-IT" sz="2400" kern="1200">
                          <a:solidFill>
                            <a:srgbClr val="00358E"/>
                          </a:solidFill>
                          <a:latin typeface="Univers"/>
                          <a:ea typeface="+mn-ea"/>
                          <a:cs typeface="Calibri" panose="020F0502020204030204"/>
                        </a:rPr>
                        <a:t>/</a:t>
                      </a:r>
                      <a:r>
                        <a:rPr lang="it-IT" sz="2400" kern="1200" err="1">
                          <a:solidFill>
                            <a:srgbClr val="00358E"/>
                          </a:solidFill>
                          <a:latin typeface="Univers"/>
                          <a:ea typeface="+mn-ea"/>
                          <a:cs typeface="Calibri" panose="020F0502020204030204"/>
                        </a:rPr>
                        <a:t>t</a:t>
                      </a:r>
                      <a:r>
                        <a:rPr lang="it-IT" sz="2400" kern="1200" baseline="-25000" err="1">
                          <a:solidFill>
                            <a:srgbClr val="00358E"/>
                          </a:solidFill>
                          <a:latin typeface="Univers"/>
                          <a:ea typeface="+mn-ea"/>
                          <a:cs typeface="Calibri" panose="020F0502020204030204"/>
                        </a:rPr>
                        <a:t>steel</a:t>
                      </a:r>
                      <a:endParaRPr lang="en-US" sz="2400" kern="1200">
                        <a:solidFill>
                          <a:srgbClr val="00358E"/>
                        </a:solidFill>
                        <a:latin typeface="Univers"/>
                        <a:ea typeface="+mn-ea"/>
                        <a:cs typeface="Calibri" panose="020F0502020204030204"/>
                      </a:endParaRPr>
                    </a:p>
                  </a:txBody>
                  <a:tcPr marL="182880" marR="182880" marT="91440" marB="9144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lang="it-IT" sz="2400" kern="1200">
                          <a:solidFill>
                            <a:srgbClr val="00358E"/>
                          </a:solidFill>
                          <a:latin typeface="Univers"/>
                          <a:ea typeface="+mn-ea"/>
                          <a:cs typeface="Calibri" panose="020F0502020204030204"/>
                        </a:rPr>
                        <a:t>4’500 t</a:t>
                      </a:r>
                      <a:r>
                        <a:rPr lang="it-IT" sz="2400" kern="1200" baseline="-25000">
                          <a:solidFill>
                            <a:srgbClr val="00358E"/>
                          </a:solidFill>
                          <a:latin typeface="Univers"/>
                          <a:ea typeface="+mn-ea"/>
                          <a:cs typeface="Calibri" panose="020F0502020204030204"/>
                        </a:rPr>
                        <a:t>CO2</a:t>
                      </a:r>
                      <a:r>
                        <a:rPr lang="it-IT" sz="2400" kern="1200">
                          <a:solidFill>
                            <a:srgbClr val="00358E"/>
                          </a:solidFill>
                          <a:latin typeface="Univers"/>
                          <a:ea typeface="+mn-ea"/>
                          <a:cs typeface="Calibri" panose="020F0502020204030204"/>
                        </a:rPr>
                        <a:t>/y</a:t>
                      </a:r>
                      <a:endParaRPr lang="en-US" sz="2400" kern="1200">
                        <a:solidFill>
                          <a:srgbClr val="00358E"/>
                        </a:solidFill>
                        <a:latin typeface="Univers"/>
                        <a:ea typeface="+mn-ea"/>
                        <a:cs typeface="Calibri" panose="020F0502020204030204"/>
                      </a:endParaRPr>
                    </a:p>
                  </a:txBody>
                  <a:tcPr marL="182880" marR="182880" marT="91440" marB="9144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r>
                        <a:rPr lang="it-IT" sz="2400" kern="1200" dirty="0">
                          <a:solidFill>
                            <a:srgbClr val="00358E"/>
                          </a:solidFill>
                          <a:latin typeface="Univers"/>
                          <a:ea typeface="+mn-ea"/>
                          <a:cs typeface="Calibri" panose="020F0502020204030204"/>
                        </a:rPr>
                        <a:t>30 %</a:t>
                      </a:r>
                      <a:endParaRPr lang="en-US" sz="2400" kern="1200" dirty="0">
                        <a:solidFill>
                          <a:srgbClr val="00358E"/>
                        </a:solidFill>
                        <a:latin typeface="Univers"/>
                        <a:ea typeface="+mn-ea"/>
                        <a:cs typeface="Calibri" panose="020F0502020204030204"/>
                      </a:endParaRPr>
                    </a:p>
                  </a:txBody>
                  <a:tcPr marL="182880" marR="182880" marT="91440" marB="9144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84049922"/>
                  </a:ext>
                </a:extLst>
              </a:tr>
            </a:tbl>
          </a:graphicData>
        </a:graphic>
      </p:graphicFrame>
    </p:spTree>
    <p:extLst>
      <p:ext uri="{BB962C8B-B14F-4D97-AF65-F5344CB8AC3E}">
        <p14:creationId xmlns:p14="http://schemas.microsoft.com/office/powerpoint/2010/main" val="1048300833"/>
      </p:ext>
    </p:extLst>
  </p:cSld>
  <p:clrMapOvr>
    <a:masterClrMapping/>
  </p:clrMapOvr>
  <mc:AlternateContent xmlns:mc="http://schemas.openxmlformats.org/markup-compatibility/2006" xmlns:p14="http://schemas.microsoft.com/office/powerpoint/2010/main">
    <mc:Choice Requires="p14">
      <p:transition spd="slow" p14:dur="2000" advTm="83130"/>
    </mc:Choice>
    <mc:Fallback xmlns="">
      <p:transition spd="slow" advTm="83130"/>
    </mc:Fallback>
  </mc:AlternateContent>
</p:sld>
</file>

<file path=ppt/slides/slide194.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extruta 1">
            <a:extLst>
              <a:ext uri="{FF2B5EF4-FFF2-40B4-BE49-F238E27FC236}">
                <a16:creationId xmlns:a16="http://schemas.microsoft.com/office/drawing/2014/main" id="{CCE47E9F-CA6B-B8EB-E10E-1C31F83F3916}"/>
              </a:ext>
            </a:extLst>
          </p:cNvPr>
          <p:cNvSpPr txBox="1"/>
          <p:nvPr/>
        </p:nvSpPr>
        <p:spPr>
          <a:xfrm>
            <a:off x="3181350" y="3695700"/>
            <a:ext cx="13011150" cy="2215991"/>
          </a:xfrm>
          <a:prstGeom prst="rect">
            <a:avLst/>
          </a:prstGeom>
          <a:noFill/>
        </p:spPr>
        <p:txBody>
          <a:bodyPr wrap="square" rtlCol="0">
            <a:spAutoFit/>
          </a:bodyPr>
          <a:lstStyle/>
          <a:p>
            <a:r>
              <a:rPr lang="sv-SE" sz="13800" dirty="0" err="1">
                <a:solidFill>
                  <a:schemeClr val="bg1"/>
                </a:solidFill>
              </a:rPr>
              <a:t>Tenaris-Silcotub</a:t>
            </a:r>
            <a:endParaRPr lang="sv-SE" sz="13800" dirty="0">
              <a:solidFill>
                <a:schemeClr val="bg1"/>
              </a:solidFill>
            </a:endParaRPr>
          </a:p>
        </p:txBody>
      </p:sp>
    </p:spTree>
    <p:extLst>
      <p:ext uri="{BB962C8B-B14F-4D97-AF65-F5344CB8AC3E}">
        <p14:creationId xmlns:p14="http://schemas.microsoft.com/office/powerpoint/2010/main" val="430282693"/>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6FB10D54-872A-4321-A299-5E7A8C17CAF5}"/>
              </a:ext>
            </a:extLst>
          </p:cNvPr>
          <p:cNvPicPr>
            <a:picLocks noChangeAspect="1"/>
          </p:cNvPicPr>
          <p:nvPr/>
        </p:nvPicPr>
        <p:blipFill rotWithShape="1">
          <a:blip r:embed="rId3">
            <a:alphaModFix amt="20000"/>
          </a:blip>
          <a:srcRect t="23260" b="17641"/>
          <a:stretch/>
        </p:blipFill>
        <p:spPr>
          <a:xfrm>
            <a:off x="287989" y="3226852"/>
            <a:ext cx="17729859" cy="5668432"/>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6"/>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4"/>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marL="0" marR="0" lvl="0" indent="0" algn="ctr" defTabSz="914400" rtl="0" eaLnBrk="1" fontAlgn="auto" latinLnBrk="0" hangingPunct="1">
                <a:lnSpc>
                  <a:spcPts val="3919"/>
                </a:lnSpc>
                <a:spcBef>
                  <a:spcPct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OCR A Extended" panose="02010509020102010303" pitchFamily="50" charset="0"/>
                  <a:ea typeface="+mn-ea"/>
                  <a:cs typeface="+mn-cs"/>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5"/>
          <a:srcRect/>
          <a:stretch>
            <a:fillRect/>
          </a:stretch>
        </p:blipFill>
        <p:spPr>
          <a:xfrm>
            <a:off x="0" y="8901113"/>
            <a:ext cx="5715000" cy="1385887"/>
          </a:xfrm>
          <a:prstGeom prst="rect">
            <a:avLst/>
          </a:prstGeom>
        </p:spPr>
      </p:pic>
      <p:grpSp>
        <p:nvGrpSpPr>
          <p:cNvPr id="2" name="Gruppo 1">
            <a:extLst>
              <a:ext uri="{FF2B5EF4-FFF2-40B4-BE49-F238E27FC236}">
                <a16:creationId xmlns:a16="http://schemas.microsoft.com/office/drawing/2014/main" id="{D8D71BB5-458F-411D-AFA9-C648954E9F40}"/>
              </a:ext>
            </a:extLst>
          </p:cNvPr>
          <p:cNvGrpSpPr/>
          <p:nvPr/>
        </p:nvGrpSpPr>
        <p:grpSpPr>
          <a:xfrm>
            <a:off x="-12" y="138554"/>
            <a:ext cx="18288002" cy="681138"/>
            <a:chOff x="-12" y="138554"/>
            <a:chExt cx="18288002" cy="681138"/>
          </a:xfrm>
        </p:grpSpPr>
        <p:grpSp>
          <p:nvGrpSpPr>
            <p:cNvPr id="16" name="Gruppo 15">
              <a:extLst>
                <a:ext uri="{FF2B5EF4-FFF2-40B4-BE49-F238E27FC236}">
                  <a16:creationId xmlns:a16="http://schemas.microsoft.com/office/drawing/2014/main" id="{DAC42A46-917D-41AB-8F07-E15E54D0F7D4}"/>
                </a:ext>
              </a:extLst>
            </p:cNvPr>
            <p:cNvGrpSpPr/>
            <p:nvPr/>
          </p:nvGrpSpPr>
          <p:grpSpPr>
            <a:xfrm>
              <a:off x="0" y="153125"/>
              <a:ext cx="13958844" cy="666567"/>
              <a:chOff x="0" y="153125"/>
              <a:chExt cx="13958844" cy="666567"/>
            </a:xfrm>
          </p:grpSpPr>
          <p:pic>
            <p:nvPicPr>
              <p:cNvPr id="10" name="Picture 10"/>
              <p:cNvPicPr>
                <a:picLocks noChangeAspect="1"/>
              </p:cNvPicPr>
              <p:nvPr/>
            </p:nvPicPr>
            <p:blipFill>
              <a:blip r:embed="rId6"/>
              <a:srcRect l="134" t="91287" b="3943"/>
              <a:stretch>
                <a:fillRect/>
              </a:stretch>
            </p:blipFill>
            <p:spPr>
              <a:xfrm>
                <a:off x="0" y="153125"/>
                <a:ext cx="13958844" cy="666567"/>
              </a:xfrm>
              <a:prstGeom prst="rect">
                <a:avLst/>
              </a:prstGeom>
            </p:spPr>
          </p:pic>
          <p:sp>
            <p:nvSpPr>
              <p:cNvPr id="11" name="TextBox 11"/>
              <p:cNvSpPr txBox="1"/>
              <p:nvPr/>
            </p:nvSpPr>
            <p:spPr>
              <a:xfrm>
                <a:off x="228600" y="257980"/>
                <a:ext cx="5752704" cy="456856"/>
              </a:xfrm>
              <a:prstGeom prst="rect">
                <a:avLst/>
              </a:prstGeom>
            </p:spPr>
            <p:txBody>
              <a:bodyPr wrap="square" lIns="0" tIns="0" rIns="0" bIns="0" rtlCol="0" anchor="t">
                <a:spAutoFit/>
              </a:bodyPr>
              <a:lstStyle/>
              <a:p>
                <a:pPr marL="0" marR="0" lvl="0" indent="0" algn="l" defTabSz="914400" rtl="0" eaLnBrk="1" fontAlgn="auto" latinLnBrk="0" hangingPunct="1">
                  <a:lnSpc>
                    <a:spcPts val="3919"/>
                  </a:lnSpc>
                  <a:spcBef>
                    <a:spcPct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2" name="Rettangolo 11">
              <a:extLst>
                <a:ext uri="{FF2B5EF4-FFF2-40B4-BE49-F238E27FC236}">
                  <a16:creationId xmlns:a16="http://schemas.microsoft.com/office/drawing/2014/main" id="{F2E90E36-F5DF-479E-BF3B-C6F6A1CEA4E7}"/>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9" name="TextBox 14">
            <a:extLst>
              <a:ext uri="{FF2B5EF4-FFF2-40B4-BE49-F238E27FC236}">
                <a16:creationId xmlns:a16="http://schemas.microsoft.com/office/drawing/2014/main" id="{B5C457C5-5E6A-4DD1-9F95-583C431D5128}"/>
              </a:ext>
            </a:extLst>
          </p:cNvPr>
          <p:cNvSpPr txBox="1"/>
          <p:nvPr/>
        </p:nvSpPr>
        <p:spPr>
          <a:xfrm rot="-10800000" flipV="1">
            <a:off x="890636" y="4739710"/>
            <a:ext cx="7162789" cy="3939540"/>
          </a:xfrm>
          <a:prstGeom prst="rect">
            <a:avLst/>
          </a:prstGeom>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
                <a:srgbClr val="CC0033"/>
              </a:buClr>
              <a:buSzTx/>
              <a:buFontTx/>
              <a:buNone/>
              <a:tabLst/>
              <a:defRPr/>
            </a:pPr>
            <a:r>
              <a:rPr kumimoji="0" lang="en-US" sz="3200" b="1" i="0" u="none" strike="noStrike" kern="1200" cap="none" spc="0" normalizeH="0" baseline="0" noProof="0">
                <a:ln>
                  <a:noFill/>
                </a:ln>
                <a:solidFill>
                  <a:srgbClr val="CC0033"/>
                </a:solidFill>
                <a:effectLst/>
                <a:uLnTx/>
                <a:uFillTx/>
                <a:latin typeface="Arial"/>
                <a:ea typeface="+mn-ea"/>
                <a:cs typeface="+mn-cs"/>
              </a:rPr>
              <a:t>Retrofitting actions SILCOTUB</a:t>
            </a:r>
            <a:endParaRPr kumimoji="0" lang="en-US" sz="1800" b="0" i="0" u="none" strike="noStrike" kern="1200" cap="none" spc="0" normalizeH="0" baseline="0" noProof="0">
              <a:ln>
                <a:noFill/>
              </a:ln>
              <a:solidFill>
                <a:srgbClr val="CC0033"/>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
                <a:srgbClr val="CC0033"/>
              </a:buClr>
              <a:buSzTx/>
              <a:buFontTx/>
              <a:buNone/>
              <a:tabLst/>
              <a:defRPr/>
            </a:pPr>
            <a:endParaRPr kumimoji="0" lang="en-US" sz="3200" b="1" i="0" u="none" strike="noStrike" kern="1200" cap="none" spc="0" normalizeH="0" baseline="0" noProof="0">
              <a:ln>
                <a:noFill/>
              </a:ln>
              <a:solidFill>
                <a:srgbClr val="CC0033"/>
              </a:solidFill>
              <a:effectLst/>
              <a:uLnTx/>
              <a:uFillTx/>
              <a:latin typeface="Arial"/>
              <a:ea typeface="+mn-ea"/>
              <a:cs typeface="+mn-cs"/>
            </a:endParaRPr>
          </a:p>
          <a:p>
            <a:pPr marL="457200" marR="0" lvl="0" indent="-457200" algn="l" defTabSz="914400" rtl="0" eaLnBrk="1" fontAlgn="auto" latinLnBrk="0" hangingPunct="1">
              <a:lnSpc>
                <a:spcPct val="100000"/>
              </a:lnSpc>
              <a:spcBef>
                <a:spcPts val="0"/>
              </a:spcBef>
              <a:spcAft>
                <a:spcPts val="0"/>
              </a:spcAft>
              <a:buClr>
                <a:srgbClr val="CC0033"/>
              </a:buClr>
              <a:buSzTx/>
              <a:buFont typeface="Wingdings" panose="05000000000000000000" pitchFamily="2" charset="2"/>
              <a:buChar char="ü"/>
              <a:tabLst/>
              <a:defRPr/>
            </a:pPr>
            <a:r>
              <a:rPr kumimoji="0" lang="en-US" sz="3200" b="1" i="0" u="none" strike="noStrike" kern="1200" cap="none" spc="0" normalizeH="0" baseline="0" noProof="0">
                <a:ln>
                  <a:noFill/>
                </a:ln>
                <a:solidFill>
                  <a:srgbClr val="2F2F2F"/>
                </a:solidFill>
                <a:effectLst/>
                <a:uLnTx/>
                <a:uFillTx/>
                <a:latin typeface="Arial"/>
                <a:ea typeface="+mn-ea"/>
                <a:cs typeface="+mn-cs"/>
              </a:rPr>
              <a:t>Feeding injection system </a:t>
            </a:r>
            <a:endParaRPr kumimoji="0" lang="en-US" sz="3200" b="1" i="0" u="none" strike="noStrike" kern="1200" cap="none" spc="0" normalizeH="0" baseline="0" noProof="0">
              <a:ln>
                <a:noFill/>
              </a:ln>
              <a:solidFill>
                <a:srgbClr val="2F2F2F"/>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
                <a:srgbClr val="CC0033"/>
              </a:buClr>
              <a:buSzTx/>
              <a:buFontTx/>
              <a:buNone/>
              <a:tabLst/>
              <a:defRPr/>
            </a:pPr>
            <a:endParaRPr kumimoji="0" lang="en-US" sz="3200" b="1" i="0" u="none" strike="noStrike" kern="1200" cap="none" spc="0" normalizeH="0" baseline="0" noProof="0">
              <a:ln>
                <a:noFill/>
              </a:ln>
              <a:solidFill>
                <a:srgbClr val="CC0033"/>
              </a:solidFill>
              <a:effectLst/>
              <a:uLnTx/>
              <a:uFillTx/>
              <a:latin typeface="Arial"/>
              <a:ea typeface="+mn-ea"/>
              <a:cs typeface="+mn-cs"/>
            </a:endParaRPr>
          </a:p>
          <a:p>
            <a:pPr marL="457200" marR="0" lvl="0" indent="-457200" algn="l" defTabSz="914400" rtl="0" eaLnBrk="1" fontAlgn="auto" latinLnBrk="0" hangingPunct="1">
              <a:lnSpc>
                <a:spcPct val="100000"/>
              </a:lnSpc>
              <a:spcBef>
                <a:spcPts val="0"/>
              </a:spcBef>
              <a:spcAft>
                <a:spcPts val="0"/>
              </a:spcAft>
              <a:buClr>
                <a:srgbClr val="CC0033"/>
              </a:buClr>
              <a:buSzTx/>
              <a:buFont typeface="Wingdings" panose="05000000000000000000" pitchFamily="2" charset="2"/>
              <a:buChar char="ü"/>
              <a:tabLst/>
              <a:defRPr/>
            </a:pPr>
            <a:endParaRPr kumimoji="0" lang="en-US" sz="3200" b="1" i="0" u="none" strike="noStrike" kern="1200" cap="none" spc="0" normalizeH="0" baseline="0" noProof="0">
              <a:ln>
                <a:noFill/>
              </a:ln>
              <a:solidFill>
                <a:srgbClr val="CC0033"/>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
                <a:srgbClr val="CC0033"/>
              </a:buClr>
              <a:buSzTx/>
              <a:buFontTx/>
              <a:buNone/>
              <a:tabLst/>
              <a:defRPr/>
            </a:pPr>
            <a:endParaRPr kumimoji="0" lang="en-US" sz="3200" b="1" i="0" u="none" strike="noStrike" kern="1200" cap="none" spc="0" normalizeH="0" baseline="0" noProof="0">
              <a:ln>
                <a:noFill/>
              </a:ln>
              <a:solidFill>
                <a:srgbClr val="CC0033"/>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
                <a:srgbClr val="CC0033"/>
              </a:buClr>
              <a:buSzTx/>
              <a:buFontTx/>
              <a:buNone/>
              <a:tabLst/>
              <a:defRPr/>
            </a:pPr>
            <a:endParaRPr kumimoji="0" lang="en-US" sz="3200" b="1" i="0" u="none" strike="noStrike" kern="1200" cap="none" spc="0" normalizeH="0" baseline="0" noProof="0">
              <a:ln>
                <a:noFill/>
              </a:ln>
              <a:solidFill>
                <a:srgbClr val="CC0033"/>
              </a:solidFill>
              <a:effectLst/>
              <a:uLnTx/>
              <a:uFillTx/>
              <a:latin typeface="Arial"/>
              <a:ea typeface="+mn-ea"/>
              <a:cs typeface="+mn-cs"/>
            </a:endParaRPr>
          </a:p>
          <a:p>
            <a:pPr marL="457200" marR="0" lvl="0" indent="-457200" algn="l" defTabSz="914400" rtl="0" eaLnBrk="1" fontAlgn="auto" latinLnBrk="0" hangingPunct="1">
              <a:lnSpc>
                <a:spcPct val="100000"/>
              </a:lnSpc>
              <a:spcBef>
                <a:spcPts val="0"/>
              </a:spcBef>
              <a:spcAft>
                <a:spcPts val="0"/>
              </a:spcAft>
              <a:buClr>
                <a:srgbClr val="CC0033"/>
              </a:buClr>
              <a:buSzTx/>
              <a:buFont typeface="Wingdings" panose="05000000000000000000" pitchFamily="2" charset="2"/>
              <a:buChar char="ü"/>
              <a:tabLst/>
              <a:defRPr/>
            </a:pPr>
            <a:endParaRPr kumimoji="0" lang="es-ES" sz="3200" b="1" i="0" u="none" strike="noStrike" kern="1200" cap="none" spc="0" normalizeH="0" baseline="0" noProof="0">
              <a:ln>
                <a:noFill/>
              </a:ln>
              <a:solidFill>
                <a:srgbClr val="2F2F2F"/>
              </a:solidFill>
              <a:effectLst/>
              <a:uLnTx/>
              <a:uFillTx/>
              <a:latin typeface="Arial"/>
              <a:ea typeface="+mn-ea"/>
              <a:cs typeface="+mn-cs"/>
            </a:endParaRPr>
          </a:p>
        </p:txBody>
      </p:sp>
      <p:sp>
        <p:nvSpPr>
          <p:cNvPr id="26" name="TextBox 14">
            <a:extLst>
              <a:ext uri="{FF2B5EF4-FFF2-40B4-BE49-F238E27FC236}">
                <a16:creationId xmlns:a16="http://schemas.microsoft.com/office/drawing/2014/main" id="{7D36EA49-80B0-4761-8A24-F05F322EAC77}"/>
              </a:ext>
            </a:extLst>
          </p:cNvPr>
          <p:cNvSpPr txBox="1"/>
          <p:nvPr/>
        </p:nvSpPr>
        <p:spPr>
          <a:xfrm>
            <a:off x="10234575" y="4099754"/>
            <a:ext cx="7162789" cy="3447098"/>
          </a:xfrm>
          <a:prstGeom prst="rect">
            <a:avLst/>
          </a:prstGeom>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
                <a:srgbClr val="F2F2F2"/>
              </a:buClr>
              <a:buSzTx/>
              <a:buFontTx/>
              <a:buNone/>
              <a:tabLst/>
              <a:defRPr/>
            </a:pPr>
            <a:r>
              <a:rPr kumimoji="0" lang="en-US" sz="3200" b="1" i="0" u="none" strike="noStrike" kern="1200" cap="none" spc="0" normalizeH="0" baseline="0" noProof="0">
                <a:ln>
                  <a:noFill/>
                </a:ln>
                <a:solidFill>
                  <a:srgbClr val="99CC99">
                    <a:lumMod val="75000"/>
                  </a:srgbClr>
                </a:solidFill>
                <a:effectLst/>
                <a:uLnTx/>
                <a:uFillTx/>
                <a:latin typeface="Arial"/>
                <a:ea typeface="+mn-ea"/>
                <a:cs typeface="+mn-cs"/>
              </a:rPr>
              <a:t>Goals</a:t>
            </a:r>
          </a:p>
          <a:p>
            <a:pPr marL="0" marR="0" lvl="0" indent="0" algn="l" defTabSz="914400" rtl="0" eaLnBrk="1" fontAlgn="auto" latinLnBrk="0" hangingPunct="1">
              <a:lnSpc>
                <a:spcPct val="100000"/>
              </a:lnSpc>
              <a:spcBef>
                <a:spcPts val="0"/>
              </a:spcBef>
              <a:spcAft>
                <a:spcPts val="0"/>
              </a:spcAft>
              <a:buClr>
                <a:srgbClr val="F2F2F2"/>
              </a:buClr>
              <a:buSzTx/>
              <a:buFontTx/>
              <a:buNone/>
              <a:tabLst/>
              <a:defRPr/>
            </a:pPr>
            <a:endParaRPr kumimoji="0" lang="en-US" sz="3200" b="1" i="0" u="none" strike="noStrike" kern="1200" cap="none" spc="0" normalizeH="0" baseline="0" noProof="0">
              <a:ln>
                <a:noFill/>
              </a:ln>
              <a:solidFill>
                <a:srgbClr val="2F2F2F"/>
              </a:solidFill>
              <a:effectLst/>
              <a:uLnTx/>
              <a:uFillTx/>
              <a:latin typeface="Arial"/>
              <a:ea typeface="+mn-ea"/>
              <a:cs typeface="+mn-cs"/>
            </a:endParaRPr>
          </a:p>
          <a:p>
            <a:pPr marL="457200" marR="0" lvl="0" indent="-457200" algn="l" defTabSz="914400" rtl="0" eaLnBrk="1" fontAlgn="auto" latinLnBrk="0" hangingPunct="1">
              <a:lnSpc>
                <a:spcPct val="100000"/>
              </a:lnSpc>
              <a:spcBef>
                <a:spcPts val="0"/>
              </a:spcBef>
              <a:spcAft>
                <a:spcPts val="0"/>
              </a:spcAft>
              <a:buClr>
                <a:srgbClr val="99CC99">
                  <a:lumMod val="75000"/>
                </a:srgbClr>
              </a:buClr>
              <a:buSzTx/>
              <a:buFont typeface="Wingdings" panose="05000000000000000000" pitchFamily="2" charset="2"/>
              <a:buChar char="ü"/>
              <a:tabLst/>
              <a:defRPr/>
            </a:pPr>
            <a:r>
              <a:rPr kumimoji="0" lang="en-US" sz="3200" b="1" i="0" u="none" strike="noStrike" kern="1200" cap="none" spc="0" normalizeH="0" baseline="0" noProof="0">
                <a:ln>
                  <a:noFill/>
                </a:ln>
                <a:solidFill>
                  <a:srgbClr val="2F2F2F"/>
                </a:solidFill>
                <a:effectLst/>
                <a:uLnTx/>
                <a:uFillTx/>
                <a:latin typeface="Arial"/>
                <a:ea typeface="+mn-ea"/>
                <a:cs typeface="+mn-cs"/>
              </a:rPr>
              <a:t>Reduction of GHG emissions </a:t>
            </a:r>
          </a:p>
          <a:p>
            <a:pPr marL="457200" marR="0" lvl="0" indent="-457200" algn="l" defTabSz="914400" rtl="0" eaLnBrk="1" fontAlgn="auto" latinLnBrk="0" hangingPunct="1">
              <a:lnSpc>
                <a:spcPct val="100000"/>
              </a:lnSpc>
              <a:spcBef>
                <a:spcPts val="0"/>
              </a:spcBef>
              <a:spcAft>
                <a:spcPts val="0"/>
              </a:spcAft>
              <a:buClr>
                <a:srgbClr val="99CC99"/>
              </a:buClr>
              <a:buSzTx/>
              <a:buFont typeface="Wingdings" panose="05000000000000000000" pitchFamily="2" charset="2"/>
              <a:buChar char="ü"/>
              <a:tabLst/>
              <a:defRPr/>
            </a:pPr>
            <a:endParaRPr kumimoji="0" lang="en-US" sz="3200" b="1" i="0" u="none" strike="noStrike" kern="1200" cap="none" spc="0" normalizeH="0" baseline="0" noProof="0">
              <a:ln>
                <a:noFill/>
              </a:ln>
              <a:solidFill>
                <a:srgbClr val="2F2F2F"/>
              </a:solidFill>
              <a:effectLst/>
              <a:uLnTx/>
              <a:uFillTx/>
              <a:latin typeface="Arial"/>
              <a:ea typeface="+mn-ea"/>
              <a:cs typeface="+mn-cs"/>
            </a:endParaRPr>
          </a:p>
          <a:p>
            <a:pPr marL="457200" marR="0" lvl="0" indent="-457200" algn="l" defTabSz="914400" rtl="0" eaLnBrk="1" fontAlgn="auto" latinLnBrk="0" hangingPunct="1">
              <a:lnSpc>
                <a:spcPct val="100000"/>
              </a:lnSpc>
              <a:spcBef>
                <a:spcPts val="0"/>
              </a:spcBef>
              <a:spcAft>
                <a:spcPts val="0"/>
              </a:spcAft>
              <a:buClr>
                <a:srgbClr val="99CC99">
                  <a:lumMod val="75000"/>
                </a:srgbClr>
              </a:buClr>
              <a:buSzTx/>
              <a:buFont typeface="Wingdings" panose="05000000000000000000" pitchFamily="2" charset="2"/>
              <a:buChar char="ü"/>
              <a:tabLst/>
              <a:defRPr/>
            </a:pPr>
            <a:r>
              <a:rPr kumimoji="0" lang="en-US" sz="3200" b="1" i="0" u="none" strike="noStrike" kern="1200" cap="none" spc="0" normalizeH="0" baseline="0" noProof="0">
                <a:ln>
                  <a:noFill/>
                </a:ln>
                <a:solidFill>
                  <a:srgbClr val="2F2F2F"/>
                </a:solidFill>
                <a:effectLst/>
                <a:uLnTx/>
                <a:uFillTx/>
                <a:latin typeface="Arial"/>
                <a:ea typeface="+mn-ea"/>
                <a:cs typeface="+mn-cs"/>
              </a:rPr>
              <a:t>Use of alternative feedstock</a:t>
            </a:r>
          </a:p>
          <a:p>
            <a:pPr marL="0" marR="0" lvl="0" indent="0" algn="l" defTabSz="914400" rtl="0" eaLnBrk="1" fontAlgn="auto" latinLnBrk="0" hangingPunct="1">
              <a:lnSpc>
                <a:spcPct val="100000"/>
              </a:lnSpc>
              <a:spcBef>
                <a:spcPts val="0"/>
              </a:spcBef>
              <a:spcAft>
                <a:spcPts val="0"/>
              </a:spcAft>
              <a:buClr>
                <a:srgbClr val="99CC99">
                  <a:lumMod val="75000"/>
                </a:srgbClr>
              </a:buClr>
              <a:buSzTx/>
              <a:buFontTx/>
              <a:buNone/>
              <a:tabLst/>
              <a:defRPr/>
            </a:pPr>
            <a:endParaRPr kumimoji="0" lang="en-US" sz="3200" b="1" i="0" u="none" strike="noStrike" kern="1200" cap="none" spc="0" normalizeH="0" baseline="0" noProof="0">
              <a:ln>
                <a:noFill/>
              </a:ln>
              <a:solidFill>
                <a:srgbClr val="2F2F2F"/>
              </a:solidFill>
              <a:effectLst/>
              <a:uLnTx/>
              <a:uFillTx/>
              <a:latin typeface="Arial"/>
              <a:ea typeface="+mn-ea"/>
              <a:cs typeface="+mn-cs"/>
            </a:endParaRPr>
          </a:p>
          <a:p>
            <a:pPr marL="457200" marR="0" lvl="0" indent="-457200" algn="l" defTabSz="914400" rtl="0" eaLnBrk="1" fontAlgn="auto" latinLnBrk="0" hangingPunct="1">
              <a:lnSpc>
                <a:spcPct val="100000"/>
              </a:lnSpc>
              <a:spcBef>
                <a:spcPts val="0"/>
              </a:spcBef>
              <a:spcAft>
                <a:spcPts val="0"/>
              </a:spcAft>
              <a:buClr>
                <a:srgbClr val="99CC99">
                  <a:lumMod val="75000"/>
                </a:srgbClr>
              </a:buClr>
              <a:buSzTx/>
              <a:buFont typeface="Wingdings" panose="05000000000000000000" pitchFamily="2" charset="2"/>
              <a:buChar char="ü"/>
              <a:tabLst/>
              <a:defRPr/>
            </a:pPr>
            <a:r>
              <a:rPr kumimoji="0" lang="en-US" sz="3200" b="1" i="0" u="none" strike="noStrike" kern="1200" cap="none" spc="0" normalizeH="0" baseline="0" noProof="0">
                <a:ln>
                  <a:noFill/>
                </a:ln>
                <a:solidFill>
                  <a:srgbClr val="2F2F2F"/>
                </a:solidFill>
                <a:effectLst/>
                <a:uLnTx/>
                <a:uFillTx/>
                <a:latin typeface="Arial"/>
                <a:ea typeface="+mn-ea"/>
                <a:cs typeface="+mn-cs"/>
              </a:rPr>
              <a:t>M&amp;C system improvement</a:t>
            </a:r>
            <a:endParaRPr kumimoji="0" lang="es-ES" sz="3200" b="1" i="0" u="none" strike="noStrike" kern="1200" cap="none" spc="0" normalizeH="0" baseline="0" noProof="0">
              <a:ln>
                <a:noFill/>
              </a:ln>
              <a:solidFill>
                <a:srgbClr val="2F2F2F"/>
              </a:solidFill>
              <a:effectLst/>
              <a:uLnTx/>
              <a:uFillTx/>
              <a:latin typeface="Arial"/>
              <a:ea typeface="+mn-ea"/>
              <a:cs typeface="+mn-cs"/>
            </a:endParaRPr>
          </a:p>
        </p:txBody>
      </p:sp>
      <p:cxnSp>
        <p:nvCxnSpPr>
          <p:cNvPr id="22" name="Conector recto 21">
            <a:extLst>
              <a:ext uri="{FF2B5EF4-FFF2-40B4-BE49-F238E27FC236}">
                <a16:creationId xmlns:a16="http://schemas.microsoft.com/office/drawing/2014/main" id="{C1C13E5C-9B1F-4C49-A1A9-8711ED072063}"/>
              </a:ext>
            </a:extLst>
          </p:cNvPr>
          <p:cNvCxnSpPr>
            <a:cxnSpLocks/>
          </p:cNvCxnSpPr>
          <p:nvPr/>
        </p:nvCxnSpPr>
        <p:spPr>
          <a:xfrm>
            <a:off x="8915400" y="3226852"/>
            <a:ext cx="0" cy="2880000"/>
          </a:xfrm>
          <a:prstGeom prst="line">
            <a:avLst/>
          </a:prstGeom>
          <a:ln w="63500"/>
        </p:spPr>
        <p:style>
          <a:lnRef idx="1">
            <a:schemeClr val="accent1"/>
          </a:lnRef>
          <a:fillRef idx="0">
            <a:schemeClr val="accent1"/>
          </a:fillRef>
          <a:effectRef idx="0">
            <a:schemeClr val="accent1"/>
          </a:effectRef>
          <a:fontRef idx="minor">
            <a:schemeClr val="tx1"/>
          </a:fontRef>
        </p:style>
      </p:cxnSp>
      <p:cxnSp>
        <p:nvCxnSpPr>
          <p:cNvPr id="23" name="Conector recto 22">
            <a:extLst>
              <a:ext uri="{FF2B5EF4-FFF2-40B4-BE49-F238E27FC236}">
                <a16:creationId xmlns:a16="http://schemas.microsoft.com/office/drawing/2014/main" id="{F94BB75A-6E76-4134-ACE8-6F0CFB1646EA}"/>
              </a:ext>
            </a:extLst>
          </p:cNvPr>
          <p:cNvCxnSpPr>
            <a:cxnSpLocks/>
          </p:cNvCxnSpPr>
          <p:nvPr/>
        </p:nvCxnSpPr>
        <p:spPr>
          <a:xfrm>
            <a:off x="8915400" y="6106852"/>
            <a:ext cx="0" cy="2880000"/>
          </a:xfrm>
          <a:prstGeom prst="line">
            <a:avLst/>
          </a:prstGeom>
          <a:ln w="63500">
            <a:solidFill>
              <a:srgbClr val="99CC99"/>
            </a:solidFill>
          </a:ln>
        </p:spPr>
        <p:style>
          <a:lnRef idx="1">
            <a:schemeClr val="accent1"/>
          </a:lnRef>
          <a:fillRef idx="0">
            <a:schemeClr val="accent1"/>
          </a:fillRef>
          <a:effectRef idx="0">
            <a:schemeClr val="accent1"/>
          </a:effectRef>
          <a:fontRef idx="minor">
            <a:schemeClr val="tx1"/>
          </a:fontRef>
        </p:style>
      </p:cxnSp>
      <p:pic>
        <p:nvPicPr>
          <p:cNvPr id="5" name="Picture 2" descr="t_T_SB">
            <a:extLst>
              <a:ext uri="{FF2B5EF4-FFF2-40B4-BE49-F238E27FC236}">
                <a16:creationId xmlns:a16="http://schemas.microsoft.com/office/drawing/2014/main" id="{C5295790-22E7-37C4-937A-8DDDABAE1B34}"/>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3084865" y="978133"/>
            <a:ext cx="4951484" cy="678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13">
            <a:extLst>
              <a:ext uri="{FF2B5EF4-FFF2-40B4-BE49-F238E27FC236}">
                <a16:creationId xmlns:a16="http://schemas.microsoft.com/office/drawing/2014/main" id="{4CB0FBDA-0515-D072-FDE0-8C181533EF50}"/>
              </a:ext>
            </a:extLst>
          </p:cNvPr>
          <p:cNvSpPr txBox="1"/>
          <p:nvPr/>
        </p:nvSpPr>
        <p:spPr>
          <a:xfrm>
            <a:off x="1055761" y="797929"/>
            <a:ext cx="16194313" cy="1040798"/>
          </a:xfrm>
          <a:prstGeom prst="rect">
            <a:avLst/>
          </a:prstGeom>
        </p:spPr>
        <p:txBody>
          <a:bodyPr wrap="square" lIns="0" tIns="0" rIns="0" bIns="0" rtlCol="0" anchor="t">
            <a:spAutoFit/>
          </a:bodyPr>
          <a:lstStyle/>
          <a:p>
            <a:pPr marL="0" marR="0" lvl="0" indent="0" defTabSz="914400" rtl="0" eaLnBrk="1" fontAlgn="auto" latinLnBrk="0" hangingPunct="1">
              <a:lnSpc>
                <a:spcPts val="8960"/>
              </a:lnSpc>
              <a:spcBef>
                <a:spcPct val="0"/>
              </a:spcBef>
              <a:spcAft>
                <a:spcPts val="0"/>
              </a:spcAft>
              <a:buClrTx/>
              <a:buSzTx/>
              <a:buFontTx/>
              <a:buNone/>
              <a:tabLst/>
              <a:defRPr/>
            </a:pPr>
            <a:r>
              <a:rPr kumimoji="0" lang="en-US" sz="6000" b="1" i="0" u="none" strike="noStrike" kern="1200" cap="none" spc="0" normalizeH="0" baseline="0" noProof="0" dirty="0">
                <a:ln>
                  <a:noFill/>
                </a:ln>
                <a:solidFill>
                  <a:srgbClr val="CC0033"/>
                </a:solidFill>
                <a:effectLst/>
                <a:uLnTx/>
                <a:uFillTx/>
                <a:latin typeface="Arial"/>
                <a:ea typeface="+mn-ea"/>
                <a:cs typeface="Arial" panose="020B0604020202020204" pitchFamily="34" charset="0"/>
              </a:rPr>
              <a:t>Actions and goals</a:t>
            </a:r>
          </a:p>
        </p:txBody>
      </p:sp>
    </p:spTree>
    <p:extLst>
      <p:ext uri="{BB962C8B-B14F-4D97-AF65-F5344CB8AC3E}">
        <p14:creationId xmlns:p14="http://schemas.microsoft.com/office/powerpoint/2010/main" val="258463750"/>
      </p:ext>
    </p:extLst>
  </p:cSld>
  <p:clrMapOvr>
    <a:masterClrMapping/>
  </p:clrMapOvr>
  <mc:AlternateContent xmlns:mc="http://schemas.openxmlformats.org/markup-compatibility/2006" xmlns:p14="http://schemas.microsoft.com/office/powerpoint/2010/main">
    <mc:Choice Requires="p14">
      <p:transition spd="slow" p14:dur="2000" advTm="83130"/>
    </mc:Choice>
    <mc:Fallback xmlns="">
      <p:transition spd="slow" advTm="83130"/>
    </mc:Fallback>
  </mc:AlternateContent>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6"/>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4"/>
          <a:srcRect/>
          <a:stretch>
            <a:fillRect/>
          </a:stretch>
        </p:blipFill>
        <p:spPr>
          <a:xfrm>
            <a:off x="0" y="8901113"/>
            <a:ext cx="5715000" cy="1385887"/>
          </a:xfrm>
          <a:prstGeom prst="rect">
            <a:avLst/>
          </a:prstGeom>
        </p:spPr>
      </p:pic>
      <p:grpSp>
        <p:nvGrpSpPr>
          <p:cNvPr id="2" name="Gruppo 1">
            <a:extLst>
              <a:ext uri="{FF2B5EF4-FFF2-40B4-BE49-F238E27FC236}">
                <a16:creationId xmlns:a16="http://schemas.microsoft.com/office/drawing/2014/main" id="{D8D71BB5-458F-411D-AFA9-C648954E9F40}"/>
              </a:ext>
            </a:extLst>
          </p:cNvPr>
          <p:cNvGrpSpPr/>
          <p:nvPr/>
        </p:nvGrpSpPr>
        <p:grpSpPr>
          <a:xfrm>
            <a:off x="-12" y="138554"/>
            <a:ext cx="18288002" cy="681138"/>
            <a:chOff x="-12" y="138554"/>
            <a:chExt cx="18288002" cy="681138"/>
          </a:xfrm>
        </p:grpSpPr>
        <p:grpSp>
          <p:nvGrpSpPr>
            <p:cNvPr id="16" name="Gruppo 15">
              <a:extLst>
                <a:ext uri="{FF2B5EF4-FFF2-40B4-BE49-F238E27FC236}">
                  <a16:creationId xmlns:a16="http://schemas.microsoft.com/office/drawing/2014/main" id="{DAC42A46-917D-41AB-8F07-E15E54D0F7D4}"/>
                </a:ext>
              </a:extLst>
            </p:cNvPr>
            <p:cNvGrpSpPr/>
            <p:nvPr/>
          </p:nvGrpSpPr>
          <p:grpSpPr>
            <a:xfrm>
              <a:off x="0" y="153125"/>
              <a:ext cx="13958844" cy="666567"/>
              <a:chOff x="0" y="153125"/>
              <a:chExt cx="13958844" cy="666567"/>
            </a:xfrm>
          </p:grpSpPr>
          <p:pic>
            <p:nvPicPr>
              <p:cNvPr id="10" name="Picture 10"/>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1" name="TextBox 11"/>
              <p:cNvSpPr txBox="1"/>
              <p:nvPr/>
            </p:nvSpPr>
            <p:spPr>
              <a:xfrm>
                <a:off x="228600" y="257980"/>
                <a:ext cx="5752704" cy="456856"/>
              </a:xfrm>
              <a:prstGeom prst="rect">
                <a:avLst/>
              </a:prstGeom>
            </p:spPr>
            <p:txBody>
              <a:bodyPr wrap="square" lIns="0" tIns="0" rIns="0" bIns="0" rtlCol="0" anchor="t">
                <a:spAutoFit/>
              </a:bodyPr>
              <a:lstStyle/>
              <a:p>
                <a:pPr>
                  <a:lnSpc>
                    <a:spcPts val="3919"/>
                  </a:lnSpc>
                  <a:spcBef>
                    <a:spcPct val="0"/>
                  </a:spcBef>
                </a:pPr>
                <a:endParaRPr lang="en-US" sz="2800" b="1">
                  <a:solidFill>
                    <a:srgbClr val="FFFFFF"/>
                  </a:solidFill>
                  <a:latin typeface="Arial" panose="020B0604020202020204" pitchFamily="34" charset="0"/>
                  <a:cs typeface="Arial" panose="020B0604020202020204" pitchFamily="34" charset="0"/>
                </a:endParaRPr>
              </a:p>
            </p:txBody>
          </p:sp>
        </p:grpSp>
        <p:sp>
          <p:nvSpPr>
            <p:cNvPr id="12" name="Rettangolo 11">
              <a:extLst>
                <a:ext uri="{FF2B5EF4-FFF2-40B4-BE49-F238E27FC236}">
                  <a16:creationId xmlns:a16="http://schemas.microsoft.com/office/drawing/2014/main" id="{F2E90E36-F5DF-479E-BF3B-C6F6A1CEA4E7}"/>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4" name="TextBox 13">
            <a:extLst>
              <a:ext uri="{FF2B5EF4-FFF2-40B4-BE49-F238E27FC236}">
                <a16:creationId xmlns:a16="http://schemas.microsoft.com/office/drawing/2014/main" id="{4DBA6E6C-EF4B-454F-10E8-510ECCEF6124}"/>
              </a:ext>
            </a:extLst>
          </p:cNvPr>
          <p:cNvSpPr txBox="1"/>
          <p:nvPr/>
        </p:nvSpPr>
        <p:spPr>
          <a:xfrm>
            <a:off x="885371" y="896353"/>
            <a:ext cx="16194313" cy="1040798"/>
          </a:xfrm>
          <a:prstGeom prst="rect">
            <a:avLst/>
          </a:prstGeom>
        </p:spPr>
        <p:txBody>
          <a:bodyPr wrap="square" lIns="0" tIns="0" rIns="0" bIns="0" rtlCol="0" anchor="t">
            <a:spAutoFit/>
          </a:bodyPr>
          <a:lstStyle/>
          <a:p>
            <a:pPr marL="0" marR="0" lvl="0" indent="0" defTabSz="914400" rtl="0" eaLnBrk="1" fontAlgn="auto" latinLnBrk="0" hangingPunct="1">
              <a:lnSpc>
                <a:spcPts val="8960"/>
              </a:lnSpc>
              <a:spcBef>
                <a:spcPct val="0"/>
              </a:spcBef>
              <a:spcAft>
                <a:spcPts val="0"/>
              </a:spcAft>
              <a:buClrTx/>
              <a:buSzTx/>
              <a:buFontTx/>
              <a:buNone/>
              <a:tabLst/>
              <a:defRPr/>
            </a:pPr>
            <a:r>
              <a:rPr kumimoji="0" lang="en-US" sz="6000" b="1" i="0" u="none" strike="noStrike" kern="1200" cap="none" spc="0" normalizeH="0" baseline="0" noProof="0" dirty="0">
                <a:ln>
                  <a:noFill/>
                </a:ln>
                <a:solidFill>
                  <a:srgbClr val="CC0033"/>
                </a:solidFill>
                <a:effectLst/>
                <a:uLnTx/>
                <a:uFillTx/>
                <a:latin typeface="Arial"/>
                <a:ea typeface="+mn-ea"/>
                <a:cs typeface="Arial" panose="020B0604020202020204" pitchFamily="34" charset="0"/>
              </a:rPr>
              <a:t>Carried out activities</a:t>
            </a:r>
          </a:p>
        </p:txBody>
      </p:sp>
      <p:pic>
        <p:nvPicPr>
          <p:cNvPr id="9" name="Picture 2" descr="t_T_SB">
            <a:extLst>
              <a:ext uri="{FF2B5EF4-FFF2-40B4-BE49-F238E27FC236}">
                <a16:creationId xmlns:a16="http://schemas.microsoft.com/office/drawing/2014/main" id="{DBE8EA55-C8EE-8199-5C56-8C5EA0A4BC2C}"/>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3084865" y="978133"/>
            <a:ext cx="4951484" cy="678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6">
            <a:extLst>
              <a:ext uri="{FF2B5EF4-FFF2-40B4-BE49-F238E27FC236}">
                <a16:creationId xmlns:a16="http://schemas.microsoft.com/office/drawing/2014/main" id="{1CBA387C-F6C4-933C-2A3F-AA7BC2E51283}"/>
              </a:ext>
            </a:extLst>
          </p:cNvPr>
          <p:cNvPicPr>
            <a:picLocks noChangeAspect="1"/>
          </p:cNvPicPr>
          <p:nvPr/>
        </p:nvPicPr>
        <p:blipFill>
          <a:blip r:embed="rId7"/>
          <a:stretch>
            <a:fillRect/>
          </a:stretch>
        </p:blipFill>
        <p:spPr>
          <a:xfrm>
            <a:off x="1852850" y="3106627"/>
            <a:ext cx="12351563" cy="4698866"/>
          </a:xfrm>
          <a:prstGeom prst="rect">
            <a:avLst/>
          </a:prstGeom>
        </p:spPr>
      </p:pic>
    </p:spTree>
    <p:extLst>
      <p:ext uri="{BB962C8B-B14F-4D97-AF65-F5344CB8AC3E}">
        <p14:creationId xmlns:p14="http://schemas.microsoft.com/office/powerpoint/2010/main" val="1144636067"/>
      </p:ext>
    </p:extLst>
  </p:cSld>
  <p:clrMapOvr>
    <a:masterClrMapping/>
  </p:clrMapOvr>
  <mc:AlternateContent xmlns:mc="http://schemas.openxmlformats.org/markup-compatibility/2006" xmlns:p14="http://schemas.microsoft.com/office/powerpoint/2010/main">
    <mc:Choice Requires="p14">
      <p:transition spd="slow" p14:dur="2000" advTm="83130"/>
    </mc:Choice>
    <mc:Fallback xmlns="">
      <p:transition spd="slow" advTm="83130"/>
    </mc:Fallback>
  </mc:AlternateContent>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6"/>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4"/>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5"/>
          <a:srcRect/>
          <a:stretch>
            <a:fillRect/>
          </a:stretch>
        </p:blipFill>
        <p:spPr>
          <a:xfrm>
            <a:off x="0" y="8901113"/>
            <a:ext cx="5715000" cy="1385887"/>
          </a:xfrm>
          <a:prstGeom prst="rect">
            <a:avLst/>
          </a:prstGeom>
        </p:spPr>
      </p:pic>
      <p:grpSp>
        <p:nvGrpSpPr>
          <p:cNvPr id="2" name="Gruppo 1">
            <a:extLst>
              <a:ext uri="{FF2B5EF4-FFF2-40B4-BE49-F238E27FC236}">
                <a16:creationId xmlns:a16="http://schemas.microsoft.com/office/drawing/2014/main" id="{D8D71BB5-458F-411D-AFA9-C648954E9F40}"/>
              </a:ext>
            </a:extLst>
          </p:cNvPr>
          <p:cNvGrpSpPr/>
          <p:nvPr/>
        </p:nvGrpSpPr>
        <p:grpSpPr>
          <a:xfrm>
            <a:off x="-12" y="138554"/>
            <a:ext cx="18288002" cy="681138"/>
            <a:chOff x="-12" y="138554"/>
            <a:chExt cx="18288002" cy="681138"/>
          </a:xfrm>
        </p:grpSpPr>
        <p:grpSp>
          <p:nvGrpSpPr>
            <p:cNvPr id="16" name="Gruppo 15">
              <a:extLst>
                <a:ext uri="{FF2B5EF4-FFF2-40B4-BE49-F238E27FC236}">
                  <a16:creationId xmlns:a16="http://schemas.microsoft.com/office/drawing/2014/main" id="{DAC42A46-917D-41AB-8F07-E15E54D0F7D4}"/>
                </a:ext>
              </a:extLst>
            </p:cNvPr>
            <p:cNvGrpSpPr/>
            <p:nvPr/>
          </p:nvGrpSpPr>
          <p:grpSpPr>
            <a:xfrm>
              <a:off x="0" y="153125"/>
              <a:ext cx="13958844" cy="666567"/>
              <a:chOff x="0" y="153125"/>
              <a:chExt cx="13958844" cy="666567"/>
            </a:xfrm>
          </p:grpSpPr>
          <p:pic>
            <p:nvPicPr>
              <p:cNvPr id="10" name="Picture 10"/>
              <p:cNvPicPr>
                <a:picLocks noChangeAspect="1"/>
              </p:cNvPicPr>
              <p:nvPr/>
            </p:nvPicPr>
            <p:blipFill>
              <a:blip r:embed="rId6"/>
              <a:srcRect l="134" t="91287" b="3943"/>
              <a:stretch>
                <a:fillRect/>
              </a:stretch>
            </p:blipFill>
            <p:spPr>
              <a:xfrm>
                <a:off x="0" y="153125"/>
                <a:ext cx="13958844" cy="666567"/>
              </a:xfrm>
              <a:prstGeom prst="rect">
                <a:avLst/>
              </a:prstGeom>
            </p:spPr>
          </p:pic>
          <p:sp>
            <p:nvSpPr>
              <p:cNvPr id="11" name="TextBox 11"/>
              <p:cNvSpPr txBox="1"/>
              <p:nvPr/>
            </p:nvSpPr>
            <p:spPr>
              <a:xfrm>
                <a:off x="228600" y="257980"/>
                <a:ext cx="5752704" cy="456856"/>
              </a:xfrm>
              <a:prstGeom prst="rect">
                <a:avLst/>
              </a:prstGeom>
            </p:spPr>
            <p:txBody>
              <a:bodyPr wrap="square" lIns="0" tIns="0" rIns="0" bIns="0" rtlCol="0" anchor="t">
                <a:spAutoFit/>
              </a:bodyPr>
              <a:lstStyle/>
              <a:p>
                <a:pPr>
                  <a:lnSpc>
                    <a:spcPts val="3919"/>
                  </a:lnSpc>
                  <a:spcBef>
                    <a:spcPct val="0"/>
                  </a:spcBef>
                </a:pPr>
                <a:endParaRPr lang="en-US" sz="2800" b="1">
                  <a:solidFill>
                    <a:srgbClr val="FFFFFF"/>
                  </a:solidFill>
                  <a:latin typeface="Arial" panose="020B0604020202020204" pitchFamily="34" charset="0"/>
                  <a:cs typeface="Arial" panose="020B0604020202020204" pitchFamily="34" charset="0"/>
                </a:endParaRPr>
              </a:p>
            </p:txBody>
          </p:sp>
        </p:grpSp>
        <p:sp>
          <p:nvSpPr>
            <p:cNvPr id="12" name="Rettangolo 11">
              <a:extLst>
                <a:ext uri="{FF2B5EF4-FFF2-40B4-BE49-F238E27FC236}">
                  <a16:creationId xmlns:a16="http://schemas.microsoft.com/office/drawing/2014/main" id="{F2E90E36-F5DF-479E-BF3B-C6F6A1CEA4E7}"/>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4" name="TextBox 13">
            <a:extLst>
              <a:ext uri="{FF2B5EF4-FFF2-40B4-BE49-F238E27FC236}">
                <a16:creationId xmlns:a16="http://schemas.microsoft.com/office/drawing/2014/main" id="{4DBA6E6C-EF4B-454F-10E8-510ECCEF6124}"/>
              </a:ext>
            </a:extLst>
          </p:cNvPr>
          <p:cNvSpPr txBox="1"/>
          <p:nvPr/>
        </p:nvSpPr>
        <p:spPr>
          <a:xfrm>
            <a:off x="885371" y="896353"/>
            <a:ext cx="16194313" cy="1040798"/>
          </a:xfrm>
          <a:prstGeom prst="rect">
            <a:avLst/>
          </a:prstGeom>
        </p:spPr>
        <p:txBody>
          <a:bodyPr wrap="square" lIns="0" tIns="0" rIns="0" bIns="0" rtlCol="0" anchor="t">
            <a:spAutoFit/>
          </a:bodyPr>
          <a:lstStyle/>
          <a:p>
            <a:pPr marL="0" marR="0" lvl="0" indent="0" defTabSz="914400" rtl="0" eaLnBrk="1" fontAlgn="auto" latinLnBrk="0" hangingPunct="1">
              <a:lnSpc>
                <a:spcPts val="8960"/>
              </a:lnSpc>
              <a:spcBef>
                <a:spcPct val="0"/>
              </a:spcBef>
              <a:spcAft>
                <a:spcPts val="0"/>
              </a:spcAft>
              <a:buClrTx/>
              <a:buSzTx/>
              <a:buFontTx/>
              <a:buNone/>
              <a:tabLst/>
              <a:defRPr/>
            </a:pPr>
            <a:r>
              <a:rPr kumimoji="0" lang="en-US" sz="6000" b="1" i="0" u="none" strike="noStrike" kern="1200" cap="none" spc="0" normalizeH="0" baseline="0" noProof="0" dirty="0">
                <a:ln>
                  <a:noFill/>
                </a:ln>
                <a:solidFill>
                  <a:srgbClr val="CC0033"/>
                </a:solidFill>
                <a:effectLst/>
                <a:uLnTx/>
                <a:uFillTx/>
                <a:latin typeface="Arial"/>
                <a:ea typeface="+mn-ea"/>
                <a:cs typeface="Arial" panose="020B0604020202020204" pitchFamily="34" charset="0"/>
              </a:rPr>
              <a:t>Results</a:t>
            </a:r>
          </a:p>
        </p:txBody>
      </p:sp>
      <p:pic>
        <p:nvPicPr>
          <p:cNvPr id="9" name="Picture 2" descr="t_T_SB">
            <a:extLst>
              <a:ext uri="{FF2B5EF4-FFF2-40B4-BE49-F238E27FC236}">
                <a16:creationId xmlns:a16="http://schemas.microsoft.com/office/drawing/2014/main" id="{DBE8EA55-C8EE-8199-5C56-8C5EA0A4BC2C}"/>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3084865" y="978133"/>
            <a:ext cx="4951484" cy="678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2">
            <a:extLst>
              <a:ext uri="{FF2B5EF4-FFF2-40B4-BE49-F238E27FC236}">
                <a16:creationId xmlns:a16="http://schemas.microsoft.com/office/drawing/2014/main" id="{FE182EFD-E0C1-C044-FEB7-933C764ABB3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53468" y="3223853"/>
            <a:ext cx="16981064" cy="4624085"/>
          </a:xfrm>
          <a:prstGeom prst="rect">
            <a:avLst/>
          </a:prstGeom>
        </p:spPr>
      </p:pic>
    </p:spTree>
    <p:extLst>
      <p:ext uri="{BB962C8B-B14F-4D97-AF65-F5344CB8AC3E}">
        <p14:creationId xmlns:p14="http://schemas.microsoft.com/office/powerpoint/2010/main" val="996657350"/>
      </p:ext>
    </p:extLst>
  </p:cSld>
  <p:clrMapOvr>
    <a:masterClrMapping/>
  </p:clrMapOvr>
  <mc:AlternateContent xmlns:mc="http://schemas.openxmlformats.org/markup-compatibility/2006" xmlns:p14="http://schemas.microsoft.com/office/powerpoint/2010/main">
    <mc:Choice Requires="p14">
      <p:transition spd="slow" p14:dur="2000" advTm="83130"/>
    </mc:Choice>
    <mc:Fallback xmlns="">
      <p:transition spd="slow" advTm="83130"/>
    </mc:Fallback>
  </mc:AlternateContent>
  <p:extLst>
    <p:ext uri="{6950BFC3-D8DA-4A85-94F7-54DA5524770B}">
      <p188:commentRel xmlns:p188="http://schemas.microsoft.com/office/powerpoint/2018/8/main" r:id="rId3"/>
    </p:ext>
  </p:extLst>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6"/>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4"/>
          <a:srcRect/>
          <a:stretch>
            <a:fillRect/>
          </a:stretch>
        </p:blipFill>
        <p:spPr>
          <a:xfrm>
            <a:off x="0" y="8901113"/>
            <a:ext cx="5715000" cy="1385887"/>
          </a:xfrm>
          <a:prstGeom prst="rect">
            <a:avLst/>
          </a:prstGeom>
        </p:spPr>
      </p:pic>
      <p:grpSp>
        <p:nvGrpSpPr>
          <p:cNvPr id="2" name="Gruppo 1">
            <a:extLst>
              <a:ext uri="{FF2B5EF4-FFF2-40B4-BE49-F238E27FC236}">
                <a16:creationId xmlns:a16="http://schemas.microsoft.com/office/drawing/2014/main" id="{D8D71BB5-458F-411D-AFA9-C648954E9F40}"/>
              </a:ext>
            </a:extLst>
          </p:cNvPr>
          <p:cNvGrpSpPr/>
          <p:nvPr/>
        </p:nvGrpSpPr>
        <p:grpSpPr>
          <a:xfrm>
            <a:off x="-12" y="138554"/>
            <a:ext cx="18288002" cy="681138"/>
            <a:chOff x="-12" y="138554"/>
            <a:chExt cx="18288002" cy="681138"/>
          </a:xfrm>
        </p:grpSpPr>
        <p:grpSp>
          <p:nvGrpSpPr>
            <p:cNvPr id="16" name="Gruppo 15">
              <a:extLst>
                <a:ext uri="{FF2B5EF4-FFF2-40B4-BE49-F238E27FC236}">
                  <a16:creationId xmlns:a16="http://schemas.microsoft.com/office/drawing/2014/main" id="{DAC42A46-917D-41AB-8F07-E15E54D0F7D4}"/>
                </a:ext>
              </a:extLst>
            </p:cNvPr>
            <p:cNvGrpSpPr/>
            <p:nvPr/>
          </p:nvGrpSpPr>
          <p:grpSpPr>
            <a:xfrm>
              <a:off x="0" y="153125"/>
              <a:ext cx="13958844" cy="666567"/>
              <a:chOff x="0" y="153125"/>
              <a:chExt cx="13958844" cy="666567"/>
            </a:xfrm>
          </p:grpSpPr>
          <p:pic>
            <p:nvPicPr>
              <p:cNvPr id="10" name="Picture 10"/>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1" name="TextBox 11"/>
              <p:cNvSpPr txBox="1"/>
              <p:nvPr/>
            </p:nvSpPr>
            <p:spPr>
              <a:xfrm>
                <a:off x="228600" y="257980"/>
                <a:ext cx="5752704" cy="456856"/>
              </a:xfrm>
              <a:prstGeom prst="rect">
                <a:avLst/>
              </a:prstGeom>
            </p:spPr>
            <p:txBody>
              <a:bodyPr wrap="square" lIns="0" tIns="0" rIns="0" bIns="0" rtlCol="0" anchor="t">
                <a:spAutoFit/>
              </a:bodyPr>
              <a:lstStyle/>
              <a:p>
                <a:pPr>
                  <a:lnSpc>
                    <a:spcPts val="3919"/>
                  </a:lnSpc>
                  <a:spcBef>
                    <a:spcPct val="0"/>
                  </a:spcBef>
                </a:pPr>
                <a:endParaRPr lang="en-US" sz="2800" b="1">
                  <a:solidFill>
                    <a:srgbClr val="FFFFFF"/>
                  </a:solidFill>
                  <a:latin typeface="Arial" panose="020B0604020202020204" pitchFamily="34" charset="0"/>
                  <a:cs typeface="Arial" panose="020B0604020202020204" pitchFamily="34" charset="0"/>
                </a:endParaRPr>
              </a:p>
            </p:txBody>
          </p:sp>
        </p:grpSp>
        <p:sp>
          <p:nvSpPr>
            <p:cNvPr id="12" name="Rettangolo 11">
              <a:extLst>
                <a:ext uri="{FF2B5EF4-FFF2-40B4-BE49-F238E27FC236}">
                  <a16:creationId xmlns:a16="http://schemas.microsoft.com/office/drawing/2014/main" id="{F2E90E36-F5DF-479E-BF3B-C6F6A1CEA4E7}"/>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4" name="TextBox 13">
            <a:extLst>
              <a:ext uri="{FF2B5EF4-FFF2-40B4-BE49-F238E27FC236}">
                <a16:creationId xmlns:a16="http://schemas.microsoft.com/office/drawing/2014/main" id="{4DBA6E6C-EF4B-454F-10E8-510ECCEF6124}"/>
              </a:ext>
            </a:extLst>
          </p:cNvPr>
          <p:cNvSpPr txBox="1"/>
          <p:nvPr/>
        </p:nvSpPr>
        <p:spPr>
          <a:xfrm>
            <a:off x="885371" y="896353"/>
            <a:ext cx="16194313" cy="1040798"/>
          </a:xfrm>
          <a:prstGeom prst="rect">
            <a:avLst/>
          </a:prstGeom>
        </p:spPr>
        <p:txBody>
          <a:bodyPr wrap="square" lIns="0" tIns="0" rIns="0" bIns="0" rtlCol="0" anchor="t">
            <a:spAutoFit/>
          </a:bodyPr>
          <a:lstStyle/>
          <a:p>
            <a:pPr marL="0" marR="0" lvl="0" indent="0" defTabSz="914400" rtl="0" eaLnBrk="1" fontAlgn="auto" latinLnBrk="0" hangingPunct="1">
              <a:lnSpc>
                <a:spcPts val="8960"/>
              </a:lnSpc>
              <a:spcBef>
                <a:spcPct val="0"/>
              </a:spcBef>
              <a:spcAft>
                <a:spcPts val="0"/>
              </a:spcAft>
              <a:buClrTx/>
              <a:buSzTx/>
              <a:buFontTx/>
              <a:buNone/>
              <a:tabLst/>
              <a:defRPr/>
            </a:pPr>
            <a:r>
              <a:rPr kumimoji="0" lang="en-US" sz="6000" b="1" i="0" u="none" strike="noStrike" kern="1200" cap="none" spc="0" normalizeH="0" baseline="0" noProof="0" dirty="0">
                <a:ln>
                  <a:noFill/>
                </a:ln>
                <a:solidFill>
                  <a:srgbClr val="CC0033"/>
                </a:solidFill>
                <a:effectLst/>
                <a:uLnTx/>
                <a:uFillTx/>
                <a:latin typeface="Arial"/>
                <a:ea typeface="+mn-ea"/>
                <a:cs typeface="Arial" panose="020B0604020202020204" pitchFamily="34" charset="0"/>
              </a:rPr>
              <a:t>Outcome and Benefits</a:t>
            </a:r>
          </a:p>
        </p:txBody>
      </p:sp>
      <p:pic>
        <p:nvPicPr>
          <p:cNvPr id="9" name="Picture 2" descr="t_T_SB">
            <a:extLst>
              <a:ext uri="{FF2B5EF4-FFF2-40B4-BE49-F238E27FC236}">
                <a16:creationId xmlns:a16="http://schemas.microsoft.com/office/drawing/2014/main" id="{DBE8EA55-C8EE-8199-5C56-8C5EA0A4BC2C}"/>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3084865" y="978133"/>
            <a:ext cx="4951484" cy="678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ángulo 64">
            <a:extLst>
              <a:ext uri="{FF2B5EF4-FFF2-40B4-BE49-F238E27FC236}">
                <a16:creationId xmlns:a16="http://schemas.microsoft.com/office/drawing/2014/main" id="{1D7C870B-A1CE-2322-7929-3EEE1C2A1CC1}"/>
              </a:ext>
            </a:extLst>
          </p:cNvPr>
          <p:cNvSpPr/>
          <p:nvPr/>
        </p:nvSpPr>
        <p:spPr>
          <a:xfrm>
            <a:off x="1144216" y="3457399"/>
            <a:ext cx="7015046" cy="1646605"/>
          </a:xfrm>
          <a:prstGeom prst="rect">
            <a:avLst/>
          </a:prstGeom>
        </p:spPr>
        <p:txBody>
          <a:bodyPr wrap="square" lIns="0" tIns="0" rIns="0" bIns="0">
            <a:spAutoFit/>
          </a:bodyPr>
          <a:lstStyle/>
          <a:p>
            <a:pPr defTabSz="1828755" fontAlgn="base">
              <a:spcBef>
                <a:spcPts val="900"/>
              </a:spcBef>
              <a:spcAft>
                <a:spcPct val="0"/>
              </a:spcAft>
              <a:buClr>
                <a:srgbClr val="000099"/>
              </a:buClr>
              <a:buSzPct val="80000"/>
              <a:tabLst>
                <a:tab pos="266694" algn="l"/>
              </a:tabLst>
            </a:pPr>
            <a:r>
              <a:rPr lang="en-US" sz="2400" dirty="0">
                <a:solidFill>
                  <a:srgbClr val="666666"/>
                </a:solidFill>
                <a:latin typeface="Frutiger 55 Roman" panose="02000503000000000000" pitchFamily="2" charset="0"/>
                <a:ea typeface="ＭＳ Ｐゴシック" charset="0"/>
                <a:cs typeface="Arial"/>
              </a:rPr>
              <a:t>Reduction of residues sent to landfill and increase of  recovery rate of the produced wastes and by-products. </a:t>
            </a:r>
          </a:p>
          <a:p>
            <a:pPr defTabSz="1828755" fontAlgn="base">
              <a:spcBef>
                <a:spcPts val="900"/>
              </a:spcBef>
              <a:spcAft>
                <a:spcPct val="0"/>
              </a:spcAft>
              <a:buClr>
                <a:srgbClr val="000099"/>
              </a:buClr>
              <a:buSzPct val="80000"/>
              <a:tabLst>
                <a:tab pos="266694" algn="l"/>
              </a:tabLst>
            </a:pPr>
            <a:r>
              <a:rPr lang="en-US" sz="2000" b="1" i="1" dirty="0">
                <a:solidFill>
                  <a:srgbClr val="000099">
                    <a:lumMod val="50000"/>
                  </a:srgbClr>
                </a:solidFill>
                <a:latin typeface="Frutiger 55 Roman" panose="02000503000000000000" pitchFamily="2" charset="0"/>
                <a:ea typeface="ＭＳ Ｐゴシック" charset="0"/>
                <a:cs typeface="Arial"/>
              </a:rPr>
              <a:t>30% replacement of raw material (anthracite) with polymers.</a:t>
            </a:r>
          </a:p>
          <a:p>
            <a:pPr defTabSz="1828755" fontAlgn="base">
              <a:spcBef>
                <a:spcPts val="900"/>
              </a:spcBef>
              <a:spcAft>
                <a:spcPct val="0"/>
              </a:spcAft>
              <a:buClr>
                <a:srgbClr val="000099"/>
              </a:buClr>
              <a:buSzPct val="80000"/>
              <a:tabLst>
                <a:tab pos="266694" algn="l"/>
              </a:tabLst>
            </a:pPr>
            <a:endParaRPr lang="en-US" sz="2400" dirty="0">
              <a:solidFill>
                <a:srgbClr val="666666"/>
              </a:solidFill>
              <a:latin typeface="Arial"/>
              <a:ea typeface="ＭＳ Ｐゴシック" charset="0"/>
              <a:cs typeface="Arial"/>
            </a:endParaRPr>
          </a:p>
        </p:txBody>
      </p:sp>
      <p:cxnSp>
        <p:nvCxnSpPr>
          <p:cNvPr id="6" name="Conector recto 11">
            <a:extLst>
              <a:ext uri="{FF2B5EF4-FFF2-40B4-BE49-F238E27FC236}">
                <a16:creationId xmlns:a16="http://schemas.microsoft.com/office/drawing/2014/main" id="{818AF3B4-638C-0A43-9A5D-BE982331F2A9}"/>
              </a:ext>
            </a:extLst>
          </p:cNvPr>
          <p:cNvCxnSpPr>
            <a:cxnSpLocks/>
          </p:cNvCxnSpPr>
          <p:nvPr/>
        </p:nvCxnSpPr>
        <p:spPr>
          <a:xfrm>
            <a:off x="1144216" y="3229219"/>
            <a:ext cx="2972054" cy="0"/>
          </a:xfrm>
          <a:prstGeom prst="line">
            <a:avLst/>
          </a:prstGeom>
          <a:ln w="6350">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sp>
        <p:nvSpPr>
          <p:cNvPr id="7" name="Content Placeholder 2">
            <a:extLst>
              <a:ext uri="{FF2B5EF4-FFF2-40B4-BE49-F238E27FC236}">
                <a16:creationId xmlns:a16="http://schemas.microsoft.com/office/drawing/2014/main" id="{6675933D-F020-4B60-6582-D836D2BFD84A}"/>
              </a:ext>
            </a:extLst>
          </p:cNvPr>
          <p:cNvSpPr txBox="1">
            <a:spLocks/>
          </p:cNvSpPr>
          <p:nvPr/>
        </p:nvSpPr>
        <p:spPr bwMode="auto">
          <a:xfrm>
            <a:off x="1144219" y="2387944"/>
            <a:ext cx="1062482" cy="929708"/>
          </a:xfrm>
          <a:prstGeom prst="rect">
            <a:avLst/>
          </a:prstGeom>
          <a:noFill/>
          <a:ln>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228600" indent="-228600" algn="l" rtl="0" eaLnBrk="0" fontAlgn="base" hangingPunct="0">
              <a:spcBef>
                <a:spcPct val="50000"/>
              </a:spcBef>
              <a:spcAft>
                <a:spcPct val="0"/>
              </a:spcAft>
              <a:buChar char="•"/>
              <a:defRPr sz="2400">
                <a:solidFill>
                  <a:schemeClr val="tx1"/>
                </a:solidFill>
                <a:latin typeface="+mn-lt"/>
                <a:ea typeface="ＭＳ Ｐゴシック" pitchFamily="-106" charset="-128"/>
                <a:cs typeface="ＭＳ Ｐゴシック" pitchFamily="-106" charset="-128"/>
              </a:defRPr>
            </a:lvl1pPr>
            <a:lvl2pPr marL="571500" indent="-228600" algn="l" rtl="0" eaLnBrk="0" fontAlgn="base" hangingPunct="0">
              <a:spcBef>
                <a:spcPct val="20000"/>
              </a:spcBef>
              <a:spcAft>
                <a:spcPct val="0"/>
              </a:spcAft>
              <a:buChar char="–"/>
              <a:defRPr sz="1600">
                <a:solidFill>
                  <a:schemeClr val="tx1"/>
                </a:solidFill>
                <a:latin typeface="+mn-lt"/>
                <a:ea typeface="ＭＳ Ｐゴシック" pitchFamily="-106" charset="-128"/>
              </a:defRPr>
            </a:lvl2pPr>
            <a:lvl3pPr marL="914400" indent="-228600" algn="l" rtl="0" eaLnBrk="0" fontAlgn="base" hangingPunct="0">
              <a:spcBef>
                <a:spcPct val="20000"/>
              </a:spcBef>
              <a:spcAft>
                <a:spcPct val="0"/>
              </a:spcAft>
              <a:buChar char="•"/>
              <a:defRPr sz="1400">
                <a:solidFill>
                  <a:schemeClr val="tx1"/>
                </a:solidFill>
                <a:latin typeface="+mn-lt"/>
                <a:ea typeface="ＭＳ Ｐゴシック" pitchFamily="-106" charset="-128"/>
              </a:defRPr>
            </a:lvl3pPr>
            <a:lvl4pPr marL="1257300" indent="-228600" algn="l" rtl="0" eaLnBrk="0" fontAlgn="base" hangingPunct="0">
              <a:spcBef>
                <a:spcPct val="20000"/>
              </a:spcBef>
              <a:spcAft>
                <a:spcPct val="0"/>
              </a:spcAft>
              <a:buChar char="–"/>
              <a:defRPr sz="1400">
                <a:solidFill>
                  <a:schemeClr val="tx1"/>
                </a:solidFill>
                <a:latin typeface="+mn-lt"/>
                <a:ea typeface="ＭＳ Ｐゴシック" pitchFamily="-106" charset="-128"/>
              </a:defRPr>
            </a:lvl4pPr>
            <a:lvl5pPr marL="1600200" indent="-228600" algn="l" rtl="0" eaLnBrk="0" fontAlgn="base" hangingPunct="0">
              <a:spcBef>
                <a:spcPct val="20000"/>
              </a:spcBef>
              <a:spcAft>
                <a:spcPct val="0"/>
              </a:spcAft>
              <a:buChar char="»"/>
              <a:defRPr sz="1400">
                <a:solidFill>
                  <a:schemeClr val="tx1"/>
                </a:solidFill>
                <a:latin typeface="+mn-lt"/>
                <a:ea typeface="ＭＳ Ｐゴシック" pitchFamily="-106" charset="-128"/>
              </a:defRPr>
            </a:lvl5pPr>
            <a:lvl6pPr marL="2057400" indent="-228600" algn="l" rtl="0" eaLnBrk="0" fontAlgn="base" hangingPunct="0">
              <a:spcBef>
                <a:spcPct val="20000"/>
              </a:spcBef>
              <a:spcAft>
                <a:spcPct val="0"/>
              </a:spcAft>
              <a:buChar char="»"/>
              <a:defRPr sz="1400">
                <a:solidFill>
                  <a:schemeClr val="tx1"/>
                </a:solidFill>
                <a:latin typeface="+mn-lt"/>
                <a:ea typeface="ＭＳ Ｐゴシック" pitchFamily="-106" charset="-128"/>
              </a:defRPr>
            </a:lvl6pPr>
            <a:lvl7pPr marL="2514600" indent="-228600" algn="l" rtl="0" eaLnBrk="0" fontAlgn="base" hangingPunct="0">
              <a:spcBef>
                <a:spcPct val="20000"/>
              </a:spcBef>
              <a:spcAft>
                <a:spcPct val="0"/>
              </a:spcAft>
              <a:buChar char="»"/>
              <a:defRPr sz="1400">
                <a:solidFill>
                  <a:schemeClr val="tx1"/>
                </a:solidFill>
                <a:latin typeface="+mn-lt"/>
                <a:ea typeface="ＭＳ Ｐゴシック" pitchFamily="-106" charset="-128"/>
              </a:defRPr>
            </a:lvl7pPr>
            <a:lvl8pPr marL="2971800" indent="-228600" algn="l" rtl="0" eaLnBrk="0" fontAlgn="base" hangingPunct="0">
              <a:spcBef>
                <a:spcPct val="20000"/>
              </a:spcBef>
              <a:spcAft>
                <a:spcPct val="0"/>
              </a:spcAft>
              <a:buChar char="»"/>
              <a:defRPr sz="1400">
                <a:solidFill>
                  <a:schemeClr val="tx1"/>
                </a:solidFill>
                <a:latin typeface="+mn-lt"/>
                <a:ea typeface="ＭＳ Ｐゴシック" pitchFamily="-106" charset="-128"/>
              </a:defRPr>
            </a:lvl8pPr>
            <a:lvl9pPr marL="3429000" indent="-228600" algn="l" rtl="0" eaLnBrk="0" fontAlgn="base" hangingPunct="0">
              <a:spcBef>
                <a:spcPct val="20000"/>
              </a:spcBef>
              <a:spcAft>
                <a:spcPct val="0"/>
              </a:spcAft>
              <a:buChar char="»"/>
              <a:defRPr sz="1400">
                <a:solidFill>
                  <a:schemeClr val="tx1"/>
                </a:solidFill>
                <a:latin typeface="+mn-lt"/>
                <a:ea typeface="ＭＳ Ｐゴシック" pitchFamily="-106" charset="-128"/>
              </a:defRPr>
            </a:lvl9pPr>
          </a:lstStyle>
          <a:p>
            <a:pPr marL="0" indent="0" defTabSz="1371566">
              <a:buNone/>
            </a:pPr>
            <a:endParaRPr lang="en-US" sz="6000" b="1" dirty="0">
              <a:solidFill>
                <a:srgbClr val="009900"/>
              </a:solidFill>
              <a:latin typeface="Frutiger 67 Bold Condensed" panose="02000503000000000000" pitchFamily="2" charset="0"/>
              <a:cs typeface="Arial"/>
            </a:endParaRPr>
          </a:p>
        </p:txBody>
      </p:sp>
      <p:sp>
        <p:nvSpPr>
          <p:cNvPr id="8" name="Rectángulo 66">
            <a:extLst>
              <a:ext uri="{FF2B5EF4-FFF2-40B4-BE49-F238E27FC236}">
                <a16:creationId xmlns:a16="http://schemas.microsoft.com/office/drawing/2014/main" id="{7953AFB6-2248-DE07-1B3A-585F410B546D}"/>
              </a:ext>
            </a:extLst>
          </p:cNvPr>
          <p:cNvSpPr/>
          <p:nvPr/>
        </p:nvSpPr>
        <p:spPr>
          <a:xfrm>
            <a:off x="1189767" y="5991390"/>
            <a:ext cx="6647003" cy="1531188"/>
          </a:xfrm>
          <a:prstGeom prst="rect">
            <a:avLst/>
          </a:prstGeom>
        </p:spPr>
        <p:txBody>
          <a:bodyPr wrap="square" lIns="0" tIns="0" rIns="0" bIns="0">
            <a:spAutoFit/>
          </a:bodyPr>
          <a:lstStyle/>
          <a:p>
            <a:pPr defTabSz="1828755" fontAlgn="base">
              <a:spcBef>
                <a:spcPts val="900"/>
              </a:spcBef>
              <a:spcAft>
                <a:spcPct val="0"/>
              </a:spcAft>
              <a:buClr>
                <a:srgbClr val="000099"/>
              </a:buClr>
              <a:buSzPct val="80000"/>
              <a:tabLst>
                <a:tab pos="266694" algn="l"/>
              </a:tabLst>
            </a:pPr>
            <a:r>
              <a:rPr lang="en-US" sz="2400" dirty="0">
                <a:solidFill>
                  <a:srgbClr val="666666"/>
                </a:solidFill>
                <a:latin typeface="Frutiger 55 Roman" panose="02000503000000000000" pitchFamily="2" charset="0"/>
                <a:ea typeface="ＭＳ Ｐゴシック" charset="0"/>
                <a:cs typeface="Arial"/>
              </a:rPr>
              <a:t>Reduction of CO2 emissions due to the use of co-products and improving process performances on energy </a:t>
            </a:r>
          </a:p>
          <a:p>
            <a:pPr defTabSz="1828755" fontAlgn="base">
              <a:spcBef>
                <a:spcPts val="900"/>
              </a:spcBef>
              <a:spcAft>
                <a:spcPct val="0"/>
              </a:spcAft>
              <a:buClr>
                <a:srgbClr val="000099"/>
              </a:buClr>
              <a:buSzPct val="80000"/>
              <a:tabLst>
                <a:tab pos="266694" algn="l"/>
              </a:tabLst>
            </a:pPr>
            <a:r>
              <a:rPr lang="en-US" sz="2000" b="1" i="1" dirty="0">
                <a:solidFill>
                  <a:srgbClr val="000099">
                    <a:lumMod val="50000"/>
                  </a:srgbClr>
                </a:solidFill>
                <a:latin typeface="Frutiger 55 Roman" panose="02000503000000000000" pitchFamily="2" charset="0"/>
                <a:ea typeface="ＭＳ Ｐゴシック" charset="0"/>
                <a:cs typeface="Arial"/>
              </a:rPr>
              <a:t>Estimated 15% reduction in a mass ratio of 1:1 replacement </a:t>
            </a:r>
          </a:p>
        </p:txBody>
      </p:sp>
      <p:cxnSp>
        <p:nvCxnSpPr>
          <p:cNvPr id="13" name="Conector recto 11">
            <a:extLst>
              <a:ext uri="{FF2B5EF4-FFF2-40B4-BE49-F238E27FC236}">
                <a16:creationId xmlns:a16="http://schemas.microsoft.com/office/drawing/2014/main" id="{FBDF9212-2A2F-7897-2965-25CC872688CD}"/>
              </a:ext>
            </a:extLst>
          </p:cNvPr>
          <p:cNvCxnSpPr>
            <a:cxnSpLocks/>
          </p:cNvCxnSpPr>
          <p:nvPr/>
        </p:nvCxnSpPr>
        <p:spPr>
          <a:xfrm>
            <a:off x="1106986" y="5851643"/>
            <a:ext cx="3222170" cy="0"/>
          </a:xfrm>
          <a:prstGeom prst="line">
            <a:avLst/>
          </a:prstGeom>
          <a:ln w="6350">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sp>
        <p:nvSpPr>
          <p:cNvPr id="14" name="Content Placeholder 2">
            <a:extLst>
              <a:ext uri="{FF2B5EF4-FFF2-40B4-BE49-F238E27FC236}">
                <a16:creationId xmlns:a16="http://schemas.microsoft.com/office/drawing/2014/main" id="{A3B94AED-5278-F074-858A-34A7EDE63359}"/>
              </a:ext>
            </a:extLst>
          </p:cNvPr>
          <p:cNvSpPr txBox="1">
            <a:spLocks/>
          </p:cNvSpPr>
          <p:nvPr/>
        </p:nvSpPr>
        <p:spPr bwMode="auto">
          <a:xfrm>
            <a:off x="1189769" y="4921935"/>
            <a:ext cx="1062482" cy="929708"/>
          </a:xfrm>
          <a:prstGeom prst="rect">
            <a:avLst/>
          </a:prstGeom>
          <a:noFill/>
          <a:ln>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228600" indent="-228600" algn="l" rtl="0" eaLnBrk="0" fontAlgn="base" hangingPunct="0">
              <a:spcBef>
                <a:spcPct val="50000"/>
              </a:spcBef>
              <a:spcAft>
                <a:spcPct val="0"/>
              </a:spcAft>
              <a:buChar char="•"/>
              <a:defRPr sz="2400">
                <a:solidFill>
                  <a:schemeClr val="tx1"/>
                </a:solidFill>
                <a:latin typeface="+mn-lt"/>
                <a:ea typeface="ＭＳ Ｐゴシック" pitchFamily="-106" charset="-128"/>
                <a:cs typeface="ＭＳ Ｐゴシック" pitchFamily="-106" charset="-128"/>
              </a:defRPr>
            </a:lvl1pPr>
            <a:lvl2pPr marL="571500" indent="-228600" algn="l" rtl="0" eaLnBrk="0" fontAlgn="base" hangingPunct="0">
              <a:spcBef>
                <a:spcPct val="20000"/>
              </a:spcBef>
              <a:spcAft>
                <a:spcPct val="0"/>
              </a:spcAft>
              <a:buChar char="–"/>
              <a:defRPr sz="1600">
                <a:solidFill>
                  <a:schemeClr val="tx1"/>
                </a:solidFill>
                <a:latin typeface="+mn-lt"/>
                <a:ea typeface="ＭＳ Ｐゴシック" pitchFamily="-106" charset="-128"/>
              </a:defRPr>
            </a:lvl2pPr>
            <a:lvl3pPr marL="914400" indent="-228600" algn="l" rtl="0" eaLnBrk="0" fontAlgn="base" hangingPunct="0">
              <a:spcBef>
                <a:spcPct val="20000"/>
              </a:spcBef>
              <a:spcAft>
                <a:spcPct val="0"/>
              </a:spcAft>
              <a:buChar char="•"/>
              <a:defRPr sz="1400">
                <a:solidFill>
                  <a:schemeClr val="tx1"/>
                </a:solidFill>
                <a:latin typeface="+mn-lt"/>
                <a:ea typeface="ＭＳ Ｐゴシック" pitchFamily="-106" charset="-128"/>
              </a:defRPr>
            </a:lvl3pPr>
            <a:lvl4pPr marL="1257300" indent="-228600" algn="l" rtl="0" eaLnBrk="0" fontAlgn="base" hangingPunct="0">
              <a:spcBef>
                <a:spcPct val="20000"/>
              </a:spcBef>
              <a:spcAft>
                <a:spcPct val="0"/>
              </a:spcAft>
              <a:buChar char="–"/>
              <a:defRPr sz="1400">
                <a:solidFill>
                  <a:schemeClr val="tx1"/>
                </a:solidFill>
                <a:latin typeface="+mn-lt"/>
                <a:ea typeface="ＭＳ Ｐゴシック" pitchFamily="-106" charset="-128"/>
              </a:defRPr>
            </a:lvl4pPr>
            <a:lvl5pPr marL="1600200" indent="-228600" algn="l" rtl="0" eaLnBrk="0" fontAlgn="base" hangingPunct="0">
              <a:spcBef>
                <a:spcPct val="20000"/>
              </a:spcBef>
              <a:spcAft>
                <a:spcPct val="0"/>
              </a:spcAft>
              <a:buChar char="»"/>
              <a:defRPr sz="1400">
                <a:solidFill>
                  <a:schemeClr val="tx1"/>
                </a:solidFill>
                <a:latin typeface="+mn-lt"/>
                <a:ea typeface="ＭＳ Ｐゴシック" pitchFamily="-106" charset="-128"/>
              </a:defRPr>
            </a:lvl5pPr>
            <a:lvl6pPr marL="2057400" indent="-228600" algn="l" rtl="0" eaLnBrk="0" fontAlgn="base" hangingPunct="0">
              <a:spcBef>
                <a:spcPct val="20000"/>
              </a:spcBef>
              <a:spcAft>
                <a:spcPct val="0"/>
              </a:spcAft>
              <a:buChar char="»"/>
              <a:defRPr sz="1400">
                <a:solidFill>
                  <a:schemeClr val="tx1"/>
                </a:solidFill>
                <a:latin typeface="+mn-lt"/>
                <a:ea typeface="ＭＳ Ｐゴシック" pitchFamily="-106" charset="-128"/>
              </a:defRPr>
            </a:lvl6pPr>
            <a:lvl7pPr marL="2514600" indent="-228600" algn="l" rtl="0" eaLnBrk="0" fontAlgn="base" hangingPunct="0">
              <a:spcBef>
                <a:spcPct val="20000"/>
              </a:spcBef>
              <a:spcAft>
                <a:spcPct val="0"/>
              </a:spcAft>
              <a:buChar char="»"/>
              <a:defRPr sz="1400">
                <a:solidFill>
                  <a:schemeClr val="tx1"/>
                </a:solidFill>
                <a:latin typeface="+mn-lt"/>
                <a:ea typeface="ＭＳ Ｐゴシック" pitchFamily="-106" charset="-128"/>
              </a:defRPr>
            </a:lvl7pPr>
            <a:lvl8pPr marL="2971800" indent="-228600" algn="l" rtl="0" eaLnBrk="0" fontAlgn="base" hangingPunct="0">
              <a:spcBef>
                <a:spcPct val="20000"/>
              </a:spcBef>
              <a:spcAft>
                <a:spcPct val="0"/>
              </a:spcAft>
              <a:buChar char="»"/>
              <a:defRPr sz="1400">
                <a:solidFill>
                  <a:schemeClr val="tx1"/>
                </a:solidFill>
                <a:latin typeface="+mn-lt"/>
                <a:ea typeface="ＭＳ Ｐゴシック" pitchFamily="-106" charset="-128"/>
              </a:defRPr>
            </a:lvl8pPr>
            <a:lvl9pPr marL="3429000" indent="-228600" algn="l" rtl="0" eaLnBrk="0" fontAlgn="base" hangingPunct="0">
              <a:spcBef>
                <a:spcPct val="20000"/>
              </a:spcBef>
              <a:spcAft>
                <a:spcPct val="0"/>
              </a:spcAft>
              <a:buChar char="»"/>
              <a:defRPr sz="1400">
                <a:solidFill>
                  <a:schemeClr val="tx1"/>
                </a:solidFill>
                <a:latin typeface="+mn-lt"/>
                <a:ea typeface="ＭＳ Ｐゴシック" pitchFamily="-106" charset="-128"/>
              </a:defRPr>
            </a:lvl9pPr>
          </a:lstStyle>
          <a:p>
            <a:pPr marL="0" indent="0" defTabSz="1371566">
              <a:buNone/>
            </a:pPr>
            <a:endParaRPr lang="en-US" sz="6000" b="1" dirty="0">
              <a:solidFill>
                <a:srgbClr val="009900"/>
              </a:solidFill>
              <a:latin typeface="Frutiger 67 Bold Condensed" panose="02000503000000000000" pitchFamily="2" charset="0"/>
              <a:cs typeface="Arial"/>
            </a:endParaRPr>
          </a:p>
        </p:txBody>
      </p:sp>
      <p:sp>
        <p:nvSpPr>
          <p:cNvPr id="15" name="Rectángulo 68">
            <a:extLst>
              <a:ext uri="{FF2B5EF4-FFF2-40B4-BE49-F238E27FC236}">
                <a16:creationId xmlns:a16="http://schemas.microsoft.com/office/drawing/2014/main" id="{3D0A107F-DA14-7111-0290-DFC57570AFD4}"/>
              </a:ext>
            </a:extLst>
          </p:cNvPr>
          <p:cNvSpPr/>
          <p:nvPr/>
        </p:nvSpPr>
        <p:spPr>
          <a:xfrm>
            <a:off x="9246647" y="3358284"/>
            <a:ext cx="7015045" cy="1585049"/>
          </a:xfrm>
          <a:prstGeom prst="rect">
            <a:avLst/>
          </a:prstGeom>
        </p:spPr>
        <p:txBody>
          <a:bodyPr wrap="square" lIns="0" tIns="0" rIns="0" bIns="0">
            <a:spAutoFit/>
          </a:bodyPr>
          <a:lstStyle/>
          <a:p>
            <a:pPr defTabSz="1828755" fontAlgn="base">
              <a:spcBef>
                <a:spcPts val="900"/>
              </a:spcBef>
              <a:spcAft>
                <a:spcPct val="0"/>
              </a:spcAft>
              <a:buClr>
                <a:srgbClr val="000099"/>
              </a:buClr>
              <a:buSzPct val="80000"/>
              <a:tabLst>
                <a:tab pos="266694" algn="l"/>
              </a:tabLst>
            </a:pPr>
            <a:r>
              <a:rPr lang="en-US" sz="2400" dirty="0">
                <a:solidFill>
                  <a:srgbClr val="666666"/>
                </a:solidFill>
                <a:latin typeface="Frutiger 55 Roman" panose="02000503000000000000" pitchFamily="2" charset="0"/>
                <a:ea typeface="ＭＳ Ｐゴシック" charset="0"/>
                <a:cs typeface="Arial"/>
              </a:rPr>
              <a:t>The utilization of steel and other industry residues will allow saving natural resources as lime, coal and iron.</a:t>
            </a:r>
          </a:p>
          <a:p>
            <a:pPr defTabSz="1828755" fontAlgn="base">
              <a:spcBef>
                <a:spcPts val="900"/>
              </a:spcBef>
              <a:spcAft>
                <a:spcPct val="0"/>
              </a:spcAft>
              <a:buClr>
                <a:srgbClr val="000099"/>
              </a:buClr>
              <a:buSzPct val="80000"/>
              <a:tabLst>
                <a:tab pos="266694" algn="l"/>
              </a:tabLst>
            </a:pPr>
            <a:r>
              <a:rPr lang="en-US" sz="2000" b="1" i="1" dirty="0">
                <a:solidFill>
                  <a:srgbClr val="000099">
                    <a:lumMod val="50000"/>
                  </a:srgbClr>
                </a:solidFill>
                <a:latin typeface="Frutiger 55 Roman" panose="02000503000000000000" pitchFamily="2" charset="0"/>
                <a:ea typeface="ＭＳ Ｐゴシック" charset="0"/>
                <a:cs typeface="Arial"/>
              </a:rPr>
              <a:t>150 Kg of Polymers used per 100 Tons of Steel</a:t>
            </a:r>
          </a:p>
          <a:p>
            <a:pPr defTabSz="1828755" fontAlgn="base">
              <a:spcBef>
                <a:spcPts val="900"/>
              </a:spcBef>
              <a:spcAft>
                <a:spcPct val="0"/>
              </a:spcAft>
              <a:buClr>
                <a:srgbClr val="000099"/>
              </a:buClr>
              <a:buSzPct val="80000"/>
              <a:tabLst>
                <a:tab pos="266694" algn="l"/>
              </a:tabLst>
            </a:pPr>
            <a:endParaRPr lang="en-US" sz="2000" dirty="0">
              <a:solidFill>
                <a:srgbClr val="666666"/>
              </a:solidFill>
              <a:latin typeface="Frutiger 55 Roman" panose="02000503000000000000" pitchFamily="2" charset="0"/>
              <a:ea typeface="ＭＳ Ｐゴシック" charset="0"/>
              <a:cs typeface="Arial"/>
            </a:endParaRPr>
          </a:p>
        </p:txBody>
      </p:sp>
      <p:cxnSp>
        <p:nvCxnSpPr>
          <p:cNvPr id="21" name="Conector recto 11">
            <a:extLst>
              <a:ext uri="{FF2B5EF4-FFF2-40B4-BE49-F238E27FC236}">
                <a16:creationId xmlns:a16="http://schemas.microsoft.com/office/drawing/2014/main" id="{BB03F625-3ACE-AAA6-356D-A072DA70368F}"/>
              </a:ext>
            </a:extLst>
          </p:cNvPr>
          <p:cNvCxnSpPr>
            <a:cxnSpLocks/>
          </p:cNvCxnSpPr>
          <p:nvPr/>
        </p:nvCxnSpPr>
        <p:spPr>
          <a:xfrm>
            <a:off x="9246647" y="3187061"/>
            <a:ext cx="3135086" cy="0"/>
          </a:xfrm>
          <a:prstGeom prst="line">
            <a:avLst/>
          </a:prstGeom>
          <a:ln w="6350">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sp>
        <p:nvSpPr>
          <p:cNvPr id="22" name="Content Placeholder 2">
            <a:extLst>
              <a:ext uri="{FF2B5EF4-FFF2-40B4-BE49-F238E27FC236}">
                <a16:creationId xmlns:a16="http://schemas.microsoft.com/office/drawing/2014/main" id="{CC64F882-A8AE-0FE5-048F-1A9B807D38CF}"/>
              </a:ext>
            </a:extLst>
          </p:cNvPr>
          <p:cNvSpPr txBox="1">
            <a:spLocks/>
          </p:cNvSpPr>
          <p:nvPr/>
        </p:nvSpPr>
        <p:spPr bwMode="auto">
          <a:xfrm>
            <a:off x="8362695" y="3319783"/>
            <a:ext cx="1062482" cy="929708"/>
          </a:xfrm>
          <a:prstGeom prst="rect">
            <a:avLst/>
          </a:prstGeom>
          <a:noFill/>
          <a:ln>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228600" indent="-228600" algn="l" rtl="0" eaLnBrk="0" fontAlgn="base" hangingPunct="0">
              <a:spcBef>
                <a:spcPct val="50000"/>
              </a:spcBef>
              <a:spcAft>
                <a:spcPct val="0"/>
              </a:spcAft>
              <a:buChar char="•"/>
              <a:defRPr sz="2400">
                <a:solidFill>
                  <a:schemeClr val="tx1"/>
                </a:solidFill>
                <a:latin typeface="+mn-lt"/>
                <a:ea typeface="ＭＳ Ｐゴシック" pitchFamily="-106" charset="-128"/>
                <a:cs typeface="ＭＳ Ｐゴシック" pitchFamily="-106" charset="-128"/>
              </a:defRPr>
            </a:lvl1pPr>
            <a:lvl2pPr marL="571500" indent="-228600" algn="l" rtl="0" eaLnBrk="0" fontAlgn="base" hangingPunct="0">
              <a:spcBef>
                <a:spcPct val="20000"/>
              </a:spcBef>
              <a:spcAft>
                <a:spcPct val="0"/>
              </a:spcAft>
              <a:buChar char="–"/>
              <a:defRPr sz="1600">
                <a:solidFill>
                  <a:schemeClr val="tx1"/>
                </a:solidFill>
                <a:latin typeface="+mn-lt"/>
                <a:ea typeface="ＭＳ Ｐゴシック" pitchFamily="-106" charset="-128"/>
              </a:defRPr>
            </a:lvl2pPr>
            <a:lvl3pPr marL="914400" indent="-228600" algn="l" rtl="0" eaLnBrk="0" fontAlgn="base" hangingPunct="0">
              <a:spcBef>
                <a:spcPct val="20000"/>
              </a:spcBef>
              <a:spcAft>
                <a:spcPct val="0"/>
              </a:spcAft>
              <a:buChar char="•"/>
              <a:defRPr sz="1400">
                <a:solidFill>
                  <a:schemeClr val="tx1"/>
                </a:solidFill>
                <a:latin typeface="+mn-lt"/>
                <a:ea typeface="ＭＳ Ｐゴシック" pitchFamily="-106" charset="-128"/>
              </a:defRPr>
            </a:lvl3pPr>
            <a:lvl4pPr marL="1257300" indent="-228600" algn="l" rtl="0" eaLnBrk="0" fontAlgn="base" hangingPunct="0">
              <a:spcBef>
                <a:spcPct val="20000"/>
              </a:spcBef>
              <a:spcAft>
                <a:spcPct val="0"/>
              </a:spcAft>
              <a:buChar char="–"/>
              <a:defRPr sz="1400">
                <a:solidFill>
                  <a:schemeClr val="tx1"/>
                </a:solidFill>
                <a:latin typeface="+mn-lt"/>
                <a:ea typeface="ＭＳ Ｐゴシック" pitchFamily="-106" charset="-128"/>
              </a:defRPr>
            </a:lvl4pPr>
            <a:lvl5pPr marL="1600200" indent="-228600" algn="l" rtl="0" eaLnBrk="0" fontAlgn="base" hangingPunct="0">
              <a:spcBef>
                <a:spcPct val="20000"/>
              </a:spcBef>
              <a:spcAft>
                <a:spcPct val="0"/>
              </a:spcAft>
              <a:buChar char="»"/>
              <a:defRPr sz="1400">
                <a:solidFill>
                  <a:schemeClr val="tx1"/>
                </a:solidFill>
                <a:latin typeface="+mn-lt"/>
                <a:ea typeface="ＭＳ Ｐゴシック" pitchFamily="-106" charset="-128"/>
              </a:defRPr>
            </a:lvl5pPr>
            <a:lvl6pPr marL="2057400" indent="-228600" algn="l" rtl="0" eaLnBrk="0" fontAlgn="base" hangingPunct="0">
              <a:spcBef>
                <a:spcPct val="20000"/>
              </a:spcBef>
              <a:spcAft>
                <a:spcPct val="0"/>
              </a:spcAft>
              <a:buChar char="»"/>
              <a:defRPr sz="1400">
                <a:solidFill>
                  <a:schemeClr val="tx1"/>
                </a:solidFill>
                <a:latin typeface="+mn-lt"/>
                <a:ea typeface="ＭＳ Ｐゴシック" pitchFamily="-106" charset="-128"/>
              </a:defRPr>
            </a:lvl6pPr>
            <a:lvl7pPr marL="2514600" indent="-228600" algn="l" rtl="0" eaLnBrk="0" fontAlgn="base" hangingPunct="0">
              <a:spcBef>
                <a:spcPct val="20000"/>
              </a:spcBef>
              <a:spcAft>
                <a:spcPct val="0"/>
              </a:spcAft>
              <a:buChar char="»"/>
              <a:defRPr sz="1400">
                <a:solidFill>
                  <a:schemeClr val="tx1"/>
                </a:solidFill>
                <a:latin typeface="+mn-lt"/>
                <a:ea typeface="ＭＳ Ｐゴシック" pitchFamily="-106" charset="-128"/>
              </a:defRPr>
            </a:lvl7pPr>
            <a:lvl8pPr marL="2971800" indent="-228600" algn="l" rtl="0" eaLnBrk="0" fontAlgn="base" hangingPunct="0">
              <a:spcBef>
                <a:spcPct val="20000"/>
              </a:spcBef>
              <a:spcAft>
                <a:spcPct val="0"/>
              </a:spcAft>
              <a:buChar char="»"/>
              <a:defRPr sz="1400">
                <a:solidFill>
                  <a:schemeClr val="tx1"/>
                </a:solidFill>
                <a:latin typeface="+mn-lt"/>
                <a:ea typeface="ＭＳ Ｐゴシック" pitchFamily="-106" charset="-128"/>
              </a:defRPr>
            </a:lvl8pPr>
            <a:lvl9pPr marL="3429000" indent="-228600" algn="l" rtl="0" eaLnBrk="0" fontAlgn="base" hangingPunct="0">
              <a:spcBef>
                <a:spcPct val="20000"/>
              </a:spcBef>
              <a:spcAft>
                <a:spcPct val="0"/>
              </a:spcAft>
              <a:buChar char="»"/>
              <a:defRPr sz="1400">
                <a:solidFill>
                  <a:schemeClr val="tx1"/>
                </a:solidFill>
                <a:latin typeface="+mn-lt"/>
                <a:ea typeface="ＭＳ Ｐゴシック" pitchFamily="-106" charset="-128"/>
              </a:defRPr>
            </a:lvl9pPr>
          </a:lstStyle>
          <a:p>
            <a:pPr marL="0" indent="0" defTabSz="1371566">
              <a:buNone/>
            </a:pPr>
            <a:endParaRPr lang="en-US" sz="6000" b="1" dirty="0">
              <a:solidFill>
                <a:srgbClr val="009900"/>
              </a:solidFill>
              <a:latin typeface="Frutiger 67 Bold Condensed" panose="02000503000000000000" pitchFamily="2" charset="0"/>
              <a:cs typeface="Arial"/>
            </a:endParaRPr>
          </a:p>
        </p:txBody>
      </p:sp>
      <p:sp>
        <p:nvSpPr>
          <p:cNvPr id="23" name="TextBox 17">
            <a:extLst>
              <a:ext uri="{FF2B5EF4-FFF2-40B4-BE49-F238E27FC236}">
                <a16:creationId xmlns:a16="http://schemas.microsoft.com/office/drawing/2014/main" id="{82355F94-FD2B-CDF1-60E4-08F337F345D3}"/>
              </a:ext>
            </a:extLst>
          </p:cNvPr>
          <p:cNvSpPr txBox="1"/>
          <p:nvPr/>
        </p:nvSpPr>
        <p:spPr>
          <a:xfrm>
            <a:off x="1096771" y="2645780"/>
            <a:ext cx="4494813" cy="553998"/>
          </a:xfrm>
          <a:prstGeom prst="rect">
            <a:avLst/>
          </a:prstGeom>
          <a:noFill/>
        </p:spPr>
        <p:txBody>
          <a:bodyPr wrap="square">
            <a:spAutoFit/>
          </a:bodyPr>
          <a:lstStyle/>
          <a:p>
            <a:pPr defTabSz="1828755" fontAlgn="base">
              <a:spcBef>
                <a:spcPts val="900"/>
              </a:spcBef>
              <a:spcAft>
                <a:spcPct val="0"/>
              </a:spcAft>
              <a:buClr>
                <a:srgbClr val="000099"/>
              </a:buClr>
              <a:buSzPct val="80000"/>
              <a:tabLst>
                <a:tab pos="266694" algn="l"/>
              </a:tabLst>
            </a:pPr>
            <a:r>
              <a:rPr lang="en-US" sz="3000" b="1" dirty="0">
                <a:solidFill>
                  <a:srgbClr val="009900"/>
                </a:solidFill>
                <a:latin typeface="Frutiger 55 Roman" panose="02000503000000000000" pitchFamily="2" charset="0"/>
                <a:ea typeface="ＭＳ Ｐゴシック" charset="0"/>
                <a:cs typeface="Arial"/>
              </a:rPr>
              <a:t>Circularity</a:t>
            </a:r>
          </a:p>
        </p:txBody>
      </p:sp>
      <p:sp>
        <p:nvSpPr>
          <p:cNvPr id="24" name="TextBox 18">
            <a:extLst>
              <a:ext uri="{FF2B5EF4-FFF2-40B4-BE49-F238E27FC236}">
                <a16:creationId xmlns:a16="http://schemas.microsoft.com/office/drawing/2014/main" id="{57741B19-E014-5583-05AF-61A3CB17E1AA}"/>
              </a:ext>
            </a:extLst>
          </p:cNvPr>
          <p:cNvSpPr txBox="1"/>
          <p:nvPr/>
        </p:nvSpPr>
        <p:spPr>
          <a:xfrm>
            <a:off x="1096770" y="5235426"/>
            <a:ext cx="4494813" cy="553998"/>
          </a:xfrm>
          <a:prstGeom prst="rect">
            <a:avLst/>
          </a:prstGeom>
          <a:noFill/>
        </p:spPr>
        <p:txBody>
          <a:bodyPr wrap="square">
            <a:spAutoFit/>
          </a:bodyPr>
          <a:lstStyle/>
          <a:p>
            <a:pPr defTabSz="1828755" fontAlgn="base">
              <a:spcBef>
                <a:spcPts val="900"/>
              </a:spcBef>
              <a:spcAft>
                <a:spcPct val="0"/>
              </a:spcAft>
              <a:buClr>
                <a:srgbClr val="000099"/>
              </a:buClr>
              <a:buSzPct val="80000"/>
              <a:tabLst>
                <a:tab pos="266694" algn="l"/>
              </a:tabLst>
            </a:pPr>
            <a:r>
              <a:rPr lang="en-US" sz="3000" b="1" dirty="0">
                <a:solidFill>
                  <a:srgbClr val="009900"/>
                </a:solidFill>
                <a:latin typeface="Frutiger 55 Roman" panose="02000503000000000000" pitchFamily="2" charset="0"/>
                <a:ea typeface="ＭＳ Ｐゴシック" charset="0"/>
                <a:cs typeface="Arial"/>
              </a:rPr>
              <a:t>CO2</a:t>
            </a:r>
          </a:p>
        </p:txBody>
      </p:sp>
      <p:sp>
        <p:nvSpPr>
          <p:cNvPr id="25" name="TextBox 19">
            <a:extLst>
              <a:ext uri="{FF2B5EF4-FFF2-40B4-BE49-F238E27FC236}">
                <a16:creationId xmlns:a16="http://schemas.microsoft.com/office/drawing/2014/main" id="{B91EF0BF-5CE7-FC16-1466-A670AF824D16}"/>
              </a:ext>
            </a:extLst>
          </p:cNvPr>
          <p:cNvSpPr txBox="1"/>
          <p:nvPr/>
        </p:nvSpPr>
        <p:spPr>
          <a:xfrm>
            <a:off x="9110577" y="2574899"/>
            <a:ext cx="4494813" cy="1131079"/>
          </a:xfrm>
          <a:prstGeom prst="rect">
            <a:avLst/>
          </a:prstGeom>
          <a:noFill/>
        </p:spPr>
        <p:txBody>
          <a:bodyPr wrap="square">
            <a:spAutoFit/>
          </a:bodyPr>
          <a:lstStyle/>
          <a:p>
            <a:pPr defTabSz="1828755" fontAlgn="base">
              <a:spcBef>
                <a:spcPts val="900"/>
              </a:spcBef>
              <a:spcAft>
                <a:spcPct val="0"/>
              </a:spcAft>
              <a:buClr>
                <a:srgbClr val="000099"/>
              </a:buClr>
              <a:buSzPct val="80000"/>
              <a:tabLst>
                <a:tab pos="266694" algn="l"/>
              </a:tabLst>
            </a:pPr>
            <a:r>
              <a:rPr lang="en-US" sz="3000" b="1" dirty="0">
                <a:solidFill>
                  <a:srgbClr val="009900"/>
                </a:solidFill>
                <a:latin typeface="Frutiger 55 Roman" panose="02000503000000000000" pitchFamily="2" charset="0"/>
                <a:ea typeface="ＭＳ Ｐゴシック" charset="0"/>
                <a:cs typeface="Arial"/>
              </a:rPr>
              <a:t>Resource conservation</a:t>
            </a:r>
          </a:p>
          <a:p>
            <a:pPr defTabSz="1828755" fontAlgn="base">
              <a:spcBef>
                <a:spcPts val="900"/>
              </a:spcBef>
              <a:spcAft>
                <a:spcPct val="0"/>
              </a:spcAft>
              <a:buClr>
                <a:srgbClr val="000099"/>
              </a:buClr>
              <a:buSzPct val="80000"/>
              <a:tabLst>
                <a:tab pos="266694" algn="l"/>
              </a:tabLst>
            </a:pPr>
            <a:endParaRPr lang="en-US" sz="3000" b="1" dirty="0">
              <a:solidFill>
                <a:srgbClr val="009900"/>
              </a:solidFill>
              <a:latin typeface="Frutiger 55 Roman" panose="02000503000000000000" pitchFamily="2" charset="0"/>
              <a:ea typeface="ＭＳ Ｐゴシック" charset="0"/>
              <a:cs typeface="Arial"/>
            </a:endParaRPr>
          </a:p>
        </p:txBody>
      </p:sp>
    </p:spTree>
    <p:extLst>
      <p:ext uri="{BB962C8B-B14F-4D97-AF65-F5344CB8AC3E}">
        <p14:creationId xmlns:p14="http://schemas.microsoft.com/office/powerpoint/2010/main" val="3302105800"/>
      </p:ext>
    </p:extLst>
  </p:cSld>
  <p:clrMapOvr>
    <a:masterClrMapping/>
  </p:clrMapOvr>
  <mc:AlternateContent xmlns:mc="http://schemas.openxmlformats.org/markup-compatibility/2006" xmlns:p14="http://schemas.microsoft.com/office/powerpoint/2010/main">
    <mc:Choice Requires="p14">
      <p:transition spd="slow" p14:dur="2000" advTm="83130"/>
    </mc:Choice>
    <mc:Fallback xmlns="">
      <p:transition spd="slow" advTm="83130"/>
    </mc:Fallback>
  </mc:AlternateContent>
</p:sld>
</file>

<file path=ppt/slides/slide199.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extruta 1">
            <a:extLst>
              <a:ext uri="{FF2B5EF4-FFF2-40B4-BE49-F238E27FC236}">
                <a16:creationId xmlns:a16="http://schemas.microsoft.com/office/drawing/2014/main" id="{CCE47E9F-CA6B-B8EB-E10E-1C31F83F3916}"/>
              </a:ext>
            </a:extLst>
          </p:cNvPr>
          <p:cNvSpPr txBox="1"/>
          <p:nvPr/>
        </p:nvSpPr>
        <p:spPr>
          <a:xfrm>
            <a:off x="2638425" y="4035504"/>
            <a:ext cx="13011150" cy="2215991"/>
          </a:xfrm>
          <a:prstGeom prst="rect">
            <a:avLst/>
          </a:prstGeom>
          <a:noFill/>
        </p:spPr>
        <p:txBody>
          <a:bodyPr wrap="square" rtlCol="0">
            <a:spAutoFit/>
          </a:bodyPr>
          <a:lstStyle/>
          <a:p>
            <a:pPr algn="ctr"/>
            <a:r>
              <a:rPr lang="sv-SE" sz="13800" dirty="0">
                <a:solidFill>
                  <a:schemeClr val="bg1"/>
                </a:solidFill>
              </a:rPr>
              <a:t>RESULTS</a:t>
            </a:r>
          </a:p>
        </p:txBody>
      </p:sp>
    </p:spTree>
    <p:extLst>
      <p:ext uri="{BB962C8B-B14F-4D97-AF65-F5344CB8AC3E}">
        <p14:creationId xmlns:p14="http://schemas.microsoft.com/office/powerpoint/2010/main" val="12492735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6"/>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4"/>
          <a:srcRect/>
          <a:stretch>
            <a:fillRect/>
          </a:stretch>
        </p:blipFill>
        <p:spPr>
          <a:xfrm>
            <a:off x="0" y="8901113"/>
            <a:ext cx="5715000" cy="1385887"/>
          </a:xfrm>
          <a:prstGeom prst="rect">
            <a:avLst/>
          </a:prstGeom>
        </p:spPr>
      </p:pic>
      <p:grpSp>
        <p:nvGrpSpPr>
          <p:cNvPr id="3" name="Gruppo 2">
            <a:extLst>
              <a:ext uri="{FF2B5EF4-FFF2-40B4-BE49-F238E27FC236}">
                <a16:creationId xmlns:a16="http://schemas.microsoft.com/office/drawing/2014/main" id="{1C29CBCA-BE0A-4EF6-AC69-329941E1DCFD}"/>
              </a:ext>
            </a:extLst>
          </p:cNvPr>
          <p:cNvGrpSpPr/>
          <p:nvPr/>
        </p:nvGrpSpPr>
        <p:grpSpPr>
          <a:xfrm>
            <a:off x="-12" y="138554"/>
            <a:ext cx="18288002" cy="681138"/>
            <a:chOff x="-12" y="138554"/>
            <a:chExt cx="18288002" cy="681138"/>
          </a:xfrm>
        </p:grpSpPr>
        <p:grpSp>
          <p:nvGrpSpPr>
            <p:cNvPr id="2" name="Gruppo 1">
              <a:extLst>
                <a:ext uri="{FF2B5EF4-FFF2-40B4-BE49-F238E27FC236}">
                  <a16:creationId xmlns:a16="http://schemas.microsoft.com/office/drawing/2014/main" id="{24E9C7AF-0093-476F-826C-A2702AB72892}"/>
                </a:ext>
              </a:extLst>
            </p:cNvPr>
            <p:cNvGrpSpPr/>
            <p:nvPr/>
          </p:nvGrpSpPr>
          <p:grpSpPr>
            <a:xfrm>
              <a:off x="0" y="153125"/>
              <a:ext cx="17907000" cy="666567"/>
              <a:chOff x="0" y="153125"/>
              <a:chExt cx="17907000" cy="666567"/>
            </a:xfrm>
          </p:grpSpPr>
          <p:pic>
            <p:nvPicPr>
              <p:cNvPr id="10" name="Picture 10"/>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2" name="TextBox 11">
                <a:extLst>
                  <a:ext uri="{FF2B5EF4-FFF2-40B4-BE49-F238E27FC236}">
                    <a16:creationId xmlns:a16="http://schemas.microsoft.com/office/drawing/2014/main" id="{1BD9B5F4-614C-4EB6-8C5B-120A5420CE43}"/>
                  </a:ext>
                </a:extLst>
              </p:cNvPr>
              <p:cNvSpPr txBox="1"/>
              <p:nvPr/>
            </p:nvSpPr>
            <p:spPr>
              <a:xfrm>
                <a:off x="12154296" y="257980"/>
                <a:ext cx="5752704" cy="456856"/>
              </a:xfrm>
              <a:prstGeom prst="rect">
                <a:avLst/>
              </a:prstGeom>
            </p:spPr>
            <p:txBody>
              <a:bodyPr wrap="square" lIns="0" tIns="0" rIns="0" bIns="0" rtlCol="0" anchor="t">
                <a:spAutoFit/>
              </a:bodyPr>
              <a:lstStyle/>
              <a:p>
                <a:pPr algn="r">
                  <a:lnSpc>
                    <a:spcPts val="3919"/>
                  </a:lnSpc>
                  <a:spcBef>
                    <a:spcPct val="0"/>
                  </a:spcBef>
                </a:pPr>
                <a:endParaRPr lang="en-US" sz="2800">
                  <a:solidFill>
                    <a:schemeClr val="tx1">
                      <a:lumMod val="75000"/>
                      <a:lumOff val="25000"/>
                    </a:schemeClr>
                  </a:solidFill>
                  <a:latin typeface="Arial" panose="020B0604020202020204" pitchFamily="34" charset="0"/>
                  <a:cs typeface="Arial" panose="020B0604020202020204" pitchFamily="34" charset="0"/>
                </a:endParaRPr>
              </a:p>
            </p:txBody>
          </p:sp>
        </p:grpSp>
        <p:sp>
          <p:nvSpPr>
            <p:cNvPr id="14" name="Rettangolo 13">
              <a:extLst>
                <a:ext uri="{FF2B5EF4-FFF2-40B4-BE49-F238E27FC236}">
                  <a16:creationId xmlns:a16="http://schemas.microsoft.com/office/drawing/2014/main" id="{55199736-B8B6-4C9A-8BAF-233E07A0CA89}"/>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3" name="TextBox 13"/>
          <p:cNvSpPr txBox="1"/>
          <p:nvPr/>
        </p:nvSpPr>
        <p:spPr>
          <a:xfrm>
            <a:off x="1206790" y="763022"/>
            <a:ext cx="15011399" cy="1023293"/>
          </a:xfrm>
          <a:prstGeom prst="rect">
            <a:avLst/>
          </a:prstGeom>
        </p:spPr>
        <p:txBody>
          <a:bodyPr wrap="square" lIns="0" tIns="0" rIns="0" bIns="0" rtlCol="0" anchor="t">
            <a:spAutoFit/>
          </a:bodyPr>
          <a:lstStyle/>
          <a:p>
            <a:pPr algn="ctr">
              <a:lnSpc>
                <a:spcPts val="8960"/>
              </a:lnSpc>
              <a:spcBef>
                <a:spcPct val="0"/>
              </a:spcBef>
            </a:pPr>
            <a:r>
              <a:rPr lang="en-US" sz="5400" b="1">
                <a:solidFill>
                  <a:srgbClr val="CC0033"/>
                </a:solidFill>
                <a:latin typeface="+mj-lt"/>
                <a:cs typeface="Arial" panose="020B0604020202020204" pitchFamily="34" charset="0"/>
              </a:rPr>
              <a:t>About the course</a:t>
            </a:r>
            <a:endParaRPr lang="en-US" sz="4400" b="1" i="1">
              <a:solidFill>
                <a:srgbClr val="CC0033"/>
              </a:solidFill>
              <a:latin typeface="+mj-lt"/>
              <a:cs typeface="Arial" panose="020B0604020202020204" pitchFamily="34" charset="0"/>
            </a:endParaRPr>
          </a:p>
        </p:txBody>
      </p:sp>
      <p:sp>
        <p:nvSpPr>
          <p:cNvPr id="22" name="TextBox 21">
            <a:extLst>
              <a:ext uri="{FF2B5EF4-FFF2-40B4-BE49-F238E27FC236}">
                <a16:creationId xmlns:a16="http://schemas.microsoft.com/office/drawing/2014/main" id="{F21DCD0B-B68A-4D7A-9F6C-6D71442D13F2}"/>
              </a:ext>
            </a:extLst>
          </p:cNvPr>
          <p:cNvSpPr txBox="1"/>
          <p:nvPr/>
        </p:nvSpPr>
        <p:spPr>
          <a:xfrm>
            <a:off x="838189" y="1942030"/>
            <a:ext cx="16611600" cy="7858562"/>
          </a:xfrm>
          <a:prstGeom prst="rect">
            <a:avLst/>
          </a:prstGeom>
        </p:spPr>
        <p:txBody>
          <a:bodyPr wrap="square" lIns="0" tIns="0" rIns="0" bIns="0" rtlCol="0" anchor="t">
            <a:spAutoFit/>
          </a:bodyPr>
          <a:lstStyle/>
          <a:p>
            <a:r>
              <a:rPr lang="en-US" sz="2800" kern="100" dirty="0">
                <a:solidFill>
                  <a:srgbClr val="404040"/>
                </a:solidFill>
                <a:latin typeface="+mj-lt"/>
                <a:ea typeface="Noto Sans CJK SC"/>
                <a:cs typeface="Lohit Devanagari"/>
              </a:rPr>
              <a:t>This learning material has been developed as part of the RETROFEED project: </a:t>
            </a:r>
            <a:r>
              <a:rPr lang="en-GB" sz="2800" b="1" kern="0" dirty="0">
                <a:effectLst/>
                <a:latin typeface="+mj-lt"/>
                <a:sym typeface="+mn-ea"/>
              </a:rPr>
              <a:t>Implementation of a Smart </a:t>
            </a:r>
            <a:r>
              <a:rPr lang="en-GB" sz="2800" b="1" kern="0" dirty="0" err="1">
                <a:effectLst/>
                <a:latin typeface="+mj-lt"/>
                <a:sym typeface="+mn-ea"/>
              </a:rPr>
              <a:t>RETROfitting</a:t>
            </a:r>
            <a:r>
              <a:rPr lang="en-GB" sz="2800" b="1" kern="0" dirty="0">
                <a:effectLst/>
                <a:latin typeface="+mj-lt"/>
                <a:sym typeface="+mn-ea"/>
              </a:rPr>
              <a:t> Framework in the Process Industry towards its Operation with Variable, Biobased and Circular </a:t>
            </a:r>
            <a:r>
              <a:rPr lang="en-GB" sz="2800" b="1" kern="0" dirty="0" err="1">
                <a:effectLst/>
                <a:latin typeface="+mj-lt"/>
                <a:sym typeface="+mn-ea"/>
              </a:rPr>
              <a:t>FEEDstock</a:t>
            </a:r>
            <a:r>
              <a:rPr lang="en-GB" sz="2800" b="1" kern="0" dirty="0">
                <a:effectLst/>
                <a:latin typeface="+mj-lt"/>
                <a:sym typeface="+mn-ea"/>
              </a:rPr>
              <a:t>. </a:t>
            </a:r>
            <a:endParaRPr lang="en-GB" sz="2800" b="1" kern="0" dirty="0">
              <a:latin typeface="+mj-lt"/>
              <a:sym typeface="+mn-ea"/>
            </a:endParaRPr>
          </a:p>
          <a:p>
            <a:endParaRPr lang="en-GB" sz="2800" b="1" kern="0" dirty="0">
              <a:effectLst/>
              <a:latin typeface="+mj-lt"/>
              <a:sym typeface="+mn-ea"/>
            </a:endParaRPr>
          </a:p>
          <a:p>
            <a:r>
              <a:rPr lang="en-GB" sz="2800" b="1" kern="0" dirty="0">
                <a:latin typeface="+mj-lt"/>
                <a:sym typeface="+mn-ea"/>
              </a:rPr>
              <a:t>In this course, the students will learn about:</a:t>
            </a:r>
          </a:p>
          <a:p>
            <a:pPr marL="457200" indent="-457200">
              <a:buFont typeface="Arial" panose="020B0604020202020204" pitchFamily="34" charset="0"/>
              <a:buChar char="•"/>
            </a:pPr>
            <a:r>
              <a:rPr lang="sv-SE" sz="2800" dirty="0" err="1">
                <a:ea typeface="+mn-ea"/>
                <a:cs typeface="Arial" panose="020B0604020202020204" pitchFamily="34" charset="0"/>
              </a:rPr>
              <a:t>What</a:t>
            </a:r>
            <a:r>
              <a:rPr lang="sv-SE" sz="2800" dirty="0">
                <a:ea typeface="+mn-ea"/>
                <a:cs typeface="Arial" panose="020B0604020202020204" pitchFamily="34" charset="0"/>
              </a:rPr>
              <a:t> drives the </a:t>
            </a:r>
            <a:r>
              <a:rPr lang="sv-SE" sz="2800" dirty="0" err="1">
                <a:ea typeface="+mn-ea"/>
                <a:cs typeface="Arial" panose="020B0604020202020204" pitchFamily="34" charset="0"/>
              </a:rPr>
              <a:t>industry</a:t>
            </a:r>
            <a:r>
              <a:rPr lang="sv-SE" sz="2800" dirty="0">
                <a:ea typeface="+mn-ea"/>
                <a:cs typeface="Arial" panose="020B0604020202020204" pitchFamily="34" charset="0"/>
              </a:rPr>
              <a:t> to </a:t>
            </a:r>
            <a:r>
              <a:rPr lang="sv-SE" sz="2800" dirty="0" err="1">
                <a:ea typeface="+mn-ea"/>
                <a:cs typeface="Arial" panose="020B0604020202020204" pitchFamily="34" charset="0"/>
              </a:rPr>
              <a:t>retrofit</a:t>
            </a:r>
            <a:r>
              <a:rPr lang="sv-SE" sz="2800" dirty="0">
                <a:ea typeface="+mn-ea"/>
                <a:cs typeface="Arial" panose="020B0604020202020204" pitchFamily="34" charset="0"/>
              </a:rPr>
              <a:t> </a:t>
            </a:r>
            <a:r>
              <a:rPr lang="sv-SE" sz="2800" dirty="0" err="1">
                <a:ea typeface="+mn-ea"/>
                <a:cs typeface="Arial" panose="020B0604020202020204" pitchFamily="34" charset="0"/>
              </a:rPr>
              <a:t>their</a:t>
            </a:r>
            <a:r>
              <a:rPr lang="sv-SE" sz="2800" dirty="0">
                <a:ea typeface="+mn-ea"/>
                <a:cs typeface="Arial" panose="020B0604020202020204" pitchFamily="34" charset="0"/>
              </a:rPr>
              <a:t> </a:t>
            </a:r>
            <a:r>
              <a:rPr lang="sv-SE" sz="2800" dirty="0" err="1">
                <a:ea typeface="+mn-ea"/>
                <a:cs typeface="Arial" panose="020B0604020202020204" pitchFamily="34" charset="0"/>
              </a:rPr>
              <a:t>traditional</a:t>
            </a:r>
            <a:r>
              <a:rPr lang="sv-SE" sz="2800" dirty="0">
                <a:ea typeface="+mn-ea"/>
                <a:cs typeface="Arial" panose="020B0604020202020204" pitchFamily="34" charset="0"/>
              </a:rPr>
              <a:t> </a:t>
            </a:r>
            <a:r>
              <a:rPr lang="sv-SE" sz="2800" dirty="0" err="1">
                <a:ea typeface="+mn-ea"/>
                <a:cs typeface="Arial" panose="020B0604020202020204" pitchFamily="34" charset="0"/>
              </a:rPr>
              <a:t>processes</a:t>
            </a:r>
            <a:r>
              <a:rPr lang="sv-SE" sz="2800" dirty="0">
                <a:ea typeface="+mn-ea"/>
                <a:cs typeface="Arial" panose="020B0604020202020204" pitchFamily="34" charset="0"/>
              </a:rPr>
              <a:t>?</a:t>
            </a:r>
          </a:p>
          <a:p>
            <a:pPr marL="457200" indent="-457200">
              <a:buFont typeface="Arial" panose="020B0604020202020204" pitchFamily="34" charset="0"/>
              <a:buChar char="•"/>
            </a:pPr>
            <a:r>
              <a:rPr lang="sv-SE" sz="2800" dirty="0" err="1">
                <a:cs typeface="Arial" panose="020B0604020202020204" pitchFamily="34" charset="0"/>
              </a:rPr>
              <a:t>Why</a:t>
            </a:r>
            <a:r>
              <a:rPr lang="sv-SE" sz="2800" dirty="0">
                <a:cs typeface="Arial" panose="020B0604020202020204" pitchFamily="34" charset="0"/>
              </a:rPr>
              <a:t> &amp; </a:t>
            </a:r>
            <a:r>
              <a:rPr lang="sv-SE" sz="2800" dirty="0" err="1">
                <a:cs typeface="Arial" panose="020B0604020202020204" pitchFamily="34" charset="0"/>
              </a:rPr>
              <a:t>where</a:t>
            </a:r>
            <a:r>
              <a:rPr lang="sv-SE" sz="2800" dirty="0">
                <a:cs typeface="Arial" panose="020B0604020202020204" pitchFamily="34" charset="0"/>
              </a:rPr>
              <a:t> is </a:t>
            </a:r>
            <a:r>
              <a:rPr lang="sv-SE" sz="2800" dirty="0" err="1">
                <a:cs typeface="Arial" panose="020B0604020202020204" pitchFamily="34" charset="0"/>
              </a:rPr>
              <a:t>retrofitting</a:t>
            </a:r>
            <a:r>
              <a:rPr lang="sv-SE" sz="2800" dirty="0">
                <a:cs typeface="Arial" panose="020B0604020202020204" pitchFamily="34" charset="0"/>
              </a:rPr>
              <a:t> </a:t>
            </a:r>
            <a:r>
              <a:rPr lang="sv-SE" sz="2800" dirty="0" err="1">
                <a:cs typeface="Arial" panose="020B0604020202020204" pitchFamily="34" charset="0"/>
              </a:rPr>
              <a:t>needed</a:t>
            </a:r>
            <a:r>
              <a:rPr lang="sv-SE" sz="2800" dirty="0">
                <a:cs typeface="Arial" panose="020B0604020202020204" pitchFamily="34" charset="0"/>
              </a:rPr>
              <a:t>, </a:t>
            </a:r>
            <a:r>
              <a:rPr lang="sv-SE" sz="2800" dirty="0" err="1">
                <a:cs typeface="Arial" panose="020B0604020202020204" pitchFamily="34" charset="0"/>
              </a:rPr>
              <a:t>with</a:t>
            </a:r>
            <a:r>
              <a:rPr lang="sv-SE" sz="2800" dirty="0">
                <a:cs typeface="Arial" panose="020B0604020202020204" pitchFamily="34" charset="0"/>
              </a:rPr>
              <a:t> </a:t>
            </a:r>
            <a:r>
              <a:rPr lang="sv-SE" sz="2800" dirty="0" err="1">
                <a:cs typeface="Arial" panose="020B0604020202020204" pitchFamily="34" charset="0"/>
              </a:rPr>
              <a:t>concrete</a:t>
            </a:r>
            <a:r>
              <a:rPr lang="sv-SE" sz="2800" dirty="0">
                <a:cs typeface="Arial" panose="020B0604020202020204" pitchFamily="34" charset="0"/>
              </a:rPr>
              <a:t> </a:t>
            </a:r>
            <a:r>
              <a:rPr lang="sv-SE" sz="2800" dirty="0" err="1">
                <a:cs typeface="Arial" panose="020B0604020202020204" pitchFamily="34" charset="0"/>
              </a:rPr>
              <a:t>examples</a:t>
            </a:r>
            <a:r>
              <a:rPr lang="sv-SE" sz="2800" dirty="0">
                <a:cs typeface="Arial" panose="020B0604020202020204" pitchFamily="34" charset="0"/>
              </a:rPr>
              <a:t> from </a:t>
            </a:r>
            <a:r>
              <a:rPr lang="en-US" sz="2800" b="0" i="0" dirty="0">
                <a:solidFill>
                  <a:srgbClr val="333333"/>
                </a:solidFill>
                <a:effectLst/>
                <a:latin typeface="Arial" panose="020B0604020202020204" pitchFamily="34" charset="0"/>
              </a:rPr>
              <a:t>five resource and energy intensive sectors - ceramic, cement, aluminum, steel, and agrochemical.</a:t>
            </a:r>
          </a:p>
          <a:p>
            <a:pPr marL="457200" indent="-457200">
              <a:buFont typeface="Arial" panose="020B0604020202020204" pitchFamily="34" charset="0"/>
              <a:buChar char="•"/>
            </a:pPr>
            <a:r>
              <a:rPr lang="en-US" sz="2800" dirty="0">
                <a:solidFill>
                  <a:srgbClr val="333333"/>
                </a:solidFill>
                <a:latin typeface="Arial" panose="020B0604020202020204" pitchFamily="34" charset="0"/>
              </a:rPr>
              <a:t>How can a digital Decision Support System be used to </a:t>
            </a:r>
            <a:r>
              <a:rPr lang="sv-SE" sz="2800" dirty="0">
                <a:solidFill>
                  <a:srgbClr val="333333"/>
                </a:solidFill>
                <a:latin typeface="Arial" panose="020B0604020202020204" pitchFamily="34" charset="0"/>
              </a:rPr>
              <a:t>monitor, </a:t>
            </a:r>
            <a:r>
              <a:rPr lang="sv-SE" sz="2800" dirty="0" err="1">
                <a:solidFill>
                  <a:srgbClr val="333333"/>
                </a:solidFill>
                <a:latin typeface="Arial" panose="020B0604020202020204" pitchFamily="34" charset="0"/>
              </a:rPr>
              <a:t>analyze</a:t>
            </a:r>
            <a:r>
              <a:rPr lang="sv-SE" sz="2800" dirty="0">
                <a:solidFill>
                  <a:srgbClr val="333333"/>
                </a:solidFill>
                <a:latin typeface="Arial" panose="020B0604020202020204" pitchFamily="34" charset="0"/>
              </a:rPr>
              <a:t> and </a:t>
            </a:r>
            <a:r>
              <a:rPr lang="sv-SE" sz="2800" dirty="0" err="1">
                <a:solidFill>
                  <a:srgbClr val="333333"/>
                </a:solidFill>
                <a:latin typeface="Arial" panose="020B0604020202020204" pitchFamily="34" charset="0"/>
              </a:rPr>
              <a:t>simulate</a:t>
            </a:r>
            <a:r>
              <a:rPr lang="sv-SE" sz="2800" dirty="0">
                <a:solidFill>
                  <a:srgbClr val="333333"/>
                </a:solidFill>
                <a:latin typeface="Arial" panose="020B0604020202020204" pitchFamily="34" charset="0"/>
              </a:rPr>
              <a:t> </a:t>
            </a:r>
            <a:r>
              <a:rPr lang="en-US" sz="2800" dirty="0">
                <a:solidFill>
                  <a:srgbClr val="333333"/>
                </a:solidFill>
                <a:latin typeface="Arial" panose="020B0604020202020204" pitchFamily="34" charset="0"/>
              </a:rPr>
              <a:t>the potential impact of retrofitting solutions?</a:t>
            </a:r>
          </a:p>
          <a:p>
            <a:pPr marL="457200" indent="-457200">
              <a:buFont typeface="Arial" panose="020B0604020202020204" pitchFamily="34" charset="0"/>
              <a:buChar char="•"/>
            </a:pPr>
            <a:r>
              <a:rPr lang="en-US" sz="2800" b="0" i="0" dirty="0">
                <a:solidFill>
                  <a:srgbClr val="333333"/>
                </a:solidFill>
                <a:effectLst/>
                <a:latin typeface="Arial" panose="020B0604020202020204" pitchFamily="34" charset="0"/>
              </a:rPr>
              <a:t>What are the latest developments in digital twins for industrial processes?</a:t>
            </a:r>
          </a:p>
          <a:p>
            <a:pPr marL="457200" indent="-457200">
              <a:buFont typeface="Arial" panose="020B0604020202020204" pitchFamily="34" charset="0"/>
              <a:buChar char="•"/>
            </a:pPr>
            <a:r>
              <a:rPr lang="en-US" sz="2800" b="0" i="0" kern="100" dirty="0">
                <a:solidFill>
                  <a:srgbClr val="404040"/>
                </a:solidFill>
                <a:effectLst/>
                <a:latin typeface="Arial (body)"/>
              </a:rPr>
              <a:t>W</a:t>
            </a:r>
            <a:r>
              <a:rPr lang="en-US" sz="2800" kern="100" dirty="0">
                <a:solidFill>
                  <a:srgbClr val="404040"/>
                </a:solidFill>
                <a:latin typeface="Arial (body)"/>
              </a:rPr>
              <a:t>hich tools are used to evaluate the environmental and social impacts of retrofitting?</a:t>
            </a:r>
          </a:p>
          <a:p>
            <a:pPr marL="457200" indent="-457200">
              <a:buFont typeface="Arial" panose="020B0604020202020204" pitchFamily="34" charset="0"/>
              <a:buChar char="•"/>
            </a:pPr>
            <a:r>
              <a:rPr lang="en-US" sz="2800" kern="100" dirty="0">
                <a:solidFill>
                  <a:srgbClr val="404040"/>
                </a:solidFill>
                <a:latin typeface="Arial (body)"/>
              </a:rPr>
              <a:t>What are the challenges in retrofitting the industry? What were the results of retrofitting in the project?</a:t>
            </a:r>
          </a:p>
          <a:p>
            <a:pPr marL="457200" indent="-457200">
              <a:buFont typeface="Arial" panose="020B0604020202020204" pitchFamily="34" charset="0"/>
              <a:buChar char="•"/>
            </a:pPr>
            <a:endParaRPr lang="en-US" sz="2800" b="0" i="0" dirty="0">
              <a:solidFill>
                <a:srgbClr val="333333"/>
              </a:solidFill>
              <a:effectLst/>
              <a:latin typeface="Arial" panose="020B0604020202020204" pitchFamily="34" charset="0"/>
            </a:endParaRPr>
          </a:p>
          <a:p>
            <a:pPr lvl="0" algn="just">
              <a:spcAft>
                <a:spcPts val="800"/>
              </a:spcAft>
            </a:pPr>
            <a:r>
              <a:rPr lang="en-GB" sz="2800" dirty="0">
                <a:latin typeface="Arial (Textkörper (komplexe Sch"/>
                <a:ea typeface="SimSun" panose="02010600030101010101" pitchFamily="2" charset="-122"/>
                <a:cs typeface="Arial" panose="020B0604020202020204" pitchFamily="34" charset="0"/>
              </a:rPr>
              <a:t>The course is available free of charge and will be distributed to professors in European universities. </a:t>
            </a:r>
            <a:r>
              <a:rPr lang="en-US" sz="2800" b="0" i="0" dirty="0">
                <a:solidFill>
                  <a:srgbClr val="333333"/>
                </a:solidFill>
                <a:effectLst/>
                <a:latin typeface="Roboto" panose="02000000000000000000" pitchFamily="2" charset="0"/>
              </a:rPr>
              <a:t>The project has received funding from the European union’s Horizon 2020 research and innovation </a:t>
            </a:r>
            <a:r>
              <a:rPr lang="en-US" sz="2800" dirty="0" err="1">
                <a:solidFill>
                  <a:srgbClr val="333333"/>
                </a:solidFill>
                <a:latin typeface="Roboto" panose="02000000000000000000" pitchFamily="2" charset="0"/>
              </a:rPr>
              <a:t>programme</a:t>
            </a:r>
            <a:r>
              <a:rPr lang="en-US" sz="2800" dirty="0">
                <a:solidFill>
                  <a:srgbClr val="333333"/>
                </a:solidFill>
                <a:latin typeface="Roboto" panose="02000000000000000000" pitchFamily="2" charset="0"/>
              </a:rPr>
              <a:t> </a:t>
            </a:r>
            <a:r>
              <a:rPr lang="sv-SE" sz="2800" dirty="0">
                <a:solidFill>
                  <a:srgbClr val="333333"/>
                </a:solidFill>
                <a:latin typeface="Roboto" panose="02000000000000000000" pitchFamily="2" charset="0"/>
              </a:rPr>
              <a:t>under Grant </a:t>
            </a:r>
            <a:r>
              <a:rPr lang="sv-SE" sz="2800" dirty="0" err="1">
                <a:solidFill>
                  <a:srgbClr val="333333"/>
                </a:solidFill>
                <a:latin typeface="Roboto" panose="02000000000000000000" pitchFamily="2" charset="0"/>
              </a:rPr>
              <a:t>Agreement</a:t>
            </a:r>
            <a:r>
              <a:rPr lang="sv-SE" sz="2800" dirty="0">
                <a:solidFill>
                  <a:srgbClr val="333333"/>
                </a:solidFill>
                <a:latin typeface="Roboto" panose="02000000000000000000" pitchFamily="2" charset="0"/>
              </a:rPr>
              <a:t> nº869939.</a:t>
            </a:r>
            <a:endParaRPr lang="en-GB" sz="2800" dirty="0">
              <a:solidFill>
                <a:srgbClr val="333333"/>
              </a:solidFill>
              <a:latin typeface="Roboto" panose="02000000000000000000" pitchFamily="2" charset="0"/>
            </a:endParaRPr>
          </a:p>
          <a:p>
            <a:endParaRPr lang="sv-SE" sz="2800" kern="100" dirty="0">
              <a:solidFill>
                <a:srgbClr val="404040"/>
              </a:solidFill>
              <a:effectLst/>
              <a:latin typeface="+mj-lt"/>
              <a:ea typeface="Noto Sans CJK SC"/>
              <a:cs typeface="Lohit Devanagari"/>
            </a:endParaRPr>
          </a:p>
        </p:txBody>
      </p:sp>
    </p:spTree>
    <p:extLst>
      <p:ext uri="{BB962C8B-B14F-4D97-AF65-F5344CB8AC3E}">
        <p14:creationId xmlns:p14="http://schemas.microsoft.com/office/powerpoint/2010/main" val="338846435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4927433"/>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3"/>
          <p:cNvSpPr txBox="1"/>
          <p:nvPr/>
        </p:nvSpPr>
        <p:spPr>
          <a:xfrm>
            <a:off x="7484492" y="819692"/>
            <a:ext cx="3319016" cy="1052468"/>
          </a:xfrm>
          <a:prstGeom prst="rect">
            <a:avLst/>
          </a:prstGeom>
        </p:spPr>
        <p:txBody>
          <a:bodyPr wrap="square" lIns="0" tIns="0" rIns="0" bIns="0" rtlCol="0" anchor="t">
            <a:spAutoFit/>
          </a:bodyPr>
          <a:lstStyle/>
          <a:p>
            <a:pPr marL="0" marR="0" lvl="0" indent="0" algn="ctr" defTabSz="914400" rtl="0" eaLnBrk="1" fontAlgn="auto" latinLnBrk="0" hangingPunct="1">
              <a:lnSpc>
                <a:spcPts val="8960"/>
              </a:lnSpc>
              <a:spcBef>
                <a:spcPct val="0"/>
              </a:spcBef>
              <a:spcAft>
                <a:spcPts val="0"/>
              </a:spcAft>
              <a:buClrTx/>
              <a:buSzTx/>
              <a:buFontTx/>
              <a:buNone/>
              <a:tabLst/>
              <a:defRPr/>
            </a:pPr>
            <a:r>
              <a:rPr kumimoji="0" lang="en-US" sz="6400" b="1" i="0" u="none" strike="noStrike" kern="1200" cap="none" spc="0" normalizeH="0" baseline="0" noProof="0" dirty="0">
                <a:ln>
                  <a:noFill/>
                </a:ln>
                <a:solidFill>
                  <a:srgbClr val="CC0033"/>
                </a:solidFill>
                <a:effectLst/>
                <a:uLnTx/>
                <a:uFillTx/>
                <a:latin typeface="Arial"/>
                <a:ea typeface="+mn-ea"/>
                <a:cs typeface="Arial" panose="020B0604020202020204" pitchFamily="34" charset="0"/>
              </a:rPr>
              <a:t>Impacts</a:t>
            </a:r>
          </a:p>
        </p:txBody>
      </p:sp>
      <p:grpSp>
        <p:nvGrpSpPr>
          <p:cNvPr id="17" name="Gruppo 16"/>
          <p:cNvGrpSpPr/>
          <p:nvPr/>
        </p:nvGrpSpPr>
        <p:grpSpPr>
          <a:xfrm>
            <a:off x="4329156" y="9695736"/>
            <a:ext cx="13958844" cy="666567"/>
            <a:chOff x="4329156" y="9649198"/>
            <a:chExt cx="13958844" cy="666567"/>
          </a:xfrm>
        </p:grpSpPr>
        <p:pic>
          <p:nvPicPr>
            <p:cNvPr id="18" name="Picture 12"/>
            <p:cNvPicPr>
              <a:picLocks noChangeAspect="1"/>
            </p:cNvPicPr>
            <p:nvPr/>
          </p:nvPicPr>
          <p:blipFill>
            <a:blip r:embed="rId2"/>
            <a:srcRect l="134" t="91287" b="3943"/>
            <a:stretch>
              <a:fillRect/>
            </a:stretch>
          </p:blipFill>
          <p:spPr>
            <a:xfrm rot="-10800000">
              <a:off x="4329156" y="9649198"/>
              <a:ext cx="13958844" cy="666567"/>
            </a:xfrm>
            <a:prstGeom prst="rect">
              <a:avLst/>
            </a:prstGeom>
          </p:spPr>
        </p:pic>
        <p:sp>
          <p:nvSpPr>
            <p:cNvPr id="19" name="TextBox 16"/>
            <p:cNvSpPr txBox="1"/>
            <p:nvPr/>
          </p:nvSpPr>
          <p:spPr>
            <a:xfrm>
              <a:off x="14400029" y="9732291"/>
              <a:ext cx="3636320" cy="448713"/>
            </a:xfrm>
            <a:prstGeom prst="rect">
              <a:avLst/>
            </a:prstGeom>
          </p:spPr>
          <p:txBody>
            <a:bodyPr wrap="square" lIns="0" tIns="0" rIns="0" bIns="0" rtlCol="0" anchor="t">
              <a:spAutoFit/>
            </a:bodyPr>
            <a:lstStyle/>
            <a:p>
              <a:pPr marL="0" marR="0" lvl="0" indent="0" algn="ctr" defTabSz="914400" rtl="0" eaLnBrk="1" fontAlgn="auto" latinLnBrk="0" hangingPunct="1">
                <a:lnSpc>
                  <a:spcPts val="3920"/>
                </a:lnSpc>
                <a:spcBef>
                  <a:spcPct val="0"/>
                </a:spcBef>
                <a:spcAft>
                  <a:spcPts val="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OCR A Extended" panose="02010509020102010303" pitchFamily="50" charset="0"/>
                  <a:ea typeface="+mn-ea"/>
                  <a:cs typeface="+mn-cs"/>
                </a:rPr>
                <a:t>www.retrofeed.eu</a:t>
              </a:r>
            </a:p>
          </p:txBody>
        </p:sp>
      </p:grpSp>
      <p:pic>
        <p:nvPicPr>
          <p:cNvPr id="20" name="Picture 12"/>
          <p:cNvPicPr>
            <a:picLocks noChangeAspect="1"/>
          </p:cNvPicPr>
          <p:nvPr/>
        </p:nvPicPr>
        <p:blipFill>
          <a:blip r:embed="rId3"/>
          <a:srcRect/>
          <a:stretch>
            <a:fillRect/>
          </a:stretch>
        </p:blipFill>
        <p:spPr>
          <a:xfrm>
            <a:off x="0" y="8901113"/>
            <a:ext cx="5715000" cy="1385887"/>
          </a:xfrm>
          <a:prstGeom prst="rect">
            <a:avLst/>
          </a:prstGeom>
        </p:spPr>
      </p:pic>
      <p:sp>
        <p:nvSpPr>
          <p:cNvPr id="15" name="Rettangolo 65">
            <a:extLst>
              <a:ext uri="{FF2B5EF4-FFF2-40B4-BE49-F238E27FC236}">
                <a16:creationId xmlns:a16="http://schemas.microsoft.com/office/drawing/2014/main" id="{79E83C15-15AA-DD4B-9787-BB8A3B7AD71F}"/>
              </a:ext>
            </a:extLst>
          </p:cNvPr>
          <p:cNvSpPr/>
          <p:nvPr/>
        </p:nvSpPr>
        <p:spPr>
          <a:xfrm>
            <a:off x="-2" y="-13652"/>
            <a:ext cx="18288002" cy="604916"/>
          </a:xfrm>
          <a:prstGeom prst="rect">
            <a:avLst/>
          </a:prstGeom>
          <a:solidFill>
            <a:srgbClr val="CC00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Arial"/>
                <a:ea typeface="+mn-ea"/>
                <a:cs typeface="+mn-cs"/>
              </a:rPr>
              <a:t>Digitalisation for circular resource-intensive industries: Final results from RETROFEED project                                                                                           </a:t>
            </a:r>
            <a:r>
              <a:rPr kumimoji="0" lang="en-GB" sz="1800" b="0" i="0" u="none" strike="noStrike" kern="1200" cap="none" spc="0" normalizeH="0" baseline="0" noProof="0" dirty="0">
                <a:ln>
                  <a:noFill/>
                </a:ln>
                <a:solidFill>
                  <a:srgbClr val="FFFFFF"/>
                </a:solidFill>
                <a:effectLst/>
                <a:uLnTx/>
                <a:uFillTx/>
                <a:latin typeface="Arial"/>
                <a:ea typeface="+mn-ea"/>
                <a:cs typeface="+mn-cs"/>
              </a:rPr>
              <a:t> 25 October 2023</a:t>
            </a:r>
          </a:p>
        </p:txBody>
      </p:sp>
      <p:pic>
        <p:nvPicPr>
          <p:cNvPr id="3" name="Imagen 6" descr="Icono&#10;&#10;Descripción generada automáticamente">
            <a:extLst>
              <a:ext uri="{FF2B5EF4-FFF2-40B4-BE49-F238E27FC236}">
                <a16:creationId xmlns:a16="http://schemas.microsoft.com/office/drawing/2014/main" id="{B5BDB8F4-D2CC-D619-D902-405A3ED64800}"/>
              </a:ext>
            </a:extLst>
          </p:cNvPr>
          <p:cNvPicPr>
            <a:picLocks noChangeAspect="1"/>
          </p:cNvPicPr>
          <p:nvPr/>
        </p:nvPicPr>
        <p:blipFill>
          <a:blip r:embed="rId4"/>
          <a:stretch>
            <a:fillRect/>
          </a:stretch>
        </p:blipFill>
        <p:spPr>
          <a:xfrm>
            <a:off x="5736585" y="1812122"/>
            <a:ext cx="1747907" cy="1661873"/>
          </a:xfrm>
          <a:prstGeom prst="rect">
            <a:avLst/>
          </a:prstGeom>
        </p:spPr>
      </p:pic>
      <p:pic>
        <p:nvPicPr>
          <p:cNvPr id="4" name="Imagen 7" descr="Icono&#10;&#10;Descripción generada automáticamente">
            <a:extLst>
              <a:ext uri="{FF2B5EF4-FFF2-40B4-BE49-F238E27FC236}">
                <a16:creationId xmlns:a16="http://schemas.microsoft.com/office/drawing/2014/main" id="{73EE435A-B548-F868-AFA8-90A65405353B}"/>
              </a:ext>
            </a:extLst>
          </p:cNvPr>
          <p:cNvPicPr>
            <a:picLocks noChangeAspect="1"/>
          </p:cNvPicPr>
          <p:nvPr/>
        </p:nvPicPr>
        <p:blipFill>
          <a:blip r:embed="rId5"/>
          <a:stretch>
            <a:fillRect/>
          </a:stretch>
        </p:blipFill>
        <p:spPr>
          <a:xfrm>
            <a:off x="10402240" y="1792186"/>
            <a:ext cx="908537" cy="1688636"/>
          </a:xfrm>
          <a:prstGeom prst="rect">
            <a:avLst/>
          </a:prstGeom>
        </p:spPr>
      </p:pic>
      <p:pic>
        <p:nvPicPr>
          <p:cNvPr id="5" name="Imagen 11" descr="Icono&#10;&#10;Descripción generada automáticamente">
            <a:extLst>
              <a:ext uri="{FF2B5EF4-FFF2-40B4-BE49-F238E27FC236}">
                <a16:creationId xmlns:a16="http://schemas.microsoft.com/office/drawing/2014/main" id="{F0E8B399-DC22-0C00-4788-B56EDB61ED00}"/>
              </a:ext>
            </a:extLst>
          </p:cNvPr>
          <p:cNvPicPr>
            <a:picLocks noChangeAspect="1"/>
          </p:cNvPicPr>
          <p:nvPr/>
        </p:nvPicPr>
        <p:blipFill rotWithShape="1">
          <a:blip r:embed="rId6"/>
          <a:srcRect l="14237" t="11180" r="6441" b="8696"/>
          <a:stretch/>
        </p:blipFill>
        <p:spPr>
          <a:xfrm>
            <a:off x="13759249" y="2051908"/>
            <a:ext cx="2072888" cy="1146379"/>
          </a:xfrm>
          <a:prstGeom prst="rect">
            <a:avLst/>
          </a:prstGeom>
        </p:spPr>
      </p:pic>
      <p:sp>
        <p:nvSpPr>
          <p:cNvPr id="6" name="TextBox 13">
            <a:extLst>
              <a:ext uri="{FF2B5EF4-FFF2-40B4-BE49-F238E27FC236}">
                <a16:creationId xmlns:a16="http://schemas.microsoft.com/office/drawing/2014/main" id="{CBFEBE29-1226-C656-4812-6B40DBB8A266}"/>
              </a:ext>
            </a:extLst>
          </p:cNvPr>
          <p:cNvSpPr txBox="1"/>
          <p:nvPr/>
        </p:nvSpPr>
        <p:spPr>
          <a:xfrm>
            <a:off x="6126075" y="3020297"/>
            <a:ext cx="1366443" cy="970715"/>
          </a:xfrm>
          <a:prstGeom prst="rect">
            <a:avLst/>
          </a:prstGeom>
        </p:spPr>
        <p:txBody>
          <a:bodyPr wrap="square" lIns="0" tIns="0" rIns="0" bIns="0" rtlCol="0" anchor="t">
            <a:spAutoFit/>
          </a:bodyPr>
          <a:lstStyle/>
          <a:p>
            <a:pPr marL="0" marR="0" lvl="0" indent="0" algn="ctr" defTabSz="914400" rtl="0" eaLnBrk="1" fontAlgn="auto" latinLnBrk="0" hangingPunct="1">
              <a:lnSpc>
                <a:spcPts val="8961"/>
              </a:lnSpc>
              <a:spcBef>
                <a:spcPct val="0"/>
              </a:spcBef>
              <a:spcAft>
                <a:spcPts val="0"/>
              </a:spcAft>
              <a:buClrTx/>
              <a:buSzTx/>
              <a:buFontTx/>
              <a:buNone/>
              <a:tabLst/>
              <a:defRPr/>
            </a:pPr>
            <a:r>
              <a:rPr kumimoji="0" lang="en-US" sz="2800" b="1" i="0" u="none" strike="noStrike" kern="1200" cap="none" spc="0" normalizeH="0" baseline="0" noProof="0" dirty="0">
                <a:ln>
                  <a:noFill/>
                </a:ln>
                <a:solidFill>
                  <a:srgbClr val="2F2F2F"/>
                </a:solidFill>
                <a:effectLst/>
                <a:uLnTx/>
                <a:uFillTx/>
                <a:latin typeface="Arial"/>
                <a:ea typeface="+mn-ea"/>
                <a:cs typeface="Arial"/>
              </a:rPr>
              <a:t>22%</a:t>
            </a:r>
            <a:endParaRPr kumimoji="0" lang="es-ES" sz="2800" b="1" i="0" u="none" strike="noStrike" kern="1200" cap="none" spc="0" normalizeH="0" baseline="0" noProof="0" dirty="0">
              <a:ln>
                <a:noFill/>
              </a:ln>
              <a:solidFill>
                <a:srgbClr val="2F2F2F"/>
              </a:solidFill>
              <a:effectLst/>
              <a:uLnTx/>
              <a:uFillTx/>
              <a:latin typeface="Arial"/>
              <a:ea typeface="+mn-ea"/>
              <a:cs typeface="Arial"/>
            </a:endParaRPr>
          </a:p>
        </p:txBody>
      </p:sp>
      <p:sp>
        <p:nvSpPr>
          <p:cNvPr id="7" name="TextBox 13">
            <a:extLst>
              <a:ext uri="{FF2B5EF4-FFF2-40B4-BE49-F238E27FC236}">
                <a16:creationId xmlns:a16="http://schemas.microsoft.com/office/drawing/2014/main" id="{1361F0AB-66F6-ECDC-65C5-263D9BAB6FAC}"/>
              </a:ext>
            </a:extLst>
          </p:cNvPr>
          <p:cNvSpPr txBox="1"/>
          <p:nvPr/>
        </p:nvSpPr>
        <p:spPr>
          <a:xfrm>
            <a:off x="3672807" y="3525494"/>
            <a:ext cx="6119649" cy="926920"/>
          </a:xfrm>
          <a:prstGeom prst="rect">
            <a:avLst/>
          </a:prstGeom>
        </p:spPr>
        <p:txBody>
          <a:bodyPr wrap="square" lIns="0" tIns="0" rIns="0" bIns="0" rtlCol="0" anchor="t">
            <a:spAutoFit/>
          </a:bodyPr>
          <a:lstStyle/>
          <a:p>
            <a:pPr marL="0" marR="0" lvl="0" indent="0" algn="ctr" defTabSz="914400" rtl="0" eaLnBrk="1" fontAlgn="auto" latinLnBrk="0" hangingPunct="1">
              <a:lnSpc>
                <a:spcPts val="8961"/>
              </a:lnSpc>
              <a:spcBef>
                <a:spcPct val="0"/>
              </a:spcBef>
              <a:spcAft>
                <a:spcPts val="0"/>
              </a:spcAft>
              <a:buClrTx/>
              <a:buSzTx/>
              <a:buFontTx/>
              <a:buNone/>
              <a:tabLst/>
              <a:defRPr/>
            </a:pPr>
            <a:r>
              <a:rPr kumimoji="0" lang="en-US" sz="1800" b="1" i="0" u="none" strike="noStrike" kern="1200" cap="none" spc="0" normalizeH="0" baseline="0" noProof="0" dirty="0">
                <a:ln>
                  <a:noFill/>
                </a:ln>
                <a:solidFill>
                  <a:srgbClr val="FFFFFF">
                    <a:lumMod val="50000"/>
                  </a:srgbClr>
                </a:solidFill>
                <a:effectLst/>
                <a:uLnTx/>
                <a:uFillTx/>
                <a:latin typeface="Arial"/>
                <a:ea typeface="+mn-ea"/>
                <a:cs typeface="Arial"/>
              </a:rPr>
              <a:t>+ RESOURCE EFFICIENCY</a:t>
            </a:r>
            <a:endParaRPr kumimoji="0" lang="es-ES" sz="1800" b="0" i="0" u="none" strike="noStrike" kern="1200" cap="none" spc="0" normalizeH="0" baseline="0" noProof="0" dirty="0">
              <a:ln>
                <a:noFill/>
              </a:ln>
              <a:solidFill>
                <a:srgbClr val="FFFFFF">
                  <a:lumMod val="50000"/>
                </a:srgbClr>
              </a:solidFill>
              <a:effectLst/>
              <a:uLnTx/>
              <a:uFillTx/>
              <a:latin typeface="Arial"/>
              <a:ea typeface="+mn-ea"/>
              <a:cs typeface="Arial"/>
            </a:endParaRPr>
          </a:p>
        </p:txBody>
      </p:sp>
      <p:sp>
        <p:nvSpPr>
          <p:cNvPr id="8" name="TextBox 7">
            <a:extLst>
              <a:ext uri="{FF2B5EF4-FFF2-40B4-BE49-F238E27FC236}">
                <a16:creationId xmlns:a16="http://schemas.microsoft.com/office/drawing/2014/main" id="{DE476A6D-264D-324B-2B08-4DFDB5BE56CB}"/>
              </a:ext>
            </a:extLst>
          </p:cNvPr>
          <p:cNvSpPr txBox="1"/>
          <p:nvPr/>
        </p:nvSpPr>
        <p:spPr>
          <a:xfrm>
            <a:off x="10189122" y="3048347"/>
            <a:ext cx="1366443" cy="970715"/>
          </a:xfrm>
          <a:prstGeom prst="rect">
            <a:avLst/>
          </a:prstGeom>
        </p:spPr>
        <p:txBody>
          <a:bodyPr wrap="square" lIns="0" tIns="0" rIns="0" bIns="0" rtlCol="0" anchor="t">
            <a:spAutoFit/>
          </a:bodyPr>
          <a:lstStyle/>
          <a:p>
            <a:pPr marL="0" marR="0" lvl="0" indent="0" algn="ctr" defTabSz="914400" rtl="0" eaLnBrk="1" fontAlgn="auto" latinLnBrk="0" hangingPunct="1">
              <a:lnSpc>
                <a:spcPts val="8961"/>
              </a:lnSpc>
              <a:spcBef>
                <a:spcPct val="0"/>
              </a:spcBef>
              <a:spcAft>
                <a:spcPts val="0"/>
              </a:spcAft>
              <a:buClrTx/>
              <a:buSzTx/>
              <a:buFontTx/>
              <a:buNone/>
              <a:tabLst/>
              <a:defRPr/>
            </a:pPr>
            <a:r>
              <a:rPr kumimoji="0" lang="en-US" sz="2800" b="1" i="0" u="none" strike="noStrike" kern="1200" cap="none" spc="0" normalizeH="0" baseline="0" noProof="0" dirty="0">
                <a:ln>
                  <a:noFill/>
                </a:ln>
                <a:solidFill>
                  <a:srgbClr val="2F2F2F"/>
                </a:solidFill>
                <a:effectLst/>
                <a:uLnTx/>
                <a:uFillTx/>
                <a:latin typeface="Arial"/>
                <a:ea typeface="+mn-ea"/>
                <a:cs typeface="Arial"/>
              </a:rPr>
              <a:t>19%</a:t>
            </a:r>
            <a:endParaRPr kumimoji="0" lang="es-ES" sz="2800" b="1" i="0" u="none" strike="noStrike" kern="1200" cap="none" spc="0" normalizeH="0" baseline="0" noProof="0" dirty="0">
              <a:ln>
                <a:noFill/>
              </a:ln>
              <a:solidFill>
                <a:srgbClr val="2F2F2F"/>
              </a:solidFill>
              <a:effectLst/>
              <a:uLnTx/>
              <a:uFillTx/>
              <a:latin typeface="Arial"/>
              <a:ea typeface="+mn-ea"/>
              <a:cs typeface="Arial"/>
            </a:endParaRPr>
          </a:p>
        </p:txBody>
      </p:sp>
      <p:sp>
        <p:nvSpPr>
          <p:cNvPr id="9" name="TextBox 13">
            <a:extLst>
              <a:ext uri="{FF2B5EF4-FFF2-40B4-BE49-F238E27FC236}">
                <a16:creationId xmlns:a16="http://schemas.microsoft.com/office/drawing/2014/main" id="{0279EA37-3CB8-C415-39FD-4C41C3E319B7}"/>
              </a:ext>
            </a:extLst>
          </p:cNvPr>
          <p:cNvSpPr txBox="1"/>
          <p:nvPr/>
        </p:nvSpPr>
        <p:spPr>
          <a:xfrm>
            <a:off x="12967040" y="3109214"/>
            <a:ext cx="4297679" cy="970715"/>
          </a:xfrm>
          <a:prstGeom prst="rect">
            <a:avLst/>
          </a:prstGeom>
        </p:spPr>
        <p:txBody>
          <a:bodyPr wrap="square" lIns="0" tIns="0" rIns="0" bIns="0" rtlCol="0" anchor="t">
            <a:spAutoFit/>
          </a:bodyPr>
          <a:lstStyle/>
          <a:p>
            <a:pPr marL="0" marR="0" lvl="0" indent="0" algn="ctr" defTabSz="914400" rtl="0" eaLnBrk="1" fontAlgn="auto" latinLnBrk="0" hangingPunct="1">
              <a:lnSpc>
                <a:spcPts val="8961"/>
              </a:lnSpc>
              <a:spcBef>
                <a:spcPct val="0"/>
              </a:spcBef>
              <a:spcAft>
                <a:spcPts val="0"/>
              </a:spcAft>
              <a:buClrTx/>
              <a:buSzTx/>
              <a:buFontTx/>
              <a:buNone/>
              <a:tabLst/>
              <a:defRPr/>
            </a:pPr>
            <a:r>
              <a:rPr kumimoji="0" lang="en-US" sz="2800" b="1" i="0" u="none" strike="noStrike" kern="1200" cap="none" spc="0" normalizeH="0" baseline="0" noProof="0" dirty="0">
                <a:ln>
                  <a:noFill/>
                </a:ln>
                <a:solidFill>
                  <a:srgbClr val="2F2F2F"/>
                </a:solidFill>
                <a:effectLst/>
                <a:uLnTx/>
                <a:uFillTx/>
                <a:latin typeface="Arial"/>
                <a:ea typeface="+mn-ea"/>
                <a:cs typeface="Arial"/>
              </a:rPr>
              <a:t>30%</a:t>
            </a:r>
            <a:endParaRPr kumimoji="0" lang="es-ES" sz="2800" b="1" i="0" u="none" strike="noStrike" kern="1200" cap="none" spc="0" normalizeH="0" baseline="-25000" noProof="0" dirty="0">
              <a:ln>
                <a:noFill/>
              </a:ln>
              <a:solidFill>
                <a:srgbClr val="2F2F2F"/>
              </a:solidFill>
              <a:effectLst/>
              <a:uLnTx/>
              <a:uFillTx/>
              <a:latin typeface="Arial"/>
              <a:ea typeface="+mn-ea"/>
              <a:cs typeface="Arial"/>
            </a:endParaRPr>
          </a:p>
        </p:txBody>
      </p:sp>
      <p:sp>
        <p:nvSpPr>
          <p:cNvPr id="10" name="TextBox 13">
            <a:extLst>
              <a:ext uri="{FF2B5EF4-FFF2-40B4-BE49-F238E27FC236}">
                <a16:creationId xmlns:a16="http://schemas.microsoft.com/office/drawing/2014/main" id="{006E9D1A-C5FB-885D-D221-757E0C0B8CA0}"/>
              </a:ext>
            </a:extLst>
          </p:cNvPr>
          <p:cNvSpPr txBox="1"/>
          <p:nvPr/>
        </p:nvSpPr>
        <p:spPr>
          <a:xfrm>
            <a:off x="7901151" y="3511727"/>
            <a:ext cx="6119649" cy="926920"/>
          </a:xfrm>
          <a:prstGeom prst="rect">
            <a:avLst/>
          </a:prstGeom>
        </p:spPr>
        <p:txBody>
          <a:bodyPr wrap="square" lIns="0" tIns="0" rIns="0" bIns="0" rtlCol="0" anchor="t">
            <a:spAutoFit/>
          </a:bodyPr>
          <a:lstStyle/>
          <a:p>
            <a:pPr marL="0" marR="0" lvl="0" indent="0" algn="ctr" defTabSz="914400" rtl="0" eaLnBrk="1" fontAlgn="auto" latinLnBrk="0" hangingPunct="1">
              <a:lnSpc>
                <a:spcPts val="8961"/>
              </a:lnSpc>
              <a:spcBef>
                <a:spcPct val="0"/>
              </a:spcBef>
              <a:spcAft>
                <a:spcPts val="0"/>
              </a:spcAft>
              <a:buClrTx/>
              <a:buSzTx/>
              <a:buFontTx/>
              <a:buNone/>
              <a:tabLst/>
              <a:defRPr/>
            </a:pPr>
            <a:r>
              <a:rPr kumimoji="0" lang="en-US" sz="1800" b="1" i="0" u="none" strike="noStrike" kern="1200" cap="none" spc="0" normalizeH="0" baseline="0" noProof="0" dirty="0">
                <a:ln>
                  <a:noFill/>
                </a:ln>
                <a:solidFill>
                  <a:srgbClr val="FFFFFF">
                    <a:lumMod val="50000"/>
                  </a:srgbClr>
                </a:solidFill>
                <a:effectLst/>
                <a:uLnTx/>
                <a:uFillTx/>
                <a:latin typeface="Arial"/>
                <a:ea typeface="+mn-ea"/>
                <a:cs typeface="Arial"/>
              </a:rPr>
              <a:t>+ ENERGY EFFICIENCY</a:t>
            </a:r>
            <a:endParaRPr kumimoji="0" lang="es-ES" sz="1800" b="0" i="0" u="none" strike="noStrike" kern="1200" cap="none" spc="0" normalizeH="0" baseline="0" noProof="0" dirty="0">
              <a:ln>
                <a:noFill/>
              </a:ln>
              <a:solidFill>
                <a:srgbClr val="FFFFFF">
                  <a:lumMod val="50000"/>
                </a:srgbClr>
              </a:solidFill>
              <a:effectLst/>
              <a:uLnTx/>
              <a:uFillTx/>
              <a:latin typeface="Arial"/>
              <a:ea typeface="+mn-ea"/>
              <a:cs typeface="Arial"/>
            </a:endParaRPr>
          </a:p>
        </p:txBody>
      </p:sp>
      <p:sp>
        <p:nvSpPr>
          <p:cNvPr id="11" name="TextBox 13">
            <a:extLst>
              <a:ext uri="{FF2B5EF4-FFF2-40B4-BE49-F238E27FC236}">
                <a16:creationId xmlns:a16="http://schemas.microsoft.com/office/drawing/2014/main" id="{7852CCEA-8620-AAE6-A0B4-9A8EAB98059F}"/>
              </a:ext>
            </a:extLst>
          </p:cNvPr>
          <p:cNvSpPr txBox="1"/>
          <p:nvPr/>
        </p:nvSpPr>
        <p:spPr>
          <a:xfrm>
            <a:off x="12192000" y="3507597"/>
            <a:ext cx="6119649" cy="926920"/>
          </a:xfrm>
          <a:prstGeom prst="rect">
            <a:avLst/>
          </a:prstGeom>
        </p:spPr>
        <p:txBody>
          <a:bodyPr wrap="square" lIns="0" tIns="0" rIns="0" bIns="0" rtlCol="0" anchor="t">
            <a:spAutoFit/>
          </a:bodyPr>
          <a:lstStyle/>
          <a:p>
            <a:pPr marL="0" marR="0" lvl="0" indent="0" algn="ctr" defTabSz="914400" rtl="0" eaLnBrk="1" fontAlgn="auto" latinLnBrk="0" hangingPunct="1">
              <a:lnSpc>
                <a:spcPts val="8961"/>
              </a:lnSpc>
              <a:spcBef>
                <a:spcPct val="0"/>
              </a:spcBef>
              <a:spcAft>
                <a:spcPts val="0"/>
              </a:spcAft>
              <a:buClrTx/>
              <a:buSzTx/>
              <a:buFontTx/>
              <a:buNone/>
              <a:tabLst/>
              <a:defRPr/>
            </a:pPr>
            <a:r>
              <a:rPr kumimoji="0" lang="en-US" sz="1800" b="1" i="0" u="none" strike="noStrike" kern="1200" cap="none" spc="0" normalizeH="0" baseline="0" noProof="0" dirty="0">
                <a:ln>
                  <a:noFill/>
                </a:ln>
                <a:solidFill>
                  <a:srgbClr val="FFFFFF">
                    <a:lumMod val="50000"/>
                  </a:srgbClr>
                </a:solidFill>
                <a:effectLst/>
                <a:uLnTx/>
                <a:uFillTx/>
                <a:latin typeface="Arial"/>
                <a:ea typeface="+mn-ea"/>
                <a:cs typeface="Arial"/>
              </a:rPr>
              <a:t>- REDUCTION GHG EMISSIONS</a:t>
            </a:r>
            <a:endParaRPr kumimoji="0" lang="es-ES" sz="2000" b="0" i="0" u="none" strike="noStrike" kern="1200" cap="none" spc="0" normalizeH="0" baseline="0" noProof="0" dirty="0">
              <a:ln>
                <a:noFill/>
              </a:ln>
              <a:solidFill>
                <a:srgbClr val="FFFFFF">
                  <a:lumMod val="50000"/>
                </a:srgbClr>
              </a:solidFill>
              <a:effectLst/>
              <a:uLnTx/>
              <a:uFillTx/>
              <a:latin typeface="Arial"/>
              <a:ea typeface="+mn-ea"/>
              <a:cs typeface="+mn-cs"/>
            </a:endParaRPr>
          </a:p>
        </p:txBody>
      </p:sp>
      <p:sp>
        <p:nvSpPr>
          <p:cNvPr id="12" name="Content Placeholder 1">
            <a:extLst>
              <a:ext uri="{FF2B5EF4-FFF2-40B4-BE49-F238E27FC236}">
                <a16:creationId xmlns:a16="http://schemas.microsoft.com/office/drawing/2014/main" id="{D416F459-368D-1872-296C-4904632FCCA4}"/>
              </a:ext>
            </a:extLst>
          </p:cNvPr>
          <p:cNvSpPr txBox="1">
            <a:spLocks/>
          </p:cNvSpPr>
          <p:nvPr/>
        </p:nvSpPr>
        <p:spPr>
          <a:xfrm>
            <a:off x="609600" y="4860213"/>
            <a:ext cx="16632986" cy="3906138"/>
          </a:xfrm>
          <a:prstGeom prst="rect">
            <a:avLst/>
          </a:prstGeom>
        </p:spPr>
        <p:txBody>
          <a:bodyPr>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de-DE" sz="3600" b="1" i="0" u="none" strike="noStrike" kern="1200" cap="none" spc="0" normalizeH="0" baseline="0" noProof="0" dirty="0">
                <a:ln>
                  <a:noFill/>
                </a:ln>
                <a:solidFill>
                  <a:srgbClr val="2F2F2F"/>
                </a:solidFill>
                <a:effectLst/>
                <a:uLnTx/>
                <a:uFillTx/>
                <a:latin typeface="Arial"/>
                <a:ea typeface="+mn-ea"/>
                <a:cs typeface="Arial"/>
              </a:rPr>
              <a:t>ALUMINIUM				</a:t>
            </a:r>
            <a:r>
              <a:rPr kumimoji="0" lang="de-DE" sz="3600" b="1" i="0" u="none" strike="noStrike" kern="1200" cap="none" spc="0" normalizeH="0" baseline="0" noProof="0" dirty="0">
                <a:ln>
                  <a:noFill/>
                </a:ln>
                <a:solidFill>
                  <a:srgbClr val="CC0033"/>
                </a:solidFill>
                <a:effectLst/>
                <a:uLnTx/>
                <a:uFillTx/>
                <a:latin typeface="Arial"/>
                <a:ea typeface="+mn-ea"/>
                <a:cs typeface="Arial"/>
              </a:rPr>
              <a:t>+57% scrap		  +18,5%				-75%</a:t>
            </a:r>
          </a:p>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de-DE" sz="3600" b="1" i="0" u="none" strike="noStrike" kern="1200" cap="none" spc="0" normalizeH="0" baseline="0" noProof="0" dirty="0">
                <a:ln>
                  <a:noFill/>
                </a:ln>
                <a:solidFill>
                  <a:srgbClr val="2F2F2F"/>
                </a:solidFill>
                <a:effectLst/>
                <a:uLnTx/>
                <a:uFillTx/>
                <a:latin typeface="Arial"/>
                <a:ea typeface="+mn-ea"/>
                <a:cs typeface="Arial"/>
              </a:rPr>
              <a:t>CEMENT	</a:t>
            </a:r>
            <a:r>
              <a:rPr lang="de-DE" sz="3600" b="1" dirty="0">
                <a:solidFill>
                  <a:srgbClr val="CC0033"/>
                </a:solidFill>
                <a:latin typeface="Arial"/>
                <a:cs typeface="Arial"/>
              </a:rPr>
              <a:t>+13-34% Alternative material	     +5%	  			-11%</a:t>
            </a:r>
          </a:p>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de-DE" sz="3600" b="1" i="0" u="none" strike="noStrike" kern="1200" cap="none" spc="0" normalizeH="0" baseline="0" noProof="0" dirty="0">
                <a:ln>
                  <a:noFill/>
                </a:ln>
                <a:solidFill>
                  <a:srgbClr val="2F2F2F"/>
                </a:solidFill>
                <a:effectLst/>
                <a:uLnTx/>
                <a:uFillTx/>
                <a:latin typeface="Arial"/>
                <a:ea typeface="+mn-ea"/>
                <a:cs typeface="Arial"/>
              </a:rPr>
              <a:t>CERAMIC</a:t>
            </a:r>
            <a:r>
              <a:rPr kumimoji="0" lang="de-DE" sz="3600" b="1" i="0" u="none" strike="noStrike" kern="1200" cap="none" spc="0" normalizeH="0" baseline="0" noProof="0" dirty="0">
                <a:ln>
                  <a:noFill/>
                </a:ln>
                <a:solidFill>
                  <a:srgbClr val="CC0033"/>
                </a:solidFill>
                <a:effectLst/>
                <a:uLnTx/>
                <a:uFillTx/>
                <a:latin typeface="Arial"/>
                <a:ea typeface="+mn-ea"/>
                <a:cs typeface="Arial"/>
              </a:rPr>
              <a:t>		     -50% frits waste	 	    +18%				-12%</a:t>
            </a:r>
          </a:p>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de-DE" sz="3600" b="1" i="0" u="none" strike="noStrike" kern="1200" cap="none" spc="0" normalizeH="0" baseline="0" noProof="0" dirty="0">
                <a:ln>
                  <a:noFill/>
                </a:ln>
                <a:solidFill>
                  <a:srgbClr val="2F2F2F"/>
                </a:solidFill>
                <a:effectLst/>
                <a:uLnTx/>
                <a:uFillTx/>
                <a:latin typeface="Arial"/>
                <a:ea typeface="+mn-ea"/>
                <a:cs typeface="Arial"/>
              </a:rPr>
              <a:t>STEEL 1			</a:t>
            </a:r>
            <a:r>
              <a:rPr lang="de-DE" sz="3600" b="1" dirty="0">
                <a:solidFill>
                  <a:srgbClr val="CC0033"/>
                </a:solidFill>
                <a:latin typeface="Arial"/>
                <a:cs typeface="Arial"/>
              </a:rPr>
              <a:t>-15-20% anthracite	     +2%				 -4%</a:t>
            </a:r>
          </a:p>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de-DE" sz="3600" b="1" i="0" u="none" strike="noStrike" kern="1200" cap="none" spc="0" normalizeH="0" baseline="0" noProof="0" dirty="0">
                <a:ln>
                  <a:noFill/>
                </a:ln>
                <a:solidFill>
                  <a:srgbClr val="2F2F2F"/>
                </a:solidFill>
                <a:effectLst/>
                <a:uLnTx/>
                <a:uFillTx/>
                <a:latin typeface="Arial"/>
                <a:ea typeface="+mn-ea"/>
                <a:cs typeface="Arial"/>
              </a:rPr>
              <a:t>STEEL 2			</a:t>
            </a:r>
            <a:r>
              <a:rPr kumimoji="0" lang="de-DE" sz="3600" b="1" i="0" u="none" strike="noStrike" kern="1200" cap="none" spc="0" normalizeH="0" baseline="0" noProof="0" dirty="0">
                <a:ln>
                  <a:noFill/>
                </a:ln>
                <a:solidFill>
                  <a:srgbClr val="CC0033"/>
                </a:solidFill>
                <a:effectLst/>
                <a:uLnTx/>
                <a:uFillTx/>
                <a:latin typeface="Arial"/>
                <a:ea typeface="+mn-ea"/>
                <a:cs typeface="Arial"/>
              </a:rPr>
              <a:t>-</a:t>
            </a:r>
            <a:r>
              <a:rPr lang="de-DE" sz="3600" b="1" dirty="0">
                <a:solidFill>
                  <a:srgbClr val="CC0033"/>
                </a:solidFill>
                <a:latin typeface="Arial"/>
                <a:cs typeface="Arial"/>
              </a:rPr>
              <a:t>30</a:t>
            </a:r>
            <a:r>
              <a:rPr kumimoji="0" lang="de-DE" sz="3600" b="1" i="0" u="none" strike="noStrike" kern="1200" cap="none" spc="0" normalizeH="0" baseline="0" noProof="0" dirty="0">
                <a:ln>
                  <a:noFill/>
                </a:ln>
                <a:solidFill>
                  <a:srgbClr val="CC0033"/>
                </a:solidFill>
                <a:effectLst/>
                <a:uLnTx/>
                <a:uFillTx/>
                <a:latin typeface="Arial"/>
                <a:ea typeface="+mn-ea"/>
                <a:cs typeface="Arial"/>
              </a:rPr>
              <a:t>% anthracite		</a:t>
            </a:r>
            <a:r>
              <a:rPr kumimoji="0" lang="de-DE" sz="3600" b="1" i="0" u="none" strike="noStrike" kern="1200" cap="none" spc="0" normalizeH="0" baseline="0" noProof="0">
                <a:ln>
                  <a:noFill/>
                </a:ln>
                <a:solidFill>
                  <a:srgbClr val="CC0033"/>
                </a:solidFill>
                <a:effectLst/>
                <a:uLnTx/>
                <a:uFillTx/>
                <a:latin typeface="Arial"/>
                <a:ea typeface="+mn-ea"/>
                <a:cs typeface="Arial"/>
              </a:rPr>
              <a:t>	-</a:t>
            </a:r>
            <a:r>
              <a:rPr kumimoji="0" lang="de-DE" sz="3600" b="1" i="0" u="none" strike="noStrike" kern="1200" cap="none" spc="0" normalizeH="0" baseline="0" noProof="0" dirty="0">
                <a:ln>
                  <a:noFill/>
                </a:ln>
                <a:solidFill>
                  <a:srgbClr val="CC0033"/>
                </a:solidFill>
                <a:effectLst/>
                <a:uLnTx/>
                <a:uFillTx/>
                <a:latin typeface="Arial"/>
                <a:ea typeface="+mn-ea"/>
                <a:cs typeface="Arial"/>
              </a:rPr>
              <a:t>				-15%		</a:t>
            </a:r>
          </a:p>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endParaRPr kumimoji="0" lang="de-DE" sz="3600" b="1" i="0" u="none" strike="noStrike" kern="1200" cap="none" spc="0" normalizeH="0" baseline="0" noProof="0" dirty="0">
              <a:ln>
                <a:noFill/>
              </a:ln>
              <a:solidFill>
                <a:srgbClr val="CC0033"/>
              </a:solidFill>
              <a:effectLst/>
              <a:uLnTx/>
              <a:uFillTx/>
              <a:latin typeface="Arial"/>
              <a:ea typeface="+mn-ea"/>
              <a:cs typeface="Arial"/>
            </a:endParaRPr>
          </a:p>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endParaRPr kumimoji="0" lang="de-DE" sz="3600" b="1" i="0" u="none" strike="noStrike" kern="1200" cap="none" spc="0" normalizeH="0" baseline="0" noProof="0" dirty="0">
              <a:ln>
                <a:noFill/>
              </a:ln>
              <a:solidFill>
                <a:srgbClr val="CC0033"/>
              </a:solidFill>
              <a:effectLst/>
              <a:uLnTx/>
              <a:uFillTx/>
              <a:latin typeface="Arial"/>
              <a:ea typeface="+mn-ea"/>
              <a:cs typeface="Arial"/>
            </a:endParaRPr>
          </a:p>
        </p:txBody>
      </p:sp>
    </p:spTree>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58" name="Rectangle 57">
            <a:extLst>
              <a:ext uri="{FF2B5EF4-FFF2-40B4-BE49-F238E27FC236}">
                <a16:creationId xmlns:a16="http://schemas.microsoft.com/office/drawing/2014/main" id="{289ED1AA-8684-4D37-B208-8777E1A7780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8283428" cy="10287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0" name="Graphic 33">
            <a:extLst>
              <a:ext uri="{FF2B5EF4-FFF2-40B4-BE49-F238E27FC236}">
                <a16:creationId xmlns:a16="http://schemas.microsoft.com/office/drawing/2014/main" id="{4180E01B-B1F4-437C-807D-1C930718EE6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966176" y="0"/>
            <a:ext cx="14355646" cy="10287000"/>
          </a:xfrm>
          <a:custGeom>
            <a:avLst/>
            <a:gdLst>
              <a:gd name="connsiteX0" fmla="*/ 7178288 w 7187261"/>
              <a:gd name="connsiteY0" fmla="*/ 2604802 h 5150263"/>
              <a:gd name="connsiteX1" fmla="*/ 7169335 w 7187261"/>
              <a:gd name="connsiteY1" fmla="*/ 2328577 h 5150263"/>
              <a:gd name="connsiteX2" fmla="*/ 7060845 w 7187261"/>
              <a:gd name="connsiteY2" fmla="*/ 1661160 h 5150263"/>
              <a:gd name="connsiteX3" fmla="*/ 6212263 w 7187261"/>
              <a:gd name="connsiteY3" fmla="*/ 243840 h 5150263"/>
              <a:gd name="connsiteX4" fmla="*/ 5953564 w 7187261"/>
              <a:gd name="connsiteY4" fmla="*/ 0 h 5150263"/>
              <a:gd name="connsiteX5" fmla="*/ 1408615 w 7187261"/>
              <a:gd name="connsiteY5" fmla="*/ 0 h 5150263"/>
              <a:gd name="connsiteX6" fmla="*/ 805111 w 7187261"/>
              <a:gd name="connsiteY6" fmla="*/ 676275 h 5150263"/>
              <a:gd name="connsiteX7" fmla="*/ 104928 w 7187261"/>
              <a:gd name="connsiteY7" fmla="*/ 2183035 h 5150263"/>
              <a:gd name="connsiteX8" fmla="*/ 51588 w 7187261"/>
              <a:gd name="connsiteY8" fmla="*/ 2400014 h 5150263"/>
              <a:gd name="connsiteX9" fmla="*/ 41301 w 7187261"/>
              <a:gd name="connsiteY9" fmla="*/ 2424208 h 5150263"/>
              <a:gd name="connsiteX10" fmla="*/ 119692 w 7187261"/>
              <a:gd name="connsiteY10" fmla="*/ 1834801 h 5150263"/>
              <a:gd name="connsiteX11" fmla="*/ 870071 w 7187261"/>
              <a:gd name="connsiteY11" fmla="*/ 462248 h 5150263"/>
              <a:gd name="connsiteX12" fmla="*/ 1389279 w 7187261"/>
              <a:gd name="connsiteY12" fmla="*/ 476 h 5150263"/>
              <a:gd name="connsiteX13" fmla="*/ 1320223 w 7187261"/>
              <a:gd name="connsiteY13" fmla="*/ 476 h 5150263"/>
              <a:gd name="connsiteX14" fmla="*/ 423158 w 7187261"/>
              <a:gd name="connsiteY14" fmla="*/ 989743 h 5150263"/>
              <a:gd name="connsiteX15" fmla="*/ 25585 w 7187261"/>
              <a:gd name="connsiteY15" fmla="*/ 2113693 h 5150263"/>
              <a:gd name="connsiteX16" fmla="*/ 2344 w 7187261"/>
              <a:gd name="connsiteY16" fmla="*/ 2725865 h 5150263"/>
              <a:gd name="connsiteX17" fmla="*/ 447256 w 7187261"/>
              <a:gd name="connsiteY17" fmla="*/ 4210717 h 5150263"/>
              <a:gd name="connsiteX18" fmla="*/ 1138962 w 7187261"/>
              <a:gd name="connsiteY18" fmla="*/ 4988910 h 5150263"/>
              <a:gd name="connsiteX19" fmla="*/ 1348512 w 7187261"/>
              <a:gd name="connsiteY19" fmla="*/ 5146834 h 5150263"/>
              <a:gd name="connsiteX20" fmla="*/ 1422712 w 7187261"/>
              <a:gd name="connsiteY20" fmla="*/ 5146834 h 5150263"/>
              <a:gd name="connsiteX21" fmla="*/ 480594 w 7187261"/>
              <a:gd name="connsiteY21" fmla="*/ 4187952 h 5150263"/>
              <a:gd name="connsiteX22" fmla="*/ 398679 w 7187261"/>
              <a:gd name="connsiteY22" fmla="*/ 4046125 h 5150263"/>
              <a:gd name="connsiteX23" fmla="*/ 411823 w 7187261"/>
              <a:gd name="connsiteY23" fmla="*/ 4053078 h 5150263"/>
              <a:gd name="connsiteX24" fmla="*/ 1439380 w 7187261"/>
              <a:gd name="connsiteY24" fmla="*/ 5147405 h 5150263"/>
              <a:gd name="connsiteX25" fmla="*/ 5710010 w 7187261"/>
              <a:gd name="connsiteY25" fmla="*/ 5150263 h 5150263"/>
              <a:gd name="connsiteX26" fmla="*/ 5999665 w 7187261"/>
              <a:gd name="connsiteY26" fmla="*/ 4910900 h 5150263"/>
              <a:gd name="connsiteX27" fmla="*/ 6954165 w 7187261"/>
              <a:gd name="connsiteY27" fmla="*/ 3545777 h 5150263"/>
              <a:gd name="connsiteX28" fmla="*/ 7137712 w 7187261"/>
              <a:gd name="connsiteY28" fmla="*/ 2799207 h 5150263"/>
              <a:gd name="connsiteX29" fmla="*/ 7142951 w 7187261"/>
              <a:gd name="connsiteY29" fmla="*/ 2754535 h 5150263"/>
              <a:gd name="connsiteX30" fmla="*/ 7149428 w 7187261"/>
              <a:gd name="connsiteY30" fmla="*/ 2774823 h 5150263"/>
              <a:gd name="connsiteX31" fmla="*/ 7066465 w 7187261"/>
              <a:gd name="connsiteY31" fmla="*/ 3465672 h 5150263"/>
              <a:gd name="connsiteX32" fmla="*/ 6452578 w 7187261"/>
              <a:gd name="connsiteY32" fmla="*/ 4552760 h 5150263"/>
              <a:gd name="connsiteX33" fmla="*/ 5752110 w 7187261"/>
              <a:gd name="connsiteY33" fmla="*/ 5150263 h 5150263"/>
              <a:gd name="connsiteX34" fmla="*/ 5827643 w 7187261"/>
              <a:gd name="connsiteY34" fmla="*/ 5150263 h 5150263"/>
              <a:gd name="connsiteX35" fmla="*/ 6642793 w 7187261"/>
              <a:gd name="connsiteY35" fmla="*/ 4389406 h 5150263"/>
              <a:gd name="connsiteX36" fmla="*/ 7102469 w 7187261"/>
              <a:gd name="connsiteY36" fmla="*/ 3490817 h 5150263"/>
              <a:gd name="connsiteX37" fmla="*/ 7187242 w 7187261"/>
              <a:gd name="connsiteY37" fmla="*/ 2990183 h 5150263"/>
              <a:gd name="connsiteX38" fmla="*/ 7178288 w 7187261"/>
              <a:gd name="connsiteY38" fmla="*/ 2604802 h 5150263"/>
              <a:gd name="connsiteX39" fmla="*/ 6342565 w 7187261"/>
              <a:gd name="connsiteY39" fmla="*/ 441389 h 5150263"/>
              <a:gd name="connsiteX40" fmla="*/ 7126567 w 7187261"/>
              <a:gd name="connsiteY40" fmla="*/ 2355056 h 5150263"/>
              <a:gd name="connsiteX41" fmla="*/ 6342565 w 7187261"/>
              <a:gd name="connsiteY41" fmla="*/ 441389 h 5150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187261" h="5150263">
                <a:moveTo>
                  <a:pt x="7178288" y="2604802"/>
                </a:moveTo>
                <a:cubicBezTo>
                  <a:pt x="7168763" y="2513076"/>
                  <a:pt x="7174478" y="2420684"/>
                  <a:pt x="7169335" y="2328577"/>
                </a:cubicBezTo>
                <a:cubicBezTo>
                  <a:pt x="7156952" y="2102882"/>
                  <a:pt x="7120586" y="1879149"/>
                  <a:pt x="7060845" y="1661160"/>
                </a:cubicBezTo>
                <a:cubicBezTo>
                  <a:pt x="6910588" y="1121007"/>
                  <a:pt x="6617428" y="631374"/>
                  <a:pt x="6212263" y="243840"/>
                </a:cubicBezTo>
                <a:cubicBezTo>
                  <a:pt x="6126538" y="162496"/>
                  <a:pt x="6040813" y="80201"/>
                  <a:pt x="5953564" y="0"/>
                </a:cubicBezTo>
                <a:lnTo>
                  <a:pt x="1408615" y="0"/>
                </a:lnTo>
                <a:cubicBezTo>
                  <a:pt x="1180967" y="200316"/>
                  <a:pt x="978332" y="427387"/>
                  <a:pt x="805111" y="676275"/>
                </a:cubicBezTo>
                <a:cubicBezTo>
                  <a:pt x="481261" y="1136523"/>
                  <a:pt x="252089" y="1640872"/>
                  <a:pt x="104928" y="2183035"/>
                </a:cubicBezTo>
                <a:cubicBezTo>
                  <a:pt x="85878" y="2254853"/>
                  <a:pt x="69495" y="2327720"/>
                  <a:pt x="51588" y="2400014"/>
                </a:cubicBezTo>
                <a:cubicBezTo>
                  <a:pt x="49683" y="2407634"/>
                  <a:pt x="51588" y="2416969"/>
                  <a:pt x="41301" y="2424208"/>
                </a:cubicBezTo>
                <a:cubicBezTo>
                  <a:pt x="45900" y="2225469"/>
                  <a:pt x="72186" y="2027834"/>
                  <a:pt x="119692" y="1834801"/>
                </a:cubicBezTo>
                <a:cubicBezTo>
                  <a:pt x="247993" y="1310926"/>
                  <a:pt x="506121" y="857726"/>
                  <a:pt x="870071" y="462248"/>
                </a:cubicBezTo>
                <a:cubicBezTo>
                  <a:pt x="1027729" y="291823"/>
                  <a:pt x="1201617" y="137169"/>
                  <a:pt x="1389279" y="476"/>
                </a:cubicBezTo>
                <a:lnTo>
                  <a:pt x="1320223" y="476"/>
                </a:lnTo>
                <a:cubicBezTo>
                  <a:pt x="960844" y="274320"/>
                  <a:pt x="656330" y="599123"/>
                  <a:pt x="423158" y="989743"/>
                </a:cubicBezTo>
                <a:cubicBezTo>
                  <a:pt x="215608" y="1337596"/>
                  <a:pt x="80258" y="1711357"/>
                  <a:pt x="25585" y="2113693"/>
                </a:cubicBezTo>
                <a:cubicBezTo>
                  <a:pt x="-2705" y="2316480"/>
                  <a:pt x="-2228" y="2521077"/>
                  <a:pt x="2344" y="2725865"/>
                </a:cubicBezTo>
                <a:cubicBezTo>
                  <a:pt x="14155" y="3261932"/>
                  <a:pt x="170650" y="3754565"/>
                  <a:pt x="447256" y="4210717"/>
                </a:cubicBezTo>
                <a:cubicBezTo>
                  <a:pt x="629851" y="4511612"/>
                  <a:pt x="866356" y="4767167"/>
                  <a:pt x="1138962" y="4988910"/>
                </a:cubicBezTo>
                <a:cubicBezTo>
                  <a:pt x="1207161" y="5044345"/>
                  <a:pt x="1277008" y="5096990"/>
                  <a:pt x="1348512" y="5146834"/>
                </a:cubicBezTo>
                <a:lnTo>
                  <a:pt x="1422712" y="5146834"/>
                </a:lnTo>
                <a:cubicBezTo>
                  <a:pt x="1043426" y="4892802"/>
                  <a:pt x="724720" y="4577334"/>
                  <a:pt x="480594" y="4187952"/>
                </a:cubicBezTo>
                <a:cubicBezTo>
                  <a:pt x="452019" y="4141851"/>
                  <a:pt x="423444" y="4095179"/>
                  <a:pt x="398679" y="4046125"/>
                </a:cubicBezTo>
                <a:cubicBezTo>
                  <a:pt x="407442" y="4043267"/>
                  <a:pt x="409156" y="4048982"/>
                  <a:pt x="411823" y="4053078"/>
                </a:cubicBezTo>
                <a:cubicBezTo>
                  <a:pt x="683572" y="4484656"/>
                  <a:pt x="1033139" y="4842701"/>
                  <a:pt x="1439380" y="5147405"/>
                </a:cubicBezTo>
                <a:lnTo>
                  <a:pt x="5710010" y="5150263"/>
                </a:lnTo>
                <a:cubicBezTo>
                  <a:pt x="5810594" y="5075482"/>
                  <a:pt x="5907272" y="4995587"/>
                  <a:pt x="5999665" y="4910900"/>
                </a:cubicBezTo>
                <a:cubicBezTo>
                  <a:pt x="6418765" y="4526661"/>
                  <a:pt x="6746901" y="4078129"/>
                  <a:pt x="6954165" y="3545777"/>
                </a:cubicBezTo>
                <a:cubicBezTo>
                  <a:pt x="7048234" y="3306175"/>
                  <a:pt x="7109956" y="3055115"/>
                  <a:pt x="7137712" y="2799207"/>
                </a:cubicBezTo>
                <a:cubicBezTo>
                  <a:pt x="7139236" y="2784920"/>
                  <a:pt x="7141046" y="2770632"/>
                  <a:pt x="7142951" y="2754535"/>
                </a:cubicBezTo>
                <a:cubicBezTo>
                  <a:pt x="7151714" y="2760440"/>
                  <a:pt x="7149237" y="2768441"/>
                  <a:pt x="7149428" y="2774823"/>
                </a:cubicBezTo>
                <a:cubicBezTo>
                  <a:pt x="7156743" y="3007967"/>
                  <a:pt x="7128777" y="3240881"/>
                  <a:pt x="7066465" y="3465672"/>
                </a:cubicBezTo>
                <a:cubicBezTo>
                  <a:pt x="6952165" y="3878580"/>
                  <a:pt x="6737948" y="4235863"/>
                  <a:pt x="6452578" y="4552760"/>
                </a:cubicBezTo>
                <a:cubicBezTo>
                  <a:pt x="6244553" y="4783836"/>
                  <a:pt x="6008809" y="4980242"/>
                  <a:pt x="5752110" y="5150263"/>
                </a:cubicBezTo>
                <a:lnTo>
                  <a:pt x="5827643" y="5150263"/>
                </a:lnTo>
                <a:cubicBezTo>
                  <a:pt x="6136539" y="4938904"/>
                  <a:pt x="6412192" y="4689348"/>
                  <a:pt x="6642793" y="4389406"/>
                </a:cubicBezTo>
                <a:cubicBezTo>
                  <a:pt x="6851295" y="4118324"/>
                  <a:pt x="7009125" y="3820859"/>
                  <a:pt x="7102469" y="3490817"/>
                </a:cubicBezTo>
                <a:cubicBezTo>
                  <a:pt x="7148646" y="3327473"/>
                  <a:pt x="7177069" y="3159624"/>
                  <a:pt x="7187242" y="2990183"/>
                </a:cubicBezTo>
                <a:cubicBezTo>
                  <a:pt x="7187623" y="2984087"/>
                  <a:pt x="7182384" y="2642330"/>
                  <a:pt x="7178288" y="2604802"/>
                </a:cubicBezTo>
                <a:close/>
                <a:moveTo>
                  <a:pt x="6342565" y="441389"/>
                </a:moveTo>
                <a:cubicBezTo>
                  <a:pt x="6829797" y="986533"/>
                  <a:pt x="7091135" y="1624422"/>
                  <a:pt x="7126567" y="2355056"/>
                </a:cubicBezTo>
                <a:cubicBezTo>
                  <a:pt x="7001123" y="1661827"/>
                  <a:pt x="6756426" y="1017365"/>
                  <a:pt x="6342565" y="441389"/>
                </a:cubicBez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Arial"/>
              <a:ea typeface="+mn-ea"/>
              <a:cs typeface="+mn-cs"/>
            </a:endParaRPr>
          </a:p>
        </p:txBody>
      </p:sp>
      <p:sp>
        <p:nvSpPr>
          <p:cNvPr id="4" name="Title 3">
            <a:extLst>
              <a:ext uri="{FF2B5EF4-FFF2-40B4-BE49-F238E27FC236}">
                <a16:creationId xmlns:a16="http://schemas.microsoft.com/office/drawing/2014/main" id="{B009CD84-DA40-4CAA-8A89-DD6DAA862368}"/>
              </a:ext>
            </a:extLst>
          </p:cNvPr>
          <p:cNvSpPr>
            <a:spLocks noGrp="1"/>
          </p:cNvSpPr>
          <p:nvPr>
            <p:ph type="title"/>
          </p:nvPr>
        </p:nvSpPr>
        <p:spPr>
          <a:xfrm>
            <a:off x="2390503" y="1852521"/>
            <a:ext cx="13502422" cy="4348463"/>
          </a:xfrm>
        </p:spPr>
        <p:txBody>
          <a:bodyPr vert="horz" lIns="91440" tIns="45720" rIns="91440" bIns="45720" rtlCol="0" anchor="b">
            <a:normAutofit fontScale="90000"/>
          </a:bodyPr>
          <a:lstStyle/>
          <a:p>
            <a:pPr indent="457200">
              <a:lnSpc>
                <a:spcPct val="90000"/>
              </a:lnSpc>
              <a:spcAft>
                <a:spcPts val="600"/>
              </a:spcAft>
            </a:pPr>
            <a:r>
              <a:rPr lang="en-GB" sz="8000" b="1" noProof="0" dirty="0">
                <a:solidFill>
                  <a:schemeClr val="bg1"/>
                </a:solidFill>
                <a:ea typeface="+mn-ea"/>
                <a:cs typeface="Arial" panose="020B0604020202020204" pitchFamily="34" charset="0"/>
              </a:rPr>
              <a:t>Chapter 6.2 </a:t>
            </a:r>
            <a:br>
              <a:rPr lang="en-GB" sz="8000" b="1" noProof="0" dirty="0">
                <a:solidFill>
                  <a:schemeClr val="bg1"/>
                </a:solidFill>
                <a:ea typeface="+mn-ea"/>
                <a:cs typeface="Arial" panose="020B0604020202020204" pitchFamily="34" charset="0"/>
              </a:rPr>
            </a:br>
            <a:r>
              <a:rPr lang="en-GB" sz="8000" b="1" noProof="0" dirty="0" err="1">
                <a:solidFill>
                  <a:schemeClr val="bg1"/>
                </a:solidFill>
                <a:ea typeface="+mn-ea"/>
                <a:cs typeface="Arial" panose="020B0604020202020204" pitchFamily="34" charset="0"/>
              </a:rPr>
              <a:t>Analyzing</a:t>
            </a:r>
            <a:r>
              <a:rPr lang="en-GB" sz="8000" b="1" noProof="0" dirty="0">
                <a:solidFill>
                  <a:schemeClr val="bg1"/>
                </a:solidFill>
                <a:ea typeface="+mn-ea"/>
                <a:cs typeface="Arial" panose="020B0604020202020204" pitchFamily="34" charset="0"/>
              </a:rPr>
              <a:t> LCA</a:t>
            </a:r>
            <a:r>
              <a:rPr lang="en-GB" sz="8000" b="1" dirty="0">
                <a:solidFill>
                  <a:schemeClr val="bg1"/>
                </a:solidFill>
                <a:ea typeface="+mn-ea"/>
                <a:cs typeface="Arial" panose="020B0604020202020204" pitchFamily="34" charset="0"/>
              </a:rPr>
              <a:t> &amp; </a:t>
            </a:r>
            <a:r>
              <a:rPr lang="en-GB" sz="8000" b="1" noProof="0" dirty="0">
                <a:solidFill>
                  <a:schemeClr val="bg1"/>
                </a:solidFill>
                <a:ea typeface="+mn-ea"/>
                <a:cs typeface="Arial" panose="020B0604020202020204" pitchFamily="34" charset="0"/>
              </a:rPr>
              <a:t>LCC Findings for </a:t>
            </a:r>
            <a:r>
              <a:rPr lang="en-GB" sz="8000" b="1" noProof="0" dirty="0" err="1">
                <a:solidFill>
                  <a:schemeClr val="bg1"/>
                </a:solidFill>
                <a:ea typeface="+mn-ea"/>
                <a:cs typeface="Arial" panose="020B0604020202020204" pitchFamily="34" charset="0"/>
              </a:rPr>
              <a:t>Fertiberia</a:t>
            </a:r>
            <a:r>
              <a:rPr lang="en-GB" sz="8000" b="1" noProof="0" dirty="0">
                <a:solidFill>
                  <a:schemeClr val="bg1"/>
                </a:solidFill>
                <a:ea typeface="+mn-ea"/>
                <a:cs typeface="Arial" panose="020B0604020202020204" pitchFamily="34" charset="0"/>
              </a:rPr>
              <a:t>: Demo's Perspective</a:t>
            </a:r>
          </a:p>
        </p:txBody>
      </p:sp>
      <p:sp>
        <p:nvSpPr>
          <p:cNvPr id="62" name="sketch line">
            <a:extLst>
              <a:ext uri="{FF2B5EF4-FFF2-40B4-BE49-F238E27FC236}">
                <a16:creationId xmlns:a16="http://schemas.microsoft.com/office/drawing/2014/main" id="{41F77738-2AF0-4750-A0C7-F97C2C17590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961309" y="6260247"/>
            <a:ext cx="6365383" cy="27432"/>
          </a:xfrm>
          <a:custGeom>
            <a:avLst/>
            <a:gdLst>
              <a:gd name="connsiteX0" fmla="*/ 0 w 6365383"/>
              <a:gd name="connsiteY0" fmla="*/ 0 h 27432"/>
              <a:gd name="connsiteX1" fmla="*/ 636538 w 6365383"/>
              <a:gd name="connsiteY1" fmla="*/ 0 h 27432"/>
              <a:gd name="connsiteX2" fmla="*/ 1273077 w 6365383"/>
              <a:gd name="connsiteY2" fmla="*/ 0 h 27432"/>
              <a:gd name="connsiteX3" fmla="*/ 1909615 w 6365383"/>
              <a:gd name="connsiteY3" fmla="*/ 0 h 27432"/>
              <a:gd name="connsiteX4" fmla="*/ 2673461 w 6365383"/>
              <a:gd name="connsiteY4" fmla="*/ 0 h 27432"/>
              <a:gd name="connsiteX5" fmla="*/ 3373653 w 6365383"/>
              <a:gd name="connsiteY5" fmla="*/ 0 h 27432"/>
              <a:gd name="connsiteX6" fmla="*/ 3819230 w 6365383"/>
              <a:gd name="connsiteY6" fmla="*/ 0 h 27432"/>
              <a:gd name="connsiteX7" fmla="*/ 4392114 w 6365383"/>
              <a:gd name="connsiteY7" fmla="*/ 0 h 27432"/>
              <a:gd name="connsiteX8" fmla="*/ 5155960 w 6365383"/>
              <a:gd name="connsiteY8" fmla="*/ 0 h 27432"/>
              <a:gd name="connsiteX9" fmla="*/ 5792499 w 6365383"/>
              <a:gd name="connsiteY9" fmla="*/ 0 h 27432"/>
              <a:gd name="connsiteX10" fmla="*/ 6365383 w 6365383"/>
              <a:gd name="connsiteY10" fmla="*/ 0 h 27432"/>
              <a:gd name="connsiteX11" fmla="*/ 6365383 w 6365383"/>
              <a:gd name="connsiteY11" fmla="*/ 27432 h 27432"/>
              <a:gd name="connsiteX12" fmla="*/ 5856152 w 6365383"/>
              <a:gd name="connsiteY12" fmla="*/ 27432 h 27432"/>
              <a:gd name="connsiteX13" fmla="*/ 5092306 w 6365383"/>
              <a:gd name="connsiteY13" fmla="*/ 27432 h 27432"/>
              <a:gd name="connsiteX14" fmla="*/ 4583076 w 6365383"/>
              <a:gd name="connsiteY14" fmla="*/ 27432 h 27432"/>
              <a:gd name="connsiteX15" fmla="*/ 4137499 w 6365383"/>
              <a:gd name="connsiteY15" fmla="*/ 27432 h 27432"/>
              <a:gd name="connsiteX16" fmla="*/ 3691922 w 6365383"/>
              <a:gd name="connsiteY16" fmla="*/ 27432 h 27432"/>
              <a:gd name="connsiteX17" fmla="*/ 2991730 w 6365383"/>
              <a:gd name="connsiteY17" fmla="*/ 27432 h 27432"/>
              <a:gd name="connsiteX18" fmla="*/ 2546153 w 6365383"/>
              <a:gd name="connsiteY18" fmla="*/ 27432 h 27432"/>
              <a:gd name="connsiteX19" fmla="*/ 1909615 w 6365383"/>
              <a:gd name="connsiteY19" fmla="*/ 27432 h 27432"/>
              <a:gd name="connsiteX20" fmla="*/ 1400384 w 6365383"/>
              <a:gd name="connsiteY20" fmla="*/ 27432 h 27432"/>
              <a:gd name="connsiteX21" fmla="*/ 763846 w 6365383"/>
              <a:gd name="connsiteY21" fmla="*/ 27432 h 27432"/>
              <a:gd name="connsiteX22" fmla="*/ 0 w 6365383"/>
              <a:gd name="connsiteY22" fmla="*/ 27432 h 27432"/>
              <a:gd name="connsiteX23" fmla="*/ 0 w 6365383"/>
              <a:gd name="connsiteY23" fmla="*/ 0 h 27432"/>
              <a:gd name="connsiteX0" fmla="*/ 0 w 6365383"/>
              <a:gd name="connsiteY0" fmla="*/ 0 h 27432"/>
              <a:gd name="connsiteX1" fmla="*/ 572884 w 6365383"/>
              <a:gd name="connsiteY1" fmla="*/ 0 h 27432"/>
              <a:gd name="connsiteX2" fmla="*/ 1018461 w 6365383"/>
              <a:gd name="connsiteY2" fmla="*/ 0 h 27432"/>
              <a:gd name="connsiteX3" fmla="*/ 1782307 w 6365383"/>
              <a:gd name="connsiteY3" fmla="*/ 0 h 27432"/>
              <a:gd name="connsiteX4" fmla="*/ 2355192 w 6365383"/>
              <a:gd name="connsiteY4" fmla="*/ 0 h 27432"/>
              <a:gd name="connsiteX5" fmla="*/ 2928076 w 6365383"/>
              <a:gd name="connsiteY5" fmla="*/ 0 h 27432"/>
              <a:gd name="connsiteX6" fmla="*/ 3691922 w 6365383"/>
              <a:gd name="connsiteY6" fmla="*/ 0 h 27432"/>
              <a:gd name="connsiteX7" fmla="*/ 4201153 w 6365383"/>
              <a:gd name="connsiteY7" fmla="*/ 0 h 27432"/>
              <a:gd name="connsiteX8" fmla="*/ 4964999 w 6365383"/>
              <a:gd name="connsiteY8" fmla="*/ 0 h 27432"/>
              <a:gd name="connsiteX9" fmla="*/ 5728845 w 6365383"/>
              <a:gd name="connsiteY9" fmla="*/ 0 h 27432"/>
              <a:gd name="connsiteX10" fmla="*/ 6365383 w 6365383"/>
              <a:gd name="connsiteY10" fmla="*/ 0 h 27432"/>
              <a:gd name="connsiteX11" fmla="*/ 6365383 w 6365383"/>
              <a:gd name="connsiteY11" fmla="*/ 27432 h 27432"/>
              <a:gd name="connsiteX12" fmla="*/ 5665191 w 6365383"/>
              <a:gd name="connsiteY12" fmla="*/ 27432 h 27432"/>
              <a:gd name="connsiteX13" fmla="*/ 4901345 w 6365383"/>
              <a:gd name="connsiteY13" fmla="*/ 27432 h 27432"/>
              <a:gd name="connsiteX14" fmla="*/ 4137499 w 6365383"/>
              <a:gd name="connsiteY14" fmla="*/ 27432 h 27432"/>
              <a:gd name="connsiteX15" fmla="*/ 3628268 w 6365383"/>
              <a:gd name="connsiteY15" fmla="*/ 27432 h 27432"/>
              <a:gd name="connsiteX16" fmla="*/ 2991730 w 6365383"/>
              <a:gd name="connsiteY16" fmla="*/ 27432 h 27432"/>
              <a:gd name="connsiteX17" fmla="*/ 2227884 w 6365383"/>
              <a:gd name="connsiteY17" fmla="*/ 27432 h 27432"/>
              <a:gd name="connsiteX18" fmla="*/ 1591346 w 6365383"/>
              <a:gd name="connsiteY18" fmla="*/ 27432 h 27432"/>
              <a:gd name="connsiteX19" fmla="*/ 1145769 w 6365383"/>
              <a:gd name="connsiteY19" fmla="*/ 27432 h 27432"/>
              <a:gd name="connsiteX20" fmla="*/ 636538 w 6365383"/>
              <a:gd name="connsiteY20" fmla="*/ 27432 h 27432"/>
              <a:gd name="connsiteX21" fmla="*/ 0 w 6365383"/>
              <a:gd name="connsiteY21" fmla="*/ 27432 h 27432"/>
              <a:gd name="connsiteX22" fmla="*/ 0 w 6365383"/>
              <a:gd name="connsiteY22"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365383" h="27432" fill="none" extrusionOk="0">
                <a:moveTo>
                  <a:pt x="0" y="0"/>
                </a:moveTo>
                <a:cubicBezTo>
                  <a:pt x="311910" y="25756"/>
                  <a:pt x="328854" y="-22977"/>
                  <a:pt x="636538" y="0"/>
                </a:cubicBezTo>
                <a:cubicBezTo>
                  <a:pt x="929901" y="50670"/>
                  <a:pt x="1067253" y="-1993"/>
                  <a:pt x="1273077" y="0"/>
                </a:cubicBezTo>
                <a:cubicBezTo>
                  <a:pt x="1507620" y="-24857"/>
                  <a:pt x="1747799" y="-10413"/>
                  <a:pt x="1909615" y="0"/>
                </a:cubicBezTo>
                <a:cubicBezTo>
                  <a:pt x="2041097" y="-21585"/>
                  <a:pt x="2422417" y="-28022"/>
                  <a:pt x="2673461" y="0"/>
                </a:cubicBezTo>
                <a:cubicBezTo>
                  <a:pt x="2948394" y="-4560"/>
                  <a:pt x="3134893" y="36981"/>
                  <a:pt x="3373653" y="0"/>
                </a:cubicBezTo>
                <a:cubicBezTo>
                  <a:pt x="3634761" y="-15887"/>
                  <a:pt x="3700843" y="23167"/>
                  <a:pt x="3819230" y="0"/>
                </a:cubicBezTo>
                <a:cubicBezTo>
                  <a:pt x="3977295" y="2943"/>
                  <a:pt x="4128910" y="-53150"/>
                  <a:pt x="4392114" y="0"/>
                </a:cubicBezTo>
                <a:cubicBezTo>
                  <a:pt x="4672763" y="9214"/>
                  <a:pt x="4999833" y="38501"/>
                  <a:pt x="5155960" y="0"/>
                </a:cubicBezTo>
                <a:cubicBezTo>
                  <a:pt x="5343367" y="-6557"/>
                  <a:pt x="5597661" y="6622"/>
                  <a:pt x="5792499" y="0"/>
                </a:cubicBezTo>
                <a:cubicBezTo>
                  <a:pt x="6020774" y="43813"/>
                  <a:pt x="6148830" y="-13954"/>
                  <a:pt x="6365383" y="0"/>
                </a:cubicBezTo>
                <a:cubicBezTo>
                  <a:pt x="6364517" y="8091"/>
                  <a:pt x="6365728" y="20268"/>
                  <a:pt x="6365383" y="27432"/>
                </a:cubicBezTo>
                <a:cubicBezTo>
                  <a:pt x="6144545" y="15144"/>
                  <a:pt x="6006673" y="-7419"/>
                  <a:pt x="5856152" y="27432"/>
                </a:cubicBezTo>
                <a:cubicBezTo>
                  <a:pt x="5638446" y="81548"/>
                  <a:pt x="5413846" y="52067"/>
                  <a:pt x="5092306" y="27432"/>
                </a:cubicBezTo>
                <a:cubicBezTo>
                  <a:pt x="4768499" y="43350"/>
                  <a:pt x="4708569" y="3163"/>
                  <a:pt x="4583076" y="27432"/>
                </a:cubicBezTo>
                <a:cubicBezTo>
                  <a:pt x="4475482" y="66269"/>
                  <a:pt x="4242792" y="42702"/>
                  <a:pt x="4137499" y="27432"/>
                </a:cubicBezTo>
                <a:cubicBezTo>
                  <a:pt x="4003968" y="24039"/>
                  <a:pt x="3882646" y="-3026"/>
                  <a:pt x="3691922" y="27432"/>
                </a:cubicBezTo>
                <a:cubicBezTo>
                  <a:pt x="3501639" y="8096"/>
                  <a:pt x="3270842" y="-14942"/>
                  <a:pt x="2991730" y="27432"/>
                </a:cubicBezTo>
                <a:cubicBezTo>
                  <a:pt x="2712135" y="55419"/>
                  <a:pt x="2758697" y="31955"/>
                  <a:pt x="2546153" y="27432"/>
                </a:cubicBezTo>
                <a:cubicBezTo>
                  <a:pt x="2362220" y="-818"/>
                  <a:pt x="2130397" y="57099"/>
                  <a:pt x="1909615" y="27432"/>
                </a:cubicBezTo>
                <a:cubicBezTo>
                  <a:pt x="1714835" y="-15389"/>
                  <a:pt x="1636770" y="40318"/>
                  <a:pt x="1400384" y="27432"/>
                </a:cubicBezTo>
                <a:cubicBezTo>
                  <a:pt x="1161504" y="29515"/>
                  <a:pt x="1060819" y="7773"/>
                  <a:pt x="763846" y="27432"/>
                </a:cubicBezTo>
                <a:cubicBezTo>
                  <a:pt x="465096" y="43671"/>
                  <a:pt x="165309" y="15831"/>
                  <a:pt x="0" y="27432"/>
                </a:cubicBezTo>
                <a:cubicBezTo>
                  <a:pt x="-2013" y="18874"/>
                  <a:pt x="-525" y="8614"/>
                  <a:pt x="0" y="0"/>
                </a:cubicBezTo>
                <a:close/>
              </a:path>
              <a:path w="6365383" h="27432" stroke="0" extrusionOk="0">
                <a:moveTo>
                  <a:pt x="0" y="0"/>
                </a:moveTo>
                <a:cubicBezTo>
                  <a:pt x="84020" y="9133"/>
                  <a:pt x="339524" y="24523"/>
                  <a:pt x="572884" y="0"/>
                </a:cubicBezTo>
                <a:cubicBezTo>
                  <a:pt x="803790" y="-14011"/>
                  <a:pt x="837492" y="-10007"/>
                  <a:pt x="1018461" y="0"/>
                </a:cubicBezTo>
                <a:cubicBezTo>
                  <a:pt x="1188530" y="8943"/>
                  <a:pt x="1571061" y="17361"/>
                  <a:pt x="1782307" y="0"/>
                </a:cubicBezTo>
                <a:cubicBezTo>
                  <a:pt x="1967448" y="-16010"/>
                  <a:pt x="2153334" y="-25629"/>
                  <a:pt x="2355192" y="0"/>
                </a:cubicBezTo>
                <a:cubicBezTo>
                  <a:pt x="2541804" y="20205"/>
                  <a:pt x="2779440" y="53811"/>
                  <a:pt x="2928076" y="0"/>
                </a:cubicBezTo>
                <a:cubicBezTo>
                  <a:pt x="3024078" y="-16903"/>
                  <a:pt x="3337092" y="43483"/>
                  <a:pt x="3691922" y="0"/>
                </a:cubicBezTo>
                <a:cubicBezTo>
                  <a:pt x="4060895" y="-1064"/>
                  <a:pt x="4072166" y="-17195"/>
                  <a:pt x="4201153" y="0"/>
                </a:cubicBezTo>
                <a:cubicBezTo>
                  <a:pt x="4349835" y="-22516"/>
                  <a:pt x="4800106" y="-64797"/>
                  <a:pt x="4964999" y="0"/>
                </a:cubicBezTo>
                <a:cubicBezTo>
                  <a:pt x="5186764" y="15779"/>
                  <a:pt x="5564421" y="-10544"/>
                  <a:pt x="5728845" y="0"/>
                </a:cubicBezTo>
                <a:cubicBezTo>
                  <a:pt x="5915953" y="5493"/>
                  <a:pt x="6171384" y="-48026"/>
                  <a:pt x="6365383" y="0"/>
                </a:cubicBezTo>
                <a:cubicBezTo>
                  <a:pt x="6366596" y="6455"/>
                  <a:pt x="6365588" y="14391"/>
                  <a:pt x="6365383" y="27432"/>
                </a:cubicBezTo>
                <a:cubicBezTo>
                  <a:pt x="6172514" y="805"/>
                  <a:pt x="6006523" y="20734"/>
                  <a:pt x="5665191" y="27432"/>
                </a:cubicBezTo>
                <a:cubicBezTo>
                  <a:pt x="5322179" y="66687"/>
                  <a:pt x="5219376" y="21111"/>
                  <a:pt x="4901345" y="27432"/>
                </a:cubicBezTo>
                <a:cubicBezTo>
                  <a:pt x="4621310" y="-13654"/>
                  <a:pt x="4455192" y="54857"/>
                  <a:pt x="4137499" y="27432"/>
                </a:cubicBezTo>
                <a:cubicBezTo>
                  <a:pt x="3853317" y="12285"/>
                  <a:pt x="3862894" y="26263"/>
                  <a:pt x="3628268" y="27432"/>
                </a:cubicBezTo>
                <a:cubicBezTo>
                  <a:pt x="3418779" y="32610"/>
                  <a:pt x="3174456" y="83656"/>
                  <a:pt x="2991730" y="27432"/>
                </a:cubicBezTo>
                <a:cubicBezTo>
                  <a:pt x="2801278" y="6667"/>
                  <a:pt x="2497351" y="22891"/>
                  <a:pt x="2227884" y="27432"/>
                </a:cubicBezTo>
                <a:cubicBezTo>
                  <a:pt x="1986101" y="16297"/>
                  <a:pt x="1767219" y="-7535"/>
                  <a:pt x="1591346" y="27432"/>
                </a:cubicBezTo>
                <a:cubicBezTo>
                  <a:pt x="1447183" y="73731"/>
                  <a:pt x="1315973" y="39477"/>
                  <a:pt x="1145769" y="27432"/>
                </a:cubicBezTo>
                <a:cubicBezTo>
                  <a:pt x="990245" y="8882"/>
                  <a:pt x="810845" y="16910"/>
                  <a:pt x="636538" y="27432"/>
                </a:cubicBezTo>
                <a:cubicBezTo>
                  <a:pt x="482916" y="17795"/>
                  <a:pt x="183027" y="-17710"/>
                  <a:pt x="0" y="27432"/>
                </a:cubicBezTo>
                <a:cubicBezTo>
                  <a:pt x="491" y="19542"/>
                  <a:pt x="-1038" y="8534"/>
                  <a:pt x="0" y="0"/>
                </a:cubicBezTo>
                <a:close/>
              </a:path>
              <a:path w="6365383" h="27432" fill="none" stroke="0" extrusionOk="0">
                <a:moveTo>
                  <a:pt x="0" y="0"/>
                </a:moveTo>
                <a:cubicBezTo>
                  <a:pt x="296223" y="15991"/>
                  <a:pt x="333462" y="-23795"/>
                  <a:pt x="636538" y="0"/>
                </a:cubicBezTo>
                <a:cubicBezTo>
                  <a:pt x="970197" y="30961"/>
                  <a:pt x="1039864" y="3183"/>
                  <a:pt x="1273077" y="0"/>
                </a:cubicBezTo>
                <a:cubicBezTo>
                  <a:pt x="1449809" y="24819"/>
                  <a:pt x="1735152" y="23060"/>
                  <a:pt x="1909615" y="0"/>
                </a:cubicBezTo>
                <a:cubicBezTo>
                  <a:pt x="2016351" y="-41665"/>
                  <a:pt x="2415001" y="34773"/>
                  <a:pt x="2673461" y="0"/>
                </a:cubicBezTo>
                <a:cubicBezTo>
                  <a:pt x="2996983" y="-13411"/>
                  <a:pt x="3130707" y="3741"/>
                  <a:pt x="3373653" y="0"/>
                </a:cubicBezTo>
                <a:cubicBezTo>
                  <a:pt x="3601951" y="-16140"/>
                  <a:pt x="3689909" y="23222"/>
                  <a:pt x="3819230" y="0"/>
                </a:cubicBezTo>
                <a:cubicBezTo>
                  <a:pt x="3931872" y="-29406"/>
                  <a:pt x="4119438" y="24094"/>
                  <a:pt x="4392114" y="0"/>
                </a:cubicBezTo>
                <a:cubicBezTo>
                  <a:pt x="4665359" y="21557"/>
                  <a:pt x="4978709" y="13267"/>
                  <a:pt x="5155960" y="0"/>
                </a:cubicBezTo>
                <a:cubicBezTo>
                  <a:pt x="5299518" y="-18386"/>
                  <a:pt x="5605020" y="-6762"/>
                  <a:pt x="5792499" y="0"/>
                </a:cubicBezTo>
                <a:cubicBezTo>
                  <a:pt x="6013281" y="43398"/>
                  <a:pt x="6167567" y="36727"/>
                  <a:pt x="6365383" y="0"/>
                </a:cubicBezTo>
                <a:cubicBezTo>
                  <a:pt x="6365697" y="8368"/>
                  <a:pt x="6365332" y="21050"/>
                  <a:pt x="6365383" y="27432"/>
                </a:cubicBezTo>
                <a:cubicBezTo>
                  <a:pt x="6154893" y="8454"/>
                  <a:pt x="6014206" y="-8372"/>
                  <a:pt x="5856152" y="27432"/>
                </a:cubicBezTo>
                <a:cubicBezTo>
                  <a:pt x="5659455" y="59503"/>
                  <a:pt x="5350806" y="-35991"/>
                  <a:pt x="5092306" y="27432"/>
                </a:cubicBezTo>
                <a:cubicBezTo>
                  <a:pt x="4756309" y="48260"/>
                  <a:pt x="4699746" y="-4780"/>
                  <a:pt x="4583076" y="27432"/>
                </a:cubicBezTo>
                <a:cubicBezTo>
                  <a:pt x="4462137" y="30142"/>
                  <a:pt x="4226168" y="50236"/>
                  <a:pt x="4137499" y="27432"/>
                </a:cubicBezTo>
                <a:cubicBezTo>
                  <a:pt x="4018570" y="42181"/>
                  <a:pt x="3887179" y="34623"/>
                  <a:pt x="3691922" y="27432"/>
                </a:cubicBezTo>
                <a:cubicBezTo>
                  <a:pt x="3499755" y="32935"/>
                  <a:pt x="3281056" y="-9158"/>
                  <a:pt x="2991730" y="27432"/>
                </a:cubicBezTo>
                <a:cubicBezTo>
                  <a:pt x="2716073" y="57462"/>
                  <a:pt x="2755481" y="34494"/>
                  <a:pt x="2546153" y="27432"/>
                </a:cubicBezTo>
                <a:cubicBezTo>
                  <a:pt x="2356479" y="62622"/>
                  <a:pt x="2079190" y="73729"/>
                  <a:pt x="1909615" y="27432"/>
                </a:cubicBezTo>
                <a:cubicBezTo>
                  <a:pt x="1715819" y="-26444"/>
                  <a:pt x="1631368" y="48131"/>
                  <a:pt x="1400384" y="27432"/>
                </a:cubicBezTo>
                <a:cubicBezTo>
                  <a:pt x="1177327" y="16190"/>
                  <a:pt x="1065236" y="24992"/>
                  <a:pt x="763846" y="27432"/>
                </a:cubicBezTo>
                <a:cubicBezTo>
                  <a:pt x="448643" y="60691"/>
                  <a:pt x="160833" y="2330"/>
                  <a:pt x="0" y="27432"/>
                </a:cubicBezTo>
                <a:cubicBezTo>
                  <a:pt x="1559" y="18666"/>
                  <a:pt x="-585" y="7580"/>
                  <a:pt x="0" y="0"/>
                </a:cubicBezTo>
                <a:close/>
              </a:path>
            </a:pathLst>
          </a:custGeom>
          <a:solidFill>
            <a:srgbClr val="FFFFFF"/>
          </a:solidFill>
          <a:ln w="41275" cap="rnd">
            <a:solidFill>
              <a:srgbClr val="FFFFFF"/>
            </a:solidFill>
            <a:round/>
            <a:extLst>
              <a:ext uri="{C807C97D-BFC1-408E-A445-0C87EB9F89A2}">
                <ask:lineSketchStyleProps xmlns:ask="http://schemas.microsoft.com/office/drawing/2018/sketchyshapes" sd="1219033472">
                  <a:custGeom>
                    <a:avLst/>
                    <a:gdLst>
                      <a:gd name="connsiteX0" fmla="*/ 0 w 6365383"/>
                      <a:gd name="connsiteY0" fmla="*/ 0 h 27432"/>
                      <a:gd name="connsiteX1" fmla="*/ 636538 w 6365383"/>
                      <a:gd name="connsiteY1" fmla="*/ 0 h 27432"/>
                      <a:gd name="connsiteX2" fmla="*/ 1273077 w 6365383"/>
                      <a:gd name="connsiteY2" fmla="*/ 0 h 27432"/>
                      <a:gd name="connsiteX3" fmla="*/ 1909615 w 6365383"/>
                      <a:gd name="connsiteY3" fmla="*/ 0 h 27432"/>
                      <a:gd name="connsiteX4" fmla="*/ 2673461 w 6365383"/>
                      <a:gd name="connsiteY4" fmla="*/ 0 h 27432"/>
                      <a:gd name="connsiteX5" fmla="*/ 3373653 w 6365383"/>
                      <a:gd name="connsiteY5" fmla="*/ 0 h 27432"/>
                      <a:gd name="connsiteX6" fmla="*/ 3819230 w 6365383"/>
                      <a:gd name="connsiteY6" fmla="*/ 0 h 27432"/>
                      <a:gd name="connsiteX7" fmla="*/ 4392114 w 6365383"/>
                      <a:gd name="connsiteY7" fmla="*/ 0 h 27432"/>
                      <a:gd name="connsiteX8" fmla="*/ 5155960 w 6365383"/>
                      <a:gd name="connsiteY8" fmla="*/ 0 h 27432"/>
                      <a:gd name="connsiteX9" fmla="*/ 5792499 w 6365383"/>
                      <a:gd name="connsiteY9" fmla="*/ 0 h 27432"/>
                      <a:gd name="connsiteX10" fmla="*/ 6365383 w 6365383"/>
                      <a:gd name="connsiteY10" fmla="*/ 0 h 27432"/>
                      <a:gd name="connsiteX11" fmla="*/ 6365383 w 6365383"/>
                      <a:gd name="connsiteY11" fmla="*/ 27432 h 27432"/>
                      <a:gd name="connsiteX12" fmla="*/ 5856152 w 6365383"/>
                      <a:gd name="connsiteY12" fmla="*/ 27432 h 27432"/>
                      <a:gd name="connsiteX13" fmla="*/ 5092306 w 6365383"/>
                      <a:gd name="connsiteY13" fmla="*/ 27432 h 27432"/>
                      <a:gd name="connsiteX14" fmla="*/ 4583076 w 6365383"/>
                      <a:gd name="connsiteY14" fmla="*/ 27432 h 27432"/>
                      <a:gd name="connsiteX15" fmla="*/ 4137499 w 6365383"/>
                      <a:gd name="connsiteY15" fmla="*/ 27432 h 27432"/>
                      <a:gd name="connsiteX16" fmla="*/ 3691922 w 6365383"/>
                      <a:gd name="connsiteY16" fmla="*/ 27432 h 27432"/>
                      <a:gd name="connsiteX17" fmla="*/ 2991730 w 6365383"/>
                      <a:gd name="connsiteY17" fmla="*/ 27432 h 27432"/>
                      <a:gd name="connsiteX18" fmla="*/ 2546153 w 6365383"/>
                      <a:gd name="connsiteY18" fmla="*/ 27432 h 27432"/>
                      <a:gd name="connsiteX19" fmla="*/ 1909615 w 6365383"/>
                      <a:gd name="connsiteY19" fmla="*/ 27432 h 27432"/>
                      <a:gd name="connsiteX20" fmla="*/ 1400384 w 6365383"/>
                      <a:gd name="connsiteY20" fmla="*/ 27432 h 27432"/>
                      <a:gd name="connsiteX21" fmla="*/ 763846 w 6365383"/>
                      <a:gd name="connsiteY21" fmla="*/ 27432 h 27432"/>
                      <a:gd name="connsiteX22" fmla="*/ 0 w 6365383"/>
                      <a:gd name="connsiteY22" fmla="*/ 27432 h 27432"/>
                      <a:gd name="connsiteX23" fmla="*/ 0 w 6365383"/>
                      <a:gd name="connsiteY23"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365383" h="27432" fill="none" extrusionOk="0">
                        <a:moveTo>
                          <a:pt x="0" y="0"/>
                        </a:moveTo>
                        <a:cubicBezTo>
                          <a:pt x="305169" y="21509"/>
                          <a:pt x="334704" y="-24261"/>
                          <a:pt x="636538" y="0"/>
                        </a:cubicBezTo>
                        <a:cubicBezTo>
                          <a:pt x="938372" y="24261"/>
                          <a:pt x="1068606" y="2269"/>
                          <a:pt x="1273077" y="0"/>
                        </a:cubicBezTo>
                        <a:cubicBezTo>
                          <a:pt x="1477548" y="-2269"/>
                          <a:pt x="1738189" y="6272"/>
                          <a:pt x="1909615" y="0"/>
                        </a:cubicBezTo>
                        <a:cubicBezTo>
                          <a:pt x="2081041" y="-6272"/>
                          <a:pt x="2377015" y="16623"/>
                          <a:pt x="2673461" y="0"/>
                        </a:cubicBezTo>
                        <a:cubicBezTo>
                          <a:pt x="2969907" y="-16623"/>
                          <a:pt x="3126114" y="13194"/>
                          <a:pt x="3373653" y="0"/>
                        </a:cubicBezTo>
                        <a:cubicBezTo>
                          <a:pt x="3621192" y="-13194"/>
                          <a:pt x="3704499" y="9486"/>
                          <a:pt x="3819230" y="0"/>
                        </a:cubicBezTo>
                        <a:cubicBezTo>
                          <a:pt x="3933961" y="-9486"/>
                          <a:pt x="4142691" y="-8221"/>
                          <a:pt x="4392114" y="0"/>
                        </a:cubicBezTo>
                        <a:cubicBezTo>
                          <a:pt x="4641537" y="8221"/>
                          <a:pt x="4974506" y="12257"/>
                          <a:pt x="5155960" y="0"/>
                        </a:cubicBezTo>
                        <a:cubicBezTo>
                          <a:pt x="5337414" y="-12257"/>
                          <a:pt x="5585731" y="-22537"/>
                          <a:pt x="5792499" y="0"/>
                        </a:cubicBezTo>
                        <a:cubicBezTo>
                          <a:pt x="5999267" y="22537"/>
                          <a:pt x="6164726" y="7303"/>
                          <a:pt x="6365383" y="0"/>
                        </a:cubicBezTo>
                        <a:cubicBezTo>
                          <a:pt x="6365125" y="7487"/>
                          <a:pt x="6364462" y="19984"/>
                          <a:pt x="6365383" y="27432"/>
                        </a:cubicBezTo>
                        <a:cubicBezTo>
                          <a:pt x="6132222" y="28304"/>
                          <a:pt x="6011986" y="2071"/>
                          <a:pt x="5856152" y="27432"/>
                        </a:cubicBezTo>
                        <a:cubicBezTo>
                          <a:pt x="5700318" y="52793"/>
                          <a:pt x="5410732" y="5357"/>
                          <a:pt x="5092306" y="27432"/>
                        </a:cubicBezTo>
                        <a:cubicBezTo>
                          <a:pt x="4773880" y="49507"/>
                          <a:pt x="4705351" y="6645"/>
                          <a:pt x="4583076" y="27432"/>
                        </a:cubicBezTo>
                        <a:cubicBezTo>
                          <a:pt x="4460801" y="48220"/>
                          <a:pt x="4239915" y="42209"/>
                          <a:pt x="4137499" y="27432"/>
                        </a:cubicBezTo>
                        <a:cubicBezTo>
                          <a:pt x="4035083" y="12655"/>
                          <a:pt x="3883665" y="32012"/>
                          <a:pt x="3691922" y="27432"/>
                        </a:cubicBezTo>
                        <a:cubicBezTo>
                          <a:pt x="3500179" y="22852"/>
                          <a:pt x="3265830" y="-126"/>
                          <a:pt x="2991730" y="27432"/>
                        </a:cubicBezTo>
                        <a:cubicBezTo>
                          <a:pt x="2717630" y="54990"/>
                          <a:pt x="2757122" y="34407"/>
                          <a:pt x="2546153" y="27432"/>
                        </a:cubicBezTo>
                        <a:cubicBezTo>
                          <a:pt x="2335184" y="20457"/>
                          <a:pt x="2107331" y="58889"/>
                          <a:pt x="1909615" y="27432"/>
                        </a:cubicBezTo>
                        <a:cubicBezTo>
                          <a:pt x="1711899" y="-4025"/>
                          <a:pt x="1634641" y="48316"/>
                          <a:pt x="1400384" y="27432"/>
                        </a:cubicBezTo>
                        <a:cubicBezTo>
                          <a:pt x="1166127" y="6548"/>
                          <a:pt x="1068288" y="15776"/>
                          <a:pt x="763846" y="27432"/>
                        </a:cubicBezTo>
                        <a:cubicBezTo>
                          <a:pt x="459404" y="39088"/>
                          <a:pt x="170017" y="14515"/>
                          <a:pt x="0" y="27432"/>
                        </a:cubicBezTo>
                        <a:cubicBezTo>
                          <a:pt x="-14" y="18173"/>
                          <a:pt x="-517" y="8990"/>
                          <a:pt x="0" y="0"/>
                        </a:cubicBezTo>
                        <a:close/>
                      </a:path>
                      <a:path w="6365383" h="27432" stroke="0" extrusionOk="0">
                        <a:moveTo>
                          <a:pt x="0" y="0"/>
                        </a:moveTo>
                        <a:cubicBezTo>
                          <a:pt x="114610" y="-2215"/>
                          <a:pt x="340315" y="12554"/>
                          <a:pt x="572884" y="0"/>
                        </a:cubicBezTo>
                        <a:cubicBezTo>
                          <a:pt x="805453" y="-12554"/>
                          <a:pt x="832891" y="-10424"/>
                          <a:pt x="1018461" y="0"/>
                        </a:cubicBezTo>
                        <a:cubicBezTo>
                          <a:pt x="1204031" y="10424"/>
                          <a:pt x="1590875" y="8682"/>
                          <a:pt x="1782307" y="0"/>
                        </a:cubicBezTo>
                        <a:cubicBezTo>
                          <a:pt x="1973739" y="-8682"/>
                          <a:pt x="2150876" y="5508"/>
                          <a:pt x="2355192" y="0"/>
                        </a:cubicBezTo>
                        <a:cubicBezTo>
                          <a:pt x="2559508" y="-5508"/>
                          <a:pt x="2790194" y="26965"/>
                          <a:pt x="2928076" y="0"/>
                        </a:cubicBezTo>
                        <a:cubicBezTo>
                          <a:pt x="3065958" y="-26965"/>
                          <a:pt x="3321537" y="819"/>
                          <a:pt x="3691922" y="0"/>
                        </a:cubicBezTo>
                        <a:cubicBezTo>
                          <a:pt x="4062307" y="-819"/>
                          <a:pt x="4072238" y="-15327"/>
                          <a:pt x="4201153" y="0"/>
                        </a:cubicBezTo>
                        <a:cubicBezTo>
                          <a:pt x="4330068" y="15327"/>
                          <a:pt x="4772079" y="-35646"/>
                          <a:pt x="4964999" y="0"/>
                        </a:cubicBezTo>
                        <a:cubicBezTo>
                          <a:pt x="5157919" y="35646"/>
                          <a:pt x="5543915" y="6802"/>
                          <a:pt x="5728845" y="0"/>
                        </a:cubicBezTo>
                        <a:cubicBezTo>
                          <a:pt x="5913775" y="-6802"/>
                          <a:pt x="6142952" y="-21408"/>
                          <a:pt x="6365383" y="0"/>
                        </a:cubicBezTo>
                        <a:cubicBezTo>
                          <a:pt x="6364552" y="6329"/>
                          <a:pt x="6365787" y="16858"/>
                          <a:pt x="6365383" y="27432"/>
                        </a:cubicBezTo>
                        <a:cubicBezTo>
                          <a:pt x="6176931" y="320"/>
                          <a:pt x="5998736" y="11244"/>
                          <a:pt x="5665191" y="27432"/>
                        </a:cubicBezTo>
                        <a:cubicBezTo>
                          <a:pt x="5331646" y="43620"/>
                          <a:pt x="5198011" y="28615"/>
                          <a:pt x="4901345" y="27432"/>
                        </a:cubicBezTo>
                        <a:cubicBezTo>
                          <a:pt x="4604679" y="26249"/>
                          <a:pt x="4422931" y="40617"/>
                          <a:pt x="4137499" y="27432"/>
                        </a:cubicBezTo>
                        <a:cubicBezTo>
                          <a:pt x="3852067" y="14247"/>
                          <a:pt x="3861939" y="26581"/>
                          <a:pt x="3628268" y="27432"/>
                        </a:cubicBezTo>
                        <a:cubicBezTo>
                          <a:pt x="3394597" y="28283"/>
                          <a:pt x="3171361" y="44132"/>
                          <a:pt x="2991730" y="27432"/>
                        </a:cubicBezTo>
                        <a:cubicBezTo>
                          <a:pt x="2812099" y="10732"/>
                          <a:pt x="2469344" y="24737"/>
                          <a:pt x="2227884" y="27432"/>
                        </a:cubicBezTo>
                        <a:cubicBezTo>
                          <a:pt x="1986424" y="30127"/>
                          <a:pt x="1748067" y="6359"/>
                          <a:pt x="1591346" y="27432"/>
                        </a:cubicBezTo>
                        <a:cubicBezTo>
                          <a:pt x="1434625" y="48505"/>
                          <a:pt x="1307456" y="39663"/>
                          <a:pt x="1145769" y="27432"/>
                        </a:cubicBezTo>
                        <a:cubicBezTo>
                          <a:pt x="984082" y="15201"/>
                          <a:pt x="800279" y="41647"/>
                          <a:pt x="636538" y="27432"/>
                        </a:cubicBezTo>
                        <a:cubicBezTo>
                          <a:pt x="472797" y="13217"/>
                          <a:pt x="160022" y="2213"/>
                          <a:pt x="0" y="27432"/>
                        </a:cubicBezTo>
                        <a:cubicBezTo>
                          <a:pt x="-177" y="19307"/>
                          <a:pt x="-1145" y="9170"/>
                          <a:pt x="0" y="0"/>
                        </a:cubicBezTo>
                        <a:close/>
                      </a:path>
                    </a:pathLst>
                  </a:cu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713399915"/>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972CEB-03C9-4A2E-993E-4FE35D214D19}"/>
              </a:ext>
            </a:extLst>
          </p:cNvPr>
          <p:cNvSpPr>
            <a:spLocks noGrp="1"/>
          </p:cNvSpPr>
          <p:nvPr>
            <p:ph type="title"/>
          </p:nvPr>
        </p:nvSpPr>
        <p:spPr>
          <a:xfrm>
            <a:off x="836023" y="746562"/>
            <a:ext cx="9296400" cy="1143000"/>
          </a:xfrm>
        </p:spPr>
        <p:txBody>
          <a:bodyPr>
            <a:normAutofit/>
          </a:bodyPr>
          <a:lstStyle/>
          <a:p>
            <a:r>
              <a:rPr lang="en-GB" sz="6400" b="1" noProof="0" dirty="0">
                <a:solidFill>
                  <a:srgbClr val="CC0033"/>
                </a:solidFill>
                <a:ea typeface="+mn-ea"/>
                <a:cs typeface="Arial" panose="020B0604020202020204" pitchFamily="34" charset="0"/>
              </a:rPr>
              <a:t>Recap: 4 steps of LCA</a:t>
            </a:r>
          </a:p>
        </p:txBody>
      </p:sp>
      <p:sp>
        <p:nvSpPr>
          <p:cNvPr id="58" name="TextBox 57">
            <a:extLst>
              <a:ext uri="{FF2B5EF4-FFF2-40B4-BE49-F238E27FC236}">
                <a16:creationId xmlns:a16="http://schemas.microsoft.com/office/drawing/2014/main" id="{2B11EFA9-160D-4DEB-A351-F5C59CFF1AE1}"/>
              </a:ext>
            </a:extLst>
          </p:cNvPr>
          <p:cNvSpPr txBox="1"/>
          <p:nvPr/>
        </p:nvSpPr>
        <p:spPr>
          <a:xfrm>
            <a:off x="1624818" y="8643039"/>
            <a:ext cx="16282182"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err="1">
                <a:ln>
                  <a:noFill/>
                </a:ln>
                <a:solidFill>
                  <a:srgbClr val="2F2F2F"/>
                </a:solidFill>
                <a:effectLst/>
                <a:uLnTx/>
                <a:uFillTx/>
                <a:latin typeface="Arial"/>
                <a:ea typeface="+mn-ea"/>
                <a:cs typeface="+mn-cs"/>
              </a:rPr>
              <a:t>Further</a:t>
            </a:r>
            <a:r>
              <a:rPr kumimoji="0" lang="sv-SE" sz="1400" b="0" i="0" u="none" strike="noStrike" kern="1200" cap="none" spc="0" normalizeH="0" baseline="0" noProof="0">
                <a:ln>
                  <a:noFill/>
                </a:ln>
                <a:solidFill>
                  <a:srgbClr val="2F2F2F"/>
                </a:solidFill>
                <a:effectLst/>
                <a:uLnTx/>
                <a:uFillTx/>
                <a:latin typeface="Arial"/>
                <a:ea typeface="+mn-ea"/>
                <a:cs typeface="+mn-cs"/>
              </a:rPr>
              <a:t> </a:t>
            </a:r>
            <a:r>
              <a:rPr kumimoji="0" lang="sv-SE" sz="1400" b="0" i="0" u="none" strike="noStrike" kern="1200" cap="none" spc="0" normalizeH="0" baseline="0" noProof="0" err="1">
                <a:ln>
                  <a:noFill/>
                </a:ln>
                <a:solidFill>
                  <a:srgbClr val="2F2F2F"/>
                </a:solidFill>
                <a:effectLst/>
                <a:uLnTx/>
                <a:uFillTx/>
                <a:latin typeface="Arial"/>
                <a:ea typeface="+mn-ea"/>
                <a:cs typeface="+mn-cs"/>
              </a:rPr>
              <a:t>reading</a:t>
            </a:r>
            <a:r>
              <a:rPr kumimoji="0" lang="sv-SE" sz="1400" b="0" i="0" u="none" strike="noStrike" kern="1200" cap="none" spc="0" normalizeH="0" baseline="0" noProof="0">
                <a:ln>
                  <a:noFill/>
                </a:ln>
                <a:solidFill>
                  <a:srgbClr val="2F2F2F"/>
                </a:solidFill>
                <a:effectLst/>
                <a:uLnTx/>
                <a:uFillTx/>
                <a:latin typeface="Arial"/>
                <a:ea typeface="+mn-ea"/>
                <a:cs typeface="+mn-cs"/>
              </a:rPr>
              <a:t>: </a:t>
            </a:r>
            <a:r>
              <a:rPr kumimoji="0" lang="en-GB" sz="1400" b="0" i="0" u="none" strike="noStrike" kern="1200" cap="none" spc="0" normalizeH="0" baseline="0" noProof="0">
                <a:ln>
                  <a:noFill/>
                </a:ln>
                <a:solidFill>
                  <a:srgbClr val="171717"/>
                </a:solidFill>
                <a:effectLst/>
                <a:uLnTx/>
                <a:uFillTx/>
                <a:latin typeface="Arial"/>
                <a:ea typeface="+mn-ea"/>
                <a:cs typeface="+mn-cs"/>
              </a:rPr>
              <a:t>The Hitch Hiker's Guide to LCA : an orientation in life cycle assessment methodology and application by </a:t>
            </a:r>
            <a:r>
              <a:rPr kumimoji="0" lang="en-GB" sz="1400" b="0" i="0" u="none" strike="noStrike" kern="1200" cap="none" spc="0" normalizeH="0" baseline="0" noProof="0" err="1">
                <a:ln>
                  <a:noFill/>
                </a:ln>
                <a:solidFill>
                  <a:srgbClr val="171717"/>
                </a:solidFill>
                <a:effectLst/>
                <a:uLnTx/>
                <a:uFillTx/>
                <a:latin typeface="Arial"/>
                <a:ea typeface="+mn-ea"/>
                <a:cs typeface="+mn-cs"/>
              </a:rPr>
              <a:t>Henrikke</a:t>
            </a:r>
            <a:r>
              <a:rPr kumimoji="0" lang="en-GB" sz="1400" b="0" i="0" u="none" strike="noStrike" kern="1200" cap="none" spc="0" normalizeH="0" baseline="0" noProof="0">
                <a:ln>
                  <a:noFill/>
                </a:ln>
                <a:solidFill>
                  <a:srgbClr val="171717"/>
                </a:solidFill>
                <a:effectLst/>
                <a:uLnTx/>
                <a:uFillTx/>
                <a:latin typeface="Arial"/>
                <a:ea typeface="+mn-ea"/>
                <a:cs typeface="+mn-cs"/>
              </a:rPr>
              <a:t> Baumann, Anne-Marie Tillma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2F2F2F"/>
              </a:solidFill>
              <a:effectLst/>
              <a:uLnTx/>
              <a:uFillTx/>
              <a:latin typeface="Arial"/>
              <a:ea typeface="+mn-ea"/>
              <a:cs typeface="+mn-cs"/>
            </a:endParaRPr>
          </a:p>
        </p:txBody>
      </p:sp>
      <p:grpSp>
        <p:nvGrpSpPr>
          <p:cNvPr id="3" name="Gruppo 2">
            <a:extLst>
              <a:ext uri="{FF2B5EF4-FFF2-40B4-BE49-F238E27FC236}">
                <a16:creationId xmlns:a16="http://schemas.microsoft.com/office/drawing/2014/main" id="{701C0263-6B9A-5301-8828-F99773FBACF4}"/>
              </a:ext>
            </a:extLst>
          </p:cNvPr>
          <p:cNvGrpSpPr/>
          <p:nvPr/>
        </p:nvGrpSpPr>
        <p:grpSpPr>
          <a:xfrm>
            <a:off x="-12" y="138554"/>
            <a:ext cx="18288002" cy="681138"/>
            <a:chOff x="-12" y="138554"/>
            <a:chExt cx="18288002" cy="681138"/>
          </a:xfrm>
        </p:grpSpPr>
        <p:grpSp>
          <p:nvGrpSpPr>
            <p:cNvPr id="8" name="Gruppo 1">
              <a:extLst>
                <a:ext uri="{FF2B5EF4-FFF2-40B4-BE49-F238E27FC236}">
                  <a16:creationId xmlns:a16="http://schemas.microsoft.com/office/drawing/2014/main" id="{C32377F7-A817-EF96-F6BD-547AD886C9DE}"/>
                </a:ext>
              </a:extLst>
            </p:cNvPr>
            <p:cNvGrpSpPr/>
            <p:nvPr/>
          </p:nvGrpSpPr>
          <p:grpSpPr>
            <a:xfrm>
              <a:off x="0" y="153125"/>
              <a:ext cx="17907000" cy="666567"/>
              <a:chOff x="0" y="153125"/>
              <a:chExt cx="17907000" cy="666567"/>
            </a:xfrm>
          </p:grpSpPr>
          <p:grpSp>
            <p:nvGrpSpPr>
              <p:cNvPr id="10" name="Gruppo 15">
                <a:extLst>
                  <a:ext uri="{FF2B5EF4-FFF2-40B4-BE49-F238E27FC236}">
                    <a16:creationId xmlns:a16="http://schemas.microsoft.com/office/drawing/2014/main" id="{9AF2388A-7E58-B0D5-AA96-CF6A3937F9D7}"/>
                  </a:ext>
                </a:extLst>
              </p:cNvPr>
              <p:cNvGrpSpPr/>
              <p:nvPr/>
            </p:nvGrpSpPr>
            <p:grpSpPr>
              <a:xfrm>
                <a:off x="0" y="153125"/>
                <a:ext cx="13958844" cy="666567"/>
                <a:chOff x="0" y="153125"/>
                <a:chExt cx="13958844" cy="666567"/>
              </a:xfrm>
            </p:grpSpPr>
            <p:pic>
              <p:nvPicPr>
                <p:cNvPr id="14" name="Picture 13">
                  <a:extLst>
                    <a:ext uri="{FF2B5EF4-FFF2-40B4-BE49-F238E27FC236}">
                      <a16:creationId xmlns:a16="http://schemas.microsoft.com/office/drawing/2014/main" id="{C1E9A896-6654-1C58-8EE8-B539D2341BA1}"/>
                    </a:ext>
                  </a:extLst>
                </p:cNvPr>
                <p:cNvPicPr>
                  <a:picLocks noChangeAspect="1"/>
                </p:cNvPicPr>
                <p:nvPr/>
              </p:nvPicPr>
              <p:blipFill>
                <a:blip r:embed="rId3"/>
                <a:srcRect l="134" t="91287" b="3943"/>
                <a:stretch>
                  <a:fillRect/>
                </a:stretch>
              </p:blipFill>
              <p:spPr>
                <a:xfrm>
                  <a:off x="0" y="153125"/>
                  <a:ext cx="13958844" cy="666567"/>
                </a:xfrm>
                <a:prstGeom prst="rect">
                  <a:avLst/>
                </a:prstGeom>
              </p:spPr>
            </p:pic>
            <p:sp>
              <p:nvSpPr>
                <p:cNvPr id="16" name="TextBox 15">
                  <a:extLst>
                    <a:ext uri="{FF2B5EF4-FFF2-40B4-BE49-F238E27FC236}">
                      <a16:creationId xmlns:a16="http://schemas.microsoft.com/office/drawing/2014/main" id="{99EBE05A-E16A-7268-F4DC-9220FCC39BCD}"/>
                    </a:ext>
                  </a:extLst>
                </p:cNvPr>
                <p:cNvSpPr txBox="1"/>
                <p:nvPr/>
              </p:nvSpPr>
              <p:spPr>
                <a:xfrm>
                  <a:off x="228600" y="257980"/>
                  <a:ext cx="9296400" cy="456856"/>
                </a:xfrm>
                <a:prstGeom prst="rect">
                  <a:avLst/>
                </a:prstGeom>
              </p:spPr>
              <p:txBody>
                <a:bodyPr wrap="square" lIns="0" tIns="0" rIns="0" bIns="0" rtlCol="0" anchor="t">
                  <a:spAutoFit/>
                </a:bodyPr>
                <a:lstStyle/>
                <a:p>
                  <a:pPr marL="0" marR="0" lvl="0" indent="0" algn="l" defTabSz="914400" rtl="0" eaLnBrk="1" fontAlgn="auto" latinLnBrk="0" hangingPunct="1">
                    <a:lnSpc>
                      <a:spcPts val="3919"/>
                    </a:lnSpc>
                    <a:spcBef>
                      <a:spcPct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2" name="TextBox 11">
                <a:extLst>
                  <a:ext uri="{FF2B5EF4-FFF2-40B4-BE49-F238E27FC236}">
                    <a16:creationId xmlns:a16="http://schemas.microsoft.com/office/drawing/2014/main" id="{56DE495E-26E1-68DD-687D-622917927974}"/>
                  </a:ext>
                </a:extLst>
              </p:cNvPr>
              <p:cNvSpPr txBox="1"/>
              <p:nvPr/>
            </p:nvSpPr>
            <p:spPr>
              <a:xfrm>
                <a:off x="12154296" y="257980"/>
                <a:ext cx="5752704" cy="456856"/>
              </a:xfrm>
              <a:prstGeom prst="rect">
                <a:avLst/>
              </a:prstGeom>
            </p:spPr>
            <p:txBody>
              <a:bodyPr wrap="square" lIns="0" tIns="0" rIns="0" bIns="0" rtlCol="0" anchor="t">
                <a:spAutoFit/>
              </a:bodyPr>
              <a:lstStyle/>
              <a:p>
                <a:pPr marL="0" marR="0" lvl="0" indent="0" algn="r" defTabSz="914400" rtl="0" eaLnBrk="1" fontAlgn="auto" latinLnBrk="0" hangingPunct="1">
                  <a:lnSpc>
                    <a:spcPts val="3919"/>
                  </a:lnSpc>
                  <a:spcBef>
                    <a:spcPct val="0"/>
                  </a:spcBef>
                  <a:spcAft>
                    <a:spcPts val="0"/>
                  </a:spcAft>
                  <a:buClrTx/>
                  <a:buSzTx/>
                  <a:buFontTx/>
                  <a:buNone/>
                  <a:tabLst/>
                  <a:defRPr/>
                </a:pPr>
                <a:endParaRPr kumimoji="0" lang="en-US" sz="2800" b="0" i="0" u="none" strike="noStrike" kern="1200" cap="none" spc="0" normalizeH="0" baseline="0" noProof="0">
                  <a:ln>
                    <a:noFill/>
                  </a:ln>
                  <a:solidFill>
                    <a:srgbClr val="2F2F2F">
                      <a:lumMod val="75000"/>
                      <a:lumOff val="25000"/>
                    </a:srgbClr>
                  </a:solidFill>
                  <a:effectLst/>
                  <a:uLnTx/>
                  <a:uFillTx/>
                  <a:latin typeface="Arial" panose="020B0604020202020204" pitchFamily="34" charset="0"/>
                  <a:ea typeface="+mn-ea"/>
                  <a:cs typeface="Arial" panose="020B0604020202020204" pitchFamily="34" charset="0"/>
                </a:endParaRPr>
              </a:p>
            </p:txBody>
          </p:sp>
        </p:grpSp>
        <p:sp>
          <p:nvSpPr>
            <p:cNvPr id="9" name="Rettangolo 13">
              <a:extLst>
                <a:ext uri="{FF2B5EF4-FFF2-40B4-BE49-F238E27FC236}">
                  <a16:creationId xmlns:a16="http://schemas.microsoft.com/office/drawing/2014/main" id="{F861F08C-C667-F642-4327-43DE88DE0F0B}"/>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pic>
        <p:nvPicPr>
          <p:cNvPr id="17" name="Picture 12">
            <a:extLst>
              <a:ext uri="{FF2B5EF4-FFF2-40B4-BE49-F238E27FC236}">
                <a16:creationId xmlns:a16="http://schemas.microsoft.com/office/drawing/2014/main" id="{113644E3-6F1F-B7C8-4F94-4C8AC7FB8EA6}"/>
              </a:ext>
            </a:extLst>
          </p:cNvPr>
          <p:cNvPicPr>
            <a:picLocks noChangeAspect="1"/>
          </p:cNvPicPr>
          <p:nvPr/>
        </p:nvPicPr>
        <p:blipFill>
          <a:blip r:embed="rId4"/>
          <a:srcRect/>
          <a:stretch>
            <a:fillRect/>
          </a:stretch>
        </p:blipFill>
        <p:spPr>
          <a:xfrm>
            <a:off x="0" y="8901113"/>
            <a:ext cx="5715000" cy="1385887"/>
          </a:xfrm>
          <a:prstGeom prst="rect">
            <a:avLst/>
          </a:prstGeom>
        </p:spPr>
      </p:pic>
      <p:grpSp>
        <p:nvGrpSpPr>
          <p:cNvPr id="18" name="Gruppo 16">
            <a:extLst>
              <a:ext uri="{FF2B5EF4-FFF2-40B4-BE49-F238E27FC236}">
                <a16:creationId xmlns:a16="http://schemas.microsoft.com/office/drawing/2014/main" id="{7826E656-A60B-3194-1194-F7FCAA7FF2BF}"/>
              </a:ext>
            </a:extLst>
          </p:cNvPr>
          <p:cNvGrpSpPr/>
          <p:nvPr/>
        </p:nvGrpSpPr>
        <p:grpSpPr>
          <a:xfrm>
            <a:off x="4329146" y="9679208"/>
            <a:ext cx="13958844" cy="666567"/>
            <a:chOff x="4329156" y="9649198"/>
            <a:chExt cx="13958844" cy="666567"/>
          </a:xfrm>
        </p:grpSpPr>
        <p:pic>
          <p:nvPicPr>
            <p:cNvPr id="20" name="Picture 12">
              <a:extLst>
                <a:ext uri="{FF2B5EF4-FFF2-40B4-BE49-F238E27FC236}">
                  <a16:creationId xmlns:a16="http://schemas.microsoft.com/office/drawing/2014/main" id="{E1271EA8-A9D3-36AD-E136-7F15C74FDD57}"/>
                </a:ext>
              </a:extLst>
            </p:cNvPr>
            <p:cNvPicPr>
              <a:picLocks noChangeAspect="1"/>
            </p:cNvPicPr>
            <p:nvPr/>
          </p:nvPicPr>
          <p:blipFill>
            <a:blip r:embed="rId5"/>
            <a:srcRect l="134" t="91287" b="3943"/>
            <a:stretch>
              <a:fillRect/>
            </a:stretch>
          </p:blipFill>
          <p:spPr>
            <a:xfrm rot="-10800000">
              <a:off x="4329156" y="9649198"/>
              <a:ext cx="13958844" cy="666567"/>
            </a:xfrm>
            <a:prstGeom prst="rect">
              <a:avLst/>
            </a:prstGeom>
          </p:spPr>
        </p:pic>
        <p:sp>
          <p:nvSpPr>
            <p:cNvPr id="21" name="TextBox 16">
              <a:extLst>
                <a:ext uri="{FF2B5EF4-FFF2-40B4-BE49-F238E27FC236}">
                  <a16:creationId xmlns:a16="http://schemas.microsoft.com/office/drawing/2014/main" id="{5DE17997-3B09-DEC4-94F9-73736EC7BC0A}"/>
                </a:ext>
              </a:extLst>
            </p:cNvPr>
            <p:cNvSpPr txBox="1"/>
            <p:nvPr/>
          </p:nvSpPr>
          <p:spPr>
            <a:xfrm>
              <a:off x="14400029" y="9732291"/>
              <a:ext cx="3636320" cy="448713"/>
            </a:xfrm>
            <a:prstGeom prst="rect">
              <a:avLst/>
            </a:prstGeom>
          </p:spPr>
          <p:txBody>
            <a:bodyPr wrap="square" lIns="0" tIns="0" rIns="0" bIns="0" rtlCol="0" anchor="t">
              <a:spAutoFit/>
            </a:bodyPr>
            <a:lstStyle/>
            <a:p>
              <a:pPr marL="0" marR="0" lvl="0" indent="0" algn="ctr" defTabSz="914400" rtl="0" eaLnBrk="1" fontAlgn="auto" latinLnBrk="0" hangingPunct="1">
                <a:lnSpc>
                  <a:spcPts val="3919"/>
                </a:lnSpc>
                <a:spcBef>
                  <a:spcPct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OCR A Extended" panose="02010509020102010303" pitchFamily="50" charset="0"/>
                  <a:ea typeface="+mn-ea"/>
                  <a:cs typeface="+mn-cs"/>
                </a:rPr>
                <a:t>www.retrofeed.eu</a:t>
              </a:r>
            </a:p>
          </p:txBody>
        </p:sp>
      </p:grpSp>
      <p:grpSp>
        <p:nvGrpSpPr>
          <p:cNvPr id="22" name="Group 21">
            <a:extLst>
              <a:ext uri="{FF2B5EF4-FFF2-40B4-BE49-F238E27FC236}">
                <a16:creationId xmlns:a16="http://schemas.microsoft.com/office/drawing/2014/main" id="{01E9C3F5-3059-AE01-F7DB-E6EB979791FC}"/>
              </a:ext>
            </a:extLst>
          </p:cNvPr>
          <p:cNvGrpSpPr/>
          <p:nvPr/>
        </p:nvGrpSpPr>
        <p:grpSpPr>
          <a:xfrm>
            <a:off x="2160113" y="2415354"/>
            <a:ext cx="14740214" cy="5610663"/>
            <a:chOff x="1624819" y="2683412"/>
            <a:chExt cx="6857596" cy="5585392"/>
          </a:xfrm>
        </p:grpSpPr>
        <p:sp>
          <p:nvSpPr>
            <p:cNvPr id="4" name="Rectangle 3">
              <a:extLst>
                <a:ext uri="{FF2B5EF4-FFF2-40B4-BE49-F238E27FC236}">
                  <a16:creationId xmlns:a16="http://schemas.microsoft.com/office/drawing/2014/main" id="{E6A70E79-3087-4CCE-86BF-CAF8BEC9B2E5}"/>
                </a:ext>
              </a:extLst>
            </p:cNvPr>
            <p:cNvSpPr/>
            <p:nvPr/>
          </p:nvSpPr>
          <p:spPr>
            <a:xfrm>
              <a:off x="1624819" y="2683412"/>
              <a:ext cx="2876843" cy="1522829"/>
            </a:xfrm>
            <a:prstGeom prst="rect">
              <a:avLst/>
            </a:prstGeom>
            <a:solidFill>
              <a:srgbClr val="C2E0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2F2F2">
                      <a:lumMod val="25000"/>
                    </a:srgbClr>
                  </a:solidFill>
                  <a:effectLst/>
                  <a:uLnTx/>
                  <a:uFillTx/>
                  <a:latin typeface="Arial"/>
                  <a:ea typeface="+mn-ea"/>
                  <a:cs typeface="+mn-cs"/>
                </a:rPr>
                <a:t>Goal and scope definition</a:t>
              </a:r>
            </a:p>
          </p:txBody>
        </p:sp>
        <p:sp>
          <p:nvSpPr>
            <p:cNvPr id="5" name="Rectangle 4">
              <a:extLst>
                <a:ext uri="{FF2B5EF4-FFF2-40B4-BE49-F238E27FC236}">
                  <a16:creationId xmlns:a16="http://schemas.microsoft.com/office/drawing/2014/main" id="{A86A7F12-0C07-4E8D-8EF4-BA74246A5F8F}"/>
                </a:ext>
              </a:extLst>
            </p:cNvPr>
            <p:cNvSpPr/>
            <p:nvPr/>
          </p:nvSpPr>
          <p:spPr>
            <a:xfrm>
              <a:off x="1624819" y="4684542"/>
              <a:ext cx="2876843" cy="1522800"/>
            </a:xfrm>
            <a:prstGeom prst="rect">
              <a:avLst/>
            </a:prstGeom>
            <a:solidFill>
              <a:srgbClr val="C2E0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2F2F2">
                      <a:lumMod val="25000"/>
                    </a:srgbClr>
                  </a:solidFill>
                  <a:effectLst/>
                  <a:uLnTx/>
                  <a:uFillTx/>
                  <a:latin typeface="Arial"/>
                  <a:ea typeface="+mn-ea"/>
                  <a:cs typeface="+mn-cs"/>
                </a:rPr>
                <a:t>Inventory analysis </a:t>
              </a:r>
            </a:p>
          </p:txBody>
        </p:sp>
        <p:sp>
          <p:nvSpPr>
            <p:cNvPr id="6" name="Rectangle 5">
              <a:extLst>
                <a:ext uri="{FF2B5EF4-FFF2-40B4-BE49-F238E27FC236}">
                  <a16:creationId xmlns:a16="http://schemas.microsoft.com/office/drawing/2014/main" id="{3F45E239-D345-41F3-878C-CDCE8B7422B6}"/>
                </a:ext>
              </a:extLst>
            </p:cNvPr>
            <p:cNvSpPr/>
            <p:nvPr/>
          </p:nvSpPr>
          <p:spPr>
            <a:xfrm>
              <a:off x="1624819" y="6746004"/>
              <a:ext cx="2876843" cy="1522800"/>
            </a:xfrm>
            <a:prstGeom prst="rect">
              <a:avLst/>
            </a:prstGeom>
            <a:solidFill>
              <a:srgbClr val="C2E0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2F2F2">
                      <a:lumMod val="25000"/>
                    </a:srgbClr>
                  </a:solidFill>
                  <a:effectLst/>
                  <a:uLnTx/>
                  <a:uFillTx/>
                  <a:latin typeface="Arial"/>
                  <a:ea typeface="+mn-ea"/>
                  <a:cs typeface="+mn-cs"/>
                </a:rPr>
                <a:t>Impact assessment</a:t>
              </a:r>
            </a:p>
          </p:txBody>
        </p:sp>
        <p:sp>
          <p:nvSpPr>
            <p:cNvPr id="7" name="Rectangle 6">
              <a:extLst>
                <a:ext uri="{FF2B5EF4-FFF2-40B4-BE49-F238E27FC236}">
                  <a16:creationId xmlns:a16="http://schemas.microsoft.com/office/drawing/2014/main" id="{E0B91936-C9FE-4616-A3D0-33A150FFFC51}"/>
                </a:ext>
              </a:extLst>
            </p:cNvPr>
            <p:cNvSpPr/>
            <p:nvPr/>
          </p:nvSpPr>
          <p:spPr>
            <a:xfrm>
              <a:off x="5948290" y="2683412"/>
              <a:ext cx="2419643" cy="5585391"/>
            </a:xfrm>
            <a:prstGeom prst="rect">
              <a:avLst/>
            </a:prstGeom>
            <a:solidFill>
              <a:srgbClr val="C2E0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400" b="1" i="0" u="none" strike="noStrike" kern="1200" cap="none" spc="0" normalizeH="0" baseline="0" noProof="0" dirty="0">
                  <a:ln>
                    <a:noFill/>
                  </a:ln>
                  <a:solidFill>
                    <a:srgbClr val="F2F2F2">
                      <a:lumMod val="25000"/>
                    </a:srgbClr>
                  </a:solidFill>
                  <a:effectLst/>
                  <a:uLnTx/>
                  <a:uFillTx/>
                  <a:latin typeface="Arial"/>
                  <a:ea typeface="+mn-ea"/>
                  <a:cs typeface="+mn-cs"/>
                </a:rPr>
                <a:t>Interpretation</a:t>
              </a:r>
              <a:endParaRPr kumimoji="0" lang="en-GB" sz="2000" b="1" i="0" u="none" strike="noStrike" kern="1200" cap="none" spc="0" normalizeH="0" baseline="0" noProof="0" dirty="0">
                <a:ln>
                  <a:noFill/>
                </a:ln>
                <a:solidFill>
                  <a:srgbClr val="F2F2F2">
                    <a:lumMod val="25000"/>
                  </a:srgbClr>
                </a:solidFill>
                <a:effectLst/>
                <a:uLnTx/>
                <a:uFillTx/>
                <a:latin typeface="Arial"/>
                <a:ea typeface="+mn-ea"/>
                <a:cs typeface="+mn-cs"/>
              </a:endParaRPr>
            </a:p>
          </p:txBody>
        </p:sp>
        <p:cxnSp>
          <p:nvCxnSpPr>
            <p:cNvPr id="11" name="Straight Arrow Connector 10">
              <a:extLst>
                <a:ext uri="{FF2B5EF4-FFF2-40B4-BE49-F238E27FC236}">
                  <a16:creationId xmlns:a16="http://schemas.microsoft.com/office/drawing/2014/main" id="{8F9FA150-0F6A-4B8A-85F5-FC25CD328525}"/>
                </a:ext>
              </a:extLst>
            </p:cNvPr>
            <p:cNvCxnSpPr>
              <a:cxnSpLocks/>
            </p:cNvCxnSpPr>
            <p:nvPr/>
          </p:nvCxnSpPr>
          <p:spPr>
            <a:xfrm>
              <a:off x="3063241" y="4206241"/>
              <a:ext cx="0" cy="478301"/>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1068EAE0-FF92-4833-8CD3-65D33AFC52EC}"/>
                </a:ext>
              </a:extLst>
            </p:cNvPr>
            <p:cNvCxnSpPr>
              <a:cxnSpLocks/>
            </p:cNvCxnSpPr>
            <p:nvPr/>
          </p:nvCxnSpPr>
          <p:spPr>
            <a:xfrm>
              <a:off x="3063241" y="6207342"/>
              <a:ext cx="0" cy="538662"/>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8ABDC721-F9B4-462F-90E0-B093A076E14B}"/>
                </a:ext>
              </a:extLst>
            </p:cNvPr>
            <p:cNvCxnSpPr>
              <a:cxnSpLocks/>
            </p:cNvCxnSpPr>
            <p:nvPr/>
          </p:nvCxnSpPr>
          <p:spPr>
            <a:xfrm>
              <a:off x="4501661" y="5595412"/>
              <a:ext cx="1446628"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A87DAAD7-1B06-494D-BDA1-F547335A7739}"/>
                </a:ext>
              </a:extLst>
            </p:cNvPr>
            <p:cNvCxnSpPr>
              <a:cxnSpLocks/>
            </p:cNvCxnSpPr>
            <p:nvPr/>
          </p:nvCxnSpPr>
          <p:spPr>
            <a:xfrm flipV="1">
              <a:off x="4501662" y="7682394"/>
              <a:ext cx="1446628" cy="3025"/>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2E7E4F23-6930-43B8-B715-1CF9E77B4A02}"/>
                </a:ext>
              </a:extLst>
            </p:cNvPr>
            <p:cNvCxnSpPr>
              <a:cxnSpLocks/>
            </p:cNvCxnSpPr>
            <p:nvPr/>
          </p:nvCxnSpPr>
          <p:spPr>
            <a:xfrm>
              <a:off x="4501660" y="3367454"/>
              <a:ext cx="1446628" cy="0"/>
            </a:xfrm>
            <a:prstGeom prst="straightConnector1">
              <a:avLst/>
            </a:prstGeom>
            <a:ln w="1905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DD2C1AB3-DD14-4D92-954B-6C9018BE933C}"/>
                </a:ext>
              </a:extLst>
            </p:cNvPr>
            <p:cNvCxnSpPr>
              <a:cxnSpLocks/>
            </p:cNvCxnSpPr>
            <p:nvPr/>
          </p:nvCxnSpPr>
          <p:spPr>
            <a:xfrm flipH="1">
              <a:off x="4501661" y="3606018"/>
              <a:ext cx="1446627" cy="0"/>
            </a:xfrm>
            <a:prstGeom prst="straightConnector1">
              <a:avLst/>
            </a:prstGeom>
            <a:ln w="1905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2767A311-8E20-4666-8504-05A9196E2DB5}"/>
                </a:ext>
              </a:extLst>
            </p:cNvPr>
            <p:cNvCxnSpPr>
              <a:cxnSpLocks/>
            </p:cNvCxnSpPr>
            <p:nvPr/>
          </p:nvCxnSpPr>
          <p:spPr>
            <a:xfrm flipH="1">
              <a:off x="4501662" y="7382782"/>
              <a:ext cx="1446626" cy="3545"/>
            </a:xfrm>
            <a:prstGeom prst="straightConnector1">
              <a:avLst/>
            </a:prstGeom>
            <a:ln w="1905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A8898FAD-5A69-4BDE-A98B-7D7ED42F7992}"/>
                </a:ext>
              </a:extLst>
            </p:cNvPr>
            <p:cNvCxnSpPr>
              <a:cxnSpLocks/>
            </p:cNvCxnSpPr>
            <p:nvPr/>
          </p:nvCxnSpPr>
          <p:spPr>
            <a:xfrm flipH="1">
              <a:off x="4501661" y="5329477"/>
              <a:ext cx="1446627" cy="18185"/>
            </a:xfrm>
            <a:prstGeom prst="straightConnector1">
              <a:avLst/>
            </a:prstGeom>
            <a:ln w="1905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63FEE4DE-963D-4BB0-8409-8E03215877AF}"/>
                </a:ext>
              </a:extLst>
            </p:cNvPr>
            <p:cNvCxnSpPr>
              <a:cxnSpLocks/>
            </p:cNvCxnSpPr>
            <p:nvPr/>
          </p:nvCxnSpPr>
          <p:spPr>
            <a:xfrm flipV="1">
              <a:off x="3370386" y="4206241"/>
              <a:ext cx="0" cy="478301"/>
            </a:xfrm>
            <a:prstGeom prst="straightConnector1">
              <a:avLst/>
            </a:prstGeom>
            <a:ln w="1905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76B7FD5C-4A96-4533-9EAE-3BAE12B07F51}"/>
                </a:ext>
              </a:extLst>
            </p:cNvPr>
            <p:cNvCxnSpPr>
              <a:cxnSpLocks/>
            </p:cNvCxnSpPr>
            <p:nvPr/>
          </p:nvCxnSpPr>
          <p:spPr>
            <a:xfrm flipV="1">
              <a:off x="3370386" y="6207343"/>
              <a:ext cx="0" cy="538661"/>
            </a:xfrm>
            <a:prstGeom prst="straightConnector1">
              <a:avLst/>
            </a:prstGeom>
            <a:ln w="19050">
              <a:prstDash val="dash"/>
              <a:tailEnd type="triangl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C6CECF32-F682-4608-A9DE-A3739C13C0EF}"/>
                </a:ext>
              </a:extLst>
            </p:cNvPr>
            <p:cNvSpPr txBox="1"/>
            <p:nvPr/>
          </p:nvSpPr>
          <p:spPr>
            <a:xfrm>
              <a:off x="6568014" y="6058860"/>
              <a:ext cx="1914401" cy="5821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3200" b="1" i="0" u="none" strike="noStrike" kern="1200" cap="none" spc="0" normalizeH="0" baseline="0" noProof="0" dirty="0" err="1">
                  <a:ln>
                    <a:noFill/>
                  </a:ln>
                  <a:solidFill>
                    <a:srgbClr val="FF0000"/>
                  </a:solidFill>
                  <a:effectLst/>
                  <a:uLnTx/>
                  <a:uFillTx/>
                  <a:latin typeface="Arial"/>
                  <a:ea typeface="+mn-ea"/>
                  <a:cs typeface="+mn-cs"/>
                </a:rPr>
                <a:t>We</a:t>
              </a:r>
              <a:r>
                <a:rPr kumimoji="0" lang="sv-SE" sz="3200" b="1" i="0" u="none" strike="noStrike" kern="1200" cap="none" spc="0" normalizeH="0" baseline="0" noProof="0" dirty="0">
                  <a:ln>
                    <a:noFill/>
                  </a:ln>
                  <a:solidFill>
                    <a:srgbClr val="FF0000"/>
                  </a:solidFill>
                  <a:effectLst/>
                  <a:uLnTx/>
                  <a:uFillTx/>
                  <a:latin typeface="Arial"/>
                  <a:ea typeface="+mn-ea"/>
                  <a:cs typeface="+mn-cs"/>
                </a:rPr>
                <a:t> </a:t>
              </a:r>
              <a:r>
                <a:rPr kumimoji="0" lang="sv-SE" sz="3200" b="1" i="0" u="none" strike="noStrike" kern="1200" cap="none" spc="0" normalizeH="0" baseline="0" noProof="0" dirty="0" err="1">
                  <a:ln>
                    <a:noFill/>
                  </a:ln>
                  <a:solidFill>
                    <a:srgbClr val="FF0000"/>
                  </a:solidFill>
                  <a:effectLst/>
                  <a:uLnTx/>
                  <a:uFillTx/>
                  <a:latin typeface="Arial"/>
                  <a:ea typeface="+mn-ea"/>
                  <a:cs typeface="+mn-cs"/>
                </a:rPr>
                <a:t>are</a:t>
              </a:r>
              <a:r>
                <a:rPr kumimoji="0" lang="sv-SE" sz="3200" b="1" i="0" u="none" strike="noStrike" kern="1200" cap="none" spc="0" normalizeH="0" baseline="0" noProof="0" dirty="0">
                  <a:ln>
                    <a:noFill/>
                  </a:ln>
                  <a:solidFill>
                    <a:srgbClr val="FF0000"/>
                  </a:solidFill>
                  <a:effectLst/>
                  <a:uLnTx/>
                  <a:uFillTx/>
                  <a:latin typeface="Arial"/>
                  <a:ea typeface="+mn-ea"/>
                  <a:cs typeface="+mn-cs"/>
                </a:rPr>
                <a:t> </a:t>
              </a:r>
              <a:r>
                <a:rPr kumimoji="0" lang="sv-SE" sz="3200" b="1" i="0" u="none" strike="noStrike" kern="1200" cap="none" spc="0" normalizeH="0" baseline="0" noProof="0" dirty="0" err="1">
                  <a:ln>
                    <a:noFill/>
                  </a:ln>
                  <a:solidFill>
                    <a:srgbClr val="FF0000"/>
                  </a:solidFill>
                  <a:effectLst/>
                  <a:uLnTx/>
                  <a:uFillTx/>
                  <a:latin typeface="Arial"/>
                  <a:ea typeface="+mn-ea"/>
                  <a:cs typeface="+mn-cs"/>
                </a:rPr>
                <a:t>here</a:t>
              </a:r>
              <a:r>
                <a:rPr kumimoji="0" lang="sv-SE" sz="3200" b="1" i="0" u="none" strike="noStrike" kern="1200" cap="none" spc="0" normalizeH="0" baseline="0" noProof="0" dirty="0">
                  <a:ln>
                    <a:noFill/>
                  </a:ln>
                  <a:solidFill>
                    <a:srgbClr val="FF0000"/>
                  </a:solidFill>
                  <a:effectLst/>
                  <a:uLnTx/>
                  <a:uFillTx/>
                  <a:latin typeface="Arial"/>
                  <a:ea typeface="+mn-ea"/>
                  <a:cs typeface="+mn-cs"/>
                </a:rPr>
                <a:t>!</a:t>
              </a:r>
              <a:endParaRPr kumimoji="0" lang="en-GB" sz="3200" b="1" i="0" u="none" strike="noStrike" kern="1200" cap="none" spc="0" normalizeH="0" baseline="0" noProof="0" dirty="0">
                <a:ln>
                  <a:noFill/>
                </a:ln>
                <a:solidFill>
                  <a:srgbClr val="FF0000"/>
                </a:solidFill>
                <a:effectLst/>
                <a:uLnTx/>
                <a:uFillTx/>
                <a:latin typeface="Arial"/>
                <a:ea typeface="+mn-ea"/>
                <a:cs typeface="+mn-cs"/>
              </a:endParaRPr>
            </a:p>
          </p:txBody>
        </p:sp>
      </p:grpSp>
    </p:spTree>
    <p:extLst>
      <p:ext uri="{BB962C8B-B14F-4D97-AF65-F5344CB8AC3E}">
        <p14:creationId xmlns:p14="http://schemas.microsoft.com/office/powerpoint/2010/main" val="2884344912"/>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429728" y="4160584"/>
            <a:ext cx="13579558" cy="4209942"/>
          </a:xfrm>
        </p:spPr>
        <p:txBody>
          <a:bodyPr>
            <a:normAutofit fontScale="92500" lnSpcReduction="20000"/>
          </a:bodyPr>
          <a:lstStyle/>
          <a:p>
            <a:r>
              <a:rPr lang="en-GB" noProof="0" dirty="0"/>
              <a:t>Results are analysed in relation to the goal and scope definition, where conclusions are made </a:t>
            </a:r>
            <a:br>
              <a:rPr lang="en-GB" noProof="0" dirty="0"/>
            </a:br>
            <a:endParaRPr lang="en-GB" noProof="0" dirty="0"/>
          </a:p>
          <a:p>
            <a:r>
              <a:rPr lang="en-GB" noProof="0" dirty="0"/>
              <a:t>Scenario and sensitivity analysis are performed.</a:t>
            </a:r>
          </a:p>
          <a:p>
            <a:pPr marL="0" indent="0">
              <a:buNone/>
            </a:pPr>
            <a:endParaRPr lang="en-GB" noProof="0" dirty="0"/>
          </a:p>
          <a:p>
            <a:r>
              <a:rPr lang="en-GB" noProof="0" dirty="0"/>
              <a:t>Communication of the results: </a:t>
            </a:r>
            <a:r>
              <a:rPr lang="en-GB" sz="3200" noProof="0" dirty="0"/>
              <a:t>Provide readily understandable, complete and consistent presentation of the material</a:t>
            </a:r>
          </a:p>
          <a:p>
            <a:pPr marL="0" indent="0">
              <a:buNone/>
            </a:pPr>
            <a:endParaRPr lang="en-GB" noProof="0" dirty="0"/>
          </a:p>
          <a:p>
            <a:r>
              <a:rPr lang="en-GB" sz="3200" noProof="0" dirty="0"/>
              <a:t>Explain limitations and provide recommendations</a:t>
            </a:r>
          </a:p>
          <a:p>
            <a:endParaRPr lang="en-GB" sz="3200" noProof="0" dirty="0"/>
          </a:p>
        </p:txBody>
      </p:sp>
      <p:grpSp>
        <p:nvGrpSpPr>
          <p:cNvPr id="39" name="Gruppo 2">
            <a:extLst>
              <a:ext uri="{FF2B5EF4-FFF2-40B4-BE49-F238E27FC236}">
                <a16:creationId xmlns:a16="http://schemas.microsoft.com/office/drawing/2014/main" id="{38B1D242-7B25-4974-BC4A-769E49A00C96}"/>
              </a:ext>
            </a:extLst>
          </p:cNvPr>
          <p:cNvGrpSpPr/>
          <p:nvPr/>
        </p:nvGrpSpPr>
        <p:grpSpPr>
          <a:xfrm>
            <a:off x="-12" y="138554"/>
            <a:ext cx="18288002" cy="681138"/>
            <a:chOff x="-12" y="138554"/>
            <a:chExt cx="18288002" cy="681138"/>
          </a:xfrm>
        </p:grpSpPr>
        <p:grpSp>
          <p:nvGrpSpPr>
            <p:cNvPr id="40" name="Gruppo 1">
              <a:extLst>
                <a:ext uri="{FF2B5EF4-FFF2-40B4-BE49-F238E27FC236}">
                  <a16:creationId xmlns:a16="http://schemas.microsoft.com/office/drawing/2014/main" id="{7AF2CCC7-B16E-4D5B-9994-3FB8432C7F2D}"/>
                </a:ext>
              </a:extLst>
            </p:cNvPr>
            <p:cNvGrpSpPr/>
            <p:nvPr/>
          </p:nvGrpSpPr>
          <p:grpSpPr>
            <a:xfrm>
              <a:off x="0" y="153125"/>
              <a:ext cx="17907000" cy="666567"/>
              <a:chOff x="0" y="153125"/>
              <a:chExt cx="17907000" cy="666567"/>
            </a:xfrm>
          </p:grpSpPr>
          <p:grpSp>
            <p:nvGrpSpPr>
              <p:cNvPr id="42" name="Gruppo 15">
                <a:extLst>
                  <a:ext uri="{FF2B5EF4-FFF2-40B4-BE49-F238E27FC236}">
                    <a16:creationId xmlns:a16="http://schemas.microsoft.com/office/drawing/2014/main" id="{6769BB9B-CA13-40C2-84B2-F849E41D8861}"/>
                  </a:ext>
                </a:extLst>
              </p:cNvPr>
              <p:cNvGrpSpPr/>
              <p:nvPr/>
            </p:nvGrpSpPr>
            <p:grpSpPr>
              <a:xfrm>
                <a:off x="0" y="153125"/>
                <a:ext cx="13958844" cy="666567"/>
                <a:chOff x="0" y="153125"/>
                <a:chExt cx="13958844" cy="666567"/>
              </a:xfrm>
            </p:grpSpPr>
            <p:pic>
              <p:nvPicPr>
                <p:cNvPr id="44" name="Picture 43">
                  <a:extLst>
                    <a:ext uri="{FF2B5EF4-FFF2-40B4-BE49-F238E27FC236}">
                      <a16:creationId xmlns:a16="http://schemas.microsoft.com/office/drawing/2014/main" id="{40886255-E161-4B2D-97DA-D8B55F7C43F6}"/>
                    </a:ext>
                  </a:extLst>
                </p:cNvPr>
                <p:cNvPicPr>
                  <a:picLocks noChangeAspect="1"/>
                </p:cNvPicPr>
                <p:nvPr/>
              </p:nvPicPr>
              <p:blipFill>
                <a:blip r:embed="rId3"/>
                <a:srcRect l="134" t="91287" b="3943"/>
                <a:stretch>
                  <a:fillRect/>
                </a:stretch>
              </p:blipFill>
              <p:spPr>
                <a:xfrm>
                  <a:off x="0" y="153125"/>
                  <a:ext cx="13958844" cy="666567"/>
                </a:xfrm>
                <a:prstGeom prst="rect">
                  <a:avLst/>
                </a:prstGeom>
              </p:spPr>
            </p:pic>
            <p:sp>
              <p:nvSpPr>
                <p:cNvPr id="45" name="TextBox 44">
                  <a:extLst>
                    <a:ext uri="{FF2B5EF4-FFF2-40B4-BE49-F238E27FC236}">
                      <a16:creationId xmlns:a16="http://schemas.microsoft.com/office/drawing/2014/main" id="{71C32AA8-F471-4379-B629-382A888CED0E}"/>
                    </a:ext>
                  </a:extLst>
                </p:cNvPr>
                <p:cNvSpPr txBox="1"/>
                <p:nvPr/>
              </p:nvSpPr>
              <p:spPr>
                <a:xfrm>
                  <a:off x="228600" y="257980"/>
                  <a:ext cx="9296400" cy="456856"/>
                </a:xfrm>
                <a:prstGeom prst="rect">
                  <a:avLst/>
                </a:prstGeom>
              </p:spPr>
              <p:txBody>
                <a:bodyPr wrap="square" lIns="0" tIns="0" rIns="0" bIns="0" rtlCol="0" anchor="t">
                  <a:spAutoFit/>
                </a:bodyPr>
                <a:lstStyle/>
                <a:p>
                  <a:pPr marL="0" marR="0" lvl="0" indent="0" algn="l" defTabSz="914400" rtl="0" eaLnBrk="1" fontAlgn="auto" latinLnBrk="0" hangingPunct="1">
                    <a:lnSpc>
                      <a:spcPts val="3919"/>
                    </a:lnSpc>
                    <a:spcBef>
                      <a:spcPct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43" name="TextBox 42">
                <a:extLst>
                  <a:ext uri="{FF2B5EF4-FFF2-40B4-BE49-F238E27FC236}">
                    <a16:creationId xmlns:a16="http://schemas.microsoft.com/office/drawing/2014/main" id="{4CE1AF84-7B25-4AE8-A797-765A8D6BB6D9}"/>
                  </a:ext>
                </a:extLst>
              </p:cNvPr>
              <p:cNvSpPr txBox="1"/>
              <p:nvPr/>
            </p:nvSpPr>
            <p:spPr>
              <a:xfrm>
                <a:off x="12154296" y="257980"/>
                <a:ext cx="5752704" cy="456856"/>
              </a:xfrm>
              <a:prstGeom prst="rect">
                <a:avLst/>
              </a:prstGeom>
            </p:spPr>
            <p:txBody>
              <a:bodyPr wrap="square" lIns="0" tIns="0" rIns="0" bIns="0" rtlCol="0" anchor="t">
                <a:spAutoFit/>
              </a:bodyPr>
              <a:lstStyle/>
              <a:p>
                <a:pPr marL="0" marR="0" lvl="0" indent="0" algn="r" defTabSz="914400" rtl="0" eaLnBrk="1" fontAlgn="auto" latinLnBrk="0" hangingPunct="1">
                  <a:lnSpc>
                    <a:spcPts val="3919"/>
                  </a:lnSpc>
                  <a:spcBef>
                    <a:spcPct val="0"/>
                  </a:spcBef>
                  <a:spcAft>
                    <a:spcPts val="0"/>
                  </a:spcAft>
                  <a:buClrTx/>
                  <a:buSzTx/>
                  <a:buFontTx/>
                  <a:buNone/>
                  <a:tabLst/>
                  <a:defRPr/>
                </a:pPr>
                <a:endParaRPr kumimoji="0" lang="en-US" sz="2800" b="0" i="0" u="none" strike="noStrike" kern="1200" cap="none" spc="0" normalizeH="0" baseline="0" noProof="0">
                  <a:ln>
                    <a:noFill/>
                  </a:ln>
                  <a:solidFill>
                    <a:srgbClr val="2F2F2F">
                      <a:lumMod val="75000"/>
                      <a:lumOff val="25000"/>
                    </a:srgbClr>
                  </a:solidFill>
                  <a:effectLst/>
                  <a:uLnTx/>
                  <a:uFillTx/>
                  <a:latin typeface="Arial" panose="020B0604020202020204" pitchFamily="34" charset="0"/>
                  <a:ea typeface="+mn-ea"/>
                  <a:cs typeface="Arial" panose="020B0604020202020204" pitchFamily="34" charset="0"/>
                </a:endParaRPr>
              </a:p>
            </p:txBody>
          </p:sp>
        </p:grpSp>
        <p:sp>
          <p:nvSpPr>
            <p:cNvPr id="41" name="Rettangolo 13">
              <a:extLst>
                <a:ext uri="{FF2B5EF4-FFF2-40B4-BE49-F238E27FC236}">
                  <a16:creationId xmlns:a16="http://schemas.microsoft.com/office/drawing/2014/main" id="{AE9726C3-1C31-459F-9B68-94B8580007DB}"/>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46" name="TextBox 45">
            <a:extLst>
              <a:ext uri="{FF2B5EF4-FFF2-40B4-BE49-F238E27FC236}">
                <a16:creationId xmlns:a16="http://schemas.microsoft.com/office/drawing/2014/main" id="{6F6E0EFF-3E92-40B8-9857-6A35572BA43C}"/>
              </a:ext>
            </a:extLst>
          </p:cNvPr>
          <p:cNvSpPr txBox="1"/>
          <p:nvPr/>
        </p:nvSpPr>
        <p:spPr>
          <a:xfrm>
            <a:off x="-251673" y="946300"/>
            <a:ext cx="18288012" cy="107721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6400" b="1" i="0" u="none" strike="noStrike" kern="1200" cap="none" spc="0" normalizeH="0" baseline="0" noProof="0">
                <a:ln>
                  <a:noFill/>
                </a:ln>
                <a:solidFill>
                  <a:srgbClr val="CC0033"/>
                </a:solidFill>
                <a:effectLst/>
                <a:uLnTx/>
                <a:uFillTx/>
                <a:latin typeface="Arial"/>
                <a:ea typeface="+mn-ea"/>
                <a:cs typeface="Arial" panose="020B0604020202020204" pitchFamily="34" charset="0"/>
              </a:rPr>
              <a:t>Step 4: Interpretation</a:t>
            </a:r>
          </a:p>
        </p:txBody>
      </p:sp>
      <p:pic>
        <p:nvPicPr>
          <p:cNvPr id="47" name="Picture 12">
            <a:extLst>
              <a:ext uri="{FF2B5EF4-FFF2-40B4-BE49-F238E27FC236}">
                <a16:creationId xmlns:a16="http://schemas.microsoft.com/office/drawing/2014/main" id="{A2A0669A-2382-4A9D-B240-4CC5E3A53531}"/>
              </a:ext>
            </a:extLst>
          </p:cNvPr>
          <p:cNvPicPr>
            <a:picLocks noChangeAspect="1"/>
          </p:cNvPicPr>
          <p:nvPr/>
        </p:nvPicPr>
        <p:blipFill>
          <a:blip r:embed="rId4"/>
          <a:srcRect/>
          <a:stretch>
            <a:fillRect/>
          </a:stretch>
        </p:blipFill>
        <p:spPr>
          <a:xfrm>
            <a:off x="0" y="8901113"/>
            <a:ext cx="5715000" cy="1385887"/>
          </a:xfrm>
          <a:prstGeom prst="rect">
            <a:avLst/>
          </a:prstGeom>
        </p:spPr>
      </p:pic>
      <p:grpSp>
        <p:nvGrpSpPr>
          <p:cNvPr id="48" name="Gruppo 16">
            <a:extLst>
              <a:ext uri="{FF2B5EF4-FFF2-40B4-BE49-F238E27FC236}">
                <a16:creationId xmlns:a16="http://schemas.microsoft.com/office/drawing/2014/main" id="{9C869071-9A44-4D04-80DE-B2D29952CAFC}"/>
              </a:ext>
            </a:extLst>
          </p:cNvPr>
          <p:cNvGrpSpPr/>
          <p:nvPr/>
        </p:nvGrpSpPr>
        <p:grpSpPr>
          <a:xfrm>
            <a:off x="4329146" y="9679208"/>
            <a:ext cx="13958844" cy="666567"/>
            <a:chOff x="4329156" y="9649198"/>
            <a:chExt cx="13958844" cy="666567"/>
          </a:xfrm>
        </p:grpSpPr>
        <p:pic>
          <p:nvPicPr>
            <p:cNvPr id="49" name="Picture 12">
              <a:extLst>
                <a:ext uri="{FF2B5EF4-FFF2-40B4-BE49-F238E27FC236}">
                  <a16:creationId xmlns:a16="http://schemas.microsoft.com/office/drawing/2014/main" id="{D4A10241-ACD2-4495-B99C-C484ABB995F7}"/>
                </a:ext>
              </a:extLst>
            </p:cNvPr>
            <p:cNvPicPr>
              <a:picLocks noChangeAspect="1"/>
            </p:cNvPicPr>
            <p:nvPr/>
          </p:nvPicPr>
          <p:blipFill>
            <a:blip r:embed="rId5"/>
            <a:srcRect l="134" t="91287" b="3943"/>
            <a:stretch>
              <a:fillRect/>
            </a:stretch>
          </p:blipFill>
          <p:spPr>
            <a:xfrm rot="-10800000">
              <a:off x="4329156" y="9649198"/>
              <a:ext cx="13958844" cy="666567"/>
            </a:xfrm>
            <a:prstGeom prst="rect">
              <a:avLst/>
            </a:prstGeom>
          </p:spPr>
        </p:pic>
        <p:sp>
          <p:nvSpPr>
            <p:cNvPr id="50" name="TextBox 16">
              <a:extLst>
                <a:ext uri="{FF2B5EF4-FFF2-40B4-BE49-F238E27FC236}">
                  <a16:creationId xmlns:a16="http://schemas.microsoft.com/office/drawing/2014/main" id="{9D88F84E-3438-4FE4-8393-010631DAF86A}"/>
                </a:ext>
              </a:extLst>
            </p:cNvPr>
            <p:cNvSpPr txBox="1"/>
            <p:nvPr/>
          </p:nvSpPr>
          <p:spPr>
            <a:xfrm>
              <a:off x="14400029" y="9732291"/>
              <a:ext cx="3636320" cy="448713"/>
            </a:xfrm>
            <a:prstGeom prst="rect">
              <a:avLst/>
            </a:prstGeom>
          </p:spPr>
          <p:txBody>
            <a:bodyPr wrap="square" lIns="0" tIns="0" rIns="0" bIns="0" rtlCol="0" anchor="t">
              <a:spAutoFit/>
            </a:bodyPr>
            <a:lstStyle/>
            <a:p>
              <a:pPr marL="0" marR="0" lvl="0" indent="0" algn="ctr" defTabSz="914400" rtl="0" eaLnBrk="1" fontAlgn="auto" latinLnBrk="0" hangingPunct="1">
                <a:lnSpc>
                  <a:spcPts val="3919"/>
                </a:lnSpc>
                <a:spcBef>
                  <a:spcPct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OCR A Extended" panose="02010509020102010303" pitchFamily="50" charset="0"/>
                  <a:ea typeface="+mn-ea"/>
                  <a:cs typeface="+mn-cs"/>
                </a:rPr>
                <a:t>www.retrofeed.eu</a:t>
              </a:r>
            </a:p>
          </p:txBody>
        </p:sp>
      </p:grpSp>
      <p:sp>
        <p:nvSpPr>
          <p:cNvPr id="18" name="TextBox 17">
            <a:extLst>
              <a:ext uri="{FF2B5EF4-FFF2-40B4-BE49-F238E27FC236}">
                <a16:creationId xmlns:a16="http://schemas.microsoft.com/office/drawing/2014/main" id="{1AA2E1B3-2CB0-4558-839C-E743FB847FE5}"/>
              </a:ext>
            </a:extLst>
          </p:cNvPr>
          <p:cNvSpPr txBox="1"/>
          <p:nvPr/>
        </p:nvSpPr>
        <p:spPr>
          <a:xfrm>
            <a:off x="1429728" y="2223262"/>
            <a:ext cx="16210572" cy="1415772"/>
          </a:xfrm>
          <a:prstGeom prst="rect">
            <a:avLst/>
          </a:prstGeom>
          <a:solidFill>
            <a:srgbClr val="C2E0C2"/>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2800" b="0" i="0" u="none" strike="noStrike" kern="1200" cap="none" spc="0" normalizeH="0" baseline="0" dirty="0">
                <a:ln>
                  <a:noFill/>
                </a:ln>
                <a:solidFill>
                  <a:srgbClr val="2F2F2F"/>
                </a:solidFill>
                <a:effectLst/>
                <a:uLnTx/>
                <a:uFillTx/>
                <a:latin typeface="Arial"/>
                <a:ea typeface="+mn-ea"/>
                <a:cs typeface="+mn-cs"/>
              </a:rPr>
              <a:t>In the interpretation stage, we reach meaningful conclusions and recommendations using our </a:t>
            </a:r>
            <a:r>
              <a:rPr kumimoji="0" lang="en-AU" sz="3000" b="0" i="0" u="none" strike="noStrike" kern="1200" cap="none" spc="0" normalizeH="0" baseline="0" dirty="0">
                <a:ln>
                  <a:noFill/>
                </a:ln>
                <a:solidFill>
                  <a:srgbClr val="2F2F2F"/>
                </a:solidFill>
                <a:effectLst/>
                <a:uLnTx/>
                <a:uFillTx/>
                <a:latin typeface="Arial"/>
                <a:ea typeface="+mn-ea"/>
                <a:cs typeface="+mn-cs"/>
              </a:rPr>
              <a:t>results</a:t>
            </a:r>
            <a:r>
              <a:rPr kumimoji="0" lang="en-AU" sz="2800" b="0" i="0" u="none" strike="noStrike" kern="1200" cap="none" spc="0" normalizeH="0" baseline="0" dirty="0">
                <a:ln>
                  <a:noFill/>
                </a:ln>
                <a:solidFill>
                  <a:srgbClr val="2F2F2F"/>
                </a:solidFill>
                <a:effectLst/>
                <a:uLnTx/>
                <a:uFillTx/>
                <a:latin typeface="Arial"/>
                <a:ea typeface="+mn-ea"/>
                <a:cs typeface="+mn-cs"/>
              </a:rPr>
              <a:t>. For example, if the results show that a specific chemical causes most of the burdens in our production stage we can suggest changing that chemical with its environmentally friendly counterpart.</a:t>
            </a:r>
          </a:p>
        </p:txBody>
      </p:sp>
    </p:spTree>
    <p:extLst>
      <p:ext uri="{BB962C8B-B14F-4D97-AF65-F5344CB8AC3E}">
        <p14:creationId xmlns:p14="http://schemas.microsoft.com/office/powerpoint/2010/main" val="4084015794"/>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1" name="Picture 12">
            <a:extLst>
              <a:ext uri="{FF2B5EF4-FFF2-40B4-BE49-F238E27FC236}">
                <a16:creationId xmlns:a16="http://schemas.microsoft.com/office/drawing/2014/main" id="{43802E0E-B79D-4EA7-8141-0CA3ED138B1A}"/>
              </a:ext>
            </a:extLst>
          </p:cNvPr>
          <p:cNvPicPr>
            <a:picLocks noChangeAspect="1"/>
          </p:cNvPicPr>
          <p:nvPr/>
        </p:nvPicPr>
        <p:blipFill>
          <a:blip r:embed="rId3"/>
          <a:srcRect/>
          <a:stretch>
            <a:fillRect/>
          </a:stretch>
        </p:blipFill>
        <p:spPr>
          <a:xfrm>
            <a:off x="0" y="8959891"/>
            <a:ext cx="5715000" cy="1385888"/>
          </a:xfrm>
          <a:prstGeom prst="rect">
            <a:avLst/>
          </a:prstGeom>
        </p:spPr>
      </p:pic>
      <p:grpSp>
        <p:nvGrpSpPr>
          <p:cNvPr id="132" name="Gruppo 2">
            <a:extLst>
              <a:ext uri="{FF2B5EF4-FFF2-40B4-BE49-F238E27FC236}">
                <a16:creationId xmlns:a16="http://schemas.microsoft.com/office/drawing/2014/main" id="{649928F6-6E82-4611-9715-AD3C75457C28}"/>
              </a:ext>
            </a:extLst>
          </p:cNvPr>
          <p:cNvGrpSpPr/>
          <p:nvPr/>
        </p:nvGrpSpPr>
        <p:grpSpPr>
          <a:xfrm>
            <a:off x="-12" y="138554"/>
            <a:ext cx="18288002" cy="681138"/>
            <a:chOff x="-12" y="138554"/>
            <a:chExt cx="18288002" cy="681138"/>
          </a:xfrm>
        </p:grpSpPr>
        <p:grpSp>
          <p:nvGrpSpPr>
            <p:cNvPr id="133" name="Gruppo 1">
              <a:extLst>
                <a:ext uri="{FF2B5EF4-FFF2-40B4-BE49-F238E27FC236}">
                  <a16:creationId xmlns:a16="http://schemas.microsoft.com/office/drawing/2014/main" id="{A8EB8794-E5C6-45EB-BAEC-2778E982797A}"/>
                </a:ext>
              </a:extLst>
            </p:cNvPr>
            <p:cNvGrpSpPr/>
            <p:nvPr/>
          </p:nvGrpSpPr>
          <p:grpSpPr>
            <a:xfrm>
              <a:off x="0" y="153125"/>
              <a:ext cx="17907000" cy="666567"/>
              <a:chOff x="0" y="153125"/>
              <a:chExt cx="17907000" cy="666567"/>
            </a:xfrm>
          </p:grpSpPr>
          <p:grpSp>
            <p:nvGrpSpPr>
              <p:cNvPr id="135" name="Gruppo 15">
                <a:extLst>
                  <a:ext uri="{FF2B5EF4-FFF2-40B4-BE49-F238E27FC236}">
                    <a16:creationId xmlns:a16="http://schemas.microsoft.com/office/drawing/2014/main" id="{AB129748-9FD7-458D-BD6E-304271C1814A}"/>
                  </a:ext>
                </a:extLst>
              </p:cNvPr>
              <p:cNvGrpSpPr/>
              <p:nvPr/>
            </p:nvGrpSpPr>
            <p:grpSpPr>
              <a:xfrm>
                <a:off x="0" y="153125"/>
                <a:ext cx="13958844" cy="666567"/>
                <a:chOff x="0" y="153125"/>
                <a:chExt cx="13958844" cy="666567"/>
              </a:xfrm>
            </p:grpSpPr>
            <p:pic>
              <p:nvPicPr>
                <p:cNvPr id="137" name="Picture 136">
                  <a:extLst>
                    <a:ext uri="{FF2B5EF4-FFF2-40B4-BE49-F238E27FC236}">
                      <a16:creationId xmlns:a16="http://schemas.microsoft.com/office/drawing/2014/main" id="{88E31CFD-796F-4F3F-A1EC-0E38F9D83456}"/>
                    </a:ext>
                  </a:extLst>
                </p:cNvPr>
                <p:cNvPicPr>
                  <a:picLocks noChangeAspect="1"/>
                </p:cNvPicPr>
                <p:nvPr/>
              </p:nvPicPr>
              <p:blipFill>
                <a:blip r:embed="rId4"/>
                <a:srcRect l="134" t="91287" b="3943"/>
                <a:stretch>
                  <a:fillRect/>
                </a:stretch>
              </p:blipFill>
              <p:spPr>
                <a:xfrm>
                  <a:off x="0" y="153125"/>
                  <a:ext cx="13958844" cy="666567"/>
                </a:xfrm>
                <a:prstGeom prst="rect">
                  <a:avLst/>
                </a:prstGeom>
              </p:spPr>
            </p:pic>
            <p:sp>
              <p:nvSpPr>
                <p:cNvPr id="138" name="TextBox 137">
                  <a:extLst>
                    <a:ext uri="{FF2B5EF4-FFF2-40B4-BE49-F238E27FC236}">
                      <a16:creationId xmlns:a16="http://schemas.microsoft.com/office/drawing/2014/main" id="{7694DADD-E227-40A7-A98D-244B0D207E54}"/>
                    </a:ext>
                  </a:extLst>
                </p:cNvPr>
                <p:cNvSpPr txBox="1"/>
                <p:nvPr/>
              </p:nvSpPr>
              <p:spPr>
                <a:xfrm>
                  <a:off x="228600" y="257980"/>
                  <a:ext cx="9296400" cy="456856"/>
                </a:xfrm>
                <a:prstGeom prst="rect">
                  <a:avLst/>
                </a:prstGeom>
              </p:spPr>
              <p:txBody>
                <a:bodyPr wrap="square" lIns="0" tIns="0" rIns="0" bIns="0" rtlCol="0" anchor="t">
                  <a:spAutoFit/>
                </a:bodyPr>
                <a:lstStyle/>
                <a:p>
                  <a:pPr>
                    <a:lnSpc>
                      <a:spcPts val="3920"/>
                    </a:lnSpc>
                  </a:pPr>
                  <a:r>
                    <a:rPr lang="en-US" sz="2801" b="1">
                      <a:solidFill>
                        <a:srgbClr val="FFFFFF"/>
                      </a:solidFill>
                      <a:latin typeface="Arial" panose="020B0604020202020204" pitchFamily="34" charset="0"/>
                      <a:cs typeface="Arial" panose="020B0604020202020204" pitchFamily="34" charset="0"/>
                    </a:rPr>
                    <a:t>Module 3</a:t>
                  </a:r>
                </a:p>
              </p:txBody>
            </p:sp>
          </p:grpSp>
          <p:sp>
            <p:nvSpPr>
              <p:cNvPr id="136" name="TextBox 135">
                <a:extLst>
                  <a:ext uri="{FF2B5EF4-FFF2-40B4-BE49-F238E27FC236}">
                    <a16:creationId xmlns:a16="http://schemas.microsoft.com/office/drawing/2014/main" id="{4B3CCEBB-60EF-4175-9878-F0D51FD80FF0}"/>
                  </a:ext>
                </a:extLst>
              </p:cNvPr>
              <p:cNvSpPr txBox="1"/>
              <p:nvPr/>
            </p:nvSpPr>
            <p:spPr>
              <a:xfrm>
                <a:off x="12154296" y="257980"/>
                <a:ext cx="5752704" cy="456856"/>
              </a:xfrm>
              <a:prstGeom prst="rect">
                <a:avLst/>
              </a:prstGeom>
            </p:spPr>
            <p:txBody>
              <a:bodyPr wrap="square" lIns="0" tIns="0" rIns="0" bIns="0" rtlCol="0" anchor="t">
                <a:spAutoFit/>
              </a:bodyPr>
              <a:lstStyle/>
              <a:p>
                <a:pPr algn="r">
                  <a:lnSpc>
                    <a:spcPts val="3920"/>
                  </a:lnSpc>
                </a:pPr>
                <a:endParaRPr lang="en-US" sz="2801">
                  <a:solidFill>
                    <a:schemeClr val="tx1">
                      <a:lumMod val="75000"/>
                      <a:lumOff val="25000"/>
                    </a:schemeClr>
                  </a:solidFill>
                  <a:latin typeface="Arial" panose="020B0604020202020204" pitchFamily="34" charset="0"/>
                  <a:cs typeface="Arial" panose="020B0604020202020204" pitchFamily="34" charset="0"/>
                </a:endParaRPr>
              </a:p>
            </p:txBody>
          </p:sp>
        </p:grpSp>
        <p:sp>
          <p:nvSpPr>
            <p:cNvPr id="134" name="Rettangolo 13">
              <a:extLst>
                <a:ext uri="{FF2B5EF4-FFF2-40B4-BE49-F238E27FC236}">
                  <a16:creationId xmlns:a16="http://schemas.microsoft.com/office/drawing/2014/main" id="{8F0CF2A7-592A-4287-9206-D3289F1B0C37}"/>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a:p>
          </p:txBody>
        </p:sp>
      </p:grpSp>
      <p:pic>
        <p:nvPicPr>
          <p:cNvPr id="139" name="Picture 12">
            <a:extLst>
              <a:ext uri="{FF2B5EF4-FFF2-40B4-BE49-F238E27FC236}">
                <a16:creationId xmlns:a16="http://schemas.microsoft.com/office/drawing/2014/main" id="{F047215A-40D8-4A57-BE02-5E03FCEEBB7B}"/>
              </a:ext>
            </a:extLst>
          </p:cNvPr>
          <p:cNvPicPr>
            <a:picLocks noChangeAspect="1"/>
          </p:cNvPicPr>
          <p:nvPr/>
        </p:nvPicPr>
        <p:blipFill>
          <a:blip r:embed="rId5"/>
          <a:srcRect l="134" t="91287" b="3943"/>
          <a:stretch>
            <a:fillRect/>
          </a:stretch>
        </p:blipFill>
        <p:spPr>
          <a:xfrm rot="10800000">
            <a:off x="4329146" y="9679209"/>
            <a:ext cx="13958844" cy="666567"/>
          </a:xfrm>
          <a:prstGeom prst="rect">
            <a:avLst/>
          </a:prstGeom>
        </p:spPr>
      </p:pic>
      <p:sp>
        <p:nvSpPr>
          <p:cNvPr id="140" name="TextBox 16">
            <a:extLst>
              <a:ext uri="{FF2B5EF4-FFF2-40B4-BE49-F238E27FC236}">
                <a16:creationId xmlns:a16="http://schemas.microsoft.com/office/drawing/2014/main" id="{C693B1DB-897C-4A9D-8CF3-F1423F6CB38D}"/>
              </a:ext>
            </a:extLst>
          </p:cNvPr>
          <p:cNvSpPr txBox="1"/>
          <p:nvPr/>
        </p:nvSpPr>
        <p:spPr>
          <a:xfrm>
            <a:off x="14400020" y="9762302"/>
            <a:ext cx="3636320" cy="448713"/>
          </a:xfrm>
          <a:prstGeom prst="rect">
            <a:avLst/>
          </a:prstGeom>
        </p:spPr>
        <p:txBody>
          <a:bodyPr wrap="square" lIns="0" tIns="0" rIns="0" bIns="0" rtlCol="0" anchor="t">
            <a:spAutoFit/>
          </a:bodyPr>
          <a:lstStyle/>
          <a:p>
            <a:pPr algn="ctr">
              <a:lnSpc>
                <a:spcPts val="3920"/>
              </a:lnSpc>
            </a:pPr>
            <a:r>
              <a:rPr lang="en-US" sz="2801" b="1">
                <a:solidFill>
                  <a:srgbClr val="FFFFFF"/>
                </a:solidFill>
                <a:latin typeface="OCR A Extended" panose="02010509020102010303" pitchFamily="50" charset="0"/>
              </a:rPr>
              <a:t>www.retrofeed.eu</a:t>
            </a:r>
          </a:p>
        </p:txBody>
      </p:sp>
      <p:sp>
        <p:nvSpPr>
          <p:cNvPr id="275" name="TextBox 274">
            <a:extLst>
              <a:ext uri="{FF2B5EF4-FFF2-40B4-BE49-F238E27FC236}">
                <a16:creationId xmlns:a16="http://schemas.microsoft.com/office/drawing/2014/main" id="{18F9B2C4-9238-753A-5524-A6082AD1087E}"/>
              </a:ext>
            </a:extLst>
          </p:cNvPr>
          <p:cNvSpPr txBox="1"/>
          <p:nvPr/>
        </p:nvSpPr>
        <p:spPr>
          <a:xfrm>
            <a:off x="1736888" y="2360459"/>
            <a:ext cx="15014501" cy="954364"/>
          </a:xfrm>
          <a:prstGeom prst="rect">
            <a:avLst/>
          </a:prstGeom>
          <a:solidFill>
            <a:schemeClr val="accent2">
              <a:lumMod val="60000"/>
              <a:lumOff val="40000"/>
            </a:schemeClr>
          </a:solidFill>
        </p:spPr>
        <p:txBody>
          <a:bodyPr wrap="square" rIns="90000" anchor="ctr" anchorCtr="0">
            <a:spAutoFit/>
          </a:bodyPr>
          <a:lstStyle/>
          <a:p>
            <a:pPr algn="ctr"/>
            <a:r>
              <a:rPr lang="en-AU" sz="2801"/>
              <a:t>The goal of the LCA that was performed on the </a:t>
            </a:r>
            <a:r>
              <a:rPr lang="en-AU" sz="2801" dirty="0" err="1"/>
              <a:t>Fertiberia</a:t>
            </a:r>
            <a:r>
              <a:rPr lang="en-AU" sz="2801" dirty="0"/>
              <a:t> demo site is to compare the environmental, economic and social impact performance between pre- and post-</a:t>
            </a:r>
            <a:r>
              <a:rPr lang="en-AU" sz="2801" dirty="0" err="1"/>
              <a:t>Retrofeed</a:t>
            </a:r>
            <a:r>
              <a:rPr lang="en-AU" sz="2801" dirty="0"/>
              <a:t>.  </a:t>
            </a:r>
          </a:p>
        </p:txBody>
      </p:sp>
      <p:sp>
        <p:nvSpPr>
          <p:cNvPr id="276" name="TextBox 275">
            <a:extLst>
              <a:ext uri="{FF2B5EF4-FFF2-40B4-BE49-F238E27FC236}">
                <a16:creationId xmlns:a16="http://schemas.microsoft.com/office/drawing/2014/main" id="{23F49CDA-BC36-C7E5-B9CD-42DA77A33D92}"/>
              </a:ext>
            </a:extLst>
          </p:cNvPr>
          <p:cNvSpPr txBox="1"/>
          <p:nvPr/>
        </p:nvSpPr>
        <p:spPr>
          <a:xfrm>
            <a:off x="1266092" y="1139852"/>
            <a:ext cx="18288012" cy="1077346"/>
          </a:xfrm>
          <a:prstGeom prst="rect">
            <a:avLst/>
          </a:prstGeom>
          <a:noFill/>
        </p:spPr>
        <p:txBody>
          <a:bodyPr wrap="square">
            <a:spAutoFit/>
          </a:bodyPr>
          <a:lstStyle/>
          <a:p>
            <a:pPr algn="ctr"/>
            <a:r>
              <a:rPr lang="sv-SE" sz="6401" b="1">
                <a:solidFill>
                  <a:srgbClr val="CC0033"/>
                </a:solidFill>
                <a:latin typeface="+mj-lt"/>
                <a:cs typeface="Arial" panose="020B0604020202020204" pitchFamily="34" charset="0"/>
              </a:rPr>
              <a:t>- Step 4: Interpretation</a:t>
            </a:r>
          </a:p>
        </p:txBody>
      </p:sp>
      <p:pic>
        <p:nvPicPr>
          <p:cNvPr id="277" name="Picture 276" descr="RETROFEED FERTIBERIA">
            <a:extLst>
              <a:ext uri="{FF2B5EF4-FFF2-40B4-BE49-F238E27FC236}">
                <a16:creationId xmlns:a16="http://schemas.microsoft.com/office/drawing/2014/main" id="{13D4CF92-1DBE-F158-BA77-B8A6CA0F45B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588905" y="1093790"/>
            <a:ext cx="2287452" cy="841782"/>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descr="A close up of a road&#10;&#10;Description automatically generated">
            <a:extLst>
              <a:ext uri="{FF2B5EF4-FFF2-40B4-BE49-F238E27FC236}">
                <a16:creationId xmlns:a16="http://schemas.microsoft.com/office/drawing/2014/main" id="{B1381FF1-92CC-4D78-A71E-FCA0283E9988}"/>
              </a:ext>
            </a:extLst>
          </p:cNvPr>
          <p:cNvPicPr>
            <a:picLocks noChangeAspect="1"/>
          </p:cNvPicPr>
          <p:nvPr/>
        </p:nvPicPr>
        <p:blipFill>
          <a:blip r:embed="rId7" cstate="print">
            <a:alphaModFix amt="20000"/>
            <a:extLst>
              <a:ext uri="{28A0092B-C50C-407E-A947-70E740481C1C}">
                <a14:useLocalDpi xmlns:a14="http://schemas.microsoft.com/office/drawing/2010/main" val="0"/>
              </a:ext>
            </a:extLst>
          </a:blip>
          <a:stretch>
            <a:fillRect/>
          </a:stretch>
        </p:blipFill>
        <p:spPr>
          <a:xfrm>
            <a:off x="909923" y="3558706"/>
            <a:ext cx="16465313" cy="5296328"/>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18" name="TextBox 14">
            <a:extLst>
              <a:ext uri="{FF2B5EF4-FFF2-40B4-BE49-F238E27FC236}">
                <a16:creationId xmlns:a16="http://schemas.microsoft.com/office/drawing/2014/main" id="{78F8653D-2E40-437D-9EE6-7E84B8B0F224}"/>
              </a:ext>
            </a:extLst>
          </p:cNvPr>
          <p:cNvSpPr txBox="1"/>
          <p:nvPr/>
        </p:nvSpPr>
        <p:spPr>
          <a:xfrm>
            <a:off x="1404038" y="4497328"/>
            <a:ext cx="6657186" cy="1724062"/>
          </a:xfrm>
          <a:prstGeom prst="rect">
            <a:avLst/>
          </a:prstGeom>
        </p:spPr>
        <p:txBody>
          <a:bodyPr wrap="square" lIns="0" tIns="0" rIns="0" bIns="0" rtlCol="0" anchor="t">
            <a:spAutoFit/>
          </a:bodyPr>
          <a:lstStyle/>
          <a:p>
            <a:pPr>
              <a:buClr>
                <a:schemeClr val="accent5"/>
              </a:buClr>
            </a:pPr>
            <a:r>
              <a:rPr lang="en-US" sz="2801" b="1">
                <a:solidFill>
                  <a:schemeClr val="accent1"/>
                </a:solidFill>
              </a:rPr>
              <a:t>Retrofitting actions</a:t>
            </a:r>
          </a:p>
          <a:p>
            <a:pPr>
              <a:buClr>
                <a:schemeClr val="accent5"/>
              </a:buClr>
            </a:pPr>
            <a:endParaRPr lang="en-US" sz="2801" b="1"/>
          </a:p>
          <a:p>
            <a:pPr marL="457223" indent="-457223">
              <a:buClr>
                <a:srgbClr val="CC0033"/>
              </a:buClr>
              <a:buFont typeface="Wingdings" panose="05000000000000000000" pitchFamily="2" charset="2"/>
              <a:buChar char="ü"/>
            </a:pPr>
            <a:r>
              <a:rPr lang="en-US" sz="2801" b="1"/>
              <a:t>New design of an in-line reactor for alternative phosphorus sources. </a:t>
            </a:r>
            <a:endParaRPr lang="es-ES" sz="2801" b="1"/>
          </a:p>
        </p:txBody>
      </p:sp>
      <p:sp>
        <p:nvSpPr>
          <p:cNvPr id="19" name="TextBox 14">
            <a:extLst>
              <a:ext uri="{FF2B5EF4-FFF2-40B4-BE49-F238E27FC236}">
                <a16:creationId xmlns:a16="http://schemas.microsoft.com/office/drawing/2014/main" id="{B1E6ECC0-7752-4BBA-97C2-BDEC650A8304}"/>
              </a:ext>
            </a:extLst>
          </p:cNvPr>
          <p:cNvSpPr txBox="1"/>
          <p:nvPr/>
        </p:nvSpPr>
        <p:spPr>
          <a:xfrm>
            <a:off x="9142579" y="3793415"/>
            <a:ext cx="7910552" cy="4431983"/>
          </a:xfrm>
          <a:prstGeom prst="rect">
            <a:avLst/>
          </a:prstGeom>
        </p:spPr>
        <p:txBody>
          <a:bodyPr wrap="square" lIns="0" tIns="0" rIns="0" bIns="0" rtlCol="0" anchor="t">
            <a:spAutoFit/>
          </a:bodyPr>
          <a:lstStyle/>
          <a:p>
            <a:pPr>
              <a:buClr>
                <a:schemeClr val="accent5"/>
              </a:buClr>
            </a:pPr>
            <a:r>
              <a:rPr lang="en-US" sz="2400" b="1">
                <a:solidFill>
                  <a:schemeClr val="accent2">
                    <a:lumMod val="75000"/>
                  </a:schemeClr>
                </a:solidFill>
              </a:rPr>
              <a:t>Goals</a:t>
            </a:r>
          </a:p>
          <a:p>
            <a:pPr>
              <a:buClr>
                <a:schemeClr val="accent5"/>
              </a:buClr>
            </a:pPr>
            <a:endParaRPr lang="en-US" sz="2400" b="1"/>
          </a:p>
          <a:p>
            <a:pPr marL="457223" indent="-457223">
              <a:buClr>
                <a:schemeClr val="accent2">
                  <a:lumMod val="75000"/>
                </a:schemeClr>
              </a:buClr>
              <a:buFont typeface="Wingdings" panose="05000000000000000000" pitchFamily="2" charset="2"/>
              <a:buChar char="ü"/>
            </a:pPr>
            <a:r>
              <a:rPr lang="en-GB" sz="2400" b="1"/>
              <a:t>Replace at least 10% of the currently used phosphorous sources.</a:t>
            </a:r>
          </a:p>
          <a:p>
            <a:pPr marL="457223" indent="-457223">
              <a:buClr>
                <a:srgbClr val="99CC99"/>
              </a:buClr>
              <a:buFont typeface="Wingdings" panose="05000000000000000000" pitchFamily="2" charset="2"/>
              <a:buChar char="ü"/>
            </a:pPr>
            <a:endParaRPr lang="en-GB" sz="2400" b="1"/>
          </a:p>
          <a:p>
            <a:pPr marL="457223" indent="-457223">
              <a:buClr>
                <a:schemeClr val="accent2">
                  <a:lumMod val="75000"/>
                </a:schemeClr>
              </a:buClr>
              <a:buFont typeface="Wingdings" panose="05000000000000000000" pitchFamily="2" charset="2"/>
              <a:buChar char="ü"/>
            </a:pPr>
            <a:r>
              <a:rPr lang="en-GB" sz="2400" b="1"/>
              <a:t>Recover valuable raw materials from wastes such as ashes, </a:t>
            </a:r>
            <a:r>
              <a:rPr lang="en-GB" sz="2400" b="1" err="1"/>
              <a:t>struvites</a:t>
            </a:r>
            <a:r>
              <a:rPr lang="en-GB" sz="2400" b="1"/>
              <a:t>, etc.</a:t>
            </a:r>
          </a:p>
          <a:p>
            <a:pPr marL="457223" indent="-457223">
              <a:buClr>
                <a:srgbClr val="99CC99"/>
              </a:buClr>
              <a:buFont typeface="Wingdings" panose="05000000000000000000" pitchFamily="2" charset="2"/>
              <a:buChar char="ü"/>
            </a:pPr>
            <a:endParaRPr lang="en-US" sz="2400" b="1"/>
          </a:p>
          <a:p>
            <a:pPr marL="457223" indent="-457223">
              <a:buClr>
                <a:schemeClr val="accent2">
                  <a:lumMod val="75000"/>
                </a:schemeClr>
              </a:buClr>
              <a:buFont typeface="Wingdings" panose="05000000000000000000" pitchFamily="2" charset="2"/>
              <a:buChar char="ü"/>
            </a:pPr>
            <a:r>
              <a:rPr lang="en-US" sz="2400" b="1"/>
              <a:t>Reduction of cost and energy consumption (reduction of CO2 emission).</a:t>
            </a:r>
          </a:p>
          <a:p>
            <a:pPr marL="457223" indent="-457223">
              <a:buClr>
                <a:srgbClr val="99CC99"/>
              </a:buClr>
              <a:buFont typeface="Wingdings" panose="05000000000000000000" pitchFamily="2" charset="2"/>
              <a:buChar char="ü"/>
            </a:pPr>
            <a:endParaRPr lang="en-US" sz="2400" b="1"/>
          </a:p>
          <a:p>
            <a:pPr marL="457223" indent="-457223">
              <a:buClr>
                <a:schemeClr val="accent2">
                  <a:lumMod val="75000"/>
                </a:schemeClr>
              </a:buClr>
              <a:buFont typeface="Wingdings" panose="05000000000000000000" pitchFamily="2" charset="2"/>
              <a:buChar char="ü"/>
            </a:pPr>
            <a:r>
              <a:rPr lang="en-US" sz="2400" b="1"/>
              <a:t>M&amp;C system improvement.</a:t>
            </a:r>
            <a:endParaRPr lang="es-ES" sz="2400" b="1"/>
          </a:p>
        </p:txBody>
      </p:sp>
      <p:cxnSp>
        <p:nvCxnSpPr>
          <p:cNvPr id="20" name="Conector recto 20">
            <a:extLst>
              <a:ext uri="{FF2B5EF4-FFF2-40B4-BE49-F238E27FC236}">
                <a16:creationId xmlns:a16="http://schemas.microsoft.com/office/drawing/2014/main" id="{73058F22-A552-4C3F-A88B-C8DFE032528B}"/>
              </a:ext>
            </a:extLst>
          </p:cNvPr>
          <p:cNvCxnSpPr>
            <a:cxnSpLocks/>
          </p:cNvCxnSpPr>
          <p:nvPr/>
        </p:nvCxnSpPr>
        <p:spPr>
          <a:xfrm>
            <a:off x="8654336" y="3539624"/>
            <a:ext cx="0" cy="2464601"/>
          </a:xfrm>
          <a:prstGeom prst="line">
            <a:avLst/>
          </a:prstGeom>
          <a:ln w="63500"/>
        </p:spPr>
        <p:style>
          <a:lnRef idx="1">
            <a:schemeClr val="accent1"/>
          </a:lnRef>
          <a:fillRef idx="0">
            <a:schemeClr val="accent1"/>
          </a:fillRef>
          <a:effectRef idx="0">
            <a:schemeClr val="accent1"/>
          </a:effectRef>
          <a:fontRef idx="minor">
            <a:schemeClr val="tx1"/>
          </a:fontRef>
        </p:style>
      </p:cxnSp>
      <p:cxnSp>
        <p:nvCxnSpPr>
          <p:cNvPr id="21" name="Conector recto 21">
            <a:extLst>
              <a:ext uri="{FF2B5EF4-FFF2-40B4-BE49-F238E27FC236}">
                <a16:creationId xmlns:a16="http://schemas.microsoft.com/office/drawing/2014/main" id="{2F450497-3C09-45A5-9175-352F10FE54CD}"/>
              </a:ext>
            </a:extLst>
          </p:cNvPr>
          <p:cNvCxnSpPr>
            <a:cxnSpLocks/>
          </p:cNvCxnSpPr>
          <p:nvPr/>
        </p:nvCxnSpPr>
        <p:spPr>
          <a:xfrm>
            <a:off x="8654336" y="6290845"/>
            <a:ext cx="0" cy="2551127"/>
          </a:xfrm>
          <a:prstGeom prst="line">
            <a:avLst/>
          </a:prstGeom>
          <a:ln w="63500">
            <a:solidFill>
              <a:srgbClr val="99CC9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34296215"/>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4"/>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20"/>
                </a:lnSpc>
              </a:pPr>
              <a:r>
                <a:rPr lang="en-US" sz="2801" b="1">
                  <a:solidFill>
                    <a:srgbClr val="FFFFFF"/>
                  </a:solidFill>
                  <a:latin typeface="OCR A Extended" panose="02010509020102010303" pitchFamily="50" charset="0"/>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4"/>
          <a:srcRect/>
          <a:stretch>
            <a:fillRect/>
          </a:stretch>
        </p:blipFill>
        <p:spPr>
          <a:xfrm>
            <a:off x="0" y="8901115"/>
            <a:ext cx="5715000" cy="1385888"/>
          </a:xfrm>
          <a:prstGeom prst="rect">
            <a:avLst/>
          </a:prstGeom>
        </p:spPr>
      </p:pic>
      <p:grpSp>
        <p:nvGrpSpPr>
          <p:cNvPr id="3" name="Gruppo 2">
            <a:extLst>
              <a:ext uri="{FF2B5EF4-FFF2-40B4-BE49-F238E27FC236}">
                <a16:creationId xmlns:a16="http://schemas.microsoft.com/office/drawing/2014/main" id="{D0B44AFC-EABA-48CF-A7A8-348076F88921}"/>
              </a:ext>
            </a:extLst>
          </p:cNvPr>
          <p:cNvGrpSpPr/>
          <p:nvPr/>
        </p:nvGrpSpPr>
        <p:grpSpPr>
          <a:xfrm>
            <a:off x="-12" y="138554"/>
            <a:ext cx="18288002" cy="681138"/>
            <a:chOff x="-12" y="138554"/>
            <a:chExt cx="18288002" cy="681138"/>
          </a:xfrm>
        </p:grpSpPr>
        <p:pic>
          <p:nvPicPr>
            <p:cNvPr id="10" name="Picture 10"/>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5" name="Rettangolo 14">
              <a:extLst>
                <a:ext uri="{FF2B5EF4-FFF2-40B4-BE49-F238E27FC236}">
                  <a16:creationId xmlns:a16="http://schemas.microsoft.com/office/drawing/2014/main" id="{AFFDA913-633F-49C2-9D71-573FB327981F}"/>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a:p>
          </p:txBody>
        </p:sp>
      </p:grpSp>
      <p:sp>
        <p:nvSpPr>
          <p:cNvPr id="4" name="TextBox 13">
            <a:extLst>
              <a:ext uri="{FF2B5EF4-FFF2-40B4-BE49-F238E27FC236}">
                <a16:creationId xmlns:a16="http://schemas.microsoft.com/office/drawing/2014/main" id="{36A66757-817A-99BE-98F8-6BEC503C4D23}"/>
              </a:ext>
            </a:extLst>
          </p:cNvPr>
          <p:cNvSpPr txBox="1"/>
          <p:nvPr/>
        </p:nvSpPr>
        <p:spPr>
          <a:xfrm>
            <a:off x="736589" y="994775"/>
            <a:ext cx="16383012" cy="1052468"/>
          </a:xfrm>
          <a:prstGeom prst="rect">
            <a:avLst/>
          </a:prstGeom>
        </p:spPr>
        <p:txBody>
          <a:bodyPr wrap="square" lIns="0" tIns="0" rIns="0" bIns="0" rtlCol="0" anchor="t">
            <a:spAutoFit/>
          </a:bodyPr>
          <a:lstStyle/>
          <a:p>
            <a:pPr algn="ctr">
              <a:lnSpc>
                <a:spcPts val="8961"/>
              </a:lnSpc>
            </a:pPr>
            <a:r>
              <a:rPr lang="en-US" sz="6401" b="1">
                <a:solidFill>
                  <a:srgbClr val="CC0033"/>
                </a:solidFill>
                <a:latin typeface="+mj-lt"/>
                <a:cs typeface="Arial" panose="020B0604020202020204" pitchFamily="34" charset="0"/>
              </a:rPr>
              <a:t>			– LCA results</a:t>
            </a:r>
          </a:p>
        </p:txBody>
      </p:sp>
      <p:pic>
        <p:nvPicPr>
          <p:cNvPr id="5" name="Picture 4" descr="RETROFEED FERTIBERIA">
            <a:extLst>
              <a:ext uri="{FF2B5EF4-FFF2-40B4-BE49-F238E27FC236}">
                <a16:creationId xmlns:a16="http://schemas.microsoft.com/office/drawing/2014/main" id="{B83E65A5-1789-128A-6069-29AC7062304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537225" y="819693"/>
            <a:ext cx="2888162" cy="1062843"/>
          </a:xfrm>
          <a:prstGeom prst="rect">
            <a:avLst/>
          </a:prstGeom>
          <a:noFill/>
          <a:extLst>
            <a:ext uri="{909E8E84-426E-40DD-AFC4-6F175D3DCCD1}">
              <a14:hiddenFill xmlns:a14="http://schemas.microsoft.com/office/drawing/2010/main">
                <a:solidFill>
                  <a:srgbClr val="FFFFFF"/>
                </a:solidFill>
              </a14:hiddenFill>
            </a:ext>
          </a:extLst>
        </p:spPr>
      </p:pic>
      <p:sp>
        <p:nvSpPr>
          <p:cNvPr id="21" name="TextBox 20">
            <a:extLst>
              <a:ext uri="{FF2B5EF4-FFF2-40B4-BE49-F238E27FC236}">
                <a16:creationId xmlns:a16="http://schemas.microsoft.com/office/drawing/2014/main" id="{7EBEE009-78F0-8642-DCC3-F6335F94F0DF}"/>
              </a:ext>
            </a:extLst>
          </p:cNvPr>
          <p:cNvSpPr txBox="1"/>
          <p:nvPr/>
        </p:nvSpPr>
        <p:spPr>
          <a:xfrm>
            <a:off x="1699115" y="2152883"/>
            <a:ext cx="14457959" cy="830997"/>
          </a:xfrm>
          <a:prstGeom prst="rect">
            <a:avLst/>
          </a:prstGeom>
          <a:solidFill>
            <a:schemeClr val="accent2"/>
          </a:solidFill>
          <a:ln>
            <a:solidFill>
              <a:schemeClr val="accent2"/>
            </a:solidFill>
          </a:ln>
        </p:spPr>
        <p:txBody>
          <a:bodyPr wrap="square" rtlCol="0">
            <a:spAutoFit/>
          </a:bodyPr>
          <a:lstStyle/>
          <a:p>
            <a:pPr algn="ctr"/>
            <a:r>
              <a:rPr lang="en-AU" sz="2400"/>
              <a:t>The graph shows the change in the eight impact categories that were assessed in the LCA of </a:t>
            </a:r>
            <a:r>
              <a:rPr lang="en-AU" sz="2400" err="1"/>
              <a:t>Fertiberia’s</a:t>
            </a:r>
            <a:r>
              <a:rPr lang="en-AU" sz="2400"/>
              <a:t> demo site before and after the retrofit actions. </a:t>
            </a:r>
          </a:p>
        </p:txBody>
      </p:sp>
      <p:pic>
        <p:nvPicPr>
          <p:cNvPr id="8" name="Picture 7">
            <a:extLst>
              <a:ext uri="{FF2B5EF4-FFF2-40B4-BE49-F238E27FC236}">
                <a16:creationId xmlns:a16="http://schemas.microsoft.com/office/drawing/2014/main" id="{3DAB982B-5485-B509-1A50-ABD6AD4D3849}"/>
              </a:ext>
            </a:extLst>
          </p:cNvPr>
          <p:cNvPicPr>
            <a:picLocks noChangeAspect="1"/>
          </p:cNvPicPr>
          <p:nvPr/>
        </p:nvPicPr>
        <p:blipFill>
          <a:blip r:embed="rId7"/>
          <a:stretch>
            <a:fillRect/>
          </a:stretch>
        </p:blipFill>
        <p:spPr>
          <a:xfrm>
            <a:off x="3002757" y="3066974"/>
            <a:ext cx="11916723" cy="6080642"/>
          </a:xfrm>
          <a:prstGeom prst="rect">
            <a:avLst/>
          </a:prstGeom>
        </p:spPr>
      </p:pic>
    </p:spTree>
    <p:extLst>
      <p:ext uri="{BB962C8B-B14F-4D97-AF65-F5344CB8AC3E}">
        <p14:creationId xmlns:p14="http://schemas.microsoft.com/office/powerpoint/2010/main" val="484290174"/>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8">
            <a:extLst>
              <a:ext uri="{FF2B5EF4-FFF2-40B4-BE49-F238E27FC236}">
                <a16:creationId xmlns:a16="http://schemas.microsoft.com/office/drawing/2014/main" id="{6FF61619-0A77-0EEE-DEE2-965139C14D3E}"/>
              </a:ext>
            </a:extLst>
          </p:cNvPr>
          <p:cNvPicPr>
            <a:picLocks noChangeAspect="1"/>
          </p:cNvPicPr>
          <p:nvPr/>
        </p:nvPicPr>
        <p:blipFill>
          <a:blip r:embed="rId3"/>
          <a:stretch>
            <a:fillRect/>
          </a:stretch>
        </p:blipFill>
        <p:spPr>
          <a:xfrm>
            <a:off x="323452" y="2846770"/>
            <a:ext cx="17211170" cy="5011520"/>
          </a:xfrm>
          <a:prstGeom prst="rect">
            <a:avLst/>
          </a:prstGeom>
        </p:spPr>
      </p:pic>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4"/>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4"/>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20"/>
                </a:lnSpc>
              </a:pPr>
              <a:r>
                <a:rPr lang="en-US" sz="2801" b="1">
                  <a:solidFill>
                    <a:srgbClr val="FFFFFF"/>
                  </a:solidFill>
                  <a:latin typeface="OCR A Extended" panose="02010509020102010303" pitchFamily="50" charset="0"/>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5"/>
          <a:srcRect/>
          <a:stretch>
            <a:fillRect/>
          </a:stretch>
        </p:blipFill>
        <p:spPr>
          <a:xfrm>
            <a:off x="0" y="8901115"/>
            <a:ext cx="5715000" cy="1385888"/>
          </a:xfrm>
          <a:prstGeom prst="rect">
            <a:avLst/>
          </a:prstGeom>
        </p:spPr>
      </p:pic>
      <p:grpSp>
        <p:nvGrpSpPr>
          <p:cNvPr id="3" name="Gruppo 2">
            <a:extLst>
              <a:ext uri="{FF2B5EF4-FFF2-40B4-BE49-F238E27FC236}">
                <a16:creationId xmlns:a16="http://schemas.microsoft.com/office/drawing/2014/main" id="{D0B44AFC-EABA-48CF-A7A8-348076F88921}"/>
              </a:ext>
            </a:extLst>
          </p:cNvPr>
          <p:cNvGrpSpPr/>
          <p:nvPr/>
        </p:nvGrpSpPr>
        <p:grpSpPr>
          <a:xfrm>
            <a:off x="-12" y="138554"/>
            <a:ext cx="18288002" cy="681138"/>
            <a:chOff x="-12" y="138554"/>
            <a:chExt cx="18288002" cy="681138"/>
          </a:xfrm>
        </p:grpSpPr>
        <p:pic>
          <p:nvPicPr>
            <p:cNvPr id="10" name="Picture 10"/>
            <p:cNvPicPr>
              <a:picLocks noChangeAspect="1"/>
            </p:cNvPicPr>
            <p:nvPr/>
          </p:nvPicPr>
          <p:blipFill>
            <a:blip r:embed="rId6"/>
            <a:srcRect l="134" t="91287" b="3943"/>
            <a:stretch>
              <a:fillRect/>
            </a:stretch>
          </p:blipFill>
          <p:spPr>
            <a:xfrm>
              <a:off x="0" y="153125"/>
              <a:ext cx="13958844" cy="666567"/>
            </a:xfrm>
            <a:prstGeom prst="rect">
              <a:avLst/>
            </a:prstGeom>
          </p:spPr>
        </p:pic>
        <p:sp>
          <p:nvSpPr>
            <p:cNvPr id="15" name="Rettangolo 14">
              <a:extLst>
                <a:ext uri="{FF2B5EF4-FFF2-40B4-BE49-F238E27FC236}">
                  <a16:creationId xmlns:a16="http://schemas.microsoft.com/office/drawing/2014/main" id="{AFFDA913-633F-49C2-9D71-573FB327981F}"/>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a:p>
          </p:txBody>
        </p:sp>
      </p:grpSp>
      <p:sp>
        <p:nvSpPr>
          <p:cNvPr id="4" name="TextBox 13">
            <a:extLst>
              <a:ext uri="{FF2B5EF4-FFF2-40B4-BE49-F238E27FC236}">
                <a16:creationId xmlns:a16="http://schemas.microsoft.com/office/drawing/2014/main" id="{36A66757-817A-99BE-98F8-6BEC503C4D23}"/>
              </a:ext>
            </a:extLst>
          </p:cNvPr>
          <p:cNvSpPr txBox="1"/>
          <p:nvPr/>
        </p:nvSpPr>
        <p:spPr>
          <a:xfrm>
            <a:off x="736589" y="994775"/>
            <a:ext cx="16383012" cy="1052468"/>
          </a:xfrm>
          <a:prstGeom prst="rect">
            <a:avLst/>
          </a:prstGeom>
        </p:spPr>
        <p:txBody>
          <a:bodyPr wrap="square" lIns="0" tIns="0" rIns="0" bIns="0" rtlCol="0" anchor="t">
            <a:spAutoFit/>
          </a:bodyPr>
          <a:lstStyle/>
          <a:p>
            <a:pPr algn="ctr">
              <a:lnSpc>
                <a:spcPts val="8961"/>
              </a:lnSpc>
            </a:pPr>
            <a:r>
              <a:rPr lang="en-US" sz="6401" b="1">
                <a:solidFill>
                  <a:srgbClr val="CC0033"/>
                </a:solidFill>
                <a:latin typeface="+mj-lt"/>
                <a:cs typeface="Arial" panose="020B0604020202020204" pitchFamily="34" charset="0"/>
              </a:rPr>
              <a:t>			– LCA results</a:t>
            </a:r>
          </a:p>
        </p:txBody>
      </p:sp>
      <p:pic>
        <p:nvPicPr>
          <p:cNvPr id="5" name="Picture 4" descr="RETROFEED FERTIBERIA">
            <a:extLst>
              <a:ext uri="{FF2B5EF4-FFF2-40B4-BE49-F238E27FC236}">
                <a16:creationId xmlns:a16="http://schemas.microsoft.com/office/drawing/2014/main" id="{B83E65A5-1789-128A-6069-29AC7062304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537225" y="819693"/>
            <a:ext cx="2888162" cy="10628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46049915"/>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4"/>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20"/>
                </a:lnSpc>
              </a:pPr>
              <a:r>
                <a:rPr lang="en-US" sz="2801" b="1">
                  <a:solidFill>
                    <a:srgbClr val="FFFFFF"/>
                  </a:solidFill>
                  <a:latin typeface="OCR A Extended" panose="02010509020102010303" pitchFamily="50" charset="0"/>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4"/>
          <a:srcRect/>
          <a:stretch>
            <a:fillRect/>
          </a:stretch>
        </p:blipFill>
        <p:spPr>
          <a:xfrm>
            <a:off x="0" y="8901115"/>
            <a:ext cx="5715000" cy="1385888"/>
          </a:xfrm>
          <a:prstGeom prst="rect">
            <a:avLst/>
          </a:prstGeom>
        </p:spPr>
      </p:pic>
      <p:grpSp>
        <p:nvGrpSpPr>
          <p:cNvPr id="3" name="Gruppo 2">
            <a:extLst>
              <a:ext uri="{FF2B5EF4-FFF2-40B4-BE49-F238E27FC236}">
                <a16:creationId xmlns:a16="http://schemas.microsoft.com/office/drawing/2014/main" id="{D0B44AFC-EABA-48CF-A7A8-348076F88921}"/>
              </a:ext>
            </a:extLst>
          </p:cNvPr>
          <p:cNvGrpSpPr/>
          <p:nvPr/>
        </p:nvGrpSpPr>
        <p:grpSpPr>
          <a:xfrm>
            <a:off x="-12" y="138554"/>
            <a:ext cx="18288002" cy="681138"/>
            <a:chOff x="-12" y="138554"/>
            <a:chExt cx="18288002" cy="681138"/>
          </a:xfrm>
        </p:grpSpPr>
        <p:pic>
          <p:nvPicPr>
            <p:cNvPr id="10" name="Picture 10"/>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5" name="Rettangolo 14">
              <a:extLst>
                <a:ext uri="{FF2B5EF4-FFF2-40B4-BE49-F238E27FC236}">
                  <a16:creationId xmlns:a16="http://schemas.microsoft.com/office/drawing/2014/main" id="{AFFDA913-633F-49C2-9D71-573FB327981F}"/>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a:p>
          </p:txBody>
        </p:sp>
      </p:grpSp>
      <p:sp>
        <p:nvSpPr>
          <p:cNvPr id="5" name="TextBox 13">
            <a:extLst>
              <a:ext uri="{FF2B5EF4-FFF2-40B4-BE49-F238E27FC236}">
                <a16:creationId xmlns:a16="http://schemas.microsoft.com/office/drawing/2014/main" id="{44569E8F-28B1-4EE6-C1D2-91893479600B}"/>
              </a:ext>
            </a:extLst>
          </p:cNvPr>
          <p:cNvSpPr txBox="1"/>
          <p:nvPr/>
        </p:nvSpPr>
        <p:spPr>
          <a:xfrm>
            <a:off x="736589" y="972308"/>
            <a:ext cx="16383012" cy="1052468"/>
          </a:xfrm>
          <a:prstGeom prst="rect">
            <a:avLst/>
          </a:prstGeom>
        </p:spPr>
        <p:txBody>
          <a:bodyPr wrap="square" lIns="0" tIns="0" rIns="0" bIns="0" rtlCol="0" anchor="t">
            <a:spAutoFit/>
          </a:bodyPr>
          <a:lstStyle/>
          <a:p>
            <a:pPr algn="ctr">
              <a:lnSpc>
                <a:spcPts val="8961"/>
              </a:lnSpc>
            </a:pPr>
            <a:r>
              <a:rPr lang="en-US" sz="6401" b="1">
                <a:solidFill>
                  <a:srgbClr val="CC0033"/>
                </a:solidFill>
                <a:latin typeface="+mj-lt"/>
                <a:cs typeface="Arial" panose="020B0604020202020204" pitchFamily="34" charset="0"/>
              </a:rPr>
              <a:t>			– LCA results</a:t>
            </a:r>
          </a:p>
        </p:txBody>
      </p:sp>
      <p:pic>
        <p:nvPicPr>
          <p:cNvPr id="6" name="Picture 5" descr="RETROFEED FERTIBERIA">
            <a:extLst>
              <a:ext uri="{FF2B5EF4-FFF2-40B4-BE49-F238E27FC236}">
                <a16:creationId xmlns:a16="http://schemas.microsoft.com/office/drawing/2014/main" id="{77A0A490-31E8-8EE3-A17E-0B423E6359F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537225" y="856364"/>
            <a:ext cx="2888162" cy="1062843"/>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5">
            <a:extLst>
              <a:ext uri="{FF2B5EF4-FFF2-40B4-BE49-F238E27FC236}">
                <a16:creationId xmlns:a16="http://schemas.microsoft.com/office/drawing/2014/main" id="{9DF3553D-90B3-D09C-A6F4-F39D64DA7EC5}"/>
              </a:ext>
            </a:extLst>
          </p:cNvPr>
          <p:cNvPicPr>
            <a:picLocks noChangeAspect="1"/>
          </p:cNvPicPr>
          <p:nvPr/>
        </p:nvPicPr>
        <p:blipFill>
          <a:blip r:embed="rId7"/>
          <a:stretch>
            <a:fillRect/>
          </a:stretch>
        </p:blipFill>
        <p:spPr>
          <a:xfrm>
            <a:off x="620281" y="2979770"/>
            <a:ext cx="9866471" cy="5609496"/>
          </a:xfrm>
          <a:prstGeom prst="rect">
            <a:avLst/>
          </a:prstGeom>
        </p:spPr>
      </p:pic>
      <p:pic>
        <p:nvPicPr>
          <p:cNvPr id="28" name="Picture 27">
            <a:extLst>
              <a:ext uri="{FF2B5EF4-FFF2-40B4-BE49-F238E27FC236}">
                <a16:creationId xmlns:a16="http://schemas.microsoft.com/office/drawing/2014/main" id="{8A0C1F81-90DC-5A29-1B3F-0338963F1BCB}"/>
              </a:ext>
            </a:extLst>
          </p:cNvPr>
          <p:cNvPicPr>
            <a:picLocks noChangeAspect="1"/>
          </p:cNvPicPr>
          <p:nvPr/>
        </p:nvPicPr>
        <p:blipFill>
          <a:blip r:embed="rId8"/>
          <a:stretch>
            <a:fillRect/>
          </a:stretch>
        </p:blipFill>
        <p:spPr>
          <a:xfrm>
            <a:off x="10740923" y="2107868"/>
            <a:ext cx="6324600" cy="7353300"/>
          </a:xfrm>
          <a:prstGeom prst="rect">
            <a:avLst/>
          </a:prstGeom>
        </p:spPr>
      </p:pic>
    </p:spTree>
    <p:extLst>
      <p:ext uri="{BB962C8B-B14F-4D97-AF65-F5344CB8AC3E}">
        <p14:creationId xmlns:p14="http://schemas.microsoft.com/office/powerpoint/2010/main" val="2392524085"/>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4"/>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20"/>
                </a:lnSpc>
              </a:pPr>
              <a:r>
                <a:rPr lang="en-US" sz="2801" b="1">
                  <a:solidFill>
                    <a:srgbClr val="FFFFFF"/>
                  </a:solidFill>
                  <a:latin typeface="OCR A Extended" panose="02010509020102010303" pitchFamily="50" charset="0"/>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4"/>
          <a:srcRect/>
          <a:stretch>
            <a:fillRect/>
          </a:stretch>
        </p:blipFill>
        <p:spPr>
          <a:xfrm>
            <a:off x="0" y="8901115"/>
            <a:ext cx="5715000" cy="1385888"/>
          </a:xfrm>
          <a:prstGeom prst="rect">
            <a:avLst/>
          </a:prstGeom>
        </p:spPr>
      </p:pic>
      <p:grpSp>
        <p:nvGrpSpPr>
          <p:cNvPr id="3" name="Gruppo 2">
            <a:extLst>
              <a:ext uri="{FF2B5EF4-FFF2-40B4-BE49-F238E27FC236}">
                <a16:creationId xmlns:a16="http://schemas.microsoft.com/office/drawing/2014/main" id="{D0B44AFC-EABA-48CF-A7A8-348076F88921}"/>
              </a:ext>
            </a:extLst>
          </p:cNvPr>
          <p:cNvGrpSpPr/>
          <p:nvPr/>
        </p:nvGrpSpPr>
        <p:grpSpPr>
          <a:xfrm>
            <a:off x="-12" y="138554"/>
            <a:ext cx="18288002" cy="681138"/>
            <a:chOff x="-12" y="138554"/>
            <a:chExt cx="18288002" cy="681138"/>
          </a:xfrm>
        </p:grpSpPr>
        <p:pic>
          <p:nvPicPr>
            <p:cNvPr id="10" name="Picture 10"/>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5" name="Rettangolo 14">
              <a:extLst>
                <a:ext uri="{FF2B5EF4-FFF2-40B4-BE49-F238E27FC236}">
                  <a16:creationId xmlns:a16="http://schemas.microsoft.com/office/drawing/2014/main" id="{AFFDA913-633F-49C2-9D71-573FB327981F}"/>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a:p>
          </p:txBody>
        </p:sp>
      </p:grpSp>
      <p:sp>
        <p:nvSpPr>
          <p:cNvPr id="4" name="TextBox 14">
            <a:extLst>
              <a:ext uri="{FF2B5EF4-FFF2-40B4-BE49-F238E27FC236}">
                <a16:creationId xmlns:a16="http://schemas.microsoft.com/office/drawing/2014/main" id="{DFC6E075-9D94-FB43-F320-B251FA14559A}"/>
              </a:ext>
            </a:extLst>
          </p:cNvPr>
          <p:cNvSpPr txBox="1"/>
          <p:nvPr/>
        </p:nvSpPr>
        <p:spPr>
          <a:xfrm>
            <a:off x="1362322" y="6753392"/>
            <a:ext cx="8705355" cy="1846659"/>
          </a:xfrm>
          <a:prstGeom prst="rect">
            <a:avLst/>
          </a:prstGeom>
        </p:spPr>
        <p:txBody>
          <a:bodyPr wrap="square" lIns="0" tIns="0" rIns="0" bIns="0" rtlCol="0" anchor="t">
            <a:spAutoFit/>
          </a:bodyPr>
          <a:lstStyle/>
          <a:p>
            <a:pPr algn="ctr"/>
            <a:r>
              <a:rPr lang="en-US" sz="2400" dirty="0">
                <a:solidFill>
                  <a:srgbClr val="404040"/>
                </a:solidFill>
                <a:ea typeface="Calibri" panose="020F0502020204030204" pitchFamily="34" charset="0"/>
              </a:rPr>
              <a:t>The new reactions between ammonia and sulfuric acid replaces the previous reaction between ammonia and phosphoric acid. The new reaction is more exothermic than the previous reaction. The higher energy yield results in that steam (from natural gas) is no longer needed in the tubular reactor.</a:t>
            </a:r>
            <a:endParaRPr lang="sv-SE" sz="1400" dirty="0"/>
          </a:p>
        </p:txBody>
      </p:sp>
      <p:sp>
        <p:nvSpPr>
          <p:cNvPr id="8" name="TextBox 13">
            <a:extLst>
              <a:ext uri="{FF2B5EF4-FFF2-40B4-BE49-F238E27FC236}">
                <a16:creationId xmlns:a16="http://schemas.microsoft.com/office/drawing/2014/main" id="{0B386DCC-3453-DC3F-1CF6-A0ADF6B93B57}"/>
              </a:ext>
            </a:extLst>
          </p:cNvPr>
          <p:cNvSpPr txBox="1"/>
          <p:nvPr/>
        </p:nvSpPr>
        <p:spPr>
          <a:xfrm>
            <a:off x="736589" y="972308"/>
            <a:ext cx="16383012" cy="1052468"/>
          </a:xfrm>
          <a:prstGeom prst="rect">
            <a:avLst/>
          </a:prstGeom>
        </p:spPr>
        <p:txBody>
          <a:bodyPr wrap="square" lIns="0" tIns="0" rIns="0" bIns="0" rtlCol="0" anchor="t">
            <a:spAutoFit/>
          </a:bodyPr>
          <a:lstStyle/>
          <a:p>
            <a:pPr algn="ctr">
              <a:lnSpc>
                <a:spcPts val="8961"/>
              </a:lnSpc>
            </a:pPr>
            <a:r>
              <a:rPr lang="en-US" sz="6401" b="1">
                <a:solidFill>
                  <a:srgbClr val="CC0033"/>
                </a:solidFill>
                <a:latin typeface="+mj-lt"/>
                <a:cs typeface="Arial" panose="020B0604020202020204" pitchFamily="34" charset="0"/>
              </a:rPr>
              <a:t>			– LCA results</a:t>
            </a:r>
          </a:p>
        </p:txBody>
      </p:sp>
      <p:pic>
        <p:nvPicPr>
          <p:cNvPr id="9" name="Picture 8" descr="RETROFEED FERTIBERIA">
            <a:extLst>
              <a:ext uri="{FF2B5EF4-FFF2-40B4-BE49-F238E27FC236}">
                <a16:creationId xmlns:a16="http://schemas.microsoft.com/office/drawing/2014/main" id="{71BB4F33-ADF8-A7D8-CB00-82990CCE226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537225" y="856364"/>
            <a:ext cx="2888162" cy="1062843"/>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328F6D6A-2795-CE19-2EA8-7CA65E144FE1}"/>
              </a:ext>
            </a:extLst>
          </p:cNvPr>
          <p:cNvPicPr>
            <a:picLocks noChangeAspect="1"/>
          </p:cNvPicPr>
          <p:nvPr/>
        </p:nvPicPr>
        <p:blipFill>
          <a:blip r:embed="rId7"/>
          <a:stretch>
            <a:fillRect/>
          </a:stretch>
        </p:blipFill>
        <p:spPr>
          <a:xfrm>
            <a:off x="2078846" y="2177390"/>
            <a:ext cx="7272309" cy="4274939"/>
          </a:xfrm>
          <a:prstGeom prst="rect">
            <a:avLst/>
          </a:prstGeom>
        </p:spPr>
      </p:pic>
      <p:pic>
        <p:nvPicPr>
          <p:cNvPr id="5" name="Picture 4">
            <a:extLst>
              <a:ext uri="{FF2B5EF4-FFF2-40B4-BE49-F238E27FC236}">
                <a16:creationId xmlns:a16="http://schemas.microsoft.com/office/drawing/2014/main" id="{199127A3-346E-3D0F-BA11-F325793A09B0}"/>
              </a:ext>
            </a:extLst>
          </p:cNvPr>
          <p:cNvPicPr>
            <a:picLocks noChangeAspect="1"/>
          </p:cNvPicPr>
          <p:nvPr/>
        </p:nvPicPr>
        <p:blipFill>
          <a:blip r:embed="rId8"/>
          <a:stretch>
            <a:fillRect/>
          </a:stretch>
        </p:blipFill>
        <p:spPr>
          <a:xfrm>
            <a:off x="10785855" y="2177390"/>
            <a:ext cx="6324600" cy="7353300"/>
          </a:xfrm>
          <a:prstGeom prst="rect">
            <a:avLst/>
          </a:prstGeom>
        </p:spPr>
      </p:pic>
    </p:spTree>
    <p:extLst>
      <p:ext uri="{BB962C8B-B14F-4D97-AF65-F5344CB8AC3E}">
        <p14:creationId xmlns:p14="http://schemas.microsoft.com/office/powerpoint/2010/main" val="3074126832"/>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113CA580-2C53-3314-9B05-CB8EE1DBE674}"/>
              </a:ext>
            </a:extLst>
          </p:cNvPr>
          <p:cNvPicPr>
            <a:picLocks noChangeAspect="1"/>
          </p:cNvPicPr>
          <p:nvPr/>
        </p:nvPicPr>
        <p:blipFill>
          <a:blip r:embed="rId3"/>
          <a:stretch>
            <a:fillRect/>
          </a:stretch>
        </p:blipFill>
        <p:spPr>
          <a:xfrm>
            <a:off x="2285045" y="2002300"/>
            <a:ext cx="13286099" cy="7038851"/>
          </a:xfrm>
          <a:prstGeom prst="rect">
            <a:avLst/>
          </a:prstGeom>
        </p:spPr>
      </p:pic>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4"/>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4"/>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20"/>
                </a:lnSpc>
              </a:pPr>
              <a:r>
                <a:rPr lang="en-US" sz="2801" b="1">
                  <a:solidFill>
                    <a:srgbClr val="FFFFFF"/>
                  </a:solidFill>
                  <a:latin typeface="OCR A Extended" panose="02010509020102010303" pitchFamily="50" charset="0"/>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5"/>
          <a:srcRect/>
          <a:stretch>
            <a:fillRect/>
          </a:stretch>
        </p:blipFill>
        <p:spPr>
          <a:xfrm>
            <a:off x="0" y="8901115"/>
            <a:ext cx="5715000" cy="1385888"/>
          </a:xfrm>
          <a:prstGeom prst="rect">
            <a:avLst/>
          </a:prstGeom>
        </p:spPr>
      </p:pic>
      <p:grpSp>
        <p:nvGrpSpPr>
          <p:cNvPr id="3" name="Gruppo 2">
            <a:extLst>
              <a:ext uri="{FF2B5EF4-FFF2-40B4-BE49-F238E27FC236}">
                <a16:creationId xmlns:a16="http://schemas.microsoft.com/office/drawing/2014/main" id="{D0B44AFC-EABA-48CF-A7A8-348076F88921}"/>
              </a:ext>
            </a:extLst>
          </p:cNvPr>
          <p:cNvGrpSpPr/>
          <p:nvPr/>
        </p:nvGrpSpPr>
        <p:grpSpPr>
          <a:xfrm>
            <a:off x="-12" y="138554"/>
            <a:ext cx="18288002" cy="681138"/>
            <a:chOff x="-12" y="138554"/>
            <a:chExt cx="18288002" cy="681138"/>
          </a:xfrm>
        </p:grpSpPr>
        <p:pic>
          <p:nvPicPr>
            <p:cNvPr id="10" name="Picture 10"/>
            <p:cNvPicPr>
              <a:picLocks noChangeAspect="1"/>
            </p:cNvPicPr>
            <p:nvPr/>
          </p:nvPicPr>
          <p:blipFill>
            <a:blip r:embed="rId6"/>
            <a:srcRect l="134" t="91287" b="3943"/>
            <a:stretch>
              <a:fillRect/>
            </a:stretch>
          </p:blipFill>
          <p:spPr>
            <a:xfrm>
              <a:off x="0" y="153125"/>
              <a:ext cx="13958844" cy="666567"/>
            </a:xfrm>
            <a:prstGeom prst="rect">
              <a:avLst/>
            </a:prstGeom>
          </p:spPr>
        </p:pic>
        <p:sp>
          <p:nvSpPr>
            <p:cNvPr id="15" name="Rettangolo 14">
              <a:extLst>
                <a:ext uri="{FF2B5EF4-FFF2-40B4-BE49-F238E27FC236}">
                  <a16:creationId xmlns:a16="http://schemas.microsoft.com/office/drawing/2014/main" id="{AFFDA913-633F-49C2-9D71-573FB327981F}"/>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a:p>
          </p:txBody>
        </p:sp>
      </p:grpSp>
      <p:sp>
        <p:nvSpPr>
          <p:cNvPr id="4" name="TextBox 13">
            <a:extLst>
              <a:ext uri="{FF2B5EF4-FFF2-40B4-BE49-F238E27FC236}">
                <a16:creationId xmlns:a16="http://schemas.microsoft.com/office/drawing/2014/main" id="{99138450-EFDF-A08F-7534-8E8DB7EF68B9}"/>
              </a:ext>
            </a:extLst>
          </p:cNvPr>
          <p:cNvSpPr txBox="1"/>
          <p:nvPr/>
        </p:nvSpPr>
        <p:spPr>
          <a:xfrm>
            <a:off x="736589" y="972308"/>
            <a:ext cx="16383012" cy="1052468"/>
          </a:xfrm>
          <a:prstGeom prst="rect">
            <a:avLst/>
          </a:prstGeom>
        </p:spPr>
        <p:txBody>
          <a:bodyPr wrap="square" lIns="0" tIns="0" rIns="0" bIns="0" rtlCol="0" anchor="t">
            <a:spAutoFit/>
          </a:bodyPr>
          <a:lstStyle/>
          <a:p>
            <a:pPr algn="ctr">
              <a:lnSpc>
                <a:spcPts val="8961"/>
              </a:lnSpc>
            </a:pPr>
            <a:r>
              <a:rPr lang="en-US" sz="6401" b="1">
                <a:solidFill>
                  <a:srgbClr val="CC0033"/>
                </a:solidFill>
                <a:latin typeface="+mj-lt"/>
                <a:cs typeface="Arial" panose="020B0604020202020204" pitchFamily="34" charset="0"/>
              </a:rPr>
              <a:t>			– LCA results</a:t>
            </a:r>
          </a:p>
        </p:txBody>
      </p:sp>
      <p:pic>
        <p:nvPicPr>
          <p:cNvPr id="5" name="Picture 4" descr="RETROFEED FERTIBERIA">
            <a:extLst>
              <a:ext uri="{FF2B5EF4-FFF2-40B4-BE49-F238E27FC236}">
                <a16:creationId xmlns:a16="http://schemas.microsoft.com/office/drawing/2014/main" id="{0F5ACEA1-6B23-B9C2-549E-35066CBDEA1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537225" y="856364"/>
            <a:ext cx="2888162" cy="10628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5797910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8294908-8B00-4F58-BBBA-20F71A40AA9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8288000" cy="10287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1" name="Freeform: Shape 10">
            <a:extLst>
              <a:ext uri="{FF2B5EF4-FFF2-40B4-BE49-F238E27FC236}">
                <a16:creationId xmlns:a16="http://schemas.microsoft.com/office/drawing/2014/main" id="{4364C879-1404-4203-8E9D-CC5DE0A621A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124173" y="-2079252"/>
            <a:ext cx="3637310" cy="5416787"/>
          </a:xfrm>
          <a:custGeom>
            <a:avLst/>
            <a:gdLst>
              <a:gd name="connsiteX0" fmla="*/ 0 w 2424873"/>
              <a:gd name="connsiteY0" fmla="*/ 2424874 h 3611191"/>
              <a:gd name="connsiteX1" fmla="*/ 2424873 w 2424873"/>
              <a:gd name="connsiteY1" fmla="*/ 0 h 3611191"/>
              <a:gd name="connsiteX2" fmla="*/ 2424873 w 2424873"/>
              <a:gd name="connsiteY2" fmla="*/ 3611191 h 3611191"/>
              <a:gd name="connsiteX3" fmla="*/ 1186317 w 2424873"/>
              <a:gd name="connsiteY3" fmla="*/ 3611191 h 3611191"/>
            </a:gdLst>
            <a:ahLst/>
            <a:cxnLst>
              <a:cxn ang="0">
                <a:pos x="connsiteX0" y="connsiteY0"/>
              </a:cxn>
              <a:cxn ang="0">
                <a:pos x="connsiteX1" y="connsiteY1"/>
              </a:cxn>
              <a:cxn ang="0">
                <a:pos x="connsiteX2" y="connsiteY2"/>
              </a:cxn>
              <a:cxn ang="0">
                <a:pos x="connsiteX3" y="connsiteY3"/>
              </a:cxn>
            </a:cxnLst>
            <a:rect l="l" t="t" r="r" b="b"/>
            <a:pathLst>
              <a:path w="2424873" h="3611191">
                <a:moveTo>
                  <a:pt x="0" y="2424874"/>
                </a:moveTo>
                <a:lnTo>
                  <a:pt x="2424873" y="0"/>
                </a:lnTo>
                <a:lnTo>
                  <a:pt x="2424873" y="3611191"/>
                </a:lnTo>
                <a:lnTo>
                  <a:pt x="1186317" y="3611191"/>
                </a:lnTo>
                <a:close/>
              </a:path>
            </a:pathLst>
          </a:cu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3" name="Freeform: Shape 12">
            <a:extLst>
              <a:ext uri="{FF2B5EF4-FFF2-40B4-BE49-F238E27FC236}">
                <a16:creationId xmlns:a16="http://schemas.microsoft.com/office/drawing/2014/main" id="{84617302-4B0D-4351-A6BB-6F0930D943A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2356500" y="-507873"/>
            <a:ext cx="2453933" cy="2453933"/>
          </a:xfrm>
          <a:custGeom>
            <a:avLst/>
            <a:gdLst>
              <a:gd name="connsiteX0" fmla="*/ 0 w 1635955"/>
              <a:gd name="connsiteY0" fmla="*/ 957987 h 1635955"/>
              <a:gd name="connsiteX1" fmla="*/ 957987 w 1635955"/>
              <a:gd name="connsiteY1" fmla="*/ 0 h 1635955"/>
              <a:gd name="connsiteX2" fmla="*/ 1635955 w 1635955"/>
              <a:gd name="connsiteY2" fmla="*/ 0 h 1635955"/>
              <a:gd name="connsiteX3" fmla="*/ 1635955 w 1635955"/>
              <a:gd name="connsiteY3" fmla="*/ 1635955 h 1635955"/>
              <a:gd name="connsiteX4" fmla="*/ 0 w 1635955"/>
              <a:gd name="connsiteY4" fmla="*/ 1635955 h 1635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5955" h="1635955">
                <a:moveTo>
                  <a:pt x="0" y="957987"/>
                </a:moveTo>
                <a:lnTo>
                  <a:pt x="957987" y="0"/>
                </a:lnTo>
                <a:lnTo>
                  <a:pt x="1635955" y="0"/>
                </a:lnTo>
                <a:lnTo>
                  <a:pt x="1635955" y="1635955"/>
                </a:lnTo>
                <a:lnTo>
                  <a:pt x="0" y="1635955"/>
                </a:lnTo>
                <a:close/>
              </a:path>
            </a:pathLst>
          </a:cu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5" name="Freeform: Shape 14">
            <a:extLst>
              <a:ext uri="{FF2B5EF4-FFF2-40B4-BE49-F238E27FC236}">
                <a16:creationId xmlns:a16="http://schemas.microsoft.com/office/drawing/2014/main" id="{DA2C7802-C2E0-4218-8F89-8DD7CCD2CD1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14441978" y="-9882"/>
            <a:ext cx="6089090" cy="3822165"/>
          </a:xfrm>
          <a:custGeom>
            <a:avLst/>
            <a:gdLst>
              <a:gd name="connsiteX0" fmla="*/ 0 w 4059393"/>
              <a:gd name="connsiteY0" fmla="*/ 1511282 h 2548110"/>
              <a:gd name="connsiteX1" fmla="*/ 1511282 w 4059393"/>
              <a:gd name="connsiteY1" fmla="*/ 0 h 2548110"/>
              <a:gd name="connsiteX2" fmla="*/ 4059393 w 4059393"/>
              <a:gd name="connsiteY2" fmla="*/ 2548110 h 2548110"/>
              <a:gd name="connsiteX3" fmla="*/ 0 w 4059393"/>
              <a:gd name="connsiteY3" fmla="*/ 2548110 h 2548110"/>
            </a:gdLst>
            <a:ahLst/>
            <a:cxnLst>
              <a:cxn ang="0">
                <a:pos x="connsiteX0" y="connsiteY0"/>
              </a:cxn>
              <a:cxn ang="0">
                <a:pos x="connsiteX1" y="connsiteY1"/>
              </a:cxn>
              <a:cxn ang="0">
                <a:pos x="connsiteX2" y="connsiteY2"/>
              </a:cxn>
              <a:cxn ang="0">
                <a:pos x="connsiteX3" y="connsiteY3"/>
              </a:cxn>
            </a:cxnLst>
            <a:rect l="l" t="t" r="r" b="b"/>
            <a:pathLst>
              <a:path w="4059393" h="2548110">
                <a:moveTo>
                  <a:pt x="0" y="1511282"/>
                </a:moveTo>
                <a:lnTo>
                  <a:pt x="1511282" y="0"/>
                </a:lnTo>
                <a:lnTo>
                  <a:pt x="4059393" y="2548110"/>
                </a:lnTo>
                <a:lnTo>
                  <a:pt x="0" y="2548110"/>
                </a:lnTo>
                <a:close/>
              </a:path>
            </a:pathLst>
          </a:cu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7" name="Rectangle 16">
            <a:extLst>
              <a:ext uri="{FF2B5EF4-FFF2-40B4-BE49-F238E27FC236}">
                <a16:creationId xmlns:a16="http://schemas.microsoft.com/office/drawing/2014/main" id="{A6D7111A-21E5-4EE9-8A78-10E5530F011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15394386" y="2198670"/>
            <a:ext cx="1778562" cy="1778562"/>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9" name="Freeform: Shape 18">
            <a:extLst>
              <a:ext uri="{FF2B5EF4-FFF2-40B4-BE49-F238E27FC236}">
                <a16:creationId xmlns:a16="http://schemas.microsoft.com/office/drawing/2014/main" id="{A3969E80-A77B-49FC-9122-D89AFD5EE11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44336" y="7798115"/>
            <a:ext cx="3667361" cy="3549174"/>
          </a:xfrm>
          <a:custGeom>
            <a:avLst/>
            <a:gdLst>
              <a:gd name="connsiteX0" fmla="*/ 0 w 2203753"/>
              <a:gd name="connsiteY0" fmla="*/ 0 h 2132734"/>
              <a:gd name="connsiteX1" fmla="*/ 2203753 w 2203753"/>
              <a:gd name="connsiteY1" fmla="*/ 0 h 2132734"/>
              <a:gd name="connsiteX2" fmla="*/ 2203753 w 2203753"/>
              <a:gd name="connsiteY2" fmla="*/ 576461 h 2132734"/>
              <a:gd name="connsiteX3" fmla="*/ 647480 w 2203753"/>
              <a:gd name="connsiteY3" fmla="*/ 2132734 h 2132734"/>
              <a:gd name="connsiteX4" fmla="*/ 0 w 2203753"/>
              <a:gd name="connsiteY4" fmla="*/ 1485255 h 2132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3753" h="2132734">
                <a:moveTo>
                  <a:pt x="0" y="0"/>
                </a:moveTo>
                <a:lnTo>
                  <a:pt x="2203753" y="0"/>
                </a:lnTo>
                <a:lnTo>
                  <a:pt x="2203753" y="576461"/>
                </a:lnTo>
                <a:lnTo>
                  <a:pt x="647480" y="2132734"/>
                </a:lnTo>
                <a:lnTo>
                  <a:pt x="0" y="1485255"/>
                </a:lnTo>
                <a:close/>
              </a:path>
            </a:pathLst>
          </a:cu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1" name="Rectangle 20">
            <a:extLst>
              <a:ext uri="{FF2B5EF4-FFF2-40B4-BE49-F238E27FC236}">
                <a16:creationId xmlns:a16="http://schemas.microsoft.com/office/drawing/2014/main" id="{1849CA57-76BD-4CF2-80BA-D7A46A01B7B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2654681" y="8159840"/>
            <a:ext cx="1392701" cy="1392701"/>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Arial"/>
              <a:ea typeface="+mn-ea"/>
              <a:cs typeface="+mn-cs"/>
            </a:endParaRPr>
          </a:p>
        </p:txBody>
      </p:sp>
      <p:sp>
        <p:nvSpPr>
          <p:cNvPr id="23" name="Freeform: Shape 22">
            <a:extLst>
              <a:ext uri="{FF2B5EF4-FFF2-40B4-BE49-F238E27FC236}">
                <a16:creationId xmlns:a16="http://schemas.microsoft.com/office/drawing/2014/main" id="{35E9085E-E730-4768-83D4-6CB7E989715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5101967" y="1101467"/>
            <a:ext cx="8084069" cy="8084069"/>
          </a:xfrm>
          <a:custGeom>
            <a:avLst/>
            <a:gdLst>
              <a:gd name="connsiteX0" fmla="*/ 0 w 5389379"/>
              <a:gd name="connsiteY0" fmla="*/ 540040 h 5389379"/>
              <a:gd name="connsiteX1" fmla="*/ 540040 w 5389379"/>
              <a:gd name="connsiteY1" fmla="*/ 0 h 5389379"/>
              <a:gd name="connsiteX2" fmla="*/ 5389379 w 5389379"/>
              <a:gd name="connsiteY2" fmla="*/ 0 h 5389379"/>
              <a:gd name="connsiteX3" fmla="*/ 5389379 w 5389379"/>
              <a:gd name="connsiteY3" fmla="*/ 4838655 h 5389379"/>
              <a:gd name="connsiteX4" fmla="*/ 4838655 w 5389379"/>
              <a:gd name="connsiteY4" fmla="*/ 5389379 h 5389379"/>
              <a:gd name="connsiteX5" fmla="*/ 0 w 5389379"/>
              <a:gd name="connsiteY5" fmla="*/ 5389379 h 538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89379" h="5389379">
                <a:moveTo>
                  <a:pt x="0" y="540040"/>
                </a:moveTo>
                <a:lnTo>
                  <a:pt x="540040" y="0"/>
                </a:lnTo>
                <a:lnTo>
                  <a:pt x="5389379" y="0"/>
                </a:lnTo>
                <a:lnTo>
                  <a:pt x="5389379" y="4838655"/>
                </a:lnTo>
                <a:lnTo>
                  <a:pt x="4838655" y="5389379"/>
                </a:lnTo>
                <a:lnTo>
                  <a:pt x="0" y="5389379"/>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5" name="Freeform: Shape 24">
            <a:extLst>
              <a:ext uri="{FF2B5EF4-FFF2-40B4-BE49-F238E27FC236}">
                <a16:creationId xmlns:a16="http://schemas.microsoft.com/office/drawing/2014/main" id="{973272FE-A474-4CAE-8CA2-BCC8B476C3F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4050425" y="49925"/>
            <a:ext cx="10187153" cy="10187153"/>
          </a:xfrm>
          <a:custGeom>
            <a:avLst/>
            <a:gdLst>
              <a:gd name="connsiteX0" fmla="*/ 1860938 w 6791435"/>
              <a:gd name="connsiteY0" fmla="*/ 81158 h 6791435"/>
              <a:gd name="connsiteX1" fmla="*/ 1942096 w 6791435"/>
              <a:gd name="connsiteY1" fmla="*/ 0 h 6791435"/>
              <a:gd name="connsiteX2" fmla="*/ 6791435 w 6791435"/>
              <a:gd name="connsiteY2" fmla="*/ 0 h 6791435"/>
              <a:gd name="connsiteX3" fmla="*/ 6791435 w 6791435"/>
              <a:gd name="connsiteY3" fmla="*/ 4838655 h 6791435"/>
              <a:gd name="connsiteX4" fmla="*/ 6710277 w 6791435"/>
              <a:gd name="connsiteY4" fmla="*/ 4919813 h 6791435"/>
              <a:gd name="connsiteX5" fmla="*/ 6710277 w 6791435"/>
              <a:gd name="connsiteY5" fmla="*/ 81158 h 6791435"/>
              <a:gd name="connsiteX6" fmla="*/ 0 w 6791435"/>
              <a:gd name="connsiteY6" fmla="*/ 1942096 h 6791435"/>
              <a:gd name="connsiteX7" fmla="*/ 81158 w 6791435"/>
              <a:gd name="connsiteY7" fmla="*/ 1860938 h 6791435"/>
              <a:gd name="connsiteX8" fmla="*/ 81158 w 6791435"/>
              <a:gd name="connsiteY8" fmla="*/ 6710277 h 6791435"/>
              <a:gd name="connsiteX9" fmla="*/ 4919813 w 6791435"/>
              <a:gd name="connsiteY9" fmla="*/ 6710277 h 6791435"/>
              <a:gd name="connsiteX10" fmla="*/ 4838655 w 6791435"/>
              <a:gd name="connsiteY10" fmla="*/ 6791435 h 6791435"/>
              <a:gd name="connsiteX11" fmla="*/ 0 w 6791435"/>
              <a:gd name="connsiteY11" fmla="*/ 6791435 h 6791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791435" h="6791435">
                <a:moveTo>
                  <a:pt x="1860938" y="81158"/>
                </a:moveTo>
                <a:lnTo>
                  <a:pt x="1942096" y="0"/>
                </a:lnTo>
                <a:lnTo>
                  <a:pt x="6791435" y="0"/>
                </a:lnTo>
                <a:lnTo>
                  <a:pt x="6791435" y="4838655"/>
                </a:lnTo>
                <a:lnTo>
                  <a:pt x="6710277" y="4919813"/>
                </a:lnTo>
                <a:lnTo>
                  <a:pt x="6710277" y="81158"/>
                </a:lnTo>
                <a:close/>
                <a:moveTo>
                  <a:pt x="0" y="1942096"/>
                </a:moveTo>
                <a:lnTo>
                  <a:pt x="81158" y="1860938"/>
                </a:lnTo>
                <a:lnTo>
                  <a:pt x="81158" y="6710277"/>
                </a:lnTo>
                <a:lnTo>
                  <a:pt x="4919813" y="6710277"/>
                </a:lnTo>
                <a:lnTo>
                  <a:pt x="4838655" y="6791435"/>
                </a:lnTo>
                <a:lnTo>
                  <a:pt x="0" y="6791435"/>
                </a:lnTo>
                <a:close/>
              </a:path>
            </a:pathLst>
          </a:cu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Arial"/>
              <a:ea typeface="+mn-ea"/>
              <a:cs typeface="+mn-cs"/>
            </a:endParaRPr>
          </a:p>
        </p:txBody>
      </p:sp>
      <p:sp>
        <p:nvSpPr>
          <p:cNvPr id="4" name="Title 3">
            <a:extLst>
              <a:ext uri="{FF2B5EF4-FFF2-40B4-BE49-F238E27FC236}">
                <a16:creationId xmlns:a16="http://schemas.microsoft.com/office/drawing/2014/main" id="{B009CD84-DA40-4CAA-8A89-DD6DAA862368}"/>
              </a:ext>
            </a:extLst>
          </p:cNvPr>
          <p:cNvSpPr>
            <a:spLocks noGrp="1"/>
          </p:cNvSpPr>
          <p:nvPr>
            <p:ph type="title"/>
          </p:nvPr>
        </p:nvSpPr>
        <p:spPr>
          <a:xfrm>
            <a:off x="593812" y="2304680"/>
            <a:ext cx="17100376" cy="5423039"/>
          </a:xfrm>
          <a:noFill/>
        </p:spPr>
        <p:txBody>
          <a:bodyPr vert="horz" lIns="91440" tIns="45720" rIns="91440" bIns="45720" rtlCol="0" anchor="ctr">
            <a:normAutofit/>
          </a:bodyPr>
          <a:lstStyle/>
          <a:p>
            <a:pPr indent="457200">
              <a:spcBef>
                <a:spcPts val="600"/>
              </a:spcBef>
              <a:spcAft>
                <a:spcPts val="600"/>
              </a:spcAft>
            </a:pPr>
            <a:r>
              <a:rPr lang="en-GB" sz="1800" noProof="0" dirty="0">
                <a:effectLst/>
                <a:latin typeface="Palatino Linotype" panose="02040502050505030304" pitchFamily="18" charset="0"/>
                <a:ea typeface="Georgia" panose="02040502050405020303" pitchFamily="18" charset="0"/>
                <a:cs typeface="Times New Roman" panose="02020603050405020304" pitchFamily="18" charset="0"/>
              </a:rPr>
              <a:t> </a:t>
            </a:r>
            <a:br>
              <a:rPr lang="en-GB" sz="1800" noProof="0" dirty="0">
                <a:effectLst/>
                <a:latin typeface="Palatino Linotype" panose="02040502050505030304" pitchFamily="18" charset="0"/>
                <a:ea typeface="Georgia" panose="02040502050405020303" pitchFamily="18" charset="0"/>
                <a:cs typeface="Times New Roman" panose="02020603050405020304" pitchFamily="18" charset="0"/>
              </a:rPr>
            </a:br>
            <a:r>
              <a:rPr lang="en-GB" sz="5400" b="1" noProof="0" dirty="0">
                <a:solidFill>
                  <a:srgbClr val="CC0033"/>
                </a:solidFill>
                <a:ea typeface="+mn-ea"/>
                <a:cs typeface="Arial" panose="020B0604020202020204" pitchFamily="34" charset="0"/>
              </a:rPr>
              <a:t>Chapter 2: The RETROFEED Project</a:t>
            </a:r>
            <a:br>
              <a:rPr lang="en-GB" sz="5400" b="1" noProof="0" dirty="0">
                <a:solidFill>
                  <a:srgbClr val="CC0033"/>
                </a:solidFill>
                <a:ea typeface="+mn-ea"/>
                <a:cs typeface="Arial" panose="020B0604020202020204" pitchFamily="34" charset="0"/>
              </a:rPr>
            </a:br>
            <a:r>
              <a:rPr lang="en-GB" sz="5400" b="1" noProof="0" dirty="0">
                <a:solidFill>
                  <a:srgbClr val="CC0033"/>
                </a:solidFill>
                <a:ea typeface="+mn-ea"/>
                <a:cs typeface="Arial" panose="020B0604020202020204" pitchFamily="34" charset="0"/>
              </a:rPr>
              <a:t>- </a:t>
            </a:r>
            <a:r>
              <a:rPr lang="en-GB" sz="4000" b="1" noProof="0" dirty="0">
                <a:solidFill>
                  <a:srgbClr val="CC0033"/>
                </a:solidFill>
                <a:ea typeface="+mn-ea"/>
                <a:cs typeface="Arial" panose="020B0604020202020204" pitchFamily="34" charset="0"/>
              </a:rPr>
              <a:t>Get to know the demo-sites </a:t>
            </a:r>
            <a:endParaRPr lang="en-GB" sz="5400" b="1" noProof="0" dirty="0">
              <a:solidFill>
                <a:srgbClr val="CC0033"/>
              </a:solidFill>
              <a:ea typeface="+mn-ea"/>
              <a:cs typeface="Arial" panose="020B0604020202020204" pitchFamily="34" charset="0"/>
            </a:endParaRPr>
          </a:p>
        </p:txBody>
      </p:sp>
      <p:sp>
        <p:nvSpPr>
          <p:cNvPr id="27" name="Freeform: Shape 26">
            <a:extLst>
              <a:ext uri="{FF2B5EF4-FFF2-40B4-BE49-F238E27FC236}">
                <a16:creationId xmlns:a16="http://schemas.microsoft.com/office/drawing/2014/main" id="{E07981EA-05A6-437C-88D7-B377B92B031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14444735" y="8186387"/>
            <a:ext cx="3347691" cy="3853217"/>
          </a:xfrm>
          <a:custGeom>
            <a:avLst/>
            <a:gdLst>
              <a:gd name="connsiteX0" fmla="*/ 0 w 2940086"/>
              <a:gd name="connsiteY0" fmla="*/ 0 h 3384061"/>
              <a:gd name="connsiteX1" fmla="*/ 2496112 w 2940086"/>
              <a:gd name="connsiteY1" fmla="*/ 0 h 3384061"/>
              <a:gd name="connsiteX2" fmla="*/ 2940086 w 2940086"/>
              <a:gd name="connsiteY2" fmla="*/ 443975 h 3384061"/>
              <a:gd name="connsiteX3" fmla="*/ 0 w 2940086"/>
              <a:gd name="connsiteY3" fmla="*/ 3384061 h 3384061"/>
            </a:gdLst>
            <a:ahLst/>
            <a:cxnLst>
              <a:cxn ang="0">
                <a:pos x="connsiteX0" y="connsiteY0"/>
              </a:cxn>
              <a:cxn ang="0">
                <a:pos x="connsiteX1" y="connsiteY1"/>
              </a:cxn>
              <a:cxn ang="0">
                <a:pos x="connsiteX2" y="connsiteY2"/>
              </a:cxn>
              <a:cxn ang="0">
                <a:pos x="connsiteX3" y="connsiteY3"/>
              </a:cxn>
            </a:cxnLst>
            <a:rect l="l" t="t" r="r" b="b"/>
            <a:pathLst>
              <a:path w="2940086" h="3384061">
                <a:moveTo>
                  <a:pt x="0" y="0"/>
                </a:moveTo>
                <a:lnTo>
                  <a:pt x="2496112" y="0"/>
                </a:lnTo>
                <a:lnTo>
                  <a:pt x="2940086" y="443975"/>
                </a:lnTo>
                <a:lnTo>
                  <a:pt x="0" y="3384061"/>
                </a:lnTo>
                <a:close/>
              </a:path>
            </a:pathLst>
          </a:cu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9" name="Rectangle 28">
            <a:extLst>
              <a:ext uri="{FF2B5EF4-FFF2-40B4-BE49-F238E27FC236}">
                <a16:creationId xmlns:a16="http://schemas.microsoft.com/office/drawing/2014/main" id="{15E3C750-986E-4769-B1AE-49289FBEE75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14580089" y="7865318"/>
            <a:ext cx="1439978" cy="1439978"/>
          </a:xfrm>
          <a:prstGeom prst="rect">
            <a:avLst/>
          </a:pr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2672803325"/>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4"/>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20"/>
                </a:lnSpc>
              </a:pPr>
              <a:r>
                <a:rPr lang="en-US" sz="2801" b="1">
                  <a:solidFill>
                    <a:srgbClr val="FFFFFF"/>
                  </a:solidFill>
                  <a:latin typeface="OCR A Extended" panose="02010509020102010303" pitchFamily="50" charset="0"/>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4"/>
          <a:srcRect/>
          <a:stretch>
            <a:fillRect/>
          </a:stretch>
        </p:blipFill>
        <p:spPr>
          <a:xfrm>
            <a:off x="0" y="8901115"/>
            <a:ext cx="5715000" cy="1385888"/>
          </a:xfrm>
          <a:prstGeom prst="rect">
            <a:avLst/>
          </a:prstGeom>
        </p:spPr>
      </p:pic>
      <p:grpSp>
        <p:nvGrpSpPr>
          <p:cNvPr id="3" name="Gruppo 2">
            <a:extLst>
              <a:ext uri="{FF2B5EF4-FFF2-40B4-BE49-F238E27FC236}">
                <a16:creationId xmlns:a16="http://schemas.microsoft.com/office/drawing/2014/main" id="{D0B44AFC-EABA-48CF-A7A8-348076F88921}"/>
              </a:ext>
            </a:extLst>
          </p:cNvPr>
          <p:cNvGrpSpPr/>
          <p:nvPr/>
        </p:nvGrpSpPr>
        <p:grpSpPr>
          <a:xfrm>
            <a:off x="-12" y="138554"/>
            <a:ext cx="18288002" cy="681138"/>
            <a:chOff x="-12" y="138554"/>
            <a:chExt cx="18288002" cy="681138"/>
          </a:xfrm>
        </p:grpSpPr>
        <p:pic>
          <p:nvPicPr>
            <p:cNvPr id="10" name="Picture 10"/>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5" name="Rettangolo 14">
              <a:extLst>
                <a:ext uri="{FF2B5EF4-FFF2-40B4-BE49-F238E27FC236}">
                  <a16:creationId xmlns:a16="http://schemas.microsoft.com/office/drawing/2014/main" id="{AFFDA913-633F-49C2-9D71-573FB327981F}"/>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a:p>
          </p:txBody>
        </p:sp>
      </p:grpSp>
      <p:sp>
        <p:nvSpPr>
          <p:cNvPr id="5" name="TextBox 13">
            <a:extLst>
              <a:ext uri="{FF2B5EF4-FFF2-40B4-BE49-F238E27FC236}">
                <a16:creationId xmlns:a16="http://schemas.microsoft.com/office/drawing/2014/main" id="{002F3BB2-73D3-4FCB-40DF-26F5932EC657}"/>
              </a:ext>
            </a:extLst>
          </p:cNvPr>
          <p:cNvSpPr txBox="1"/>
          <p:nvPr/>
        </p:nvSpPr>
        <p:spPr>
          <a:xfrm>
            <a:off x="655308" y="986082"/>
            <a:ext cx="16383012" cy="1052468"/>
          </a:xfrm>
          <a:prstGeom prst="rect">
            <a:avLst/>
          </a:prstGeom>
        </p:spPr>
        <p:txBody>
          <a:bodyPr wrap="square" lIns="0" tIns="0" rIns="0" bIns="0" rtlCol="0" anchor="t">
            <a:spAutoFit/>
          </a:bodyPr>
          <a:lstStyle/>
          <a:p>
            <a:pPr algn="ctr">
              <a:lnSpc>
                <a:spcPts val="8961"/>
              </a:lnSpc>
            </a:pPr>
            <a:r>
              <a:rPr lang="en-US" sz="6401" b="1">
                <a:solidFill>
                  <a:srgbClr val="CC0033"/>
                </a:solidFill>
                <a:latin typeface="+mj-lt"/>
                <a:cs typeface="Arial" panose="020B0604020202020204" pitchFamily="34" charset="0"/>
              </a:rPr>
              <a:t>			- Life cycle assessment (LCA)</a:t>
            </a:r>
          </a:p>
        </p:txBody>
      </p:sp>
      <p:pic>
        <p:nvPicPr>
          <p:cNvPr id="6" name="Picture 5" descr="RETROFEED FERTIBERIA">
            <a:extLst>
              <a:ext uri="{FF2B5EF4-FFF2-40B4-BE49-F238E27FC236}">
                <a16:creationId xmlns:a16="http://schemas.microsoft.com/office/drawing/2014/main" id="{B9A3B7FB-0992-0EE9-E808-E82448B6B5B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388656" y="834264"/>
            <a:ext cx="2888162" cy="1062843"/>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FAD43887-A6E8-45C8-F9B2-0DAE80D2AC0D}"/>
              </a:ext>
            </a:extLst>
          </p:cNvPr>
          <p:cNvSpPr txBox="1"/>
          <p:nvPr/>
        </p:nvSpPr>
        <p:spPr>
          <a:xfrm>
            <a:off x="11681343" y="3153021"/>
            <a:ext cx="5891288" cy="6001643"/>
          </a:xfrm>
          <a:prstGeom prst="rect">
            <a:avLst/>
          </a:prstGeom>
          <a:noFill/>
        </p:spPr>
        <p:txBody>
          <a:bodyPr wrap="square" rtlCol="0">
            <a:spAutoFit/>
          </a:bodyPr>
          <a:lstStyle/>
          <a:p>
            <a:pPr marL="285750" indent="-285750">
              <a:buFont typeface="Arial" panose="020B0604020202020204" pitchFamily="34" charset="0"/>
              <a:buChar char="•"/>
            </a:pPr>
            <a:r>
              <a:rPr lang="en-AU" sz="2400" dirty="0"/>
              <a:t>The dashed, blue line represents the changed ammonia usage due to the retrofit action.</a:t>
            </a:r>
          </a:p>
          <a:p>
            <a:endParaRPr lang="en-AU" sz="2400" dirty="0"/>
          </a:p>
          <a:p>
            <a:pPr marL="285750" indent="-285750">
              <a:buFont typeface="Arial" panose="020B0604020202020204" pitchFamily="34" charset="0"/>
              <a:buChar char="•"/>
            </a:pPr>
            <a:r>
              <a:rPr lang="en-AU" sz="2400" dirty="0"/>
              <a:t>The impact due to ammonia will seem higher after retrofit since ammonia is included after retrofit but not before. </a:t>
            </a:r>
          </a:p>
          <a:p>
            <a:endParaRPr lang="en-AU" sz="2400" dirty="0"/>
          </a:p>
          <a:p>
            <a:pPr marL="285750" indent="-285750">
              <a:buFont typeface="Arial" panose="020B0604020202020204" pitchFamily="34" charset="0"/>
              <a:buChar char="•"/>
            </a:pPr>
            <a:r>
              <a:rPr lang="en-AU" sz="2400" dirty="0"/>
              <a:t>Burden of ammonium sulphate is underestimated since it is seen as a by-product of caprolactam production.</a:t>
            </a:r>
          </a:p>
          <a:p>
            <a:endParaRPr lang="en-AU" sz="2400" dirty="0"/>
          </a:p>
          <a:p>
            <a:pPr marL="285750" indent="-285750">
              <a:buFont typeface="Arial" panose="020B0604020202020204" pitchFamily="34" charset="0"/>
              <a:buChar char="•"/>
            </a:pPr>
            <a:r>
              <a:rPr lang="en-AU" sz="2400" dirty="0"/>
              <a:t>To solve the problem the system boundary was expanded and the impact of ammonium sulphate recalculated.</a:t>
            </a:r>
          </a:p>
          <a:p>
            <a:endParaRPr lang="en-AU" sz="2400" dirty="0"/>
          </a:p>
        </p:txBody>
      </p:sp>
      <p:sp>
        <p:nvSpPr>
          <p:cNvPr id="12" name="TextBox 11">
            <a:extLst>
              <a:ext uri="{FF2B5EF4-FFF2-40B4-BE49-F238E27FC236}">
                <a16:creationId xmlns:a16="http://schemas.microsoft.com/office/drawing/2014/main" id="{D4F0DCB8-869A-F475-E5F5-A138578763B8}"/>
              </a:ext>
            </a:extLst>
          </p:cNvPr>
          <p:cNvSpPr txBox="1"/>
          <p:nvPr/>
        </p:nvSpPr>
        <p:spPr>
          <a:xfrm>
            <a:off x="3673255" y="2211841"/>
            <a:ext cx="10941468" cy="400110"/>
          </a:xfrm>
          <a:prstGeom prst="rect">
            <a:avLst/>
          </a:prstGeom>
          <a:solidFill>
            <a:srgbClr val="99CC99"/>
          </a:solidFill>
          <a:ln>
            <a:solidFill>
              <a:srgbClr val="99CC99"/>
            </a:solidFill>
          </a:ln>
        </p:spPr>
        <p:txBody>
          <a:bodyPr wrap="square" rtlCol="0">
            <a:spAutoFit/>
          </a:bodyPr>
          <a:lstStyle/>
          <a:p>
            <a:pPr algn="ctr"/>
            <a:r>
              <a:rPr lang="en-AU" sz="2000" b="1" dirty="0"/>
              <a:t>The importance of system boundaries and allocation of impact when performing an LCA.</a:t>
            </a:r>
          </a:p>
        </p:txBody>
      </p:sp>
      <p:pic>
        <p:nvPicPr>
          <p:cNvPr id="8" name="Picture 7">
            <a:extLst>
              <a:ext uri="{FF2B5EF4-FFF2-40B4-BE49-F238E27FC236}">
                <a16:creationId xmlns:a16="http://schemas.microsoft.com/office/drawing/2014/main" id="{DE545978-B0E6-48D5-C9FD-595B1F32DF3A}"/>
              </a:ext>
            </a:extLst>
          </p:cNvPr>
          <p:cNvPicPr>
            <a:picLocks noChangeAspect="1"/>
          </p:cNvPicPr>
          <p:nvPr/>
        </p:nvPicPr>
        <p:blipFill>
          <a:blip r:embed="rId7"/>
          <a:stretch>
            <a:fillRect/>
          </a:stretch>
        </p:blipFill>
        <p:spPr>
          <a:xfrm>
            <a:off x="754878" y="3300117"/>
            <a:ext cx="10553700" cy="4991100"/>
          </a:xfrm>
          <a:prstGeom prst="rect">
            <a:avLst/>
          </a:prstGeom>
        </p:spPr>
      </p:pic>
    </p:spTree>
    <p:extLst>
      <p:ext uri="{BB962C8B-B14F-4D97-AF65-F5344CB8AC3E}">
        <p14:creationId xmlns:p14="http://schemas.microsoft.com/office/powerpoint/2010/main" val="2961109949"/>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4"/>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20"/>
                </a:lnSpc>
              </a:pPr>
              <a:r>
                <a:rPr lang="en-US" sz="2801" b="1">
                  <a:solidFill>
                    <a:srgbClr val="FFFFFF"/>
                  </a:solidFill>
                  <a:latin typeface="OCR A Extended" panose="02010509020102010303" pitchFamily="50" charset="0"/>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4"/>
          <a:srcRect/>
          <a:stretch>
            <a:fillRect/>
          </a:stretch>
        </p:blipFill>
        <p:spPr>
          <a:xfrm>
            <a:off x="0" y="8901115"/>
            <a:ext cx="5715000" cy="1385888"/>
          </a:xfrm>
          <a:prstGeom prst="rect">
            <a:avLst/>
          </a:prstGeom>
        </p:spPr>
      </p:pic>
      <p:grpSp>
        <p:nvGrpSpPr>
          <p:cNvPr id="3" name="Gruppo 2">
            <a:extLst>
              <a:ext uri="{FF2B5EF4-FFF2-40B4-BE49-F238E27FC236}">
                <a16:creationId xmlns:a16="http://schemas.microsoft.com/office/drawing/2014/main" id="{D0B44AFC-EABA-48CF-A7A8-348076F88921}"/>
              </a:ext>
            </a:extLst>
          </p:cNvPr>
          <p:cNvGrpSpPr/>
          <p:nvPr/>
        </p:nvGrpSpPr>
        <p:grpSpPr>
          <a:xfrm>
            <a:off x="-12" y="138554"/>
            <a:ext cx="18288002" cy="681138"/>
            <a:chOff x="-12" y="138554"/>
            <a:chExt cx="18288002" cy="681138"/>
          </a:xfrm>
        </p:grpSpPr>
        <p:pic>
          <p:nvPicPr>
            <p:cNvPr id="10" name="Picture 10"/>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5" name="Rettangolo 14">
              <a:extLst>
                <a:ext uri="{FF2B5EF4-FFF2-40B4-BE49-F238E27FC236}">
                  <a16:creationId xmlns:a16="http://schemas.microsoft.com/office/drawing/2014/main" id="{AFFDA913-633F-49C2-9D71-573FB327981F}"/>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a:p>
          </p:txBody>
        </p:sp>
      </p:grpSp>
      <p:sp>
        <p:nvSpPr>
          <p:cNvPr id="5" name="TextBox 13">
            <a:extLst>
              <a:ext uri="{FF2B5EF4-FFF2-40B4-BE49-F238E27FC236}">
                <a16:creationId xmlns:a16="http://schemas.microsoft.com/office/drawing/2014/main" id="{002F3BB2-73D3-4FCB-40DF-26F5932EC657}"/>
              </a:ext>
            </a:extLst>
          </p:cNvPr>
          <p:cNvSpPr txBox="1"/>
          <p:nvPr/>
        </p:nvSpPr>
        <p:spPr>
          <a:xfrm>
            <a:off x="655308" y="986082"/>
            <a:ext cx="16383012" cy="1052468"/>
          </a:xfrm>
          <a:prstGeom prst="rect">
            <a:avLst/>
          </a:prstGeom>
        </p:spPr>
        <p:txBody>
          <a:bodyPr wrap="square" lIns="0" tIns="0" rIns="0" bIns="0" rtlCol="0" anchor="t">
            <a:spAutoFit/>
          </a:bodyPr>
          <a:lstStyle/>
          <a:p>
            <a:pPr algn="ctr">
              <a:lnSpc>
                <a:spcPts val="8961"/>
              </a:lnSpc>
            </a:pPr>
            <a:r>
              <a:rPr lang="en-US" sz="6401" b="1">
                <a:solidFill>
                  <a:srgbClr val="CC0033"/>
                </a:solidFill>
                <a:latin typeface="+mj-lt"/>
                <a:cs typeface="Arial" panose="020B0604020202020204" pitchFamily="34" charset="0"/>
              </a:rPr>
              <a:t>			- Life cycle assessment (LCA)</a:t>
            </a:r>
          </a:p>
        </p:txBody>
      </p:sp>
      <p:pic>
        <p:nvPicPr>
          <p:cNvPr id="6" name="Picture 5" descr="RETROFEED FERTIBERIA">
            <a:extLst>
              <a:ext uri="{FF2B5EF4-FFF2-40B4-BE49-F238E27FC236}">
                <a16:creationId xmlns:a16="http://schemas.microsoft.com/office/drawing/2014/main" id="{B9A3B7FB-0992-0EE9-E808-E82448B6B5B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388656" y="834264"/>
            <a:ext cx="2888162" cy="1062843"/>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DAC2539D-664E-7888-4E8A-865E7CECB46E}"/>
              </a:ext>
            </a:extLst>
          </p:cNvPr>
          <p:cNvSpPr txBox="1"/>
          <p:nvPr/>
        </p:nvSpPr>
        <p:spPr>
          <a:xfrm>
            <a:off x="12258690" y="2988258"/>
            <a:ext cx="5591589" cy="6370975"/>
          </a:xfrm>
          <a:prstGeom prst="rect">
            <a:avLst/>
          </a:prstGeom>
          <a:noFill/>
        </p:spPr>
        <p:txBody>
          <a:bodyPr wrap="square" rtlCol="0">
            <a:spAutoFit/>
          </a:bodyPr>
          <a:lstStyle/>
          <a:p>
            <a:pPr marL="285750" indent="-285750">
              <a:buFont typeface="Arial" panose="020B0604020202020204" pitchFamily="34" charset="0"/>
              <a:buChar char="•"/>
            </a:pPr>
            <a:r>
              <a:rPr lang="en-AU" sz="2400" dirty="0"/>
              <a:t>The dashed, blue line represents the changed ammonia usage due to the retrofit action.</a:t>
            </a:r>
          </a:p>
          <a:p>
            <a:endParaRPr lang="en-AU" sz="2400" dirty="0"/>
          </a:p>
          <a:p>
            <a:pPr marL="285750" indent="-285750">
              <a:buFont typeface="Arial" panose="020B0604020202020204" pitchFamily="34" charset="0"/>
              <a:buChar char="•"/>
            </a:pPr>
            <a:r>
              <a:rPr lang="en-AU" sz="2400" dirty="0"/>
              <a:t>The impact from ammonium sulphate before retrofit action was calculated as the impact of producing it from ammonia and sulfuric acid.</a:t>
            </a:r>
          </a:p>
          <a:p>
            <a:pPr marL="285750" indent="-285750">
              <a:buFont typeface="Arial" panose="020B0604020202020204" pitchFamily="34" charset="0"/>
              <a:buChar char="•"/>
            </a:pPr>
            <a:endParaRPr lang="en-AU" sz="2400" dirty="0"/>
          </a:p>
          <a:p>
            <a:pPr marL="285750" indent="-285750">
              <a:buFont typeface="Arial" panose="020B0604020202020204" pitchFamily="34" charset="0"/>
              <a:buChar char="•"/>
            </a:pPr>
            <a:r>
              <a:rPr lang="en-AU" sz="2400" dirty="0"/>
              <a:t>The fictive ammonium sulphate production is marked with a red square.</a:t>
            </a:r>
          </a:p>
          <a:p>
            <a:pPr marL="285750" indent="-285750">
              <a:buFont typeface="Arial" panose="020B0604020202020204" pitchFamily="34" charset="0"/>
              <a:buChar char="•"/>
            </a:pPr>
            <a:endParaRPr lang="en-AU" sz="2400" dirty="0"/>
          </a:p>
          <a:p>
            <a:pPr marL="285750" indent="-285750">
              <a:buFont typeface="Arial" panose="020B0604020202020204" pitchFamily="34" charset="0"/>
              <a:buChar char="•"/>
            </a:pPr>
            <a:r>
              <a:rPr lang="en-AU" sz="2400" dirty="0"/>
              <a:t>In this way, the ammonia is included both before and after the retrofit action.</a:t>
            </a:r>
          </a:p>
          <a:p>
            <a:endParaRPr lang="en-AU" sz="2400" dirty="0"/>
          </a:p>
        </p:txBody>
      </p:sp>
      <p:sp>
        <p:nvSpPr>
          <p:cNvPr id="11" name="TextBox 10">
            <a:extLst>
              <a:ext uri="{FF2B5EF4-FFF2-40B4-BE49-F238E27FC236}">
                <a16:creationId xmlns:a16="http://schemas.microsoft.com/office/drawing/2014/main" id="{7503784D-9F6B-6FEF-44C9-9CDE53B12F4B}"/>
              </a:ext>
            </a:extLst>
          </p:cNvPr>
          <p:cNvSpPr txBox="1"/>
          <p:nvPr/>
        </p:nvSpPr>
        <p:spPr>
          <a:xfrm>
            <a:off x="3673255" y="2211841"/>
            <a:ext cx="10941468" cy="400110"/>
          </a:xfrm>
          <a:prstGeom prst="rect">
            <a:avLst/>
          </a:prstGeom>
          <a:solidFill>
            <a:srgbClr val="99CC99"/>
          </a:solidFill>
          <a:ln>
            <a:solidFill>
              <a:srgbClr val="99CC99"/>
            </a:solidFill>
          </a:ln>
        </p:spPr>
        <p:txBody>
          <a:bodyPr wrap="square" rtlCol="0">
            <a:spAutoFit/>
          </a:bodyPr>
          <a:lstStyle/>
          <a:p>
            <a:pPr algn="ctr"/>
            <a:r>
              <a:rPr lang="en-AU" sz="2000" b="1" dirty="0"/>
              <a:t>The importance of system boundaries and allocation of impact when performing an LCA.</a:t>
            </a:r>
          </a:p>
        </p:txBody>
      </p:sp>
      <p:pic>
        <p:nvPicPr>
          <p:cNvPr id="4" name="Picture 3">
            <a:extLst>
              <a:ext uri="{FF2B5EF4-FFF2-40B4-BE49-F238E27FC236}">
                <a16:creationId xmlns:a16="http://schemas.microsoft.com/office/drawing/2014/main" id="{0839C4BD-471E-8738-538E-A4B8FAC41E1C}"/>
              </a:ext>
            </a:extLst>
          </p:cNvPr>
          <p:cNvPicPr>
            <a:picLocks noChangeAspect="1"/>
          </p:cNvPicPr>
          <p:nvPr/>
        </p:nvPicPr>
        <p:blipFill>
          <a:blip r:embed="rId7"/>
          <a:stretch>
            <a:fillRect/>
          </a:stretch>
        </p:blipFill>
        <p:spPr>
          <a:xfrm>
            <a:off x="276261" y="3406570"/>
            <a:ext cx="11655879" cy="4711951"/>
          </a:xfrm>
          <a:prstGeom prst="rect">
            <a:avLst/>
          </a:prstGeom>
        </p:spPr>
      </p:pic>
    </p:spTree>
    <p:extLst>
      <p:ext uri="{BB962C8B-B14F-4D97-AF65-F5344CB8AC3E}">
        <p14:creationId xmlns:p14="http://schemas.microsoft.com/office/powerpoint/2010/main" val="3597525613"/>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4"/>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20"/>
                </a:lnSpc>
              </a:pPr>
              <a:r>
                <a:rPr lang="en-US" sz="2801" b="1">
                  <a:solidFill>
                    <a:srgbClr val="FFFFFF"/>
                  </a:solidFill>
                  <a:latin typeface="OCR A Extended" panose="02010509020102010303" pitchFamily="50" charset="0"/>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4"/>
          <a:srcRect/>
          <a:stretch>
            <a:fillRect/>
          </a:stretch>
        </p:blipFill>
        <p:spPr>
          <a:xfrm>
            <a:off x="0" y="8901115"/>
            <a:ext cx="5715000" cy="1385888"/>
          </a:xfrm>
          <a:prstGeom prst="rect">
            <a:avLst/>
          </a:prstGeom>
        </p:spPr>
      </p:pic>
      <p:grpSp>
        <p:nvGrpSpPr>
          <p:cNvPr id="3" name="Gruppo 2">
            <a:extLst>
              <a:ext uri="{FF2B5EF4-FFF2-40B4-BE49-F238E27FC236}">
                <a16:creationId xmlns:a16="http://schemas.microsoft.com/office/drawing/2014/main" id="{D0B44AFC-EABA-48CF-A7A8-348076F88921}"/>
              </a:ext>
            </a:extLst>
          </p:cNvPr>
          <p:cNvGrpSpPr/>
          <p:nvPr/>
        </p:nvGrpSpPr>
        <p:grpSpPr>
          <a:xfrm>
            <a:off x="-12" y="138554"/>
            <a:ext cx="18288002" cy="681138"/>
            <a:chOff x="-12" y="138554"/>
            <a:chExt cx="18288002" cy="681138"/>
          </a:xfrm>
        </p:grpSpPr>
        <p:pic>
          <p:nvPicPr>
            <p:cNvPr id="10" name="Picture 10"/>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5" name="Rettangolo 14">
              <a:extLst>
                <a:ext uri="{FF2B5EF4-FFF2-40B4-BE49-F238E27FC236}">
                  <a16:creationId xmlns:a16="http://schemas.microsoft.com/office/drawing/2014/main" id="{AFFDA913-633F-49C2-9D71-573FB327981F}"/>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a:p>
          </p:txBody>
        </p:sp>
      </p:grpSp>
      <p:sp>
        <p:nvSpPr>
          <p:cNvPr id="2" name="TextBox 14">
            <a:extLst>
              <a:ext uri="{FF2B5EF4-FFF2-40B4-BE49-F238E27FC236}">
                <a16:creationId xmlns:a16="http://schemas.microsoft.com/office/drawing/2014/main" id="{5D6BC83B-1507-02D8-8A3F-1D9498C15706}"/>
              </a:ext>
            </a:extLst>
          </p:cNvPr>
          <p:cNvSpPr txBox="1"/>
          <p:nvPr/>
        </p:nvSpPr>
        <p:spPr>
          <a:xfrm>
            <a:off x="1388654" y="2476502"/>
            <a:ext cx="14142699" cy="6816418"/>
          </a:xfrm>
          <a:prstGeom prst="rect">
            <a:avLst/>
          </a:prstGeom>
        </p:spPr>
        <p:txBody>
          <a:bodyPr wrap="square" lIns="0" tIns="0" rIns="0" bIns="0" rtlCol="0" anchor="t">
            <a:spAutoFit/>
          </a:bodyPr>
          <a:lstStyle/>
          <a:p>
            <a:pPr>
              <a:defRPr/>
            </a:pPr>
            <a:r>
              <a:rPr lang="sv-SE" altLang="fr-FR" sz="2801" b="1" dirty="0" err="1">
                <a:solidFill>
                  <a:srgbClr val="CC0033"/>
                </a:solidFill>
                <a:latin typeface="Arial" panose="020B0604020202020204" pitchFamily="34" charset="0"/>
                <a:cs typeface="Arial" panose="020B0604020202020204" pitchFamily="34" charset="0"/>
                <a:sym typeface="+mn-ea"/>
              </a:rPr>
              <a:t>Conclusion</a:t>
            </a:r>
            <a:r>
              <a:rPr lang="sv-SE" altLang="fr-FR" sz="2801" b="1" dirty="0">
                <a:solidFill>
                  <a:srgbClr val="CC0033"/>
                </a:solidFill>
                <a:latin typeface="Arial" panose="020B0604020202020204" pitchFamily="34" charset="0"/>
                <a:cs typeface="Arial" panose="020B0604020202020204" pitchFamily="34" charset="0"/>
                <a:sym typeface="+mn-ea"/>
              </a:rPr>
              <a:t> </a:t>
            </a:r>
            <a:r>
              <a:rPr lang="sv-SE" altLang="fr-FR" sz="2801" b="1" dirty="0" err="1">
                <a:solidFill>
                  <a:srgbClr val="CC0033"/>
                </a:solidFill>
                <a:latin typeface="Arial" panose="020B0604020202020204" pitchFamily="34" charset="0"/>
                <a:cs typeface="Arial" panose="020B0604020202020204" pitchFamily="34" charset="0"/>
                <a:sym typeface="+mn-ea"/>
              </a:rPr>
              <a:t>of</a:t>
            </a:r>
            <a:r>
              <a:rPr lang="sv-SE" altLang="fr-FR" sz="2801" b="1" dirty="0">
                <a:solidFill>
                  <a:srgbClr val="CC0033"/>
                </a:solidFill>
                <a:latin typeface="Arial" panose="020B0604020202020204" pitchFamily="34" charset="0"/>
                <a:cs typeface="Arial" panose="020B0604020202020204" pitchFamily="34" charset="0"/>
                <a:sym typeface="+mn-ea"/>
              </a:rPr>
              <a:t> the LCA-</a:t>
            </a:r>
            <a:r>
              <a:rPr lang="sv-SE" altLang="fr-FR" sz="2801" b="1" dirty="0" err="1">
                <a:solidFill>
                  <a:srgbClr val="CC0033"/>
                </a:solidFill>
                <a:latin typeface="Arial" panose="020B0604020202020204" pitchFamily="34" charset="0"/>
                <a:cs typeface="Arial" panose="020B0604020202020204" pitchFamily="34" charset="0"/>
                <a:sym typeface="+mn-ea"/>
              </a:rPr>
              <a:t>results</a:t>
            </a:r>
            <a:endParaRPr lang="en-US" altLang="fr-FR" sz="2801" b="1" dirty="0">
              <a:solidFill>
                <a:srgbClr val="CC0033"/>
              </a:solidFill>
              <a:latin typeface="Arial"/>
              <a:cs typeface="Arial" panose="020B0604020202020204" pitchFamily="34" charset="0"/>
              <a:sym typeface="+mn-ea"/>
            </a:endParaRPr>
          </a:p>
          <a:p>
            <a:pPr marL="342917" indent="-342917">
              <a:lnSpc>
                <a:spcPct val="150000"/>
              </a:lnSpc>
              <a:buClr>
                <a:schemeClr val="accent1"/>
              </a:buClr>
              <a:buFont typeface="Arial" panose="020B0604020202020204" pitchFamily="34" charset="0"/>
              <a:buChar char="•"/>
              <a:defRPr/>
            </a:pPr>
            <a:r>
              <a:rPr lang="en-US" altLang="fr-FR" sz="2801" dirty="0">
                <a:sym typeface="+mn-ea"/>
              </a:rPr>
              <a:t>The retrofit action resulted in the reduction of steam demand and as a result a reduce need for natural gas and reduced site emissions.</a:t>
            </a:r>
          </a:p>
          <a:p>
            <a:pPr marL="342917" indent="-342917">
              <a:lnSpc>
                <a:spcPct val="150000"/>
              </a:lnSpc>
              <a:buClr>
                <a:schemeClr val="accent1"/>
              </a:buClr>
              <a:buFont typeface="Arial" panose="020B0604020202020204" pitchFamily="34" charset="0"/>
              <a:buChar char="•"/>
              <a:defRPr/>
            </a:pPr>
            <a:r>
              <a:rPr lang="en-US" altLang="fr-FR" sz="2801" dirty="0">
                <a:sym typeface="+mn-ea"/>
              </a:rPr>
              <a:t>It also enabled more diverse raw material intake.</a:t>
            </a:r>
          </a:p>
          <a:p>
            <a:pPr marL="342917" indent="-342917">
              <a:lnSpc>
                <a:spcPct val="150000"/>
              </a:lnSpc>
              <a:buClr>
                <a:schemeClr val="accent1"/>
              </a:buClr>
              <a:buFont typeface="Arial" panose="020B0604020202020204" pitchFamily="34" charset="0"/>
              <a:buChar char="•"/>
              <a:defRPr/>
            </a:pPr>
            <a:r>
              <a:rPr lang="en-US" altLang="fr-FR" sz="2801" dirty="0">
                <a:sym typeface="+mn-ea"/>
              </a:rPr>
              <a:t>Change in raw materials resulted in an increased climate impact. This was mainly due to the increased demand of sulfuric acid.</a:t>
            </a:r>
          </a:p>
          <a:p>
            <a:pPr marL="342917" indent="-342917">
              <a:lnSpc>
                <a:spcPct val="150000"/>
              </a:lnSpc>
              <a:buClr>
                <a:schemeClr val="accent1"/>
              </a:buClr>
              <a:buFont typeface="Arial" panose="020B0604020202020204" pitchFamily="34" charset="0"/>
              <a:buChar char="•"/>
              <a:defRPr/>
            </a:pPr>
            <a:r>
              <a:rPr lang="en-US" altLang="fr-FR" sz="2801" dirty="0">
                <a:sym typeface="+mn-ea"/>
              </a:rPr>
              <a:t>5 out of 8(7)* impact categories saw a reduction due to the retrofit actions. This shows the importance of investigating several impact categories when performing an LCA.</a:t>
            </a:r>
          </a:p>
          <a:p>
            <a:pPr marL="342917" indent="-342917">
              <a:lnSpc>
                <a:spcPct val="150000"/>
              </a:lnSpc>
              <a:buClr>
                <a:schemeClr val="accent1"/>
              </a:buClr>
              <a:buFont typeface="Arial" panose="020B0604020202020204" pitchFamily="34" charset="0"/>
              <a:buChar char="•"/>
              <a:defRPr/>
            </a:pPr>
            <a:endParaRPr lang="en-US" altLang="fr-FR" sz="2801" dirty="0">
              <a:sym typeface="+mn-ea"/>
            </a:endParaRPr>
          </a:p>
          <a:p>
            <a:pPr>
              <a:lnSpc>
                <a:spcPct val="150000"/>
              </a:lnSpc>
              <a:buClr>
                <a:schemeClr val="accent1"/>
              </a:buClr>
              <a:defRPr/>
            </a:pPr>
            <a:r>
              <a:rPr lang="en-US" altLang="fr-FR" sz="2801" dirty="0">
                <a:sym typeface="+mn-ea"/>
              </a:rPr>
              <a:t>*</a:t>
            </a:r>
            <a:r>
              <a:rPr lang="sv-SE" dirty="0" err="1"/>
              <a:t>Two</a:t>
            </a:r>
            <a:r>
              <a:rPr lang="sv-SE" dirty="0"/>
              <a:t> </a:t>
            </a:r>
            <a:r>
              <a:rPr lang="sv-SE" dirty="0" err="1"/>
              <a:t>of</a:t>
            </a:r>
            <a:r>
              <a:rPr lang="sv-SE" dirty="0"/>
              <a:t> the </a:t>
            </a:r>
            <a:r>
              <a:rPr lang="sv-SE" dirty="0" err="1"/>
              <a:t>impact</a:t>
            </a:r>
            <a:r>
              <a:rPr lang="sv-SE" dirty="0"/>
              <a:t> </a:t>
            </a:r>
            <a:r>
              <a:rPr lang="sv-SE" dirty="0" err="1"/>
              <a:t>categories</a:t>
            </a:r>
            <a:r>
              <a:rPr lang="sv-SE" dirty="0"/>
              <a:t> (PENRT and PENRE) </a:t>
            </a:r>
            <a:r>
              <a:rPr lang="sv-SE" dirty="0" err="1"/>
              <a:t>showed</a:t>
            </a:r>
            <a:r>
              <a:rPr lang="sv-SE" dirty="0"/>
              <a:t> the same </a:t>
            </a:r>
            <a:r>
              <a:rPr lang="sv-SE" dirty="0" err="1"/>
              <a:t>impact</a:t>
            </a:r>
            <a:r>
              <a:rPr lang="sv-SE" dirty="0"/>
              <a:t>, </a:t>
            </a:r>
            <a:r>
              <a:rPr lang="sv-SE" dirty="0" err="1"/>
              <a:t>meaning</a:t>
            </a:r>
            <a:r>
              <a:rPr lang="sv-SE" dirty="0"/>
              <a:t> </a:t>
            </a:r>
            <a:r>
              <a:rPr lang="sv-SE" dirty="0" err="1"/>
              <a:t>that</a:t>
            </a:r>
            <a:r>
              <a:rPr lang="sv-SE" dirty="0"/>
              <a:t> 5/7 </a:t>
            </a:r>
            <a:r>
              <a:rPr lang="sv-SE" dirty="0" err="1"/>
              <a:t>impact</a:t>
            </a:r>
            <a:r>
              <a:rPr lang="sv-SE" dirty="0"/>
              <a:t> </a:t>
            </a:r>
            <a:r>
              <a:rPr lang="sv-SE" dirty="0" err="1"/>
              <a:t>categories</a:t>
            </a:r>
            <a:r>
              <a:rPr lang="sv-SE" dirty="0"/>
              <a:t> </a:t>
            </a:r>
            <a:r>
              <a:rPr lang="sv-SE" dirty="0" err="1"/>
              <a:t>saw</a:t>
            </a:r>
            <a:r>
              <a:rPr lang="sv-SE" dirty="0"/>
              <a:t> a </a:t>
            </a:r>
            <a:r>
              <a:rPr lang="sv-SE" dirty="0" err="1"/>
              <a:t>reduction</a:t>
            </a:r>
            <a:r>
              <a:rPr lang="sv-SE" dirty="0"/>
              <a:t>.</a:t>
            </a:r>
          </a:p>
          <a:p>
            <a:pPr marL="342917" indent="-342917">
              <a:lnSpc>
                <a:spcPct val="150000"/>
              </a:lnSpc>
              <a:buClr>
                <a:schemeClr val="accent1"/>
              </a:buClr>
              <a:buFont typeface="Arial" panose="020B0604020202020204" pitchFamily="34" charset="0"/>
              <a:buChar char="•"/>
              <a:defRPr/>
            </a:pPr>
            <a:endParaRPr lang="en-US" altLang="fr-FR" sz="2801" dirty="0">
              <a:sym typeface="+mn-ea"/>
            </a:endParaRPr>
          </a:p>
        </p:txBody>
      </p:sp>
      <p:sp>
        <p:nvSpPr>
          <p:cNvPr id="4" name="TextBox 3">
            <a:extLst>
              <a:ext uri="{FF2B5EF4-FFF2-40B4-BE49-F238E27FC236}">
                <a16:creationId xmlns:a16="http://schemas.microsoft.com/office/drawing/2014/main" id="{4AA85F92-3038-FA9F-E938-D74DD0459539}"/>
              </a:ext>
            </a:extLst>
          </p:cNvPr>
          <p:cNvSpPr txBox="1"/>
          <p:nvPr/>
        </p:nvSpPr>
        <p:spPr>
          <a:xfrm>
            <a:off x="228600" y="257981"/>
            <a:ext cx="9296400" cy="456856"/>
          </a:xfrm>
          <a:prstGeom prst="rect">
            <a:avLst/>
          </a:prstGeom>
        </p:spPr>
        <p:txBody>
          <a:bodyPr wrap="square" lIns="0" tIns="0" rIns="0" bIns="0" rtlCol="0" anchor="t">
            <a:spAutoFit/>
          </a:bodyPr>
          <a:lstStyle/>
          <a:p>
            <a:pPr>
              <a:lnSpc>
                <a:spcPts val="3920"/>
              </a:lnSpc>
            </a:pPr>
            <a:r>
              <a:rPr lang="en-US" sz="2801" b="1">
                <a:solidFill>
                  <a:srgbClr val="FFFFFF"/>
                </a:solidFill>
                <a:latin typeface="Arial" panose="020B0604020202020204" pitchFamily="34" charset="0"/>
                <a:cs typeface="Arial" panose="020B0604020202020204" pitchFamily="34" charset="0"/>
              </a:rPr>
              <a:t>Module 3</a:t>
            </a:r>
          </a:p>
        </p:txBody>
      </p:sp>
      <p:sp>
        <p:nvSpPr>
          <p:cNvPr id="5" name="TextBox 13">
            <a:extLst>
              <a:ext uri="{FF2B5EF4-FFF2-40B4-BE49-F238E27FC236}">
                <a16:creationId xmlns:a16="http://schemas.microsoft.com/office/drawing/2014/main" id="{002F3BB2-73D3-4FCB-40DF-26F5932EC657}"/>
              </a:ext>
            </a:extLst>
          </p:cNvPr>
          <p:cNvSpPr txBox="1"/>
          <p:nvPr/>
        </p:nvSpPr>
        <p:spPr>
          <a:xfrm>
            <a:off x="655308" y="986082"/>
            <a:ext cx="16383012" cy="1052468"/>
          </a:xfrm>
          <a:prstGeom prst="rect">
            <a:avLst/>
          </a:prstGeom>
        </p:spPr>
        <p:txBody>
          <a:bodyPr wrap="square" lIns="0" tIns="0" rIns="0" bIns="0" rtlCol="0" anchor="t">
            <a:spAutoFit/>
          </a:bodyPr>
          <a:lstStyle/>
          <a:p>
            <a:pPr algn="ctr">
              <a:lnSpc>
                <a:spcPts val="8961"/>
              </a:lnSpc>
            </a:pPr>
            <a:r>
              <a:rPr lang="en-US" sz="6401" b="1">
                <a:solidFill>
                  <a:srgbClr val="CC0033"/>
                </a:solidFill>
                <a:latin typeface="+mj-lt"/>
                <a:cs typeface="Arial" panose="020B0604020202020204" pitchFamily="34" charset="0"/>
              </a:rPr>
              <a:t>			- Life cycle assessment (LCA)</a:t>
            </a:r>
          </a:p>
        </p:txBody>
      </p:sp>
      <p:pic>
        <p:nvPicPr>
          <p:cNvPr id="6" name="Picture 5" descr="RETROFEED FERTIBERIA">
            <a:extLst>
              <a:ext uri="{FF2B5EF4-FFF2-40B4-BE49-F238E27FC236}">
                <a16:creationId xmlns:a16="http://schemas.microsoft.com/office/drawing/2014/main" id="{B9A3B7FB-0992-0EE9-E808-E82448B6B5B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388656" y="834264"/>
            <a:ext cx="2888162" cy="10628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74165039"/>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5EFCE804-8FF9-58DB-8BC5-5515DD3E2DEC}"/>
              </a:ext>
            </a:extLst>
          </p:cNvPr>
          <p:cNvPicPr>
            <a:picLocks noChangeAspect="1"/>
          </p:cNvPicPr>
          <p:nvPr/>
        </p:nvPicPr>
        <p:blipFill>
          <a:blip r:embed="rId3"/>
          <a:stretch>
            <a:fillRect/>
          </a:stretch>
        </p:blipFill>
        <p:spPr>
          <a:xfrm>
            <a:off x="203681" y="3317753"/>
            <a:ext cx="17636027" cy="4700537"/>
          </a:xfrm>
          <a:prstGeom prst="rect">
            <a:avLst/>
          </a:prstGeom>
        </p:spPr>
      </p:pic>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4"/>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4"/>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20"/>
                </a:lnSpc>
              </a:pPr>
              <a:r>
                <a:rPr lang="en-US" sz="2801" b="1">
                  <a:solidFill>
                    <a:srgbClr val="FFFFFF"/>
                  </a:solidFill>
                  <a:latin typeface="OCR A Extended" panose="02010509020102010303" pitchFamily="50" charset="0"/>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5"/>
          <a:srcRect/>
          <a:stretch>
            <a:fillRect/>
          </a:stretch>
        </p:blipFill>
        <p:spPr>
          <a:xfrm>
            <a:off x="0" y="8901115"/>
            <a:ext cx="5715000" cy="1385888"/>
          </a:xfrm>
          <a:prstGeom prst="rect">
            <a:avLst/>
          </a:prstGeom>
        </p:spPr>
      </p:pic>
      <p:grpSp>
        <p:nvGrpSpPr>
          <p:cNvPr id="3" name="Gruppo 2">
            <a:extLst>
              <a:ext uri="{FF2B5EF4-FFF2-40B4-BE49-F238E27FC236}">
                <a16:creationId xmlns:a16="http://schemas.microsoft.com/office/drawing/2014/main" id="{D0B44AFC-EABA-48CF-A7A8-348076F88921}"/>
              </a:ext>
            </a:extLst>
          </p:cNvPr>
          <p:cNvGrpSpPr/>
          <p:nvPr/>
        </p:nvGrpSpPr>
        <p:grpSpPr>
          <a:xfrm>
            <a:off x="-12" y="138554"/>
            <a:ext cx="18288002" cy="681138"/>
            <a:chOff x="-12" y="138554"/>
            <a:chExt cx="18288002" cy="681138"/>
          </a:xfrm>
        </p:grpSpPr>
        <p:pic>
          <p:nvPicPr>
            <p:cNvPr id="10" name="Picture 10"/>
            <p:cNvPicPr>
              <a:picLocks noChangeAspect="1"/>
            </p:cNvPicPr>
            <p:nvPr/>
          </p:nvPicPr>
          <p:blipFill>
            <a:blip r:embed="rId6"/>
            <a:srcRect l="134" t="91287" b="3943"/>
            <a:stretch>
              <a:fillRect/>
            </a:stretch>
          </p:blipFill>
          <p:spPr>
            <a:xfrm>
              <a:off x="0" y="153125"/>
              <a:ext cx="13958844" cy="666567"/>
            </a:xfrm>
            <a:prstGeom prst="rect">
              <a:avLst/>
            </a:prstGeom>
          </p:spPr>
        </p:pic>
        <p:sp>
          <p:nvSpPr>
            <p:cNvPr id="15" name="Rettangolo 14">
              <a:extLst>
                <a:ext uri="{FF2B5EF4-FFF2-40B4-BE49-F238E27FC236}">
                  <a16:creationId xmlns:a16="http://schemas.microsoft.com/office/drawing/2014/main" id="{AFFDA913-633F-49C2-9D71-573FB327981F}"/>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a:p>
          </p:txBody>
        </p:sp>
      </p:grpSp>
      <p:cxnSp>
        <p:nvCxnSpPr>
          <p:cNvPr id="8" name="Straight Connector 7">
            <a:extLst>
              <a:ext uri="{FF2B5EF4-FFF2-40B4-BE49-F238E27FC236}">
                <a16:creationId xmlns:a16="http://schemas.microsoft.com/office/drawing/2014/main" id="{DF16B0FE-55B8-6EED-8D83-3DB294779B82}"/>
              </a:ext>
            </a:extLst>
          </p:cNvPr>
          <p:cNvCxnSpPr>
            <a:cxnSpLocks/>
          </p:cNvCxnSpPr>
          <p:nvPr/>
        </p:nvCxnSpPr>
        <p:spPr>
          <a:xfrm>
            <a:off x="15649350" y="5156618"/>
            <a:ext cx="1627278"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 name="TextBox 13">
            <a:extLst>
              <a:ext uri="{FF2B5EF4-FFF2-40B4-BE49-F238E27FC236}">
                <a16:creationId xmlns:a16="http://schemas.microsoft.com/office/drawing/2014/main" id="{9B2F060F-570E-2CFE-1416-C07FAB2B262D}"/>
              </a:ext>
            </a:extLst>
          </p:cNvPr>
          <p:cNvSpPr txBox="1"/>
          <p:nvPr/>
        </p:nvSpPr>
        <p:spPr>
          <a:xfrm>
            <a:off x="736589" y="972308"/>
            <a:ext cx="16383012" cy="1052468"/>
          </a:xfrm>
          <a:prstGeom prst="rect">
            <a:avLst/>
          </a:prstGeom>
        </p:spPr>
        <p:txBody>
          <a:bodyPr wrap="square" lIns="0" tIns="0" rIns="0" bIns="0" rtlCol="0" anchor="t">
            <a:spAutoFit/>
          </a:bodyPr>
          <a:lstStyle/>
          <a:p>
            <a:pPr algn="ctr">
              <a:lnSpc>
                <a:spcPts val="8961"/>
              </a:lnSpc>
            </a:pPr>
            <a:r>
              <a:rPr lang="en-US" sz="6401" b="1">
                <a:solidFill>
                  <a:srgbClr val="CC0033"/>
                </a:solidFill>
                <a:latin typeface="+mj-lt"/>
                <a:cs typeface="Arial" panose="020B0604020202020204" pitchFamily="34" charset="0"/>
              </a:rPr>
              <a:t>			– LCC results</a:t>
            </a:r>
          </a:p>
        </p:txBody>
      </p:sp>
      <p:pic>
        <p:nvPicPr>
          <p:cNvPr id="5" name="Picture 4" descr="RETROFEED FERTIBERIA">
            <a:extLst>
              <a:ext uri="{FF2B5EF4-FFF2-40B4-BE49-F238E27FC236}">
                <a16:creationId xmlns:a16="http://schemas.microsoft.com/office/drawing/2014/main" id="{4CC866B7-CBEF-1F42-E52E-53D90422B97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537225" y="856364"/>
            <a:ext cx="2888162" cy="1062843"/>
          </a:xfrm>
          <a:prstGeom prst="rect">
            <a:avLst/>
          </a:prstGeom>
          <a:noFill/>
          <a:extLst>
            <a:ext uri="{909E8E84-426E-40DD-AFC4-6F175D3DCCD1}">
              <a14:hiddenFill xmlns:a14="http://schemas.microsoft.com/office/drawing/2010/main">
                <a:solidFill>
                  <a:srgbClr val="FFFFFF"/>
                </a:solidFill>
              </a14:hiddenFill>
            </a:ext>
          </a:extLst>
        </p:spPr>
      </p:pic>
      <p:cxnSp>
        <p:nvCxnSpPr>
          <p:cNvPr id="25" name="Straight Connector 24">
            <a:extLst>
              <a:ext uri="{FF2B5EF4-FFF2-40B4-BE49-F238E27FC236}">
                <a16:creationId xmlns:a16="http://schemas.microsoft.com/office/drawing/2014/main" id="{9B405136-1D27-4776-1EB7-8CDB29E3D104}"/>
              </a:ext>
            </a:extLst>
          </p:cNvPr>
          <p:cNvCxnSpPr>
            <a:cxnSpLocks/>
          </p:cNvCxnSpPr>
          <p:nvPr/>
        </p:nvCxnSpPr>
        <p:spPr>
          <a:xfrm>
            <a:off x="6931295" y="4837320"/>
            <a:ext cx="1627278"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10524716"/>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4"/>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20"/>
                </a:lnSpc>
              </a:pPr>
              <a:r>
                <a:rPr lang="en-US" sz="2801" b="1">
                  <a:solidFill>
                    <a:srgbClr val="FFFFFF"/>
                  </a:solidFill>
                  <a:latin typeface="OCR A Extended" panose="02010509020102010303" pitchFamily="50" charset="0"/>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4"/>
          <a:srcRect/>
          <a:stretch>
            <a:fillRect/>
          </a:stretch>
        </p:blipFill>
        <p:spPr>
          <a:xfrm>
            <a:off x="0" y="8901115"/>
            <a:ext cx="5715000" cy="1385888"/>
          </a:xfrm>
          <a:prstGeom prst="rect">
            <a:avLst/>
          </a:prstGeom>
        </p:spPr>
      </p:pic>
      <p:grpSp>
        <p:nvGrpSpPr>
          <p:cNvPr id="3" name="Gruppo 2">
            <a:extLst>
              <a:ext uri="{FF2B5EF4-FFF2-40B4-BE49-F238E27FC236}">
                <a16:creationId xmlns:a16="http://schemas.microsoft.com/office/drawing/2014/main" id="{D0B44AFC-EABA-48CF-A7A8-348076F88921}"/>
              </a:ext>
            </a:extLst>
          </p:cNvPr>
          <p:cNvGrpSpPr/>
          <p:nvPr/>
        </p:nvGrpSpPr>
        <p:grpSpPr>
          <a:xfrm>
            <a:off x="-12" y="138554"/>
            <a:ext cx="18288002" cy="681138"/>
            <a:chOff x="-12" y="138554"/>
            <a:chExt cx="18288002" cy="681138"/>
          </a:xfrm>
        </p:grpSpPr>
        <p:pic>
          <p:nvPicPr>
            <p:cNvPr id="10" name="Picture 10"/>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5" name="Rettangolo 14">
              <a:extLst>
                <a:ext uri="{FF2B5EF4-FFF2-40B4-BE49-F238E27FC236}">
                  <a16:creationId xmlns:a16="http://schemas.microsoft.com/office/drawing/2014/main" id="{AFFDA913-633F-49C2-9D71-573FB327981F}"/>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a:p>
          </p:txBody>
        </p:sp>
      </p:grpSp>
      <p:pic>
        <p:nvPicPr>
          <p:cNvPr id="4" name="Picture 3">
            <a:extLst>
              <a:ext uri="{FF2B5EF4-FFF2-40B4-BE49-F238E27FC236}">
                <a16:creationId xmlns:a16="http://schemas.microsoft.com/office/drawing/2014/main" id="{702CF32B-61F6-19FC-E5A3-B4FDA4B91FB5}"/>
              </a:ext>
            </a:extLst>
          </p:cNvPr>
          <p:cNvPicPr>
            <a:picLocks noChangeAspect="1"/>
          </p:cNvPicPr>
          <p:nvPr/>
        </p:nvPicPr>
        <p:blipFill>
          <a:blip r:embed="rId6"/>
          <a:stretch>
            <a:fillRect/>
          </a:stretch>
        </p:blipFill>
        <p:spPr>
          <a:xfrm>
            <a:off x="228601" y="2823481"/>
            <a:ext cx="10487456" cy="5761688"/>
          </a:xfrm>
          <a:prstGeom prst="rect">
            <a:avLst/>
          </a:prstGeom>
        </p:spPr>
      </p:pic>
      <p:cxnSp>
        <p:nvCxnSpPr>
          <p:cNvPr id="7" name="Straight Connector 6">
            <a:extLst>
              <a:ext uri="{FF2B5EF4-FFF2-40B4-BE49-F238E27FC236}">
                <a16:creationId xmlns:a16="http://schemas.microsoft.com/office/drawing/2014/main" id="{292BDD82-6778-680C-66E7-ABD8A6B92F27}"/>
              </a:ext>
            </a:extLst>
          </p:cNvPr>
          <p:cNvCxnSpPr>
            <a:cxnSpLocks/>
          </p:cNvCxnSpPr>
          <p:nvPr/>
        </p:nvCxnSpPr>
        <p:spPr>
          <a:xfrm>
            <a:off x="15163800" y="3238500"/>
            <a:ext cx="12954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C7C7A2F6-9E77-A19C-BDB6-F103350FC0FF}"/>
              </a:ext>
            </a:extLst>
          </p:cNvPr>
          <p:cNvCxnSpPr>
            <a:cxnSpLocks/>
          </p:cNvCxnSpPr>
          <p:nvPr/>
        </p:nvCxnSpPr>
        <p:spPr>
          <a:xfrm>
            <a:off x="15163800" y="6896100"/>
            <a:ext cx="12954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 name="TextBox 13">
            <a:extLst>
              <a:ext uri="{FF2B5EF4-FFF2-40B4-BE49-F238E27FC236}">
                <a16:creationId xmlns:a16="http://schemas.microsoft.com/office/drawing/2014/main" id="{CEC21A73-8D17-DA05-778A-22B5C7325305}"/>
              </a:ext>
            </a:extLst>
          </p:cNvPr>
          <p:cNvSpPr txBox="1"/>
          <p:nvPr/>
        </p:nvSpPr>
        <p:spPr>
          <a:xfrm>
            <a:off x="736589" y="972308"/>
            <a:ext cx="16383012" cy="1052468"/>
          </a:xfrm>
          <a:prstGeom prst="rect">
            <a:avLst/>
          </a:prstGeom>
        </p:spPr>
        <p:txBody>
          <a:bodyPr wrap="square" lIns="0" tIns="0" rIns="0" bIns="0" rtlCol="0" anchor="t">
            <a:spAutoFit/>
          </a:bodyPr>
          <a:lstStyle/>
          <a:p>
            <a:pPr algn="ctr">
              <a:lnSpc>
                <a:spcPts val="8961"/>
              </a:lnSpc>
            </a:pPr>
            <a:r>
              <a:rPr lang="en-US" sz="6401" b="1">
                <a:solidFill>
                  <a:srgbClr val="CC0033"/>
                </a:solidFill>
                <a:latin typeface="+mj-lt"/>
                <a:cs typeface="Arial" panose="020B0604020202020204" pitchFamily="34" charset="0"/>
              </a:rPr>
              <a:t>			– LCC results</a:t>
            </a:r>
          </a:p>
        </p:txBody>
      </p:sp>
      <p:pic>
        <p:nvPicPr>
          <p:cNvPr id="6" name="Picture 5" descr="RETROFEED FERTIBERIA">
            <a:extLst>
              <a:ext uri="{FF2B5EF4-FFF2-40B4-BE49-F238E27FC236}">
                <a16:creationId xmlns:a16="http://schemas.microsoft.com/office/drawing/2014/main" id="{2028C12E-7EF0-E121-2C01-C9A8DE83374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537225" y="856364"/>
            <a:ext cx="2888162" cy="1062843"/>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id="{3325B98C-8920-CA61-D0EC-CB3BA193DF6B}"/>
              </a:ext>
            </a:extLst>
          </p:cNvPr>
          <p:cNvPicPr>
            <a:picLocks noChangeAspect="1"/>
          </p:cNvPicPr>
          <p:nvPr/>
        </p:nvPicPr>
        <p:blipFill>
          <a:blip r:embed="rId8"/>
          <a:stretch>
            <a:fillRect/>
          </a:stretch>
        </p:blipFill>
        <p:spPr>
          <a:xfrm>
            <a:off x="10927592" y="2123690"/>
            <a:ext cx="6607937" cy="7231668"/>
          </a:xfrm>
          <a:prstGeom prst="rect">
            <a:avLst/>
          </a:prstGeom>
        </p:spPr>
      </p:pic>
    </p:spTree>
    <p:extLst>
      <p:ext uri="{BB962C8B-B14F-4D97-AF65-F5344CB8AC3E}">
        <p14:creationId xmlns:p14="http://schemas.microsoft.com/office/powerpoint/2010/main" val="2265472009"/>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a:extLst>
              <a:ext uri="{FF2B5EF4-FFF2-40B4-BE49-F238E27FC236}">
                <a16:creationId xmlns:a16="http://schemas.microsoft.com/office/drawing/2014/main" id="{98799FA6-242B-4FD5-B9E0-83122CE6C004}"/>
              </a:ext>
            </a:extLst>
          </p:cNvPr>
          <p:cNvGrpSpPr/>
          <p:nvPr/>
        </p:nvGrpSpPr>
        <p:grpSpPr>
          <a:xfrm>
            <a:off x="4329156" y="9745610"/>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20"/>
                </a:lnSpc>
              </a:pPr>
              <a:r>
                <a:rPr lang="en-US" sz="2801" b="1">
                  <a:solidFill>
                    <a:srgbClr val="FFFFFF"/>
                  </a:solidFill>
                  <a:latin typeface="OCR A Extended" panose="02010509020102010303" pitchFamily="50" charset="0"/>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4"/>
          <a:srcRect/>
          <a:stretch>
            <a:fillRect/>
          </a:stretch>
        </p:blipFill>
        <p:spPr>
          <a:xfrm>
            <a:off x="0" y="8901115"/>
            <a:ext cx="5715000" cy="1385888"/>
          </a:xfrm>
          <a:prstGeom prst="rect">
            <a:avLst/>
          </a:prstGeom>
        </p:spPr>
      </p:pic>
      <p:grpSp>
        <p:nvGrpSpPr>
          <p:cNvPr id="3" name="Gruppo 2">
            <a:extLst>
              <a:ext uri="{FF2B5EF4-FFF2-40B4-BE49-F238E27FC236}">
                <a16:creationId xmlns:a16="http://schemas.microsoft.com/office/drawing/2014/main" id="{D0B44AFC-EABA-48CF-A7A8-348076F88921}"/>
              </a:ext>
            </a:extLst>
          </p:cNvPr>
          <p:cNvGrpSpPr/>
          <p:nvPr/>
        </p:nvGrpSpPr>
        <p:grpSpPr>
          <a:xfrm>
            <a:off x="-12" y="138554"/>
            <a:ext cx="18288002" cy="681138"/>
            <a:chOff x="-12" y="138554"/>
            <a:chExt cx="18288002" cy="681138"/>
          </a:xfrm>
        </p:grpSpPr>
        <p:pic>
          <p:nvPicPr>
            <p:cNvPr id="10" name="Picture 10"/>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5" name="Rettangolo 14">
              <a:extLst>
                <a:ext uri="{FF2B5EF4-FFF2-40B4-BE49-F238E27FC236}">
                  <a16:creationId xmlns:a16="http://schemas.microsoft.com/office/drawing/2014/main" id="{AFFDA913-633F-49C2-9D71-573FB327981F}"/>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a:p>
          </p:txBody>
        </p:sp>
      </p:grpSp>
      <p:pic>
        <p:nvPicPr>
          <p:cNvPr id="9" name="Picture 8">
            <a:extLst>
              <a:ext uri="{FF2B5EF4-FFF2-40B4-BE49-F238E27FC236}">
                <a16:creationId xmlns:a16="http://schemas.microsoft.com/office/drawing/2014/main" id="{0EF25A99-802E-0A01-9EBF-CD592ED1F1D6}"/>
              </a:ext>
            </a:extLst>
          </p:cNvPr>
          <p:cNvPicPr>
            <a:picLocks noChangeAspect="1"/>
          </p:cNvPicPr>
          <p:nvPr/>
        </p:nvPicPr>
        <p:blipFill>
          <a:blip r:embed="rId6"/>
          <a:stretch>
            <a:fillRect/>
          </a:stretch>
        </p:blipFill>
        <p:spPr>
          <a:xfrm>
            <a:off x="2171700" y="2502930"/>
            <a:ext cx="6505575" cy="3952875"/>
          </a:xfrm>
          <a:prstGeom prst="rect">
            <a:avLst/>
          </a:prstGeom>
        </p:spPr>
      </p:pic>
      <p:cxnSp>
        <p:nvCxnSpPr>
          <p:cNvPr id="7" name="Straight Connector 6">
            <a:extLst>
              <a:ext uri="{FF2B5EF4-FFF2-40B4-BE49-F238E27FC236}">
                <a16:creationId xmlns:a16="http://schemas.microsoft.com/office/drawing/2014/main" id="{C5E4B6E3-B9B5-1BCB-6093-9DD689D70590}"/>
              </a:ext>
            </a:extLst>
          </p:cNvPr>
          <p:cNvCxnSpPr>
            <a:cxnSpLocks/>
          </p:cNvCxnSpPr>
          <p:nvPr/>
        </p:nvCxnSpPr>
        <p:spPr>
          <a:xfrm>
            <a:off x="14630400" y="3619500"/>
            <a:ext cx="12954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869B8A8-003B-F611-B245-F4D07C264C26}"/>
              </a:ext>
            </a:extLst>
          </p:cNvPr>
          <p:cNvCxnSpPr>
            <a:cxnSpLocks/>
          </p:cNvCxnSpPr>
          <p:nvPr/>
        </p:nvCxnSpPr>
        <p:spPr>
          <a:xfrm>
            <a:off x="14630400" y="7277100"/>
            <a:ext cx="12954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 name="TextBox 13">
            <a:extLst>
              <a:ext uri="{FF2B5EF4-FFF2-40B4-BE49-F238E27FC236}">
                <a16:creationId xmlns:a16="http://schemas.microsoft.com/office/drawing/2014/main" id="{D304EF68-3965-4FCB-34CB-9F174862B1CF}"/>
              </a:ext>
            </a:extLst>
          </p:cNvPr>
          <p:cNvSpPr txBox="1"/>
          <p:nvPr/>
        </p:nvSpPr>
        <p:spPr>
          <a:xfrm>
            <a:off x="736589" y="972308"/>
            <a:ext cx="16383012" cy="1052468"/>
          </a:xfrm>
          <a:prstGeom prst="rect">
            <a:avLst/>
          </a:prstGeom>
        </p:spPr>
        <p:txBody>
          <a:bodyPr wrap="square" lIns="0" tIns="0" rIns="0" bIns="0" rtlCol="0" anchor="t">
            <a:spAutoFit/>
          </a:bodyPr>
          <a:lstStyle/>
          <a:p>
            <a:pPr algn="ctr">
              <a:lnSpc>
                <a:spcPts val="8961"/>
              </a:lnSpc>
            </a:pPr>
            <a:r>
              <a:rPr lang="en-US" sz="6401" b="1">
                <a:solidFill>
                  <a:srgbClr val="CC0033"/>
                </a:solidFill>
                <a:latin typeface="+mj-lt"/>
                <a:cs typeface="Arial" panose="020B0604020202020204" pitchFamily="34" charset="0"/>
              </a:rPr>
              <a:t>			– LCC results</a:t>
            </a:r>
          </a:p>
        </p:txBody>
      </p:sp>
      <p:pic>
        <p:nvPicPr>
          <p:cNvPr id="6" name="Picture 5" descr="RETROFEED FERTIBERIA">
            <a:extLst>
              <a:ext uri="{FF2B5EF4-FFF2-40B4-BE49-F238E27FC236}">
                <a16:creationId xmlns:a16="http://schemas.microsoft.com/office/drawing/2014/main" id="{3B423DE3-306E-3481-B66E-F283F3BA10F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537225" y="856364"/>
            <a:ext cx="2888162" cy="1062843"/>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4">
            <a:extLst>
              <a:ext uri="{FF2B5EF4-FFF2-40B4-BE49-F238E27FC236}">
                <a16:creationId xmlns:a16="http://schemas.microsoft.com/office/drawing/2014/main" id="{453B517C-19EB-90B3-6205-95184EB21873}"/>
              </a:ext>
            </a:extLst>
          </p:cNvPr>
          <p:cNvSpPr txBox="1"/>
          <p:nvPr/>
        </p:nvSpPr>
        <p:spPr>
          <a:xfrm>
            <a:off x="1498627" y="6532007"/>
            <a:ext cx="8642900" cy="2413353"/>
          </a:xfrm>
          <a:prstGeom prst="rect">
            <a:avLst/>
          </a:prstGeom>
        </p:spPr>
        <p:txBody>
          <a:bodyPr wrap="square" lIns="0" tIns="0" rIns="0" bIns="0" rtlCol="0" anchor="t">
            <a:spAutoFit/>
          </a:bodyPr>
          <a:lstStyle/>
          <a:p>
            <a:pPr algn="ctr"/>
            <a:r>
              <a:rPr lang="en-US" sz="2400" dirty="0">
                <a:solidFill>
                  <a:srgbClr val="404040"/>
                </a:solidFill>
                <a:ea typeface="Calibri" panose="020F0502020204030204" pitchFamily="34" charset="0"/>
              </a:rPr>
              <a:t>The new reactions between ammonia and sulfuric acid replaces the previous reaction between ammonia and phosphoric acid. The new reaction is more exothermic than the previous reaction. The higher energy yield results in that steam (from natural gas) is no longer needed in the tubular reactor.</a:t>
            </a:r>
            <a:endParaRPr lang="sv-SE" sz="2400" dirty="0"/>
          </a:p>
          <a:p>
            <a:pPr algn="ctr">
              <a:lnSpc>
                <a:spcPct val="150000"/>
              </a:lnSpc>
              <a:buClr>
                <a:schemeClr val="accent1"/>
              </a:buClr>
              <a:defRPr/>
            </a:pPr>
            <a:endParaRPr lang="en-US" sz="2801" dirty="0"/>
          </a:p>
        </p:txBody>
      </p:sp>
      <p:pic>
        <p:nvPicPr>
          <p:cNvPr id="2" name="Picture 1">
            <a:extLst>
              <a:ext uri="{FF2B5EF4-FFF2-40B4-BE49-F238E27FC236}">
                <a16:creationId xmlns:a16="http://schemas.microsoft.com/office/drawing/2014/main" id="{892A2D9D-3365-7D61-F7D1-9A2470FE0E66}"/>
              </a:ext>
            </a:extLst>
          </p:cNvPr>
          <p:cNvPicPr>
            <a:picLocks noChangeAspect="1"/>
          </p:cNvPicPr>
          <p:nvPr/>
        </p:nvPicPr>
        <p:blipFill>
          <a:blip r:embed="rId8"/>
          <a:stretch>
            <a:fillRect/>
          </a:stretch>
        </p:blipFill>
        <p:spPr>
          <a:xfrm>
            <a:off x="10654877" y="2123690"/>
            <a:ext cx="6607937" cy="7231668"/>
          </a:xfrm>
          <a:prstGeom prst="rect">
            <a:avLst/>
          </a:prstGeom>
        </p:spPr>
      </p:pic>
    </p:spTree>
    <p:extLst>
      <p:ext uri="{BB962C8B-B14F-4D97-AF65-F5344CB8AC3E}">
        <p14:creationId xmlns:p14="http://schemas.microsoft.com/office/powerpoint/2010/main" val="3540013061"/>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a:extLst>
              <a:ext uri="{FF2B5EF4-FFF2-40B4-BE49-F238E27FC236}">
                <a16:creationId xmlns:a16="http://schemas.microsoft.com/office/drawing/2014/main" id="{98799FA6-242B-4FD5-B9E0-83122CE6C004}"/>
              </a:ext>
            </a:extLst>
          </p:cNvPr>
          <p:cNvGrpSpPr/>
          <p:nvPr/>
        </p:nvGrpSpPr>
        <p:grpSpPr>
          <a:xfrm>
            <a:off x="4329156" y="9772915"/>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20"/>
                </a:lnSpc>
              </a:pPr>
              <a:r>
                <a:rPr lang="en-US" sz="2801" b="1">
                  <a:solidFill>
                    <a:srgbClr val="FFFFFF"/>
                  </a:solidFill>
                  <a:latin typeface="OCR A Extended" panose="02010509020102010303" pitchFamily="50" charset="0"/>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4"/>
          <a:srcRect/>
          <a:stretch>
            <a:fillRect/>
          </a:stretch>
        </p:blipFill>
        <p:spPr>
          <a:xfrm>
            <a:off x="0" y="8901115"/>
            <a:ext cx="5715000" cy="1385888"/>
          </a:xfrm>
          <a:prstGeom prst="rect">
            <a:avLst/>
          </a:prstGeom>
        </p:spPr>
      </p:pic>
      <p:grpSp>
        <p:nvGrpSpPr>
          <p:cNvPr id="3" name="Gruppo 2">
            <a:extLst>
              <a:ext uri="{FF2B5EF4-FFF2-40B4-BE49-F238E27FC236}">
                <a16:creationId xmlns:a16="http://schemas.microsoft.com/office/drawing/2014/main" id="{D0B44AFC-EABA-48CF-A7A8-348076F88921}"/>
              </a:ext>
            </a:extLst>
          </p:cNvPr>
          <p:cNvGrpSpPr/>
          <p:nvPr/>
        </p:nvGrpSpPr>
        <p:grpSpPr>
          <a:xfrm>
            <a:off x="-12" y="138554"/>
            <a:ext cx="18288002" cy="681138"/>
            <a:chOff x="-12" y="138554"/>
            <a:chExt cx="18288002" cy="681138"/>
          </a:xfrm>
        </p:grpSpPr>
        <p:pic>
          <p:nvPicPr>
            <p:cNvPr id="10" name="Picture 10"/>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5" name="Rettangolo 14">
              <a:extLst>
                <a:ext uri="{FF2B5EF4-FFF2-40B4-BE49-F238E27FC236}">
                  <a16:creationId xmlns:a16="http://schemas.microsoft.com/office/drawing/2014/main" id="{AFFDA913-633F-49C2-9D71-573FB327981F}"/>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a:p>
          </p:txBody>
        </p:sp>
      </p:grpSp>
      <p:sp>
        <p:nvSpPr>
          <p:cNvPr id="4" name="TextBox 13">
            <a:extLst>
              <a:ext uri="{FF2B5EF4-FFF2-40B4-BE49-F238E27FC236}">
                <a16:creationId xmlns:a16="http://schemas.microsoft.com/office/drawing/2014/main" id="{D304EF68-3965-4FCB-34CB-9F174862B1CF}"/>
              </a:ext>
            </a:extLst>
          </p:cNvPr>
          <p:cNvSpPr txBox="1"/>
          <p:nvPr/>
        </p:nvSpPr>
        <p:spPr>
          <a:xfrm>
            <a:off x="736589" y="972308"/>
            <a:ext cx="16383012" cy="1052468"/>
          </a:xfrm>
          <a:prstGeom prst="rect">
            <a:avLst/>
          </a:prstGeom>
        </p:spPr>
        <p:txBody>
          <a:bodyPr wrap="square" lIns="0" tIns="0" rIns="0" bIns="0" rtlCol="0" anchor="t">
            <a:spAutoFit/>
          </a:bodyPr>
          <a:lstStyle/>
          <a:p>
            <a:pPr algn="ctr">
              <a:lnSpc>
                <a:spcPts val="8961"/>
              </a:lnSpc>
            </a:pPr>
            <a:r>
              <a:rPr lang="en-US" sz="6401" b="1">
                <a:solidFill>
                  <a:srgbClr val="CC0033"/>
                </a:solidFill>
                <a:latin typeface="+mj-lt"/>
                <a:cs typeface="Arial" panose="020B0604020202020204" pitchFamily="34" charset="0"/>
              </a:rPr>
              <a:t>			– LCC results</a:t>
            </a:r>
          </a:p>
        </p:txBody>
      </p:sp>
      <p:pic>
        <p:nvPicPr>
          <p:cNvPr id="6" name="Picture 5" descr="RETROFEED FERTIBERIA">
            <a:extLst>
              <a:ext uri="{FF2B5EF4-FFF2-40B4-BE49-F238E27FC236}">
                <a16:creationId xmlns:a16="http://schemas.microsoft.com/office/drawing/2014/main" id="{3B423DE3-306E-3481-B66E-F283F3BA10F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537225" y="856364"/>
            <a:ext cx="2888162" cy="1062843"/>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7F28D263-3F62-8BEF-87BA-724A7E59667E}"/>
              </a:ext>
            </a:extLst>
          </p:cNvPr>
          <p:cNvSpPr txBox="1"/>
          <p:nvPr/>
        </p:nvSpPr>
        <p:spPr>
          <a:xfrm>
            <a:off x="2991842" y="2319408"/>
            <a:ext cx="11872506" cy="830997"/>
          </a:xfrm>
          <a:prstGeom prst="rect">
            <a:avLst/>
          </a:prstGeom>
          <a:solidFill>
            <a:schemeClr val="accent2"/>
          </a:solidFill>
          <a:ln>
            <a:solidFill>
              <a:schemeClr val="accent2"/>
            </a:solidFill>
          </a:ln>
        </p:spPr>
        <p:txBody>
          <a:bodyPr wrap="square" rtlCol="0">
            <a:spAutoFit/>
          </a:bodyPr>
          <a:lstStyle/>
          <a:p>
            <a:pPr algn="ctr"/>
            <a:r>
              <a:rPr lang="en-AU" sz="2400"/>
              <a:t>The graph shows the contribution of each activity and each flow to </a:t>
            </a:r>
            <a:r>
              <a:rPr lang="en-AU" sz="2400" err="1"/>
              <a:t>Fertiberia’s</a:t>
            </a:r>
            <a:r>
              <a:rPr lang="en-AU" sz="2400"/>
              <a:t> demo site before and after the retrofit actions. </a:t>
            </a:r>
          </a:p>
        </p:txBody>
      </p:sp>
      <p:pic>
        <p:nvPicPr>
          <p:cNvPr id="21" name="Picture 20">
            <a:extLst>
              <a:ext uri="{FF2B5EF4-FFF2-40B4-BE49-F238E27FC236}">
                <a16:creationId xmlns:a16="http://schemas.microsoft.com/office/drawing/2014/main" id="{0B150282-A4F7-1AEF-4918-4838F355DA1E}"/>
              </a:ext>
            </a:extLst>
          </p:cNvPr>
          <p:cNvPicPr>
            <a:picLocks noChangeAspect="1"/>
          </p:cNvPicPr>
          <p:nvPr/>
        </p:nvPicPr>
        <p:blipFill>
          <a:blip r:embed="rId7"/>
          <a:stretch>
            <a:fillRect/>
          </a:stretch>
        </p:blipFill>
        <p:spPr>
          <a:xfrm>
            <a:off x="290173" y="3451385"/>
            <a:ext cx="17707653" cy="5118720"/>
          </a:xfrm>
          <a:prstGeom prst="rect">
            <a:avLst/>
          </a:prstGeom>
        </p:spPr>
      </p:pic>
    </p:spTree>
    <p:extLst>
      <p:ext uri="{BB962C8B-B14F-4D97-AF65-F5344CB8AC3E}">
        <p14:creationId xmlns:p14="http://schemas.microsoft.com/office/powerpoint/2010/main" val="61306352"/>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6795E070-A71E-F1B4-320F-E5AD52A54455}"/>
              </a:ext>
            </a:extLst>
          </p:cNvPr>
          <p:cNvPicPr>
            <a:picLocks noChangeAspect="1"/>
          </p:cNvPicPr>
          <p:nvPr/>
        </p:nvPicPr>
        <p:blipFill>
          <a:blip r:embed="rId3"/>
          <a:stretch>
            <a:fillRect/>
          </a:stretch>
        </p:blipFill>
        <p:spPr>
          <a:xfrm>
            <a:off x="3275114" y="2024775"/>
            <a:ext cx="11737751" cy="7038546"/>
          </a:xfrm>
          <a:prstGeom prst="rect">
            <a:avLst/>
          </a:prstGeom>
        </p:spPr>
      </p:pic>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4"/>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4"/>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20"/>
                </a:lnSpc>
              </a:pPr>
              <a:r>
                <a:rPr lang="en-US" sz="2801" b="1">
                  <a:solidFill>
                    <a:srgbClr val="FFFFFF"/>
                  </a:solidFill>
                  <a:latin typeface="OCR A Extended" panose="02010509020102010303" pitchFamily="50" charset="0"/>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5"/>
          <a:srcRect/>
          <a:stretch>
            <a:fillRect/>
          </a:stretch>
        </p:blipFill>
        <p:spPr>
          <a:xfrm>
            <a:off x="0" y="8901115"/>
            <a:ext cx="5715000" cy="1385888"/>
          </a:xfrm>
          <a:prstGeom prst="rect">
            <a:avLst/>
          </a:prstGeom>
        </p:spPr>
      </p:pic>
      <p:grpSp>
        <p:nvGrpSpPr>
          <p:cNvPr id="3" name="Gruppo 2">
            <a:extLst>
              <a:ext uri="{FF2B5EF4-FFF2-40B4-BE49-F238E27FC236}">
                <a16:creationId xmlns:a16="http://schemas.microsoft.com/office/drawing/2014/main" id="{D0B44AFC-EABA-48CF-A7A8-348076F88921}"/>
              </a:ext>
            </a:extLst>
          </p:cNvPr>
          <p:cNvGrpSpPr/>
          <p:nvPr/>
        </p:nvGrpSpPr>
        <p:grpSpPr>
          <a:xfrm>
            <a:off x="-12" y="138554"/>
            <a:ext cx="18288002" cy="681138"/>
            <a:chOff x="-12" y="138554"/>
            <a:chExt cx="18288002" cy="681138"/>
          </a:xfrm>
        </p:grpSpPr>
        <p:pic>
          <p:nvPicPr>
            <p:cNvPr id="10" name="Picture 10"/>
            <p:cNvPicPr>
              <a:picLocks noChangeAspect="1"/>
            </p:cNvPicPr>
            <p:nvPr/>
          </p:nvPicPr>
          <p:blipFill>
            <a:blip r:embed="rId6"/>
            <a:srcRect l="134" t="91287" b="3943"/>
            <a:stretch>
              <a:fillRect/>
            </a:stretch>
          </p:blipFill>
          <p:spPr>
            <a:xfrm>
              <a:off x="0" y="153125"/>
              <a:ext cx="13958844" cy="666567"/>
            </a:xfrm>
            <a:prstGeom prst="rect">
              <a:avLst/>
            </a:prstGeom>
          </p:spPr>
        </p:pic>
        <p:sp>
          <p:nvSpPr>
            <p:cNvPr id="15" name="Rettangolo 14">
              <a:extLst>
                <a:ext uri="{FF2B5EF4-FFF2-40B4-BE49-F238E27FC236}">
                  <a16:creationId xmlns:a16="http://schemas.microsoft.com/office/drawing/2014/main" id="{AFFDA913-633F-49C2-9D71-573FB327981F}"/>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a:p>
          </p:txBody>
        </p:sp>
      </p:grpSp>
      <p:sp>
        <p:nvSpPr>
          <p:cNvPr id="27" name="TextBox 13">
            <a:extLst>
              <a:ext uri="{FF2B5EF4-FFF2-40B4-BE49-F238E27FC236}">
                <a16:creationId xmlns:a16="http://schemas.microsoft.com/office/drawing/2014/main" id="{C7197FAA-9C82-4C25-B208-2BF8170DA3D1}"/>
              </a:ext>
            </a:extLst>
          </p:cNvPr>
          <p:cNvSpPr txBox="1"/>
          <p:nvPr/>
        </p:nvSpPr>
        <p:spPr>
          <a:xfrm>
            <a:off x="736589" y="972308"/>
            <a:ext cx="16383012" cy="1052468"/>
          </a:xfrm>
          <a:prstGeom prst="rect">
            <a:avLst/>
          </a:prstGeom>
        </p:spPr>
        <p:txBody>
          <a:bodyPr wrap="square" lIns="0" tIns="0" rIns="0" bIns="0" rtlCol="0" anchor="t">
            <a:spAutoFit/>
          </a:bodyPr>
          <a:lstStyle/>
          <a:p>
            <a:pPr algn="ctr">
              <a:lnSpc>
                <a:spcPts val="8961"/>
              </a:lnSpc>
            </a:pPr>
            <a:r>
              <a:rPr lang="en-US" sz="6401" b="1">
                <a:solidFill>
                  <a:srgbClr val="CC0033"/>
                </a:solidFill>
                <a:latin typeface="+mj-lt"/>
                <a:cs typeface="Arial" panose="020B0604020202020204" pitchFamily="34" charset="0"/>
              </a:rPr>
              <a:t>			– LCC results</a:t>
            </a:r>
          </a:p>
        </p:txBody>
      </p:sp>
      <p:pic>
        <p:nvPicPr>
          <p:cNvPr id="2" name="Picture 1" descr="RETROFEED FERTIBERIA">
            <a:extLst>
              <a:ext uri="{FF2B5EF4-FFF2-40B4-BE49-F238E27FC236}">
                <a16:creationId xmlns:a16="http://schemas.microsoft.com/office/drawing/2014/main" id="{84F4A470-F8ED-ABBF-9420-342723FEB0B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537225" y="856364"/>
            <a:ext cx="2888162" cy="10628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26999221"/>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4"/>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20"/>
                </a:lnSpc>
              </a:pPr>
              <a:r>
                <a:rPr lang="en-US" sz="2801" b="1">
                  <a:solidFill>
                    <a:srgbClr val="FFFFFF"/>
                  </a:solidFill>
                  <a:latin typeface="OCR A Extended" panose="02010509020102010303" pitchFamily="50" charset="0"/>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4"/>
          <a:srcRect/>
          <a:stretch>
            <a:fillRect/>
          </a:stretch>
        </p:blipFill>
        <p:spPr>
          <a:xfrm>
            <a:off x="0" y="8901115"/>
            <a:ext cx="5715000" cy="1385888"/>
          </a:xfrm>
          <a:prstGeom prst="rect">
            <a:avLst/>
          </a:prstGeom>
        </p:spPr>
      </p:pic>
      <p:grpSp>
        <p:nvGrpSpPr>
          <p:cNvPr id="3" name="Gruppo 2">
            <a:extLst>
              <a:ext uri="{FF2B5EF4-FFF2-40B4-BE49-F238E27FC236}">
                <a16:creationId xmlns:a16="http://schemas.microsoft.com/office/drawing/2014/main" id="{D0B44AFC-EABA-48CF-A7A8-348076F88921}"/>
              </a:ext>
            </a:extLst>
          </p:cNvPr>
          <p:cNvGrpSpPr/>
          <p:nvPr/>
        </p:nvGrpSpPr>
        <p:grpSpPr>
          <a:xfrm>
            <a:off x="-12" y="138554"/>
            <a:ext cx="18288002" cy="681138"/>
            <a:chOff x="-12" y="138554"/>
            <a:chExt cx="18288002" cy="681138"/>
          </a:xfrm>
        </p:grpSpPr>
        <p:pic>
          <p:nvPicPr>
            <p:cNvPr id="10" name="Picture 10"/>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5" name="Rettangolo 14">
              <a:extLst>
                <a:ext uri="{FF2B5EF4-FFF2-40B4-BE49-F238E27FC236}">
                  <a16:creationId xmlns:a16="http://schemas.microsoft.com/office/drawing/2014/main" id="{AFFDA913-633F-49C2-9D71-573FB327981F}"/>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a:p>
          </p:txBody>
        </p:sp>
      </p:grpSp>
      <p:sp>
        <p:nvSpPr>
          <p:cNvPr id="27" name="TextBox 13">
            <a:extLst>
              <a:ext uri="{FF2B5EF4-FFF2-40B4-BE49-F238E27FC236}">
                <a16:creationId xmlns:a16="http://schemas.microsoft.com/office/drawing/2014/main" id="{C7197FAA-9C82-4C25-B208-2BF8170DA3D1}"/>
              </a:ext>
            </a:extLst>
          </p:cNvPr>
          <p:cNvSpPr txBox="1"/>
          <p:nvPr/>
        </p:nvSpPr>
        <p:spPr>
          <a:xfrm>
            <a:off x="655308" y="986082"/>
            <a:ext cx="16383012" cy="1052468"/>
          </a:xfrm>
          <a:prstGeom prst="rect">
            <a:avLst/>
          </a:prstGeom>
        </p:spPr>
        <p:txBody>
          <a:bodyPr wrap="square" lIns="0" tIns="0" rIns="0" bIns="0" rtlCol="0" anchor="t">
            <a:spAutoFit/>
          </a:bodyPr>
          <a:lstStyle/>
          <a:p>
            <a:pPr algn="ctr">
              <a:lnSpc>
                <a:spcPts val="8961"/>
              </a:lnSpc>
            </a:pPr>
            <a:r>
              <a:rPr lang="en-US" sz="6401" b="1">
                <a:solidFill>
                  <a:srgbClr val="CC0033"/>
                </a:solidFill>
                <a:latin typeface="+mj-lt"/>
                <a:cs typeface="Arial" panose="020B0604020202020204" pitchFamily="34" charset="0"/>
              </a:rPr>
              <a:t>			- Life cycle costing (LCC)</a:t>
            </a:r>
          </a:p>
        </p:txBody>
      </p:sp>
      <p:sp>
        <p:nvSpPr>
          <p:cNvPr id="2" name="TextBox 14">
            <a:extLst>
              <a:ext uri="{FF2B5EF4-FFF2-40B4-BE49-F238E27FC236}">
                <a16:creationId xmlns:a16="http://schemas.microsoft.com/office/drawing/2014/main" id="{5D6BC83B-1507-02D8-8A3F-1D9498C15706}"/>
              </a:ext>
            </a:extLst>
          </p:cNvPr>
          <p:cNvSpPr txBox="1"/>
          <p:nvPr/>
        </p:nvSpPr>
        <p:spPr>
          <a:xfrm>
            <a:off x="1388654" y="2476500"/>
            <a:ext cx="13958844" cy="4094519"/>
          </a:xfrm>
          <a:prstGeom prst="rect">
            <a:avLst/>
          </a:prstGeom>
        </p:spPr>
        <p:txBody>
          <a:bodyPr wrap="square" lIns="0" tIns="0" rIns="0" bIns="0" rtlCol="0" anchor="t">
            <a:spAutoFit/>
          </a:bodyPr>
          <a:lstStyle/>
          <a:p>
            <a:pPr>
              <a:defRPr/>
            </a:pPr>
            <a:r>
              <a:rPr lang="en-US" altLang="fr-FR" sz="3200" b="1" dirty="0">
                <a:solidFill>
                  <a:srgbClr val="CC0033"/>
                </a:solidFill>
                <a:latin typeface="Arial"/>
                <a:cs typeface="Arial" panose="020B0604020202020204" pitchFamily="34" charset="0"/>
                <a:sym typeface="+mn-ea"/>
              </a:rPr>
              <a:t>Interpretation of the LCC-results</a:t>
            </a:r>
          </a:p>
          <a:p>
            <a:pPr marL="342917" indent="-342917">
              <a:lnSpc>
                <a:spcPct val="150000"/>
              </a:lnSpc>
              <a:buClr>
                <a:schemeClr val="accent1"/>
              </a:buClr>
              <a:buFont typeface="Arial" panose="020B0604020202020204" pitchFamily="34" charset="0"/>
              <a:buChar char="•"/>
              <a:defRPr/>
            </a:pPr>
            <a:r>
              <a:rPr lang="en-US" altLang="fr-FR" sz="3200" dirty="0">
                <a:sym typeface="+mn-ea"/>
              </a:rPr>
              <a:t>The reduction in steam demand reduced the cost for energy</a:t>
            </a:r>
          </a:p>
          <a:p>
            <a:pPr marL="342917" indent="-342917">
              <a:lnSpc>
                <a:spcPct val="150000"/>
              </a:lnSpc>
              <a:buClr>
                <a:schemeClr val="accent1"/>
              </a:buClr>
              <a:buFont typeface="Arial" panose="020B0604020202020204" pitchFamily="34" charset="0"/>
              <a:buChar char="•"/>
              <a:defRPr/>
            </a:pPr>
            <a:r>
              <a:rPr lang="en-US" altLang="fr-FR" sz="3200" dirty="0">
                <a:sym typeface="+mn-ea"/>
              </a:rPr>
              <a:t>Change in raw materials resulted in a reduced raw material cost</a:t>
            </a:r>
          </a:p>
          <a:p>
            <a:pPr marL="342917" indent="-342917">
              <a:lnSpc>
                <a:spcPct val="150000"/>
              </a:lnSpc>
              <a:buClr>
                <a:schemeClr val="accent1"/>
              </a:buClr>
              <a:buFont typeface="Arial" panose="020B0604020202020204" pitchFamily="34" charset="0"/>
              <a:buChar char="•"/>
              <a:defRPr/>
            </a:pPr>
            <a:r>
              <a:rPr lang="en-US" altLang="fr-FR" sz="3200" dirty="0">
                <a:sym typeface="+mn-ea"/>
              </a:rPr>
              <a:t>The cost due to externalities decreased due to the retrofit action</a:t>
            </a:r>
          </a:p>
          <a:p>
            <a:pPr marL="342917" indent="-342917">
              <a:lnSpc>
                <a:spcPct val="150000"/>
              </a:lnSpc>
              <a:buClr>
                <a:schemeClr val="accent1"/>
              </a:buClr>
              <a:buFont typeface="Arial" panose="020B0604020202020204" pitchFamily="34" charset="0"/>
              <a:buChar char="•"/>
              <a:defRPr/>
            </a:pPr>
            <a:r>
              <a:rPr lang="" altLang="fr-FR" sz="3200" dirty="0">
                <a:sym typeface="+mn-ea"/>
              </a:rPr>
              <a:t>The total internal cost was reduced with 5%</a:t>
            </a:r>
          </a:p>
          <a:p>
            <a:pPr marL="342917" indent="-342917">
              <a:lnSpc>
                <a:spcPct val="150000"/>
              </a:lnSpc>
              <a:buClr>
                <a:schemeClr val="accent1"/>
              </a:buClr>
              <a:buFont typeface="Arial" panose="020B0604020202020204" pitchFamily="34" charset="0"/>
              <a:buChar char="•"/>
              <a:defRPr/>
            </a:pPr>
            <a:r>
              <a:rPr lang="" altLang="fr-FR" sz="3200" dirty="0">
                <a:sym typeface="+mn-ea"/>
              </a:rPr>
              <a:t>However, if externalities are included, the total cost was decreased by 77%</a:t>
            </a:r>
            <a:endParaRPr lang="en-US" altLang="fr-FR" sz="3200" dirty="0">
              <a:sym typeface="+mn-ea"/>
            </a:endParaRPr>
          </a:p>
        </p:txBody>
      </p:sp>
      <p:pic>
        <p:nvPicPr>
          <p:cNvPr id="4" name="Picture 3" descr="RETROFEED FERTIBERIA">
            <a:extLst>
              <a:ext uri="{FF2B5EF4-FFF2-40B4-BE49-F238E27FC236}">
                <a16:creationId xmlns:a16="http://schemas.microsoft.com/office/drawing/2014/main" id="{0366CB85-BF89-D089-9A32-2ACB0B1612D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242096" y="834264"/>
            <a:ext cx="2888162" cy="1062843"/>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05935326-B29B-1BF6-7795-74BF645A89E6}"/>
              </a:ext>
            </a:extLst>
          </p:cNvPr>
          <p:cNvSpPr txBox="1"/>
          <p:nvPr/>
        </p:nvSpPr>
        <p:spPr>
          <a:xfrm>
            <a:off x="228600" y="257981"/>
            <a:ext cx="9296400" cy="456856"/>
          </a:xfrm>
          <a:prstGeom prst="rect">
            <a:avLst/>
          </a:prstGeom>
        </p:spPr>
        <p:txBody>
          <a:bodyPr wrap="square" lIns="0" tIns="0" rIns="0" bIns="0" rtlCol="0" anchor="t">
            <a:spAutoFit/>
          </a:bodyPr>
          <a:lstStyle/>
          <a:p>
            <a:pPr>
              <a:lnSpc>
                <a:spcPts val="3920"/>
              </a:lnSpc>
            </a:pPr>
            <a:r>
              <a:rPr lang="en-US" sz="2801" b="1">
                <a:solidFill>
                  <a:srgbClr val="FFFFFF"/>
                </a:solidFill>
                <a:latin typeface="Arial" panose="020B0604020202020204" pitchFamily="34" charset="0"/>
                <a:cs typeface="Arial" panose="020B0604020202020204" pitchFamily="34" charset="0"/>
              </a:rPr>
              <a:t>Module 3</a:t>
            </a:r>
          </a:p>
        </p:txBody>
      </p:sp>
    </p:spTree>
    <p:extLst>
      <p:ext uri="{BB962C8B-B14F-4D97-AF65-F5344CB8AC3E}">
        <p14:creationId xmlns:p14="http://schemas.microsoft.com/office/powerpoint/2010/main" val="959859752"/>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1" name="Picture 12">
            <a:extLst>
              <a:ext uri="{FF2B5EF4-FFF2-40B4-BE49-F238E27FC236}">
                <a16:creationId xmlns:a16="http://schemas.microsoft.com/office/drawing/2014/main" id="{43802E0E-B79D-4EA7-8141-0CA3ED138B1A}"/>
              </a:ext>
            </a:extLst>
          </p:cNvPr>
          <p:cNvPicPr>
            <a:picLocks noChangeAspect="1"/>
          </p:cNvPicPr>
          <p:nvPr/>
        </p:nvPicPr>
        <p:blipFill>
          <a:blip r:embed="rId3"/>
          <a:srcRect/>
          <a:stretch>
            <a:fillRect/>
          </a:stretch>
        </p:blipFill>
        <p:spPr>
          <a:xfrm>
            <a:off x="0" y="8959891"/>
            <a:ext cx="5715000" cy="1385888"/>
          </a:xfrm>
          <a:prstGeom prst="rect">
            <a:avLst/>
          </a:prstGeom>
        </p:spPr>
      </p:pic>
      <p:grpSp>
        <p:nvGrpSpPr>
          <p:cNvPr id="132" name="Gruppo 2">
            <a:extLst>
              <a:ext uri="{FF2B5EF4-FFF2-40B4-BE49-F238E27FC236}">
                <a16:creationId xmlns:a16="http://schemas.microsoft.com/office/drawing/2014/main" id="{649928F6-6E82-4611-9715-AD3C75457C28}"/>
              </a:ext>
            </a:extLst>
          </p:cNvPr>
          <p:cNvGrpSpPr/>
          <p:nvPr/>
        </p:nvGrpSpPr>
        <p:grpSpPr>
          <a:xfrm>
            <a:off x="-12" y="138554"/>
            <a:ext cx="18288002" cy="681138"/>
            <a:chOff x="-12" y="138554"/>
            <a:chExt cx="18288002" cy="681138"/>
          </a:xfrm>
        </p:grpSpPr>
        <p:grpSp>
          <p:nvGrpSpPr>
            <p:cNvPr id="133" name="Gruppo 1">
              <a:extLst>
                <a:ext uri="{FF2B5EF4-FFF2-40B4-BE49-F238E27FC236}">
                  <a16:creationId xmlns:a16="http://schemas.microsoft.com/office/drawing/2014/main" id="{A8EB8794-E5C6-45EB-BAEC-2778E982797A}"/>
                </a:ext>
              </a:extLst>
            </p:cNvPr>
            <p:cNvGrpSpPr/>
            <p:nvPr/>
          </p:nvGrpSpPr>
          <p:grpSpPr>
            <a:xfrm>
              <a:off x="0" y="153125"/>
              <a:ext cx="17907000" cy="666567"/>
              <a:chOff x="0" y="153125"/>
              <a:chExt cx="17907000" cy="666567"/>
            </a:xfrm>
          </p:grpSpPr>
          <p:grpSp>
            <p:nvGrpSpPr>
              <p:cNvPr id="135" name="Gruppo 15">
                <a:extLst>
                  <a:ext uri="{FF2B5EF4-FFF2-40B4-BE49-F238E27FC236}">
                    <a16:creationId xmlns:a16="http://schemas.microsoft.com/office/drawing/2014/main" id="{AB129748-9FD7-458D-BD6E-304271C1814A}"/>
                  </a:ext>
                </a:extLst>
              </p:cNvPr>
              <p:cNvGrpSpPr/>
              <p:nvPr/>
            </p:nvGrpSpPr>
            <p:grpSpPr>
              <a:xfrm>
                <a:off x="0" y="153125"/>
                <a:ext cx="13958844" cy="666567"/>
                <a:chOff x="0" y="153125"/>
                <a:chExt cx="13958844" cy="666567"/>
              </a:xfrm>
            </p:grpSpPr>
            <p:pic>
              <p:nvPicPr>
                <p:cNvPr id="137" name="Picture 136">
                  <a:extLst>
                    <a:ext uri="{FF2B5EF4-FFF2-40B4-BE49-F238E27FC236}">
                      <a16:creationId xmlns:a16="http://schemas.microsoft.com/office/drawing/2014/main" id="{88E31CFD-796F-4F3F-A1EC-0E38F9D83456}"/>
                    </a:ext>
                  </a:extLst>
                </p:cNvPr>
                <p:cNvPicPr>
                  <a:picLocks noChangeAspect="1"/>
                </p:cNvPicPr>
                <p:nvPr/>
              </p:nvPicPr>
              <p:blipFill>
                <a:blip r:embed="rId4"/>
                <a:srcRect l="134" t="91287" b="3943"/>
                <a:stretch>
                  <a:fillRect/>
                </a:stretch>
              </p:blipFill>
              <p:spPr>
                <a:xfrm>
                  <a:off x="0" y="153125"/>
                  <a:ext cx="13958844" cy="666567"/>
                </a:xfrm>
                <a:prstGeom prst="rect">
                  <a:avLst/>
                </a:prstGeom>
              </p:spPr>
            </p:pic>
            <p:sp>
              <p:nvSpPr>
                <p:cNvPr id="138" name="TextBox 137">
                  <a:extLst>
                    <a:ext uri="{FF2B5EF4-FFF2-40B4-BE49-F238E27FC236}">
                      <a16:creationId xmlns:a16="http://schemas.microsoft.com/office/drawing/2014/main" id="{7694DADD-E227-40A7-A98D-244B0D207E54}"/>
                    </a:ext>
                  </a:extLst>
                </p:cNvPr>
                <p:cNvSpPr txBox="1"/>
                <p:nvPr/>
              </p:nvSpPr>
              <p:spPr>
                <a:xfrm>
                  <a:off x="228600" y="257980"/>
                  <a:ext cx="9296400" cy="456856"/>
                </a:xfrm>
                <a:prstGeom prst="rect">
                  <a:avLst/>
                </a:prstGeom>
              </p:spPr>
              <p:txBody>
                <a:bodyPr wrap="square" lIns="0" tIns="0" rIns="0" bIns="0" rtlCol="0" anchor="t">
                  <a:spAutoFit/>
                </a:bodyPr>
                <a:lstStyle/>
                <a:p>
                  <a:pPr>
                    <a:lnSpc>
                      <a:spcPts val="3920"/>
                    </a:lnSpc>
                  </a:pPr>
                  <a:r>
                    <a:rPr lang="en-US" sz="2801" b="1">
                      <a:solidFill>
                        <a:srgbClr val="FFFFFF"/>
                      </a:solidFill>
                      <a:latin typeface="Arial" panose="020B0604020202020204" pitchFamily="34" charset="0"/>
                      <a:cs typeface="Arial" panose="020B0604020202020204" pitchFamily="34" charset="0"/>
                    </a:rPr>
                    <a:t>Module 3</a:t>
                  </a:r>
                </a:p>
              </p:txBody>
            </p:sp>
          </p:grpSp>
          <p:sp>
            <p:nvSpPr>
              <p:cNvPr id="136" name="TextBox 135">
                <a:extLst>
                  <a:ext uri="{FF2B5EF4-FFF2-40B4-BE49-F238E27FC236}">
                    <a16:creationId xmlns:a16="http://schemas.microsoft.com/office/drawing/2014/main" id="{4B3CCEBB-60EF-4175-9878-F0D51FD80FF0}"/>
                  </a:ext>
                </a:extLst>
              </p:cNvPr>
              <p:cNvSpPr txBox="1"/>
              <p:nvPr/>
            </p:nvSpPr>
            <p:spPr>
              <a:xfrm>
                <a:off x="12154296" y="257980"/>
                <a:ext cx="5752704" cy="456856"/>
              </a:xfrm>
              <a:prstGeom prst="rect">
                <a:avLst/>
              </a:prstGeom>
            </p:spPr>
            <p:txBody>
              <a:bodyPr wrap="square" lIns="0" tIns="0" rIns="0" bIns="0" rtlCol="0" anchor="t">
                <a:spAutoFit/>
              </a:bodyPr>
              <a:lstStyle/>
              <a:p>
                <a:pPr algn="r">
                  <a:lnSpc>
                    <a:spcPts val="3920"/>
                  </a:lnSpc>
                </a:pPr>
                <a:endParaRPr lang="en-US" sz="2801">
                  <a:solidFill>
                    <a:schemeClr val="tx1">
                      <a:lumMod val="75000"/>
                      <a:lumOff val="25000"/>
                    </a:schemeClr>
                  </a:solidFill>
                  <a:latin typeface="Arial" panose="020B0604020202020204" pitchFamily="34" charset="0"/>
                  <a:cs typeface="Arial" panose="020B0604020202020204" pitchFamily="34" charset="0"/>
                </a:endParaRPr>
              </a:p>
            </p:txBody>
          </p:sp>
        </p:grpSp>
        <p:sp>
          <p:nvSpPr>
            <p:cNvPr id="134" name="Rettangolo 13">
              <a:extLst>
                <a:ext uri="{FF2B5EF4-FFF2-40B4-BE49-F238E27FC236}">
                  <a16:creationId xmlns:a16="http://schemas.microsoft.com/office/drawing/2014/main" id="{8F0CF2A7-592A-4287-9206-D3289F1B0C37}"/>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a:p>
          </p:txBody>
        </p:sp>
      </p:grpSp>
      <p:pic>
        <p:nvPicPr>
          <p:cNvPr id="139" name="Picture 12">
            <a:extLst>
              <a:ext uri="{FF2B5EF4-FFF2-40B4-BE49-F238E27FC236}">
                <a16:creationId xmlns:a16="http://schemas.microsoft.com/office/drawing/2014/main" id="{F047215A-40D8-4A57-BE02-5E03FCEEBB7B}"/>
              </a:ext>
            </a:extLst>
          </p:cNvPr>
          <p:cNvPicPr>
            <a:picLocks noChangeAspect="1"/>
          </p:cNvPicPr>
          <p:nvPr/>
        </p:nvPicPr>
        <p:blipFill>
          <a:blip r:embed="rId5"/>
          <a:srcRect l="134" t="91287" b="3943"/>
          <a:stretch>
            <a:fillRect/>
          </a:stretch>
        </p:blipFill>
        <p:spPr>
          <a:xfrm rot="10800000">
            <a:off x="4329146" y="9679209"/>
            <a:ext cx="13958844" cy="666567"/>
          </a:xfrm>
          <a:prstGeom prst="rect">
            <a:avLst/>
          </a:prstGeom>
        </p:spPr>
      </p:pic>
      <p:sp>
        <p:nvSpPr>
          <p:cNvPr id="140" name="TextBox 16">
            <a:extLst>
              <a:ext uri="{FF2B5EF4-FFF2-40B4-BE49-F238E27FC236}">
                <a16:creationId xmlns:a16="http://schemas.microsoft.com/office/drawing/2014/main" id="{C693B1DB-897C-4A9D-8CF3-F1423F6CB38D}"/>
              </a:ext>
            </a:extLst>
          </p:cNvPr>
          <p:cNvSpPr txBox="1"/>
          <p:nvPr/>
        </p:nvSpPr>
        <p:spPr>
          <a:xfrm>
            <a:off x="14400020" y="9762302"/>
            <a:ext cx="3636320" cy="448713"/>
          </a:xfrm>
          <a:prstGeom prst="rect">
            <a:avLst/>
          </a:prstGeom>
        </p:spPr>
        <p:txBody>
          <a:bodyPr wrap="square" lIns="0" tIns="0" rIns="0" bIns="0" rtlCol="0" anchor="t">
            <a:spAutoFit/>
          </a:bodyPr>
          <a:lstStyle/>
          <a:p>
            <a:pPr algn="ctr">
              <a:lnSpc>
                <a:spcPts val="3920"/>
              </a:lnSpc>
            </a:pPr>
            <a:r>
              <a:rPr lang="en-US" sz="2801" b="1">
                <a:solidFill>
                  <a:srgbClr val="FFFFFF"/>
                </a:solidFill>
                <a:latin typeface="OCR A Extended" panose="02010509020102010303" pitchFamily="50" charset="0"/>
              </a:rPr>
              <a:t>www.retrofeed.eu</a:t>
            </a:r>
          </a:p>
        </p:txBody>
      </p:sp>
      <p:sp>
        <p:nvSpPr>
          <p:cNvPr id="275" name="TextBox 274">
            <a:extLst>
              <a:ext uri="{FF2B5EF4-FFF2-40B4-BE49-F238E27FC236}">
                <a16:creationId xmlns:a16="http://schemas.microsoft.com/office/drawing/2014/main" id="{18F9B2C4-9238-753A-5524-A6082AD1087E}"/>
              </a:ext>
            </a:extLst>
          </p:cNvPr>
          <p:cNvSpPr txBox="1"/>
          <p:nvPr/>
        </p:nvSpPr>
        <p:spPr>
          <a:xfrm>
            <a:off x="911333" y="2299033"/>
            <a:ext cx="16465311" cy="1077218"/>
          </a:xfrm>
          <a:prstGeom prst="rect">
            <a:avLst/>
          </a:prstGeom>
          <a:solidFill>
            <a:schemeClr val="accent2">
              <a:lumMod val="60000"/>
              <a:lumOff val="40000"/>
            </a:schemeClr>
          </a:solidFill>
        </p:spPr>
        <p:txBody>
          <a:bodyPr wrap="square" rIns="90000" anchor="ctr" anchorCtr="0">
            <a:spAutoFit/>
          </a:bodyPr>
          <a:lstStyle/>
          <a:p>
            <a:pPr algn="ctr"/>
            <a:r>
              <a:rPr lang="en-US" sz="3200"/>
              <a:t>Results was analyzed and compared to the goal and scope definition. </a:t>
            </a:r>
          </a:p>
          <a:p>
            <a:pPr algn="ctr"/>
            <a:r>
              <a:rPr lang="en-US" sz="3200"/>
              <a:t>The comparison can be seen below.</a:t>
            </a:r>
            <a:endParaRPr lang="sv-SE" sz="3200"/>
          </a:p>
        </p:txBody>
      </p:sp>
      <p:sp>
        <p:nvSpPr>
          <p:cNvPr id="276" name="TextBox 275">
            <a:extLst>
              <a:ext uri="{FF2B5EF4-FFF2-40B4-BE49-F238E27FC236}">
                <a16:creationId xmlns:a16="http://schemas.microsoft.com/office/drawing/2014/main" id="{23F49CDA-BC36-C7E5-B9CD-42DA77A33D92}"/>
              </a:ext>
            </a:extLst>
          </p:cNvPr>
          <p:cNvSpPr txBox="1"/>
          <p:nvPr/>
        </p:nvSpPr>
        <p:spPr>
          <a:xfrm>
            <a:off x="1266093" y="1137117"/>
            <a:ext cx="18288012" cy="1077346"/>
          </a:xfrm>
          <a:prstGeom prst="rect">
            <a:avLst/>
          </a:prstGeom>
          <a:noFill/>
        </p:spPr>
        <p:txBody>
          <a:bodyPr wrap="square">
            <a:spAutoFit/>
          </a:bodyPr>
          <a:lstStyle/>
          <a:p>
            <a:pPr algn="ctr"/>
            <a:r>
              <a:rPr lang="sv-SE" sz="6401" b="1">
                <a:solidFill>
                  <a:srgbClr val="CC0033"/>
                </a:solidFill>
                <a:latin typeface="+mj-lt"/>
                <a:cs typeface="Arial" panose="020B0604020202020204" pitchFamily="34" charset="0"/>
              </a:rPr>
              <a:t>- Step 4: Interpretation</a:t>
            </a:r>
          </a:p>
        </p:txBody>
      </p:sp>
      <p:pic>
        <p:nvPicPr>
          <p:cNvPr id="277" name="Picture 276" descr="RETROFEED FERTIBERIA">
            <a:extLst>
              <a:ext uri="{FF2B5EF4-FFF2-40B4-BE49-F238E27FC236}">
                <a16:creationId xmlns:a16="http://schemas.microsoft.com/office/drawing/2014/main" id="{13D4CF92-1DBE-F158-BA77-B8A6CA0F45B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588905" y="1093790"/>
            <a:ext cx="2287452" cy="841782"/>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descr="A close up of a road&#10;&#10;Description automatically generated">
            <a:extLst>
              <a:ext uri="{FF2B5EF4-FFF2-40B4-BE49-F238E27FC236}">
                <a16:creationId xmlns:a16="http://schemas.microsoft.com/office/drawing/2014/main" id="{B1381FF1-92CC-4D78-A71E-FCA0283E9988}"/>
              </a:ext>
            </a:extLst>
          </p:cNvPr>
          <p:cNvPicPr>
            <a:picLocks noChangeAspect="1"/>
          </p:cNvPicPr>
          <p:nvPr/>
        </p:nvPicPr>
        <p:blipFill>
          <a:blip r:embed="rId7" cstate="print">
            <a:alphaModFix amt="20000"/>
            <a:extLst>
              <a:ext uri="{28A0092B-C50C-407E-A947-70E740481C1C}">
                <a14:useLocalDpi xmlns:a14="http://schemas.microsoft.com/office/drawing/2010/main" val="0"/>
              </a:ext>
            </a:extLst>
          </a:blip>
          <a:stretch>
            <a:fillRect/>
          </a:stretch>
        </p:blipFill>
        <p:spPr>
          <a:xfrm>
            <a:off x="911345" y="3545644"/>
            <a:ext cx="16465313" cy="5296328"/>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19" name="TextBox 14">
            <a:extLst>
              <a:ext uri="{FF2B5EF4-FFF2-40B4-BE49-F238E27FC236}">
                <a16:creationId xmlns:a16="http://schemas.microsoft.com/office/drawing/2014/main" id="{B1E6ECC0-7752-4BBA-97C2-BDEC650A8304}"/>
              </a:ext>
            </a:extLst>
          </p:cNvPr>
          <p:cNvSpPr txBox="1"/>
          <p:nvPr/>
        </p:nvSpPr>
        <p:spPr>
          <a:xfrm>
            <a:off x="1266093" y="4054542"/>
            <a:ext cx="7388244" cy="3693319"/>
          </a:xfrm>
          <a:prstGeom prst="rect">
            <a:avLst/>
          </a:prstGeom>
        </p:spPr>
        <p:txBody>
          <a:bodyPr wrap="square" lIns="0" tIns="0" rIns="0" bIns="0" rtlCol="0" anchor="t">
            <a:spAutoFit/>
          </a:bodyPr>
          <a:lstStyle/>
          <a:p>
            <a:pPr>
              <a:buClr>
                <a:schemeClr val="accent5"/>
              </a:buClr>
            </a:pPr>
            <a:r>
              <a:rPr lang="en-US" sz="2400" b="1">
                <a:solidFill>
                  <a:schemeClr val="accent2">
                    <a:lumMod val="75000"/>
                  </a:schemeClr>
                </a:solidFill>
              </a:rPr>
              <a:t>Goals</a:t>
            </a:r>
          </a:p>
          <a:p>
            <a:pPr>
              <a:buClr>
                <a:schemeClr val="accent5"/>
              </a:buClr>
            </a:pPr>
            <a:endParaRPr lang="en-US" sz="2400" b="1"/>
          </a:p>
          <a:p>
            <a:pPr marL="457223" indent="-457223">
              <a:buClr>
                <a:schemeClr val="accent2">
                  <a:lumMod val="75000"/>
                </a:schemeClr>
              </a:buClr>
              <a:buFont typeface="Wingdings" panose="05000000000000000000" pitchFamily="2" charset="2"/>
              <a:buChar char="ü"/>
            </a:pPr>
            <a:r>
              <a:rPr lang="en-GB" sz="2400" b="1"/>
              <a:t>Replace at least 10% of the currently used phosphorous sources.</a:t>
            </a:r>
          </a:p>
          <a:p>
            <a:pPr marL="457223" indent="-457223">
              <a:buClr>
                <a:srgbClr val="99CC99"/>
              </a:buClr>
              <a:buFont typeface="Wingdings" panose="05000000000000000000" pitchFamily="2" charset="2"/>
              <a:buChar char="ü"/>
            </a:pPr>
            <a:endParaRPr lang="en-GB" sz="2400" b="1"/>
          </a:p>
          <a:p>
            <a:pPr marL="457223" indent="-457223">
              <a:buClr>
                <a:schemeClr val="accent2">
                  <a:lumMod val="75000"/>
                </a:schemeClr>
              </a:buClr>
              <a:buFont typeface="Wingdings" panose="05000000000000000000" pitchFamily="2" charset="2"/>
              <a:buChar char="ü"/>
            </a:pPr>
            <a:r>
              <a:rPr lang="en-GB" sz="2400" b="1"/>
              <a:t>Recover valuable raw materials from wastes such as ashes, </a:t>
            </a:r>
            <a:r>
              <a:rPr lang="en-GB" sz="2400" b="1" err="1"/>
              <a:t>struvites</a:t>
            </a:r>
            <a:r>
              <a:rPr lang="en-GB" sz="2400" b="1"/>
              <a:t>, etc.</a:t>
            </a:r>
          </a:p>
          <a:p>
            <a:pPr marL="457223" indent="-457223">
              <a:buClr>
                <a:srgbClr val="99CC99"/>
              </a:buClr>
              <a:buFont typeface="Wingdings" panose="05000000000000000000" pitchFamily="2" charset="2"/>
              <a:buChar char="ü"/>
            </a:pPr>
            <a:endParaRPr lang="en-US" sz="2400" b="1"/>
          </a:p>
          <a:p>
            <a:pPr marL="457223" indent="-457223">
              <a:buClr>
                <a:schemeClr val="accent2">
                  <a:lumMod val="75000"/>
                </a:schemeClr>
              </a:buClr>
              <a:buFont typeface="Wingdings" panose="05000000000000000000" pitchFamily="2" charset="2"/>
              <a:buChar char="ü"/>
            </a:pPr>
            <a:r>
              <a:rPr lang="en-US" sz="2400" b="1"/>
              <a:t>Reduction of cost and energy consumption (reduction of CO2 emission).</a:t>
            </a:r>
          </a:p>
        </p:txBody>
      </p:sp>
      <p:cxnSp>
        <p:nvCxnSpPr>
          <p:cNvPr id="20" name="Conector recto 20">
            <a:extLst>
              <a:ext uri="{FF2B5EF4-FFF2-40B4-BE49-F238E27FC236}">
                <a16:creationId xmlns:a16="http://schemas.microsoft.com/office/drawing/2014/main" id="{73058F22-A552-4C3F-A88B-C8DFE032528B}"/>
              </a:ext>
            </a:extLst>
          </p:cNvPr>
          <p:cNvCxnSpPr>
            <a:cxnSpLocks/>
          </p:cNvCxnSpPr>
          <p:nvPr/>
        </p:nvCxnSpPr>
        <p:spPr>
          <a:xfrm>
            <a:off x="8654336" y="3539624"/>
            <a:ext cx="0" cy="2464601"/>
          </a:xfrm>
          <a:prstGeom prst="line">
            <a:avLst/>
          </a:prstGeom>
          <a:ln w="63500"/>
        </p:spPr>
        <p:style>
          <a:lnRef idx="1">
            <a:schemeClr val="accent1"/>
          </a:lnRef>
          <a:fillRef idx="0">
            <a:schemeClr val="accent1"/>
          </a:fillRef>
          <a:effectRef idx="0">
            <a:schemeClr val="accent1"/>
          </a:effectRef>
          <a:fontRef idx="minor">
            <a:schemeClr val="tx1"/>
          </a:fontRef>
        </p:style>
      </p:cxnSp>
      <p:cxnSp>
        <p:nvCxnSpPr>
          <p:cNvPr id="21" name="Conector recto 21">
            <a:extLst>
              <a:ext uri="{FF2B5EF4-FFF2-40B4-BE49-F238E27FC236}">
                <a16:creationId xmlns:a16="http://schemas.microsoft.com/office/drawing/2014/main" id="{2F450497-3C09-45A5-9175-352F10FE54CD}"/>
              </a:ext>
            </a:extLst>
          </p:cNvPr>
          <p:cNvCxnSpPr>
            <a:cxnSpLocks/>
          </p:cNvCxnSpPr>
          <p:nvPr/>
        </p:nvCxnSpPr>
        <p:spPr>
          <a:xfrm>
            <a:off x="8654336" y="6290845"/>
            <a:ext cx="0" cy="2551127"/>
          </a:xfrm>
          <a:prstGeom prst="line">
            <a:avLst/>
          </a:prstGeom>
          <a:ln w="63500">
            <a:solidFill>
              <a:srgbClr val="99CC99"/>
            </a:solidFill>
          </a:ln>
        </p:spPr>
        <p:style>
          <a:lnRef idx="1">
            <a:schemeClr val="accent1"/>
          </a:lnRef>
          <a:fillRef idx="0">
            <a:schemeClr val="accent1"/>
          </a:fillRef>
          <a:effectRef idx="0">
            <a:schemeClr val="accent1"/>
          </a:effectRef>
          <a:fontRef idx="minor">
            <a:schemeClr val="tx1"/>
          </a:fontRef>
        </p:style>
      </p:cxnSp>
      <p:sp>
        <p:nvSpPr>
          <p:cNvPr id="2" name="TextBox 14">
            <a:extLst>
              <a:ext uri="{FF2B5EF4-FFF2-40B4-BE49-F238E27FC236}">
                <a16:creationId xmlns:a16="http://schemas.microsoft.com/office/drawing/2014/main" id="{B75B1515-0D70-7A0C-5FC3-0525F9BC1782}"/>
              </a:ext>
            </a:extLst>
          </p:cNvPr>
          <p:cNvSpPr txBox="1"/>
          <p:nvPr/>
        </p:nvSpPr>
        <p:spPr>
          <a:xfrm>
            <a:off x="9244136" y="4054544"/>
            <a:ext cx="7657022" cy="4431983"/>
          </a:xfrm>
          <a:prstGeom prst="rect">
            <a:avLst/>
          </a:prstGeom>
        </p:spPr>
        <p:txBody>
          <a:bodyPr wrap="square" lIns="0" tIns="0" rIns="0" bIns="0" rtlCol="0" anchor="t">
            <a:spAutoFit/>
          </a:bodyPr>
          <a:lstStyle/>
          <a:p>
            <a:pPr>
              <a:buClr>
                <a:schemeClr val="accent5"/>
              </a:buClr>
            </a:pPr>
            <a:r>
              <a:rPr lang="en-US" sz="2400" b="1">
                <a:solidFill>
                  <a:schemeClr val="accent2">
                    <a:lumMod val="75000"/>
                  </a:schemeClr>
                </a:solidFill>
              </a:rPr>
              <a:t>Results</a:t>
            </a:r>
          </a:p>
          <a:p>
            <a:pPr>
              <a:buClr>
                <a:schemeClr val="accent5"/>
              </a:buClr>
            </a:pPr>
            <a:endParaRPr lang="en-US" sz="2400" b="1"/>
          </a:p>
          <a:p>
            <a:pPr marL="457223" indent="-457223">
              <a:buClr>
                <a:schemeClr val="accent2">
                  <a:lumMod val="75000"/>
                </a:schemeClr>
              </a:buClr>
              <a:buFont typeface="Wingdings" panose="05000000000000000000" pitchFamily="2" charset="2"/>
              <a:buChar char="ü"/>
            </a:pPr>
            <a:r>
              <a:rPr lang="en-GB" sz="2400" b="1"/>
              <a:t>The GWP impact and cost related to the use of phosphoric acid was reduced by 10%.</a:t>
            </a:r>
          </a:p>
          <a:p>
            <a:pPr marL="457223" indent="-457223">
              <a:buClr>
                <a:schemeClr val="accent2">
                  <a:lumMod val="75000"/>
                </a:schemeClr>
              </a:buClr>
              <a:buFont typeface="Wingdings" panose="05000000000000000000" pitchFamily="2" charset="2"/>
              <a:buChar char="ü"/>
            </a:pPr>
            <a:endParaRPr lang="en-GB" sz="2400" b="1"/>
          </a:p>
          <a:p>
            <a:pPr marL="457223" indent="-457223">
              <a:buClr>
                <a:schemeClr val="accent2">
                  <a:lumMod val="75000"/>
                </a:schemeClr>
              </a:buClr>
              <a:buFont typeface="Wingdings" panose="05000000000000000000" pitchFamily="2" charset="2"/>
              <a:buChar char="ü"/>
            </a:pPr>
            <a:r>
              <a:rPr lang="en-GB" sz="2400" b="1"/>
              <a:t>This was done by the use of recoverable raw materials from wastes such as ashes, </a:t>
            </a:r>
            <a:r>
              <a:rPr lang="en-GB" sz="2400" b="1" err="1"/>
              <a:t>struvites</a:t>
            </a:r>
            <a:r>
              <a:rPr lang="en-GB" sz="2400" b="1"/>
              <a:t>, etc.</a:t>
            </a:r>
          </a:p>
          <a:p>
            <a:pPr>
              <a:buClr>
                <a:srgbClr val="99CC99"/>
              </a:buClr>
            </a:pPr>
            <a:endParaRPr lang="en-US" sz="2400" b="1"/>
          </a:p>
          <a:p>
            <a:pPr marL="457223" indent="-457223">
              <a:buClr>
                <a:schemeClr val="accent2">
                  <a:lumMod val="75000"/>
                </a:schemeClr>
              </a:buClr>
              <a:buFont typeface="Wingdings" panose="05000000000000000000" pitchFamily="2" charset="2"/>
              <a:buChar char="ü"/>
            </a:pPr>
            <a:r>
              <a:rPr lang="en-US" sz="2400" b="1"/>
              <a:t>The cost and impact of natural gas consumption was reduced by 43%, resulting in a reduced total impact and cost for energy by 25%.</a:t>
            </a:r>
          </a:p>
        </p:txBody>
      </p:sp>
    </p:spTree>
    <p:extLst>
      <p:ext uri="{BB962C8B-B14F-4D97-AF65-F5344CB8AC3E}">
        <p14:creationId xmlns:p14="http://schemas.microsoft.com/office/powerpoint/2010/main" val="358814412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6"/>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marL="0" marR="0" lvl="0" indent="0" algn="ctr" defTabSz="914400" rtl="0" eaLnBrk="1" fontAlgn="auto" latinLnBrk="0" hangingPunct="1">
                <a:lnSpc>
                  <a:spcPts val="3919"/>
                </a:lnSpc>
                <a:spcBef>
                  <a:spcPct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OCR A Extended" panose="02010509020102010303" pitchFamily="50" charset="0"/>
                  <a:ea typeface="+mn-ea"/>
                  <a:cs typeface="+mn-cs"/>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4"/>
          <a:srcRect/>
          <a:stretch>
            <a:fillRect/>
          </a:stretch>
        </p:blipFill>
        <p:spPr>
          <a:xfrm>
            <a:off x="0" y="8901113"/>
            <a:ext cx="5715000" cy="1385887"/>
          </a:xfrm>
          <a:prstGeom prst="rect">
            <a:avLst/>
          </a:prstGeom>
        </p:spPr>
      </p:pic>
      <p:grpSp>
        <p:nvGrpSpPr>
          <p:cNvPr id="3" name="Gruppo 2">
            <a:extLst>
              <a:ext uri="{FF2B5EF4-FFF2-40B4-BE49-F238E27FC236}">
                <a16:creationId xmlns:a16="http://schemas.microsoft.com/office/drawing/2014/main" id="{1C29CBCA-BE0A-4EF6-AC69-329941E1DCFD}"/>
              </a:ext>
            </a:extLst>
          </p:cNvPr>
          <p:cNvGrpSpPr/>
          <p:nvPr/>
        </p:nvGrpSpPr>
        <p:grpSpPr>
          <a:xfrm>
            <a:off x="-12" y="138554"/>
            <a:ext cx="18288002" cy="681138"/>
            <a:chOff x="-12" y="138554"/>
            <a:chExt cx="18288002" cy="681138"/>
          </a:xfrm>
        </p:grpSpPr>
        <p:grpSp>
          <p:nvGrpSpPr>
            <p:cNvPr id="2" name="Gruppo 1">
              <a:extLst>
                <a:ext uri="{FF2B5EF4-FFF2-40B4-BE49-F238E27FC236}">
                  <a16:creationId xmlns:a16="http://schemas.microsoft.com/office/drawing/2014/main" id="{24E9C7AF-0093-476F-826C-A2702AB72892}"/>
                </a:ext>
              </a:extLst>
            </p:cNvPr>
            <p:cNvGrpSpPr/>
            <p:nvPr/>
          </p:nvGrpSpPr>
          <p:grpSpPr>
            <a:xfrm>
              <a:off x="0" y="153125"/>
              <a:ext cx="17907000" cy="666567"/>
              <a:chOff x="0" y="153125"/>
              <a:chExt cx="17907000" cy="666567"/>
            </a:xfrm>
          </p:grpSpPr>
          <p:pic>
            <p:nvPicPr>
              <p:cNvPr id="10" name="Picture 10"/>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2" name="TextBox 11">
                <a:extLst>
                  <a:ext uri="{FF2B5EF4-FFF2-40B4-BE49-F238E27FC236}">
                    <a16:creationId xmlns:a16="http://schemas.microsoft.com/office/drawing/2014/main" id="{1BD9B5F4-614C-4EB6-8C5B-120A5420CE43}"/>
                  </a:ext>
                </a:extLst>
              </p:cNvPr>
              <p:cNvSpPr txBox="1"/>
              <p:nvPr/>
            </p:nvSpPr>
            <p:spPr>
              <a:xfrm>
                <a:off x="12154296" y="257980"/>
                <a:ext cx="5752704" cy="456856"/>
              </a:xfrm>
              <a:prstGeom prst="rect">
                <a:avLst/>
              </a:prstGeom>
            </p:spPr>
            <p:txBody>
              <a:bodyPr wrap="square" lIns="0" tIns="0" rIns="0" bIns="0" rtlCol="0" anchor="t">
                <a:spAutoFit/>
              </a:bodyPr>
              <a:lstStyle/>
              <a:p>
                <a:pPr marL="0" marR="0" lvl="0" indent="0" algn="r" defTabSz="914400" rtl="0" eaLnBrk="1" fontAlgn="auto" latinLnBrk="0" hangingPunct="1">
                  <a:lnSpc>
                    <a:spcPts val="3919"/>
                  </a:lnSpc>
                  <a:spcBef>
                    <a:spcPct val="0"/>
                  </a:spcBef>
                  <a:spcAft>
                    <a:spcPts val="0"/>
                  </a:spcAft>
                  <a:buClrTx/>
                  <a:buSzTx/>
                  <a:buFontTx/>
                  <a:buNone/>
                  <a:tabLst/>
                  <a:defRPr/>
                </a:pPr>
                <a:endParaRPr kumimoji="0" lang="en-US" sz="2800" b="0" i="0" u="none" strike="noStrike" kern="1200" cap="none" spc="0" normalizeH="0" baseline="0" noProof="0">
                  <a:ln>
                    <a:noFill/>
                  </a:ln>
                  <a:solidFill>
                    <a:srgbClr val="2F2F2F">
                      <a:lumMod val="75000"/>
                      <a:lumOff val="25000"/>
                    </a:srgbClr>
                  </a:solidFill>
                  <a:effectLst/>
                  <a:uLnTx/>
                  <a:uFillTx/>
                  <a:latin typeface="Arial" panose="020B0604020202020204" pitchFamily="34" charset="0"/>
                  <a:ea typeface="+mn-ea"/>
                  <a:cs typeface="Arial" panose="020B0604020202020204" pitchFamily="34" charset="0"/>
                </a:endParaRPr>
              </a:p>
            </p:txBody>
          </p:sp>
        </p:grpSp>
        <p:sp>
          <p:nvSpPr>
            <p:cNvPr id="14" name="Rettangolo 13">
              <a:extLst>
                <a:ext uri="{FF2B5EF4-FFF2-40B4-BE49-F238E27FC236}">
                  <a16:creationId xmlns:a16="http://schemas.microsoft.com/office/drawing/2014/main" id="{55199736-B8B6-4C9A-8BAF-233E07A0CA89}"/>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3" name="TextBox 13"/>
          <p:cNvSpPr txBox="1"/>
          <p:nvPr/>
        </p:nvSpPr>
        <p:spPr>
          <a:xfrm>
            <a:off x="1686562" y="1247212"/>
            <a:ext cx="13618595" cy="677108"/>
          </a:xfrm>
          <a:prstGeom prst="rect">
            <a:avLst/>
          </a:prstGeom>
        </p:spPr>
        <p:txBody>
          <a:bodyPr wrap="square" lIns="0" tIns="0" rIns="0" bIns="0" rtlCol="0" anchor="t">
            <a:sp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4400" b="1" i="0" u="none" strike="noStrike" kern="1200" cap="none" spc="0" normalizeH="0" baseline="0" noProof="0">
                <a:ln>
                  <a:noFill/>
                </a:ln>
                <a:solidFill>
                  <a:srgbClr val="CC0033"/>
                </a:solidFill>
                <a:effectLst/>
                <a:uLnTx/>
                <a:uFillTx/>
                <a:latin typeface="Arial"/>
                <a:ea typeface="+mn-ea"/>
                <a:cs typeface="Arial" panose="020B0604020202020204" pitchFamily="34" charset="0"/>
              </a:rPr>
              <a:t>Overview of Chapter 2</a:t>
            </a:r>
            <a:endParaRPr kumimoji="0" lang="en-US" sz="3600" b="1" i="1" u="none" strike="noStrike" kern="1200" cap="none" spc="0" normalizeH="0" baseline="0" noProof="0">
              <a:ln>
                <a:noFill/>
              </a:ln>
              <a:solidFill>
                <a:srgbClr val="CC0033"/>
              </a:solidFill>
              <a:effectLst/>
              <a:uLnTx/>
              <a:uFillTx/>
              <a:latin typeface="Arial"/>
              <a:ea typeface="+mn-ea"/>
              <a:cs typeface="Arial" panose="020B0604020202020204" pitchFamily="34" charset="0"/>
            </a:endParaRPr>
          </a:p>
        </p:txBody>
      </p:sp>
      <p:sp>
        <p:nvSpPr>
          <p:cNvPr id="21" name="Content Placeholder 2">
            <a:extLst>
              <a:ext uri="{FF2B5EF4-FFF2-40B4-BE49-F238E27FC236}">
                <a16:creationId xmlns:a16="http://schemas.microsoft.com/office/drawing/2014/main" id="{7410B400-A91F-45CE-9F10-13149670B085}"/>
              </a:ext>
            </a:extLst>
          </p:cNvPr>
          <p:cNvSpPr txBox="1">
            <a:spLocks/>
          </p:cNvSpPr>
          <p:nvPr/>
        </p:nvSpPr>
        <p:spPr>
          <a:xfrm>
            <a:off x="618565" y="2458239"/>
            <a:ext cx="12754535" cy="4075911"/>
          </a:xfrm>
          <a:prstGeom prst="rect">
            <a:avLst/>
          </a:prstGeom>
        </p:spPr>
        <p:txBody>
          <a:bodyPr vert="horz" lIns="91440" tIns="45720" rIns="91440" bIns="45720" rtlCol="0">
            <a:noAutofit/>
          </a:bodyPr>
          <a:lstStyle>
            <a:lvl1pPr marL="0" indent="0" algn="ctr" defTabSz="914400" rtl="0" eaLnBrk="1" latinLnBrk="0" hangingPunct="1">
              <a:spcBef>
                <a:spcPct val="20000"/>
              </a:spcBef>
              <a:buFont typeface="Arial" pitchFamily="34" charset="0"/>
              <a:buNone/>
              <a:defRPr sz="3200" kern="1200">
                <a:solidFill>
                  <a:schemeClr val="tx1">
                    <a:tint val="75000"/>
                  </a:schemeClr>
                </a:solidFill>
                <a:latin typeface="+mn-lt"/>
                <a:ea typeface="+mn-ea"/>
                <a:cs typeface="+mn-cs"/>
              </a:defRPr>
            </a:lvl1pPr>
            <a:lvl2pPr marL="457200" indent="0" algn="ctr" defTabSz="914400"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marL="457200" marR="0" lvl="1" indent="0" algn="l"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en-GB" b="1" i="0" u="none" strike="noStrike" kern="1200" cap="none" spc="0" normalizeH="0" baseline="0" dirty="0">
              <a:ln>
                <a:noFill/>
              </a:ln>
              <a:solidFill>
                <a:srgbClr val="2F2F2F"/>
              </a:solidFill>
              <a:effectLst/>
              <a:uLnTx/>
              <a:uFillTx/>
              <a:latin typeface="Arial"/>
              <a:ea typeface="+mn-ea"/>
              <a:cs typeface="+mn-cs"/>
            </a:endParaRPr>
          </a:p>
          <a:p>
            <a:pPr marL="457200" marR="0" lvl="1"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GB" b="1" i="0" u="none" strike="noStrike" kern="1200" cap="none" spc="0" normalizeH="0" baseline="0" dirty="0">
                <a:ln>
                  <a:noFill/>
                </a:ln>
                <a:solidFill>
                  <a:srgbClr val="2F2F2F"/>
                </a:solidFill>
                <a:effectLst/>
                <a:uLnTx/>
                <a:uFillTx/>
                <a:latin typeface="Arial"/>
                <a:ea typeface="+mn-ea"/>
                <a:cs typeface="+mn-cs"/>
              </a:rPr>
              <a:t>Chapter 2 is divided into the following</a:t>
            </a:r>
            <a:r>
              <a:rPr lang="en-GB" b="1" dirty="0">
                <a:solidFill>
                  <a:srgbClr val="2F2F2F"/>
                </a:solidFill>
                <a:latin typeface="Arial"/>
              </a:rPr>
              <a:t> subchapters: </a:t>
            </a:r>
          </a:p>
          <a:p>
            <a:pPr marL="457200" marR="0" lvl="1" indent="0" algn="l"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en-GB" b="1" i="0" u="none" strike="noStrike" kern="1200" cap="none" spc="0" normalizeH="0" baseline="0" dirty="0">
              <a:ln>
                <a:noFill/>
              </a:ln>
              <a:solidFill>
                <a:srgbClr val="2F2F2F"/>
              </a:solidFill>
              <a:effectLst/>
              <a:uLnTx/>
              <a:uFillTx/>
              <a:latin typeface="Arial"/>
              <a:ea typeface="+mn-ea"/>
              <a:cs typeface="+mn-cs"/>
            </a:endParaRPr>
          </a:p>
          <a:p>
            <a:pPr marL="1371600" lvl="2" indent="-457200" algn="l">
              <a:buFont typeface="Arial" panose="020B0604020202020204" pitchFamily="34" charset="0"/>
              <a:buChar char="•"/>
            </a:pPr>
            <a:r>
              <a:rPr lang="en-GB" sz="2800" dirty="0">
                <a:solidFill>
                  <a:schemeClr val="tx1"/>
                </a:solidFill>
              </a:rPr>
              <a:t>2.1 The RETROFEED Project</a:t>
            </a:r>
          </a:p>
          <a:p>
            <a:pPr marL="1371600" lvl="2" indent="-457200" algn="l">
              <a:buFont typeface="Arial" panose="020B0604020202020204" pitchFamily="34" charset="0"/>
              <a:buChar char="•"/>
            </a:pPr>
            <a:r>
              <a:rPr lang="en-GB" sz="2800" dirty="0">
                <a:solidFill>
                  <a:schemeClr val="tx1"/>
                </a:solidFill>
              </a:rPr>
              <a:t>2.2 Cement Production</a:t>
            </a:r>
          </a:p>
          <a:p>
            <a:pPr marL="1371600" lvl="2" indent="-457200" algn="l">
              <a:buFont typeface="Arial" panose="020B0604020202020204" pitchFamily="34" charset="0"/>
              <a:buChar char="•"/>
            </a:pPr>
            <a:r>
              <a:rPr lang="en-GB" sz="2800" dirty="0">
                <a:solidFill>
                  <a:schemeClr val="tx1"/>
                </a:solidFill>
              </a:rPr>
              <a:t>2.3 Aluminium Production</a:t>
            </a:r>
          </a:p>
          <a:p>
            <a:pPr marL="1371600" lvl="2" indent="-457200" algn="l">
              <a:buFont typeface="Arial" panose="020B0604020202020204" pitchFamily="34" charset="0"/>
              <a:buChar char="•"/>
            </a:pPr>
            <a:r>
              <a:rPr lang="en-GB" sz="2800" dirty="0">
                <a:solidFill>
                  <a:schemeClr val="tx1"/>
                </a:solidFill>
              </a:rPr>
              <a:t>2.4 Fertilizer Production</a:t>
            </a:r>
          </a:p>
          <a:p>
            <a:pPr marL="1371600" lvl="2" indent="-457200" algn="l">
              <a:buFont typeface="Arial" panose="020B0604020202020204" pitchFamily="34" charset="0"/>
              <a:buChar char="•"/>
            </a:pPr>
            <a:r>
              <a:rPr lang="en-GB" sz="2800" dirty="0">
                <a:solidFill>
                  <a:schemeClr val="tx1"/>
                </a:solidFill>
              </a:rPr>
              <a:t>2.5 Steel Production</a:t>
            </a:r>
          </a:p>
          <a:p>
            <a:pPr marL="457200" marR="0" lvl="1" indent="0" algn="l"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en-GB" b="1" i="0" u="none" strike="noStrike" kern="1200" cap="none" spc="0" normalizeH="0" baseline="0" dirty="0">
              <a:ln>
                <a:noFill/>
              </a:ln>
              <a:solidFill>
                <a:srgbClr val="2F2F2F"/>
              </a:solidFill>
              <a:effectLst/>
              <a:uLnTx/>
              <a:uFillTx/>
              <a:latin typeface="Arial"/>
              <a:ea typeface="+mn-ea"/>
              <a:cs typeface="+mn-cs"/>
            </a:endParaRPr>
          </a:p>
          <a:p>
            <a:pPr marL="457200" marR="0" lvl="1" indent="0" algn="l"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en-GB" b="1" i="0" u="none" strike="noStrike" kern="1200" cap="none" spc="0" normalizeH="0" baseline="0" dirty="0">
              <a:ln>
                <a:noFill/>
              </a:ln>
              <a:solidFill>
                <a:srgbClr val="2F2F2F"/>
              </a:solidFill>
              <a:effectLst/>
              <a:uLnTx/>
              <a:uFillTx/>
              <a:latin typeface="Arial"/>
              <a:ea typeface="+mn-ea"/>
              <a:cs typeface="+mn-cs"/>
            </a:endParaRPr>
          </a:p>
        </p:txBody>
      </p:sp>
      <p:pic>
        <p:nvPicPr>
          <p:cNvPr id="5" name="Picture 4">
            <a:extLst>
              <a:ext uri="{FF2B5EF4-FFF2-40B4-BE49-F238E27FC236}">
                <a16:creationId xmlns:a16="http://schemas.microsoft.com/office/drawing/2014/main" id="{A000B1BA-C392-91BA-F8B0-30BF7241B61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802469" y="3649408"/>
            <a:ext cx="6415742" cy="4280216"/>
          </a:xfrm>
          <a:prstGeom prst="rect">
            <a:avLst/>
          </a:prstGeom>
        </p:spPr>
      </p:pic>
      <p:sp>
        <p:nvSpPr>
          <p:cNvPr id="6" name="textruta 5">
            <a:extLst>
              <a:ext uri="{FF2B5EF4-FFF2-40B4-BE49-F238E27FC236}">
                <a16:creationId xmlns:a16="http://schemas.microsoft.com/office/drawing/2014/main" id="{B9D31FE9-AE0C-C698-40F2-B6AD1F4D96C9}"/>
              </a:ext>
            </a:extLst>
          </p:cNvPr>
          <p:cNvSpPr txBox="1"/>
          <p:nvPr/>
        </p:nvSpPr>
        <p:spPr>
          <a:xfrm>
            <a:off x="618565" y="6978344"/>
            <a:ext cx="9668435" cy="954107"/>
          </a:xfrm>
          <a:prstGeom prst="rect">
            <a:avLst/>
          </a:prstGeom>
          <a:noFill/>
        </p:spPr>
        <p:txBody>
          <a:bodyPr wrap="square">
            <a:spAutoFit/>
          </a:bodyPr>
          <a:lstStyle/>
          <a:p>
            <a:pPr marL="457200" marR="0" lvl="1"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en-GB" sz="2800" dirty="0"/>
              <a:t>For each sector the demo-sites are introduced and the retrofitting actions. </a:t>
            </a:r>
          </a:p>
        </p:txBody>
      </p:sp>
    </p:spTree>
    <p:extLst>
      <p:ext uri="{BB962C8B-B14F-4D97-AF65-F5344CB8AC3E}">
        <p14:creationId xmlns:p14="http://schemas.microsoft.com/office/powerpoint/2010/main" val="2588906456"/>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1" name="Picture 12">
            <a:extLst>
              <a:ext uri="{FF2B5EF4-FFF2-40B4-BE49-F238E27FC236}">
                <a16:creationId xmlns:a16="http://schemas.microsoft.com/office/drawing/2014/main" id="{43802E0E-B79D-4EA7-8141-0CA3ED138B1A}"/>
              </a:ext>
            </a:extLst>
          </p:cNvPr>
          <p:cNvPicPr>
            <a:picLocks noChangeAspect="1"/>
          </p:cNvPicPr>
          <p:nvPr/>
        </p:nvPicPr>
        <p:blipFill>
          <a:blip r:embed="rId3"/>
          <a:srcRect/>
          <a:stretch>
            <a:fillRect/>
          </a:stretch>
        </p:blipFill>
        <p:spPr>
          <a:xfrm>
            <a:off x="0" y="8959891"/>
            <a:ext cx="5715000" cy="1385888"/>
          </a:xfrm>
          <a:prstGeom prst="rect">
            <a:avLst/>
          </a:prstGeom>
        </p:spPr>
      </p:pic>
      <p:grpSp>
        <p:nvGrpSpPr>
          <p:cNvPr id="132" name="Gruppo 2">
            <a:extLst>
              <a:ext uri="{FF2B5EF4-FFF2-40B4-BE49-F238E27FC236}">
                <a16:creationId xmlns:a16="http://schemas.microsoft.com/office/drawing/2014/main" id="{649928F6-6E82-4611-9715-AD3C75457C28}"/>
              </a:ext>
            </a:extLst>
          </p:cNvPr>
          <p:cNvGrpSpPr/>
          <p:nvPr/>
        </p:nvGrpSpPr>
        <p:grpSpPr>
          <a:xfrm>
            <a:off x="-12" y="138554"/>
            <a:ext cx="18288002" cy="681138"/>
            <a:chOff x="-12" y="138554"/>
            <a:chExt cx="18288002" cy="681138"/>
          </a:xfrm>
        </p:grpSpPr>
        <p:grpSp>
          <p:nvGrpSpPr>
            <p:cNvPr id="133" name="Gruppo 1">
              <a:extLst>
                <a:ext uri="{FF2B5EF4-FFF2-40B4-BE49-F238E27FC236}">
                  <a16:creationId xmlns:a16="http://schemas.microsoft.com/office/drawing/2014/main" id="{A8EB8794-E5C6-45EB-BAEC-2778E982797A}"/>
                </a:ext>
              </a:extLst>
            </p:cNvPr>
            <p:cNvGrpSpPr/>
            <p:nvPr/>
          </p:nvGrpSpPr>
          <p:grpSpPr>
            <a:xfrm>
              <a:off x="0" y="153125"/>
              <a:ext cx="17907000" cy="666567"/>
              <a:chOff x="0" y="153125"/>
              <a:chExt cx="17907000" cy="666567"/>
            </a:xfrm>
          </p:grpSpPr>
          <p:grpSp>
            <p:nvGrpSpPr>
              <p:cNvPr id="135" name="Gruppo 15">
                <a:extLst>
                  <a:ext uri="{FF2B5EF4-FFF2-40B4-BE49-F238E27FC236}">
                    <a16:creationId xmlns:a16="http://schemas.microsoft.com/office/drawing/2014/main" id="{AB129748-9FD7-458D-BD6E-304271C1814A}"/>
                  </a:ext>
                </a:extLst>
              </p:cNvPr>
              <p:cNvGrpSpPr/>
              <p:nvPr/>
            </p:nvGrpSpPr>
            <p:grpSpPr>
              <a:xfrm>
                <a:off x="0" y="153125"/>
                <a:ext cx="13958844" cy="666567"/>
                <a:chOff x="0" y="153125"/>
                <a:chExt cx="13958844" cy="666567"/>
              </a:xfrm>
            </p:grpSpPr>
            <p:pic>
              <p:nvPicPr>
                <p:cNvPr id="137" name="Picture 136">
                  <a:extLst>
                    <a:ext uri="{FF2B5EF4-FFF2-40B4-BE49-F238E27FC236}">
                      <a16:creationId xmlns:a16="http://schemas.microsoft.com/office/drawing/2014/main" id="{88E31CFD-796F-4F3F-A1EC-0E38F9D83456}"/>
                    </a:ext>
                  </a:extLst>
                </p:cNvPr>
                <p:cNvPicPr>
                  <a:picLocks noChangeAspect="1"/>
                </p:cNvPicPr>
                <p:nvPr/>
              </p:nvPicPr>
              <p:blipFill>
                <a:blip r:embed="rId4"/>
                <a:srcRect l="134" t="91287" b="3943"/>
                <a:stretch>
                  <a:fillRect/>
                </a:stretch>
              </p:blipFill>
              <p:spPr>
                <a:xfrm>
                  <a:off x="0" y="153125"/>
                  <a:ext cx="13958844" cy="666567"/>
                </a:xfrm>
                <a:prstGeom prst="rect">
                  <a:avLst/>
                </a:prstGeom>
              </p:spPr>
            </p:pic>
            <p:sp>
              <p:nvSpPr>
                <p:cNvPr id="138" name="TextBox 137">
                  <a:extLst>
                    <a:ext uri="{FF2B5EF4-FFF2-40B4-BE49-F238E27FC236}">
                      <a16:creationId xmlns:a16="http://schemas.microsoft.com/office/drawing/2014/main" id="{7694DADD-E227-40A7-A98D-244B0D207E54}"/>
                    </a:ext>
                  </a:extLst>
                </p:cNvPr>
                <p:cNvSpPr txBox="1"/>
                <p:nvPr/>
              </p:nvSpPr>
              <p:spPr>
                <a:xfrm>
                  <a:off x="228600" y="257980"/>
                  <a:ext cx="9296400" cy="456856"/>
                </a:xfrm>
                <a:prstGeom prst="rect">
                  <a:avLst/>
                </a:prstGeom>
              </p:spPr>
              <p:txBody>
                <a:bodyPr wrap="square" lIns="0" tIns="0" rIns="0" bIns="0" rtlCol="0" anchor="t">
                  <a:spAutoFit/>
                </a:bodyPr>
                <a:lstStyle/>
                <a:p>
                  <a:pPr>
                    <a:lnSpc>
                      <a:spcPts val="3920"/>
                    </a:lnSpc>
                  </a:pPr>
                  <a:r>
                    <a:rPr lang="en-US" sz="2801" b="1">
                      <a:solidFill>
                        <a:srgbClr val="FFFFFF"/>
                      </a:solidFill>
                      <a:latin typeface="Arial" panose="020B0604020202020204" pitchFamily="34" charset="0"/>
                      <a:cs typeface="Arial" panose="020B0604020202020204" pitchFamily="34" charset="0"/>
                    </a:rPr>
                    <a:t>Module 3</a:t>
                  </a:r>
                </a:p>
              </p:txBody>
            </p:sp>
          </p:grpSp>
          <p:sp>
            <p:nvSpPr>
              <p:cNvPr id="136" name="TextBox 135">
                <a:extLst>
                  <a:ext uri="{FF2B5EF4-FFF2-40B4-BE49-F238E27FC236}">
                    <a16:creationId xmlns:a16="http://schemas.microsoft.com/office/drawing/2014/main" id="{4B3CCEBB-60EF-4175-9878-F0D51FD80FF0}"/>
                  </a:ext>
                </a:extLst>
              </p:cNvPr>
              <p:cNvSpPr txBox="1"/>
              <p:nvPr/>
            </p:nvSpPr>
            <p:spPr>
              <a:xfrm>
                <a:off x="12154296" y="257980"/>
                <a:ext cx="5752704" cy="456856"/>
              </a:xfrm>
              <a:prstGeom prst="rect">
                <a:avLst/>
              </a:prstGeom>
            </p:spPr>
            <p:txBody>
              <a:bodyPr wrap="square" lIns="0" tIns="0" rIns="0" bIns="0" rtlCol="0" anchor="t">
                <a:spAutoFit/>
              </a:bodyPr>
              <a:lstStyle/>
              <a:p>
                <a:pPr algn="r">
                  <a:lnSpc>
                    <a:spcPts val="3920"/>
                  </a:lnSpc>
                </a:pPr>
                <a:endParaRPr lang="en-US" sz="2801">
                  <a:solidFill>
                    <a:schemeClr val="tx1">
                      <a:lumMod val="75000"/>
                      <a:lumOff val="25000"/>
                    </a:schemeClr>
                  </a:solidFill>
                  <a:latin typeface="Arial" panose="020B0604020202020204" pitchFamily="34" charset="0"/>
                  <a:cs typeface="Arial" panose="020B0604020202020204" pitchFamily="34" charset="0"/>
                </a:endParaRPr>
              </a:p>
            </p:txBody>
          </p:sp>
        </p:grpSp>
        <p:sp>
          <p:nvSpPr>
            <p:cNvPr id="134" name="Rettangolo 13">
              <a:extLst>
                <a:ext uri="{FF2B5EF4-FFF2-40B4-BE49-F238E27FC236}">
                  <a16:creationId xmlns:a16="http://schemas.microsoft.com/office/drawing/2014/main" id="{8F0CF2A7-592A-4287-9206-D3289F1B0C37}"/>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a:p>
          </p:txBody>
        </p:sp>
      </p:grpSp>
      <p:pic>
        <p:nvPicPr>
          <p:cNvPr id="139" name="Picture 12">
            <a:extLst>
              <a:ext uri="{FF2B5EF4-FFF2-40B4-BE49-F238E27FC236}">
                <a16:creationId xmlns:a16="http://schemas.microsoft.com/office/drawing/2014/main" id="{F047215A-40D8-4A57-BE02-5E03FCEEBB7B}"/>
              </a:ext>
            </a:extLst>
          </p:cNvPr>
          <p:cNvPicPr>
            <a:picLocks noChangeAspect="1"/>
          </p:cNvPicPr>
          <p:nvPr/>
        </p:nvPicPr>
        <p:blipFill>
          <a:blip r:embed="rId5"/>
          <a:srcRect l="134" t="91287" b="3943"/>
          <a:stretch>
            <a:fillRect/>
          </a:stretch>
        </p:blipFill>
        <p:spPr>
          <a:xfrm rot="10800000">
            <a:off x="4329146" y="9679209"/>
            <a:ext cx="13958844" cy="666567"/>
          </a:xfrm>
          <a:prstGeom prst="rect">
            <a:avLst/>
          </a:prstGeom>
        </p:spPr>
      </p:pic>
      <p:sp>
        <p:nvSpPr>
          <p:cNvPr id="140" name="TextBox 16">
            <a:extLst>
              <a:ext uri="{FF2B5EF4-FFF2-40B4-BE49-F238E27FC236}">
                <a16:creationId xmlns:a16="http://schemas.microsoft.com/office/drawing/2014/main" id="{C693B1DB-897C-4A9D-8CF3-F1423F6CB38D}"/>
              </a:ext>
            </a:extLst>
          </p:cNvPr>
          <p:cNvSpPr txBox="1"/>
          <p:nvPr/>
        </p:nvSpPr>
        <p:spPr>
          <a:xfrm>
            <a:off x="14400020" y="9762302"/>
            <a:ext cx="3636320" cy="448713"/>
          </a:xfrm>
          <a:prstGeom prst="rect">
            <a:avLst/>
          </a:prstGeom>
        </p:spPr>
        <p:txBody>
          <a:bodyPr wrap="square" lIns="0" tIns="0" rIns="0" bIns="0" rtlCol="0" anchor="t">
            <a:spAutoFit/>
          </a:bodyPr>
          <a:lstStyle/>
          <a:p>
            <a:pPr algn="ctr">
              <a:lnSpc>
                <a:spcPts val="3920"/>
              </a:lnSpc>
            </a:pPr>
            <a:r>
              <a:rPr lang="en-US" sz="2801" b="1">
                <a:solidFill>
                  <a:srgbClr val="FFFFFF"/>
                </a:solidFill>
                <a:latin typeface="OCR A Extended" panose="02010509020102010303" pitchFamily="50" charset="0"/>
              </a:rPr>
              <a:t>www.retrofeed.eu</a:t>
            </a:r>
          </a:p>
        </p:txBody>
      </p:sp>
      <p:sp>
        <p:nvSpPr>
          <p:cNvPr id="276" name="TextBox 275">
            <a:extLst>
              <a:ext uri="{FF2B5EF4-FFF2-40B4-BE49-F238E27FC236}">
                <a16:creationId xmlns:a16="http://schemas.microsoft.com/office/drawing/2014/main" id="{23F49CDA-BC36-C7E5-B9CD-42DA77A33D92}"/>
              </a:ext>
            </a:extLst>
          </p:cNvPr>
          <p:cNvSpPr txBox="1"/>
          <p:nvPr/>
        </p:nvSpPr>
        <p:spPr>
          <a:xfrm>
            <a:off x="909923" y="1244708"/>
            <a:ext cx="16143207" cy="1077346"/>
          </a:xfrm>
          <a:prstGeom prst="rect">
            <a:avLst/>
          </a:prstGeom>
          <a:noFill/>
        </p:spPr>
        <p:txBody>
          <a:bodyPr wrap="square">
            <a:spAutoFit/>
          </a:bodyPr>
          <a:lstStyle/>
          <a:p>
            <a:pPr algn="ctr"/>
            <a:r>
              <a:rPr lang="sv-SE" sz="6401" b="1">
                <a:solidFill>
                  <a:srgbClr val="CC0033"/>
                </a:solidFill>
                <a:latin typeface="+mj-lt"/>
                <a:cs typeface="Arial" panose="020B0604020202020204" pitchFamily="34" charset="0"/>
              </a:rPr>
              <a:t>        - </a:t>
            </a:r>
            <a:r>
              <a:rPr lang="sv-SE" sz="6401" b="1" err="1">
                <a:solidFill>
                  <a:srgbClr val="CC0033"/>
                </a:solidFill>
                <a:latin typeface="+mj-lt"/>
                <a:cs typeface="Arial" panose="020B0604020202020204" pitchFamily="34" charset="0"/>
              </a:rPr>
              <a:t>Conclusions</a:t>
            </a:r>
            <a:endParaRPr lang="sv-SE" sz="6401" b="1">
              <a:solidFill>
                <a:srgbClr val="CC0033"/>
              </a:solidFill>
              <a:latin typeface="+mj-lt"/>
              <a:cs typeface="Arial" panose="020B0604020202020204" pitchFamily="34" charset="0"/>
            </a:endParaRPr>
          </a:p>
        </p:txBody>
      </p:sp>
      <p:pic>
        <p:nvPicPr>
          <p:cNvPr id="277" name="Picture 276" descr="RETROFEED FERTIBERIA">
            <a:extLst>
              <a:ext uri="{FF2B5EF4-FFF2-40B4-BE49-F238E27FC236}">
                <a16:creationId xmlns:a16="http://schemas.microsoft.com/office/drawing/2014/main" id="{13D4CF92-1DBE-F158-BA77-B8A6CA0F45B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691970" y="1270604"/>
            <a:ext cx="2287452" cy="841782"/>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2AC9BA53-9851-150A-622B-A161D6931EBC}"/>
              </a:ext>
            </a:extLst>
          </p:cNvPr>
          <p:cNvSpPr txBox="1"/>
          <p:nvPr/>
        </p:nvSpPr>
        <p:spPr>
          <a:xfrm>
            <a:off x="1713774" y="3773801"/>
            <a:ext cx="14699706" cy="5875455"/>
          </a:xfrm>
          <a:prstGeom prst="rect">
            <a:avLst/>
          </a:prstGeom>
          <a:noFill/>
        </p:spPr>
        <p:txBody>
          <a:bodyPr wrap="square" rtlCol="0">
            <a:spAutoFit/>
          </a:bodyPr>
          <a:lstStyle/>
          <a:p>
            <a:pPr defTabSz="622331">
              <a:lnSpc>
                <a:spcPct val="90000"/>
              </a:lnSpc>
              <a:spcAft>
                <a:spcPct val="35000"/>
              </a:spcAft>
              <a:buClr>
                <a:schemeClr val="accent1"/>
              </a:buClr>
            </a:pPr>
            <a:r>
              <a:rPr lang="en-US" altLang="fr-FR" sz="3200" b="1">
                <a:sym typeface="+mn-ea"/>
              </a:rPr>
              <a:t>Life cycle assessment (LCA)</a:t>
            </a:r>
          </a:p>
          <a:p>
            <a:pPr marL="285765" indent="-285765" defTabSz="622331">
              <a:lnSpc>
                <a:spcPct val="90000"/>
              </a:lnSpc>
              <a:spcAft>
                <a:spcPct val="35000"/>
              </a:spcAft>
              <a:buClr>
                <a:schemeClr val="accent1"/>
              </a:buClr>
              <a:buFont typeface="Arial" panose="020B0604020202020204" pitchFamily="34" charset="0"/>
              <a:buChar char="•"/>
            </a:pPr>
            <a:r>
              <a:rPr lang="en-US" altLang="fr-FR" sz="3200">
                <a:sym typeface="+mn-ea"/>
              </a:rPr>
              <a:t>The increased GWP impact due to raw material change was </a:t>
            </a:r>
            <a:r>
              <a:rPr lang="" altLang="fr-FR" sz="3200">
                <a:sym typeface="+mn-ea"/>
              </a:rPr>
              <a:t>greater than the reduction due to transport, emissions and natural gas demand.</a:t>
            </a:r>
          </a:p>
          <a:p>
            <a:pPr marL="285765" indent="-285765" defTabSz="622331">
              <a:lnSpc>
                <a:spcPct val="90000"/>
              </a:lnSpc>
              <a:spcAft>
                <a:spcPct val="35000"/>
              </a:spcAft>
              <a:buClr>
                <a:schemeClr val="accent1"/>
              </a:buClr>
              <a:buFont typeface="Arial" panose="020B0604020202020204" pitchFamily="34" charset="0"/>
              <a:buChar char="•"/>
            </a:pPr>
            <a:r>
              <a:rPr lang="" altLang="fr-FR" sz="3200">
                <a:sym typeface="+mn-ea"/>
              </a:rPr>
              <a:t>The retrofit actions resulted in an increase in GWP by 4%.</a:t>
            </a:r>
          </a:p>
          <a:p>
            <a:pPr marL="285765" indent="-285765" defTabSz="622331">
              <a:lnSpc>
                <a:spcPct val="90000"/>
              </a:lnSpc>
              <a:spcAft>
                <a:spcPct val="35000"/>
              </a:spcAft>
              <a:buClr>
                <a:schemeClr val="accent1"/>
              </a:buClr>
              <a:buFont typeface="Arial" panose="020B0604020202020204" pitchFamily="34" charset="0"/>
              <a:buChar char="•"/>
            </a:pPr>
            <a:r>
              <a:rPr lang="" sz="3200">
                <a:sym typeface="+mn-ea"/>
              </a:rPr>
              <a:t>5 out of 8(7) impact categories saw a decreased impact due to the actions.</a:t>
            </a:r>
            <a:endParaRPr lang="sv-SE"/>
          </a:p>
          <a:p>
            <a:pPr defTabSz="622331">
              <a:lnSpc>
                <a:spcPct val="90000"/>
              </a:lnSpc>
              <a:spcAft>
                <a:spcPct val="35000"/>
              </a:spcAft>
              <a:buClr>
                <a:schemeClr val="accent1"/>
              </a:buClr>
            </a:pPr>
            <a:endParaRPr lang="" altLang="fr-FR" sz="3200" b="1">
              <a:sym typeface="+mn-ea"/>
            </a:endParaRPr>
          </a:p>
          <a:p>
            <a:pPr defTabSz="622331">
              <a:lnSpc>
                <a:spcPct val="90000"/>
              </a:lnSpc>
              <a:spcAft>
                <a:spcPct val="35000"/>
              </a:spcAft>
              <a:buClr>
                <a:schemeClr val="accent1"/>
              </a:buClr>
            </a:pPr>
            <a:r>
              <a:rPr lang="" altLang="fr-FR" sz="3200" b="1">
                <a:sym typeface="+mn-ea"/>
              </a:rPr>
              <a:t>Life cycle costing (LCC)</a:t>
            </a:r>
          </a:p>
          <a:p>
            <a:pPr marL="285765" indent="-285765" defTabSz="622331">
              <a:lnSpc>
                <a:spcPct val="90000"/>
              </a:lnSpc>
              <a:spcAft>
                <a:spcPct val="35000"/>
              </a:spcAft>
              <a:buClr>
                <a:schemeClr val="accent1"/>
              </a:buClr>
              <a:buFont typeface="Arial" panose="020B0604020202020204" pitchFamily="34" charset="0"/>
              <a:buChar char="•"/>
            </a:pPr>
            <a:r>
              <a:rPr lang="" altLang="fr-FR" sz="3200">
                <a:sym typeface="+mn-ea"/>
              </a:rPr>
              <a:t>The total internal cost was reduced by 5% </a:t>
            </a:r>
          </a:p>
          <a:p>
            <a:pPr marL="285765" indent="-285765" defTabSz="622331">
              <a:lnSpc>
                <a:spcPct val="90000"/>
              </a:lnSpc>
              <a:spcAft>
                <a:spcPct val="35000"/>
              </a:spcAft>
              <a:buClr>
                <a:schemeClr val="accent1"/>
              </a:buClr>
              <a:buFont typeface="Arial" panose="020B0604020202020204" pitchFamily="34" charset="0"/>
              <a:buChar char="•"/>
            </a:pPr>
            <a:r>
              <a:rPr lang="" altLang="fr-FR" sz="3200">
                <a:sym typeface="+mn-ea"/>
              </a:rPr>
              <a:t>If externalities are included, the total cost decreased by 77%</a:t>
            </a:r>
            <a:endParaRPr lang="en-US" altLang="fr-FR" sz="3200">
              <a:sym typeface="+mn-ea"/>
            </a:endParaRPr>
          </a:p>
          <a:p>
            <a:endParaRPr lang="sv-SE" sz="2700"/>
          </a:p>
        </p:txBody>
      </p:sp>
      <p:sp>
        <p:nvSpPr>
          <p:cNvPr id="2" name="TextBox 1">
            <a:extLst>
              <a:ext uri="{FF2B5EF4-FFF2-40B4-BE49-F238E27FC236}">
                <a16:creationId xmlns:a16="http://schemas.microsoft.com/office/drawing/2014/main" id="{51900398-6ED7-B69E-57A8-4265D59AF026}"/>
              </a:ext>
            </a:extLst>
          </p:cNvPr>
          <p:cNvSpPr txBox="1"/>
          <p:nvPr/>
        </p:nvSpPr>
        <p:spPr>
          <a:xfrm>
            <a:off x="1713774" y="2405020"/>
            <a:ext cx="14699706" cy="1200585"/>
          </a:xfrm>
          <a:prstGeom prst="rect">
            <a:avLst/>
          </a:prstGeom>
          <a:solidFill>
            <a:schemeClr val="accent2"/>
          </a:solidFill>
          <a:ln>
            <a:solidFill>
              <a:schemeClr val="accent2"/>
            </a:solidFill>
          </a:ln>
        </p:spPr>
        <p:txBody>
          <a:bodyPr wrap="square" rtlCol="0">
            <a:spAutoFit/>
          </a:bodyPr>
          <a:lstStyle/>
          <a:p>
            <a:pPr algn="ctr" defTabSz="622331">
              <a:lnSpc>
                <a:spcPct val="90000"/>
              </a:lnSpc>
              <a:spcAft>
                <a:spcPct val="35000"/>
              </a:spcAft>
              <a:buClr>
                <a:schemeClr val="accent1"/>
              </a:buClr>
            </a:pPr>
            <a:r>
              <a:rPr lang="" altLang="fr-FR" sz="4001">
                <a:sym typeface="+mn-ea"/>
              </a:rPr>
              <a:t>As a result of the LCA/LCC made of the retrofit actions taken by Fertiberia the follow main conclusion can be drawn.</a:t>
            </a:r>
          </a:p>
        </p:txBody>
      </p:sp>
    </p:spTree>
    <p:extLst>
      <p:ext uri="{BB962C8B-B14F-4D97-AF65-F5344CB8AC3E}">
        <p14:creationId xmlns:p14="http://schemas.microsoft.com/office/powerpoint/2010/main" val="1193626242"/>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58" name="Rectangle 57">
            <a:extLst>
              <a:ext uri="{FF2B5EF4-FFF2-40B4-BE49-F238E27FC236}">
                <a16:creationId xmlns:a16="http://schemas.microsoft.com/office/drawing/2014/main" id="{289ED1AA-8684-4D37-B208-8777E1A7780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8283428" cy="10287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0" name="Graphic 33">
            <a:extLst>
              <a:ext uri="{FF2B5EF4-FFF2-40B4-BE49-F238E27FC236}">
                <a16:creationId xmlns:a16="http://schemas.microsoft.com/office/drawing/2014/main" id="{4180E01B-B1F4-437C-807D-1C930718EE6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966176" y="0"/>
            <a:ext cx="14355646" cy="10287000"/>
          </a:xfrm>
          <a:custGeom>
            <a:avLst/>
            <a:gdLst>
              <a:gd name="connsiteX0" fmla="*/ 7178288 w 7187261"/>
              <a:gd name="connsiteY0" fmla="*/ 2604802 h 5150263"/>
              <a:gd name="connsiteX1" fmla="*/ 7169335 w 7187261"/>
              <a:gd name="connsiteY1" fmla="*/ 2328577 h 5150263"/>
              <a:gd name="connsiteX2" fmla="*/ 7060845 w 7187261"/>
              <a:gd name="connsiteY2" fmla="*/ 1661160 h 5150263"/>
              <a:gd name="connsiteX3" fmla="*/ 6212263 w 7187261"/>
              <a:gd name="connsiteY3" fmla="*/ 243840 h 5150263"/>
              <a:gd name="connsiteX4" fmla="*/ 5953564 w 7187261"/>
              <a:gd name="connsiteY4" fmla="*/ 0 h 5150263"/>
              <a:gd name="connsiteX5" fmla="*/ 1408615 w 7187261"/>
              <a:gd name="connsiteY5" fmla="*/ 0 h 5150263"/>
              <a:gd name="connsiteX6" fmla="*/ 805111 w 7187261"/>
              <a:gd name="connsiteY6" fmla="*/ 676275 h 5150263"/>
              <a:gd name="connsiteX7" fmla="*/ 104928 w 7187261"/>
              <a:gd name="connsiteY7" fmla="*/ 2183035 h 5150263"/>
              <a:gd name="connsiteX8" fmla="*/ 51588 w 7187261"/>
              <a:gd name="connsiteY8" fmla="*/ 2400014 h 5150263"/>
              <a:gd name="connsiteX9" fmla="*/ 41301 w 7187261"/>
              <a:gd name="connsiteY9" fmla="*/ 2424208 h 5150263"/>
              <a:gd name="connsiteX10" fmla="*/ 119692 w 7187261"/>
              <a:gd name="connsiteY10" fmla="*/ 1834801 h 5150263"/>
              <a:gd name="connsiteX11" fmla="*/ 870071 w 7187261"/>
              <a:gd name="connsiteY11" fmla="*/ 462248 h 5150263"/>
              <a:gd name="connsiteX12" fmla="*/ 1389279 w 7187261"/>
              <a:gd name="connsiteY12" fmla="*/ 476 h 5150263"/>
              <a:gd name="connsiteX13" fmla="*/ 1320223 w 7187261"/>
              <a:gd name="connsiteY13" fmla="*/ 476 h 5150263"/>
              <a:gd name="connsiteX14" fmla="*/ 423158 w 7187261"/>
              <a:gd name="connsiteY14" fmla="*/ 989743 h 5150263"/>
              <a:gd name="connsiteX15" fmla="*/ 25585 w 7187261"/>
              <a:gd name="connsiteY15" fmla="*/ 2113693 h 5150263"/>
              <a:gd name="connsiteX16" fmla="*/ 2344 w 7187261"/>
              <a:gd name="connsiteY16" fmla="*/ 2725865 h 5150263"/>
              <a:gd name="connsiteX17" fmla="*/ 447256 w 7187261"/>
              <a:gd name="connsiteY17" fmla="*/ 4210717 h 5150263"/>
              <a:gd name="connsiteX18" fmla="*/ 1138962 w 7187261"/>
              <a:gd name="connsiteY18" fmla="*/ 4988910 h 5150263"/>
              <a:gd name="connsiteX19" fmla="*/ 1348512 w 7187261"/>
              <a:gd name="connsiteY19" fmla="*/ 5146834 h 5150263"/>
              <a:gd name="connsiteX20" fmla="*/ 1422712 w 7187261"/>
              <a:gd name="connsiteY20" fmla="*/ 5146834 h 5150263"/>
              <a:gd name="connsiteX21" fmla="*/ 480594 w 7187261"/>
              <a:gd name="connsiteY21" fmla="*/ 4187952 h 5150263"/>
              <a:gd name="connsiteX22" fmla="*/ 398679 w 7187261"/>
              <a:gd name="connsiteY22" fmla="*/ 4046125 h 5150263"/>
              <a:gd name="connsiteX23" fmla="*/ 411823 w 7187261"/>
              <a:gd name="connsiteY23" fmla="*/ 4053078 h 5150263"/>
              <a:gd name="connsiteX24" fmla="*/ 1439380 w 7187261"/>
              <a:gd name="connsiteY24" fmla="*/ 5147405 h 5150263"/>
              <a:gd name="connsiteX25" fmla="*/ 5710010 w 7187261"/>
              <a:gd name="connsiteY25" fmla="*/ 5150263 h 5150263"/>
              <a:gd name="connsiteX26" fmla="*/ 5999665 w 7187261"/>
              <a:gd name="connsiteY26" fmla="*/ 4910900 h 5150263"/>
              <a:gd name="connsiteX27" fmla="*/ 6954165 w 7187261"/>
              <a:gd name="connsiteY27" fmla="*/ 3545777 h 5150263"/>
              <a:gd name="connsiteX28" fmla="*/ 7137712 w 7187261"/>
              <a:gd name="connsiteY28" fmla="*/ 2799207 h 5150263"/>
              <a:gd name="connsiteX29" fmla="*/ 7142951 w 7187261"/>
              <a:gd name="connsiteY29" fmla="*/ 2754535 h 5150263"/>
              <a:gd name="connsiteX30" fmla="*/ 7149428 w 7187261"/>
              <a:gd name="connsiteY30" fmla="*/ 2774823 h 5150263"/>
              <a:gd name="connsiteX31" fmla="*/ 7066465 w 7187261"/>
              <a:gd name="connsiteY31" fmla="*/ 3465672 h 5150263"/>
              <a:gd name="connsiteX32" fmla="*/ 6452578 w 7187261"/>
              <a:gd name="connsiteY32" fmla="*/ 4552760 h 5150263"/>
              <a:gd name="connsiteX33" fmla="*/ 5752110 w 7187261"/>
              <a:gd name="connsiteY33" fmla="*/ 5150263 h 5150263"/>
              <a:gd name="connsiteX34" fmla="*/ 5827643 w 7187261"/>
              <a:gd name="connsiteY34" fmla="*/ 5150263 h 5150263"/>
              <a:gd name="connsiteX35" fmla="*/ 6642793 w 7187261"/>
              <a:gd name="connsiteY35" fmla="*/ 4389406 h 5150263"/>
              <a:gd name="connsiteX36" fmla="*/ 7102469 w 7187261"/>
              <a:gd name="connsiteY36" fmla="*/ 3490817 h 5150263"/>
              <a:gd name="connsiteX37" fmla="*/ 7187242 w 7187261"/>
              <a:gd name="connsiteY37" fmla="*/ 2990183 h 5150263"/>
              <a:gd name="connsiteX38" fmla="*/ 7178288 w 7187261"/>
              <a:gd name="connsiteY38" fmla="*/ 2604802 h 5150263"/>
              <a:gd name="connsiteX39" fmla="*/ 6342565 w 7187261"/>
              <a:gd name="connsiteY39" fmla="*/ 441389 h 5150263"/>
              <a:gd name="connsiteX40" fmla="*/ 7126567 w 7187261"/>
              <a:gd name="connsiteY40" fmla="*/ 2355056 h 5150263"/>
              <a:gd name="connsiteX41" fmla="*/ 6342565 w 7187261"/>
              <a:gd name="connsiteY41" fmla="*/ 441389 h 5150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187261" h="5150263">
                <a:moveTo>
                  <a:pt x="7178288" y="2604802"/>
                </a:moveTo>
                <a:cubicBezTo>
                  <a:pt x="7168763" y="2513076"/>
                  <a:pt x="7174478" y="2420684"/>
                  <a:pt x="7169335" y="2328577"/>
                </a:cubicBezTo>
                <a:cubicBezTo>
                  <a:pt x="7156952" y="2102882"/>
                  <a:pt x="7120586" y="1879149"/>
                  <a:pt x="7060845" y="1661160"/>
                </a:cubicBezTo>
                <a:cubicBezTo>
                  <a:pt x="6910588" y="1121007"/>
                  <a:pt x="6617428" y="631374"/>
                  <a:pt x="6212263" y="243840"/>
                </a:cubicBezTo>
                <a:cubicBezTo>
                  <a:pt x="6126538" y="162496"/>
                  <a:pt x="6040813" y="80201"/>
                  <a:pt x="5953564" y="0"/>
                </a:cubicBezTo>
                <a:lnTo>
                  <a:pt x="1408615" y="0"/>
                </a:lnTo>
                <a:cubicBezTo>
                  <a:pt x="1180967" y="200316"/>
                  <a:pt x="978332" y="427387"/>
                  <a:pt x="805111" y="676275"/>
                </a:cubicBezTo>
                <a:cubicBezTo>
                  <a:pt x="481261" y="1136523"/>
                  <a:pt x="252089" y="1640872"/>
                  <a:pt x="104928" y="2183035"/>
                </a:cubicBezTo>
                <a:cubicBezTo>
                  <a:pt x="85878" y="2254853"/>
                  <a:pt x="69495" y="2327720"/>
                  <a:pt x="51588" y="2400014"/>
                </a:cubicBezTo>
                <a:cubicBezTo>
                  <a:pt x="49683" y="2407634"/>
                  <a:pt x="51588" y="2416969"/>
                  <a:pt x="41301" y="2424208"/>
                </a:cubicBezTo>
                <a:cubicBezTo>
                  <a:pt x="45900" y="2225469"/>
                  <a:pt x="72186" y="2027834"/>
                  <a:pt x="119692" y="1834801"/>
                </a:cubicBezTo>
                <a:cubicBezTo>
                  <a:pt x="247993" y="1310926"/>
                  <a:pt x="506121" y="857726"/>
                  <a:pt x="870071" y="462248"/>
                </a:cubicBezTo>
                <a:cubicBezTo>
                  <a:pt x="1027729" y="291823"/>
                  <a:pt x="1201617" y="137169"/>
                  <a:pt x="1389279" y="476"/>
                </a:cubicBezTo>
                <a:lnTo>
                  <a:pt x="1320223" y="476"/>
                </a:lnTo>
                <a:cubicBezTo>
                  <a:pt x="960844" y="274320"/>
                  <a:pt x="656330" y="599123"/>
                  <a:pt x="423158" y="989743"/>
                </a:cubicBezTo>
                <a:cubicBezTo>
                  <a:pt x="215608" y="1337596"/>
                  <a:pt x="80258" y="1711357"/>
                  <a:pt x="25585" y="2113693"/>
                </a:cubicBezTo>
                <a:cubicBezTo>
                  <a:pt x="-2705" y="2316480"/>
                  <a:pt x="-2228" y="2521077"/>
                  <a:pt x="2344" y="2725865"/>
                </a:cubicBezTo>
                <a:cubicBezTo>
                  <a:pt x="14155" y="3261932"/>
                  <a:pt x="170650" y="3754565"/>
                  <a:pt x="447256" y="4210717"/>
                </a:cubicBezTo>
                <a:cubicBezTo>
                  <a:pt x="629851" y="4511612"/>
                  <a:pt x="866356" y="4767167"/>
                  <a:pt x="1138962" y="4988910"/>
                </a:cubicBezTo>
                <a:cubicBezTo>
                  <a:pt x="1207161" y="5044345"/>
                  <a:pt x="1277008" y="5096990"/>
                  <a:pt x="1348512" y="5146834"/>
                </a:cubicBezTo>
                <a:lnTo>
                  <a:pt x="1422712" y="5146834"/>
                </a:lnTo>
                <a:cubicBezTo>
                  <a:pt x="1043426" y="4892802"/>
                  <a:pt x="724720" y="4577334"/>
                  <a:pt x="480594" y="4187952"/>
                </a:cubicBezTo>
                <a:cubicBezTo>
                  <a:pt x="452019" y="4141851"/>
                  <a:pt x="423444" y="4095179"/>
                  <a:pt x="398679" y="4046125"/>
                </a:cubicBezTo>
                <a:cubicBezTo>
                  <a:pt x="407442" y="4043267"/>
                  <a:pt x="409156" y="4048982"/>
                  <a:pt x="411823" y="4053078"/>
                </a:cubicBezTo>
                <a:cubicBezTo>
                  <a:pt x="683572" y="4484656"/>
                  <a:pt x="1033139" y="4842701"/>
                  <a:pt x="1439380" y="5147405"/>
                </a:cubicBezTo>
                <a:lnTo>
                  <a:pt x="5710010" y="5150263"/>
                </a:lnTo>
                <a:cubicBezTo>
                  <a:pt x="5810594" y="5075482"/>
                  <a:pt x="5907272" y="4995587"/>
                  <a:pt x="5999665" y="4910900"/>
                </a:cubicBezTo>
                <a:cubicBezTo>
                  <a:pt x="6418765" y="4526661"/>
                  <a:pt x="6746901" y="4078129"/>
                  <a:pt x="6954165" y="3545777"/>
                </a:cubicBezTo>
                <a:cubicBezTo>
                  <a:pt x="7048234" y="3306175"/>
                  <a:pt x="7109956" y="3055115"/>
                  <a:pt x="7137712" y="2799207"/>
                </a:cubicBezTo>
                <a:cubicBezTo>
                  <a:pt x="7139236" y="2784920"/>
                  <a:pt x="7141046" y="2770632"/>
                  <a:pt x="7142951" y="2754535"/>
                </a:cubicBezTo>
                <a:cubicBezTo>
                  <a:pt x="7151714" y="2760440"/>
                  <a:pt x="7149237" y="2768441"/>
                  <a:pt x="7149428" y="2774823"/>
                </a:cubicBezTo>
                <a:cubicBezTo>
                  <a:pt x="7156743" y="3007967"/>
                  <a:pt x="7128777" y="3240881"/>
                  <a:pt x="7066465" y="3465672"/>
                </a:cubicBezTo>
                <a:cubicBezTo>
                  <a:pt x="6952165" y="3878580"/>
                  <a:pt x="6737948" y="4235863"/>
                  <a:pt x="6452578" y="4552760"/>
                </a:cubicBezTo>
                <a:cubicBezTo>
                  <a:pt x="6244553" y="4783836"/>
                  <a:pt x="6008809" y="4980242"/>
                  <a:pt x="5752110" y="5150263"/>
                </a:cubicBezTo>
                <a:lnTo>
                  <a:pt x="5827643" y="5150263"/>
                </a:lnTo>
                <a:cubicBezTo>
                  <a:pt x="6136539" y="4938904"/>
                  <a:pt x="6412192" y="4689348"/>
                  <a:pt x="6642793" y="4389406"/>
                </a:cubicBezTo>
                <a:cubicBezTo>
                  <a:pt x="6851295" y="4118324"/>
                  <a:pt x="7009125" y="3820859"/>
                  <a:pt x="7102469" y="3490817"/>
                </a:cubicBezTo>
                <a:cubicBezTo>
                  <a:pt x="7148646" y="3327473"/>
                  <a:pt x="7177069" y="3159624"/>
                  <a:pt x="7187242" y="2990183"/>
                </a:cubicBezTo>
                <a:cubicBezTo>
                  <a:pt x="7187623" y="2984087"/>
                  <a:pt x="7182384" y="2642330"/>
                  <a:pt x="7178288" y="2604802"/>
                </a:cubicBezTo>
                <a:close/>
                <a:moveTo>
                  <a:pt x="6342565" y="441389"/>
                </a:moveTo>
                <a:cubicBezTo>
                  <a:pt x="6829797" y="986533"/>
                  <a:pt x="7091135" y="1624422"/>
                  <a:pt x="7126567" y="2355056"/>
                </a:cubicBezTo>
                <a:cubicBezTo>
                  <a:pt x="7001123" y="1661827"/>
                  <a:pt x="6756426" y="1017365"/>
                  <a:pt x="6342565" y="441389"/>
                </a:cubicBez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Arial"/>
              <a:ea typeface="+mn-ea"/>
              <a:cs typeface="+mn-cs"/>
            </a:endParaRPr>
          </a:p>
        </p:txBody>
      </p:sp>
      <p:sp>
        <p:nvSpPr>
          <p:cNvPr id="4" name="Title 3">
            <a:extLst>
              <a:ext uri="{FF2B5EF4-FFF2-40B4-BE49-F238E27FC236}">
                <a16:creationId xmlns:a16="http://schemas.microsoft.com/office/drawing/2014/main" id="{B009CD84-DA40-4CAA-8A89-DD6DAA862368}"/>
              </a:ext>
            </a:extLst>
          </p:cNvPr>
          <p:cNvSpPr>
            <a:spLocks noGrp="1"/>
          </p:cNvSpPr>
          <p:nvPr>
            <p:ph type="title"/>
          </p:nvPr>
        </p:nvSpPr>
        <p:spPr>
          <a:xfrm>
            <a:off x="2819400" y="1764645"/>
            <a:ext cx="13502422" cy="4348463"/>
          </a:xfrm>
        </p:spPr>
        <p:txBody>
          <a:bodyPr vert="horz" lIns="91440" tIns="45720" rIns="91440" bIns="45720" rtlCol="0" anchor="b">
            <a:normAutofit/>
          </a:bodyPr>
          <a:lstStyle/>
          <a:p>
            <a:pPr indent="457200">
              <a:lnSpc>
                <a:spcPct val="90000"/>
              </a:lnSpc>
              <a:spcAft>
                <a:spcPts val="600"/>
              </a:spcAft>
            </a:pPr>
            <a:r>
              <a:rPr lang="en-GB" sz="8000" b="1" noProof="0" dirty="0">
                <a:solidFill>
                  <a:schemeClr val="bg1"/>
                </a:solidFill>
                <a:ea typeface="+mn-ea"/>
                <a:cs typeface="Arial" panose="020B0604020202020204" pitchFamily="34" charset="0"/>
              </a:rPr>
              <a:t>Chapter 6.3 </a:t>
            </a:r>
            <a:br>
              <a:rPr lang="en-GB" sz="8000" b="1" noProof="0" dirty="0">
                <a:solidFill>
                  <a:schemeClr val="bg1"/>
                </a:solidFill>
                <a:ea typeface="+mn-ea"/>
                <a:cs typeface="Arial" panose="020B0604020202020204" pitchFamily="34" charset="0"/>
              </a:rPr>
            </a:br>
            <a:r>
              <a:rPr lang="en-GB" sz="8000" b="1" noProof="0" dirty="0">
                <a:solidFill>
                  <a:schemeClr val="bg1"/>
                </a:solidFill>
                <a:ea typeface="+mn-ea"/>
                <a:cs typeface="Arial" panose="020B0604020202020204" pitchFamily="34" charset="0"/>
              </a:rPr>
              <a:t>Navigating Challenges: The Demo Experience</a:t>
            </a:r>
          </a:p>
        </p:txBody>
      </p:sp>
      <p:sp>
        <p:nvSpPr>
          <p:cNvPr id="62" name="sketch line">
            <a:extLst>
              <a:ext uri="{FF2B5EF4-FFF2-40B4-BE49-F238E27FC236}">
                <a16:creationId xmlns:a16="http://schemas.microsoft.com/office/drawing/2014/main" id="{41F77738-2AF0-4750-A0C7-F97C2C17590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961309" y="6260247"/>
            <a:ext cx="6365383" cy="27432"/>
          </a:xfrm>
          <a:custGeom>
            <a:avLst/>
            <a:gdLst>
              <a:gd name="connsiteX0" fmla="*/ 0 w 6365383"/>
              <a:gd name="connsiteY0" fmla="*/ 0 h 27432"/>
              <a:gd name="connsiteX1" fmla="*/ 636538 w 6365383"/>
              <a:gd name="connsiteY1" fmla="*/ 0 h 27432"/>
              <a:gd name="connsiteX2" fmla="*/ 1273077 w 6365383"/>
              <a:gd name="connsiteY2" fmla="*/ 0 h 27432"/>
              <a:gd name="connsiteX3" fmla="*/ 1909615 w 6365383"/>
              <a:gd name="connsiteY3" fmla="*/ 0 h 27432"/>
              <a:gd name="connsiteX4" fmla="*/ 2673461 w 6365383"/>
              <a:gd name="connsiteY4" fmla="*/ 0 h 27432"/>
              <a:gd name="connsiteX5" fmla="*/ 3373653 w 6365383"/>
              <a:gd name="connsiteY5" fmla="*/ 0 h 27432"/>
              <a:gd name="connsiteX6" fmla="*/ 3819230 w 6365383"/>
              <a:gd name="connsiteY6" fmla="*/ 0 h 27432"/>
              <a:gd name="connsiteX7" fmla="*/ 4392114 w 6365383"/>
              <a:gd name="connsiteY7" fmla="*/ 0 h 27432"/>
              <a:gd name="connsiteX8" fmla="*/ 5155960 w 6365383"/>
              <a:gd name="connsiteY8" fmla="*/ 0 h 27432"/>
              <a:gd name="connsiteX9" fmla="*/ 5792499 w 6365383"/>
              <a:gd name="connsiteY9" fmla="*/ 0 h 27432"/>
              <a:gd name="connsiteX10" fmla="*/ 6365383 w 6365383"/>
              <a:gd name="connsiteY10" fmla="*/ 0 h 27432"/>
              <a:gd name="connsiteX11" fmla="*/ 6365383 w 6365383"/>
              <a:gd name="connsiteY11" fmla="*/ 27432 h 27432"/>
              <a:gd name="connsiteX12" fmla="*/ 5856152 w 6365383"/>
              <a:gd name="connsiteY12" fmla="*/ 27432 h 27432"/>
              <a:gd name="connsiteX13" fmla="*/ 5092306 w 6365383"/>
              <a:gd name="connsiteY13" fmla="*/ 27432 h 27432"/>
              <a:gd name="connsiteX14" fmla="*/ 4583076 w 6365383"/>
              <a:gd name="connsiteY14" fmla="*/ 27432 h 27432"/>
              <a:gd name="connsiteX15" fmla="*/ 4137499 w 6365383"/>
              <a:gd name="connsiteY15" fmla="*/ 27432 h 27432"/>
              <a:gd name="connsiteX16" fmla="*/ 3691922 w 6365383"/>
              <a:gd name="connsiteY16" fmla="*/ 27432 h 27432"/>
              <a:gd name="connsiteX17" fmla="*/ 2991730 w 6365383"/>
              <a:gd name="connsiteY17" fmla="*/ 27432 h 27432"/>
              <a:gd name="connsiteX18" fmla="*/ 2546153 w 6365383"/>
              <a:gd name="connsiteY18" fmla="*/ 27432 h 27432"/>
              <a:gd name="connsiteX19" fmla="*/ 1909615 w 6365383"/>
              <a:gd name="connsiteY19" fmla="*/ 27432 h 27432"/>
              <a:gd name="connsiteX20" fmla="*/ 1400384 w 6365383"/>
              <a:gd name="connsiteY20" fmla="*/ 27432 h 27432"/>
              <a:gd name="connsiteX21" fmla="*/ 763846 w 6365383"/>
              <a:gd name="connsiteY21" fmla="*/ 27432 h 27432"/>
              <a:gd name="connsiteX22" fmla="*/ 0 w 6365383"/>
              <a:gd name="connsiteY22" fmla="*/ 27432 h 27432"/>
              <a:gd name="connsiteX23" fmla="*/ 0 w 6365383"/>
              <a:gd name="connsiteY23" fmla="*/ 0 h 27432"/>
              <a:gd name="connsiteX0" fmla="*/ 0 w 6365383"/>
              <a:gd name="connsiteY0" fmla="*/ 0 h 27432"/>
              <a:gd name="connsiteX1" fmla="*/ 572884 w 6365383"/>
              <a:gd name="connsiteY1" fmla="*/ 0 h 27432"/>
              <a:gd name="connsiteX2" fmla="*/ 1018461 w 6365383"/>
              <a:gd name="connsiteY2" fmla="*/ 0 h 27432"/>
              <a:gd name="connsiteX3" fmla="*/ 1782307 w 6365383"/>
              <a:gd name="connsiteY3" fmla="*/ 0 h 27432"/>
              <a:gd name="connsiteX4" fmla="*/ 2355192 w 6365383"/>
              <a:gd name="connsiteY4" fmla="*/ 0 h 27432"/>
              <a:gd name="connsiteX5" fmla="*/ 2928076 w 6365383"/>
              <a:gd name="connsiteY5" fmla="*/ 0 h 27432"/>
              <a:gd name="connsiteX6" fmla="*/ 3691922 w 6365383"/>
              <a:gd name="connsiteY6" fmla="*/ 0 h 27432"/>
              <a:gd name="connsiteX7" fmla="*/ 4201153 w 6365383"/>
              <a:gd name="connsiteY7" fmla="*/ 0 h 27432"/>
              <a:gd name="connsiteX8" fmla="*/ 4964999 w 6365383"/>
              <a:gd name="connsiteY8" fmla="*/ 0 h 27432"/>
              <a:gd name="connsiteX9" fmla="*/ 5728845 w 6365383"/>
              <a:gd name="connsiteY9" fmla="*/ 0 h 27432"/>
              <a:gd name="connsiteX10" fmla="*/ 6365383 w 6365383"/>
              <a:gd name="connsiteY10" fmla="*/ 0 h 27432"/>
              <a:gd name="connsiteX11" fmla="*/ 6365383 w 6365383"/>
              <a:gd name="connsiteY11" fmla="*/ 27432 h 27432"/>
              <a:gd name="connsiteX12" fmla="*/ 5665191 w 6365383"/>
              <a:gd name="connsiteY12" fmla="*/ 27432 h 27432"/>
              <a:gd name="connsiteX13" fmla="*/ 4901345 w 6365383"/>
              <a:gd name="connsiteY13" fmla="*/ 27432 h 27432"/>
              <a:gd name="connsiteX14" fmla="*/ 4137499 w 6365383"/>
              <a:gd name="connsiteY14" fmla="*/ 27432 h 27432"/>
              <a:gd name="connsiteX15" fmla="*/ 3628268 w 6365383"/>
              <a:gd name="connsiteY15" fmla="*/ 27432 h 27432"/>
              <a:gd name="connsiteX16" fmla="*/ 2991730 w 6365383"/>
              <a:gd name="connsiteY16" fmla="*/ 27432 h 27432"/>
              <a:gd name="connsiteX17" fmla="*/ 2227884 w 6365383"/>
              <a:gd name="connsiteY17" fmla="*/ 27432 h 27432"/>
              <a:gd name="connsiteX18" fmla="*/ 1591346 w 6365383"/>
              <a:gd name="connsiteY18" fmla="*/ 27432 h 27432"/>
              <a:gd name="connsiteX19" fmla="*/ 1145769 w 6365383"/>
              <a:gd name="connsiteY19" fmla="*/ 27432 h 27432"/>
              <a:gd name="connsiteX20" fmla="*/ 636538 w 6365383"/>
              <a:gd name="connsiteY20" fmla="*/ 27432 h 27432"/>
              <a:gd name="connsiteX21" fmla="*/ 0 w 6365383"/>
              <a:gd name="connsiteY21" fmla="*/ 27432 h 27432"/>
              <a:gd name="connsiteX22" fmla="*/ 0 w 6365383"/>
              <a:gd name="connsiteY22"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365383" h="27432" fill="none" extrusionOk="0">
                <a:moveTo>
                  <a:pt x="0" y="0"/>
                </a:moveTo>
                <a:cubicBezTo>
                  <a:pt x="311910" y="25756"/>
                  <a:pt x="328854" y="-22977"/>
                  <a:pt x="636538" y="0"/>
                </a:cubicBezTo>
                <a:cubicBezTo>
                  <a:pt x="929901" y="50670"/>
                  <a:pt x="1067253" y="-1993"/>
                  <a:pt x="1273077" y="0"/>
                </a:cubicBezTo>
                <a:cubicBezTo>
                  <a:pt x="1507620" y="-24857"/>
                  <a:pt x="1747799" y="-10413"/>
                  <a:pt x="1909615" y="0"/>
                </a:cubicBezTo>
                <a:cubicBezTo>
                  <a:pt x="2041097" y="-21585"/>
                  <a:pt x="2422417" y="-28022"/>
                  <a:pt x="2673461" y="0"/>
                </a:cubicBezTo>
                <a:cubicBezTo>
                  <a:pt x="2948394" y="-4560"/>
                  <a:pt x="3134893" y="36981"/>
                  <a:pt x="3373653" y="0"/>
                </a:cubicBezTo>
                <a:cubicBezTo>
                  <a:pt x="3634761" y="-15887"/>
                  <a:pt x="3700843" y="23167"/>
                  <a:pt x="3819230" y="0"/>
                </a:cubicBezTo>
                <a:cubicBezTo>
                  <a:pt x="3977295" y="2943"/>
                  <a:pt x="4128910" y="-53150"/>
                  <a:pt x="4392114" y="0"/>
                </a:cubicBezTo>
                <a:cubicBezTo>
                  <a:pt x="4672763" y="9214"/>
                  <a:pt x="4999833" y="38501"/>
                  <a:pt x="5155960" y="0"/>
                </a:cubicBezTo>
                <a:cubicBezTo>
                  <a:pt x="5343367" y="-6557"/>
                  <a:pt x="5597661" y="6622"/>
                  <a:pt x="5792499" y="0"/>
                </a:cubicBezTo>
                <a:cubicBezTo>
                  <a:pt x="6020774" y="43813"/>
                  <a:pt x="6148830" y="-13954"/>
                  <a:pt x="6365383" y="0"/>
                </a:cubicBezTo>
                <a:cubicBezTo>
                  <a:pt x="6364517" y="8091"/>
                  <a:pt x="6365728" y="20268"/>
                  <a:pt x="6365383" y="27432"/>
                </a:cubicBezTo>
                <a:cubicBezTo>
                  <a:pt x="6144545" y="15144"/>
                  <a:pt x="6006673" y="-7419"/>
                  <a:pt x="5856152" y="27432"/>
                </a:cubicBezTo>
                <a:cubicBezTo>
                  <a:pt x="5638446" y="81548"/>
                  <a:pt x="5413846" y="52067"/>
                  <a:pt x="5092306" y="27432"/>
                </a:cubicBezTo>
                <a:cubicBezTo>
                  <a:pt x="4768499" y="43350"/>
                  <a:pt x="4708569" y="3163"/>
                  <a:pt x="4583076" y="27432"/>
                </a:cubicBezTo>
                <a:cubicBezTo>
                  <a:pt x="4475482" y="66269"/>
                  <a:pt x="4242792" y="42702"/>
                  <a:pt x="4137499" y="27432"/>
                </a:cubicBezTo>
                <a:cubicBezTo>
                  <a:pt x="4003968" y="24039"/>
                  <a:pt x="3882646" y="-3026"/>
                  <a:pt x="3691922" y="27432"/>
                </a:cubicBezTo>
                <a:cubicBezTo>
                  <a:pt x="3501639" y="8096"/>
                  <a:pt x="3270842" y="-14942"/>
                  <a:pt x="2991730" y="27432"/>
                </a:cubicBezTo>
                <a:cubicBezTo>
                  <a:pt x="2712135" y="55419"/>
                  <a:pt x="2758697" y="31955"/>
                  <a:pt x="2546153" y="27432"/>
                </a:cubicBezTo>
                <a:cubicBezTo>
                  <a:pt x="2362220" y="-818"/>
                  <a:pt x="2130397" y="57099"/>
                  <a:pt x="1909615" y="27432"/>
                </a:cubicBezTo>
                <a:cubicBezTo>
                  <a:pt x="1714835" y="-15389"/>
                  <a:pt x="1636770" y="40318"/>
                  <a:pt x="1400384" y="27432"/>
                </a:cubicBezTo>
                <a:cubicBezTo>
                  <a:pt x="1161504" y="29515"/>
                  <a:pt x="1060819" y="7773"/>
                  <a:pt x="763846" y="27432"/>
                </a:cubicBezTo>
                <a:cubicBezTo>
                  <a:pt x="465096" y="43671"/>
                  <a:pt x="165309" y="15831"/>
                  <a:pt x="0" y="27432"/>
                </a:cubicBezTo>
                <a:cubicBezTo>
                  <a:pt x="-2013" y="18874"/>
                  <a:pt x="-525" y="8614"/>
                  <a:pt x="0" y="0"/>
                </a:cubicBezTo>
                <a:close/>
              </a:path>
              <a:path w="6365383" h="27432" stroke="0" extrusionOk="0">
                <a:moveTo>
                  <a:pt x="0" y="0"/>
                </a:moveTo>
                <a:cubicBezTo>
                  <a:pt x="84020" y="9133"/>
                  <a:pt x="339524" y="24523"/>
                  <a:pt x="572884" y="0"/>
                </a:cubicBezTo>
                <a:cubicBezTo>
                  <a:pt x="803790" y="-14011"/>
                  <a:pt x="837492" y="-10007"/>
                  <a:pt x="1018461" y="0"/>
                </a:cubicBezTo>
                <a:cubicBezTo>
                  <a:pt x="1188530" y="8943"/>
                  <a:pt x="1571061" y="17361"/>
                  <a:pt x="1782307" y="0"/>
                </a:cubicBezTo>
                <a:cubicBezTo>
                  <a:pt x="1967448" y="-16010"/>
                  <a:pt x="2153334" y="-25629"/>
                  <a:pt x="2355192" y="0"/>
                </a:cubicBezTo>
                <a:cubicBezTo>
                  <a:pt x="2541804" y="20205"/>
                  <a:pt x="2779440" y="53811"/>
                  <a:pt x="2928076" y="0"/>
                </a:cubicBezTo>
                <a:cubicBezTo>
                  <a:pt x="3024078" y="-16903"/>
                  <a:pt x="3337092" y="43483"/>
                  <a:pt x="3691922" y="0"/>
                </a:cubicBezTo>
                <a:cubicBezTo>
                  <a:pt x="4060895" y="-1064"/>
                  <a:pt x="4072166" y="-17195"/>
                  <a:pt x="4201153" y="0"/>
                </a:cubicBezTo>
                <a:cubicBezTo>
                  <a:pt x="4349835" y="-22516"/>
                  <a:pt x="4800106" y="-64797"/>
                  <a:pt x="4964999" y="0"/>
                </a:cubicBezTo>
                <a:cubicBezTo>
                  <a:pt x="5186764" y="15779"/>
                  <a:pt x="5564421" y="-10544"/>
                  <a:pt x="5728845" y="0"/>
                </a:cubicBezTo>
                <a:cubicBezTo>
                  <a:pt x="5915953" y="5493"/>
                  <a:pt x="6171384" y="-48026"/>
                  <a:pt x="6365383" y="0"/>
                </a:cubicBezTo>
                <a:cubicBezTo>
                  <a:pt x="6366596" y="6455"/>
                  <a:pt x="6365588" y="14391"/>
                  <a:pt x="6365383" y="27432"/>
                </a:cubicBezTo>
                <a:cubicBezTo>
                  <a:pt x="6172514" y="805"/>
                  <a:pt x="6006523" y="20734"/>
                  <a:pt x="5665191" y="27432"/>
                </a:cubicBezTo>
                <a:cubicBezTo>
                  <a:pt x="5322179" y="66687"/>
                  <a:pt x="5219376" y="21111"/>
                  <a:pt x="4901345" y="27432"/>
                </a:cubicBezTo>
                <a:cubicBezTo>
                  <a:pt x="4621310" y="-13654"/>
                  <a:pt x="4455192" y="54857"/>
                  <a:pt x="4137499" y="27432"/>
                </a:cubicBezTo>
                <a:cubicBezTo>
                  <a:pt x="3853317" y="12285"/>
                  <a:pt x="3862894" y="26263"/>
                  <a:pt x="3628268" y="27432"/>
                </a:cubicBezTo>
                <a:cubicBezTo>
                  <a:pt x="3418779" y="32610"/>
                  <a:pt x="3174456" y="83656"/>
                  <a:pt x="2991730" y="27432"/>
                </a:cubicBezTo>
                <a:cubicBezTo>
                  <a:pt x="2801278" y="6667"/>
                  <a:pt x="2497351" y="22891"/>
                  <a:pt x="2227884" y="27432"/>
                </a:cubicBezTo>
                <a:cubicBezTo>
                  <a:pt x="1986101" y="16297"/>
                  <a:pt x="1767219" y="-7535"/>
                  <a:pt x="1591346" y="27432"/>
                </a:cubicBezTo>
                <a:cubicBezTo>
                  <a:pt x="1447183" y="73731"/>
                  <a:pt x="1315973" y="39477"/>
                  <a:pt x="1145769" y="27432"/>
                </a:cubicBezTo>
                <a:cubicBezTo>
                  <a:pt x="990245" y="8882"/>
                  <a:pt x="810845" y="16910"/>
                  <a:pt x="636538" y="27432"/>
                </a:cubicBezTo>
                <a:cubicBezTo>
                  <a:pt x="482916" y="17795"/>
                  <a:pt x="183027" y="-17710"/>
                  <a:pt x="0" y="27432"/>
                </a:cubicBezTo>
                <a:cubicBezTo>
                  <a:pt x="491" y="19542"/>
                  <a:pt x="-1038" y="8534"/>
                  <a:pt x="0" y="0"/>
                </a:cubicBezTo>
                <a:close/>
              </a:path>
              <a:path w="6365383" h="27432" fill="none" stroke="0" extrusionOk="0">
                <a:moveTo>
                  <a:pt x="0" y="0"/>
                </a:moveTo>
                <a:cubicBezTo>
                  <a:pt x="296223" y="15991"/>
                  <a:pt x="333462" y="-23795"/>
                  <a:pt x="636538" y="0"/>
                </a:cubicBezTo>
                <a:cubicBezTo>
                  <a:pt x="970197" y="30961"/>
                  <a:pt x="1039864" y="3183"/>
                  <a:pt x="1273077" y="0"/>
                </a:cubicBezTo>
                <a:cubicBezTo>
                  <a:pt x="1449809" y="24819"/>
                  <a:pt x="1735152" y="23060"/>
                  <a:pt x="1909615" y="0"/>
                </a:cubicBezTo>
                <a:cubicBezTo>
                  <a:pt x="2016351" y="-41665"/>
                  <a:pt x="2415001" y="34773"/>
                  <a:pt x="2673461" y="0"/>
                </a:cubicBezTo>
                <a:cubicBezTo>
                  <a:pt x="2996983" y="-13411"/>
                  <a:pt x="3130707" y="3741"/>
                  <a:pt x="3373653" y="0"/>
                </a:cubicBezTo>
                <a:cubicBezTo>
                  <a:pt x="3601951" y="-16140"/>
                  <a:pt x="3689909" y="23222"/>
                  <a:pt x="3819230" y="0"/>
                </a:cubicBezTo>
                <a:cubicBezTo>
                  <a:pt x="3931872" y="-29406"/>
                  <a:pt x="4119438" y="24094"/>
                  <a:pt x="4392114" y="0"/>
                </a:cubicBezTo>
                <a:cubicBezTo>
                  <a:pt x="4665359" y="21557"/>
                  <a:pt x="4978709" y="13267"/>
                  <a:pt x="5155960" y="0"/>
                </a:cubicBezTo>
                <a:cubicBezTo>
                  <a:pt x="5299518" y="-18386"/>
                  <a:pt x="5605020" y="-6762"/>
                  <a:pt x="5792499" y="0"/>
                </a:cubicBezTo>
                <a:cubicBezTo>
                  <a:pt x="6013281" y="43398"/>
                  <a:pt x="6167567" y="36727"/>
                  <a:pt x="6365383" y="0"/>
                </a:cubicBezTo>
                <a:cubicBezTo>
                  <a:pt x="6365697" y="8368"/>
                  <a:pt x="6365332" y="21050"/>
                  <a:pt x="6365383" y="27432"/>
                </a:cubicBezTo>
                <a:cubicBezTo>
                  <a:pt x="6154893" y="8454"/>
                  <a:pt x="6014206" y="-8372"/>
                  <a:pt x="5856152" y="27432"/>
                </a:cubicBezTo>
                <a:cubicBezTo>
                  <a:pt x="5659455" y="59503"/>
                  <a:pt x="5350806" y="-35991"/>
                  <a:pt x="5092306" y="27432"/>
                </a:cubicBezTo>
                <a:cubicBezTo>
                  <a:pt x="4756309" y="48260"/>
                  <a:pt x="4699746" y="-4780"/>
                  <a:pt x="4583076" y="27432"/>
                </a:cubicBezTo>
                <a:cubicBezTo>
                  <a:pt x="4462137" y="30142"/>
                  <a:pt x="4226168" y="50236"/>
                  <a:pt x="4137499" y="27432"/>
                </a:cubicBezTo>
                <a:cubicBezTo>
                  <a:pt x="4018570" y="42181"/>
                  <a:pt x="3887179" y="34623"/>
                  <a:pt x="3691922" y="27432"/>
                </a:cubicBezTo>
                <a:cubicBezTo>
                  <a:pt x="3499755" y="32935"/>
                  <a:pt x="3281056" y="-9158"/>
                  <a:pt x="2991730" y="27432"/>
                </a:cubicBezTo>
                <a:cubicBezTo>
                  <a:pt x="2716073" y="57462"/>
                  <a:pt x="2755481" y="34494"/>
                  <a:pt x="2546153" y="27432"/>
                </a:cubicBezTo>
                <a:cubicBezTo>
                  <a:pt x="2356479" y="62622"/>
                  <a:pt x="2079190" y="73729"/>
                  <a:pt x="1909615" y="27432"/>
                </a:cubicBezTo>
                <a:cubicBezTo>
                  <a:pt x="1715819" y="-26444"/>
                  <a:pt x="1631368" y="48131"/>
                  <a:pt x="1400384" y="27432"/>
                </a:cubicBezTo>
                <a:cubicBezTo>
                  <a:pt x="1177327" y="16190"/>
                  <a:pt x="1065236" y="24992"/>
                  <a:pt x="763846" y="27432"/>
                </a:cubicBezTo>
                <a:cubicBezTo>
                  <a:pt x="448643" y="60691"/>
                  <a:pt x="160833" y="2330"/>
                  <a:pt x="0" y="27432"/>
                </a:cubicBezTo>
                <a:cubicBezTo>
                  <a:pt x="1559" y="18666"/>
                  <a:pt x="-585" y="7580"/>
                  <a:pt x="0" y="0"/>
                </a:cubicBezTo>
                <a:close/>
              </a:path>
            </a:pathLst>
          </a:custGeom>
          <a:solidFill>
            <a:srgbClr val="FFFFFF"/>
          </a:solidFill>
          <a:ln w="41275" cap="rnd">
            <a:solidFill>
              <a:srgbClr val="FFFFFF"/>
            </a:solidFill>
            <a:round/>
            <a:extLst>
              <a:ext uri="{C807C97D-BFC1-408E-A445-0C87EB9F89A2}">
                <ask:lineSketchStyleProps xmlns:ask="http://schemas.microsoft.com/office/drawing/2018/sketchyshapes" sd="1219033472">
                  <a:custGeom>
                    <a:avLst/>
                    <a:gdLst>
                      <a:gd name="connsiteX0" fmla="*/ 0 w 6365383"/>
                      <a:gd name="connsiteY0" fmla="*/ 0 h 27432"/>
                      <a:gd name="connsiteX1" fmla="*/ 636538 w 6365383"/>
                      <a:gd name="connsiteY1" fmla="*/ 0 h 27432"/>
                      <a:gd name="connsiteX2" fmla="*/ 1273077 w 6365383"/>
                      <a:gd name="connsiteY2" fmla="*/ 0 h 27432"/>
                      <a:gd name="connsiteX3" fmla="*/ 1909615 w 6365383"/>
                      <a:gd name="connsiteY3" fmla="*/ 0 h 27432"/>
                      <a:gd name="connsiteX4" fmla="*/ 2673461 w 6365383"/>
                      <a:gd name="connsiteY4" fmla="*/ 0 h 27432"/>
                      <a:gd name="connsiteX5" fmla="*/ 3373653 w 6365383"/>
                      <a:gd name="connsiteY5" fmla="*/ 0 h 27432"/>
                      <a:gd name="connsiteX6" fmla="*/ 3819230 w 6365383"/>
                      <a:gd name="connsiteY6" fmla="*/ 0 h 27432"/>
                      <a:gd name="connsiteX7" fmla="*/ 4392114 w 6365383"/>
                      <a:gd name="connsiteY7" fmla="*/ 0 h 27432"/>
                      <a:gd name="connsiteX8" fmla="*/ 5155960 w 6365383"/>
                      <a:gd name="connsiteY8" fmla="*/ 0 h 27432"/>
                      <a:gd name="connsiteX9" fmla="*/ 5792499 w 6365383"/>
                      <a:gd name="connsiteY9" fmla="*/ 0 h 27432"/>
                      <a:gd name="connsiteX10" fmla="*/ 6365383 w 6365383"/>
                      <a:gd name="connsiteY10" fmla="*/ 0 h 27432"/>
                      <a:gd name="connsiteX11" fmla="*/ 6365383 w 6365383"/>
                      <a:gd name="connsiteY11" fmla="*/ 27432 h 27432"/>
                      <a:gd name="connsiteX12" fmla="*/ 5856152 w 6365383"/>
                      <a:gd name="connsiteY12" fmla="*/ 27432 h 27432"/>
                      <a:gd name="connsiteX13" fmla="*/ 5092306 w 6365383"/>
                      <a:gd name="connsiteY13" fmla="*/ 27432 h 27432"/>
                      <a:gd name="connsiteX14" fmla="*/ 4583076 w 6365383"/>
                      <a:gd name="connsiteY14" fmla="*/ 27432 h 27432"/>
                      <a:gd name="connsiteX15" fmla="*/ 4137499 w 6365383"/>
                      <a:gd name="connsiteY15" fmla="*/ 27432 h 27432"/>
                      <a:gd name="connsiteX16" fmla="*/ 3691922 w 6365383"/>
                      <a:gd name="connsiteY16" fmla="*/ 27432 h 27432"/>
                      <a:gd name="connsiteX17" fmla="*/ 2991730 w 6365383"/>
                      <a:gd name="connsiteY17" fmla="*/ 27432 h 27432"/>
                      <a:gd name="connsiteX18" fmla="*/ 2546153 w 6365383"/>
                      <a:gd name="connsiteY18" fmla="*/ 27432 h 27432"/>
                      <a:gd name="connsiteX19" fmla="*/ 1909615 w 6365383"/>
                      <a:gd name="connsiteY19" fmla="*/ 27432 h 27432"/>
                      <a:gd name="connsiteX20" fmla="*/ 1400384 w 6365383"/>
                      <a:gd name="connsiteY20" fmla="*/ 27432 h 27432"/>
                      <a:gd name="connsiteX21" fmla="*/ 763846 w 6365383"/>
                      <a:gd name="connsiteY21" fmla="*/ 27432 h 27432"/>
                      <a:gd name="connsiteX22" fmla="*/ 0 w 6365383"/>
                      <a:gd name="connsiteY22" fmla="*/ 27432 h 27432"/>
                      <a:gd name="connsiteX23" fmla="*/ 0 w 6365383"/>
                      <a:gd name="connsiteY23"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365383" h="27432" fill="none" extrusionOk="0">
                        <a:moveTo>
                          <a:pt x="0" y="0"/>
                        </a:moveTo>
                        <a:cubicBezTo>
                          <a:pt x="305169" y="21509"/>
                          <a:pt x="334704" y="-24261"/>
                          <a:pt x="636538" y="0"/>
                        </a:cubicBezTo>
                        <a:cubicBezTo>
                          <a:pt x="938372" y="24261"/>
                          <a:pt x="1068606" y="2269"/>
                          <a:pt x="1273077" y="0"/>
                        </a:cubicBezTo>
                        <a:cubicBezTo>
                          <a:pt x="1477548" y="-2269"/>
                          <a:pt x="1738189" y="6272"/>
                          <a:pt x="1909615" y="0"/>
                        </a:cubicBezTo>
                        <a:cubicBezTo>
                          <a:pt x="2081041" y="-6272"/>
                          <a:pt x="2377015" y="16623"/>
                          <a:pt x="2673461" y="0"/>
                        </a:cubicBezTo>
                        <a:cubicBezTo>
                          <a:pt x="2969907" y="-16623"/>
                          <a:pt x="3126114" y="13194"/>
                          <a:pt x="3373653" y="0"/>
                        </a:cubicBezTo>
                        <a:cubicBezTo>
                          <a:pt x="3621192" y="-13194"/>
                          <a:pt x="3704499" y="9486"/>
                          <a:pt x="3819230" y="0"/>
                        </a:cubicBezTo>
                        <a:cubicBezTo>
                          <a:pt x="3933961" y="-9486"/>
                          <a:pt x="4142691" y="-8221"/>
                          <a:pt x="4392114" y="0"/>
                        </a:cubicBezTo>
                        <a:cubicBezTo>
                          <a:pt x="4641537" y="8221"/>
                          <a:pt x="4974506" y="12257"/>
                          <a:pt x="5155960" y="0"/>
                        </a:cubicBezTo>
                        <a:cubicBezTo>
                          <a:pt x="5337414" y="-12257"/>
                          <a:pt x="5585731" y="-22537"/>
                          <a:pt x="5792499" y="0"/>
                        </a:cubicBezTo>
                        <a:cubicBezTo>
                          <a:pt x="5999267" y="22537"/>
                          <a:pt x="6164726" y="7303"/>
                          <a:pt x="6365383" y="0"/>
                        </a:cubicBezTo>
                        <a:cubicBezTo>
                          <a:pt x="6365125" y="7487"/>
                          <a:pt x="6364462" y="19984"/>
                          <a:pt x="6365383" y="27432"/>
                        </a:cubicBezTo>
                        <a:cubicBezTo>
                          <a:pt x="6132222" y="28304"/>
                          <a:pt x="6011986" y="2071"/>
                          <a:pt x="5856152" y="27432"/>
                        </a:cubicBezTo>
                        <a:cubicBezTo>
                          <a:pt x="5700318" y="52793"/>
                          <a:pt x="5410732" y="5357"/>
                          <a:pt x="5092306" y="27432"/>
                        </a:cubicBezTo>
                        <a:cubicBezTo>
                          <a:pt x="4773880" y="49507"/>
                          <a:pt x="4705351" y="6645"/>
                          <a:pt x="4583076" y="27432"/>
                        </a:cubicBezTo>
                        <a:cubicBezTo>
                          <a:pt x="4460801" y="48220"/>
                          <a:pt x="4239915" y="42209"/>
                          <a:pt x="4137499" y="27432"/>
                        </a:cubicBezTo>
                        <a:cubicBezTo>
                          <a:pt x="4035083" y="12655"/>
                          <a:pt x="3883665" y="32012"/>
                          <a:pt x="3691922" y="27432"/>
                        </a:cubicBezTo>
                        <a:cubicBezTo>
                          <a:pt x="3500179" y="22852"/>
                          <a:pt x="3265830" y="-126"/>
                          <a:pt x="2991730" y="27432"/>
                        </a:cubicBezTo>
                        <a:cubicBezTo>
                          <a:pt x="2717630" y="54990"/>
                          <a:pt x="2757122" y="34407"/>
                          <a:pt x="2546153" y="27432"/>
                        </a:cubicBezTo>
                        <a:cubicBezTo>
                          <a:pt x="2335184" y="20457"/>
                          <a:pt x="2107331" y="58889"/>
                          <a:pt x="1909615" y="27432"/>
                        </a:cubicBezTo>
                        <a:cubicBezTo>
                          <a:pt x="1711899" y="-4025"/>
                          <a:pt x="1634641" y="48316"/>
                          <a:pt x="1400384" y="27432"/>
                        </a:cubicBezTo>
                        <a:cubicBezTo>
                          <a:pt x="1166127" y="6548"/>
                          <a:pt x="1068288" y="15776"/>
                          <a:pt x="763846" y="27432"/>
                        </a:cubicBezTo>
                        <a:cubicBezTo>
                          <a:pt x="459404" y="39088"/>
                          <a:pt x="170017" y="14515"/>
                          <a:pt x="0" y="27432"/>
                        </a:cubicBezTo>
                        <a:cubicBezTo>
                          <a:pt x="-14" y="18173"/>
                          <a:pt x="-517" y="8990"/>
                          <a:pt x="0" y="0"/>
                        </a:cubicBezTo>
                        <a:close/>
                      </a:path>
                      <a:path w="6365383" h="27432" stroke="0" extrusionOk="0">
                        <a:moveTo>
                          <a:pt x="0" y="0"/>
                        </a:moveTo>
                        <a:cubicBezTo>
                          <a:pt x="114610" y="-2215"/>
                          <a:pt x="340315" y="12554"/>
                          <a:pt x="572884" y="0"/>
                        </a:cubicBezTo>
                        <a:cubicBezTo>
                          <a:pt x="805453" y="-12554"/>
                          <a:pt x="832891" y="-10424"/>
                          <a:pt x="1018461" y="0"/>
                        </a:cubicBezTo>
                        <a:cubicBezTo>
                          <a:pt x="1204031" y="10424"/>
                          <a:pt x="1590875" y="8682"/>
                          <a:pt x="1782307" y="0"/>
                        </a:cubicBezTo>
                        <a:cubicBezTo>
                          <a:pt x="1973739" y="-8682"/>
                          <a:pt x="2150876" y="5508"/>
                          <a:pt x="2355192" y="0"/>
                        </a:cubicBezTo>
                        <a:cubicBezTo>
                          <a:pt x="2559508" y="-5508"/>
                          <a:pt x="2790194" y="26965"/>
                          <a:pt x="2928076" y="0"/>
                        </a:cubicBezTo>
                        <a:cubicBezTo>
                          <a:pt x="3065958" y="-26965"/>
                          <a:pt x="3321537" y="819"/>
                          <a:pt x="3691922" y="0"/>
                        </a:cubicBezTo>
                        <a:cubicBezTo>
                          <a:pt x="4062307" y="-819"/>
                          <a:pt x="4072238" y="-15327"/>
                          <a:pt x="4201153" y="0"/>
                        </a:cubicBezTo>
                        <a:cubicBezTo>
                          <a:pt x="4330068" y="15327"/>
                          <a:pt x="4772079" y="-35646"/>
                          <a:pt x="4964999" y="0"/>
                        </a:cubicBezTo>
                        <a:cubicBezTo>
                          <a:pt x="5157919" y="35646"/>
                          <a:pt x="5543915" y="6802"/>
                          <a:pt x="5728845" y="0"/>
                        </a:cubicBezTo>
                        <a:cubicBezTo>
                          <a:pt x="5913775" y="-6802"/>
                          <a:pt x="6142952" y="-21408"/>
                          <a:pt x="6365383" y="0"/>
                        </a:cubicBezTo>
                        <a:cubicBezTo>
                          <a:pt x="6364552" y="6329"/>
                          <a:pt x="6365787" y="16858"/>
                          <a:pt x="6365383" y="27432"/>
                        </a:cubicBezTo>
                        <a:cubicBezTo>
                          <a:pt x="6176931" y="320"/>
                          <a:pt x="5998736" y="11244"/>
                          <a:pt x="5665191" y="27432"/>
                        </a:cubicBezTo>
                        <a:cubicBezTo>
                          <a:pt x="5331646" y="43620"/>
                          <a:pt x="5198011" y="28615"/>
                          <a:pt x="4901345" y="27432"/>
                        </a:cubicBezTo>
                        <a:cubicBezTo>
                          <a:pt x="4604679" y="26249"/>
                          <a:pt x="4422931" y="40617"/>
                          <a:pt x="4137499" y="27432"/>
                        </a:cubicBezTo>
                        <a:cubicBezTo>
                          <a:pt x="3852067" y="14247"/>
                          <a:pt x="3861939" y="26581"/>
                          <a:pt x="3628268" y="27432"/>
                        </a:cubicBezTo>
                        <a:cubicBezTo>
                          <a:pt x="3394597" y="28283"/>
                          <a:pt x="3171361" y="44132"/>
                          <a:pt x="2991730" y="27432"/>
                        </a:cubicBezTo>
                        <a:cubicBezTo>
                          <a:pt x="2812099" y="10732"/>
                          <a:pt x="2469344" y="24737"/>
                          <a:pt x="2227884" y="27432"/>
                        </a:cubicBezTo>
                        <a:cubicBezTo>
                          <a:pt x="1986424" y="30127"/>
                          <a:pt x="1748067" y="6359"/>
                          <a:pt x="1591346" y="27432"/>
                        </a:cubicBezTo>
                        <a:cubicBezTo>
                          <a:pt x="1434625" y="48505"/>
                          <a:pt x="1307456" y="39663"/>
                          <a:pt x="1145769" y="27432"/>
                        </a:cubicBezTo>
                        <a:cubicBezTo>
                          <a:pt x="984082" y="15201"/>
                          <a:pt x="800279" y="41647"/>
                          <a:pt x="636538" y="27432"/>
                        </a:cubicBezTo>
                        <a:cubicBezTo>
                          <a:pt x="472797" y="13217"/>
                          <a:pt x="160022" y="2213"/>
                          <a:pt x="0" y="27432"/>
                        </a:cubicBezTo>
                        <a:cubicBezTo>
                          <a:pt x="-177" y="19307"/>
                          <a:pt x="-1145" y="9170"/>
                          <a:pt x="0" y="0"/>
                        </a:cubicBezTo>
                        <a:close/>
                      </a:path>
                    </a:pathLst>
                  </a:cu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002909225"/>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58" name="Rectangle 57">
            <a:extLst>
              <a:ext uri="{FF2B5EF4-FFF2-40B4-BE49-F238E27FC236}">
                <a16:creationId xmlns:a16="http://schemas.microsoft.com/office/drawing/2014/main" id="{289ED1AA-8684-4D37-B208-8777E1A7780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8283428" cy="10287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0" name="Graphic 33">
            <a:extLst>
              <a:ext uri="{FF2B5EF4-FFF2-40B4-BE49-F238E27FC236}">
                <a16:creationId xmlns:a16="http://schemas.microsoft.com/office/drawing/2014/main" id="{4180E01B-B1F4-437C-807D-1C930718EE6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966176" y="0"/>
            <a:ext cx="14355646" cy="10287000"/>
          </a:xfrm>
          <a:custGeom>
            <a:avLst/>
            <a:gdLst>
              <a:gd name="connsiteX0" fmla="*/ 7178288 w 7187261"/>
              <a:gd name="connsiteY0" fmla="*/ 2604802 h 5150263"/>
              <a:gd name="connsiteX1" fmla="*/ 7169335 w 7187261"/>
              <a:gd name="connsiteY1" fmla="*/ 2328577 h 5150263"/>
              <a:gd name="connsiteX2" fmla="*/ 7060845 w 7187261"/>
              <a:gd name="connsiteY2" fmla="*/ 1661160 h 5150263"/>
              <a:gd name="connsiteX3" fmla="*/ 6212263 w 7187261"/>
              <a:gd name="connsiteY3" fmla="*/ 243840 h 5150263"/>
              <a:gd name="connsiteX4" fmla="*/ 5953564 w 7187261"/>
              <a:gd name="connsiteY4" fmla="*/ 0 h 5150263"/>
              <a:gd name="connsiteX5" fmla="*/ 1408615 w 7187261"/>
              <a:gd name="connsiteY5" fmla="*/ 0 h 5150263"/>
              <a:gd name="connsiteX6" fmla="*/ 805111 w 7187261"/>
              <a:gd name="connsiteY6" fmla="*/ 676275 h 5150263"/>
              <a:gd name="connsiteX7" fmla="*/ 104928 w 7187261"/>
              <a:gd name="connsiteY7" fmla="*/ 2183035 h 5150263"/>
              <a:gd name="connsiteX8" fmla="*/ 51588 w 7187261"/>
              <a:gd name="connsiteY8" fmla="*/ 2400014 h 5150263"/>
              <a:gd name="connsiteX9" fmla="*/ 41301 w 7187261"/>
              <a:gd name="connsiteY9" fmla="*/ 2424208 h 5150263"/>
              <a:gd name="connsiteX10" fmla="*/ 119692 w 7187261"/>
              <a:gd name="connsiteY10" fmla="*/ 1834801 h 5150263"/>
              <a:gd name="connsiteX11" fmla="*/ 870071 w 7187261"/>
              <a:gd name="connsiteY11" fmla="*/ 462248 h 5150263"/>
              <a:gd name="connsiteX12" fmla="*/ 1389279 w 7187261"/>
              <a:gd name="connsiteY12" fmla="*/ 476 h 5150263"/>
              <a:gd name="connsiteX13" fmla="*/ 1320223 w 7187261"/>
              <a:gd name="connsiteY13" fmla="*/ 476 h 5150263"/>
              <a:gd name="connsiteX14" fmla="*/ 423158 w 7187261"/>
              <a:gd name="connsiteY14" fmla="*/ 989743 h 5150263"/>
              <a:gd name="connsiteX15" fmla="*/ 25585 w 7187261"/>
              <a:gd name="connsiteY15" fmla="*/ 2113693 h 5150263"/>
              <a:gd name="connsiteX16" fmla="*/ 2344 w 7187261"/>
              <a:gd name="connsiteY16" fmla="*/ 2725865 h 5150263"/>
              <a:gd name="connsiteX17" fmla="*/ 447256 w 7187261"/>
              <a:gd name="connsiteY17" fmla="*/ 4210717 h 5150263"/>
              <a:gd name="connsiteX18" fmla="*/ 1138962 w 7187261"/>
              <a:gd name="connsiteY18" fmla="*/ 4988910 h 5150263"/>
              <a:gd name="connsiteX19" fmla="*/ 1348512 w 7187261"/>
              <a:gd name="connsiteY19" fmla="*/ 5146834 h 5150263"/>
              <a:gd name="connsiteX20" fmla="*/ 1422712 w 7187261"/>
              <a:gd name="connsiteY20" fmla="*/ 5146834 h 5150263"/>
              <a:gd name="connsiteX21" fmla="*/ 480594 w 7187261"/>
              <a:gd name="connsiteY21" fmla="*/ 4187952 h 5150263"/>
              <a:gd name="connsiteX22" fmla="*/ 398679 w 7187261"/>
              <a:gd name="connsiteY22" fmla="*/ 4046125 h 5150263"/>
              <a:gd name="connsiteX23" fmla="*/ 411823 w 7187261"/>
              <a:gd name="connsiteY23" fmla="*/ 4053078 h 5150263"/>
              <a:gd name="connsiteX24" fmla="*/ 1439380 w 7187261"/>
              <a:gd name="connsiteY24" fmla="*/ 5147405 h 5150263"/>
              <a:gd name="connsiteX25" fmla="*/ 5710010 w 7187261"/>
              <a:gd name="connsiteY25" fmla="*/ 5150263 h 5150263"/>
              <a:gd name="connsiteX26" fmla="*/ 5999665 w 7187261"/>
              <a:gd name="connsiteY26" fmla="*/ 4910900 h 5150263"/>
              <a:gd name="connsiteX27" fmla="*/ 6954165 w 7187261"/>
              <a:gd name="connsiteY27" fmla="*/ 3545777 h 5150263"/>
              <a:gd name="connsiteX28" fmla="*/ 7137712 w 7187261"/>
              <a:gd name="connsiteY28" fmla="*/ 2799207 h 5150263"/>
              <a:gd name="connsiteX29" fmla="*/ 7142951 w 7187261"/>
              <a:gd name="connsiteY29" fmla="*/ 2754535 h 5150263"/>
              <a:gd name="connsiteX30" fmla="*/ 7149428 w 7187261"/>
              <a:gd name="connsiteY30" fmla="*/ 2774823 h 5150263"/>
              <a:gd name="connsiteX31" fmla="*/ 7066465 w 7187261"/>
              <a:gd name="connsiteY31" fmla="*/ 3465672 h 5150263"/>
              <a:gd name="connsiteX32" fmla="*/ 6452578 w 7187261"/>
              <a:gd name="connsiteY32" fmla="*/ 4552760 h 5150263"/>
              <a:gd name="connsiteX33" fmla="*/ 5752110 w 7187261"/>
              <a:gd name="connsiteY33" fmla="*/ 5150263 h 5150263"/>
              <a:gd name="connsiteX34" fmla="*/ 5827643 w 7187261"/>
              <a:gd name="connsiteY34" fmla="*/ 5150263 h 5150263"/>
              <a:gd name="connsiteX35" fmla="*/ 6642793 w 7187261"/>
              <a:gd name="connsiteY35" fmla="*/ 4389406 h 5150263"/>
              <a:gd name="connsiteX36" fmla="*/ 7102469 w 7187261"/>
              <a:gd name="connsiteY36" fmla="*/ 3490817 h 5150263"/>
              <a:gd name="connsiteX37" fmla="*/ 7187242 w 7187261"/>
              <a:gd name="connsiteY37" fmla="*/ 2990183 h 5150263"/>
              <a:gd name="connsiteX38" fmla="*/ 7178288 w 7187261"/>
              <a:gd name="connsiteY38" fmla="*/ 2604802 h 5150263"/>
              <a:gd name="connsiteX39" fmla="*/ 6342565 w 7187261"/>
              <a:gd name="connsiteY39" fmla="*/ 441389 h 5150263"/>
              <a:gd name="connsiteX40" fmla="*/ 7126567 w 7187261"/>
              <a:gd name="connsiteY40" fmla="*/ 2355056 h 5150263"/>
              <a:gd name="connsiteX41" fmla="*/ 6342565 w 7187261"/>
              <a:gd name="connsiteY41" fmla="*/ 441389 h 5150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187261" h="5150263">
                <a:moveTo>
                  <a:pt x="7178288" y="2604802"/>
                </a:moveTo>
                <a:cubicBezTo>
                  <a:pt x="7168763" y="2513076"/>
                  <a:pt x="7174478" y="2420684"/>
                  <a:pt x="7169335" y="2328577"/>
                </a:cubicBezTo>
                <a:cubicBezTo>
                  <a:pt x="7156952" y="2102882"/>
                  <a:pt x="7120586" y="1879149"/>
                  <a:pt x="7060845" y="1661160"/>
                </a:cubicBezTo>
                <a:cubicBezTo>
                  <a:pt x="6910588" y="1121007"/>
                  <a:pt x="6617428" y="631374"/>
                  <a:pt x="6212263" y="243840"/>
                </a:cubicBezTo>
                <a:cubicBezTo>
                  <a:pt x="6126538" y="162496"/>
                  <a:pt x="6040813" y="80201"/>
                  <a:pt x="5953564" y="0"/>
                </a:cubicBezTo>
                <a:lnTo>
                  <a:pt x="1408615" y="0"/>
                </a:lnTo>
                <a:cubicBezTo>
                  <a:pt x="1180967" y="200316"/>
                  <a:pt x="978332" y="427387"/>
                  <a:pt x="805111" y="676275"/>
                </a:cubicBezTo>
                <a:cubicBezTo>
                  <a:pt x="481261" y="1136523"/>
                  <a:pt x="252089" y="1640872"/>
                  <a:pt x="104928" y="2183035"/>
                </a:cubicBezTo>
                <a:cubicBezTo>
                  <a:pt x="85878" y="2254853"/>
                  <a:pt x="69495" y="2327720"/>
                  <a:pt x="51588" y="2400014"/>
                </a:cubicBezTo>
                <a:cubicBezTo>
                  <a:pt x="49683" y="2407634"/>
                  <a:pt x="51588" y="2416969"/>
                  <a:pt x="41301" y="2424208"/>
                </a:cubicBezTo>
                <a:cubicBezTo>
                  <a:pt x="45900" y="2225469"/>
                  <a:pt x="72186" y="2027834"/>
                  <a:pt x="119692" y="1834801"/>
                </a:cubicBezTo>
                <a:cubicBezTo>
                  <a:pt x="247993" y="1310926"/>
                  <a:pt x="506121" y="857726"/>
                  <a:pt x="870071" y="462248"/>
                </a:cubicBezTo>
                <a:cubicBezTo>
                  <a:pt x="1027729" y="291823"/>
                  <a:pt x="1201617" y="137169"/>
                  <a:pt x="1389279" y="476"/>
                </a:cubicBezTo>
                <a:lnTo>
                  <a:pt x="1320223" y="476"/>
                </a:lnTo>
                <a:cubicBezTo>
                  <a:pt x="960844" y="274320"/>
                  <a:pt x="656330" y="599123"/>
                  <a:pt x="423158" y="989743"/>
                </a:cubicBezTo>
                <a:cubicBezTo>
                  <a:pt x="215608" y="1337596"/>
                  <a:pt x="80258" y="1711357"/>
                  <a:pt x="25585" y="2113693"/>
                </a:cubicBezTo>
                <a:cubicBezTo>
                  <a:pt x="-2705" y="2316480"/>
                  <a:pt x="-2228" y="2521077"/>
                  <a:pt x="2344" y="2725865"/>
                </a:cubicBezTo>
                <a:cubicBezTo>
                  <a:pt x="14155" y="3261932"/>
                  <a:pt x="170650" y="3754565"/>
                  <a:pt x="447256" y="4210717"/>
                </a:cubicBezTo>
                <a:cubicBezTo>
                  <a:pt x="629851" y="4511612"/>
                  <a:pt x="866356" y="4767167"/>
                  <a:pt x="1138962" y="4988910"/>
                </a:cubicBezTo>
                <a:cubicBezTo>
                  <a:pt x="1207161" y="5044345"/>
                  <a:pt x="1277008" y="5096990"/>
                  <a:pt x="1348512" y="5146834"/>
                </a:cubicBezTo>
                <a:lnTo>
                  <a:pt x="1422712" y="5146834"/>
                </a:lnTo>
                <a:cubicBezTo>
                  <a:pt x="1043426" y="4892802"/>
                  <a:pt x="724720" y="4577334"/>
                  <a:pt x="480594" y="4187952"/>
                </a:cubicBezTo>
                <a:cubicBezTo>
                  <a:pt x="452019" y="4141851"/>
                  <a:pt x="423444" y="4095179"/>
                  <a:pt x="398679" y="4046125"/>
                </a:cubicBezTo>
                <a:cubicBezTo>
                  <a:pt x="407442" y="4043267"/>
                  <a:pt x="409156" y="4048982"/>
                  <a:pt x="411823" y="4053078"/>
                </a:cubicBezTo>
                <a:cubicBezTo>
                  <a:pt x="683572" y="4484656"/>
                  <a:pt x="1033139" y="4842701"/>
                  <a:pt x="1439380" y="5147405"/>
                </a:cubicBezTo>
                <a:lnTo>
                  <a:pt x="5710010" y="5150263"/>
                </a:lnTo>
                <a:cubicBezTo>
                  <a:pt x="5810594" y="5075482"/>
                  <a:pt x="5907272" y="4995587"/>
                  <a:pt x="5999665" y="4910900"/>
                </a:cubicBezTo>
                <a:cubicBezTo>
                  <a:pt x="6418765" y="4526661"/>
                  <a:pt x="6746901" y="4078129"/>
                  <a:pt x="6954165" y="3545777"/>
                </a:cubicBezTo>
                <a:cubicBezTo>
                  <a:pt x="7048234" y="3306175"/>
                  <a:pt x="7109956" y="3055115"/>
                  <a:pt x="7137712" y="2799207"/>
                </a:cubicBezTo>
                <a:cubicBezTo>
                  <a:pt x="7139236" y="2784920"/>
                  <a:pt x="7141046" y="2770632"/>
                  <a:pt x="7142951" y="2754535"/>
                </a:cubicBezTo>
                <a:cubicBezTo>
                  <a:pt x="7151714" y="2760440"/>
                  <a:pt x="7149237" y="2768441"/>
                  <a:pt x="7149428" y="2774823"/>
                </a:cubicBezTo>
                <a:cubicBezTo>
                  <a:pt x="7156743" y="3007967"/>
                  <a:pt x="7128777" y="3240881"/>
                  <a:pt x="7066465" y="3465672"/>
                </a:cubicBezTo>
                <a:cubicBezTo>
                  <a:pt x="6952165" y="3878580"/>
                  <a:pt x="6737948" y="4235863"/>
                  <a:pt x="6452578" y="4552760"/>
                </a:cubicBezTo>
                <a:cubicBezTo>
                  <a:pt x="6244553" y="4783836"/>
                  <a:pt x="6008809" y="4980242"/>
                  <a:pt x="5752110" y="5150263"/>
                </a:cubicBezTo>
                <a:lnTo>
                  <a:pt x="5827643" y="5150263"/>
                </a:lnTo>
                <a:cubicBezTo>
                  <a:pt x="6136539" y="4938904"/>
                  <a:pt x="6412192" y="4689348"/>
                  <a:pt x="6642793" y="4389406"/>
                </a:cubicBezTo>
                <a:cubicBezTo>
                  <a:pt x="6851295" y="4118324"/>
                  <a:pt x="7009125" y="3820859"/>
                  <a:pt x="7102469" y="3490817"/>
                </a:cubicBezTo>
                <a:cubicBezTo>
                  <a:pt x="7148646" y="3327473"/>
                  <a:pt x="7177069" y="3159624"/>
                  <a:pt x="7187242" y="2990183"/>
                </a:cubicBezTo>
                <a:cubicBezTo>
                  <a:pt x="7187623" y="2984087"/>
                  <a:pt x="7182384" y="2642330"/>
                  <a:pt x="7178288" y="2604802"/>
                </a:cubicBezTo>
                <a:close/>
                <a:moveTo>
                  <a:pt x="6342565" y="441389"/>
                </a:moveTo>
                <a:cubicBezTo>
                  <a:pt x="6829797" y="986533"/>
                  <a:pt x="7091135" y="1624422"/>
                  <a:pt x="7126567" y="2355056"/>
                </a:cubicBezTo>
                <a:cubicBezTo>
                  <a:pt x="7001123" y="1661827"/>
                  <a:pt x="6756426" y="1017365"/>
                  <a:pt x="6342565" y="441389"/>
                </a:cubicBez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Arial"/>
              <a:ea typeface="+mn-ea"/>
              <a:cs typeface="+mn-cs"/>
            </a:endParaRPr>
          </a:p>
        </p:txBody>
      </p:sp>
      <p:sp>
        <p:nvSpPr>
          <p:cNvPr id="4" name="Title 3">
            <a:extLst>
              <a:ext uri="{FF2B5EF4-FFF2-40B4-BE49-F238E27FC236}">
                <a16:creationId xmlns:a16="http://schemas.microsoft.com/office/drawing/2014/main" id="{B009CD84-DA40-4CAA-8A89-DD6DAA862368}"/>
              </a:ext>
            </a:extLst>
          </p:cNvPr>
          <p:cNvSpPr>
            <a:spLocks noGrp="1"/>
          </p:cNvSpPr>
          <p:nvPr>
            <p:ph type="title"/>
          </p:nvPr>
        </p:nvSpPr>
        <p:spPr>
          <a:xfrm>
            <a:off x="2819400" y="1764645"/>
            <a:ext cx="13502422" cy="4348463"/>
          </a:xfrm>
        </p:spPr>
        <p:txBody>
          <a:bodyPr vert="horz" lIns="91440" tIns="45720" rIns="91440" bIns="45720" rtlCol="0" anchor="b">
            <a:normAutofit/>
          </a:bodyPr>
          <a:lstStyle/>
          <a:p>
            <a:pPr indent="457200">
              <a:lnSpc>
                <a:spcPct val="90000"/>
              </a:lnSpc>
              <a:spcAft>
                <a:spcPts val="600"/>
              </a:spcAft>
            </a:pPr>
            <a:r>
              <a:rPr lang="en-GB" sz="8000" b="1" noProof="0" dirty="0">
                <a:solidFill>
                  <a:schemeClr val="bg1"/>
                </a:solidFill>
                <a:ea typeface="+mn-ea"/>
                <a:cs typeface="Arial" panose="020B0604020202020204" pitchFamily="34" charset="0"/>
              </a:rPr>
              <a:t>Technical challenges</a:t>
            </a:r>
          </a:p>
        </p:txBody>
      </p:sp>
      <p:sp>
        <p:nvSpPr>
          <p:cNvPr id="62" name="sketch line">
            <a:extLst>
              <a:ext uri="{FF2B5EF4-FFF2-40B4-BE49-F238E27FC236}">
                <a16:creationId xmlns:a16="http://schemas.microsoft.com/office/drawing/2014/main" id="{41F77738-2AF0-4750-A0C7-F97C2C17590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961309" y="6260247"/>
            <a:ext cx="6365383" cy="27432"/>
          </a:xfrm>
          <a:custGeom>
            <a:avLst/>
            <a:gdLst>
              <a:gd name="connsiteX0" fmla="*/ 0 w 6365383"/>
              <a:gd name="connsiteY0" fmla="*/ 0 h 27432"/>
              <a:gd name="connsiteX1" fmla="*/ 636538 w 6365383"/>
              <a:gd name="connsiteY1" fmla="*/ 0 h 27432"/>
              <a:gd name="connsiteX2" fmla="*/ 1273077 w 6365383"/>
              <a:gd name="connsiteY2" fmla="*/ 0 h 27432"/>
              <a:gd name="connsiteX3" fmla="*/ 1909615 w 6365383"/>
              <a:gd name="connsiteY3" fmla="*/ 0 h 27432"/>
              <a:gd name="connsiteX4" fmla="*/ 2673461 w 6365383"/>
              <a:gd name="connsiteY4" fmla="*/ 0 h 27432"/>
              <a:gd name="connsiteX5" fmla="*/ 3373653 w 6365383"/>
              <a:gd name="connsiteY5" fmla="*/ 0 h 27432"/>
              <a:gd name="connsiteX6" fmla="*/ 3819230 w 6365383"/>
              <a:gd name="connsiteY6" fmla="*/ 0 h 27432"/>
              <a:gd name="connsiteX7" fmla="*/ 4392114 w 6365383"/>
              <a:gd name="connsiteY7" fmla="*/ 0 h 27432"/>
              <a:gd name="connsiteX8" fmla="*/ 5155960 w 6365383"/>
              <a:gd name="connsiteY8" fmla="*/ 0 h 27432"/>
              <a:gd name="connsiteX9" fmla="*/ 5792499 w 6365383"/>
              <a:gd name="connsiteY9" fmla="*/ 0 h 27432"/>
              <a:gd name="connsiteX10" fmla="*/ 6365383 w 6365383"/>
              <a:gd name="connsiteY10" fmla="*/ 0 h 27432"/>
              <a:gd name="connsiteX11" fmla="*/ 6365383 w 6365383"/>
              <a:gd name="connsiteY11" fmla="*/ 27432 h 27432"/>
              <a:gd name="connsiteX12" fmla="*/ 5856152 w 6365383"/>
              <a:gd name="connsiteY12" fmla="*/ 27432 h 27432"/>
              <a:gd name="connsiteX13" fmla="*/ 5092306 w 6365383"/>
              <a:gd name="connsiteY13" fmla="*/ 27432 h 27432"/>
              <a:gd name="connsiteX14" fmla="*/ 4583076 w 6365383"/>
              <a:gd name="connsiteY14" fmla="*/ 27432 h 27432"/>
              <a:gd name="connsiteX15" fmla="*/ 4137499 w 6365383"/>
              <a:gd name="connsiteY15" fmla="*/ 27432 h 27432"/>
              <a:gd name="connsiteX16" fmla="*/ 3691922 w 6365383"/>
              <a:gd name="connsiteY16" fmla="*/ 27432 h 27432"/>
              <a:gd name="connsiteX17" fmla="*/ 2991730 w 6365383"/>
              <a:gd name="connsiteY17" fmla="*/ 27432 h 27432"/>
              <a:gd name="connsiteX18" fmla="*/ 2546153 w 6365383"/>
              <a:gd name="connsiteY18" fmla="*/ 27432 h 27432"/>
              <a:gd name="connsiteX19" fmla="*/ 1909615 w 6365383"/>
              <a:gd name="connsiteY19" fmla="*/ 27432 h 27432"/>
              <a:gd name="connsiteX20" fmla="*/ 1400384 w 6365383"/>
              <a:gd name="connsiteY20" fmla="*/ 27432 h 27432"/>
              <a:gd name="connsiteX21" fmla="*/ 763846 w 6365383"/>
              <a:gd name="connsiteY21" fmla="*/ 27432 h 27432"/>
              <a:gd name="connsiteX22" fmla="*/ 0 w 6365383"/>
              <a:gd name="connsiteY22" fmla="*/ 27432 h 27432"/>
              <a:gd name="connsiteX23" fmla="*/ 0 w 6365383"/>
              <a:gd name="connsiteY23" fmla="*/ 0 h 27432"/>
              <a:gd name="connsiteX0" fmla="*/ 0 w 6365383"/>
              <a:gd name="connsiteY0" fmla="*/ 0 h 27432"/>
              <a:gd name="connsiteX1" fmla="*/ 572884 w 6365383"/>
              <a:gd name="connsiteY1" fmla="*/ 0 h 27432"/>
              <a:gd name="connsiteX2" fmla="*/ 1018461 w 6365383"/>
              <a:gd name="connsiteY2" fmla="*/ 0 h 27432"/>
              <a:gd name="connsiteX3" fmla="*/ 1782307 w 6365383"/>
              <a:gd name="connsiteY3" fmla="*/ 0 h 27432"/>
              <a:gd name="connsiteX4" fmla="*/ 2355192 w 6365383"/>
              <a:gd name="connsiteY4" fmla="*/ 0 h 27432"/>
              <a:gd name="connsiteX5" fmla="*/ 2928076 w 6365383"/>
              <a:gd name="connsiteY5" fmla="*/ 0 h 27432"/>
              <a:gd name="connsiteX6" fmla="*/ 3691922 w 6365383"/>
              <a:gd name="connsiteY6" fmla="*/ 0 h 27432"/>
              <a:gd name="connsiteX7" fmla="*/ 4201153 w 6365383"/>
              <a:gd name="connsiteY7" fmla="*/ 0 h 27432"/>
              <a:gd name="connsiteX8" fmla="*/ 4964999 w 6365383"/>
              <a:gd name="connsiteY8" fmla="*/ 0 h 27432"/>
              <a:gd name="connsiteX9" fmla="*/ 5728845 w 6365383"/>
              <a:gd name="connsiteY9" fmla="*/ 0 h 27432"/>
              <a:gd name="connsiteX10" fmla="*/ 6365383 w 6365383"/>
              <a:gd name="connsiteY10" fmla="*/ 0 h 27432"/>
              <a:gd name="connsiteX11" fmla="*/ 6365383 w 6365383"/>
              <a:gd name="connsiteY11" fmla="*/ 27432 h 27432"/>
              <a:gd name="connsiteX12" fmla="*/ 5665191 w 6365383"/>
              <a:gd name="connsiteY12" fmla="*/ 27432 h 27432"/>
              <a:gd name="connsiteX13" fmla="*/ 4901345 w 6365383"/>
              <a:gd name="connsiteY13" fmla="*/ 27432 h 27432"/>
              <a:gd name="connsiteX14" fmla="*/ 4137499 w 6365383"/>
              <a:gd name="connsiteY14" fmla="*/ 27432 h 27432"/>
              <a:gd name="connsiteX15" fmla="*/ 3628268 w 6365383"/>
              <a:gd name="connsiteY15" fmla="*/ 27432 h 27432"/>
              <a:gd name="connsiteX16" fmla="*/ 2991730 w 6365383"/>
              <a:gd name="connsiteY16" fmla="*/ 27432 h 27432"/>
              <a:gd name="connsiteX17" fmla="*/ 2227884 w 6365383"/>
              <a:gd name="connsiteY17" fmla="*/ 27432 h 27432"/>
              <a:gd name="connsiteX18" fmla="*/ 1591346 w 6365383"/>
              <a:gd name="connsiteY18" fmla="*/ 27432 h 27432"/>
              <a:gd name="connsiteX19" fmla="*/ 1145769 w 6365383"/>
              <a:gd name="connsiteY19" fmla="*/ 27432 h 27432"/>
              <a:gd name="connsiteX20" fmla="*/ 636538 w 6365383"/>
              <a:gd name="connsiteY20" fmla="*/ 27432 h 27432"/>
              <a:gd name="connsiteX21" fmla="*/ 0 w 6365383"/>
              <a:gd name="connsiteY21" fmla="*/ 27432 h 27432"/>
              <a:gd name="connsiteX22" fmla="*/ 0 w 6365383"/>
              <a:gd name="connsiteY22"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365383" h="27432" fill="none" extrusionOk="0">
                <a:moveTo>
                  <a:pt x="0" y="0"/>
                </a:moveTo>
                <a:cubicBezTo>
                  <a:pt x="311910" y="25756"/>
                  <a:pt x="328854" y="-22977"/>
                  <a:pt x="636538" y="0"/>
                </a:cubicBezTo>
                <a:cubicBezTo>
                  <a:pt x="929901" y="50670"/>
                  <a:pt x="1067253" y="-1993"/>
                  <a:pt x="1273077" y="0"/>
                </a:cubicBezTo>
                <a:cubicBezTo>
                  <a:pt x="1507620" y="-24857"/>
                  <a:pt x="1747799" y="-10413"/>
                  <a:pt x="1909615" y="0"/>
                </a:cubicBezTo>
                <a:cubicBezTo>
                  <a:pt x="2041097" y="-21585"/>
                  <a:pt x="2422417" y="-28022"/>
                  <a:pt x="2673461" y="0"/>
                </a:cubicBezTo>
                <a:cubicBezTo>
                  <a:pt x="2948394" y="-4560"/>
                  <a:pt x="3134893" y="36981"/>
                  <a:pt x="3373653" y="0"/>
                </a:cubicBezTo>
                <a:cubicBezTo>
                  <a:pt x="3634761" y="-15887"/>
                  <a:pt x="3700843" y="23167"/>
                  <a:pt x="3819230" y="0"/>
                </a:cubicBezTo>
                <a:cubicBezTo>
                  <a:pt x="3977295" y="2943"/>
                  <a:pt x="4128910" y="-53150"/>
                  <a:pt x="4392114" y="0"/>
                </a:cubicBezTo>
                <a:cubicBezTo>
                  <a:pt x="4672763" y="9214"/>
                  <a:pt x="4999833" y="38501"/>
                  <a:pt x="5155960" y="0"/>
                </a:cubicBezTo>
                <a:cubicBezTo>
                  <a:pt x="5343367" y="-6557"/>
                  <a:pt x="5597661" y="6622"/>
                  <a:pt x="5792499" y="0"/>
                </a:cubicBezTo>
                <a:cubicBezTo>
                  <a:pt x="6020774" y="43813"/>
                  <a:pt x="6148830" y="-13954"/>
                  <a:pt x="6365383" y="0"/>
                </a:cubicBezTo>
                <a:cubicBezTo>
                  <a:pt x="6364517" y="8091"/>
                  <a:pt x="6365728" y="20268"/>
                  <a:pt x="6365383" y="27432"/>
                </a:cubicBezTo>
                <a:cubicBezTo>
                  <a:pt x="6144545" y="15144"/>
                  <a:pt x="6006673" y="-7419"/>
                  <a:pt x="5856152" y="27432"/>
                </a:cubicBezTo>
                <a:cubicBezTo>
                  <a:pt x="5638446" y="81548"/>
                  <a:pt x="5413846" y="52067"/>
                  <a:pt x="5092306" y="27432"/>
                </a:cubicBezTo>
                <a:cubicBezTo>
                  <a:pt x="4768499" y="43350"/>
                  <a:pt x="4708569" y="3163"/>
                  <a:pt x="4583076" y="27432"/>
                </a:cubicBezTo>
                <a:cubicBezTo>
                  <a:pt x="4475482" y="66269"/>
                  <a:pt x="4242792" y="42702"/>
                  <a:pt x="4137499" y="27432"/>
                </a:cubicBezTo>
                <a:cubicBezTo>
                  <a:pt x="4003968" y="24039"/>
                  <a:pt x="3882646" y="-3026"/>
                  <a:pt x="3691922" y="27432"/>
                </a:cubicBezTo>
                <a:cubicBezTo>
                  <a:pt x="3501639" y="8096"/>
                  <a:pt x="3270842" y="-14942"/>
                  <a:pt x="2991730" y="27432"/>
                </a:cubicBezTo>
                <a:cubicBezTo>
                  <a:pt x="2712135" y="55419"/>
                  <a:pt x="2758697" y="31955"/>
                  <a:pt x="2546153" y="27432"/>
                </a:cubicBezTo>
                <a:cubicBezTo>
                  <a:pt x="2362220" y="-818"/>
                  <a:pt x="2130397" y="57099"/>
                  <a:pt x="1909615" y="27432"/>
                </a:cubicBezTo>
                <a:cubicBezTo>
                  <a:pt x="1714835" y="-15389"/>
                  <a:pt x="1636770" y="40318"/>
                  <a:pt x="1400384" y="27432"/>
                </a:cubicBezTo>
                <a:cubicBezTo>
                  <a:pt x="1161504" y="29515"/>
                  <a:pt x="1060819" y="7773"/>
                  <a:pt x="763846" y="27432"/>
                </a:cubicBezTo>
                <a:cubicBezTo>
                  <a:pt x="465096" y="43671"/>
                  <a:pt x="165309" y="15831"/>
                  <a:pt x="0" y="27432"/>
                </a:cubicBezTo>
                <a:cubicBezTo>
                  <a:pt x="-2013" y="18874"/>
                  <a:pt x="-525" y="8614"/>
                  <a:pt x="0" y="0"/>
                </a:cubicBezTo>
                <a:close/>
              </a:path>
              <a:path w="6365383" h="27432" stroke="0" extrusionOk="0">
                <a:moveTo>
                  <a:pt x="0" y="0"/>
                </a:moveTo>
                <a:cubicBezTo>
                  <a:pt x="84020" y="9133"/>
                  <a:pt x="339524" y="24523"/>
                  <a:pt x="572884" y="0"/>
                </a:cubicBezTo>
                <a:cubicBezTo>
                  <a:pt x="803790" y="-14011"/>
                  <a:pt x="837492" y="-10007"/>
                  <a:pt x="1018461" y="0"/>
                </a:cubicBezTo>
                <a:cubicBezTo>
                  <a:pt x="1188530" y="8943"/>
                  <a:pt x="1571061" y="17361"/>
                  <a:pt x="1782307" y="0"/>
                </a:cubicBezTo>
                <a:cubicBezTo>
                  <a:pt x="1967448" y="-16010"/>
                  <a:pt x="2153334" y="-25629"/>
                  <a:pt x="2355192" y="0"/>
                </a:cubicBezTo>
                <a:cubicBezTo>
                  <a:pt x="2541804" y="20205"/>
                  <a:pt x="2779440" y="53811"/>
                  <a:pt x="2928076" y="0"/>
                </a:cubicBezTo>
                <a:cubicBezTo>
                  <a:pt x="3024078" y="-16903"/>
                  <a:pt x="3337092" y="43483"/>
                  <a:pt x="3691922" y="0"/>
                </a:cubicBezTo>
                <a:cubicBezTo>
                  <a:pt x="4060895" y="-1064"/>
                  <a:pt x="4072166" y="-17195"/>
                  <a:pt x="4201153" y="0"/>
                </a:cubicBezTo>
                <a:cubicBezTo>
                  <a:pt x="4349835" y="-22516"/>
                  <a:pt x="4800106" y="-64797"/>
                  <a:pt x="4964999" y="0"/>
                </a:cubicBezTo>
                <a:cubicBezTo>
                  <a:pt x="5186764" y="15779"/>
                  <a:pt x="5564421" y="-10544"/>
                  <a:pt x="5728845" y="0"/>
                </a:cubicBezTo>
                <a:cubicBezTo>
                  <a:pt x="5915953" y="5493"/>
                  <a:pt x="6171384" y="-48026"/>
                  <a:pt x="6365383" y="0"/>
                </a:cubicBezTo>
                <a:cubicBezTo>
                  <a:pt x="6366596" y="6455"/>
                  <a:pt x="6365588" y="14391"/>
                  <a:pt x="6365383" y="27432"/>
                </a:cubicBezTo>
                <a:cubicBezTo>
                  <a:pt x="6172514" y="805"/>
                  <a:pt x="6006523" y="20734"/>
                  <a:pt x="5665191" y="27432"/>
                </a:cubicBezTo>
                <a:cubicBezTo>
                  <a:pt x="5322179" y="66687"/>
                  <a:pt x="5219376" y="21111"/>
                  <a:pt x="4901345" y="27432"/>
                </a:cubicBezTo>
                <a:cubicBezTo>
                  <a:pt x="4621310" y="-13654"/>
                  <a:pt x="4455192" y="54857"/>
                  <a:pt x="4137499" y="27432"/>
                </a:cubicBezTo>
                <a:cubicBezTo>
                  <a:pt x="3853317" y="12285"/>
                  <a:pt x="3862894" y="26263"/>
                  <a:pt x="3628268" y="27432"/>
                </a:cubicBezTo>
                <a:cubicBezTo>
                  <a:pt x="3418779" y="32610"/>
                  <a:pt x="3174456" y="83656"/>
                  <a:pt x="2991730" y="27432"/>
                </a:cubicBezTo>
                <a:cubicBezTo>
                  <a:pt x="2801278" y="6667"/>
                  <a:pt x="2497351" y="22891"/>
                  <a:pt x="2227884" y="27432"/>
                </a:cubicBezTo>
                <a:cubicBezTo>
                  <a:pt x="1986101" y="16297"/>
                  <a:pt x="1767219" y="-7535"/>
                  <a:pt x="1591346" y="27432"/>
                </a:cubicBezTo>
                <a:cubicBezTo>
                  <a:pt x="1447183" y="73731"/>
                  <a:pt x="1315973" y="39477"/>
                  <a:pt x="1145769" y="27432"/>
                </a:cubicBezTo>
                <a:cubicBezTo>
                  <a:pt x="990245" y="8882"/>
                  <a:pt x="810845" y="16910"/>
                  <a:pt x="636538" y="27432"/>
                </a:cubicBezTo>
                <a:cubicBezTo>
                  <a:pt x="482916" y="17795"/>
                  <a:pt x="183027" y="-17710"/>
                  <a:pt x="0" y="27432"/>
                </a:cubicBezTo>
                <a:cubicBezTo>
                  <a:pt x="491" y="19542"/>
                  <a:pt x="-1038" y="8534"/>
                  <a:pt x="0" y="0"/>
                </a:cubicBezTo>
                <a:close/>
              </a:path>
              <a:path w="6365383" h="27432" fill="none" stroke="0" extrusionOk="0">
                <a:moveTo>
                  <a:pt x="0" y="0"/>
                </a:moveTo>
                <a:cubicBezTo>
                  <a:pt x="296223" y="15991"/>
                  <a:pt x="333462" y="-23795"/>
                  <a:pt x="636538" y="0"/>
                </a:cubicBezTo>
                <a:cubicBezTo>
                  <a:pt x="970197" y="30961"/>
                  <a:pt x="1039864" y="3183"/>
                  <a:pt x="1273077" y="0"/>
                </a:cubicBezTo>
                <a:cubicBezTo>
                  <a:pt x="1449809" y="24819"/>
                  <a:pt x="1735152" y="23060"/>
                  <a:pt x="1909615" y="0"/>
                </a:cubicBezTo>
                <a:cubicBezTo>
                  <a:pt x="2016351" y="-41665"/>
                  <a:pt x="2415001" y="34773"/>
                  <a:pt x="2673461" y="0"/>
                </a:cubicBezTo>
                <a:cubicBezTo>
                  <a:pt x="2996983" y="-13411"/>
                  <a:pt x="3130707" y="3741"/>
                  <a:pt x="3373653" y="0"/>
                </a:cubicBezTo>
                <a:cubicBezTo>
                  <a:pt x="3601951" y="-16140"/>
                  <a:pt x="3689909" y="23222"/>
                  <a:pt x="3819230" y="0"/>
                </a:cubicBezTo>
                <a:cubicBezTo>
                  <a:pt x="3931872" y="-29406"/>
                  <a:pt x="4119438" y="24094"/>
                  <a:pt x="4392114" y="0"/>
                </a:cubicBezTo>
                <a:cubicBezTo>
                  <a:pt x="4665359" y="21557"/>
                  <a:pt x="4978709" y="13267"/>
                  <a:pt x="5155960" y="0"/>
                </a:cubicBezTo>
                <a:cubicBezTo>
                  <a:pt x="5299518" y="-18386"/>
                  <a:pt x="5605020" y="-6762"/>
                  <a:pt x="5792499" y="0"/>
                </a:cubicBezTo>
                <a:cubicBezTo>
                  <a:pt x="6013281" y="43398"/>
                  <a:pt x="6167567" y="36727"/>
                  <a:pt x="6365383" y="0"/>
                </a:cubicBezTo>
                <a:cubicBezTo>
                  <a:pt x="6365697" y="8368"/>
                  <a:pt x="6365332" y="21050"/>
                  <a:pt x="6365383" y="27432"/>
                </a:cubicBezTo>
                <a:cubicBezTo>
                  <a:pt x="6154893" y="8454"/>
                  <a:pt x="6014206" y="-8372"/>
                  <a:pt x="5856152" y="27432"/>
                </a:cubicBezTo>
                <a:cubicBezTo>
                  <a:pt x="5659455" y="59503"/>
                  <a:pt x="5350806" y="-35991"/>
                  <a:pt x="5092306" y="27432"/>
                </a:cubicBezTo>
                <a:cubicBezTo>
                  <a:pt x="4756309" y="48260"/>
                  <a:pt x="4699746" y="-4780"/>
                  <a:pt x="4583076" y="27432"/>
                </a:cubicBezTo>
                <a:cubicBezTo>
                  <a:pt x="4462137" y="30142"/>
                  <a:pt x="4226168" y="50236"/>
                  <a:pt x="4137499" y="27432"/>
                </a:cubicBezTo>
                <a:cubicBezTo>
                  <a:pt x="4018570" y="42181"/>
                  <a:pt x="3887179" y="34623"/>
                  <a:pt x="3691922" y="27432"/>
                </a:cubicBezTo>
                <a:cubicBezTo>
                  <a:pt x="3499755" y="32935"/>
                  <a:pt x="3281056" y="-9158"/>
                  <a:pt x="2991730" y="27432"/>
                </a:cubicBezTo>
                <a:cubicBezTo>
                  <a:pt x="2716073" y="57462"/>
                  <a:pt x="2755481" y="34494"/>
                  <a:pt x="2546153" y="27432"/>
                </a:cubicBezTo>
                <a:cubicBezTo>
                  <a:pt x="2356479" y="62622"/>
                  <a:pt x="2079190" y="73729"/>
                  <a:pt x="1909615" y="27432"/>
                </a:cubicBezTo>
                <a:cubicBezTo>
                  <a:pt x="1715819" y="-26444"/>
                  <a:pt x="1631368" y="48131"/>
                  <a:pt x="1400384" y="27432"/>
                </a:cubicBezTo>
                <a:cubicBezTo>
                  <a:pt x="1177327" y="16190"/>
                  <a:pt x="1065236" y="24992"/>
                  <a:pt x="763846" y="27432"/>
                </a:cubicBezTo>
                <a:cubicBezTo>
                  <a:pt x="448643" y="60691"/>
                  <a:pt x="160833" y="2330"/>
                  <a:pt x="0" y="27432"/>
                </a:cubicBezTo>
                <a:cubicBezTo>
                  <a:pt x="1559" y="18666"/>
                  <a:pt x="-585" y="7580"/>
                  <a:pt x="0" y="0"/>
                </a:cubicBezTo>
                <a:close/>
              </a:path>
            </a:pathLst>
          </a:custGeom>
          <a:solidFill>
            <a:srgbClr val="FFFFFF"/>
          </a:solidFill>
          <a:ln w="41275" cap="rnd">
            <a:solidFill>
              <a:srgbClr val="FFFFFF"/>
            </a:solidFill>
            <a:round/>
            <a:extLst>
              <a:ext uri="{C807C97D-BFC1-408E-A445-0C87EB9F89A2}">
                <ask:lineSketchStyleProps xmlns:ask="http://schemas.microsoft.com/office/drawing/2018/sketchyshapes" sd="1219033472">
                  <a:custGeom>
                    <a:avLst/>
                    <a:gdLst>
                      <a:gd name="connsiteX0" fmla="*/ 0 w 6365383"/>
                      <a:gd name="connsiteY0" fmla="*/ 0 h 27432"/>
                      <a:gd name="connsiteX1" fmla="*/ 636538 w 6365383"/>
                      <a:gd name="connsiteY1" fmla="*/ 0 h 27432"/>
                      <a:gd name="connsiteX2" fmla="*/ 1273077 w 6365383"/>
                      <a:gd name="connsiteY2" fmla="*/ 0 h 27432"/>
                      <a:gd name="connsiteX3" fmla="*/ 1909615 w 6365383"/>
                      <a:gd name="connsiteY3" fmla="*/ 0 h 27432"/>
                      <a:gd name="connsiteX4" fmla="*/ 2673461 w 6365383"/>
                      <a:gd name="connsiteY4" fmla="*/ 0 h 27432"/>
                      <a:gd name="connsiteX5" fmla="*/ 3373653 w 6365383"/>
                      <a:gd name="connsiteY5" fmla="*/ 0 h 27432"/>
                      <a:gd name="connsiteX6" fmla="*/ 3819230 w 6365383"/>
                      <a:gd name="connsiteY6" fmla="*/ 0 h 27432"/>
                      <a:gd name="connsiteX7" fmla="*/ 4392114 w 6365383"/>
                      <a:gd name="connsiteY7" fmla="*/ 0 h 27432"/>
                      <a:gd name="connsiteX8" fmla="*/ 5155960 w 6365383"/>
                      <a:gd name="connsiteY8" fmla="*/ 0 h 27432"/>
                      <a:gd name="connsiteX9" fmla="*/ 5792499 w 6365383"/>
                      <a:gd name="connsiteY9" fmla="*/ 0 h 27432"/>
                      <a:gd name="connsiteX10" fmla="*/ 6365383 w 6365383"/>
                      <a:gd name="connsiteY10" fmla="*/ 0 h 27432"/>
                      <a:gd name="connsiteX11" fmla="*/ 6365383 w 6365383"/>
                      <a:gd name="connsiteY11" fmla="*/ 27432 h 27432"/>
                      <a:gd name="connsiteX12" fmla="*/ 5856152 w 6365383"/>
                      <a:gd name="connsiteY12" fmla="*/ 27432 h 27432"/>
                      <a:gd name="connsiteX13" fmla="*/ 5092306 w 6365383"/>
                      <a:gd name="connsiteY13" fmla="*/ 27432 h 27432"/>
                      <a:gd name="connsiteX14" fmla="*/ 4583076 w 6365383"/>
                      <a:gd name="connsiteY14" fmla="*/ 27432 h 27432"/>
                      <a:gd name="connsiteX15" fmla="*/ 4137499 w 6365383"/>
                      <a:gd name="connsiteY15" fmla="*/ 27432 h 27432"/>
                      <a:gd name="connsiteX16" fmla="*/ 3691922 w 6365383"/>
                      <a:gd name="connsiteY16" fmla="*/ 27432 h 27432"/>
                      <a:gd name="connsiteX17" fmla="*/ 2991730 w 6365383"/>
                      <a:gd name="connsiteY17" fmla="*/ 27432 h 27432"/>
                      <a:gd name="connsiteX18" fmla="*/ 2546153 w 6365383"/>
                      <a:gd name="connsiteY18" fmla="*/ 27432 h 27432"/>
                      <a:gd name="connsiteX19" fmla="*/ 1909615 w 6365383"/>
                      <a:gd name="connsiteY19" fmla="*/ 27432 h 27432"/>
                      <a:gd name="connsiteX20" fmla="*/ 1400384 w 6365383"/>
                      <a:gd name="connsiteY20" fmla="*/ 27432 h 27432"/>
                      <a:gd name="connsiteX21" fmla="*/ 763846 w 6365383"/>
                      <a:gd name="connsiteY21" fmla="*/ 27432 h 27432"/>
                      <a:gd name="connsiteX22" fmla="*/ 0 w 6365383"/>
                      <a:gd name="connsiteY22" fmla="*/ 27432 h 27432"/>
                      <a:gd name="connsiteX23" fmla="*/ 0 w 6365383"/>
                      <a:gd name="connsiteY23"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365383" h="27432" fill="none" extrusionOk="0">
                        <a:moveTo>
                          <a:pt x="0" y="0"/>
                        </a:moveTo>
                        <a:cubicBezTo>
                          <a:pt x="305169" y="21509"/>
                          <a:pt x="334704" y="-24261"/>
                          <a:pt x="636538" y="0"/>
                        </a:cubicBezTo>
                        <a:cubicBezTo>
                          <a:pt x="938372" y="24261"/>
                          <a:pt x="1068606" y="2269"/>
                          <a:pt x="1273077" y="0"/>
                        </a:cubicBezTo>
                        <a:cubicBezTo>
                          <a:pt x="1477548" y="-2269"/>
                          <a:pt x="1738189" y="6272"/>
                          <a:pt x="1909615" y="0"/>
                        </a:cubicBezTo>
                        <a:cubicBezTo>
                          <a:pt x="2081041" y="-6272"/>
                          <a:pt x="2377015" y="16623"/>
                          <a:pt x="2673461" y="0"/>
                        </a:cubicBezTo>
                        <a:cubicBezTo>
                          <a:pt x="2969907" y="-16623"/>
                          <a:pt x="3126114" y="13194"/>
                          <a:pt x="3373653" y="0"/>
                        </a:cubicBezTo>
                        <a:cubicBezTo>
                          <a:pt x="3621192" y="-13194"/>
                          <a:pt x="3704499" y="9486"/>
                          <a:pt x="3819230" y="0"/>
                        </a:cubicBezTo>
                        <a:cubicBezTo>
                          <a:pt x="3933961" y="-9486"/>
                          <a:pt x="4142691" y="-8221"/>
                          <a:pt x="4392114" y="0"/>
                        </a:cubicBezTo>
                        <a:cubicBezTo>
                          <a:pt x="4641537" y="8221"/>
                          <a:pt x="4974506" y="12257"/>
                          <a:pt x="5155960" y="0"/>
                        </a:cubicBezTo>
                        <a:cubicBezTo>
                          <a:pt x="5337414" y="-12257"/>
                          <a:pt x="5585731" y="-22537"/>
                          <a:pt x="5792499" y="0"/>
                        </a:cubicBezTo>
                        <a:cubicBezTo>
                          <a:pt x="5999267" y="22537"/>
                          <a:pt x="6164726" y="7303"/>
                          <a:pt x="6365383" y="0"/>
                        </a:cubicBezTo>
                        <a:cubicBezTo>
                          <a:pt x="6365125" y="7487"/>
                          <a:pt x="6364462" y="19984"/>
                          <a:pt x="6365383" y="27432"/>
                        </a:cubicBezTo>
                        <a:cubicBezTo>
                          <a:pt x="6132222" y="28304"/>
                          <a:pt x="6011986" y="2071"/>
                          <a:pt x="5856152" y="27432"/>
                        </a:cubicBezTo>
                        <a:cubicBezTo>
                          <a:pt x="5700318" y="52793"/>
                          <a:pt x="5410732" y="5357"/>
                          <a:pt x="5092306" y="27432"/>
                        </a:cubicBezTo>
                        <a:cubicBezTo>
                          <a:pt x="4773880" y="49507"/>
                          <a:pt x="4705351" y="6645"/>
                          <a:pt x="4583076" y="27432"/>
                        </a:cubicBezTo>
                        <a:cubicBezTo>
                          <a:pt x="4460801" y="48220"/>
                          <a:pt x="4239915" y="42209"/>
                          <a:pt x="4137499" y="27432"/>
                        </a:cubicBezTo>
                        <a:cubicBezTo>
                          <a:pt x="4035083" y="12655"/>
                          <a:pt x="3883665" y="32012"/>
                          <a:pt x="3691922" y="27432"/>
                        </a:cubicBezTo>
                        <a:cubicBezTo>
                          <a:pt x="3500179" y="22852"/>
                          <a:pt x="3265830" y="-126"/>
                          <a:pt x="2991730" y="27432"/>
                        </a:cubicBezTo>
                        <a:cubicBezTo>
                          <a:pt x="2717630" y="54990"/>
                          <a:pt x="2757122" y="34407"/>
                          <a:pt x="2546153" y="27432"/>
                        </a:cubicBezTo>
                        <a:cubicBezTo>
                          <a:pt x="2335184" y="20457"/>
                          <a:pt x="2107331" y="58889"/>
                          <a:pt x="1909615" y="27432"/>
                        </a:cubicBezTo>
                        <a:cubicBezTo>
                          <a:pt x="1711899" y="-4025"/>
                          <a:pt x="1634641" y="48316"/>
                          <a:pt x="1400384" y="27432"/>
                        </a:cubicBezTo>
                        <a:cubicBezTo>
                          <a:pt x="1166127" y="6548"/>
                          <a:pt x="1068288" y="15776"/>
                          <a:pt x="763846" y="27432"/>
                        </a:cubicBezTo>
                        <a:cubicBezTo>
                          <a:pt x="459404" y="39088"/>
                          <a:pt x="170017" y="14515"/>
                          <a:pt x="0" y="27432"/>
                        </a:cubicBezTo>
                        <a:cubicBezTo>
                          <a:pt x="-14" y="18173"/>
                          <a:pt x="-517" y="8990"/>
                          <a:pt x="0" y="0"/>
                        </a:cubicBezTo>
                        <a:close/>
                      </a:path>
                      <a:path w="6365383" h="27432" stroke="0" extrusionOk="0">
                        <a:moveTo>
                          <a:pt x="0" y="0"/>
                        </a:moveTo>
                        <a:cubicBezTo>
                          <a:pt x="114610" y="-2215"/>
                          <a:pt x="340315" y="12554"/>
                          <a:pt x="572884" y="0"/>
                        </a:cubicBezTo>
                        <a:cubicBezTo>
                          <a:pt x="805453" y="-12554"/>
                          <a:pt x="832891" y="-10424"/>
                          <a:pt x="1018461" y="0"/>
                        </a:cubicBezTo>
                        <a:cubicBezTo>
                          <a:pt x="1204031" y="10424"/>
                          <a:pt x="1590875" y="8682"/>
                          <a:pt x="1782307" y="0"/>
                        </a:cubicBezTo>
                        <a:cubicBezTo>
                          <a:pt x="1973739" y="-8682"/>
                          <a:pt x="2150876" y="5508"/>
                          <a:pt x="2355192" y="0"/>
                        </a:cubicBezTo>
                        <a:cubicBezTo>
                          <a:pt x="2559508" y="-5508"/>
                          <a:pt x="2790194" y="26965"/>
                          <a:pt x="2928076" y="0"/>
                        </a:cubicBezTo>
                        <a:cubicBezTo>
                          <a:pt x="3065958" y="-26965"/>
                          <a:pt x="3321537" y="819"/>
                          <a:pt x="3691922" y="0"/>
                        </a:cubicBezTo>
                        <a:cubicBezTo>
                          <a:pt x="4062307" y="-819"/>
                          <a:pt x="4072238" y="-15327"/>
                          <a:pt x="4201153" y="0"/>
                        </a:cubicBezTo>
                        <a:cubicBezTo>
                          <a:pt x="4330068" y="15327"/>
                          <a:pt x="4772079" y="-35646"/>
                          <a:pt x="4964999" y="0"/>
                        </a:cubicBezTo>
                        <a:cubicBezTo>
                          <a:pt x="5157919" y="35646"/>
                          <a:pt x="5543915" y="6802"/>
                          <a:pt x="5728845" y="0"/>
                        </a:cubicBezTo>
                        <a:cubicBezTo>
                          <a:pt x="5913775" y="-6802"/>
                          <a:pt x="6142952" y="-21408"/>
                          <a:pt x="6365383" y="0"/>
                        </a:cubicBezTo>
                        <a:cubicBezTo>
                          <a:pt x="6364552" y="6329"/>
                          <a:pt x="6365787" y="16858"/>
                          <a:pt x="6365383" y="27432"/>
                        </a:cubicBezTo>
                        <a:cubicBezTo>
                          <a:pt x="6176931" y="320"/>
                          <a:pt x="5998736" y="11244"/>
                          <a:pt x="5665191" y="27432"/>
                        </a:cubicBezTo>
                        <a:cubicBezTo>
                          <a:pt x="5331646" y="43620"/>
                          <a:pt x="5198011" y="28615"/>
                          <a:pt x="4901345" y="27432"/>
                        </a:cubicBezTo>
                        <a:cubicBezTo>
                          <a:pt x="4604679" y="26249"/>
                          <a:pt x="4422931" y="40617"/>
                          <a:pt x="4137499" y="27432"/>
                        </a:cubicBezTo>
                        <a:cubicBezTo>
                          <a:pt x="3852067" y="14247"/>
                          <a:pt x="3861939" y="26581"/>
                          <a:pt x="3628268" y="27432"/>
                        </a:cubicBezTo>
                        <a:cubicBezTo>
                          <a:pt x="3394597" y="28283"/>
                          <a:pt x="3171361" y="44132"/>
                          <a:pt x="2991730" y="27432"/>
                        </a:cubicBezTo>
                        <a:cubicBezTo>
                          <a:pt x="2812099" y="10732"/>
                          <a:pt x="2469344" y="24737"/>
                          <a:pt x="2227884" y="27432"/>
                        </a:cubicBezTo>
                        <a:cubicBezTo>
                          <a:pt x="1986424" y="30127"/>
                          <a:pt x="1748067" y="6359"/>
                          <a:pt x="1591346" y="27432"/>
                        </a:cubicBezTo>
                        <a:cubicBezTo>
                          <a:pt x="1434625" y="48505"/>
                          <a:pt x="1307456" y="39663"/>
                          <a:pt x="1145769" y="27432"/>
                        </a:cubicBezTo>
                        <a:cubicBezTo>
                          <a:pt x="984082" y="15201"/>
                          <a:pt x="800279" y="41647"/>
                          <a:pt x="636538" y="27432"/>
                        </a:cubicBezTo>
                        <a:cubicBezTo>
                          <a:pt x="472797" y="13217"/>
                          <a:pt x="160022" y="2213"/>
                          <a:pt x="0" y="27432"/>
                        </a:cubicBezTo>
                        <a:cubicBezTo>
                          <a:pt x="-177" y="19307"/>
                          <a:pt x="-1145" y="9170"/>
                          <a:pt x="0" y="0"/>
                        </a:cubicBezTo>
                        <a:close/>
                      </a:path>
                    </a:pathLst>
                  </a:cu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519464400"/>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1" name="Picture 12">
            <a:extLst>
              <a:ext uri="{FF2B5EF4-FFF2-40B4-BE49-F238E27FC236}">
                <a16:creationId xmlns:a16="http://schemas.microsoft.com/office/drawing/2014/main" id="{43802E0E-B79D-4EA7-8141-0CA3ED138B1A}"/>
              </a:ext>
            </a:extLst>
          </p:cNvPr>
          <p:cNvPicPr>
            <a:picLocks noChangeAspect="1"/>
          </p:cNvPicPr>
          <p:nvPr/>
        </p:nvPicPr>
        <p:blipFill>
          <a:blip r:embed="rId3"/>
          <a:srcRect/>
          <a:stretch>
            <a:fillRect/>
          </a:stretch>
        </p:blipFill>
        <p:spPr>
          <a:xfrm>
            <a:off x="0" y="8959889"/>
            <a:ext cx="5715000" cy="1385887"/>
          </a:xfrm>
          <a:prstGeom prst="rect">
            <a:avLst/>
          </a:prstGeom>
        </p:spPr>
      </p:pic>
      <p:grpSp>
        <p:nvGrpSpPr>
          <p:cNvPr id="132" name="Gruppo 2">
            <a:extLst>
              <a:ext uri="{FF2B5EF4-FFF2-40B4-BE49-F238E27FC236}">
                <a16:creationId xmlns:a16="http://schemas.microsoft.com/office/drawing/2014/main" id="{649928F6-6E82-4611-9715-AD3C75457C28}"/>
              </a:ext>
            </a:extLst>
          </p:cNvPr>
          <p:cNvGrpSpPr/>
          <p:nvPr/>
        </p:nvGrpSpPr>
        <p:grpSpPr>
          <a:xfrm>
            <a:off x="-12" y="138554"/>
            <a:ext cx="18288002" cy="681138"/>
            <a:chOff x="-12" y="138554"/>
            <a:chExt cx="18288002" cy="681138"/>
          </a:xfrm>
        </p:grpSpPr>
        <p:grpSp>
          <p:nvGrpSpPr>
            <p:cNvPr id="133" name="Gruppo 1">
              <a:extLst>
                <a:ext uri="{FF2B5EF4-FFF2-40B4-BE49-F238E27FC236}">
                  <a16:creationId xmlns:a16="http://schemas.microsoft.com/office/drawing/2014/main" id="{A8EB8794-E5C6-45EB-BAEC-2778E982797A}"/>
                </a:ext>
              </a:extLst>
            </p:cNvPr>
            <p:cNvGrpSpPr/>
            <p:nvPr/>
          </p:nvGrpSpPr>
          <p:grpSpPr>
            <a:xfrm>
              <a:off x="0" y="153125"/>
              <a:ext cx="17907000" cy="666567"/>
              <a:chOff x="0" y="153125"/>
              <a:chExt cx="17907000" cy="666567"/>
            </a:xfrm>
          </p:grpSpPr>
          <p:grpSp>
            <p:nvGrpSpPr>
              <p:cNvPr id="135" name="Gruppo 15">
                <a:extLst>
                  <a:ext uri="{FF2B5EF4-FFF2-40B4-BE49-F238E27FC236}">
                    <a16:creationId xmlns:a16="http://schemas.microsoft.com/office/drawing/2014/main" id="{AB129748-9FD7-458D-BD6E-304271C1814A}"/>
                  </a:ext>
                </a:extLst>
              </p:cNvPr>
              <p:cNvGrpSpPr/>
              <p:nvPr/>
            </p:nvGrpSpPr>
            <p:grpSpPr>
              <a:xfrm>
                <a:off x="0" y="153125"/>
                <a:ext cx="13958844" cy="666567"/>
                <a:chOff x="0" y="153125"/>
                <a:chExt cx="13958844" cy="666567"/>
              </a:xfrm>
            </p:grpSpPr>
            <p:pic>
              <p:nvPicPr>
                <p:cNvPr id="137" name="Picture 136">
                  <a:extLst>
                    <a:ext uri="{FF2B5EF4-FFF2-40B4-BE49-F238E27FC236}">
                      <a16:creationId xmlns:a16="http://schemas.microsoft.com/office/drawing/2014/main" id="{88E31CFD-796F-4F3F-A1EC-0E38F9D83456}"/>
                    </a:ext>
                  </a:extLst>
                </p:cNvPr>
                <p:cNvPicPr>
                  <a:picLocks noChangeAspect="1"/>
                </p:cNvPicPr>
                <p:nvPr/>
              </p:nvPicPr>
              <p:blipFill>
                <a:blip r:embed="rId4"/>
                <a:srcRect l="134" t="91287" b="3943"/>
                <a:stretch>
                  <a:fillRect/>
                </a:stretch>
              </p:blipFill>
              <p:spPr>
                <a:xfrm>
                  <a:off x="0" y="153125"/>
                  <a:ext cx="13958844" cy="666567"/>
                </a:xfrm>
                <a:prstGeom prst="rect">
                  <a:avLst/>
                </a:prstGeom>
              </p:spPr>
            </p:pic>
            <p:sp>
              <p:nvSpPr>
                <p:cNvPr id="138" name="TextBox 137">
                  <a:extLst>
                    <a:ext uri="{FF2B5EF4-FFF2-40B4-BE49-F238E27FC236}">
                      <a16:creationId xmlns:a16="http://schemas.microsoft.com/office/drawing/2014/main" id="{7694DADD-E227-40A7-A98D-244B0D207E54}"/>
                    </a:ext>
                  </a:extLst>
                </p:cNvPr>
                <p:cNvSpPr txBox="1"/>
                <p:nvPr/>
              </p:nvSpPr>
              <p:spPr>
                <a:xfrm>
                  <a:off x="228600" y="257980"/>
                  <a:ext cx="9296400" cy="456856"/>
                </a:xfrm>
                <a:prstGeom prst="rect">
                  <a:avLst/>
                </a:prstGeom>
              </p:spPr>
              <p:txBody>
                <a:bodyPr wrap="square" lIns="0" tIns="0" rIns="0" bIns="0" rtlCol="0" anchor="t">
                  <a:spAutoFit/>
                </a:bodyPr>
                <a:lstStyle/>
                <a:p>
                  <a:pPr marL="0" marR="0" lvl="0" indent="0" algn="l" defTabSz="914400" rtl="0" eaLnBrk="1" fontAlgn="auto" latinLnBrk="0" hangingPunct="1">
                    <a:lnSpc>
                      <a:spcPts val="3919"/>
                    </a:lnSpc>
                    <a:spcBef>
                      <a:spcPct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36" name="TextBox 135">
                <a:extLst>
                  <a:ext uri="{FF2B5EF4-FFF2-40B4-BE49-F238E27FC236}">
                    <a16:creationId xmlns:a16="http://schemas.microsoft.com/office/drawing/2014/main" id="{4B3CCEBB-60EF-4175-9878-F0D51FD80FF0}"/>
                  </a:ext>
                </a:extLst>
              </p:cNvPr>
              <p:cNvSpPr txBox="1"/>
              <p:nvPr/>
            </p:nvSpPr>
            <p:spPr>
              <a:xfrm>
                <a:off x="12154296" y="257980"/>
                <a:ext cx="5752704" cy="456856"/>
              </a:xfrm>
              <a:prstGeom prst="rect">
                <a:avLst/>
              </a:prstGeom>
            </p:spPr>
            <p:txBody>
              <a:bodyPr wrap="square" lIns="0" tIns="0" rIns="0" bIns="0" rtlCol="0" anchor="t">
                <a:spAutoFit/>
              </a:bodyPr>
              <a:lstStyle/>
              <a:p>
                <a:pPr marL="0" marR="0" lvl="0" indent="0" algn="r" defTabSz="914400" rtl="0" eaLnBrk="1" fontAlgn="auto" latinLnBrk="0" hangingPunct="1">
                  <a:lnSpc>
                    <a:spcPts val="3919"/>
                  </a:lnSpc>
                  <a:spcBef>
                    <a:spcPct val="0"/>
                  </a:spcBef>
                  <a:spcAft>
                    <a:spcPts val="0"/>
                  </a:spcAft>
                  <a:buClrTx/>
                  <a:buSzTx/>
                  <a:buFontTx/>
                  <a:buNone/>
                  <a:tabLst/>
                  <a:defRPr/>
                </a:pPr>
                <a:endParaRPr kumimoji="0" lang="en-US" sz="2800" b="0" i="0" u="none" strike="noStrike" kern="1200" cap="none" spc="0" normalizeH="0" baseline="0" noProof="0">
                  <a:ln>
                    <a:noFill/>
                  </a:ln>
                  <a:solidFill>
                    <a:srgbClr val="2F2F2F">
                      <a:lumMod val="75000"/>
                      <a:lumOff val="25000"/>
                    </a:srgbClr>
                  </a:solidFill>
                  <a:effectLst/>
                  <a:uLnTx/>
                  <a:uFillTx/>
                  <a:latin typeface="Arial" panose="020B0604020202020204" pitchFamily="34" charset="0"/>
                  <a:ea typeface="+mn-ea"/>
                  <a:cs typeface="Arial" panose="020B0604020202020204" pitchFamily="34" charset="0"/>
                </a:endParaRPr>
              </a:p>
            </p:txBody>
          </p:sp>
        </p:grpSp>
        <p:sp>
          <p:nvSpPr>
            <p:cNvPr id="134" name="Rettangolo 13">
              <a:extLst>
                <a:ext uri="{FF2B5EF4-FFF2-40B4-BE49-F238E27FC236}">
                  <a16:creationId xmlns:a16="http://schemas.microsoft.com/office/drawing/2014/main" id="{8F0CF2A7-592A-4287-9206-D3289F1B0C37}"/>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pic>
        <p:nvPicPr>
          <p:cNvPr id="139" name="Picture 12">
            <a:extLst>
              <a:ext uri="{FF2B5EF4-FFF2-40B4-BE49-F238E27FC236}">
                <a16:creationId xmlns:a16="http://schemas.microsoft.com/office/drawing/2014/main" id="{F047215A-40D8-4A57-BE02-5E03FCEEBB7B}"/>
              </a:ext>
            </a:extLst>
          </p:cNvPr>
          <p:cNvPicPr>
            <a:picLocks noChangeAspect="1"/>
          </p:cNvPicPr>
          <p:nvPr/>
        </p:nvPicPr>
        <p:blipFill>
          <a:blip r:embed="rId5"/>
          <a:srcRect l="134" t="91287" b="3943"/>
          <a:stretch>
            <a:fillRect/>
          </a:stretch>
        </p:blipFill>
        <p:spPr>
          <a:xfrm rot="10800000">
            <a:off x="4329146" y="9679208"/>
            <a:ext cx="13958844" cy="666567"/>
          </a:xfrm>
          <a:prstGeom prst="rect">
            <a:avLst/>
          </a:prstGeom>
        </p:spPr>
      </p:pic>
      <p:sp>
        <p:nvSpPr>
          <p:cNvPr id="140" name="TextBox 16">
            <a:extLst>
              <a:ext uri="{FF2B5EF4-FFF2-40B4-BE49-F238E27FC236}">
                <a16:creationId xmlns:a16="http://schemas.microsoft.com/office/drawing/2014/main" id="{C693B1DB-897C-4A9D-8CF3-F1423F6CB38D}"/>
              </a:ext>
            </a:extLst>
          </p:cNvPr>
          <p:cNvSpPr txBox="1"/>
          <p:nvPr/>
        </p:nvSpPr>
        <p:spPr>
          <a:xfrm>
            <a:off x="14400019" y="9762301"/>
            <a:ext cx="3636320" cy="448713"/>
          </a:xfrm>
          <a:prstGeom prst="rect">
            <a:avLst/>
          </a:prstGeom>
        </p:spPr>
        <p:txBody>
          <a:bodyPr wrap="square" lIns="0" tIns="0" rIns="0" bIns="0" rtlCol="0" anchor="t">
            <a:spAutoFit/>
          </a:bodyPr>
          <a:lstStyle/>
          <a:p>
            <a:pPr marL="0" marR="0" lvl="0" indent="0" algn="ctr" defTabSz="914400" rtl="0" eaLnBrk="1" fontAlgn="auto" latinLnBrk="0" hangingPunct="1">
              <a:lnSpc>
                <a:spcPts val="3919"/>
              </a:lnSpc>
              <a:spcBef>
                <a:spcPct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OCR A Extended" panose="02010509020102010303" pitchFamily="50" charset="0"/>
                <a:ea typeface="+mn-ea"/>
                <a:cs typeface="+mn-cs"/>
              </a:rPr>
              <a:t>www.retrofeed.eu</a:t>
            </a:r>
          </a:p>
        </p:txBody>
      </p:sp>
      <p:sp>
        <p:nvSpPr>
          <p:cNvPr id="276" name="TextBox 275">
            <a:extLst>
              <a:ext uri="{FF2B5EF4-FFF2-40B4-BE49-F238E27FC236}">
                <a16:creationId xmlns:a16="http://schemas.microsoft.com/office/drawing/2014/main" id="{23F49CDA-BC36-C7E5-B9CD-42DA77A33D92}"/>
              </a:ext>
            </a:extLst>
          </p:cNvPr>
          <p:cNvSpPr txBox="1"/>
          <p:nvPr/>
        </p:nvSpPr>
        <p:spPr>
          <a:xfrm>
            <a:off x="909922" y="1244707"/>
            <a:ext cx="16143207" cy="92333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5400" b="1" i="0" u="none" strike="noStrike" kern="1200" cap="none" spc="0" normalizeH="0" baseline="0" noProof="0" err="1">
                <a:ln>
                  <a:noFill/>
                </a:ln>
                <a:solidFill>
                  <a:srgbClr val="CC0033"/>
                </a:solidFill>
                <a:effectLst/>
                <a:uLnTx/>
                <a:uFillTx/>
                <a:latin typeface="Arial"/>
                <a:ea typeface="+mn-ea"/>
                <a:cs typeface="Arial" panose="020B0604020202020204" pitchFamily="34" charset="0"/>
              </a:rPr>
              <a:t>Technical</a:t>
            </a:r>
            <a:r>
              <a:rPr kumimoji="0" lang="sv-SE" sz="5400" b="1" i="0" u="none" strike="noStrike" kern="1200" cap="none" spc="0" normalizeH="0" baseline="0" noProof="0">
                <a:ln>
                  <a:noFill/>
                </a:ln>
                <a:solidFill>
                  <a:srgbClr val="CC0033"/>
                </a:solidFill>
                <a:effectLst/>
                <a:uLnTx/>
                <a:uFillTx/>
                <a:latin typeface="Arial"/>
                <a:ea typeface="+mn-ea"/>
                <a:cs typeface="Arial" panose="020B0604020202020204" pitchFamily="34" charset="0"/>
              </a:rPr>
              <a:t> </a:t>
            </a:r>
            <a:r>
              <a:rPr kumimoji="0" lang="sv-SE" sz="5400" b="1" i="0" u="none" strike="noStrike" kern="1200" cap="none" spc="0" normalizeH="0" baseline="0" noProof="0" err="1">
                <a:ln>
                  <a:noFill/>
                </a:ln>
                <a:solidFill>
                  <a:srgbClr val="CC0033"/>
                </a:solidFill>
                <a:effectLst/>
                <a:uLnTx/>
                <a:uFillTx/>
                <a:latin typeface="Arial"/>
                <a:ea typeface="+mn-ea"/>
                <a:cs typeface="Arial" panose="020B0604020202020204" pitchFamily="34" charset="0"/>
              </a:rPr>
              <a:t>challenges</a:t>
            </a:r>
            <a:r>
              <a:rPr kumimoji="0" lang="sv-SE" sz="5400" b="1" i="0" u="none" strike="noStrike" kern="1200" cap="none" spc="0" normalizeH="0" baseline="0" noProof="0">
                <a:ln>
                  <a:noFill/>
                </a:ln>
                <a:solidFill>
                  <a:srgbClr val="CC0033"/>
                </a:solidFill>
                <a:effectLst/>
                <a:uLnTx/>
                <a:uFillTx/>
                <a:latin typeface="Arial"/>
                <a:ea typeface="+mn-ea"/>
                <a:cs typeface="Arial" panose="020B0604020202020204" pitchFamily="34" charset="0"/>
              </a:rPr>
              <a:t> in </a:t>
            </a:r>
            <a:r>
              <a:rPr kumimoji="0" lang="sv-SE" sz="5400" b="1" i="0" u="none" strike="noStrike" kern="1200" cap="none" spc="0" normalizeH="0" baseline="0" noProof="0" err="1">
                <a:ln>
                  <a:noFill/>
                </a:ln>
                <a:solidFill>
                  <a:srgbClr val="CC0033"/>
                </a:solidFill>
                <a:effectLst/>
                <a:uLnTx/>
                <a:uFillTx/>
                <a:latin typeface="Arial"/>
                <a:ea typeface="+mn-ea"/>
                <a:cs typeface="Arial" panose="020B0604020202020204" pitchFamily="34" charset="0"/>
              </a:rPr>
              <a:t>agrochemical</a:t>
            </a:r>
            <a:r>
              <a:rPr kumimoji="0" lang="sv-SE" sz="5400" b="1" i="0" u="none" strike="noStrike" kern="1200" cap="none" spc="0" normalizeH="0" baseline="0" noProof="0">
                <a:ln>
                  <a:noFill/>
                </a:ln>
                <a:solidFill>
                  <a:srgbClr val="CC0033"/>
                </a:solidFill>
                <a:effectLst/>
                <a:uLnTx/>
                <a:uFillTx/>
                <a:latin typeface="Arial"/>
                <a:ea typeface="+mn-ea"/>
                <a:cs typeface="Arial" panose="020B0604020202020204" pitchFamily="34" charset="0"/>
              </a:rPr>
              <a:t> </a:t>
            </a:r>
            <a:r>
              <a:rPr kumimoji="0" lang="sv-SE" sz="5400" b="1" i="0" u="none" strike="noStrike" kern="1200" cap="none" spc="0" normalizeH="0" baseline="0" noProof="0" err="1">
                <a:ln>
                  <a:noFill/>
                </a:ln>
                <a:solidFill>
                  <a:srgbClr val="CC0033"/>
                </a:solidFill>
                <a:effectLst/>
                <a:uLnTx/>
                <a:uFillTx/>
                <a:latin typeface="Arial"/>
                <a:ea typeface="+mn-ea"/>
                <a:cs typeface="Arial" panose="020B0604020202020204" pitchFamily="34" charset="0"/>
              </a:rPr>
              <a:t>sector</a:t>
            </a:r>
            <a:endParaRPr kumimoji="0" lang="sv-SE" sz="5400" b="1" i="0" u="none" strike="noStrike" kern="1200" cap="none" spc="0" normalizeH="0" baseline="0" noProof="0">
              <a:ln>
                <a:noFill/>
              </a:ln>
              <a:solidFill>
                <a:srgbClr val="CC0033"/>
              </a:solidFill>
              <a:effectLst/>
              <a:uLnTx/>
              <a:uFillTx/>
              <a:latin typeface="Arial"/>
              <a:ea typeface="+mn-ea"/>
              <a:cs typeface="Arial" panose="020B0604020202020204" pitchFamily="34" charset="0"/>
            </a:endParaRPr>
          </a:p>
        </p:txBody>
      </p:sp>
      <p:pic>
        <p:nvPicPr>
          <p:cNvPr id="277" name="Picture 276" descr="RETROFEED FERTIBERIA">
            <a:extLst>
              <a:ext uri="{FF2B5EF4-FFF2-40B4-BE49-F238E27FC236}">
                <a16:creationId xmlns:a16="http://schemas.microsoft.com/office/drawing/2014/main" id="{13D4CF92-1DBE-F158-BA77-B8A6CA0F45B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748887" y="402925"/>
            <a:ext cx="2287452" cy="841782"/>
          </a:xfrm>
          <a:prstGeom prst="rect">
            <a:avLst/>
          </a:prstGeom>
          <a:noFill/>
          <a:extLst>
            <a:ext uri="{909E8E84-426E-40DD-AFC4-6F175D3DCCD1}">
              <a14:hiddenFill xmlns:a14="http://schemas.microsoft.com/office/drawing/2010/main">
                <a:solidFill>
                  <a:srgbClr val="FFFFFF"/>
                </a:solidFill>
              </a14:hiddenFill>
            </a:ext>
          </a:extLst>
        </p:spPr>
      </p:pic>
      <p:sp>
        <p:nvSpPr>
          <p:cNvPr id="2" name="Content Placeholder 2">
            <a:extLst>
              <a:ext uri="{FF2B5EF4-FFF2-40B4-BE49-F238E27FC236}">
                <a16:creationId xmlns:a16="http://schemas.microsoft.com/office/drawing/2014/main" id="{51F741AB-F494-DA03-9E45-6CD4EF234FEC}"/>
              </a:ext>
            </a:extLst>
          </p:cNvPr>
          <p:cNvSpPr txBox="1">
            <a:spLocks/>
          </p:cNvSpPr>
          <p:nvPr/>
        </p:nvSpPr>
        <p:spPr>
          <a:xfrm>
            <a:off x="909922" y="3065989"/>
            <a:ext cx="15932050" cy="3950273"/>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mn-cs"/>
              </a:rPr>
              <a:t>The existing reactor (NH3 +H3PO4) works with raw materials in the following conditions:</a:t>
            </a:r>
          </a:p>
          <a:p>
            <a:pPr marL="742950" marR="0" lvl="1" indent="-285750" algn="l" defTabSz="914400" rtl="0" eaLnBrk="1" fontAlgn="auto" latinLnBrk="0" hangingPunct="1">
              <a:lnSpc>
                <a:spcPct val="100000"/>
              </a:lnSpc>
              <a:spcBef>
                <a:spcPct val="20000"/>
              </a:spcBef>
              <a:spcAft>
                <a:spcPts val="0"/>
              </a:spcAft>
              <a:buClrTx/>
              <a:buSzTx/>
              <a:buFont typeface="Courier New" panose="02070309020205020404" pitchFamily="49" charset="0"/>
              <a:buChar char="o"/>
              <a:tabLst/>
              <a:defRPr/>
            </a:pPr>
            <a:r>
              <a:rPr kumimoji="0" 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mn-cs"/>
              </a:rPr>
              <a:t>NH3 gas phase at 5 bar a pressure</a:t>
            </a:r>
          </a:p>
          <a:p>
            <a:pPr marL="742950" marR="0" lvl="1" indent="-285750" algn="l" defTabSz="914400" rtl="0" eaLnBrk="1" fontAlgn="auto" latinLnBrk="0" hangingPunct="1">
              <a:lnSpc>
                <a:spcPct val="100000"/>
              </a:lnSpc>
              <a:spcBef>
                <a:spcPct val="20000"/>
              </a:spcBef>
              <a:spcAft>
                <a:spcPts val="0"/>
              </a:spcAft>
              <a:buClrTx/>
              <a:buSzTx/>
              <a:buFont typeface="Courier New" panose="02070309020205020404" pitchFamily="49" charset="0"/>
              <a:buChar char="o"/>
              <a:tabLst/>
              <a:defRPr/>
            </a:pPr>
            <a:r>
              <a:rPr kumimoji="0" 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mn-cs"/>
              </a:rPr>
              <a:t>Diluted H3PO4 25-35% P2O5</a:t>
            </a: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mn-cs"/>
              </a:rPr>
              <a:t>New reactor (NH3 + H3PO4 +H2SO4) working conditions:</a:t>
            </a:r>
          </a:p>
          <a:p>
            <a:pPr marL="742950" marR="0" lvl="1" indent="-285750" algn="l" defTabSz="914400" rtl="0" eaLnBrk="1" fontAlgn="auto" latinLnBrk="0" hangingPunct="1">
              <a:lnSpc>
                <a:spcPct val="100000"/>
              </a:lnSpc>
              <a:spcBef>
                <a:spcPct val="20000"/>
              </a:spcBef>
              <a:spcAft>
                <a:spcPts val="0"/>
              </a:spcAft>
              <a:buClrTx/>
              <a:buSzTx/>
              <a:buFont typeface="Courier New" panose="02070309020205020404" pitchFamily="49" charset="0"/>
              <a:buChar char="o"/>
              <a:tabLst/>
              <a:defRPr/>
            </a:pPr>
            <a:r>
              <a:rPr kumimoji="0" 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mn-cs"/>
              </a:rPr>
              <a:t>NH3 pressure: </a:t>
            </a:r>
            <a:r>
              <a:rPr kumimoji="0" lang="en-US" sz="2400" b="1" i="0" u="none" strike="noStrike" kern="1200" cap="none" spc="0" normalizeH="0" baseline="0" noProof="0">
                <a:ln>
                  <a:noFill/>
                </a:ln>
                <a:solidFill>
                  <a:srgbClr val="000000"/>
                </a:solidFill>
                <a:effectLst/>
                <a:uLnTx/>
                <a:uFillTx/>
                <a:latin typeface="Arial" panose="020B0604020202020204" pitchFamily="34" charset="0"/>
                <a:ea typeface="+mn-ea"/>
                <a:cs typeface="+mn-cs"/>
              </a:rPr>
              <a:t>13 bar a</a:t>
            </a:r>
          </a:p>
          <a:p>
            <a:pPr marL="742950" marR="0" lvl="1" indent="-285750" algn="l" defTabSz="914400" rtl="0" eaLnBrk="1" fontAlgn="auto" latinLnBrk="0" hangingPunct="1">
              <a:lnSpc>
                <a:spcPct val="100000"/>
              </a:lnSpc>
              <a:spcBef>
                <a:spcPct val="20000"/>
              </a:spcBef>
              <a:spcAft>
                <a:spcPts val="0"/>
              </a:spcAft>
              <a:buClrTx/>
              <a:buSzTx/>
              <a:buFont typeface="Courier New" panose="02070309020205020404" pitchFamily="49" charset="0"/>
              <a:buChar char="o"/>
              <a:tabLst/>
              <a:defRPr/>
            </a:pPr>
            <a:r>
              <a:rPr kumimoji="0" 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mn-cs"/>
              </a:rPr>
              <a:t>Diluted H3PO4</a:t>
            </a:r>
          </a:p>
          <a:p>
            <a:pPr marL="742950" marR="0" lvl="1" indent="-285750" algn="l" defTabSz="914400" rtl="0" eaLnBrk="1" fontAlgn="auto" latinLnBrk="0" hangingPunct="1">
              <a:lnSpc>
                <a:spcPct val="100000"/>
              </a:lnSpc>
              <a:spcBef>
                <a:spcPct val="20000"/>
              </a:spcBef>
              <a:spcAft>
                <a:spcPts val="0"/>
              </a:spcAft>
              <a:buClrTx/>
              <a:buSzTx/>
              <a:buFont typeface="Courier New" panose="02070309020205020404" pitchFamily="49" charset="0"/>
              <a:buChar char="o"/>
              <a:tabLst/>
              <a:defRPr/>
            </a:pPr>
            <a:r>
              <a:rPr kumimoji="0" 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mn-cs"/>
              </a:rPr>
              <a:t>H2SO4 98%</a:t>
            </a: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mn-cs"/>
              </a:rPr>
              <a:t>Existing ammonia tank pressure: </a:t>
            </a:r>
            <a:r>
              <a:rPr kumimoji="0" lang="en-GB" sz="2400" b="0" i="0" u="none" strike="noStrike" kern="1200" cap="none" spc="0" normalizeH="0" baseline="0" noProof="0">
                <a:ln>
                  <a:noFill/>
                </a:ln>
                <a:solidFill>
                  <a:srgbClr val="000000"/>
                </a:solidFill>
                <a:effectLst/>
                <a:uLnTx/>
                <a:uFillTx/>
                <a:latin typeface="Arial" panose="020B0604020202020204" pitchFamily="34" charset="0"/>
                <a:ea typeface="+mn-ea"/>
                <a:cs typeface="+mn-cs"/>
              </a:rPr>
              <a:t>8.5 -9.5 bar </a:t>
            </a:r>
            <a:r>
              <a:rPr kumimoji="0" 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mn-cs"/>
              </a:rPr>
              <a:t>and fluctuating</a:t>
            </a: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mn-cs"/>
              </a:rPr>
              <a:t>Existing ammonia evaporator pressure: 6</a:t>
            </a:r>
            <a:r>
              <a:rPr kumimoji="0" lang="en-GB" sz="24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bar</a:t>
            </a: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GB" sz="2400" b="0" i="0" u="none" strike="noStrike" kern="1200" cap="none" spc="0" normalizeH="0" baseline="0" noProof="0">
                <a:ln>
                  <a:noFill/>
                </a:ln>
                <a:solidFill>
                  <a:srgbClr val="000000"/>
                </a:solidFill>
                <a:effectLst/>
                <a:uLnTx/>
                <a:uFillTx/>
                <a:latin typeface="Arial" panose="020B0604020202020204" pitchFamily="34" charset="0"/>
                <a:ea typeface="+mn-ea"/>
                <a:cs typeface="+mn-cs"/>
                <a:sym typeface="Wingdings" panose="05000000000000000000" pitchFamily="2" charset="2"/>
              </a:rPr>
              <a:t> </a:t>
            </a:r>
            <a:r>
              <a:rPr kumimoji="0" lang="en-GB" sz="2400" b="0" i="0" u="none" strike="noStrike" kern="1200" cap="none" spc="0" normalizeH="0" baseline="0" noProof="0">
                <a:ln>
                  <a:noFill/>
                </a:ln>
                <a:solidFill>
                  <a:srgbClr val="000000"/>
                </a:solidFill>
                <a:effectLst/>
                <a:uLnTx/>
                <a:uFillTx/>
                <a:latin typeface="Arial" panose="020B0604020202020204" pitchFamily="34" charset="0"/>
                <a:ea typeface="+mn-ea"/>
                <a:cs typeface="+mn-cs"/>
              </a:rPr>
              <a:t>Not enough pressure in the ammonia line (gas or liquid) for the new reactor</a:t>
            </a:r>
          </a:p>
          <a:p>
            <a:pPr marL="742950" marR="0" lvl="1" indent="-285750" algn="l" defTabSz="914400" rtl="0" eaLnBrk="1" fontAlgn="auto" latinLnBrk="0" hangingPunct="1">
              <a:lnSpc>
                <a:spcPct val="100000"/>
              </a:lnSpc>
              <a:spcBef>
                <a:spcPct val="20000"/>
              </a:spcBef>
              <a:spcAft>
                <a:spcPts val="0"/>
              </a:spcAft>
              <a:buClrTx/>
              <a:buSzTx/>
              <a:buFont typeface="Courier New" panose="02070309020205020404" pitchFamily="49" charset="0"/>
              <a:buChar char="o"/>
              <a:tabLst/>
              <a:defRPr/>
            </a:pPr>
            <a:endParaRPr kumimoji="0" lang="en-US" sz="3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p>
            <a:pPr marL="742950" marR="0" lvl="1" indent="-285750" algn="l" defTabSz="914400" rtl="0" eaLnBrk="1" fontAlgn="auto" latinLnBrk="0" hangingPunct="1">
              <a:lnSpc>
                <a:spcPct val="100000"/>
              </a:lnSpc>
              <a:spcBef>
                <a:spcPct val="20000"/>
              </a:spcBef>
              <a:spcAft>
                <a:spcPts val="0"/>
              </a:spcAft>
              <a:buClrTx/>
              <a:buSzTx/>
              <a:buFont typeface="Courier New" panose="02070309020205020404" pitchFamily="49" charset="0"/>
              <a:buChar char="o"/>
              <a:tabLst/>
              <a:defRPr/>
            </a:pPr>
            <a:endParaRPr kumimoji="0" lang="en-US" sz="3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p>
            <a:pPr marL="742950" marR="0" lvl="1" indent="-285750" algn="l" defTabSz="914400" rtl="0" eaLnBrk="1" fontAlgn="auto" latinLnBrk="0" hangingPunct="1">
              <a:lnSpc>
                <a:spcPct val="100000"/>
              </a:lnSpc>
              <a:spcBef>
                <a:spcPct val="20000"/>
              </a:spcBef>
              <a:spcAft>
                <a:spcPts val="0"/>
              </a:spcAft>
              <a:buClrTx/>
              <a:buSzTx/>
              <a:buFont typeface="Courier New" panose="02070309020205020404" pitchFamily="49" charset="0"/>
              <a:buChar char="o"/>
              <a:tabLst/>
              <a:defRPr/>
            </a:pPr>
            <a:endParaRPr kumimoji="0" lang="en-US" sz="3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p>
            <a:pPr marL="742950" marR="0" lvl="1" indent="-285750" algn="l" defTabSz="914400" rtl="0" eaLnBrk="1" fontAlgn="auto" latinLnBrk="0" hangingPunct="1">
              <a:lnSpc>
                <a:spcPct val="100000"/>
              </a:lnSpc>
              <a:spcBef>
                <a:spcPct val="20000"/>
              </a:spcBef>
              <a:spcAft>
                <a:spcPts val="0"/>
              </a:spcAft>
              <a:buClrTx/>
              <a:buSzTx/>
              <a:buFont typeface="Courier New" panose="02070309020205020404" pitchFamily="49" charset="0"/>
              <a:buChar char="o"/>
              <a:tabLst/>
              <a:defRPr/>
            </a:pPr>
            <a:endParaRPr kumimoji="0" lang="sv-SE" sz="3200" b="0" i="0" u="none" strike="noStrike" kern="1200" cap="none" spc="0" normalizeH="0" baseline="0" noProof="0">
              <a:ln>
                <a:noFill/>
              </a:ln>
              <a:solidFill>
                <a:srgbClr val="2F2F2F"/>
              </a:solidFill>
              <a:effectLst/>
              <a:uLnTx/>
              <a:uFillTx/>
              <a:latin typeface="Arial"/>
              <a:ea typeface="+mn-ea"/>
              <a:cs typeface="+mn-cs"/>
            </a:endParaRPr>
          </a:p>
        </p:txBody>
      </p:sp>
      <p:sp>
        <p:nvSpPr>
          <p:cNvPr id="3" name="Title 1">
            <a:extLst>
              <a:ext uri="{FF2B5EF4-FFF2-40B4-BE49-F238E27FC236}">
                <a16:creationId xmlns:a16="http://schemas.microsoft.com/office/drawing/2014/main" id="{826E52C2-5090-ECF7-2028-47BB4403BDE7}"/>
              </a:ext>
            </a:extLst>
          </p:cNvPr>
          <p:cNvSpPr txBox="1">
            <a:spLocks/>
          </p:cNvSpPr>
          <p:nvPr/>
        </p:nvSpPr>
        <p:spPr>
          <a:xfrm>
            <a:off x="909922" y="2367472"/>
            <a:ext cx="6406934" cy="758936"/>
          </a:xfrm>
          <a:prstGeom prst="rect">
            <a:avLst/>
          </a:prstGeom>
        </p:spPr>
        <p:txBody>
          <a:bodyPr vert="horz" lIns="137160" tIns="68580" rIns="137160" bIns="6858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sv-SE" sz="2800" b="1" i="0" u="none" strike="noStrike" kern="1200" cap="none" spc="0" normalizeH="0" baseline="0" noProof="0" err="1">
                <a:ln>
                  <a:noFill/>
                </a:ln>
                <a:solidFill>
                  <a:srgbClr val="CC0033"/>
                </a:solidFill>
                <a:effectLst/>
                <a:uLnTx/>
                <a:uFillTx/>
                <a:latin typeface="Arial" panose="020B0604020202020204" pitchFamily="34" charset="0"/>
                <a:ea typeface="+mj-ea"/>
                <a:cs typeface="Arial" panose="020B0604020202020204" pitchFamily="34" charset="0"/>
              </a:rPr>
              <a:t>Ammonia</a:t>
            </a:r>
            <a:r>
              <a:rPr kumimoji="0" lang="sv-SE" sz="2800" b="1" i="0" u="none" strike="noStrike" kern="1200" cap="none" spc="0" normalizeH="0" baseline="0" noProof="0">
                <a:ln>
                  <a:noFill/>
                </a:ln>
                <a:solidFill>
                  <a:srgbClr val="CC0033"/>
                </a:solidFill>
                <a:effectLst/>
                <a:uLnTx/>
                <a:uFillTx/>
                <a:latin typeface="Arial" panose="020B0604020202020204" pitchFamily="34" charset="0"/>
                <a:ea typeface="+mj-ea"/>
                <a:cs typeface="Arial" panose="020B0604020202020204" pitchFamily="34" charset="0"/>
              </a:rPr>
              <a:t> </a:t>
            </a:r>
            <a:r>
              <a:rPr kumimoji="0" lang="sv-SE" sz="2800" b="1" i="0" u="none" strike="noStrike" kern="1200" cap="none" spc="0" normalizeH="0" baseline="0" noProof="0" err="1">
                <a:ln>
                  <a:noFill/>
                </a:ln>
                <a:solidFill>
                  <a:srgbClr val="CC0033"/>
                </a:solidFill>
                <a:effectLst/>
                <a:uLnTx/>
                <a:uFillTx/>
                <a:latin typeface="Arial" panose="020B0604020202020204" pitchFamily="34" charset="0"/>
                <a:ea typeface="+mj-ea"/>
                <a:cs typeface="Arial" panose="020B0604020202020204" pitchFamily="34" charset="0"/>
              </a:rPr>
              <a:t>Pressure</a:t>
            </a:r>
            <a:r>
              <a:rPr kumimoji="0" lang="sv-SE" sz="2800" b="1" i="0" u="none" strike="noStrike" kern="1200" cap="none" spc="0" normalizeH="0" baseline="0" noProof="0">
                <a:ln>
                  <a:noFill/>
                </a:ln>
                <a:solidFill>
                  <a:srgbClr val="CC0033"/>
                </a:solidFill>
                <a:effectLst/>
                <a:uLnTx/>
                <a:uFillTx/>
                <a:latin typeface="Arial" panose="020B0604020202020204" pitchFamily="34" charset="0"/>
                <a:ea typeface="+mj-ea"/>
                <a:cs typeface="Arial" panose="020B0604020202020204" pitchFamily="34" charset="0"/>
              </a:rPr>
              <a:t> </a:t>
            </a:r>
            <a:r>
              <a:rPr kumimoji="0" lang="sv-SE" sz="2800" b="1" i="0" u="none" strike="noStrike" kern="1200" cap="none" spc="0" normalizeH="0" baseline="0" noProof="0" err="1">
                <a:ln>
                  <a:noFill/>
                </a:ln>
                <a:solidFill>
                  <a:srgbClr val="CC0033"/>
                </a:solidFill>
                <a:effectLst/>
                <a:uLnTx/>
                <a:uFillTx/>
                <a:latin typeface="Arial" panose="020B0604020202020204" pitchFamily="34" charset="0"/>
                <a:ea typeface="+mj-ea"/>
                <a:cs typeface="Arial" panose="020B0604020202020204" pitchFamily="34" charset="0"/>
              </a:rPr>
              <a:t>challenge</a:t>
            </a:r>
            <a:r>
              <a:rPr kumimoji="0" lang="sv-SE" sz="2800" b="1" i="0" u="none" strike="noStrike" kern="1200" cap="none" spc="0" normalizeH="0" baseline="0" noProof="0">
                <a:ln>
                  <a:noFill/>
                </a:ln>
                <a:solidFill>
                  <a:srgbClr val="CC0033"/>
                </a:solidFill>
                <a:effectLst/>
                <a:uLnTx/>
                <a:uFillTx/>
                <a:latin typeface="Arial" panose="020B0604020202020204" pitchFamily="34" charset="0"/>
                <a:ea typeface="+mj-ea"/>
                <a:cs typeface="Arial" panose="020B0604020202020204" pitchFamily="34" charset="0"/>
              </a:rPr>
              <a:t>:</a:t>
            </a:r>
          </a:p>
        </p:txBody>
      </p:sp>
      <p:sp>
        <p:nvSpPr>
          <p:cNvPr id="4" name="CuadroTexto 5">
            <a:extLst>
              <a:ext uri="{FF2B5EF4-FFF2-40B4-BE49-F238E27FC236}">
                <a16:creationId xmlns:a16="http://schemas.microsoft.com/office/drawing/2014/main" id="{C9C3DE27-C019-9117-0672-217DEED4082E}"/>
              </a:ext>
            </a:extLst>
          </p:cNvPr>
          <p:cNvSpPr txBox="1"/>
          <p:nvPr/>
        </p:nvSpPr>
        <p:spPr>
          <a:xfrm>
            <a:off x="909922" y="8321170"/>
            <a:ext cx="16143206" cy="830997"/>
          </a:xfrm>
          <a:prstGeom prst="rect">
            <a:avLst/>
          </a:prstGeom>
          <a:noFill/>
        </p:spPr>
        <p:txBody>
          <a:bodyPr wrap="square" rtlCol="0">
            <a:spAutoFit/>
          </a:bodyPr>
          <a:lstStyle/>
          <a:p>
            <a:pPr marL="428625" marR="0" lvl="0" indent="-4286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2400" b="1" i="0" u="none" strike="noStrike" kern="1200" cap="none" spc="0" normalizeH="0" baseline="0" noProof="0" err="1">
                <a:ln>
                  <a:noFill/>
                </a:ln>
                <a:solidFill>
                  <a:srgbClr val="2F2F2F"/>
                </a:solidFill>
                <a:effectLst/>
                <a:uLnTx/>
                <a:uFillTx/>
                <a:latin typeface="Arial"/>
                <a:ea typeface="+mn-ea"/>
                <a:cs typeface="+mn-cs"/>
              </a:rPr>
              <a:t>Design</a:t>
            </a:r>
            <a:r>
              <a:rPr kumimoji="0" lang="es-ES" sz="2400" b="1" i="0" u="none" strike="noStrike" kern="1200" cap="none" spc="0" normalizeH="0" baseline="0" noProof="0">
                <a:ln>
                  <a:noFill/>
                </a:ln>
                <a:solidFill>
                  <a:srgbClr val="2F2F2F"/>
                </a:solidFill>
                <a:effectLst/>
                <a:uLnTx/>
                <a:uFillTx/>
                <a:latin typeface="Arial"/>
                <a:ea typeface="+mn-ea"/>
                <a:cs typeface="+mn-cs"/>
              </a:rPr>
              <a:t> </a:t>
            </a:r>
            <a:r>
              <a:rPr kumimoji="0" lang="es-ES" sz="2400" b="1" i="0" u="none" strike="noStrike" kern="1200" cap="none" spc="0" normalizeH="0" baseline="0" noProof="0" err="1">
                <a:ln>
                  <a:noFill/>
                </a:ln>
                <a:solidFill>
                  <a:srgbClr val="2F2F2F"/>
                </a:solidFill>
                <a:effectLst/>
                <a:uLnTx/>
                <a:uFillTx/>
                <a:latin typeface="Arial"/>
                <a:ea typeface="+mn-ea"/>
                <a:cs typeface="+mn-cs"/>
              </a:rPr>
              <a:t>the</a:t>
            </a:r>
            <a:r>
              <a:rPr kumimoji="0" lang="es-ES" sz="2400" b="1" i="0" u="none" strike="noStrike" kern="1200" cap="none" spc="0" normalizeH="0" baseline="0" noProof="0">
                <a:ln>
                  <a:noFill/>
                </a:ln>
                <a:solidFill>
                  <a:srgbClr val="2F2F2F"/>
                </a:solidFill>
                <a:effectLst/>
                <a:uLnTx/>
                <a:uFillTx/>
                <a:latin typeface="Arial"/>
                <a:ea typeface="+mn-ea"/>
                <a:cs typeface="+mn-cs"/>
              </a:rPr>
              <a:t> new reactor </a:t>
            </a:r>
            <a:r>
              <a:rPr kumimoji="0" lang="es-ES" sz="2400" b="1" i="0" u="none" strike="noStrike" kern="1200" cap="none" spc="0" normalizeH="0" baseline="0" noProof="0" err="1">
                <a:ln>
                  <a:noFill/>
                </a:ln>
                <a:solidFill>
                  <a:srgbClr val="2F2F2F"/>
                </a:solidFill>
                <a:effectLst/>
                <a:uLnTx/>
                <a:uFillTx/>
                <a:latin typeface="Arial"/>
                <a:ea typeface="+mn-ea"/>
                <a:cs typeface="+mn-cs"/>
              </a:rPr>
              <a:t>using</a:t>
            </a:r>
            <a:r>
              <a:rPr kumimoji="0" lang="es-ES" sz="2400" b="1" i="0" u="none" strike="noStrike" kern="1200" cap="none" spc="0" normalizeH="0" baseline="0" noProof="0">
                <a:ln>
                  <a:noFill/>
                </a:ln>
                <a:solidFill>
                  <a:srgbClr val="2F2F2F"/>
                </a:solidFill>
                <a:effectLst/>
                <a:uLnTx/>
                <a:uFillTx/>
                <a:latin typeface="Arial"/>
                <a:ea typeface="+mn-ea"/>
                <a:cs typeface="+mn-cs"/>
              </a:rPr>
              <a:t> </a:t>
            </a:r>
            <a:r>
              <a:rPr kumimoji="0" lang="es-ES" sz="2400" b="1" i="0" u="none" strike="noStrike" kern="1200" cap="none" spc="0" normalizeH="0" baseline="0" noProof="0" err="1">
                <a:ln>
                  <a:noFill/>
                </a:ln>
                <a:solidFill>
                  <a:srgbClr val="2F2F2F"/>
                </a:solidFill>
                <a:effectLst/>
                <a:uLnTx/>
                <a:uFillTx/>
                <a:latin typeface="Arial"/>
                <a:ea typeface="+mn-ea"/>
                <a:cs typeface="+mn-cs"/>
              </a:rPr>
              <a:t>liquid</a:t>
            </a:r>
            <a:r>
              <a:rPr kumimoji="0" lang="es-ES" sz="2400" b="1" i="0" u="none" strike="noStrike" kern="1200" cap="none" spc="0" normalizeH="0" baseline="0" noProof="0">
                <a:ln>
                  <a:noFill/>
                </a:ln>
                <a:solidFill>
                  <a:srgbClr val="2F2F2F"/>
                </a:solidFill>
                <a:effectLst/>
                <a:uLnTx/>
                <a:uFillTx/>
                <a:latin typeface="Arial"/>
                <a:ea typeface="+mn-ea"/>
                <a:cs typeface="+mn-cs"/>
              </a:rPr>
              <a:t> </a:t>
            </a:r>
            <a:r>
              <a:rPr kumimoji="0" lang="es-ES" sz="2400" b="1" i="0" u="none" strike="noStrike" kern="1200" cap="none" spc="0" normalizeH="0" baseline="0" noProof="0" err="1">
                <a:ln>
                  <a:noFill/>
                </a:ln>
                <a:solidFill>
                  <a:srgbClr val="2F2F2F"/>
                </a:solidFill>
                <a:effectLst/>
                <a:uLnTx/>
                <a:uFillTx/>
                <a:latin typeface="Arial"/>
                <a:ea typeface="+mn-ea"/>
                <a:cs typeface="+mn-cs"/>
              </a:rPr>
              <a:t>ammonia</a:t>
            </a:r>
            <a:r>
              <a:rPr kumimoji="0" lang="es-ES" sz="2400" b="1" i="0" u="none" strike="noStrike" kern="1200" cap="none" spc="0" normalizeH="0" baseline="0" noProof="0">
                <a:ln>
                  <a:noFill/>
                </a:ln>
                <a:solidFill>
                  <a:srgbClr val="2F2F2F"/>
                </a:solidFill>
                <a:effectLst/>
                <a:uLnTx/>
                <a:uFillTx/>
                <a:latin typeface="Arial"/>
                <a:ea typeface="+mn-ea"/>
                <a:cs typeface="+mn-cs"/>
              </a:rPr>
              <a:t> </a:t>
            </a:r>
            <a:r>
              <a:rPr kumimoji="0" lang="es-ES" sz="2400" b="1" i="0" u="none" strike="noStrike" kern="1200" cap="none" spc="0" normalizeH="0" baseline="0" noProof="0" err="1">
                <a:ln>
                  <a:noFill/>
                </a:ln>
                <a:solidFill>
                  <a:srgbClr val="2F2F2F"/>
                </a:solidFill>
                <a:effectLst/>
                <a:uLnTx/>
                <a:uFillTx/>
                <a:latin typeface="Arial"/>
                <a:ea typeface="+mn-ea"/>
                <a:cs typeface="+mn-cs"/>
              </a:rPr>
              <a:t>instead</a:t>
            </a:r>
            <a:r>
              <a:rPr kumimoji="0" lang="es-ES" sz="2400" b="1" i="0" u="none" strike="noStrike" kern="1200" cap="none" spc="0" normalizeH="0" baseline="0" noProof="0">
                <a:ln>
                  <a:noFill/>
                </a:ln>
                <a:solidFill>
                  <a:srgbClr val="2F2F2F"/>
                </a:solidFill>
                <a:effectLst/>
                <a:uLnTx/>
                <a:uFillTx/>
                <a:latin typeface="Arial"/>
                <a:ea typeface="+mn-ea"/>
                <a:cs typeface="+mn-cs"/>
              </a:rPr>
              <a:t> </a:t>
            </a:r>
            <a:r>
              <a:rPr kumimoji="0" lang="es-ES" sz="2400" b="1" i="0" u="none" strike="noStrike" kern="1200" cap="none" spc="0" normalizeH="0" baseline="0" noProof="0" err="1">
                <a:ln>
                  <a:noFill/>
                </a:ln>
                <a:solidFill>
                  <a:srgbClr val="2F2F2F"/>
                </a:solidFill>
                <a:effectLst/>
                <a:uLnTx/>
                <a:uFillTx/>
                <a:latin typeface="Arial"/>
                <a:ea typeface="+mn-ea"/>
                <a:cs typeface="+mn-cs"/>
              </a:rPr>
              <a:t>of</a:t>
            </a:r>
            <a:r>
              <a:rPr kumimoji="0" lang="es-ES" sz="2400" b="1" i="0" u="none" strike="noStrike" kern="1200" cap="none" spc="0" normalizeH="0" baseline="0" noProof="0">
                <a:ln>
                  <a:noFill/>
                </a:ln>
                <a:solidFill>
                  <a:srgbClr val="2F2F2F"/>
                </a:solidFill>
                <a:effectLst/>
                <a:uLnTx/>
                <a:uFillTx/>
                <a:latin typeface="Arial"/>
                <a:ea typeface="+mn-ea"/>
                <a:cs typeface="+mn-cs"/>
              </a:rPr>
              <a:t> gas and </a:t>
            </a:r>
            <a:r>
              <a:rPr kumimoji="0" lang="es-ES" sz="2400" b="1" i="0" u="none" strike="noStrike" kern="1200" cap="none" spc="0" normalizeH="0" baseline="0" noProof="0" err="1">
                <a:ln>
                  <a:noFill/>
                </a:ln>
                <a:solidFill>
                  <a:srgbClr val="2F2F2F"/>
                </a:solidFill>
                <a:effectLst/>
                <a:uLnTx/>
                <a:uFillTx/>
                <a:latin typeface="Arial"/>
                <a:ea typeface="+mn-ea"/>
                <a:cs typeface="+mn-cs"/>
              </a:rPr>
              <a:t>install</a:t>
            </a:r>
            <a:r>
              <a:rPr kumimoji="0" lang="es-ES" sz="2400" b="1" i="0" u="none" strike="noStrike" kern="1200" cap="none" spc="0" normalizeH="0" baseline="0" noProof="0">
                <a:ln>
                  <a:noFill/>
                </a:ln>
                <a:solidFill>
                  <a:srgbClr val="2F2F2F"/>
                </a:solidFill>
                <a:effectLst/>
                <a:uLnTx/>
                <a:uFillTx/>
                <a:latin typeface="Arial"/>
                <a:ea typeface="+mn-ea"/>
                <a:cs typeface="+mn-cs"/>
              </a:rPr>
              <a:t> new </a:t>
            </a:r>
            <a:r>
              <a:rPr kumimoji="0" lang="es-ES" sz="2400" b="1" i="0" u="none" strike="noStrike" kern="1200" cap="none" spc="0" normalizeH="0" baseline="0" noProof="0" err="1">
                <a:ln>
                  <a:noFill/>
                </a:ln>
                <a:solidFill>
                  <a:srgbClr val="2F2F2F"/>
                </a:solidFill>
                <a:effectLst/>
                <a:uLnTx/>
                <a:uFillTx/>
                <a:latin typeface="Arial"/>
                <a:ea typeface="+mn-ea"/>
                <a:cs typeface="+mn-cs"/>
              </a:rPr>
              <a:t>liquid</a:t>
            </a:r>
            <a:r>
              <a:rPr kumimoji="0" lang="es-ES" sz="2400" b="1" i="0" u="none" strike="noStrike" kern="1200" cap="none" spc="0" normalizeH="0" baseline="0" noProof="0">
                <a:ln>
                  <a:noFill/>
                </a:ln>
                <a:solidFill>
                  <a:srgbClr val="2F2F2F"/>
                </a:solidFill>
                <a:effectLst/>
                <a:uLnTx/>
                <a:uFillTx/>
                <a:latin typeface="Arial"/>
                <a:ea typeface="+mn-ea"/>
                <a:cs typeface="+mn-cs"/>
              </a:rPr>
              <a:t> </a:t>
            </a:r>
            <a:r>
              <a:rPr kumimoji="0" lang="es-ES" sz="2400" b="1" i="0" u="none" strike="noStrike" kern="1200" cap="none" spc="0" normalizeH="0" baseline="0" noProof="0" err="1">
                <a:ln>
                  <a:noFill/>
                </a:ln>
                <a:solidFill>
                  <a:srgbClr val="2F2F2F"/>
                </a:solidFill>
                <a:effectLst/>
                <a:uLnTx/>
                <a:uFillTx/>
                <a:latin typeface="Arial"/>
                <a:ea typeface="+mn-ea"/>
                <a:cs typeface="+mn-cs"/>
              </a:rPr>
              <a:t>ammonia</a:t>
            </a:r>
            <a:r>
              <a:rPr kumimoji="0" lang="es-ES" sz="2400" b="1" i="0" u="none" strike="noStrike" kern="1200" cap="none" spc="0" normalizeH="0" baseline="0" noProof="0">
                <a:ln>
                  <a:noFill/>
                </a:ln>
                <a:solidFill>
                  <a:srgbClr val="2F2F2F"/>
                </a:solidFill>
                <a:effectLst/>
                <a:uLnTx/>
                <a:uFillTx/>
                <a:latin typeface="Arial"/>
                <a:ea typeface="+mn-ea"/>
                <a:cs typeface="+mn-cs"/>
              </a:rPr>
              <a:t> </a:t>
            </a:r>
            <a:r>
              <a:rPr kumimoji="0" lang="es-ES" sz="2400" b="1" i="0" u="none" strike="noStrike" kern="1200" cap="none" spc="0" normalizeH="0" baseline="0" noProof="0" err="1">
                <a:ln>
                  <a:noFill/>
                </a:ln>
                <a:solidFill>
                  <a:srgbClr val="2F2F2F"/>
                </a:solidFill>
                <a:effectLst/>
                <a:uLnTx/>
                <a:uFillTx/>
                <a:latin typeface="Arial"/>
                <a:ea typeface="+mn-ea"/>
                <a:cs typeface="+mn-cs"/>
              </a:rPr>
              <a:t>pump</a:t>
            </a:r>
            <a:r>
              <a:rPr kumimoji="0" lang="es-ES" sz="2400" b="1" i="0" u="none" strike="noStrike" kern="1200" cap="none" spc="0" normalizeH="0" baseline="0" noProof="0">
                <a:ln>
                  <a:noFill/>
                </a:ln>
                <a:solidFill>
                  <a:srgbClr val="2F2F2F"/>
                </a:solidFill>
                <a:effectLst/>
                <a:uLnTx/>
                <a:uFillTx/>
                <a:latin typeface="Arial"/>
                <a:ea typeface="+mn-ea"/>
                <a:cs typeface="+mn-cs"/>
              </a:rPr>
              <a:t> </a:t>
            </a:r>
            <a:r>
              <a:rPr kumimoji="0" lang="es-ES" sz="2400" b="1" i="0" u="none" strike="noStrike" kern="1200" cap="none" spc="0" normalizeH="0" baseline="0" noProof="0" err="1">
                <a:ln>
                  <a:noFill/>
                </a:ln>
                <a:solidFill>
                  <a:srgbClr val="2F2F2F"/>
                </a:solidFill>
                <a:effectLst/>
                <a:uLnTx/>
                <a:uFillTx/>
                <a:latin typeface="Arial"/>
                <a:ea typeface="+mn-ea"/>
                <a:cs typeface="+mn-cs"/>
              </a:rPr>
              <a:t>to</a:t>
            </a:r>
            <a:r>
              <a:rPr kumimoji="0" lang="es-ES" sz="2400" b="1" i="0" u="none" strike="noStrike" kern="1200" cap="none" spc="0" normalizeH="0" baseline="0" noProof="0">
                <a:ln>
                  <a:noFill/>
                </a:ln>
                <a:solidFill>
                  <a:srgbClr val="2F2F2F"/>
                </a:solidFill>
                <a:effectLst/>
                <a:uLnTx/>
                <a:uFillTx/>
                <a:latin typeface="Arial"/>
                <a:ea typeface="+mn-ea"/>
                <a:cs typeface="+mn-cs"/>
              </a:rPr>
              <a:t> </a:t>
            </a:r>
            <a:r>
              <a:rPr kumimoji="0" lang="es-ES" sz="2400" b="1" i="0" u="none" strike="noStrike" kern="1200" cap="none" spc="0" normalizeH="0" baseline="0" noProof="0" err="1">
                <a:ln>
                  <a:noFill/>
                </a:ln>
                <a:solidFill>
                  <a:srgbClr val="2F2F2F"/>
                </a:solidFill>
                <a:effectLst/>
                <a:uLnTx/>
                <a:uFillTx/>
                <a:latin typeface="Arial"/>
                <a:ea typeface="+mn-ea"/>
                <a:cs typeface="+mn-cs"/>
              </a:rPr>
              <a:t>increase</a:t>
            </a:r>
            <a:r>
              <a:rPr kumimoji="0" lang="es-ES" sz="2400" b="1" i="0" u="none" strike="noStrike" kern="1200" cap="none" spc="0" normalizeH="0" baseline="0" noProof="0">
                <a:ln>
                  <a:noFill/>
                </a:ln>
                <a:solidFill>
                  <a:srgbClr val="2F2F2F"/>
                </a:solidFill>
                <a:effectLst/>
                <a:uLnTx/>
                <a:uFillTx/>
                <a:latin typeface="Arial"/>
                <a:ea typeface="+mn-ea"/>
                <a:cs typeface="+mn-cs"/>
              </a:rPr>
              <a:t> </a:t>
            </a:r>
            <a:r>
              <a:rPr kumimoji="0" lang="es-ES" sz="2400" b="1" i="0" u="none" strike="noStrike" kern="1200" cap="none" spc="0" normalizeH="0" baseline="0" noProof="0" err="1">
                <a:ln>
                  <a:noFill/>
                </a:ln>
                <a:solidFill>
                  <a:srgbClr val="2F2F2F"/>
                </a:solidFill>
                <a:effectLst/>
                <a:uLnTx/>
                <a:uFillTx/>
                <a:latin typeface="Arial"/>
                <a:ea typeface="+mn-ea"/>
                <a:cs typeface="+mn-cs"/>
              </a:rPr>
              <a:t>pressure</a:t>
            </a:r>
            <a:r>
              <a:rPr kumimoji="0" lang="es-ES" sz="2400" b="1" i="0" u="none" strike="noStrike" kern="1200" cap="none" spc="0" normalizeH="0" baseline="0" noProof="0">
                <a:ln>
                  <a:noFill/>
                </a:ln>
                <a:solidFill>
                  <a:srgbClr val="2F2F2F"/>
                </a:solidFill>
                <a:effectLst/>
                <a:uLnTx/>
                <a:uFillTx/>
                <a:latin typeface="Arial"/>
                <a:ea typeface="+mn-ea"/>
                <a:cs typeface="+mn-cs"/>
              </a:rPr>
              <a:t> </a:t>
            </a:r>
            <a:r>
              <a:rPr kumimoji="0" lang="es-ES" sz="2400" b="1" i="0" u="none" strike="noStrike" kern="1200" cap="none" spc="0" normalizeH="0" baseline="0" noProof="0" err="1">
                <a:ln>
                  <a:noFill/>
                </a:ln>
                <a:solidFill>
                  <a:srgbClr val="2F2F2F"/>
                </a:solidFill>
                <a:effectLst/>
                <a:uLnTx/>
                <a:uFillTx/>
                <a:latin typeface="Arial"/>
                <a:ea typeface="+mn-ea"/>
                <a:cs typeface="+mn-cs"/>
              </a:rPr>
              <a:t>to</a:t>
            </a:r>
            <a:r>
              <a:rPr kumimoji="0" lang="es-ES" sz="2400" b="1" i="0" u="none" strike="noStrike" kern="1200" cap="none" spc="0" normalizeH="0" baseline="0" noProof="0">
                <a:ln>
                  <a:noFill/>
                </a:ln>
                <a:solidFill>
                  <a:srgbClr val="2F2F2F"/>
                </a:solidFill>
                <a:effectLst/>
                <a:uLnTx/>
                <a:uFillTx/>
                <a:latin typeface="Arial"/>
                <a:ea typeface="+mn-ea"/>
                <a:cs typeface="+mn-cs"/>
              </a:rPr>
              <a:t> 13 bar. </a:t>
            </a:r>
            <a:endParaRPr kumimoji="0" lang="en-GB" sz="2400" b="1" i="0" u="none" strike="noStrike" kern="1200" cap="none" spc="0" normalizeH="0" baseline="0" noProof="0">
              <a:ln>
                <a:noFill/>
              </a:ln>
              <a:solidFill>
                <a:srgbClr val="2F2F2F"/>
              </a:solidFill>
              <a:effectLst/>
              <a:uLnTx/>
              <a:uFillTx/>
              <a:latin typeface="Arial"/>
              <a:ea typeface="+mn-ea"/>
              <a:cs typeface="+mn-cs"/>
            </a:endParaRPr>
          </a:p>
        </p:txBody>
      </p:sp>
      <p:sp>
        <p:nvSpPr>
          <p:cNvPr id="5" name="Title 1">
            <a:extLst>
              <a:ext uri="{FF2B5EF4-FFF2-40B4-BE49-F238E27FC236}">
                <a16:creationId xmlns:a16="http://schemas.microsoft.com/office/drawing/2014/main" id="{F467DE1B-72A7-CFAB-0479-A6CC45562C8C}"/>
              </a:ext>
            </a:extLst>
          </p:cNvPr>
          <p:cNvSpPr txBox="1">
            <a:spLocks/>
          </p:cNvSpPr>
          <p:nvPr/>
        </p:nvSpPr>
        <p:spPr>
          <a:xfrm>
            <a:off x="909922" y="7550800"/>
            <a:ext cx="8149400" cy="758936"/>
          </a:xfrm>
          <a:prstGeom prst="rect">
            <a:avLst/>
          </a:prstGeom>
        </p:spPr>
        <p:txBody>
          <a:bodyPr vert="horz" lIns="137160" tIns="68580" rIns="137160" bIns="6858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sv-SE" sz="2800" b="1" i="0" u="none" strike="noStrike" kern="1200" cap="none" spc="0" normalizeH="0" baseline="0" noProof="0" err="1">
                <a:ln>
                  <a:noFill/>
                </a:ln>
                <a:solidFill>
                  <a:srgbClr val="CC0033"/>
                </a:solidFill>
                <a:effectLst/>
                <a:uLnTx/>
                <a:uFillTx/>
                <a:latin typeface="Arial" panose="020B0604020202020204" pitchFamily="34" charset="0"/>
                <a:ea typeface="+mj-ea"/>
                <a:cs typeface="Arial" panose="020B0604020202020204" pitchFamily="34" charset="0"/>
              </a:rPr>
              <a:t>Ammonia</a:t>
            </a:r>
            <a:r>
              <a:rPr kumimoji="0" lang="sv-SE" sz="2800" b="1" i="0" u="none" strike="noStrike" kern="1200" cap="none" spc="0" normalizeH="0" baseline="0" noProof="0">
                <a:ln>
                  <a:noFill/>
                </a:ln>
                <a:solidFill>
                  <a:srgbClr val="CC0033"/>
                </a:solidFill>
                <a:effectLst/>
                <a:uLnTx/>
                <a:uFillTx/>
                <a:latin typeface="Arial" panose="020B0604020202020204" pitchFamily="34" charset="0"/>
                <a:ea typeface="+mj-ea"/>
                <a:cs typeface="Arial" panose="020B0604020202020204" pitchFamily="34" charset="0"/>
              </a:rPr>
              <a:t> </a:t>
            </a:r>
            <a:r>
              <a:rPr kumimoji="0" lang="sv-SE" sz="2800" b="1" i="0" u="none" strike="noStrike" kern="1200" cap="none" spc="0" normalizeH="0" baseline="0" noProof="0" err="1">
                <a:ln>
                  <a:noFill/>
                </a:ln>
                <a:solidFill>
                  <a:srgbClr val="CC0033"/>
                </a:solidFill>
                <a:effectLst/>
                <a:uLnTx/>
                <a:uFillTx/>
                <a:latin typeface="Arial" panose="020B0604020202020204" pitchFamily="34" charset="0"/>
                <a:ea typeface="+mj-ea"/>
                <a:cs typeface="Arial" panose="020B0604020202020204" pitchFamily="34" charset="0"/>
              </a:rPr>
              <a:t>Pressure</a:t>
            </a:r>
            <a:r>
              <a:rPr kumimoji="0" lang="sv-SE" sz="2800" b="1" i="0" u="none" strike="noStrike" kern="1200" cap="none" spc="0" normalizeH="0" baseline="0" noProof="0">
                <a:ln>
                  <a:noFill/>
                </a:ln>
                <a:solidFill>
                  <a:srgbClr val="CC0033"/>
                </a:solidFill>
                <a:effectLst/>
                <a:uLnTx/>
                <a:uFillTx/>
                <a:latin typeface="Arial" panose="020B0604020202020204" pitchFamily="34" charset="0"/>
                <a:ea typeface="+mj-ea"/>
                <a:cs typeface="Arial" panose="020B0604020202020204" pitchFamily="34" charset="0"/>
              </a:rPr>
              <a:t> </a:t>
            </a:r>
            <a:r>
              <a:rPr kumimoji="0" lang="sv-SE" sz="2800" b="1" i="0" u="none" strike="noStrike" kern="1200" cap="none" spc="0" normalizeH="0" baseline="0" noProof="0" err="1">
                <a:ln>
                  <a:noFill/>
                </a:ln>
                <a:solidFill>
                  <a:srgbClr val="CC0033"/>
                </a:solidFill>
                <a:effectLst/>
                <a:uLnTx/>
                <a:uFillTx/>
                <a:latin typeface="Arial" panose="020B0604020202020204" pitchFamily="34" charset="0"/>
                <a:ea typeface="+mj-ea"/>
                <a:cs typeface="Arial" panose="020B0604020202020204" pitchFamily="34" charset="0"/>
              </a:rPr>
              <a:t>challenge</a:t>
            </a:r>
            <a:r>
              <a:rPr kumimoji="0" lang="sv-SE" sz="2800" b="1" i="0" u="none" strike="noStrike" kern="1200" cap="none" spc="0" normalizeH="0" baseline="0" noProof="0">
                <a:ln>
                  <a:noFill/>
                </a:ln>
                <a:solidFill>
                  <a:srgbClr val="CC0033"/>
                </a:solidFill>
                <a:effectLst/>
                <a:uLnTx/>
                <a:uFillTx/>
                <a:latin typeface="Arial" panose="020B0604020202020204" pitchFamily="34" charset="0"/>
                <a:ea typeface="+mj-ea"/>
                <a:cs typeface="Arial" panose="020B0604020202020204" pitchFamily="34" charset="0"/>
              </a:rPr>
              <a:t> solution:</a:t>
            </a:r>
          </a:p>
        </p:txBody>
      </p:sp>
    </p:spTree>
    <p:extLst>
      <p:ext uri="{BB962C8B-B14F-4D97-AF65-F5344CB8AC3E}">
        <p14:creationId xmlns:p14="http://schemas.microsoft.com/office/powerpoint/2010/main" val="3586341723"/>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1" name="Picture 12">
            <a:extLst>
              <a:ext uri="{FF2B5EF4-FFF2-40B4-BE49-F238E27FC236}">
                <a16:creationId xmlns:a16="http://schemas.microsoft.com/office/drawing/2014/main" id="{43802E0E-B79D-4EA7-8141-0CA3ED138B1A}"/>
              </a:ext>
            </a:extLst>
          </p:cNvPr>
          <p:cNvPicPr>
            <a:picLocks noChangeAspect="1"/>
          </p:cNvPicPr>
          <p:nvPr/>
        </p:nvPicPr>
        <p:blipFill>
          <a:blip r:embed="rId3"/>
          <a:srcRect/>
          <a:stretch>
            <a:fillRect/>
          </a:stretch>
        </p:blipFill>
        <p:spPr>
          <a:xfrm>
            <a:off x="0" y="8959889"/>
            <a:ext cx="5715000" cy="1385887"/>
          </a:xfrm>
          <a:prstGeom prst="rect">
            <a:avLst/>
          </a:prstGeom>
        </p:spPr>
      </p:pic>
      <p:grpSp>
        <p:nvGrpSpPr>
          <p:cNvPr id="132" name="Gruppo 2">
            <a:extLst>
              <a:ext uri="{FF2B5EF4-FFF2-40B4-BE49-F238E27FC236}">
                <a16:creationId xmlns:a16="http://schemas.microsoft.com/office/drawing/2014/main" id="{649928F6-6E82-4611-9715-AD3C75457C28}"/>
              </a:ext>
            </a:extLst>
          </p:cNvPr>
          <p:cNvGrpSpPr/>
          <p:nvPr/>
        </p:nvGrpSpPr>
        <p:grpSpPr>
          <a:xfrm>
            <a:off x="-12" y="138554"/>
            <a:ext cx="18288002" cy="681138"/>
            <a:chOff x="-12" y="138554"/>
            <a:chExt cx="18288002" cy="681138"/>
          </a:xfrm>
        </p:grpSpPr>
        <p:grpSp>
          <p:nvGrpSpPr>
            <p:cNvPr id="133" name="Gruppo 1">
              <a:extLst>
                <a:ext uri="{FF2B5EF4-FFF2-40B4-BE49-F238E27FC236}">
                  <a16:creationId xmlns:a16="http://schemas.microsoft.com/office/drawing/2014/main" id="{A8EB8794-E5C6-45EB-BAEC-2778E982797A}"/>
                </a:ext>
              </a:extLst>
            </p:cNvPr>
            <p:cNvGrpSpPr/>
            <p:nvPr/>
          </p:nvGrpSpPr>
          <p:grpSpPr>
            <a:xfrm>
              <a:off x="0" y="153125"/>
              <a:ext cx="17907000" cy="666567"/>
              <a:chOff x="0" y="153125"/>
              <a:chExt cx="17907000" cy="666567"/>
            </a:xfrm>
          </p:grpSpPr>
          <p:grpSp>
            <p:nvGrpSpPr>
              <p:cNvPr id="135" name="Gruppo 15">
                <a:extLst>
                  <a:ext uri="{FF2B5EF4-FFF2-40B4-BE49-F238E27FC236}">
                    <a16:creationId xmlns:a16="http://schemas.microsoft.com/office/drawing/2014/main" id="{AB129748-9FD7-458D-BD6E-304271C1814A}"/>
                  </a:ext>
                </a:extLst>
              </p:cNvPr>
              <p:cNvGrpSpPr/>
              <p:nvPr/>
            </p:nvGrpSpPr>
            <p:grpSpPr>
              <a:xfrm>
                <a:off x="0" y="153125"/>
                <a:ext cx="13958844" cy="666567"/>
                <a:chOff x="0" y="153125"/>
                <a:chExt cx="13958844" cy="666567"/>
              </a:xfrm>
            </p:grpSpPr>
            <p:pic>
              <p:nvPicPr>
                <p:cNvPr id="137" name="Picture 136">
                  <a:extLst>
                    <a:ext uri="{FF2B5EF4-FFF2-40B4-BE49-F238E27FC236}">
                      <a16:creationId xmlns:a16="http://schemas.microsoft.com/office/drawing/2014/main" id="{88E31CFD-796F-4F3F-A1EC-0E38F9D83456}"/>
                    </a:ext>
                  </a:extLst>
                </p:cNvPr>
                <p:cNvPicPr>
                  <a:picLocks noChangeAspect="1"/>
                </p:cNvPicPr>
                <p:nvPr/>
              </p:nvPicPr>
              <p:blipFill>
                <a:blip r:embed="rId4"/>
                <a:srcRect l="134" t="91287" b="3943"/>
                <a:stretch>
                  <a:fillRect/>
                </a:stretch>
              </p:blipFill>
              <p:spPr>
                <a:xfrm>
                  <a:off x="0" y="153125"/>
                  <a:ext cx="13958844" cy="666567"/>
                </a:xfrm>
                <a:prstGeom prst="rect">
                  <a:avLst/>
                </a:prstGeom>
              </p:spPr>
            </p:pic>
            <p:sp>
              <p:nvSpPr>
                <p:cNvPr id="138" name="TextBox 137">
                  <a:extLst>
                    <a:ext uri="{FF2B5EF4-FFF2-40B4-BE49-F238E27FC236}">
                      <a16:creationId xmlns:a16="http://schemas.microsoft.com/office/drawing/2014/main" id="{7694DADD-E227-40A7-A98D-244B0D207E54}"/>
                    </a:ext>
                  </a:extLst>
                </p:cNvPr>
                <p:cNvSpPr txBox="1"/>
                <p:nvPr/>
              </p:nvSpPr>
              <p:spPr>
                <a:xfrm>
                  <a:off x="228600" y="257980"/>
                  <a:ext cx="9296400" cy="456856"/>
                </a:xfrm>
                <a:prstGeom prst="rect">
                  <a:avLst/>
                </a:prstGeom>
              </p:spPr>
              <p:txBody>
                <a:bodyPr wrap="square" lIns="0" tIns="0" rIns="0" bIns="0" rtlCol="0" anchor="t">
                  <a:spAutoFit/>
                </a:bodyPr>
                <a:lstStyle/>
                <a:p>
                  <a:pPr marL="0" marR="0" lvl="0" indent="0" algn="l" defTabSz="914400" rtl="0" eaLnBrk="1" fontAlgn="auto" latinLnBrk="0" hangingPunct="1">
                    <a:lnSpc>
                      <a:spcPts val="3919"/>
                    </a:lnSpc>
                    <a:spcBef>
                      <a:spcPct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36" name="TextBox 135">
                <a:extLst>
                  <a:ext uri="{FF2B5EF4-FFF2-40B4-BE49-F238E27FC236}">
                    <a16:creationId xmlns:a16="http://schemas.microsoft.com/office/drawing/2014/main" id="{4B3CCEBB-60EF-4175-9878-F0D51FD80FF0}"/>
                  </a:ext>
                </a:extLst>
              </p:cNvPr>
              <p:cNvSpPr txBox="1"/>
              <p:nvPr/>
            </p:nvSpPr>
            <p:spPr>
              <a:xfrm>
                <a:off x="12154296" y="257980"/>
                <a:ext cx="5752704" cy="456856"/>
              </a:xfrm>
              <a:prstGeom prst="rect">
                <a:avLst/>
              </a:prstGeom>
            </p:spPr>
            <p:txBody>
              <a:bodyPr wrap="square" lIns="0" tIns="0" rIns="0" bIns="0" rtlCol="0" anchor="t">
                <a:spAutoFit/>
              </a:bodyPr>
              <a:lstStyle/>
              <a:p>
                <a:pPr marL="0" marR="0" lvl="0" indent="0" algn="r" defTabSz="914400" rtl="0" eaLnBrk="1" fontAlgn="auto" latinLnBrk="0" hangingPunct="1">
                  <a:lnSpc>
                    <a:spcPts val="3919"/>
                  </a:lnSpc>
                  <a:spcBef>
                    <a:spcPct val="0"/>
                  </a:spcBef>
                  <a:spcAft>
                    <a:spcPts val="0"/>
                  </a:spcAft>
                  <a:buClrTx/>
                  <a:buSzTx/>
                  <a:buFontTx/>
                  <a:buNone/>
                  <a:tabLst/>
                  <a:defRPr/>
                </a:pPr>
                <a:endParaRPr kumimoji="0" lang="en-US" sz="2800" b="0" i="0" u="none" strike="noStrike" kern="1200" cap="none" spc="0" normalizeH="0" baseline="0" noProof="0">
                  <a:ln>
                    <a:noFill/>
                  </a:ln>
                  <a:solidFill>
                    <a:srgbClr val="2F2F2F">
                      <a:lumMod val="75000"/>
                      <a:lumOff val="25000"/>
                    </a:srgbClr>
                  </a:solidFill>
                  <a:effectLst/>
                  <a:uLnTx/>
                  <a:uFillTx/>
                  <a:latin typeface="Arial" panose="020B0604020202020204" pitchFamily="34" charset="0"/>
                  <a:ea typeface="+mn-ea"/>
                  <a:cs typeface="Arial" panose="020B0604020202020204" pitchFamily="34" charset="0"/>
                </a:endParaRPr>
              </a:p>
            </p:txBody>
          </p:sp>
        </p:grpSp>
        <p:sp>
          <p:nvSpPr>
            <p:cNvPr id="134" name="Rettangolo 13">
              <a:extLst>
                <a:ext uri="{FF2B5EF4-FFF2-40B4-BE49-F238E27FC236}">
                  <a16:creationId xmlns:a16="http://schemas.microsoft.com/office/drawing/2014/main" id="{8F0CF2A7-592A-4287-9206-D3289F1B0C37}"/>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pic>
        <p:nvPicPr>
          <p:cNvPr id="139" name="Picture 12">
            <a:extLst>
              <a:ext uri="{FF2B5EF4-FFF2-40B4-BE49-F238E27FC236}">
                <a16:creationId xmlns:a16="http://schemas.microsoft.com/office/drawing/2014/main" id="{F047215A-40D8-4A57-BE02-5E03FCEEBB7B}"/>
              </a:ext>
            </a:extLst>
          </p:cNvPr>
          <p:cNvPicPr>
            <a:picLocks noChangeAspect="1"/>
          </p:cNvPicPr>
          <p:nvPr/>
        </p:nvPicPr>
        <p:blipFill>
          <a:blip r:embed="rId5"/>
          <a:srcRect l="134" t="91287" b="3943"/>
          <a:stretch>
            <a:fillRect/>
          </a:stretch>
        </p:blipFill>
        <p:spPr>
          <a:xfrm rot="10800000">
            <a:off x="4329146" y="9679208"/>
            <a:ext cx="13958844" cy="666567"/>
          </a:xfrm>
          <a:prstGeom prst="rect">
            <a:avLst/>
          </a:prstGeom>
        </p:spPr>
      </p:pic>
      <p:sp>
        <p:nvSpPr>
          <p:cNvPr id="140" name="TextBox 16">
            <a:extLst>
              <a:ext uri="{FF2B5EF4-FFF2-40B4-BE49-F238E27FC236}">
                <a16:creationId xmlns:a16="http://schemas.microsoft.com/office/drawing/2014/main" id="{C693B1DB-897C-4A9D-8CF3-F1423F6CB38D}"/>
              </a:ext>
            </a:extLst>
          </p:cNvPr>
          <p:cNvSpPr txBox="1"/>
          <p:nvPr/>
        </p:nvSpPr>
        <p:spPr>
          <a:xfrm>
            <a:off x="14400019" y="9762301"/>
            <a:ext cx="3636320" cy="448713"/>
          </a:xfrm>
          <a:prstGeom prst="rect">
            <a:avLst/>
          </a:prstGeom>
        </p:spPr>
        <p:txBody>
          <a:bodyPr wrap="square" lIns="0" tIns="0" rIns="0" bIns="0" rtlCol="0" anchor="t">
            <a:spAutoFit/>
          </a:bodyPr>
          <a:lstStyle/>
          <a:p>
            <a:pPr marL="0" marR="0" lvl="0" indent="0" algn="ctr" defTabSz="914400" rtl="0" eaLnBrk="1" fontAlgn="auto" latinLnBrk="0" hangingPunct="1">
              <a:lnSpc>
                <a:spcPts val="3919"/>
              </a:lnSpc>
              <a:spcBef>
                <a:spcPct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OCR A Extended" panose="02010509020102010303" pitchFamily="50" charset="0"/>
                <a:ea typeface="+mn-ea"/>
                <a:cs typeface="+mn-cs"/>
              </a:rPr>
              <a:t>www.retrofeed.eu</a:t>
            </a:r>
          </a:p>
        </p:txBody>
      </p:sp>
      <p:pic>
        <p:nvPicPr>
          <p:cNvPr id="277" name="Picture 276" descr="RETROFEED FERTIBERIA">
            <a:extLst>
              <a:ext uri="{FF2B5EF4-FFF2-40B4-BE49-F238E27FC236}">
                <a16:creationId xmlns:a16="http://schemas.microsoft.com/office/drawing/2014/main" id="{13D4CF92-1DBE-F158-BA77-B8A6CA0F45B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748887" y="402925"/>
            <a:ext cx="2287452" cy="841782"/>
          </a:xfrm>
          <a:prstGeom prst="rect">
            <a:avLst/>
          </a:prstGeom>
          <a:noFill/>
          <a:extLst>
            <a:ext uri="{909E8E84-426E-40DD-AFC4-6F175D3DCCD1}">
              <a14:hiddenFill xmlns:a14="http://schemas.microsoft.com/office/drawing/2010/main">
                <a:solidFill>
                  <a:srgbClr val="FFFFFF"/>
                </a:solidFill>
              </a14:hiddenFill>
            </a:ext>
          </a:extLst>
        </p:spPr>
      </p:pic>
      <p:sp>
        <p:nvSpPr>
          <p:cNvPr id="2" name="Content Placeholder 2">
            <a:extLst>
              <a:ext uri="{FF2B5EF4-FFF2-40B4-BE49-F238E27FC236}">
                <a16:creationId xmlns:a16="http://schemas.microsoft.com/office/drawing/2014/main" id="{51F741AB-F494-DA03-9E45-6CD4EF234FEC}"/>
              </a:ext>
            </a:extLst>
          </p:cNvPr>
          <p:cNvSpPr txBox="1">
            <a:spLocks/>
          </p:cNvSpPr>
          <p:nvPr/>
        </p:nvSpPr>
        <p:spPr>
          <a:xfrm>
            <a:off x="1053214" y="3065989"/>
            <a:ext cx="15788757" cy="2423460"/>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mn-cs"/>
              </a:rPr>
              <a:t>The existing reactor (NH3 +H3PO4) produce low quantity of steam due to less reaction energy and lower concentration of acid.</a:t>
            </a: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mn-cs"/>
              </a:rPr>
              <a:t>New reactor (NH3 + H3PO4 +H2SO4) will produce more steam from higher energy reaction and concentrations. </a:t>
            </a: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mn-cs"/>
              </a:rPr>
              <a:t>Existing </a:t>
            </a:r>
            <a:r>
              <a:rPr kumimoji="0" lang="en-GB" sz="2400" b="0" i="0" u="none" strike="noStrike" kern="1200" cap="none" spc="0" normalizeH="0" baseline="0" noProof="0">
                <a:ln>
                  <a:noFill/>
                </a:ln>
                <a:solidFill>
                  <a:srgbClr val="000000"/>
                </a:solidFill>
                <a:effectLst/>
                <a:uLnTx/>
                <a:uFillTx/>
                <a:latin typeface="Arial" panose="020B0604020202020204" pitchFamily="34" charset="0"/>
                <a:ea typeface="+mn-ea"/>
                <a:cs typeface="+mn-cs"/>
              </a:rPr>
              <a:t>extraction flow rates of the dryer, granulator and cooler are lower than new design values.</a:t>
            </a:r>
          </a:p>
          <a:p>
            <a:pPr marR="0" lvl="0" algn="l" defTabSz="914400" rtl="0" eaLnBrk="1" fontAlgn="auto" latinLnBrk="0" hangingPunct="1">
              <a:lnSpc>
                <a:spcPct val="100000"/>
              </a:lnSpc>
              <a:spcBef>
                <a:spcPct val="20000"/>
              </a:spcBef>
              <a:spcAft>
                <a:spcPts val="0"/>
              </a:spcAft>
              <a:buClrTx/>
              <a:buSzTx/>
              <a:buFont typeface="Wingdings" panose="05000000000000000000" pitchFamily="2" charset="2"/>
              <a:buChar char="à"/>
              <a:tabLst/>
              <a:defRPr/>
            </a:pPr>
            <a:r>
              <a:rPr kumimoji="0" lang="en-GB" sz="2400" b="0" i="0" u="none" strike="noStrike" kern="1200" cap="none" spc="0" normalizeH="0" baseline="0" noProof="0">
                <a:ln>
                  <a:noFill/>
                </a:ln>
                <a:solidFill>
                  <a:srgbClr val="000000"/>
                </a:solidFill>
                <a:effectLst/>
                <a:uLnTx/>
                <a:uFillTx/>
                <a:latin typeface="Arial" panose="020B0604020202020204" pitchFamily="34" charset="0"/>
                <a:ea typeface="+mn-ea"/>
                <a:cs typeface="+mn-cs"/>
              </a:rPr>
              <a:t>The final fan would have limit capacity of the plant with the new reactor.</a:t>
            </a:r>
          </a:p>
          <a:p>
            <a:pPr marR="0" lvl="0" algn="l" defTabSz="914400" rtl="0" eaLnBrk="1" fontAlgn="auto" latinLnBrk="0" hangingPunct="1">
              <a:lnSpc>
                <a:spcPct val="100000"/>
              </a:lnSpc>
              <a:spcBef>
                <a:spcPct val="20000"/>
              </a:spcBef>
              <a:spcAft>
                <a:spcPts val="0"/>
              </a:spcAft>
              <a:buClrTx/>
              <a:buSzTx/>
              <a:buFont typeface="Wingdings" panose="05000000000000000000" pitchFamily="2" charset="2"/>
              <a:buChar char="à"/>
              <a:tabLst/>
              <a:defRPr/>
            </a:pPr>
            <a:endParaRPr lang="en-GB" sz="2400">
              <a:solidFill>
                <a:srgbClr val="000000"/>
              </a:solidFill>
              <a:latin typeface="Arial" panose="020B0604020202020204" pitchFamily="34" charset="0"/>
            </a:endParaRPr>
          </a:p>
          <a:p>
            <a:pPr marR="0" lvl="0" algn="l" defTabSz="914400" rtl="0" eaLnBrk="1" fontAlgn="auto" latinLnBrk="0" hangingPunct="1">
              <a:lnSpc>
                <a:spcPct val="100000"/>
              </a:lnSpc>
              <a:spcBef>
                <a:spcPct val="20000"/>
              </a:spcBef>
              <a:spcAft>
                <a:spcPts val="0"/>
              </a:spcAft>
              <a:buClrTx/>
              <a:buSzTx/>
              <a:buFont typeface="Wingdings" panose="05000000000000000000" pitchFamily="2" charset="2"/>
              <a:buChar char="à"/>
              <a:tabLst/>
              <a:defRPr/>
            </a:pPr>
            <a:endParaRPr kumimoji="0" lang="en-GB" sz="2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p>
            <a:pPr marR="0" lvl="0" algn="l" defTabSz="914400" rtl="0" eaLnBrk="1" fontAlgn="auto" latinLnBrk="0" hangingPunct="1">
              <a:lnSpc>
                <a:spcPct val="100000"/>
              </a:lnSpc>
              <a:spcBef>
                <a:spcPct val="20000"/>
              </a:spcBef>
              <a:spcAft>
                <a:spcPts val="0"/>
              </a:spcAft>
              <a:buClrTx/>
              <a:buSzTx/>
              <a:buFont typeface="Wingdings" panose="05000000000000000000" pitchFamily="2" charset="2"/>
              <a:buChar char="à"/>
              <a:tabLst/>
              <a:defRPr/>
            </a:pPr>
            <a:endParaRPr lang="en-GB" sz="2400">
              <a:solidFill>
                <a:srgbClr val="000000"/>
              </a:solidFill>
              <a:latin typeface="Arial" panose="020B0604020202020204" pitchFamily="34" charset="0"/>
            </a:endParaRPr>
          </a:p>
          <a:p>
            <a:pPr marR="0" lvl="0" algn="l" defTabSz="914400" rtl="0" eaLnBrk="1" fontAlgn="auto" latinLnBrk="0" hangingPunct="1">
              <a:lnSpc>
                <a:spcPct val="100000"/>
              </a:lnSpc>
              <a:spcBef>
                <a:spcPct val="20000"/>
              </a:spcBef>
              <a:spcAft>
                <a:spcPts val="0"/>
              </a:spcAft>
              <a:buClrTx/>
              <a:buSzTx/>
              <a:buFont typeface="Wingdings" panose="05000000000000000000" pitchFamily="2" charset="2"/>
              <a:buChar char="à"/>
              <a:tabLst/>
              <a:defRPr/>
            </a:pPr>
            <a:endParaRPr kumimoji="0" lang="en-GB" sz="2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p>
            <a:pPr marR="0" lvl="0" algn="l" defTabSz="914400" rtl="0" eaLnBrk="1" fontAlgn="auto" latinLnBrk="0" hangingPunct="1">
              <a:lnSpc>
                <a:spcPct val="100000"/>
              </a:lnSpc>
              <a:spcBef>
                <a:spcPct val="20000"/>
              </a:spcBef>
              <a:spcAft>
                <a:spcPts val="0"/>
              </a:spcAft>
              <a:buClrTx/>
              <a:buSzTx/>
              <a:buFont typeface="Wingdings" panose="05000000000000000000" pitchFamily="2" charset="2"/>
              <a:buChar char="à"/>
              <a:tabLst/>
              <a:defRPr/>
            </a:pPr>
            <a:endParaRPr kumimoji="0" 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a:p>
            <a:pPr marL="742950" marR="0" lvl="1" indent="-285750" algn="l" defTabSz="914400" rtl="0" eaLnBrk="1" fontAlgn="auto" latinLnBrk="0" hangingPunct="1">
              <a:lnSpc>
                <a:spcPct val="100000"/>
              </a:lnSpc>
              <a:spcBef>
                <a:spcPct val="20000"/>
              </a:spcBef>
              <a:spcAft>
                <a:spcPts val="0"/>
              </a:spcAft>
              <a:buClrTx/>
              <a:buSzTx/>
              <a:buFont typeface="Courier New" panose="02070309020205020404" pitchFamily="49" charset="0"/>
              <a:buChar char="o"/>
              <a:tabLst/>
              <a:defRPr/>
            </a:pPr>
            <a:endParaRPr kumimoji="0" lang="sv-SE" sz="2400" b="0" i="0" u="none" strike="noStrike" kern="1200" cap="none" spc="0" normalizeH="0" baseline="0" noProof="0">
              <a:ln>
                <a:noFill/>
              </a:ln>
              <a:solidFill>
                <a:srgbClr val="2F2F2F"/>
              </a:solidFill>
              <a:effectLst/>
              <a:uLnTx/>
              <a:uFillTx/>
              <a:latin typeface="Arial"/>
              <a:ea typeface="+mn-ea"/>
              <a:cs typeface="+mn-cs"/>
            </a:endParaRPr>
          </a:p>
        </p:txBody>
      </p:sp>
      <p:sp>
        <p:nvSpPr>
          <p:cNvPr id="3" name="Title 1">
            <a:extLst>
              <a:ext uri="{FF2B5EF4-FFF2-40B4-BE49-F238E27FC236}">
                <a16:creationId xmlns:a16="http://schemas.microsoft.com/office/drawing/2014/main" id="{826E52C2-5090-ECF7-2028-47BB4403BDE7}"/>
              </a:ext>
            </a:extLst>
          </p:cNvPr>
          <p:cNvSpPr txBox="1">
            <a:spLocks/>
          </p:cNvSpPr>
          <p:nvPr/>
        </p:nvSpPr>
        <p:spPr>
          <a:xfrm>
            <a:off x="1053215" y="2367472"/>
            <a:ext cx="6701600" cy="758936"/>
          </a:xfrm>
          <a:prstGeom prst="rect">
            <a:avLst/>
          </a:prstGeom>
        </p:spPr>
        <p:txBody>
          <a:bodyPr vert="horz" lIns="137160" tIns="68580" rIns="137160" bIns="6858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sv-SE" sz="2800" b="1" i="0" u="none" strike="noStrike" kern="1200" cap="none" spc="0" normalizeH="0" baseline="0" noProof="0" err="1">
                <a:ln>
                  <a:noFill/>
                </a:ln>
                <a:solidFill>
                  <a:srgbClr val="CC0033"/>
                </a:solidFill>
                <a:effectLst/>
                <a:uLnTx/>
                <a:uFillTx/>
                <a:latin typeface="Arial" panose="020B0604020202020204" pitchFamily="34" charset="0"/>
                <a:ea typeface="+mj-ea"/>
                <a:cs typeface="Arial" panose="020B0604020202020204" pitchFamily="34" charset="0"/>
              </a:rPr>
              <a:t>Extraction</a:t>
            </a:r>
            <a:r>
              <a:rPr kumimoji="0" lang="sv-SE" sz="2800" b="1" i="0" u="none" strike="noStrike" kern="1200" cap="none" spc="0" normalizeH="0" baseline="0" noProof="0">
                <a:ln>
                  <a:noFill/>
                </a:ln>
                <a:solidFill>
                  <a:srgbClr val="CC0033"/>
                </a:solidFill>
                <a:effectLst/>
                <a:uLnTx/>
                <a:uFillTx/>
                <a:latin typeface="Arial" panose="020B0604020202020204" pitchFamily="34" charset="0"/>
                <a:ea typeface="+mj-ea"/>
                <a:cs typeface="Arial" panose="020B0604020202020204" pitchFamily="34" charset="0"/>
              </a:rPr>
              <a:t> air fan </a:t>
            </a:r>
            <a:r>
              <a:rPr kumimoji="0" lang="sv-SE" sz="2800" b="1" i="0" u="none" strike="noStrike" kern="1200" cap="none" spc="0" normalizeH="0" baseline="0" noProof="0" err="1">
                <a:ln>
                  <a:noFill/>
                </a:ln>
                <a:solidFill>
                  <a:srgbClr val="CC0033"/>
                </a:solidFill>
                <a:effectLst/>
                <a:uLnTx/>
                <a:uFillTx/>
                <a:latin typeface="Arial" panose="020B0604020202020204" pitchFamily="34" charset="0"/>
                <a:ea typeface="+mj-ea"/>
                <a:cs typeface="Arial" panose="020B0604020202020204" pitchFamily="34" charset="0"/>
              </a:rPr>
              <a:t>capacity</a:t>
            </a:r>
            <a:r>
              <a:rPr kumimoji="0" lang="sv-SE" sz="2800" b="1" i="0" u="none" strike="noStrike" kern="1200" cap="none" spc="0" normalizeH="0" baseline="0" noProof="0">
                <a:ln>
                  <a:noFill/>
                </a:ln>
                <a:solidFill>
                  <a:srgbClr val="CC0033"/>
                </a:solidFill>
                <a:effectLst/>
                <a:uLnTx/>
                <a:uFillTx/>
                <a:latin typeface="Arial" panose="020B0604020202020204" pitchFamily="34" charset="0"/>
                <a:ea typeface="+mj-ea"/>
                <a:cs typeface="Arial" panose="020B0604020202020204" pitchFamily="34" charset="0"/>
              </a:rPr>
              <a:t> </a:t>
            </a:r>
            <a:r>
              <a:rPr kumimoji="0" lang="sv-SE" sz="2800" b="1" i="0" u="none" strike="noStrike" kern="1200" cap="none" spc="0" normalizeH="0" baseline="0" noProof="0" err="1">
                <a:ln>
                  <a:noFill/>
                </a:ln>
                <a:solidFill>
                  <a:srgbClr val="CC0033"/>
                </a:solidFill>
                <a:effectLst/>
                <a:uLnTx/>
                <a:uFillTx/>
                <a:latin typeface="Arial" panose="020B0604020202020204" pitchFamily="34" charset="0"/>
                <a:ea typeface="+mj-ea"/>
                <a:cs typeface="Arial" panose="020B0604020202020204" pitchFamily="34" charset="0"/>
              </a:rPr>
              <a:t>challenge</a:t>
            </a:r>
            <a:r>
              <a:rPr kumimoji="0" lang="sv-SE" sz="2800" b="1" i="0" u="none" strike="noStrike" kern="1200" cap="none" spc="0" normalizeH="0" baseline="0" noProof="0">
                <a:ln>
                  <a:noFill/>
                </a:ln>
                <a:solidFill>
                  <a:srgbClr val="CC0033"/>
                </a:solidFill>
                <a:effectLst/>
                <a:uLnTx/>
                <a:uFillTx/>
                <a:latin typeface="Arial" panose="020B0604020202020204" pitchFamily="34" charset="0"/>
                <a:ea typeface="+mj-ea"/>
                <a:cs typeface="Arial" panose="020B0604020202020204" pitchFamily="34" charset="0"/>
              </a:rPr>
              <a:t>:</a:t>
            </a:r>
          </a:p>
        </p:txBody>
      </p:sp>
      <p:sp>
        <p:nvSpPr>
          <p:cNvPr id="4" name="CuadroTexto 5">
            <a:extLst>
              <a:ext uri="{FF2B5EF4-FFF2-40B4-BE49-F238E27FC236}">
                <a16:creationId xmlns:a16="http://schemas.microsoft.com/office/drawing/2014/main" id="{C9C3DE27-C019-9117-0672-217DEED4082E}"/>
              </a:ext>
            </a:extLst>
          </p:cNvPr>
          <p:cNvSpPr txBox="1"/>
          <p:nvPr/>
        </p:nvSpPr>
        <p:spPr>
          <a:xfrm>
            <a:off x="1053214" y="6701704"/>
            <a:ext cx="16846461" cy="830997"/>
          </a:xfrm>
          <a:prstGeom prst="rect">
            <a:avLst/>
          </a:prstGeom>
          <a:noFill/>
        </p:spPr>
        <p:txBody>
          <a:bodyPr wrap="square" rtlCol="0">
            <a:spAutoFit/>
          </a:bodyPr>
          <a:lstStyle/>
          <a:p>
            <a:pPr marL="428625" marR="0" lvl="0" indent="-4286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400" b="1" i="0" u="none" strike="noStrike" kern="1200" cap="none" spc="0" normalizeH="0" baseline="0" noProof="0">
                <a:ln>
                  <a:noFill/>
                </a:ln>
                <a:solidFill>
                  <a:srgbClr val="000000"/>
                </a:solidFill>
                <a:effectLst/>
                <a:uLnTx/>
                <a:uFillTx/>
                <a:latin typeface="Arial" panose="020B0604020202020204" pitchFamily="34" charset="0"/>
                <a:ea typeface="+mn-ea"/>
                <a:cs typeface="+mn-cs"/>
              </a:rPr>
              <a:t>Installation of a speed variator to reduce the air flow of the cooler fan and thus increase the flow from the granulator, since all the air flows emerge in the final fan.</a:t>
            </a:r>
            <a:endParaRPr kumimoji="0" lang="en-GB" sz="2400" b="1" i="0" u="none" strike="noStrike" kern="1200" cap="none" spc="0" normalizeH="0" baseline="0" noProof="0">
              <a:ln>
                <a:noFill/>
              </a:ln>
              <a:solidFill>
                <a:srgbClr val="2F2F2F"/>
              </a:solidFill>
              <a:effectLst/>
              <a:uLnTx/>
              <a:uFillTx/>
              <a:latin typeface="Arial"/>
              <a:ea typeface="+mn-ea"/>
              <a:cs typeface="+mn-cs"/>
            </a:endParaRPr>
          </a:p>
        </p:txBody>
      </p:sp>
      <p:sp>
        <p:nvSpPr>
          <p:cNvPr id="5" name="Title 1">
            <a:extLst>
              <a:ext uri="{FF2B5EF4-FFF2-40B4-BE49-F238E27FC236}">
                <a16:creationId xmlns:a16="http://schemas.microsoft.com/office/drawing/2014/main" id="{F467DE1B-72A7-CFAB-0479-A6CC45562C8C}"/>
              </a:ext>
            </a:extLst>
          </p:cNvPr>
          <p:cNvSpPr txBox="1">
            <a:spLocks/>
          </p:cNvSpPr>
          <p:nvPr/>
        </p:nvSpPr>
        <p:spPr>
          <a:xfrm>
            <a:off x="1053214" y="5837912"/>
            <a:ext cx="8149400" cy="758936"/>
          </a:xfrm>
          <a:prstGeom prst="rect">
            <a:avLst/>
          </a:prstGeom>
        </p:spPr>
        <p:txBody>
          <a:bodyPr vert="horz" lIns="137160" tIns="68580" rIns="137160" bIns="6858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sv-SE" sz="2800" b="1" i="0" u="none" strike="noStrike" kern="1200" cap="none" spc="0" normalizeH="0" baseline="0" noProof="0" err="1">
                <a:ln>
                  <a:noFill/>
                </a:ln>
                <a:solidFill>
                  <a:srgbClr val="CC0033"/>
                </a:solidFill>
                <a:effectLst/>
                <a:uLnTx/>
                <a:uFillTx/>
                <a:latin typeface="Arial" panose="020B0604020202020204" pitchFamily="34" charset="0"/>
                <a:ea typeface="+mj-ea"/>
                <a:cs typeface="Arial" panose="020B0604020202020204" pitchFamily="34" charset="0"/>
              </a:rPr>
              <a:t>Extraction</a:t>
            </a:r>
            <a:r>
              <a:rPr kumimoji="0" lang="sv-SE" sz="2800" b="1" i="0" u="none" strike="noStrike" kern="1200" cap="none" spc="0" normalizeH="0" baseline="0" noProof="0">
                <a:ln>
                  <a:noFill/>
                </a:ln>
                <a:solidFill>
                  <a:srgbClr val="CC0033"/>
                </a:solidFill>
                <a:effectLst/>
                <a:uLnTx/>
                <a:uFillTx/>
                <a:latin typeface="Arial" panose="020B0604020202020204" pitchFamily="34" charset="0"/>
                <a:ea typeface="+mj-ea"/>
                <a:cs typeface="Arial" panose="020B0604020202020204" pitchFamily="34" charset="0"/>
              </a:rPr>
              <a:t> air fan </a:t>
            </a:r>
            <a:r>
              <a:rPr kumimoji="0" lang="sv-SE" sz="2800" b="1" i="0" u="none" strike="noStrike" kern="1200" cap="none" spc="0" normalizeH="0" baseline="0" noProof="0" err="1">
                <a:ln>
                  <a:noFill/>
                </a:ln>
                <a:solidFill>
                  <a:srgbClr val="CC0033"/>
                </a:solidFill>
                <a:effectLst/>
                <a:uLnTx/>
                <a:uFillTx/>
                <a:latin typeface="Arial" panose="020B0604020202020204" pitchFamily="34" charset="0"/>
                <a:ea typeface="+mj-ea"/>
                <a:cs typeface="Arial" panose="020B0604020202020204" pitchFamily="34" charset="0"/>
              </a:rPr>
              <a:t>capacity</a:t>
            </a:r>
            <a:r>
              <a:rPr kumimoji="0" lang="sv-SE" sz="2800" b="1" i="0" u="none" strike="noStrike" kern="1200" cap="none" spc="0" normalizeH="0" baseline="0" noProof="0">
                <a:ln>
                  <a:noFill/>
                </a:ln>
                <a:solidFill>
                  <a:srgbClr val="CC0033"/>
                </a:solidFill>
                <a:effectLst/>
                <a:uLnTx/>
                <a:uFillTx/>
                <a:latin typeface="Arial" panose="020B0604020202020204" pitchFamily="34" charset="0"/>
                <a:ea typeface="+mj-ea"/>
                <a:cs typeface="Arial" panose="020B0604020202020204" pitchFamily="34" charset="0"/>
              </a:rPr>
              <a:t> </a:t>
            </a:r>
            <a:r>
              <a:rPr kumimoji="0" lang="sv-SE" sz="2800" b="1" i="0" u="none" strike="noStrike" kern="1200" cap="none" spc="0" normalizeH="0" baseline="0" noProof="0" err="1">
                <a:ln>
                  <a:noFill/>
                </a:ln>
                <a:solidFill>
                  <a:srgbClr val="CC0033"/>
                </a:solidFill>
                <a:effectLst/>
                <a:uLnTx/>
                <a:uFillTx/>
                <a:latin typeface="Arial" panose="020B0604020202020204" pitchFamily="34" charset="0"/>
                <a:ea typeface="+mj-ea"/>
                <a:cs typeface="Arial" panose="020B0604020202020204" pitchFamily="34" charset="0"/>
              </a:rPr>
              <a:t>challenge</a:t>
            </a:r>
            <a:r>
              <a:rPr kumimoji="0" lang="sv-SE" sz="2800" b="1" i="0" u="none" strike="noStrike" kern="1200" cap="none" spc="0" normalizeH="0" baseline="0" noProof="0">
                <a:ln>
                  <a:noFill/>
                </a:ln>
                <a:solidFill>
                  <a:srgbClr val="CC0033"/>
                </a:solidFill>
                <a:effectLst/>
                <a:uLnTx/>
                <a:uFillTx/>
                <a:latin typeface="Arial" panose="020B0604020202020204" pitchFamily="34" charset="0"/>
                <a:ea typeface="+mj-ea"/>
                <a:cs typeface="Arial" panose="020B0604020202020204" pitchFamily="34" charset="0"/>
              </a:rPr>
              <a:t> solution:</a:t>
            </a:r>
          </a:p>
        </p:txBody>
      </p:sp>
      <p:sp>
        <p:nvSpPr>
          <p:cNvPr id="6" name="TextBox 275">
            <a:extLst>
              <a:ext uri="{FF2B5EF4-FFF2-40B4-BE49-F238E27FC236}">
                <a16:creationId xmlns:a16="http://schemas.microsoft.com/office/drawing/2014/main" id="{C001504D-CFB7-C9E1-7C62-B1175EEB49BF}"/>
              </a:ext>
            </a:extLst>
          </p:cNvPr>
          <p:cNvSpPr txBox="1"/>
          <p:nvPr/>
        </p:nvSpPr>
        <p:spPr>
          <a:xfrm>
            <a:off x="909922" y="1244707"/>
            <a:ext cx="16143207" cy="92333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5400" b="1" i="0" u="none" strike="noStrike" kern="1200" cap="none" spc="0" normalizeH="0" baseline="0" noProof="0" err="1">
                <a:ln>
                  <a:noFill/>
                </a:ln>
                <a:solidFill>
                  <a:srgbClr val="CC0033"/>
                </a:solidFill>
                <a:effectLst/>
                <a:uLnTx/>
                <a:uFillTx/>
                <a:latin typeface="Arial"/>
                <a:ea typeface="+mn-ea"/>
                <a:cs typeface="Arial" panose="020B0604020202020204" pitchFamily="34" charset="0"/>
              </a:rPr>
              <a:t>Technical</a:t>
            </a:r>
            <a:r>
              <a:rPr kumimoji="0" lang="sv-SE" sz="5400" b="1" i="0" u="none" strike="noStrike" kern="1200" cap="none" spc="0" normalizeH="0" baseline="0" noProof="0">
                <a:ln>
                  <a:noFill/>
                </a:ln>
                <a:solidFill>
                  <a:srgbClr val="CC0033"/>
                </a:solidFill>
                <a:effectLst/>
                <a:uLnTx/>
                <a:uFillTx/>
                <a:latin typeface="Arial"/>
                <a:ea typeface="+mn-ea"/>
                <a:cs typeface="Arial" panose="020B0604020202020204" pitchFamily="34" charset="0"/>
              </a:rPr>
              <a:t> </a:t>
            </a:r>
            <a:r>
              <a:rPr kumimoji="0" lang="sv-SE" sz="5400" b="1" i="0" u="none" strike="noStrike" kern="1200" cap="none" spc="0" normalizeH="0" baseline="0" noProof="0" err="1">
                <a:ln>
                  <a:noFill/>
                </a:ln>
                <a:solidFill>
                  <a:srgbClr val="CC0033"/>
                </a:solidFill>
                <a:effectLst/>
                <a:uLnTx/>
                <a:uFillTx/>
                <a:latin typeface="Arial"/>
                <a:ea typeface="+mn-ea"/>
                <a:cs typeface="Arial" panose="020B0604020202020204" pitchFamily="34" charset="0"/>
              </a:rPr>
              <a:t>challenges</a:t>
            </a:r>
            <a:r>
              <a:rPr kumimoji="0" lang="sv-SE" sz="5400" b="1" i="0" u="none" strike="noStrike" kern="1200" cap="none" spc="0" normalizeH="0" baseline="0" noProof="0">
                <a:ln>
                  <a:noFill/>
                </a:ln>
                <a:solidFill>
                  <a:srgbClr val="CC0033"/>
                </a:solidFill>
                <a:effectLst/>
                <a:uLnTx/>
                <a:uFillTx/>
                <a:latin typeface="Arial"/>
                <a:ea typeface="+mn-ea"/>
                <a:cs typeface="Arial" panose="020B0604020202020204" pitchFamily="34" charset="0"/>
              </a:rPr>
              <a:t> in </a:t>
            </a:r>
            <a:r>
              <a:rPr kumimoji="0" lang="sv-SE" sz="5400" b="1" i="0" u="none" strike="noStrike" kern="1200" cap="none" spc="0" normalizeH="0" baseline="0" noProof="0" err="1">
                <a:ln>
                  <a:noFill/>
                </a:ln>
                <a:solidFill>
                  <a:srgbClr val="CC0033"/>
                </a:solidFill>
                <a:effectLst/>
                <a:uLnTx/>
                <a:uFillTx/>
                <a:latin typeface="Arial"/>
                <a:ea typeface="+mn-ea"/>
                <a:cs typeface="Arial" panose="020B0604020202020204" pitchFamily="34" charset="0"/>
              </a:rPr>
              <a:t>agrochemical</a:t>
            </a:r>
            <a:r>
              <a:rPr kumimoji="0" lang="sv-SE" sz="5400" b="1" i="0" u="none" strike="noStrike" kern="1200" cap="none" spc="0" normalizeH="0" baseline="0" noProof="0">
                <a:ln>
                  <a:noFill/>
                </a:ln>
                <a:solidFill>
                  <a:srgbClr val="CC0033"/>
                </a:solidFill>
                <a:effectLst/>
                <a:uLnTx/>
                <a:uFillTx/>
                <a:latin typeface="Arial"/>
                <a:ea typeface="+mn-ea"/>
                <a:cs typeface="Arial" panose="020B0604020202020204" pitchFamily="34" charset="0"/>
              </a:rPr>
              <a:t> </a:t>
            </a:r>
            <a:r>
              <a:rPr kumimoji="0" lang="sv-SE" sz="5400" b="1" i="0" u="none" strike="noStrike" kern="1200" cap="none" spc="0" normalizeH="0" baseline="0" noProof="0" err="1">
                <a:ln>
                  <a:noFill/>
                </a:ln>
                <a:solidFill>
                  <a:srgbClr val="CC0033"/>
                </a:solidFill>
                <a:effectLst/>
                <a:uLnTx/>
                <a:uFillTx/>
                <a:latin typeface="Arial"/>
                <a:ea typeface="+mn-ea"/>
                <a:cs typeface="Arial" panose="020B0604020202020204" pitchFamily="34" charset="0"/>
              </a:rPr>
              <a:t>sector</a:t>
            </a:r>
            <a:endParaRPr kumimoji="0" lang="sv-SE" sz="5400" b="1" i="0" u="none" strike="noStrike" kern="1200" cap="none" spc="0" normalizeH="0" baseline="0" noProof="0">
              <a:ln>
                <a:noFill/>
              </a:ln>
              <a:solidFill>
                <a:srgbClr val="CC0033"/>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2475644179"/>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1" name="Picture 12">
            <a:extLst>
              <a:ext uri="{FF2B5EF4-FFF2-40B4-BE49-F238E27FC236}">
                <a16:creationId xmlns:a16="http://schemas.microsoft.com/office/drawing/2014/main" id="{43802E0E-B79D-4EA7-8141-0CA3ED138B1A}"/>
              </a:ext>
            </a:extLst>
          </p:cNvPr>
          <p:cNvPicPr>
            <a:picLocks noChangeAspect="1"/>
          </p:cNvPicPr>
          <p:nvPr/>
        </p:nvPicPr>
        <p:blipFill>
          <a:blip r:embed="rId3"/>
          <a:srcRect/>
          <a:stretch>
            <a:fillRect/>
          </a:stretch>
        </p:blipFill>
        <p:spPr>
          <a:xfrm>
            <a:off x="0" y="8959889"/>
            <a:ext cx="5715000" cy="1385887"/>
          </a:xfrm>
          <a:prstGeom prst="rect">
            <a:avLst/>
          </a:prstGeom>
        </p:spPr>
      </p:pic>
      <p:grpSp>
        <p:nvGrpSpPr>
          <p:cNvPr id="132" name="Gruppo 2">
            <a:extLst>
              <a:ext uri="{FF2B5EF4-FFF2-40B4-BE49-F238E27FC236}">
                <a16:creationId xmlns:a16="http://schemas.microsoft.com/office/drawing/2014/main" id="{649928F6-6E82-4611-9715-AD3C75457C28}"/>
              </a:ext>
            </a:extLst>
          </p:cNvPr>
          <p:cNvGrpSpPr/>
          <p:nvPr/>
        </p:nvGrpSpPr>
        <p:grpSpPr>
          <a:xfrm>
            <a:off x="-12" y="138554"/>
            <a:ext cx="18288002" cy="681138"/>
            <a:chOff x="-12" y="138554"/>
            <a:chExt cx="18288002" cy="681138"/>
          </a:xfrm>
        </p:grpSpPr>
        <p:grpSp>
          <p:nvGrpSpPr>
            <p:cNvPr id="133" name="Gruppo 1">
              <a:extLst>
                <a:ext uri="{FF2B5EF4-FFF2-40B4-BE49-F238E27FC236}">
                  <a16:creationId xmlns:a16="http://schemas.microsoft.com/office/drawing/2014/main" id="{A8EB8794-E5C6-45EB-BAEC-2778E982797A}"/>
                </a:ext>
              </a:extLst>
            </p:cNvPr>
            <p:cNvGrpSpPr/>
            <p:nvPr/>
          </p:nvGrpSpPr>
          <p:grpSpPr>
            <a:xfrm>
              <a:off x="0" y="153125"/>
              <a:ext cx="17907000" cy="666567"/>
              <a:chOff x="0" y="153125"/>
              <a:chExt cx="17907000" cy="666567"/>
            </a:xfrm>
          </p:grpSpPr>
          <p:grpSp>
            <p:nvGrpSpPr>
              <p:cNvPr id="135" name="Gruppo 15">
                <a:extLst>
                  <a:ext uri="{FF2B5EF4-FFF2-40B4-BE49-F238E27FC236}">
                    <a16:creationId xmlns:a16="http://schemas.microsoft.com/office/drawing/2014/main" id="{AB129748-9FD7-458D-BD6E-304271C1814A}"/>
                  </a:ext>
                </a:extLst>
              </p:cNvPr>
              <p:cNvGrpSpPr/>
              <p:nvPr/>
            </p:nvGrpSpPr>
            <p:grpSpPr>
              <a:xfrm>
                <a:off x="0" y="153125"/>
                <a:ext cx="13958844" cy="666567"/>
                <a:chOff x="0" y="153125"/>
                <a:chExt cx="13958844" cy="666567"/>
              </a:xfrm>
            </p:grpSpPr>
            <p:pic>
              <p:nvPicPr>
                <p:cNvPr id="137" name="Picture 136">
                  <a:extLst>
                    <a:ext uri="{FF2B5EF4-FFF2-40B4-BE49-F238E27FC236}">
                      <a16:creationId xmlns:a16="http://schemas.microsoft.com/office/drawing/2014/main" id="{88E31CFD-796F-4F3F-A1EC-0E38F9D83456}"/>
                    </a:ext>
                  </a:extLst>
                </p:cNvPr>
                <p:cNvPicPr>
                  <a:picLocks noChangeAspect="1"/>
                </p:cNvPicPr>
                <p:nvPr/>
              </p:nvPicPr>
              <p:blipFill>
                <a:blip r:embed="rId4"/>
                <a:srcRect l="134" t="91287" b="3943"/>
                <a:stretch>
                  <a:fillRect/>
                </a:stretch>
              </p:blipFill>
              <p:spPr>
                <a:xfrm>
                  <a:off x="0" y="153125"/>
                  <a:ext cx="13958844" cy="666567"/>
                </a:xfrm>
                <a:prstGeom prst="rect">
                  <a:avLst/>
                </a:prstGeom>
              </p:spPr>
            </p:pic>
            <p:sp>
              <p:nvSpPr>
                <p:cNvPr id="138" name="TextBox 137">
                  <a:extLst>
                    <a:ext uri="{FF2B5EF4-FFF2-40B4-BE49-F238E27FC236}">
                      <a16:creationId xmlns:a16="http://schemas.microsoft.com/office/drawing/2014/main" id="{7694DADD-E227-40A7-A98D-244B0D207E54}"/>
                    </a:ext>
                  </a:extLst>
                </p:cNvPr>
                <p:cNvSpPr txBox="1"/>
                <p:nvPr/>
              </p:nvSpPr>
              <p:spPr>
                <a:xfrm>
                  <a:off x="228600" y="257980"/>
                  <a:ext cx="9296400" cy="456856"/>
                </a:xfrm>
                <a:prstGeom prst="rect">
                  <a:avLst/>
                </a:prstGeom>
              </p:spPr>
              <p:txBody>
                <a:bodyPr wrap="square" lIns="0" tIns="0" rIns="0" bIns="0" rtlCol="0" anchor="t">
                  <a:spAutoFit/>
                </a:bodyPr>
                <a:lstStyle/>
                <a:p>
                  <a:pPr marL="0" marR="0" lvl="0" indent="0" algn="l" defTabSz="914400" rtl="0" eaLnBrk="1" fontAlgn="auto" latinLnBrk="0" hangingPunct="1">
                    <a:lnSpc>
                      <a:spcPts val="3919"/>
                    </a:lnSpc>
                    <a:spcBef>
                      <a:spcPct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36" name="TextBox 135">
                <a:extLst>
                  <a:ext uri="{FF2B5EF4-FFF2-40B4-BE49-F238E27FC236}">
                    <a16:creationId xmlns:a16="http://schemas.microsoft.com/office/drawing/2014/main" id="{4B3CCEBB-60EF-4175-9878-F0D51FD80FF0}"/>
                  </a:ext>
                </a:extLst>
              </p:cNvPr>
              <p:cNvSpPr txBox="1"/>
              <p:nvPr/>
            </p:nvSpPr>
            <p:spPr>
              <a:xfrm>
                <a:off x="12154296" y="257980"/>
                <a:ext cx="5752704" cy="456856"/>
              </a:xfrm>
              <a:prstGeom prst="rect">
                <a:avLst/>
              </a:prstGeom>
            </p:spPr>
            <p:txBody>
              <a:bodyPr wrap="square" lIns="0" tIns="0" rIns="0" bIns="0" rtlCol="0" anchor="t">
                <a:spAutoFit/>
              </a:bodyPr>
              <a:lstStyle/>
              <a:p>
                <a:pPr marL="0" marR="0" lvl="0" indent="0" algn="r" defTabSz="914400" rtl="0" eaLnBrk="1" fontAlgn="auto" latinLnBrk="0" hangingPunct="1">
                  <a:lnSpc>
                    <a:spcPts val="3919"/>
                  </a:lnSpc>
                  <a:spcBef>
                    <a:spcPct val="0"/>
                  </a:spcBef>
                  <a:spcAft>
                    <a:spcPts val="0"/>
                  </a:spcAft>
                  <a:buClrTx/>
                  <a:buSzTx/>
                  <a:buFontTx/>
                  <a:buNone/>
                  <a:tabLst/>
                  <a:defRPr/>
                </a:pPr>
                <a:endParaRPr kumimoji="0" lang="en-US" sz="2800" b="0" i="0" u="none" strike="noStrike" kern="1200" cap="none" spc="0" normalizeH="0" baseline="0" noProof="0">
                  <a:ln>
                    <a:noFill/>
                  </a:ln>
                  <a:solidFill>
                    <a:srgbClr val="2F2F2F">
                      <a:lumMod val="75000"/>
                      <a:lumOff val="25000"/>
                    </a:srgbClr>
                  </a:solidFill>
                  <a:effectLst/>
                  <a:uLnTx/>
                  <a:uFillTx/>
                  <a:latin typeface="Arial" panose="020B0604020202020204" pitchFamily="34" charset="0"/>
                  <a:ea typeface="+mn-ea"/>
                  <a:cs typeface="Arial" panose="020B0604020202020204" pitchFamily="34" charset="0"/>
                </a:endParaRPr>
              </a:p>
            </p:txBody>
          </p:sp>
        </p:grpSp>
        <p:sp>
          <p:nvSpPr>
            <p:cNvPr id="134" name="Rettangolo 13">
              <a:extLst>
                <a:ext uri="{FF2B5EF4-FFF2-40B4-BE49-F238E27FC236}">
                  <a16:creationId xmlns:a16="http://schemas.microsoft.com/office/drawing/2014/main" id="{8F0CF2A7-592A-4287-9206-D3289F1B0C37}"/>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pic>
        <p:nvPicPr>
          <p:cNvPr id="139" name="Picture 12">
            <a:extLst>
              <a:ext uri="{FF2B5EF4-FFF2-40B4-BE49-F238E27FC236}">
                <a16:creationId xmlns:a16="http://schemas.microsoft.com/office/drawing/2014/main" id="{F047215A-40D8-4A57-BE02-5E03FCEEBB7B}"/>
              </a:ext>
            </a:extLst>
          </p:cNvPr>
          <p:cNvPicPr>
            <a:picLocks noChangeAspect="1"/>
          </p:cNvPicPr>
          <p:nvPr/>
        </p:nvPicPr>
        <p:blipFill>
          <a:blip r:embed="rId5"/>
          <a:srcRect l="134" t="91287" b="3943"/>
          <a:stretch>
            <a:fillRect/>
          </a:stretch>
        </p:blipFill>
        <p:spPr>
          <a:xfrm rot="10800000">
            <a:off x="4329146" y="9679208"/>
            <a:ext cx="13958844" cy="666567"/>
          </a:xfrm>
          <a:prstGeom prst="rect">
            <a:avLst/>
          </a:prstGeom>
        </p:spPr>
      </p:pic>
      <p:sp>
        <p:nvSpPr>
          <p:cNvPr id="140" name="TextBox 16">
            <a:extLst>
              <a:ext uri="{FF2B5EF4-FFF2-40B4-BE49-F238E27FC236}">
                <a16:creationId xmlns:a16="http://schemas.microsoft.com/office/drawing/2014/main" id="{C693B1DB-897C-4A9D-8CF3-F1423F6CB38D}"/>
              </a:ext>
            </a:extLst>
          </p:cNvPr>
          <p:cNvSpPr txBox="1"/>
          <p:nvPr/>
        </p:nvSpPr>
        <p:spPr>
          <a:xfrm>
            <a:off x="14400019" y="9762301"/>
            <a:ext cx="3636320" cy="448713"/>
          </a:xfrm>
          <a:prstGeom prst="rect">
            <a:avLst/>
          </a:prstGeom>
        </p:spPr>
        <p:txBody>
          <a:bodyPr wrap="square" lIns="0" tIns="0" rIns="0" bIns="0" rtlCol="0" anchor="t">
            <a:spAutoFit/>
          </a:bodyPr>
          <a:lstStyle/>
          <a:p>
            <a:pPr marL="0" marR="0" lvl="0" indent="0" algn="ctr" defTabSz="914400" rtl="0" eaLnBrk="1" fontAlgn="auto" latinLnBrk="0" hangingPunct="1">
              <a:lnSpc>
                <a:spcPts val="3919"/>
              </a:lnSpc>
              <a:spcBef>
                <a:spcPct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OCR A Extended" panose="02010509020102010303" pitchFamily="50" charset="0"/>
                <a:ea typeface="+mn-ea"/>
                <a:cs typeface="+mn-cs"/>
              </a:rPr>
              <a:t>www.retrofeed.eu</a:t>
            </a:r>
          </a:p>
        </p:txBody>
      </p:sp>
      <p:sp>
        <p:nvSpPr>
          <p:cNvPr id="276" name="TextBox 275">
            <a:extLst>
              <a:ext uri="{FF2B5EF4-FFF2-40B4-BE49-F238E27FC236}">
                <a16:creationId xmlns:a16="http://schemas.microsoft.com/office/drawing/2014/main" id="{23F49CDA-BC36-C7E5-B9CD-42DA77A33D92}"/>
              </a:ext>
            </a:extLst>
          </p:cNvPr>
          <p:cNvSpPr txBox="1"/>
          <p:nvPr/>
        </p:nvSpPr>
        <p:spPr>
          <a:xfrm>
            <a:off x="909922" y="1244707"/>
            <a:ext cx="16143207" cy="107721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6400" b="1" i="0" u="none" strike="noStrike" kern="1200" cap="none" spc="0" normalizeH="0" baseline="0" noProof="0" err="1">
                <a:ln>
                  <a:noFill/>
                </a:ln>
                <a:solidFill>
                  <a:srgbClr val="CC0033"/>
                </a:solidFill>
                <a:effectLst/>
                <a:uLnTx/>
                <a:uFillTx/>
                <a:latin typeface="Arial"/>
                <a:ea typeface="+mn-ea"/>
                <a:cs typeface="Arial" panose="020B0604020202020204" pitchFamily="34" charset="0"/>
              </a:rPr>
              <a:t>Technical</a:t>
            </a:r>
            <a:r>
              <a:rPr kumimoji="0" lang="sv-SE" sz="6400" b="1" i="0" u="none" strike="noStrike" kern="1200" cap="none" spc="0" normalizeH="0" baseline="0" noProof="0">
                <a:ln>
                  <a:noFill/>
                </a:ln>
                <a:solidFill>
                  <a:srgbClr val="CC0033"/>
                </a:solidFill>
                <a:effectLst/>
                <a:uLnTx/>
                <a:uFillTx/>
                <a:latin typeface="Arial"/>
                <a:ea typeface="+mn-ea"/>
                <a:cs typeface="Arial" panose="020B0604020202020204" pitchFamily="34" charset="0"/>
              </a:rPr>
              <a:t> </a:t>
            </a:r>
            <a:r>
              <a:rPr kumimoji="0" lang="sv-SE" sz="6400" b="1" i="0" u="none" strike="noStrike" kern="1200" cap="none" spc="0" normalizeH="0" baseline="0" noProof="0" err="1">
                <a:ln>
                  <a:noFill/>
                </a:ln>
                <a:solidFill>
                  <a:srgbClr val="CC0033"/>
                </a:solidFill>
                <a:effectLst/>
                <a:uLnTx/>
                <a:uFillTx/>
                <a:latin typeface="Arial"/>
                <a:ea typeface="+mn-ea"/>
                <a:cs typeface="Arial" panose="020B0604020202020204" pitchFamily="34" charset="0"/>
              </a:rPr>
              <a:t>challenges</a:t>
            </a:r>
            <a:r>
              <a:rPr kumimoji="0" lang="sv-SE" sz="6400" b="1" i="0" u="none" strike="noStrike" kern="1200" cap="none" spc="0" normalizeH="0" baseline="0" noProof="0">
                <a:ln>
                  <a:noFill/>
                </a:ln>
                <a:solidFill>
                  <a:srgbClr val="CC0033"/>
                </a:solidFill>
                <a:effectLst/>
                <a:uLnTx/>
                <a:uFillTx/>
                <a:latin typeface="Arial"/>
                <a:ea typeface="+mn-ea"/>
                <a:cs typeface="Arial" panose="020B0604020202020204" pitchFamily="34" charset="0"/>
              </a:rPr>
              <a:t> in </a:t>
            </a:r>
            <a:r>
              <a:rPr kumimoji="0" lang="sv-SE" sz="6400" b="1" i="0" u="none" strike="noStrike" kern="1200" cap="none" spc="0" normalizeH="0" baseline="0" noProof="0" err="1">
                <a:ln>
                  <a:noFill/>
                </a:ln>
                <a:solidFill>
                  <a:srgbClr val="CC0033"/>
                </a:solidFill>
                <a:effectLst/>
                <a:uLnTx/>
                <a:uFillTx/>
                <a:latin typeface="Arial"/>
                <a:ea typeface="+mn-ea"/>
                <a:cs typeface="Arial" panose="020B0604020202020204" pitchFamily="34" charset="0"/>
              </a:rPr>
              <a:t>steel</a:t>
            </a:r>
            <a:r>
              <a:rPr kumimoji="0" lang="sv-SE" sz="6400" b="1" i="0" u="none" strike="noStrike" kern="1200" cap="none" spc="0" normalizeH="0" baseline="0" noProof="0">
                <a:ln>
                  <a:noFill/>
                </a:ln>
                <a:solidFill>
                  <a:srgbClr val="CC0033"/>
                </a:solidFill>
                <a:effectLst/>
                <a:uLnTx/>
                <a:uFillTx/>
                <a:latin typeface="Arial"/>
                <a:ea typeface="+mn-ea"/>
                <a:cs typeface="Arial" panose="020B0604020202020204" pitchFamily="34" charset="0"/>
              </a:rPr>
              <a:t> </a:t>
            </a:r>
            <a:r>
              <a:rPr kumimoji="0" lang="sv-SE" sz="6400" b="1" i="0" u="none" strike="noStrike" kern="1200" cap="none" spc="0" normalizeH="0" baseline="0" noProof="0" err="1">
                <a:ln>
                  <a:noFill/>
                </a:ln>
                <a:solidFill>
                  <a:srgbClr val="CC0033"/>
                </a:solidFill>
                <a:effectLst/>
                <a:uLnTx/>
                <a:uFillTx/>
                <a:latin typeface="Arial"/>
                <a:ea typeface="+mn-ea"/>
                <a:cs typeface="Arial" panose="020B0604020202020204" pitchFamily="34" charset="0"/>
              </a:rPr>
              <a:t>industry</a:t>
            </a:r>
            <a:endParaRPr kumimoji="0" lang="sv-SE" sz="6400" b="1" i="0" u="none" strike="noStrike" kern="1200" cap="none" spc="0" normalizeH="0" baseline="0" noProof="0">
              <a:ln>
                <a:noFill/>
              </a:ln>
              <a:solidFill>
                <a:srgbClr val="CC0033"/>
              </a:solidFill>
              <a:effectLst/>
              <a:uLnTx/>
              <a:uFillTx/>
              <a:latin typeface="Arial"/>
              <a:ea typeface="+mn-ea"/>
              <a:cs typeface="Arial" panose="020B0604020202020204" pitchFamily="34" charset="0"/>
            </a:endParaRPr>
          </a:p>
        </p:txBody>
      </p:sp>
      <p:pic>
        <p:nvPicPr>
          <p:cNvPr id="6" name="Imagen 115">
            <a:extLst>
              <a:ext uri="{FF2B5EF4-FFF2-40B4-BE49-F238E27FC236}">
                <a16:creationId xmlns:a16="http://schemas.microsoft.com/office/drawing/2014/main" id="{5B28EFEC-97FD-358A-710C-FBCD41D7AA07}"/>
              </a:ext>
            </a:extLst>
          </p:cNvPr>
          <p:cNvPicPr>
            <a:picLocks noChangeAspect="1"/>
          </p:cNvPicPr>
          <p:nvPr/>
        </p:nvPicPr>
        <p:blipFill>
          <a:blip r:embed="rId6"/>
          <a:stretch>
            <a:fillRect/>
          </a:stretch>
        </p:blipFill>
        <p:spPr>
          <a:xfrm>
            <a:off x="16725340" y="1252016"/>
            <a:ext cx="1181660" cy="991962"/>
          </a:xfrm>
          <a:prstGeom prst="rect">
            <a:avLst/>
          </a:prstGeom>
        </p:spPr>
      </p:pic>
      <p:pic>
        <p:nvPicPr>
          <p:cNvPr id="7" name="Picture 2" descr="t_T_SB">
            <a:extLst>
              <a:ext uri="{FF2B5EF4-FFF2-40B4-BE49-F238E27FC236}">
                <a16:creationId xmlns:a16="http://schemas.microsoft.com/office/drawing/2014/main" id="{2C90D689-6482-8C09-1186-011EFEEA09BF}"/>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3288771" y="287291"/>
            <a:ext cx="4864659" cy="6665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3">
            <a:extLst>
              <a:ext uri="{FF2B5EF4-FFF2-40B4-BE49-F238E27FC236}">
                <a16:creationId xmlns:a16="http://schemas.microsoft.com/office/drawing/2014/main" id="{53845E48-D42B-9D4A-DCD9-ECFEBBEDF273}"/>
              </a:ext>
            </a:extLst>
          </p:cNvPr>
          <p:cNvSpPr txBox="1"/>
          <p:nvPr/>
        </p:nvSpPr>
        <p:spPr>
          <a:xfrm>
            <a:off x="909922" y="2746940"/>
            <a:ext cx="16506208" cy="3051348"/>
          </a:xfrm>
          <a:prstGeom prst="rect">
            <a:avLst/>
          </a:prstGeom>
          <a:noFill/>
        </p:spPr>
        <p:txBody>
          <a:bodyPr wrap="square">
            <a:spAutoFit/>
          </a:bodyPr>
          <a:lstStyle/>
          <a:p>
            <a:pPr marL="0" marR="0" lvl="0" indent="0" algn="l" defTabSz="914400" rtl="0" eaLnBrk="1" fontAlgn="auto" latinLnBrk="0" hangingPunct="1">
              <a:lnSpc>
                <a:spcPct val="90000"/>
              </a:lnSpc>
              <a:spcBef>
                <a:spcPct val="0"/>
              </a:spcBef>
              <a:spcAft>
                <a:spcPts val="1200"/>
              </a:spcAft>
              <a:buClrTx/>
              <a:buSzTx/>
              <a:buFontTx/>
              <a:buNone/>
              <a:tabLst/>
              <a:defRPr/>
            </a:pPr>
            <a:r>
              <a:rPr kumimoji="0" lang="en-GB" sz="2800" b="1" i="0" u="none" strike="noStrike" kern="1200" cap="none" spc="0" normalizeH="0" baseline="0" noProof="0" dirty="0">
                <a:ln>
                  <a:noFill/>
                </a:ln>
                <a:solidFill>
                  <a:srgbClr val="CC0033"/>
                </a:solidFill>
                <a:effectLst/>
                <a:uLnTx/>
                <a:uFillTx/>
                <a:latin typeface="Arial" panose="020B0604020202020204" pitchFamily="34" charset="0"/>
                <a:ea typeface="+mn-ea"/>
                <a:cs typeface="Arial" panose="020B0604020202020204" pitchFamily="34" charset="0"/>
              </a:rPr>
              <a:t>Challenges associated to successful adoption of the proposed changes are summarized below:</a:t>
            </a:r>
            <a:endParaRPr kumimoji="0" lang="sv-SE" sz="2800" b="1" i="0" u="none" strike="noStrike" kern="1200" cap="none" spc="0" normalizeH="0" baseline="0" noProof="0" dirty="0">
              <a:ln>
                <a:noFill/>
              </a:ln>
              <a:solidFill>
                <a:srgbClr val="CC0033"/>
              </a:solidFill>
              <a:effectLst/>
              <a:uLnTx/>
              <a:uFillTx/>
              <a:latin typeface="Arial" panose="020B0604020202020204" pitchFamily="34" charset="0"/>
              <a:ea typeface="+mn-ea"/>
              <a:cs typeface="Arial" panose="020B0604020202020204" pitchFamily="34" charset="0"/>
            </a:endParaRPr>
          </a:p>
          <a:p>
            <a:pPr marL="342900" marR="0" lvl="0" indent="-342900" algn="just" defTabSz="914400" rtl="0" eaLnBrk="1" fontAlgn="auto" latinLnBrk="0" hangingPunct="1">
              <a:lnSpc>
                <a:spcPct val="125000"/>
              </a:lnSpc>
              <a:spcBef>
                <a:spcPts val="600"/>
              </a:spcBef>
              <a:spcAft>
                <a:spcPts val="1200"/>
              </a:spcAft>
              <a:buClrTx/>
              <a:buSzTx/>
              <a:buFont typeface="Symbol" panose="05050102010706020507" pitchFamily="18" charset="2"/>
              <a:buChar char=""/>
              <a:tabLst/>
              <a:defRPr/>
            </a:pPr>
            <a:r>
              <a:rPr kumimoji="0" lang="en-GB" sz="2400" b="0" i="0" u="none" strike="noStrike" kern="1200" cap="none" spc="0" normalizeH="0" baseline="0" noProof="0" dirty="0">
                <a:ln>
                  <a:noFill/>
                </a:ln>
                <a:solidFill>
                  <a:srgbClr val="404040"/>
                </a:solidFill>
                <a:effectLst/>
                <a:uLnTx/>
                <a:uFillTx/>
                <a:latin typeface="Arial" panose="020B0604020202020204" pitchFamily="34" charset="0"/>
                <a:ea typeface="Calibri" panose="020F0502020204030204" pitchFamily="34" charset="0"/>
                <a:cs typeface="Lohit Devanagari"/>
              </a:rPr>
              <a:t>achieving a balance between the energy supplied by the burning of plastics and rubber</a:t>
            </a:r>
          </a:p>
          <a:p>
            <a:pPr marL="342900" marR="0" lvl="0" indent="-342900" algn="just" defTabSz="914400" rtl="0" eaLnBrk="1" fontAlgn="auto" latinLnBrk="0" hangingPunct="1">
              <a:lnSpc>
                <a:spcPct val="125000"/>
              </a:lnSpc>
              <a:spcBef>
                <a:spcPts val="600"/>
              </a:spcBef>
              <a:spcAft>
                <a:spcPts val="1200"/>
              </a:spcAft>
              <a:buClrTx/>
              <a:buSzTx/>
              <a:buFont typeface="Symbol" panose="05050102010706020507" pitchFamily="18" charset="2"/>
              <a:buChar char=""/>
              <a:tabLst/>
              <a:defRPr/>
            </a:pPr>
            <a:r>
              <a:rPr kumimoji="0" lang="en-GB" sz="2400" b="0" i="0" u="none" strike="noStrike" kern="1200" cap="none" spc="0" normalizeH="0" baseline="0" noProof="0" dirty="0">
                <a:ln>
                  <a:noFill/>
                </a:ln>
                <a:solidFill>
                  <a:srgbClr val="404040"/>
                </a:solidFill>
                <a:effectLst/>
                <a:uLnTx/>
                <a:uFillTx/>
                <a:latin typeface="Arial" panose="020B0604020202020204" pitchFamily="34" charset="0"/>
                <a:ea typeface="Calibri" panose="020F0502020204030204" pitchFamily="34" charset="0"/>
                <a:cs typeface="Lohit Devanagari"/>
              </a:rPr>
              <a:t>designing an injector versatile enough to blow material with different granulometry, fine powders, sludges and grains;</a:t>
            </a:r>
            <a:endParaRPr kumimoji="0" lang="sv-SE" sz="2400" b="0" i="0" u="none" strike="noStrike" kern="1200" cap="none" spc="0" normalizeH="0" baseline="0" noProof="0" dirty="0">
              <a:ln>
                <a:noFill/>
              </a:ln>
              <a:solidFill>
                <a:srgbClr val="404040"/>
              </a:solidFill>
              <a:effectLst/>
              <a:uLnTx/>
              <a:uFillTx/>
              <a:latin typeface="Trebuchet MS" panose="020B0603020202020204" pitchFamily="34" charset="0"/>
              <a:ea typeface="Calibri" panose="020F0502020204030204" pitchFamily="34" charset="0"/>
              <a:cs typeface="Lohit Devanagari"/>
            </a:endParaRPr>
          </a:p>
          <a:p>
            <a:pPr marL="342900" marR="0" lvl="0" indent="-342900" algn="just" defTabSz="914400" rtl="0" eaLnBrk="1" fontAlgn="auto" latinLnBrk="0" hangingPunct="1">
              <a:lnSpc>
                <a:spcPct val="125000"/>
              </a:lnSpc>
              <a:spcBef>
                <a:spcPts val="0"/>
              </a:spcBef>
              <a:spcAft>
                <a:spcPts val="1200"/>
              </a:spcAft>
              <a:buClrTx/>
              <a:buSzTx/>
              <a:buFont typeface="Symbol" panose="05050102010706020507" pitchFamily="18" charset="2"/>
              <a:buChar char=""/>
              <a:tabLst/>
              <a:defRPr/>
            </a:pPr>
            <a:r>
              <a:rPr kumimoji="0" lang="en-GB" sz="2400" b="0" i="0" u="none" strike="noStrike" kern="1200" cap="none" spc="0" normalizeH="0" baseline="0" noProof="0" dirty="0">
                <a:ln>
                  <a:noFill/>
                </a:ln>
                <a:solidFill>
                  <a:srgbClr val="404040"/>
                </a:solidFill>
                <a:effectLst/>
                <a:uLnTx/>
                <a:uFillTx/>
                <a:latin typeface="Arial" panose="020B0604020202020204" pitchFamily="34" charset="0"/>
                <a:ea typeface="Calibri" panose="020F0502020204030204" pitchFamily="34" charset="0"/>
                <a:cs typeface="Lohit Devanagari"/>
              </a:rPr>
              <a:t>establishing the optimal injection spot to the electric arc furnace (EAF). </a:t>
            </a:r>
          </a:p>
          <a:p>
            <a:pPr marL="342900" marR="0" lvl="0" indent="-342900" algn="just" defTabSz="914400" rtl="0" eaLnBrk="1" fontAlgn="auto" latinLnBrk="0" hangingPunct="1">
              <a:lnSpc>
                <a:spcPct val="125000"/>
              </a:lnSpc>
              <a:spcBef>
                <a:spcPts val="0"/>
              </a:spcBef>
              <a:spcAft>
                <a:spcPts val="1200"/>
              </a:spcAft>
              <a:buClrTx/>
              <a:buSzTx/>
              <a:buFont typeface="Symbol" panose="05050102010706020507" pitchFamily="18" charset="2"/>
              <a:buChar char=""/>
              <a:tabLst/>
              <a:defRPr/>
            </a:pPr>
            <a:r>
              <a:rPr kumimoji="0" lang="en-GB" sz="2400" b="0" i="0" u="none" strike="noStrike" kern="1200" cap="none" spc="0" normalizeH="0" baseline="0" noProof="0" dirty="0">
                <a:ln>
                  <a:noFill/>
                </a:ln>
                <a:solidFill>
                  <a:srgbClr val="404040"/>
                </a:solidFill>
                <a:effectLst/>
                <a:uLnTx/>
                <a:uFillTx/>
                <a:latin typeface="Arial" panose="020B0604020202020204" pitchFamily="34" charset="0"/>
                <a:ea typeface="Calibri" panose="020F0502020204030204" pitchFamily="34" charset="0"/>
                <a:cs typeface="Lohit Devanagari"/>
              </a:rPr>
              <a:t>leaving quality of the final product unaffected by the substitution of traditional sources. </a:t>
            </a:r>
            <a:endParaRPr kumimoji="0" lang="sv-SE" sz="2400" b="0" i="0" u="none" strike="noStrike" kern="1200" cap="none" spc="0" normalizeH="0" baseline="0" noProof="0" dirty="0">
              <a:ln>
                <a:noFill/>
              </a:ln>
              <a:solidFill>
                <a:srgbClr val="404040"/>
              </a:solidFill>
              <a:effectLst/>
              <a:uLnTx/>
              <a:uFillTx/>
              <a:latin typeface="Trebuchet MS" panose="020B0603020202020204" pitchFamily="34" charset="0"/>
              <a:ea typeface="Calibri" panose="020F0502020204030204" pitchFamily="34" charset="0"/>
              <a:cs typeface="Lohit Devanagari"/>
            </a:endParaRPr>
          </a:p>
        </p:txBody>
      </p:sp>
    </p:spTree>
    <p:extLst>
      <p:ext uri="{BB962C8B-B14F-4D97-AF65-F5344CB8AC3E}">
        <p14:creationId xmlns:p14="http://schemas.microsoft.com/office/powerpoint/2010/main" val="3263864164"/>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1" name="Picture 12">
            <a:extLst>
              <a:ext uri="{FF2B5EF4-FFF2-40B4-BE49-F238E27FC236}">
                <a16:creationId xmlns:a16="http://schemas.microsoft.com/office/drawing/2014/main" id="{43802E0E-B79D-4EA7-8141-0CA3ED138B1A}"/>
              </a:ext>
            </a:extLst>
          </p:cNvPr>
          <p:cNvPicPr>
            <a:picLocks noChangeAspect="1"/>
          </p:cNvPicPr>
          <p:nvPr/>
        </p:nvPicPr>
        <p:blipFill>
          <a:blip r:embed="rId3"/>
          <a:srcRect/>
          <a:stretch>
            <a:fillRect/>
          </a:stretch>
        </p:blipFill>
        <p:spPr>
          <a:xfrm>
            <a:off x="0" y="8959889"/>
            <a:ext cx="5715000" cy="1385887"/>
          </a:xfrm>
          <a:prstGeom prst="rect">
            <a:avLst/>
          </a:prstGeom>
        </p:spPr>
      </p:pic>
      <p:grpSp>
        <p:nvGrpSpPr>
          <p:cNvPr id="132" name="Gruppo 2">
            <a:extLst>
              <a:ext uri="{FF2B5EF4-FFF2-40B4-BE49-F238E27FC236}">
                <a16:creationId xmlns:a16="http://schemas.microsoft.com/office/drawing/2014/main" id="{649928F6-6E82-4611-9715-AD3C75457C28}"/>
              </a:ext>
            </a:extLst>
          </p:cNvPr>
          <p:cNvGrpSpPr/>
          <p:nvPr/>
        </p:nvGrpSpPr>
        <p:grpSpPr>
          <a:xfrm>
            <a:off x="-12" y="138554"/>
            <a:ext cx="18288002" cy="681138"/>
            <a:chOff x="-12" y="138554"/>
            <a:chExt cx="18288002" cy="681138"/>
          </a:xfrm>
        </p:grpSpPr>
        <p:grpSp>
          <p:nvGrpSpPr>
            <p:cNvPr id="133" name="Gruppo 1">
              <a:extLst>
                <a:ext uri="{FF2B5EF4-FFF2-40B4-BE49-F238E27FC236}">
                  <a16:creationId xmlns:a16="http://schemas.microsoft.com/office/drawing/2014/main" id="{A8EB8794-E5C6-45EB-BAEC-2778E982797A}"/>
                </a:ext>
              </a:extLst>
            </p:cNvPr>
            <p:cNvGrpSpPr/>
            <p:nvPr/>
          </p:nvGrpSpPr>
          <p:grpSpPr>
            <a:xfrm>
              <a:off x="0" y="153125"/>
              <a:ext cx="17907000" cy="666567"/>
              <a:chOff x="0" y="153125"/>
              <a:chExt cx="17907000" cy="666567"/>
            </a:xfrm>
          </p:grpSpPr>
          <p:grpSp>
            <p:nvGrpSpPr>
              <p:cNvPr id="135" name="Gruppo 15">
                <a:extLst>
                  <a:ext uri="{FF2B5EF4-FFF2-40B4-BE49-F238E27FC236}">
                    <a16:creationId xmlns:a16="http://schemas.microsoft.com/office/drawing/2014/main" id="{AB129748-9FD7-458D-BD6E-304271C1814A}"/>
                  </a:ext>
                </a:extLst>
              </p:cNvPr>
              <p:cNvGrpSpPr/>
              <p:nvPr/>
            </p:nvGrpSpPr>
            <p:grpSpPr>
              <a:xfrm>
                <a:off x="0" y="153125"/>
                <a:ext cx="13958844" cy="666567"/>
                <a:chOff x="0" y="153125"/>
                <a:chExt cx="13958844" cy="666567"/>
              </a:xfrm>
            </p:grpSpPr>
            <p:pic>
              <p:nvPicPr>
                <p:cNvPr id="137" name="Picture 136">
                  <a:extLst>
                    <a:ext uri="{FF2B5EF4-FFF2-40B4-BE49-F238E27FC236}">
                      <a16:creationId xmlns:a16="http://schemas.microsoft.com/office/drawing/2014/main" id="{88E31CFD-796F-4F3F-A1EC-0E38F9D83456}"/>
                    </a:ext>
                  </a:extLst>
                </p:cNvPr>
                <p:cNvPicPr>
                  <a:picLocks noChangeAspect="1"/>
                </p:cNvPicPr>
                <p:nvPr/>
              </p:nvPicPr>
              <p:blipFill>
                <a:blip r:embed="rId4"/>
                <a:srcRect l="134" t="91287" b="3943"/>
                <a:stretch>
                  <a:fillRect/>
                </a:stretch>
              </p:blipFill>
              <p:spPr>
                <a:xfrm>
                  <a:off x="0" y="153125"/>
                  <a:ext cx="13958844" cy="666567"/>
                </a:xfrm>
                <a:prstGeom prst="rect">
                  <a:avLst/>
                </a:prstGeom>
              </p:spPr>
            </p:pic>
            <p:sp>
              <p:nvSpPr>
                <p:cNvPr id="138" name="TextBox 137">
                  <a:extLst>
                    <a:ext uri="{FF2B5EF4-FFF2-40B4-BE49-F238E27FC236}">
                      <a16:creationId xmlns:a16="http://schemas.microsoft.com/office/drawing/2014/main" id="{7694DADD-E227-40A7-A98D-244B0D207E54}"/>
                    </a:ext>
                  </a:extLst>
                </p:cNvPr>
                <p:cNvSpPr txBox="1"/>
                <p:nvPr/>
              </p:nvSpPr>
              <p:spPr>
                <a:xfrm>
                  <a:off x="228600" y="257980"/>
                  <a:ext cx="9296400" cy="456856"/>
                </a:xfrm>
                <a:prstGeom prst="rect">
                  <a:avLst/>
                </a:prstGeom>
              </p:spPr>
              <p:txBody>
                <a:bodyPr wrap="square" lIns="0" tIns="0" rIns="0" bIns="0" rtlCol="0" anchor="t">
                  <a:spAutoFit/>
                </a:bodyPr>
                <a:lstStyle/>
                <a:p>
                  <a:pPr marL="0" marR="0" lvl="0" indent="0" algn="l" defTabSz="914400" rtl="0" eaLnBrk="1" fontAlgn="auto" latinLnBrk="0" hangingPunct="1">
                    <a:lnSpc>
                      <a:spcPts val="3919"/>
                    </a:lnSpc>
                    <a:spcBef>
                      <a:spcPct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36" name="TextBox 135">
                <a:extLst>
                  <a:ext uri="{FF2B5EF4-FFF2-40B4-BE49-F238E27FC236}">
                    <a16:creationId xmlns:a16="http://schemas.microsoft.com/office/drawing/2014/main" id="{4B3CCEBB-60EF-4175-9878-F0D51FD80FF0}"/>
                  </a:ext>
                </a:extLst>
              </p:cNvPr>
              <p:cNvSpPr txBox="1"/>
              <p:nvPr/>
            </p:nvSpPr>
            <p:spPr>
              <a:xfrm>
                <a:off x="12154296" y="257980"/>
                <a:ext cx="5752704" cy="456856"/>
              </a:xfrm>
              <a:prstGeom prst="rect">
                <a:avLst/>
              </a:prstGeom>
            </p:spPr>
            <p:txBody>
              <a:bodyPr wrap="square" lIns="0" tIns="0" rIns="0" bIns="0" rtlCol="0" anchor="t">
                <a:spAutoFit/>
              </a:bodyPr>
              <a:lstStyle/>
              <a:p>
                <a:pPr marL="0" marR="0" lvl="0" indent="0" algn="r" defTabSz="914400" rtl="0" eaLnBrk="1" fontAlgn="auto" latinLnBrk="0" hangingPunct="1">
                  <a:lnSpc>
                    <a:spcPts val="3919"/>
                  </a:lnSpc>
                  <a:spcBef>
                    <a:spcPct val="0"/>
                  </a:spcBef>
                  <a:spcAft>
                    <a:spcPts val="0"/>
                  </a:spcAft>
                  <a:buClrTx/>
                  <a:buSzTx/>
                  <a:buFontTx/>
                  <a:buNone/>
                  <a:tabLst/>
                  <a:defRPr/>
                </a:pPr>
                <a:endParaRPr kumimoji="0" lang="en-US" sz="2800" b="0" i="0" u="none" strike="noStrike" kern="1200" cap="none" spc="0" normalizeH="0" baseline="0" noProof="0">
                  <a:ln>
                    <a:noFill/>
                  </a:ln>
                  <a:solidFill>
                    <a:srgbClr val="2F2F2F">
                      <a:lumMod val="75000"/>
                      <a:lumOff val="25000"/>
                    </a:srgbClr>
                  </a:solidFill>
                  <a:effectLst/>
                  <a:uLnTx/>
                  <a:uFillTx/>
                  <a:latin typeface="Arial" panose="020B0604020202020204" pitchFamily="34" charset="0"/>
                  <a:ea typeface="+mn-ea"/>
                  <a:cs typeface="Arial" panose="020B0604020202020204" pitchFamily="34" charset="0"/>
                </a:endParaRPr>
              </a:p>
            </p:txBody>
          </p:sp>
        </p:grpSp>
        <p:sp>
          <p:nvSpPr>
            <p:cNvPr id="134" name="Rettangolo 13">
              <a:extLst>
                <a:ext uri="{FF2B5EF4-FFF2-40B4-BE49-F238E27FC236}">
                  <a16:creationId xmlns:a16="http://schemas.microsoft.com/office/drawing/2014/main" id="{8F0CF2A7-592A-4287-9206-D3289F1B0C37}"/>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pic>
        <p:nvPicPr>
          <p:cNvPr id="139" name="Picture 12">
            <a:extLst>
              <a:ext uri="{FF2B5EF4-FFF2-40B4-BE49-F238E27FC236}">
                <a16:creationId xmlns:a16="http://schemas.microsoft.com/office/drawing/2014/main" id="{F047215A-40D8-4A57-BE02-5E03FCEEBB7B}"/>
              </a:ext>
            </a:extLst>
          </p:cNvPr>
          <p:cNvPicPr>
            <a:picLocks noChangeAspect="1"/>
          </p:cNvPicPr>
          <p:nvPr/>
        </p:nvPicPr>
        <p:blipFill>
          <a:blip r:embed="rId5"/>
          <a:srcRect l="134" t="91287" b="3943"/>
          <a:stretch>
            <a:fillRect/>
          </a:stretch>
        </p:blipFill>
        <p:spPr>
          <a:xfrm rot="10800000">
            <a:off x="4329146" y="9679208"/>
            <a:ext cx="13958844" cy="666567"/>
          </a:xfrm>
          <a:prstGeom prst="rect">
            <a:avLst/>
          </a:prstGeom>
        </p:spPr>
      </p:pic>
      <p:sp>
        <p:nvSpPr>
          <p:cNvPr id="140" name="TextBox 16">
            <a:extLst>
              <a:ext uri="{FF2B5EF4-FFF2-40B4-BE49-F238E27FC236}">
                <a16:creationId xmlns:a16="http://schemas.microsoft.com/office/drawing/2014/main" id="{C693B1DB-897C-4A9D-8CF3-F1423F6CB38D}"/>
              </a:ext>
            </a:extLst>
          </p:cNvPr>
          <p:cNvSpPr txBox="1"/>
          <p:nvPr/>
        </p:nvSpPr>
        <p:spPr>
          <a:xfrm>
            <a:off x="14400019" y="9762301"/>
            <a:ext cx="3636320" cy="448713"/>
          </a:xfrm>
          <a:prstGeom prst="rect">
            <a:avLst/>
          </a:prstGeom>
        </p:spPr>
        <p:txBody>
          <a:bodyPr wrap="square" lIns="0" tIns="0" rIns="0" bIns="0" rtlCol="0" anchor="t">
            <a:spAutoFit/>
          </a:bodyPr>
          <a:lstStyle/>
          <a:p>
            <a:pPr marL="0" marR="0" lvl="0" indent="0" algn="ctr" defTabSz="914400" rtl="0" eaLnBrk="1" fontAlgn="auto" latinLnBrk="0" hangingPunct="1">
              <a:lnSpc>
                <a:spcPts val="3919"/>
              </a:lnSpc>
              <a:spcBef>
                <a:spcPct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OCR A Extended" panose="02010509020102010303" pitchFamily="50" charset="0"/>
                <a:ea typeface="+mn-ea"/>
                <a:cs typeface="+mn-cs"/>
              </a:rPr>
              <a:t>www.retrofeed.eu</a:t>
            </a:r>
          </a:p>
        </p:txBody>
      </p:sp>
      <p:sp>
        <p:nvSpPr>
          <p:cNvPr id="276" name="TextBox 275">
            <a:extLst>
              <a:ext uri="{FF2B5EF4-FFF2-40B4-BE49-F238E27FC236}">
                <a16:creationId xmlns:a16="http://schemas.microsoft.com/office/drawing/2014/main" id="{23F49CDA-BC36-C7E5-B9CD-42DA77A33D92}"/>
              </a:ext>
            </a:extLst>
          </p:cNvPr>
          <p:cNvSpPr txBox="1"/>
          <p:nvPr/>
        </p:nvSpPr>
        <p:spPr>
          <a:xfrm>
            <a:off x="909922" y="1244707"/>
            <a:ext cx="16143207" cy="107721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6400" b="1" i="0" u="none" strike="noStrike" kern="1200" cap="none" spc="0" normalizeH="0" baseline="0" noProof="0" err="1">
                <a:ln>
                  <a:noFill/>
                </a:ln>
                <a:solidFill>
                  <a:srgbClr val="CC0033"/>
                </a:solidFill>
                <a:effectLst/>
                <a:uLnTx/>
                <a:uFillTx/>
                <a:latin typeface="Arial"/>
                <a:ea typeface="+mn-ea"/>
                <a:cs typeface="Arial" panose="020B0604020202020204" pitchFamily="34" charset="0"/>
              </a:rPr>
              <a:t>Technical</a:t>
            </a:r>
            <a:r>
              <a:rPr kumimoji="0" lang="sv-SE" sz="6400" b="1" i="0" u="none" strike="noStrike" kern="1200" cap="none" spc="0" normalizeH="0" baseline="0" noProof="0">
                <a:ln>
                  <a:noFill/>
                </a:ln>
                <a:solidFill>
                  <a:srgbClr val="CC0033"/>
                </a:solidFill>
                <a:effectLst/>
                <a:uLnTx/>
                <a:uFillTx/>
                <a:latin typeface="Arial"/>
                <a:ea typeface="+mn-ea"/>
                <a:cs typeface="Arial" panose="020B0604020202020204" pitchFamily="34" charset="0"/>
              </a:rPr>
              <a:t> </a:t>
            </a:r>
            <a:r>
              <a:rPr kumimoji="0" lang="sv-SE" sz="6400" b="1" i="0" u="none" strike="noStrike" kern="1200" cap="none" spc="0" normalizeH="0" baseline="0" noProof="0" err="1">
                <a:ln>
                  <a:noFill/>
                </a:ln>
                <a:solidFill>
                  <a:srgbClr val="CC0033"/>
                </a:solidFill>
                <a:effectLst/>
                <a:uLnTx/>
                <a:uFillTx/>
                <a:latin typeface="Arial"/>
                <a:ea typeface="+mn-ea"/>
                <a:cs typeface="Arial" panose="020B0604020202020204" pitchFamily="34" charset="0"/>
              </a:rPr>
              <a:t>challenges</a:t>
            </a:r>
            <a:r>
              <a:rPr kumimoji="0" lang="sv-SE" sz="6400" b="1" i="0" u="none" strike="noStrike" kern="1200" cap="none" spc="0" normalizeH="0" baseline="0" noProof="0">
                <a:ln>
                  <a:noFill/>
                </a:ln>
                <a:solidFill>
                  <a:srgbClr val="CC0033"/>
                </a:solidFill>
                <a:effectLst/>
                <a:uLnTx/>
                <a:uFillTx/>
                <a:latin typeface="Arial"/>
                <a:ea typeface="+mn-ea"/>
                <a:cs typeface="Arial" panose="020B0604020202020204" pitchFamily="34" charset="0"/>
              </a:rPr>
              <a:t> in </a:t>
            </a:r>
            <a:r>
              <a:rPr kumimoji="0" lang="sv-SE" sz="6400" b="1" i="0" u="none" strike="noStrike" kern="1200" cap="none" spc="0" normalizeH="0" baseline="0" noProof="0" err="1">
                <a:ln>
                  <a:noFill/>
                </a:ln>
                <a:solidFill>
                  <a:srgbClr val="CC0033"/>
                </a:solidFill>
                <a:effectLst/>
                <a:uLnTx/>
                <a:uFillTx/>
                <a:latin typeface="Arial"/>
                <a:ea typeface="+mn-ea"/>
                <a:cs typeface="Arial" panose="020B0604020202020204" pitchFamily="34" charset="0"/>
              </a:rPr>
              <a:t>Silcotub</a:t>
            </a:r>
            <a:endParaRPr kumimoji="0" lang="sv-SE" sz="6400" b="1" i="0" u="none" strike="noStrike" kern="1200" cap="none" spc="0" normalizeH="0" baseline="0" noProof="0">
              <a:ln>
                <a:noFill/>
              </a:ln>
              <a:solidFill>
                <a:srgbClr val="CC0033"/>
              </a:solidFill>
              <a:effectLst/>
              <a:uLnTx/>
              <a:uFillTx/>
              <a:latin typeface="Arial"/>
              <a:ea typeface="+mn-ea"/>
              <a:cs typeface="Arial" panose="020B0604020202020204" pitchFamily="34" charset="0"/>
            </a:endParaRPr>
          </a:p>
        </p:txBody>
      </p:sp>
      <p:sp>
        <p:nvSpPr>
          <p:cNvPr id="4" name="CuadroTexto 5">
            <a:extLst>
              <a:ext uri="{FF2B5EF4-FFF2-40B4-BE49-F238E27FC236}">
                <a16:creationId xmlns:a16="http://schemas.microsoft.com/office/drawing/2014/main" id="{C9C3DE27-C019-9117-0672-217DEED4082E}"/>
              </a:ext>
            </a:extLst>
          </p:cNvPr>
          <p:cNvSpPr txBox="1"/>
          <p:nvPr/>
        </p:nvSpPr>
        <p:spPr>
          <a:xfrm>
            <a:off x="909922" y="6640861"/>
            <a:ext cx="11978244" cy="430887"/>
          </a:xfrm>
          <a:prstGeom prst="rect">
            <a:avLst/>
          </a:prstGeom>
          <a:noFill/>
        </p:spPr>
        <p:txBody>
          <a:bodyPr wrap="square" rtlCol="0">
            <a:spAutoFit/>
          </a:bodyPr>
          <a:lstStyle/>
          <a:p>
            <a:pPr marL="428625" marR="0" lvl="0" indent="-4286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2200" b="1" i="0" u="none" strike="noStrike" kern="1200" cap="none" spc="0" normalizeH="0" baseline="0" noProof="0">
              <a:ln>
                <a:noFill/>
              </a:ln>
              <a:solidFill>
                <a:srgbClr val="2F2F2F"/>
              </a:solidFill>
              <a:effectLst/>
              <a:uLnTx/>
              <a:uFillTx/>
              <a:latin typeface="Arial"/>
              <a:ea typeface="+mn-ea"/>
              <a:cs typeface="+mn-cs"/>
            </a:endParaRPr>
          </a:p>
        </p:txBody>
      </p:sp>
      <p:pic>
        <p:nvPicPr>
          <p:cNvPr id="12" name="Picture 2" descr="t_T_SB">
            <a:extLst>
              <a:ext uri="{FF2B5EF4-FFF2-40B4-BE49-F238E27FC236}">
                <a16:creationId xmlns:a16="http://schemas.microsoft.com/office/drawing/2014/main" id="{919B74B7-FA6C-76A3-E7C0-3AB2DA05EF2B}"/>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3316555" y="381552"/>
            <a:ext cx="4864659" cy="6665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6" name="Date Placeholder 3">
            <a:extLst>
              <a:ext uri="{FF2B5EF4-FFF2-40B4-BE49-F238E27FC236}">
                <a16:creationId xmlns:a16="http://schemas.microsoft.com/office/drawing/2014/main" id="{D99652AD-F6CB-4BAB-FDF6-B7ABDECE26A4}"/>
              </a:ext>
            </a:extLst>
          </p:cNvPr>
          <p:cNvSpPr>
            <a:spLocks noGrp="1"/>
          </p:cNvSpPr>
          <p:nvPr>
            <p:ph type="dt" sz="half" idx="10"/>
          </p:nvPr>
        </p:nvSpPr>
        <p:spPr>
          <a:xfrm>
            <a:off x="454564" y="6591968"/>
            <a:ext cx="21336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BBA3B42-612D-419D-A464-C04B5290E444}" type="datetime3">
              <a:rPr kumimoji="0" lang="en-US" sz="1200" b="0" i="0" u="none" strike="noStrike" kern="1200" cap="none" spc="0" normalizeH="0" baseline="0" noProof="0" smtClean="0">
                <a:ln>
                  <a:noFill/>
                </a:ln>
                <a:solidFill>
                  <a:srgbClr val="2F2F2F">
                    <a:tint val="75000"/>
                  </a:srgbClr>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 October 2023</a:t>
            </a:fld>
            <a:endParaRPr kumimoji="0" lang="en-US" sz="1200" b="0" i="0" u="none" strike="noStrike" kern="1200" cap="none" spc="0" normalizeH="0" baseline="0" noProof="0">
              <a:ln>
                <a:noFill/>
              </a:ln>
              <a:solidFill>
                <a:srgbClr val="2F2F2F">
                  <a:tint val="75000"/>
                </a:srgbClr>
              </a:solidFill>
              <a:effectLst/>
              <a:uLnTx/>
              <a:uFillTx/>
              <a:latin typeface="Arial"/>
              <a:ea typeface="+mn-ea"/>
              <a:cs typeface="+mn-cs"/>
            </a:endParaRPr>
          </a:p>
        </p:txBody>
      </p:sp>
      <p:pic>
        <p:nvPicPr>
          <p:cNvPr id="257" name="Picture 24">
            <a:extLst>
              <a:ext uri="{FF2B5EF4-FFF2-40B4-BE49-F238E27FC236}">
                <a16:creationId xmlns:a16="http://schemas.microsoft.com/office/drawing/2014/main" id="{CD0AAD38-953A-51D3-8D9F-CF00A0DEA5A6}"/>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r="15489" b="12650"/>
          <a:stretch/>
        </p:blipFill>
        <p:spPr>
          <a:xfrm rot="16200000">
            <a:off x="774874" y="6527167"/>
            <a:ext cx="2699394" cy="2495271"/>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258" name="Picture 2">
            <a:extLst>
              <a:ext uri="{FF2B5EF4-FFF2-40B4-BE49-F238E27FC236}">
                <a16:creationId xmlns:a16="http://schemas.microsoft.com/office/drawing/2014/main" id="{8412BD87-92BA-CA9D-6DAD-D90FEFA903CF}"/>
              </a:ext>
            </a:extLst>
          </p:cNvPr>
          <p:cNvPicPr>
            <a:picLocks noChangeAspect="1"/>
          </p:cNvPicPr>
          <p:nvPr/>
        </p:nvPicPr>
        <p:blipFill>
          <a:blip r:embed="rId8"/>
          <a:stretch>
            <a:fillRect/>
          </a:stretch>
        </p:blipFill>
        <p:spPr>
          <a:xfrm>
            <a:off x="6042901" y="3279189"/>
            <a:ext cx="5202616" cy="2670676"/>
          </a:xfrm>
          <a:prstGeom prst="rect">
            <a:avLst/>
          </a:prstGeom>
        </p:spPr>
      </p:pic>
      <p:pic>
        <p:nvPicPr>
          <p:cNvPr id="259" name="0DEE7C32-A6C0-4B6D-9459-58F91EA639D2" descr="IMG_7449.jpg">
            <a:extLst>
              <a:ext uri="{FF2B5EF4-FFF2-40B4-BE49-F238E27FC236}">
                <a16:creationId xmlns:a16="http://schemas.microsoft.com/office/drawing/2014/main" id="{09275F83-1033-219D-8799-D56030B4004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410930" y="6425691"/>
            <a:ext cx="3532840" cy="2703526"/>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pic>
        <p:nvPicPr>
          <p:cNvPr id="260" name="Picture 7">
            <a:extLst>
              <a:ext uri="{FF2B5EF4-FFF2-40B4-BE49-F238E27FC236}">
                <a16:creationId xmlns:a16="http://schemas.microsoft.com/office/drawing/2014/main" id="{888899A0-F578-4964-EE6F-3EC8FBE21A0C}"/>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rot="5400000">
            <a:off x="13658264" y="6220438"/>
            <a:ext cx="2707427" cy="3119035"/>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261" name="Picture 8">
            <a:extLst>
              <a:ext uri="{FF2B5EF4-FFF2-40B4-BE49-F238E27FC236}">
                <a16:creationId xmlns:a16="http://schemas.microsoft.com/office/drawing/2014/main" id="{C1B75BAC-8E54-FE8C-347B-B84FF53660C1}"/>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992303" y="6425107"/>
            <a:ext cx="3468711" cy="2699394"/>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262" name="Right Brace 9">
            <a:extLst>
              <a:ext uri="{FF2B5EF4-FFF2-40B4-BE49-F238E27FC236}">
                <a16:creationId xmlns:a16="http://schemas.microsoft.com/office/drawing/2014/main" id="{43BCF9EC-BF7F-C2A7-9F32-28061F0AD712}"/>
              </a:ext>
            </a:extLst>
          </p:cNvPr>
          <p:cNvSpPr/>
          <p:nvPr/>
        </p:nvSpPr>
        <p:spPr bwMode="auto">
          <a:xfrm rot="16200000">
            <a:off x="8813894" y="-2218320"/>
            <a:ext cx="356817" cy="16771548"/>
          </a:xfrm>
          <a:prstGeom prst="rightBrace">
            <a:avLst>
              <a:gd name="adj1" fmla="val 8333"/>
              <a:gd name="adj2" fmla="val 50000"/>
            </a:avLst>
          </a:prstGeom>
          <a:noFill/>
          <a:ln w="19050" cap="flat" cmpd="sng" algn="ctr">
            <a:solidFill>
              <a:srgbClr val="666666"/>
            </a:solidFill>
            <a:prstDash val="solid"/>
            <a:round/>
            <a:headEnd type="none" w="med" len="med"/>
            <a:tailEnd type="none" w="med" len="med"/>
          </a:ln>
          <a:effectLst/>
        </p:spPr>
        <p:txBody>
          <a:bodyPr vert="horz" wrap="square" lIns="137160" tIns="68580" rIns="137160" bIns="68580" numCol="1" rtlCol="0" anchor="t" anchorCtr="0" compatLnSpc="1">
            <a:prstTxWarp prst="textNoShape">
              <a:avLst/>
            </a:prstTxWarp>
          </a:bodyPr>
          <a:lstStyle/>
          <a:p>
            <a:pPr marL="0" marR="0" lvl="0" indent="0" algn="l" defTabSz="1371600" rtl="0" eaLnBrk="0" fontAlgn="base" latinLnBrk="0" hangingPunct="0">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2F2F2F"/>
              </a:solidFill>
              <a:effectLst/>
              <a:uLnTx/>
              <a:uFillTx/>
              <a:latin typeface="Verdana" pitchFamily="1" charset="0"/>
              <a:ea typeface="+mn-ea"/>
              <a:cs typeface="+mn-cs"/>
            </a:endParaRPr>
          </a:p>
        </p:txBody>
      </p:sp>
      <p:sp>
        <p:nvSpPr>
          <p:cNvPr id="263" name="TextBox 10">
            <a:extLst>
              <a:ext uri="{FF2B5EF4-FFF2-40B4-BE49-F238E27FC236}">
                <a16:creationId xmlns:a16="http://schemas.microsoft.com/office/drawing/2014/main" id="{5219AF9B-4AE9-AF14-FA68-B8718757A725}"/>
              </a:ext>
            </a:extLst>
          </p:cNvPr>
          <p:cNvSpPr txBox="1"/>
          <p:nvPr/>
        </p:nvSpPr>
        <p:spPr>
          <a:xfrm>
            <a:off x="815694" y="3331175"/>
            <a:ext cx="4819110" cy="2215991"/>
          </a:xfrm>
          <a:prstGeom prst="rect">
            <a:avLst/>
          </a:prstGeom>
          <a:noFill/>
          <a:ln w="6350">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o-RO" sz="2100" b="1" i="0" u="none" strike="noStrike" kern="1200" cap="none" spc="0" normalizeH="0" baseline="0" noProof="0">
                <a:ln>
                  <a:noFill/>
                </a:ln>
                <a:solidFill>
                  <a:srgbClr val="2F2F2F"/>
                </a:solidFill>
                <a:effectLst/>
                <a:uLnTx/>
                <a:uFillTx/>
                <a:latin typeface="Arial"/>
                <a:ea typeface="+mn-ea"/>
                <a:cs typeface="+mn-cs"/>
              </a:rPr>
              <a:t>Problem defini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o-RO" sz="2100" b="1" i="0" u="none" strike="noStrike" kern="1200" cap="none" spc="0" normalizeH="0" baseline="0" noProof="0">
              <a:ln>
                <a:noFill/>
              </a:ln>
              <a:solidFill>
                <a:srgbClr val="2F2F2F"/>
              </a:solidFill>
              <a:effectLst/>
              <a:uLnTx/>
              <a:uFillTx/>
              <a:latin typeface="Arial"/>
              <a:ea typeface="+mn-ea"/>
              <a:cs typeface="+mn-cs"/>
            </a:endParaRPr>
          </a:p>
          <a:p>
            <a:pPr marL="514350" marR="0" lvl="0" indent="-514350" algn="l" defTabSz="914400" rtl="0" eaLnBrk="1" fontAlgn="auto" latinLnBrk="0" hangingPunct="1">
              <a:lnSpc>
                <a:spcPct val="100000"/>
              </a:lnSpc>
              <a:spcBef>
                <a:spcPts val="0"/>
              </a:spcBef>
              <a:spcAft>
                <a:spcPts val="0"/>
              </a:spcAft>
              <a:buClrTx/>
              <a:buSzTx/>
              <a:buFontTx/>
              <a:buAutoNum type="arabicPeriod"/>
              <a:tabLst/>
              <a:defRPr/>
            </a:pPr>
            <a:r>
              <a:rPr kumimoji="0" lang="ro-RO" sz="2400" b="0" i="0" u="none" strike="noStrike" kern="1200" cap="none" spc="0" normalizeH="0" baseline="0" noProof="0">
                <a:ln>
                  <a:noFill/>
                </a:ln>
                <a:solidFill>
                  <a:srgbClr val="CC0033"/>
                </a:solidFill>
                <a:effectLst/>
                <a:uLnTx/>
                <a:uFillTx/>
                <a:latin typeface="Arial"/>
                <a:ea typeface="+mn-ea"/>
                <a:cs typeface="+mn-cs"/>
              </a:rPr>
              <a:t>Safety major events due to EAF roof water leakage.</a:t>
            </a:r>
          </a:p>
          <a:p>
            <a:pPr marL="514350" marR="0" lvl="0" indent="-514350" algn="l" defTabSz="914400" rtl="0" eaLnBrk="1" fontAlgn="auto" latinLnBrk="0" hangingPunct="1">
              <a:lnSpc>
                <a:spcPct val="100000"/>
              </a:lnSpc>
              <a:spcBef>
                <a:spcPts val="0"/>
              </a:spcBef>
              <a:spcAft>
                <a:spcPts val="0"/>
              </a:spcAft>
              <a:buClrTx/>
              <a:buSzTx/>
              <a:buFontTx/>
              <a:buAutoNum type="arabicPeriod"/>
              <a:tabLst/>
              <a:defRPr/>
            </a:pPr>
            <a:r>
              <a:rPr kumimoji="0" lang="ro-RO" sz="2400" b="0" i="0" u="none" strike="noStrike" kern="1200" cap="none" spc="0" normalizeH="0" baseline="0" noProof="0">
                <a:ln>
                  <a:noFill/>
                </a:ln>
                <a:solidFill>
                  <a:srgbClr val="CC0033"/>
                </a:solidFill>
                <a:effectLst/>
                <a:uLnTx/>
                <a:uFillTx/>
                <a:latin typeface="Arial"/>
                <a:ea typeface="+mn-ea"/>
                <a:cs typeface="+mn-cs"/>
              </a:rPr>
              <a:t>Extreme heat effect over the water cooled panels</a:t>
            </a:r>
          </a:p>
        </p:txBody>
      </p:sp>
      <p:sp>
        <p:nvSpPr>
          <p:cNvPr id="264" name="TextBox 11">
            <a:extLst>
              <a:ext uri="{FF2B5EF4-FFF2-40B4-BE49-F238E27FC236}">
                <a16:creationId xmlns:a16="http://schemas.microsoft.com/office/drawing/2014/main" id="{1ACBC046-8742-1BC0-D18F-81EAAA429D06}"/>
              </a:ext>
            </a:extLst>
          </p:cNvPr>
          <p:cNvSpPr txBox="1"/>
          <p:nvPr/>
        </p:nvSpPr>
        <p:spPr>
          <a:xfrm>
            <a:off x="11374855" y="3374625"/>
            <a:ext cx="6175207" cy="2585323"/>
          </a:xfrm>
          <a:prstGeom prst="rect">
            <a:avLst/>
          </a:prstGeom>
          <a:noFill/>
          <a:ln w="6350">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o-RO" sz="2100" b="1" i="0" u="none" strike="noStrike" kern="1200" cap="none" spc="0" normalizeH="0" baseline="0" noProof="0">
                <a:ln>
                  <a:noFill/>
                </a:ln>
                <a:solidFill>
                  <a:srgbClr val="2F2F2F"/>
                </a:solidFill>
                <a:effectLst/>
                <a:uLnTx/>
                <a:uFillTx/>
                <a:latin typeface="Arial"/>
                <a:ea typeface="+mn-ea"/>
                <a:cs typeface="+mn-cs"/>
              </a:rPr>
              <a:t>Corrective action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o-RO" sz="2100" b="1" i="0" u="none" strike="noStrike" kern="1200" cap="none" spc="0" normalizeH="0" baseline="0" noProof="0">
              <a:ln>
                <a:noFill/>
              </a:ln>
              <a:solidFill>
                <a:srgbClr val="2F2F2F"/>
              </a:solidFill>
              <a:effectLst/>
              <a:uLnTx/>
              <a:uFillTx/>
              <a:latin typeface="Arial"/>
              <a:ea typeface="+mn-ea"/>
              <a:cs typeface="+mn-cs"/>
            </a:endParaRPr>
          </a:p>
          <a:p>
            <a:pPr marL="514350" marR="0" lvl="0" indent="-514350" algn="l" defTabSz="914400" rtl="0" eaLnBrk="1" fontAlgn="auto" latinLnBrk="0" hangingPunct="1">
              <a:lnSpc>
                <a:spcPct val="100000"/>
              </a:lnSpc>
              <a:spcBef>
                <a:spcPts val="0"/>
              </a:spcBef>
              <a:spcAft>
                <a:spcPts val="0"/>
              </a:spcAft>
              <a:buClrTx/>
              <a:buSzTx/>
              <a:buFontTx/>
              <a:buAutoNum type="arabicPeriod"/>
              <a:tabLst/>
              <a:defRPr/>
            </a:pPr>
            <a:r>
              <a:rPr kumimoji="0" lang="ro-RO" sz="2400" b="0" i="0" u="none" strike="noStrike" kern="1200" cap="none" spc="0" normalizeH="0" baseline="0" noProof="0">
                <a:ln>
                  <a:noFill/>
                </a:ln>
                <a:solidFill>
                  <a:srgbClr val="99CC99"/>
                </a:solidFill>
                <a:effectLst/>
                <a:uLnTx/>
                <a:uFillTx/>
                <a:latin typeface="Arial"/>
                <a:ea typeface="+mn-ea"/>
                <a:cs typeface="+mn-cs"/>
              </a:rPr>
              <a:t>Increase PoliJet angle from 43º to 45º</a:t>
            </a:r>
          </a:p>
          <a:p>
            <a:pPr marL="514350" marR="0" lvl="0" indent="-514350" algn="l" defTabSz="914400" rtl="0" eaLnBrk="1" fontAlgn="auto" latinLnBrk="0" hangingPunct="1">
              <a:lnSpc>
                <a:spcPct val="100000"/>
              </a:lnSpc>
              <a:spcBef>
                <a:spcPts val="0"/>
              </a:spcBef>
              <a:spcAft>
                <a:spcPts val="0"/>
              </a:spcAft>
              <a:buClrTx/>
              <a:buSzTx/>
              <a:buFontTx/>
              <a:buAutoNum type="arabicPeriod"/>
              <a:tabLst/>
              <a:defRPr/>
            </a:pPr>
            <a:r>
              <a:rPr kumimoji="0" lang="ro-RO" sz="2400" b="0" i="0" u="none" strike="noStrike" kern="1200" cap="none" spc="0" normalizeH="0" baseline="0" noProof="0">
                <a:ln>
                  <a:noFill/>
                </a:ln>
                <a:solidFill>
                  <a:srgbClr val="99CC99"/>
                </a:solidFill>
                <a:effectLst/>
                <a:uLnTx/>
                <a:uFillTx/>
                <a:latin typeface="Arial"/>
                <a:ea typeface="+mn-ea"/>
                <a:cs typeface="+mn-cs"/>
              </a:rPr>
              <a:t>Reduce injection intensity during Refining</a:t>
            </a:r>
          </a:p>
          <a:p>
            <a:pPr marL="514350" marR="0" lvl="0" indent="-514350" algn="l" defTabSz="914400" rtl="0" eaLnBrk="1" fontAlgn="auto" latinLnBrk="0" hangingPunct="1">
              <a:lnSpc>
                <a:spcPct val="100000"/>
              </a:lnSpc>
              <a:spcBef>
                <a:spcPts val="0"/>
              </a:spcBef>
              <a:spcAft>
                <a:spcPts val="0"/>
              </a:spcAft>
              <a:buClrTx/>
              <a:buSzTx/>
              <a:buFontTx/>
              <a:buAutoNum type="arabicPeriod"/>
              <a:tabLst/>
              <a:defRPr/>
            </a:pPr>
            <a:r>
              <a:rPr kumimoji="0" lang="ro-RO" sz="2400" b="0" i="0" u="none" strike="noStrike" kern="1200" cap="none" spc="0" normalizeH="0" baseline="0" noProof="0">
                <a:ln>
                  <a:noFill/>
                </a:ln>
                <a:solidFill>
                  <a:srgbClr val="99CC99"/>
                </a:solidFill>
                <a:effectLst/>
                <a:uLnTx/>
                <a:uFillTx/>
                <a:latin typeface="Arial"/>
                <a:ea typeface="+mn-ea"/>
                <a:cs typeface="+mn-cs"/>
              </a:rPr>
              <a:t>Anticipate rubber injection during Melting</a:t>
            </a:r>
          </a:p>
        </p:txBody>
      </p:sp>
      <p:sp>
        <p:nvSpPr>
          <p:cNvPr id="266" name="textruta 265">
            <a:extLst>
              <a:ext uri="{FF2B5EF4-FFF2-40B4-BE49-F238E27FC236}">
                <a16:creationId xmlns:a16="http://schemas.microsoft.com/office/drawing/2014/main" id="{DCDB0302-F9D9-BE47-F2B1-18D3592A749D}"/>
              </a:ext>
            </a:extLst>
          </p:cNvPr>
          <p:cNvSpPr txBox="1"/>
          <p:nvPr/>
        </p:nvSpPr>
        <p:spPr>
          <a:xfrm>
            <a:off x="815694" y="2358015"/>
            <a:ext cx="14985780"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2400" b="0" i="0" u="none" strike="noStrike" kern="1200" cap="none" spc="0" normalizeH="0" baseline="0" noProof="0" err="1">
                <a:ln>
                  <a:noFill/>
                </a:ln>
                <a:solidFill>
                  <a:srgbClr val="2F2F2F"/>
                </a:solidFill>
                <a:effectLst/>
                <a:uLnTx/>
                <a:uFillTx/>
                <a:latin typeface="Arial"/>
                <a:ea typeface="+mn-ea"/>
                <a:cs typeface="+mn-cs"/>
              </a:rPr>
              <a:t>Technical</a:t>
            </a:r>
            <a:r>
              <a:rPr kumimoji="0" lang="sv-SE" sz="2400" b="0" i="0" u="none" strike="noStrike" kern="1200" cap="none" spc="0" normalizeH="0" baseline="0" noProof="0">
                <a:ln>
                  <a:noFill/>
                </a:ln>
                <a:solidFill>
                  <a:srgbClr val="2F2F2F"/>
                </a:solidFill>
                <a:effectLst/>
                <a:uLnTx/>
                <a:uFillTx/>
                <a:latin typeface="Arial"/>
                <a:ea typeface="+mn-ea"/>
                <a:cs typeface="+mn-cs"/>
              </a:rPr>
              <a:t> </a:t>
            </a:r>
            <a:r>
              <a:rPr kumimoji="0" lang="sv-SE" sz="2400" b="0" i="0" u="none" strike="noStrike" kern="1200" cap="none" spc="0" normalizeH="0" baseline="0" noProof="0" err="1">
                <a:ln>
                  <a:noFill/>
                </a:ln>
                <a:solidFill>
                  <a:srgbClr val="2F2F2F"/>
                </a:solidFill>
                <a:effectLst/>
                <a:uLnTx/>
                <a:uFillTx/>
                <a:latin typeface="Arial"/>
                <a:ea typeface="+mn-ea"/>
                <a:cs typeface="+mn-cs"/>
              </a:rPr>
              <a:t>challenge</a:t>
            </a:r>
            <a:r>
              <a:rPr kumimoji="0" lang="sv-SE" sz="2400" b="0" i="0" u="none" strike="noStrike" kern="1200" cap="none" spc="0" normalizeH="0" baseline="0" noProof="0">
                <a:ln>
                  <a:noFill/>
                </a:ln>
                <a:solidFill>
                  <a:srgbClr val="2F2F2F"/>
                </a:solidFill>
                <a:effectLst/>
                <a:uLnTx/>
                <a:uFillTx/>
                <a:latin typeface="Arial"/>
                <a:ea typeface="+mn-ea"/>
                <a:cs typeface="+mn-cs"/>
              </a:rPr>
              <a:t> </a:t>
            </a:r>
            <a:r>
              <a:rPr kumimoji="0" lang="sv-SE" sz="2400" b="0" i="0" u="none" strike="noStrike" kern="1200" cap="none" spc="0" normalizeH="0" baseline="0" noProof="0" err="1">
                <a:ln>
                  <a:noFill/>
                </a:ln>
                <a:solidFill>
                  <a:srgbClr val="2F2F2F"/>
                </a:solidFill>
                <a:effectLst/>
                <a:uLnTx/>
                <a:uFillTx/>
                <a:latin typeface="Arial"/>
                <a:ea typeface="+mn-ea"/>
                <a:cs typeface="+mn-cs"/>
              </a:rPr>
              <a:t>with</a:t>
            </a:r>
            <a:r>
              <a:rPr kumimoji="0" lang="sv-SE" sz="2400" b="0" i="0" u="none" strike="noStrike" kern="1200" cap="none" spc="0" normalizeH="0" baseline="0" noProof="0">
                <a:ln>
                  <a:noFill/>
                </a:ln>
                <a:solidFill>
                  <a:srgbClr val="2F2F2F"/>
                </a:solidFill>
                <a:effectLst/>
                <a:uLnTx/>
                <a:uFillTx/>
                <a:latin typeface="Arial"/>
                <a:ea typeface="+mn-ea"/>
                <a:cs typeface="+mn-cs"/>
              </a:rPr>
              <a:t> the </a:t>
            </a:r>
            <a:r>
              <a:rPr kumimoji="0" lang="sv-SE" sz="2400" b="0" i="0" u="none" strike="noStrike" kern="1200" cap="none" spc="0" normalizeH="0" baseline="0" noProof="0" err="1">
                <a:ln>
                  <a:noFill/>
                </a:ln>
                <a:solidFill>
                  <a:srgbClr val="2F2F2F"/>
                </a:solidFill>
                <a:effectLst/>
                <a:uLnTx/>
                <a:uFillTx/>
                <a:latin typeface="Arial"/>
                <a:ea typeface="+mn-ea"/>
                <a:cs typeface="+mn-cs"/>
              </a:rPr>
              <a:t>rubber</a:t>
            </a:r>
            <a:r>
              <a:rPr kumimoji="0" lang="sv-SE" sz="2400" b="0" i="0" u="none" strike="noStrike" kern="1200" cap="none" spc="0" normalizeH="0" baseline="0" noProof="0">
                <a:ln>
                  <a:noFill/>
                </a:ln>
                <a:solidFill>
                  <a:srgbClr val="2F2F2F"/>
                </a:solidFill>
                <a:effectLst/>
                <a:uLnTx/>
                <a:uFillTx/>
                <a:latin typeface="Arial"/>
                <a:ea typeface="+mn-ea"/>
                <a:cs typeface="+mn-cs"/>
              </a:rPr>
              <a:t> </a:t>
            </a:r>
            <a:r>
              <a:rPr kumimoji="0" lang="sv-SE" sz="2400" b="0" i="0" u="none" strike="noStrike" kern="1200" cap="none" spc="0" normalizeH="0" baseline="0" noProof="0" err="1">
                <a:ln>
                  <a:noFill/>
                </a:ln>
                <a:solidFill>
                  <a:srgbClr val="2F2F2F"/>
                </a:solidFill>
                <a:effectLst/>
                <a:uLnTx/>
                <a:uFillTx/>
                <a:latin typeface="Arial"/>
                <a:ea typeface="+mn-ea"/>
                <a:cs typeface="+mn-cs"/>
              </a:rPr>
              <a:t>injection</a:t>
            </a:r>
            <a:r>
              <a:rPr kumimoji="0" lang="sv-SE" sz="2400" b="0" i="0" u="none" strike="noStrike" kern="1200" cap="none" spc="0" normalizeH="0" baseline="0" noProof="0">
                <a:ln>
                  <a:noFill/>
                </a:ln>
                <a:solidFill>
                  <a:srgbClr val="2F2F2F"/>
                </a:solidFill>
                <a:effectLst/>
                <a:uLnTx/>
                <a:uFillTx/>
                <a:latin typeface="Arial"/>
                <a:ea typeface="+mn-ea"/>
                <a:cs typeface="+mn-cs"/>
              </a:rPr>
              <a:t>.</a:t>
            </a:r>
            <a:r>
              <a:rPr kumimoji="0" 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a:t>
            </a:r>
            <a:endParaRPr kumimoji="0" lang="sv-SE" sz="2400" b="0" i="0" u="none" strike="noStrike" kern="1200" cap="none" spc="0" normalizeH="0" baseline="0" noProof="0">
              <a:ln>
                <a:noFill/>
              </a:ln>
              <a:solidFill>
                <a:srgbClr val="2F2F2F"/>
              </a:solidFill>
              <a:effectLst/>
              <a:uLnTx/>
              <a:uFillTx/>
              <a:latin typeface="Arial"/>
              <a:ea typeface="+mn-ea"/>
              <a:cs typeface="+mn-cs"/>
            </a:endParaRPr>
          </a:p>
        </p:txBody>
      </p:sp>
    </p:spTree>
    <p:extLst>
      <p:ext uri="{BB962C8B-B14F-4D97-AF65-F5344CB8AC3E}">
        <p14:creationId xmlns:p14="http://schemas.microsoft.com/office/powerpoint/2010/main" val="2940625385"/>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1" name="Picture 12">
            <a:extLst>
              <a:ext uri="{FF2B5EF4-FFF2-40B4-BE49-F238E27FC236}">
                <a16:creationId xmlns:a16="http://schemas.microsoft.com/office/drawing/2014/main" id="{43802E0E-B79D-4EA7-8141-0CA3ED138B1A}"/>
              </a:ext>
            </a:extLst>
          </p:cNvPr>
          <p:cNvPicPr>
            <a:picLocks noChangeAspect="1"/>
          </p:cNvPicPr>
          <p:nvPr/>
        </p:nvPicPr>
        <p:blipFill>
          <a:blip r:embed="rId3"/>
          <a:srcRect/>
          <a:stretch>
            <a:fillRect/>
          </a:stretch>
        </p:blipFill>
        <p:spPr>
          <a:xfrm>
            <a:off x="0" y="8959889"/>
            <a:ext cx="5715000" cy="1385887"/>
          </a:xfrm>
          <a:prstGeom prst="rect">
            <a:avLst/>
          </a:prstGeom>
        </p:spPr>
      </p:pic>
      <p:grpSp>
        <p:nvGrpSpPr>
          <p:cNvPr id="132" name="Gruppo 2">
            <a:extLst>
              <a:ext uri="{FF2B5EF4-FFF2-40B4-BE49-F238E27FC236}">
                <a16:creationId xmlns:a16="http://schemas.microsoft.com/office/drawing/2014/main" id="{649928F6-6E82-4611-9715-AD3C75457C28}"/>
              </a:ext>
            </a:extLst>
          </p:cNvPr>
          <p:cNvGrpSpPr/>
          <p:nvPr/>
        </p:nvGrpSpPr>
        <p:grpSpPr>
          <a:xfrm>
            <a:off x="-12" y="138554"/>
            <a:ext cx="18288002" cy="681138"/>
            <a:chOff x="-12" y="138554"/>
            <a:chExt cx="18288002" cy="681138"/>
          </a:xfrm>
        </p:grpSpPr>
        <p:grpSp>
          <p:nvGrpSpPr>
            <p:cNvPr id="133" name="Gruppo 1">
              <a:extLst>
                <a:ext uri="{FF2B5EF4-FFF2-40B4-BE49-F238E27FC236}">
                  <a16:creationId xmlns:a16="http://schemas.microsoft.com/office/drawing/2014/main" id="{A8EB8794-E5C6-45EB-BAEC-2778E982797A}"/>
                </a:ext>
              </a:extLst>
            </p:cNvPr>
            <p:cNvGrpSpPr/>
            <p:nvPr/>
          </p:nvGrpSpPr>
          <p:grpSpPr>
            <a:xfrm>
              <a:off x="0" y="153125"/>
              <a:ext cx="17907000" cy="666567"/>
              <a:chOff x="0" y="153125"/>
              <a:chExt cx="17907000" cy="666567"/>
            </a:xfrm>
          </p:grpSpPr>
          <p:grpSp>
            <p:nvGrpSpPr>
              <p:cNvPr id="135" name="Gruppo 15">
                <a:extLst>
                  <a:ext uri="{FF2B5EF4-FFF2-40B4-BE49-F238E27FC236}">
                    <a16:creationId xmlns:a16="http://schemas.microsoft.com/office/drawing/2014/main" id="{AB129748-9FD7-458D-BD6E-304271C1814A}"/>
                  </a:ext>
                </a:extLst>
              </p:cNvPr>
              <p:cNvGrpSpPr/>
              <p:nvPr/>
            </p:nvGrpSpPr>
            <p:grpSpPr>
              <a:xfrm>
                <a:off x="0" y="153125"/>
                <a:ext cx="13958844" cy="666567"/>
                <a:chOff x="0" y="153125"/>
                <a:chExt cx="13958844" cy="666567"/>
              </a:xfrm>
            </p:grpSpPr>
            <p:pic>
              <p:nvPicPr>
                <p:cNvPr id="137" name="Picture 136">
                  <a:extLst>
                    <a:ext uri="{FF2B5EF4-FFF2-40B4-BE49-F238E27FC236}">
                      <a16:creationId xmlns:a16="http://schemas.microsoft.com/office/drawing/2014/main" id="{88E31CFD-796F-4F3F-A1EC-0E38F9D83456}"/>
                    </a:ext>
                  </a:extLst>
                </p:cNvPr>
                <p:cNvPicPr>
                  <a:picLocks noChangeAspect="1"/>
                </p:cNvPicPr>
                <p:nvPr/>
              </p:nvPicPr>
              <p:blipFill>
                <a:blip r:embed="rId4"/>
                <a:srcRect l="134" t="91287" b="3943"/>
                <a:stretch>
                  <a:fillRect/>
                </a:stretch>
              </p:blipFill>
              <p:spPr>
                <a:xfrm>
                  <a:off x="0" y="153125"/>
                  <a:ext cx="13958844" cy="666567"/>
                </a:xfrm>
                <a:prstGeom prst="rect">
                  <a:avLst/>
                </a:prstGeom>
              </p:spPr>
            </p:pic>
            <p:sp>
              <p:nvSpPr>
                <p:cNvPr id="138" name="TextBox 137">
                  <a:extLst>
                    <a:ext uri="{FF2B5EF4-FFF2-40B4-BE49-F238E27FC236}">
                      <a16:creationId xmlns:a16="http://schemas.microsoft.com/office/drawing/2014/main" id="{7694DADD-E227-40A7-A98D-244B0D207E54}"/>
                    </a:ext>
                  </a:extLst>
                </p:cNvPr>
                <p:cNvSpPr txBox="1"/>
                <p:nvPr/>
              </p:nvSpPr>
              <p:spPr>
                <a:xfrm>
                  <a:off x="228600" y="257980"/>
                  <a:ext cx="9296400" cy="456856"/>
                </a:xfrm>
                <a:prstGeom prst="rect">
                  <a:avLst/>
                </a:prstGeom>
              </p:spPr>
              <p:txBody>
                <a:bodyPr wrap="square" lIns="0" tIns="0" rIns="0" bIns="0" rtlCol="0" anchor="t">
                  <a:spAutoFit/>
                </a:bodyPr>
                <a:lstStyle/>
                <a:p>
                  <a:pPr marL="0" marR="0" lvl="0" indent="0" algn="l" defTabSz="914400" rtl="0" eaLnBrk="1" fontAlgn="auto" latinLnBrk="0" hangingPunct="1">
                    <a:lnSpc>
                      <a:spcPts val="3919"/>
                    </a:lnSpc>
                    <a:spcBef>
                      <a:spcPct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36" name="TextBox 135">
                <a:extLst>
                  <a:ext uri="{FF2B5EF4-FFF2-40B4-BE49-F238E27FC236}">
                    <a16:creationId xmlns:a16="http://schemas.microsoft.com/office/drawing/2014/main" id="{4B3CCEBB-60EF-4175-9878-F0D51FD80FF0}"/>
                  </a:ext>
                </a:extLst>
              </p:cNvPr>
              <p:cNvSpPr txBox="1"/>
              <p:nvPr/>
            </p:nvSpPr>
            <p:spPr>
              <a:xfrm>
                <a:off x="12154296" y="257980"/>
                <a:ext cx="5752704" cy="456856"/>
              </a:xfrm>
              <a:prstGeom prst="rect">
                <a:avLst/>
              </a:prstGeom>
            </p:spPr>
            <p:txBody>
              <a:bodyPr wrap="square" lIns="0" tIns="0" rIns="0" bIns="0" rtlCol="0" anchor="t">
                <a:spAutoFit/>
              </a:bodyPr>
              <a:lstStyle/>
              <a:p>
                <a:pPr marL="0" marR="0" lvl="0" indent="0" algn="r" defTabSz="914400" rtl="0" eaLnBrk="1" fontAlgn="auto" latinLnBrk="0" hangingPunct="1">
                  <a:lnSpc>
                    <a:spcPts val="3919"/>
                  </a:lnSpc>
                  <a:spcBef>
                    <a:spcPct val="0"/>
                  </a:spcBef>
                  <a:spcAft>
                    <a:spcPts val="0"/>
                  </a:spcAft>
                  <a:buClrTx/>
                  <a:buSzTx/>
                  <a:buFontTx/>
                  <a:buNone/>
                  <a:tabLst/>
                  <a:defRPr/>
                </a:pPr>
                <a:endParaRPr kumimoji="0" lang="en-US" sz="2800" b="0" i="0" u="none" strike="noStrike" kern="1200" cap="none" spc="0" normalizeH="0" baseline="0" noProof="0">
                  <a:ln>
                    <a:noFill/>
                  </a:ln>
                  <a:solidFill>
                    <a:srgbClr val="2F2F2F">
                      <a:lumMod val="75000"/>
                      <a:lumOff val="25000"/>
                    </a:srgbClr>
                  </a:solidFill>
                  <a:effectLst/>
                  <a:uLnTx/>
                  <a:uFillTx/>
                  <a:latin typeface="Arial" panose="020B0604020202020204" pitchFamily="34" charset="0"/>
                  <a:ea typeface="+mn-ea"/>
                  <a:cs typeface="Arial" panose="020B0604020202020204" pitchFamily="34" charset="0"/>
                </a:endParaRPr>
              </a:p>
            </p:txBody>
          </p:sp>
        </p:grpSp>
        <p:sp>
          <p:nvSpPr>
            <p:cNvPr id="134" name="Rettangolo 13">
              <a:extLst>
                <a:ext uri="{FF2B5EF4-FFF2-40B4-BE49-F238E27FC236}">
                  <a16:creationId xmlns:a16="http://schemas.microsoft.com/office/drawing/2014/main" id="{8F0CF2A7-592A-4287-9206-D3289F1B0C37}"/>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pic>
        <p:nvPicPr>
          <p:cNvPr id="139" name="Picture 12">
            <a:extLst>
              <a:ext uri="{FF2B5EF4-FFF2-40B4-BE49-F238E27FC236}">
                <a16:creationId xmlns:a16="http://schemas.microsoft.com/office/drawing/2014/main" id="{F047215A-40D8-4A57-BE02-5E03FCEEBB7B}"/>
              </a:ext>
            </a:extLst>
          </p:cNvPr>
          <p:cNvPicPr>
            <a:picLocks noChangeAspect="1"/>
          </p:cNvPicPr>
          <p:nvPr/>
        </p:nvPicPr>
        <p:blipFill>
          <a:blip r:embed="rId5"/>
          <a:srcRect l="134" t="91287" b="3943"/>
          <a:stretch>
            <a:fillRect/>
          </a:stretch>
        </p:blipFill>
        <p:spPr>
          <a:xfrm rot="10800000">
            <a:off x="4329146" y="9679208"/>
            <a:ext cx="13958844" cy="666567"/>
          </a:xfrm>
          <a:prstGeom prst="rect">
            <a:avLst/>
          </a:prstGeom>
        </p:spPr>
      </p:pic>
      <p:sp>
        <p:nvSpPr>
          <p:cNvPr id="140" name="TextBox 16">
            <a:extLst>
              <a:ext uri="{FF2B5EF4-FFF2-40B4-BE49-F238E27FC236}">
                <a16:creationId xmlns:a16="http://schemas.microsoft.com/office/drawing/2014/main" id="{C693B1DB-897C-4A9D-8CF3-F1423F6CB38D}"/>
              </a:ext>
            </a:extLst>
          </p:cNvPr>
          <p:cNvSpPr txBox="1"/>
          <p:nvPr/>
        </p:nvSpPr>
        <p:spPr>
          <a:xfrm>
            <a:off x="14400019" y="9762301"/>
            <a:ext cx="3636320" cy="448713"/>
          </a:xfrm>
          <a:prstGeom prst="rect">
            <a:avLst/>
          </a:prstGeom>
        </p:spPr>
        <p:txBody>
          <a:bodyPr wrap="square" lIns="0" tIns="0" rIns="0" bIns="0" rtlCol="0" anchor="t">
            <a:spAutoFit/>
          </a:bodyPr>
          <a:lstStyle/>
          <a:p>
            <a:pPr marL="0" marR="0" lvl="0" indent="0" algn="ctr" defTabSz="914400" rtl="0" eaLnBrk="1" fontAlgn="auto" latinLnBrk="0" hangingPunct="1">
              <a:lnSpc>
                <a:spcPts val="3919"/>
              </a:lnSpc>
              <a:spcBef>
                <a:spcPct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OCR A Extended" panose="02010509020102010303" pitchFamily="50" charset="0"/>
                <a:ea typeface="+mn-ea"/>
                <a:cs typeface="+mn-cs"/>
              </a:rPr>
              <a:t>www.retrofeed.eu</a:t>
            </a:r>
          </a:p>
        </p:txBody>
      </p:sp>
      <p:sp>
        <p:nvSpPr>
          <p:cNvPr id="276" name="TextBox 275">
            <a:extLst>
              <a:ext uri="{FF2B5EF4-FFF2-40B4-BE49-F238E27FC236}">
                <a16:creationId xmlns:a16="http://schemas.microsoft.com/office/drawing/2014/main" id="{23F49CDA-BC36-C7E5-B9CD-42DA77A33D92}"/>
              </a:ext>
            </a:extLst>
          </p:cNvPr>
          <p:cNvSpPr txBox="1"/>
          <p:nvPr/>
        </p:nvSpPr>
        <p:spPr>
          <a:xfrm>
            <a:off x="909922" y="1244707"/>
            <a:ext cx="16143207" cy="107721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6400" b="1" i="0" u="none" strike="noStrike" kern="1200" cap="none" spc="0" normalizeH="0" baseline="0" noProof="0" dirty="0" err="1">
                <a:ln>
                  <a:noFill/>
                </a:ln>
                <a:solidFill>
                  <a:srgbClr val="CC0033"/>
                </a:solidFill>
                <a:effectLst/>
                <a:uLnTx/>
                <a:uFillTx/>
                <a:latin typeface="Arial"/>
                <a:ea typeface="+mn-ea"/>
                <a:cs typeface="Arial" panose="020B0604020202020204" pitchFamily="34" charset="0"/>
              </a:rPr>
              <a:t>Technical</a:t>
            </a:r>
            <a:r>
              <a:rPr kumimoji="0" lang="sv-SE" sz="6400" b="1" i="0" u="none" strike="noStrike" kern="1200" cap="none" spc="0" normalizeH="0" baseline="0" noProof="0" dirty="0">
                <a:ln>
                  <a:noFill/>
                </a:ln>
                <a:solidFill>
                  <a:srgbClr val="CC0033"/>
                </a:solidFill>
                <a:effectLst/>
                <a:uLnTx/>
                <a:uFillTx/>
                <a:latin typeface="Arial"/>
                <a:ea typeface="+mn-ea"/>
                <a:cs typeface="Arial" panose="020B0604020202020204" pitchFamily="34" charset="0"/>
              </a:rPr>
              <a:t> </a:t>
            </a:r>
            <a:r>
              <a:rPr kumimoji="0" lang="sv-SE" sz="6400" b="1" i="0" u="none" strike="noStrike" kern="1200" cap="none" spc="0" normalizeH="0" baseline="0" noProof="0" dirty="0" err="1">
                <a:ln>
                  <a:noFill/>
                </a:ln>
                <a:solidFill>
                  <a:srgbClr val="CC0033"/>
                </a:solidFill>
                <a:effectLst/>
                <a:uLnTx/>
                <a:uFillTx/>
                <a:latin typeface="Arial"/>
                <a:ea typeface="+mn-ea"/>
                <a:cs typeface="Arial" panose="020B0604020202020204" pitchFamily="34" charset="0"/>
              </a:rPr>
              <a:t>challenges</a:t>
            </a:r>
            <a:r>
              <a:rPr kumimoji="0" lang="sv-SE" sz="6400" b="1" i="0" u="none" strike="noStrike" kern="1200" cap="none" spc="0" normalizeH="0" baseline="0" noProof="0" dirty="0">
                <a:ln>
                  <a:noFill/>
                </a:ln>
                <a:solidFill>
                  <a:srgbClr val="CC0033"/>
                </a:solidFill>
                <a:effectLst/>
                <a:uLnTx/>
                <a:uFillTx/>
                <a:latin typeface="Arial"/>
                <a:ea typeface="+mn-ea"/>
                <a:cs typeface="Arial" panose="020B0604020202020204" pitchFamily="34" charset="0"/>
              </a:rPr>
              <a:t> in cement </a:t>
            </a:r>
            <a:r>
              <a:rPr kumimoji="0" lang="sv-SE" sz="6400" b="1" i="0" u="none" strike="noStrike" kern="1200" cap="none" spc="0" normalizeH="0" baseline="0" noProof="0" dirty="0" err="1">
                <a:ln>
                  <a:noFill/>
                </a:ln>
                <a:solidFill>
                  <a:srgbClr val="CC0033"/>
                </a:solidFill>
                <a:effectLst/>
                <a:uLnTx/>
                <a:uFillTx/>
                <a:latin typeface="Arial"/>
                <a:ea typeface="+mn-ea"/>
                <a:cs typeface="Arial" panose="020B0604020202020204" pitchFamily="34" charset="0"/>
              </a:rPr>
              <a:t>industry</a:t>
            </a:r>
            <a:endParaRPr kumimoji="0" lang="sv-SE" sz="6400" b="1" i="0" u="none" strike="noStrike" kern="1200" cap="none" spc="0" normalizeH="0" baseline="0" noProof="0" dirty="0">
              <a:ln>
                <a:noFill/>
              </a:ln>
              <a:solidFill>
                <a:srgbClr val="CC0033"/>
              </a:solidFill>
              <a:effectLst/>
              <a:uLnTx/>
              <a:uFillTx/>
              <a:latin typeface="Arial"/>
              <a:ea typeface="+mn-ea"/>
              <a:cs typeface="Arial" panose="020B0604020202020204" pitchFamily="34" charset="0"/>
            </a:endParaRPr>
          </a:p>
        </p:txBody>
      </p:sp>
      <p:sp>
        <p:nvSpPr>
          <p:cNvPr id="8" name="TextBox 3">
            <a:extLst>
              <a:ext uri="{FF2B5EF4-FFF2-40B4-BE49-F238E27FC236}">
                <a16:creationId xmlns:a16="http://schemas.microsoft.com/office/drawing/2014/main" id="{53845E48-D42B-9D4A-DCD9-ECFEBBEDF273}"/>
              </a:ext>
            </a:extLst>
          </p:cNvPr>
          <p:cNvSpPr txBox="1"/>
          <p:nvPr/>
        </p:nvSpPr>
        <p:spPr>
          <a:xfrm>
            <a:off x="909922" y="2746940"/>
            <a:ext cx="16506208" cy="4401974"/>
          </a:xfrm>
          <a:prstGeom prst="rect">
            <a:avLst/>
          </a:prstGeom>
          <a:noFill/>
        </p:spPr>
        <p:txBody>
          <a:bodyPr wrap="square">
            <a:spAutoFit/>
          </a:bodyPr>
          <a:lstStyle/>
          <a:p>
            <a:r>
              <a:rPr lang="en-US" sz="2800" b="1" dirty="0">
                <a:solidFill>
                  <a:srgbClr val="CC0033"/>
                </a:solidFill>
                <a:latin typeface="Arial" panose="020B0604020202020204" pitchFamily="34" charset="0"/>
                <a:cs typeface="Arial" panose="020B0604020202020204" pitchFamily="34" charset="0"/>
              </a:rPr>
              <a:t>The major </a:t>
            </a:r>
            <a:r>
              <a:rPr lang="en-GB" sz="2800" b="1" dirty="0">
                <a:solidFill>
                  <a:srgbClr val="CC0033"/>
                </a:solidFill>
                <a:latin typeface="Arial" panose="020B0604020202020204" pitchFamily="34" charset="0"/>
                <a:cs typeface="Arial" panose="020B0604020202020204" pitchFamily="34" charset="0"/>
              </a:rPr>
              <a:t>technical challenges faced in </a:t>
            </a:r>
            <a:r>
              <a:rPr lang="en-GB" sz="2800" b="1" dirty="0" err="1">
                <a:solidFill>
                  <a:srgbClr val="CC0033"/>
                </a:solidFill>
                <a:latin typeface="Arial" panose="020B0604020202020204" pitchFamily="34" charset="0"/>
                <a:cs typeface="Arial" panose="020B0604020202020204" pitchFamily="34" charset="0"/>
              </a:rPr>
              <a:t>Secil</a:t>
            </a:r>
            <a:r>
              <a:rPr lang="en-GB" sz="2800" b="1" dirty="0">
                <a:solidFill>
                  <a:srgbClr val="CC0033"/>
                </a:solidFill>
                <a:latin typeface="Arial" panose="020B0604020202020204" pitchFamily="34" charset="0"/>
                <a:cs typeface="Arial" panose="020B0604020202020204" pitchFamily="34" charset="0"/>
              </a:rPr>
              <a:t> demo-site:</a:t>
            </a:r>
          </a:p>
          <a:p>
            <a:pPr marL="342900" marR="0" lvl="0" indent="-342900" algn="just" defTabSz="914400" rtl="0" eaLnBrk="1" fontAlgn="auto" latinLnBrk="0" hangingPunct="1">
              <a:lnSpc>
                <a:spcPct val="125000"/>
              </a:lnSpc>
              <a:spcBef>
                <a:spcPts val="600"/>
              </a:spcBef>
              <a:spcAft>
                <a:spcPts val="1200"/>
              </a:spcAft>
              <a:buClrTx/>
              <a:buSzTx/>
              <a:buFont typeface="Symbol" panose="05050102010706020507" pitchFamily="18" charset="2"/>
              <a:buChar char=""/>
              <a:tabLst/>
              <a:defRPr/>
            </a:pPr>
            <a:r>
              <a:rPr kumimoji="0" lang="en-US" sz="2400" b="0" i="0" u="none" strike="noStrike" kern="1200" cap="none" spc="0" normalizeH="0" baseline="0" noProof="0" dirty="0">
                <a:ln>
                  <a:noFill/>
                </a:ln>
                <a:solidFill>
                  <a:srgbClr val="404040"/>
                </a:solidFill>
                <a:effectLst/>
                <a:uLnTx/>
                <a:uFillTx/>
                <a:latin typeface="Arial" panose="020B0604020202020204" pitchFamily="34" charset="0"/>
                <a:ea typeface="Calibri" panose="020F0502020204030204" pitchFamily="34" charset="0"/>
                <a:cs typeface="Lohit Devanagari"/>
              </a:rPr>
              <a:t>Complexity of a cement kiln: chemical process, physical process, and thermodynamic process (large number of parameters).</a:t>
            </a:r>
            <a:endParaRPr kumimoji="0" lang="sv-SE" sz="2400" b="0" i="0" u="none" strike="noStrike" kern="1200" cap="none" spc="0" normalizeH="0" baseline="0" noProof="0" dirty="0">
              <a:ln>
                <a:noFill/>
              </a:ln>
              <a:solidFill>
                <a:srgbClr val="404040"/>
              </a:solidFill>
              <a:effectLst/>
              <a:uLnTx/>
              <a:uFillTx/>
              <a:latin typeface="Trebuchet MS" panose="020B0603020202020204" pitchFamily="34" charset="0"/>
              <a:ea typeface="Calibri" panose="020F0502020204030204" pitchFamily="34" charset="0"/>
              <a:cs typeface="Lohit Devanagari"/>
            </a:endParaRPr>
          </a:p>
          <a:p>
            <a:pPr marL="342900" marR="0" lvl="0" indent="-342900" algn="just" defTabSz="914400" rtl="0" eaLnBrk="1" fontAlgn="auto" latinLnBrk="0" hangingPunct="1">
              <a:lnSpc>
                <a:spcPct val="125000"/>
              </a:lnSpc>
              <a:spcBef>
                <a:spcPts val="0"/>
              </a:spcBef>
              <a:spcAft>
                <a:spcPts val="1200"/>
              </a:spcAft>
              <a:buClrTx/>
              <a:buSzTx/>
              <a:buFont typeface="Symbol" panose="05050102010706020507" pitchFamily="18" charset="2"/>
              <a:buChar char=""/>
              <a:tabLst/>
              <a:defRPr/>
            </a:pPr>
            <a:r>
              <a:rPr lang="en-US" sz="2400" dirty="0">
                <a:solidFill>
                  <a:srgbClr val="404040"/>
                </a:solidFill>
                <a:latin typeface="Arial" panose="020B0604020202020204" pitchFamily="34" charset="0"/>
              </a:rPr>
              <a:t>Lack of model necessary inputs, whether due to lack of technical solution (sensor) or cost. </a:t>
            </a:r>
          </a:p>
          <a:p>
            <a:pPr marL="342900" indent="-342900" algn="just">
              <a:lnSpc>
                <a:spcPct val="125000"/>
              </a:lnSpc>
              <a:spcAft>
                <a:spcPts val="1200"/>
              </a:spcAft>
              <a:buFont typeface="Symbol" panose="05050102010706020507" pitchFamily="18" charset="2"/>
              <a:buChar char=""/>
              <a:defRPr/>
            </a:pPr>
            <a:r>
              <a:rPr lang="en-US" sz="2400" dirty="0">
                <a:solidFill>
                  <a:srgbClr val="404040"/>
                </a:solidFill>
                <a:latin typeface="Arial" panose="020B0604020202020204" pitchFamily="34" charset="0"/>
              </a:rPr>
              <a:t>Difficulty in calculating the benefits of developing a digital twin.</a:t>
            </a:r>
            <a:endParaRPr lang="sv-SE" sz="2400" dirty="0">
              <a:solidFill>
                <a:srgbClr val="404040"/>
              </a:solidFill>
              <a:latin typeface="Arial" panose="020B0604020202020204" pitchFamily="34" charset="0"/>
            </a:endParaRPr>
          </a:p>
          <a:p>
            <a:pPr marL="342900" indent="-342900" algn="just">
              <a:lnSpc>
                <a:spcPct val="125000"/>
              </a:lnSpc>
              <a:spcAft>
                <a:spcPts val="1200"/>
              </a:spcAft>
              <a:buFont typeface="Symbol" panose="05050102010706020507" pitchFamily="18" charset="2"/>
              <a:buChar char=""/>
              <a:defRPr/>
            </a:pPr>
            <a:r>
              <a:rPr lang="en-US" sz="2400" dirty="0">
                <a:solidFill>
                  <a:srgbClr val="404040"/>
                </a:solidFill>
                <a:latin typeface="Arial" panose="020B0604020202020204" pitchFamily="34" charset="0"/>
              </a:rPr>
              <a:t>The cement sector is still “change resistant”, especially in the kiln operating processes (mindset).</a:t>
            </a:r>
            <a:endParaRPr lang="sv-SE" sz="2400" dirty="0">
              <a:solidFill>
                <a:srgbClr val="404040"/>
              </a:solidFill>
              <a:latin typeface="Arial" panose="020B0604020202020204" pitchFamily="34" charset="0"/>
            </a:endParaRPr>
          </a:p>
          <a:p>
            <a:pPr marL="342900" indent="-342900" algn="just">
              <a:lnSpc>
                <a:spcPct val="125000"/>
              </a:lnSpc>
              <a:spcAft>
                <a:spcPts val="1200"/>
              </a:spcAft>
              <a:buFont typeface="Symbol" panose="05050102010706020507" pitchFamily="18" charset="2"/>
              <a:buChar char=""/>
              <a:defRPr/>
            </a:pPr>
            <a:r>
              <a:rPr lang="en-US" sz="2400" dirty="0">
                <a:solidFill>
                  <a:srgbClr val="404040"/>
                </a:solidFill>
                <a:latin typeface="Arial" panose="020B0604020202020204" pitchFamily="34" charset="0"/>
              </a:rPr>
              <a:t>The plant management need a digital twin to support the kiln operation (control strategy), with fast reaction to process problems, and not for process simulations. </a:t>
            </a:r>
            <a:endParaRPr lang="sv-SE" sz="2400" dirty="0">
              <a:solidFill>
                <a:srgbClr val="404040"/>
              </a:solidFill>
              <a:latin typeface="Arial" panose="020B0604020202020204" pitchFamily="34" charset="0"/>
            </a:endParaRPr>
          </a:p>
        </p:txBody>
      </p:sp>
      <p:pic>
        <p:nvPicPr>
          <p:cNvPr id="2" name="Imagen 93">
            <a:extLst>
              <a:ext uri="{FF2B5EF4-FFF2-40B4-BE49-F238E27FC236}">
                <a16:creationId xmlns:a16="http://schemas.microsoft.com/office/drawing/2014/main" id="{631502EF-D0DC-D240-6873-23D01EBD655C}"/>
              </a:ext>
            </a:extLst>
          </p:cNvPr>
          <p:cNvPicPr>
            <a:picLocks noChangeAspect="1"/>
          </p:cNvPicPr>
          <p:nvPr/>
        </p:nvPicPr>
        <p:blipFill rotWithShape="1">
          <a:blip r:embed="rId6"/>
          <a:srcRect l="23084" t="14316" r="9046" b="7091"/>
          <a:stretch/>
        </p:blipFill>
        <p:spPr>
          <a:xfrm>
            <a:off x="16588140" y="292887"/>
            <a:ext cx="1699860" cy="1389330"/>
          </a:xfrm>
          <a:prstGeom prst="rect">
            <a:avLst/>
          </a:prstGeom>
        </p:spPr>
      </p:pic>
    </p:spTree>
    <p:extLst>
      <p:ext uri="{BB962C8B-B14F-4D97-AF65-F5344CB8AC3E}">
        <p14:creationId xmlns:p14="http://schemas.microsoft.com/office/powerpoint/2010/main" val="3666341364"/>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58" name="Rectangle 57">
            <a:extLst>
              <a:ext uri="{FF2B5EF4-FFF2-40B4-BE49-F238E27FC236}">
                <a16:creationId xmlns:a16="http://schemas.microsoft.com/office/drawing/2014/main" id="{289ED1AA-8684-4D37-B208-8777E1A7780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8283428" cy="10287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0" name="Graphic 33">
            <a:extLst>
              <a:ext uri="{FF2B5EF4-FFF2-40B4-BE49-F238E27FC236}">
                <a16:creationId xmlns:a16="http://schemas.microsoft.com/office/drawing/2014/main" id="{4180E01B-B1F4-437C-807D-1C930718EE6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966176" y="0"/>
            <a:ext cx="14355646" cy="10287000"/>
          </a:xfrm>
          <a:custGeom>
            <a:avLst/>
            <a:gdLst>
              <a:gd name="connsiteX0" fmla="*/ 7178288 w 7187261"/>
              <a:gd name="connsiteY0" fmla="*/ 2604802 h 5150263"/>
              <a:gd name="connsiteX1" fmla="*/ 7169335 w 7187261"/>
              <a:gd name="connsiteY1" fmla="*/ 2328577 h 5150263"/>
              <a:gd name="connsiteX2" fmla="*/ 7060845 w 7187261"/>
              <a:gd name="connsiteY2" fmla="*/ 1661160 h 5150263"/>
              <a:gd name="connsiteX3" fmla="*/ 6212263 w 7187261"/>
              <a:gd name="connsiteY3" fmla="*/ 243840 h 5150263"/>
              <a:gd name="connsiteX4" fmla="*/ 5953564 w 7187261"/>
              <a:gd name="connsiteY4" fmla="*/ 0 h 5150263"/>
              <a:gd name="connsiteX5" fmla="*/ 1408615 w 7187261"/>
              <a:gd name="connsiteY5" fmla="*/ 0 h 5150263"/>
              <a:gd name="connsiteX6" fmla="*/ 805111 w 7187261"/>
              <a:gd name="connsiteY6" fmla="*/ 676275 h 5150263"/>
              <a:gd name="connsiteX7" fmla="*/ 104928 w 7187261"/>
              <a:gd name="connsiteY7" fmla="*/ 2183035 h 5150263"/>
              <a:gd name="connsiteX8" fmla="*/ 51588 w 7187261"/>
              <a:gd name="connsiteY8" fmla="*/ 2400014 h 5150263"/>
              <a:gd name="connsiteX9" fmla="*/ 41301 w 7187261"/>
              <a:gd name="connsiteY9" fmla="*/ 2424208 h 5150263"/>
              <a:gd name="connsiteX10" fmla="*/ 119692 w 7187261"/>
              <a:gd name="connsiteY10" fmla="*/ 1834801 h 5150263"/>
              <a:gd name="connsiteX11" fmla="*/ 870071 w 7187261"/>
              <a:gd name="connsiteY11" fmla="*/ 462248 h 5150263"/>
              <a:gd name="connsiteX12" fmla="*/ 1389279 w 7187261"/>
              <a:gd name="connsiteY12" fmla="*/ 476 h 5150263"/>
              <a:gd name="connsiteX13" fmla="*/ 1320223 w 7187261"/>
              <a:gd name="connsiteY13" fmla="*/ 476 h 5150263"/>
              <a:gd name="connsiteX14" fmla="*/ 423158 w 7187261"/>
              <a:gd name="connsiteY14" fmla="*/ 989743 h 5150263"/>
              <a:gd name="connsiteX15" fmla="*/ 25585 w 7187261"/>
              <a:gd name="connsiteY15" fmla="*/ 2113693 h 5150263"/>
              <a:gd name="connsiteX16" fmla="*/ 2344 w 7187261"/>
              <a:gd name="connsiteY16" fmla="*/ 2725865 h 5150263"/>
              <a:gd name="connsiteX17" fmla="*/ 447256 w 7187261"/>
              <a:gd name="connsiteY17" fmla="*/ 4210717 h 5150263"/>
              <a:gd name="connsiteX18" fmla="*/ 1138962 w 7187261"/>
              <a:gd name="connsiteY18" fmla="*/ 4988910 h 5150263"/>
              <a:gd name="connsiteX19" fmla="*/ 1348512 w 7187261"/>
              <a:gd name="connsiteY19" fmla="*/ 5146834 h 5150263"/>
              <a:gd name="connsiteX20" fmla="*/ 1422712 w 7187261"/>
              <a:gd name="connsiteY20" fmla="*/ 5146834 h 5150263"/>
              <a:gd name="connsiteX21" fmla="*/ 480594 w 7187261"/>
              <a:gd name="connsiteY21" fmla="*/ 4187952 h 5150263"/>
              <a:gd name="connsiteX22" fmla="*/ 398679 w 7187261"/>
              <a:gd name="connsiteY22" fmla="*/ 4046125 h 5150263"/>
              <a:gd name="connsiteX23" fmla="*/ 411823 w 7187261"/>
              <a:gd name="connsiteY23" fmla="*/ 4053078 h 5150263"/>
              <a:gd name="connsiteX24" fmla="*/ 1439380 w 7187261"/>
              <a:gd name="connsiteY24" fmla="*/ 5147405 h 5150263"/>
              <a:gd name="connsiteX25" fmla="*/ 5710010 w 7187261"/>
              <a:gd name="connsiteY25" fmla="*/ 5150263 h 5150263"/>
              <a:gd name="connsiteX26" fmla="*/ 5999665 w 7187261"/>
              <a:gd name="connsiteY26" fmla="*/ 4910900 h 5150263"/>
              <a:gd name="connsiteX27" fmla="*/ 6954165 w 7187261"/>
              <a:gd name="connsiteY27" fmla="*/ 3545777 h 5150263"/>
              <a:gd name="connsiteX28" fmla="*/ 7137712 w 7187261"/>
              <a:gd name="connsiteY28" fmla="*/ 2799207 h 5150263"/>
              <a:gd name="connsiteX29" fmla="*/ 7142951 w 7187261"/>
              <a:gd name="connsiteY29" fmla="*/ 2754535 h 5150263"/>
              <a:gd name="connsiteX30" fmla="*/ 7149428 w 7187261"/>
              <a:gd name="connsiteY30" fmla="*/ 2774823 h 5150263"/>
              <a:gd name="connsiteX31" fmla="*/ 7066465 w 7187261"/>
              <a:gd name="connsiteY31" fmla="*/ 3465672 h 5150263"/>
              <a:gd name="connsiteX32" fmla="*/ 6452578 w 7187261"/>
              <a:gd name="connsiteY32" fmla="*/ 4552760 h 5150263"/>
              <a:gd name="connsiteX33" fmla="*/ 5752110 w 7187261"/>
              <a:gd name="connsiteY33" fmla="*/ 5150263 h 5150263"/>
              <a:gd name="connsiteX34" fmla="*/ 5827643 w 7187261"/>
              <a:gd name="connsiteY34" fmla="*/ 5150263 h 5150263"/>
              <a:gd name="connsiteX35" fmla="*/ 6642793 w 7187261"/>
              <a:gd name="connsiteY35" fmla="*/ 4389406 h 5150263"/>
              <a:gd name="connsiteX36" fmla="*/ 7102469 w 7187261"/>
              <a:gd name="connsiteY36" fmla="*/ 3490817 h 5150263"/>
              <a:gd name="connsiteX37" fmla="*/ 7187242 w 7187261"/>
              <a:gd name="connsiteY37" fmla="*/ 2990183 h 5150263"/>
              <a:gd name="connsiteX38" fmla="*/ 7178288 w 7187261"/>
              <a:gd name="connsiteY38" fmla="*/ 2604802 h 5150263"/>
              <a:gd name="connsiteX39" fmla="*/ 6342565 w 7187261"/>
              <a:gd name="connsiteY39" fmla="*/ 441389 h 5150263"/>
              <a:gd name="connsiteX40" fmla="*/ 7126567 w 7187261"/>
              <a:gd name="connsiteY40" fmla="*/ 2355056 h 5150263"/>
              <a:gd name="connsiteX41" fmla="*/ 6342565 w 7187261"/>
              <a:gd name="connsiteY41" fmla="*/ 441389 h 5150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187261" h="5150263">
                <a:moveTo>
                  <a:pt x="7178288" y="2604802"/>
                </a:moveTo>
                <a:cubicBezTo>
                  <a:pt x="7168763" y="2513076"/>
                  <a:pt x="7174478" y="2420684"/>
                  <a:pt x="7169335" y="2328577"/>
                </a:cubicBezTo>
                <a:cubicBezTo>
                  <a:pt x="7156952" y="2102882"/>
                  <a:pt x="7120586" y="1879149"/>
                  <a:pt x="7060845" y="1661160"/>
                </a:cubicBezTo>
                <a:cubicBezTo>
                  <a:pt x="6910588" y="1121007"/>
                  <a:pt x="6617428" y="631374"/>
                  <a:pt x="6212263" y="243840"/>
                </a:cubicBezTo>
                <a:cubicBezTo>
                  <a:pt x="6126538" y="162496"/>
                  <a:pt x="6040813" y="80201"/>
                  <a:pt x="5953564" y="0"/>
                </a:cubicBezTo>
                <a:lnTo>
                  <a:pt x="1408615" y="0"/>
                </a:lnTo>
                <a:cubicBezTo>
                  <a:pt x="1180967" y="200316"/>
                  <a:pt x="978332" y="427387"/>
                  <a:pt x="805111" y="676275"/>
                </a:cubicBezTo>
                <a:cubicBezTo>
                  <a:pt x="481261" y="1136523"/>
                  <a:pt x="252089" y="1640872"/>
                  <a:pt x="104928" y="2183035"/>
                </a:cubicBezTo>
                <a:cubicBezTo>
                  <a:pt x="85878" y="2254853"/>
                  <a:pt x="69495" y="2327720"/>
                  <a:pt x="51588" y="2400014"/>
                </a:cubicBezTo>
                <a:cubicBezTo>
                  <a:pt x="49683" y="2407634"/>
                  <a:pt x="51588" y="2416969"/>
                  <a:pt x="41301" y="2424208"/>
                </a:cubicBezTo>
                <a:cubicBezTo>
                  <a:pt x="45900" y="2225469"/>
                  <a:pt x="72186" y="2027834"/>
                  <a:pt x="119692" y="1834801"/>
                </a:cubicBezTo>
                <a:cubicBezTo>
                  <a:pt x="247993" y="1310926"/>
                  <a:pt x="506121" y="857726"/>
                  <a:pt x="870071" y="462248"/>
                </a:cubicBezTo>
                <a:cubicBezTo>
                  <a:pt x="1027729" y="291823"/>
                  <a:pt x="1201617" y="137169"/>
                  <a:pt x="1389279" y="476"/>
                </a:cubicBezTo>
                <a:lnTo>
                  <a:pt x="1320223" y="476"/>
                </a:lnTo>
                <a:cubicBezTo>
                  <a:pt x="960844" y="274320"/>
                  <a:pt x="656330" y="599123"/>
                  <a:pt x="423158" y="989743"/>
                </a:cubicBezTo>
                <a:cubicBezTo>
                  <a:pt x="215608" y="1337596"/>
                  <a:pt x="80258" y="1711357"/>
                  <a:pt x="25585" y="2113693"/>
                </a:cubicBezTo>
                <a:cubicBezTo>
                  <a:pt x="-2705" y="2316480"/>
                  <a:pt x="-2228" y="2521077"/>
                  <a:pt x="2344" y="2725865"/>
                </a:cubicBezTo>
                <a:cubicBezTo>
                  <a:pt x="14155" y="3261932"/>
                  <a:pt x="170650" y="3754565"/>
                  <a:pt x="447256" y="4210717"/>
                </a:cubicBezTo>
                <a:cubicBezTo>
                  <a:pt x="629851" y="4511612"/>
                  <a:pt x="866356" y="4767167"/>
                  <a:pt x="1138962" y="4988910"/>
                </a:cubicBezTo>
                <a:cubicBezTo>
                  <a:pt x="1207161" y="5044345"/>
                  <a:pt x="1277008" y="5096990"/>
                  <a:pt x="1348512" y="5146834"/>
                </a:cubicBezTo>
                <a:lnTo>
                  <a:pt x="1422712" y="5146834"/>
                </a:lnTo>
                <a:cubicBezTo>
                  <a:pt x="1043426" y="4892802"/>
                  <a:pt x="724720" y="4577334"/>
                  <a:pt x="480594" y="4187952"/>
                </a:cubicBezTo>
                <a:cubicBezTo>
                  <a:pt x="452019" y="4141851"/>
                  <a:pt x="423444" y="4095179"/>
                  <a:pt x="398679" y="4046125"/>
                </a:cubicBezTo>
                <a:cubicBezTo>
                  <a:pt x="407442" y="4043267"/>
                  <a:pt x="409156" y="4048982"/>
                  <a:pt x="411823" y="4053078"/>
                </a:cubicBezTo>
                <a:cubicBezTo>
                  <a:pt x="683572" y="4484656"/>
                  <a:pt x="1033139" y="4842701"/>
                  <a:pt x="1439380" y="5147405"/>
                </a:cubicBezTo>
                <a:lnTo>
                  <a:pt x="5710010" y="5150263"/>
                </a:lnTo>
                <a:cubicBezTo>
                  <a:pt x="5810594" y="5075482"/>
                  <a:pt x="5907272" y="4995587"/>
                  <a:pt x="5999665" y="4910900"/>
                </a:cubicBezTo>
                <a:cubicBezTo>
                  <a:pt x="6418765" y="4526661"/>
                  <a:pt x="6746901" y="4078129"/>
                  <a:pt x="6954165" y="3545777"/>
                </a:cubicBezTo>
                <a:cubicBezTo>
                  <a:pt x="7048234" y="3306175"/>
                  <a:pt x="7109956" y="3055115"/>
                  <a:pt x="7137712" y="2799207"/>
                </a:cubicBezTo>
                <a:cubicBezTo>
                  <a:pt x="7139236" y="2784920"/>
                  <a:pt x="7141046" y="2770632"/>
                  <a:pt x="7142951" y="2754535"/>
                </a:cubicBezTo>
                <a:cubicBezTo>
                  <a:pt x="7151714" y="2760440"/>
                  <a:pt x="7149237" y="2768441"/>
                  <a:pt x="7149428" y="2774823"/>
                </a:cubicBezTo>
                <a:cubicBezTo>
                  <a:pt x="7156743" y="3007967"/>
                  <a:pt x="7128777" y="3240881"/>
                  <a:pt x="7066465" y="3465672"/>
                </a:cubicBezTo>
                <a:cubicBezTo>
                  <a:pt x="6952165" y="3878580"/>
                  <a:pt x="6737948" y="4235863"/>
                  <a:pt x="6452578" y="4552760"/>
                </a:cubicBezTo>
                <a:cubicBezTo>
                  <a:pt x="6244553" y="4783836"/>
                  <a:pt x="6008809" y="4980242"/>
                  <a:pt x="5752110" y="5150263"/>
                </a:cubicBezTo>
                <a:lnTo>
                  <a:pt x="5827643" y="5150263"/>
                </a:lnTo>
                <a:cubicBezTo>
                  <a:pt x="6136539" y="4938904"/>
                  <a:pt x="6412192" y="4689348"/>
                  <a:pt x="6642793" y="4389406"/>
                </a:cubicBezTo>
                <a:cubicBezTo>
                  <a:pt x="6851295" y="4118324"/>
                  <a:pt x="7009125" y="3820859"/>
                  <a:pt x="7102469" y="3490817"/>
                </a:cubicBezTo>
                <a:cubicBezTo>
                  <a:pt x="7148646" y="3327473"/>
                  <a:pt x="7177069" y="3159624"/>
                  <a:pt x="7187242" y="2990183"/>
                </a:cubicBezTo>
                <a:cubicBezTo>
                  <a:pt x="7187623" y="2984087"/>
                  <a:pt x="7182384" y="2642330"/>
                  <a:pt x="7178288" y="2604802"/>
                </a:cubicBezTo>
                <a:close/>
                <a:moveTo>
                  <a:pt x="6342565" y="441389"/>
                </a:moveTo>
                <a:cubicBezTo>
                  <a:pt x="6829797" y="986533"/>
                  <a:pt x="7091135" y="1624422"/>
                  <a:pt x="7126567" y="2355056"/>
                </a:cubicBezTo>
                <a:cubicBezTo>
                  <a:pt x="7001123" y="1661827"/>
                  <a:pt x="6756426" y="1017365"/>
                  <a:pt x="6342565" y="441389"/>
                </a:cubicBez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Arial"/>
              <a:ea typeface="+mn-ea"/>
              <a:cs typeface="+mn-cs"/>
            </a:endParaRPr>
          </a:p>
        </p:txBody>
      </p:sp>
      <p:sp>
        <p:nvSpPr>
          <p:cNvPr id="4" name="Title 3">
            <a:extLst>
              <a:ext uri="{FF2B5EF4-FFF2-40B4-BE49-F238E27FC236}">
                <a16:creationId xmlns:a16="http://schemas.microsoft.com/office/drawing/2014/main" id="{B009CD84-DA40-4CAA-8A89-DD6DAA862368}"/>
              </a:ext>
            </a:extLst>
          </p:cNvPr>
          <p:cNvSpPr>
            <a:spLocks noGrp="1"/>
          </p:cNvSpPr>
          <p:nvPr>
            <p:ph type="title"/>
          </p:nvPr>
        </p:nvSpPr>
        <p:spPr>
          <a:xfrm>
            <a:off x="2819400" y="1764645"/>
            <a:ext cx="13502422" cy="4348463"/>
          </a:xfrm>
        </p:spPr>
        <p:txBody>
          <a:bodyPr vert="horz" lIns="91440" tIns="45720" rIns="91440" bIns="45720" rtlCol="0" anchor="b">
            <a:normAutofit/>
          </a:bodyPr>
          <a:lstStyle/>
          <a:p>
            <a:pPr indent="457200">
              <a:lnSpc>
                <a:spcPct val="90000"/>
              </a:lnSpc>
              <a:spcAft>
                <a:spcPts val="600"/>
              </a:spcAft>
            </a:pPr>
            <a:r>
              <a:rPr lang="en-GB" sz="8000" b="1" noProof="0" dirty="0">
                <a:solidFill>
                  <a:schemeClr val="bg1"/>
                </a:solidFill>
                <a:ea typeface="+mn-ea"/>
                <a:cs typeface="Arial" panose="020B0604020202020204" pitchFamily="34" charset="0"/>
              </a:rPr>
              <a:t>Digital twin challenges</a:t>
            </a:r>
          </a:p>
        </p:txBody>
      </p:sp>
      <p:sp>
        <p:nvSpPr>
          <p:cNvPr id="62" name="sketch line">
            <a:extLst>
              <a:ext uri="{FF2B5EF4-FFF2-40B4-BE49-F238E27FC236}">
                <a16:creationId xmlns:a16="http://schemas.microsoft.com/office/drawing/2014/main" id="{41F77738-2AF0-4750-A0C7-F97C2C17590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961309" y="6260247"/>
            <a:ext cx="6365383" cy="27432"/>
          </a:xfrm>
          <a:custGeom>
            <a:avLst/>
            <a:gdLst>
              <a:gd name="connsiteX0" fmla="*/ 0 w 6365383"/>
              <a:gd name="connsiteY0" fmla="*/ 0 h 27432"/>
              <a:gd name="connsiteX1" fmla="*/ 636538 w 6365383"/>
              <a:gd name="connsiteY1" fmla="*/ 0 h 27432"/>
              <a:gd name="connsiteX2" fmla="*/ 1273077 w 6365383"/>
              <a:gd name="connsiteY2" fmla="*/ 0 h 27432"/>
              <a:gd name="connsiteX3" fmla="*/ 1909615 w 6365383"/>
              <a:gd name="connsiteY3" fmla="*/ 0 h 27432"/>
              <a:gd name="connsiteX4" fmla="*/ 2673461 w 6365383"/>
              <a:gd name="connsiteY4" fmla="*/ 0 h 27432"/>
              <a:gd name="connsiteX5" fmla="*/ 3373653 w 6365383"/>
              <a:gd name="connsiteY5" fmla="*/ 0 h 27432"/>
              <a:gd name="connsiteX6" fmla="*/ 3819230 w 6365383"/>
              <a:gd name="connsiteY6" fmla="*/ 0 h 27432"/>
              <a:gd name="connsiteX7" fmla="*/ 4392114 w 6365383"/>
              <a:gd name="connsiteY7" fmla="*/ 0 h 27432"/>
              <a:gd name="connsiteX8" fmla="*/ 5155960 w 6365383"/>
              <a:gd name="connsiteY8" fmla="*/ 0 h 27432"/>
              <a:gd name="connsiteX9" fmla="*/ 5792499 w 6365383"/>
              <a:gd name="connsiteY9" fmla="*/ 0 h 27432"/>
              <a:gd name="connsiteX10" fmla="*/ 6365383 w 6365383"/>
              <a:gd name="connsiteY10" fmla="*/ 0 h 27432"/>
              <a:gd name="connsiteX11" fmla="*/ 6365383 w 6365383"/>
              <a:gd name="connsiteY11" fmla="*/ 27432 h 27432"/>
              <a:gd name="connsiteX12" fmla="*/ 5856152 w 6365383"/>
              <a:gd name="connsiteY12" fmla="*/ 27432 h 27432"/>
              <a:gd name="connsiteX13" fmla="*/ 5092306 w 6365383"/>
              <a:gd name="connsiteY13" fmla="*/ 27432 h 27432"/>
              <a:gd name="connsiteX14" fmla="*/ 4583076 w 6365383"/>
              <a:gd name="connsiteY14" fmla="*/ 27432 h 27432"/>
              <a:gd name="connsiteX15" fmla="*/ 4137499 w 6365383"/>
              <a:gd name="connsiteY15" fmla="*/ 27432 h 27432"/>
              <a:gd name="connsiteX16" fmla="*/ 3691922 w 6365383"/>
              <a:gd name="connsiteY16" fmla="*/ 27432 h 27432"/>
              <a:gd name="connsiteX17" fmla="*/ 2991730 w 6365383"/>
              <a:gd name="connsiteY17" fmla="*/ 27432 h 27432"/>
              <a:gd name="connsiteX18" fmla="*/ 2546153 w 6365383"/>
              <a:gd name="connsiteY18" fmla="*/ 27432 h 27432"/>
              <a:gd name="connsiteX19" fmla="*/ 1909615 w 6365383"/>
              <a:gd name="connsiteY19" fmla="*/ 27432 h 27432"/>
              <a:gd name="connsiteX20" fmla="*/ 1400384 w 6365383"/>
              <a:gd name="connsiteY20" fmla="*/ 27432 h 27432"/>
              <a:gd name="connsiteX21" fmla="*/ 763846 w 6365383"/>
              <a:gd name="connsiteY21" fmla="*/ 27432 h 27432"/>
              <a:gd name="connsiteX22" fmla="*/ 0 w 6365383"/>
              <a:gd name="connsiteY22" fmla="*/ 27432 h 27432"/>
              <a:gd name="connsiteX23" fmla="*/ 0 w 6365383"/>
              <a:gd name="connsiteY23" fmla="*/ 0 h 27432"/>
              <a:gd name="connsiteX0" fmla="*/ 0 w 6365383"/>
              <a:gd name="connsiteY0" fmla="*/ 0 h 27432"/>
              <a:gd name="connsiteX1" fmla="*/ 572884 w 6365383"/>
              <a:gd name="connsiteY1" fmla="*/ 0 h 27432"/>
              <a:gd name="connsiteX2" fmla="*/ 1018461 w 6365383"/>
              <a:gd name="connsiteY2" fmla="*/ 0 h 27432"/>
              <a:gd name="connsiteX3" fmla="*/ 1782307 w 6365383"/>
              <a:gd name="connsiteY3" fmla="*/ 0 h 27432"/>
              <a:gd name="connsiteX4" fmla="*/ 2355192 w 6365383"/>
              <a:gd name="connsiteY4" fmla="*/ 0 h 27432"/>
              <a:gd name="connsiteX5" fmla="*/ 2928076 w 6365383"/>
              <a:gd name="connsiteY5" fmla="*/ 0 h 27432"/>
              <a:gd name="connsiteX6" fmla="*/ 3691922 w 6365383"/>
              <a:gd name="connsiteY6" fmla="*/ 0 h 27432"/>
              <a:gd name="connsiteX7" fmla="*/ 4201153 w 6365383"/>
              <a:gd name="connsiteY7" fmla="*/ 0 h 27432"/>
              <a:gd name="connsiteX8" fmla="*/ 4964999 w 6365383"/>
              <a:gd name="connsiteY8" fmla="*/ 0 h 27432"/>
              <a:gd name="connsiteX9" fmla="*/ 5728845 w 6365383"/>
              <a:gd name="connsiteY9" fmla="*/ 0 h 27432"/>
              <a:gd name="connsiteX10" fmla="*/ 6365383 w 6365383"/>
              <a:gd name="connsiteY10" fmla="*/ 0 h 27432"/>
              <a:gd name="connsiteX11" fmla="*/ 6365383 w 6365383"/>
              <a:gd name="connsiteY11" fmla="*/ 27432 h 27432"/>
              <a:gd name="connsiteX12" fmla="*/ 5665191 w 6365383"/>
              <a:gd name="connsiteY12" fmla="*/ 27432 h 27432"/>
              <a:gd name="connsiteX13" fmla="*/ 4901345 w 6365383"/>
              <a:gd name="connsiteY13" fmla="*/ 27432 h 27432"/>
              <a:gd name="connsiteX14" fmla="*/ 4137499 w 6365383"/>
              <a:gd name="connsiteY14" fmla="*/ 27432 h 27432"/>
              <a:gd name="connsiteX15" fmla="*/ 3628268 w 6365383"/>
              <a:gd name="connsiteY15" fmla="*/ 27432 h 27432"/>
              <a:gd name="connsiteX16" fmla="*/ 2991730 w 6365383"/>
              <a:gd name="connsiteY16" fmla="*/ 27432 h 27432"/>
              <a:gd name="connsiteX17" fmla="*/ 2227884 w 6365383"/>
              <a:gd name="connsiteY17" fmla="*/ 27432 h 27432"/>
              <a:gd name="connsiteX18" fmla="*/ 1591346 w 6365383"/>
              <a:gd name="connsiteY18" fmla="*/ 27432 h 27432"/>
              <a:gd name="connsiteX19" fmla="*/ 1145769 w 6365383"/>
              <a:gd name="connsiteY19" fmla="*/ 27432 h 27432"/>
              <a:gd name="connsiteX20" fmla="*/ 636538 w 6365383"/>
              <a:gd name="connsiteY20" fmla="*/ 27432 h 27432"/>
              <a:gd name="connsiteX21" fmla="*/ 0 w 6365383"/>
              <a:gd name="connsiteY21" fmla="*/ 27432 h 27432"/>
              <a:gd name="connsiteX22" fmla="*/ 0 w 6365383"/>
              <a:gd name="connsiteY22"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365383" h="27432" fill="none" extrusionOk="0">
                <a:moveTo>
                  <a:pt x="0" y="0"/>
                </a:moveTo>
                <a:cubicBezTo>
                  <a:pt x="311910" y="25756"/>
                  <a:pt x="328854" y="-22977"/>
                  <a:pt x="636538" y="0"/>
                </a:cubicBezTo>
                <a:cubicBezTo>
                  <a:pt x="929901" y="50670"/>
                  <a:pt x="1067253" y="-1993"/>
                  <a:pt x="1273077" y="0"/>
                </a:cubicBezTo>
                <a:cubicBezTo>
                  <a:pt x="1507620" y="-24857"/>
                  <a:pt x="1747799" y="-10413"/>
                  <a:pt x="1909615" y="0"/>
                </a:cubicBezTo>
                <a:cubicBezTo>
                  <a:pt x="2041097" y="-21585"/>
                  <a:pt x="2422417" y="-28022"/>
                  <a:pt x="2673461" y="0"/>
                </a:cubicBezTo>
                <a:cubicBezTo>
                  <a:pt x="2948394" y="-4560"/>
                  <a:pt x="3134893" y="36981"/>
                  <a:pt x="3373653" y="0"/>
                </a:cubicBezTo>
                <a:cubicBezTo>
                  <a:pt x="3634761" y="-15887"/>
                  <a:pt x="3700843" y="23167"/>
                  <a:pt x="3819230" y="0"/>
                </a:cubicBezTo>
                <a:cubicBezTo>
                  <a:pt x="3977295" y="2943"/>
                  <a:pt x="4128910" y="-53150"/>
                  <a:pt x="4392114" y="0"/>
                </a:cubicBezTo>
                <a:cubicBezTo>
                  <a:pt x="4672763" y="9214"/>
                  <a:pt x="4999833" y="38501"/>
                  <a:pt x="5155960" y="0"/>
                </a:cubicBezTo>
                <a:cubicBezTo>
                  <a:pt x="5343367" y="-6557"/>
                  <a:pt x="5597661" y="6622"/>
                  <a:pt x="5792499" y="0"/>
                </a:cubicBezTo>
                <a:cubicBezTo>
                  <a:pt x="6020774" y="43813"/>
                  <a:pt x="6148830" y="-13954"/>
                  <a:pt x="6365383" y="0"/>
                </a:cubicBezTo>
                <a:cubicBezTo>
                  <a:pt x="6364517" y="8091"/>
                  <a:pt x="6365728" y="20268"/>
                  <a:pt x="6365383" y="27432"/>
                </a:cubicBezTo>
                <a:cubicBezTo>
                  <a:pt x="6144545" y="15144"/>
                  <a:pt x="6006673" y="-7419"/>
                  <a:pt x="5856152" y="27432"/>
                </a:cubicBezTo>
                <a:cubicBezTo>
                  <a:pt x="5638446" y="81548"/>
                  <a:pt x="5413846" y="52067"/>
                  <a:pt x="5092306" y="27432"/>
                </a:cubicBezTo>
                <a:cubicBezTo>
                  <a:pt x="4768499" y="43350"/>
                  <a:pt x="4708569" y="3163"/>
                  <a:pt x="4583076" y="27432"/>
                </a:cubicBezTo>
                <a:cubicBezTo>
                  <a:pt x="4475482" y="66269"/>
                  <a:pt x="4242792" y="42702"/>
                  <a:pt x="4137499" y="27432"/>
                </a:cubicBezTo>
                <a:cubicBezTo>
                  <a:pt x="4003968" y="24039"/>
                  <a:pt x="3882646" y="-3026"/>
                  <a:pt x="3691922" y="27432"/>
                </a:cubicBezTo>
                <a:cubicBezTo>
                  <a:pt x="3501639" y="8096"/>
                  <a:pt x="3270842" y="-14942"/>
                  <a:pt x="2991730" y="27432"/>
                </a:cubicBezTo>
                <a:cubicBezTo>
                  <a:pt x="2712135" y="55419"/>
                  <a:pt x="2758697" y="31955"/>
                  <a:pt x="2546153" y="27432"/>
                </a:cubicBezTo>
                <a:cubicBezTo>
                  <a:pt x="2362220" y="-818"/>
                  <a:pt x="2130397" y="57099"/>
                  <a:pt x="1909615" y="27432"/>
                </a:cubicBezTo>
                <a:cubicBezTo>
                  <a:pt x="1714835" y="-15389"/>
                  <a:pt x="1636770" y="40318"/>
                  <a:pt x="1400384" y="27432"/>
                </a:cubicBezTo>
                <a:cubicBezTo>
                  <a:pt x="1161504" y="29515"/>
                  <a:pt x="1060819" y="7773"/>
                  <a:pt x="763846" y="27432"/>
                </a:cubicBezTo>
                <a:cubicBezTo>
                  <a:pt x="465096" y="43671"/>
                  <a:pt x="165309" y="15831"/>
                  <a:pt x="0" y="27432"/>
                </a:cubicBezTo>
                <a:cubicBezTo>
                  <a:pt x="-2013" y="18874"/>
                  <a:pt x="-525" y="8614"/>
                  <a:pt x="0" y="0"/>
                </a:cubicBezTo>
                <a:close/>
              </a:path>
              <a:path w="6365383" h="27432" stroke="0" extrusionOk="0">
                <a:moveTo>
                  <a:pt x="0" y="0"/>
                </a:moveTo>
                <a:cubicBezTo>
                  <a:pt x="84020" y="9133"/>
                  <a:pt x="339524" y="24523"/>
                  <a:pt x="572884" y="0"/>
                </a:cubicBezTo>
                <a:cubicBezTo>
                  <a:pt x="803790" y="-14011"/>
                  <a:pt x="837492" y="-10007"/>
                  <a:pt x="1018461" y="0"/>
                </a:cubicBezTo>
                <a:cubicBezTo>
                  <a:pt x="1188530" y="8943"/>
                  <a:pt x="1571061" y="17361"/>
                  <a:pt x="1782307" y="0"/>
                </a:cubicBezTo>
                <a:cubicBezTo>
                  <a:pt x="1967448" y="-16010"/>
                  <a:pt x="2153334" y="-25629"/>
                  <a:pt x="2355192" y="0"/>
                </a:cubicBezTo>
                <a:cubicBezTo>
                  <a:pt x="2541804" y="20205"/>
                  <a:pt x="2779440" y="53811"/>
                  <a:pt x="2928076" y="0"/>
                </a:cubicBezTo>
                <a:cubicBezTo>
                  <a:pt x="3024078" y="-16903"/>
                  <a:pt x="3337092" y="43483"/>
                  <a:pt x="3691922" y="0"/>
                </a:cubicBezTo>
                <a:cubicBezTo>
                  <a:pt x="4060895" y="-1064"/>
                  <a:pt x="4072166" y="-17195"/>
                  <a:pt x="4201153" y="0"/>
                </a:cubicBezTo>
                <a:cubicBezTo>
                  <a:pt x="4349835" y="-22516"/>
                  <a:pt x="4800106" y="-64797"/>
                  <a:pt x="4964999" y="0"/>
                </a:cubicBezTo>
                <a:cubicBezTo>
                  <a:pt x="5186764" y="15779"/>
                  <a:pt x="5564421" y="-10544"/>
                  <a:pt x="5728845" y="0"/>
                </a:cubicBezTo>
                <a:cubicBezTo>
                  <a:pt x="5915953" y="5493"/>
                  <a:pt x="6171384" y="-48026"/>
                  <a:pt x="6365383" y="0"/>
                </a:cubicBezTo>
                <a:cubicBezTo>
                  <a:pt x="6366596" y="6455"/>
                  <a:pt x="6365588" y="14391"/>
                  <a:pt x="6365383" y="27432"/>
                </a:cubicBezTo>
                <a:cubicBezTo>
                  <a:pt x="6172514" y="805"/>
                  <a:pt x="6006523" y="20734"/>
                  <a:pt x="5665191" y="27432"/>
                </a:cubicBezTo>
                <a:cubicBezTo>
                  <a:pt x="5322179" y="66687"/>
                  <a:pt x="5219376" y="21111"/>
                  <a:pt x="4901345" y="27432"/>
                </a:cubicBezTo>
                <a:cubicBezTo>
                  <a:pt x="4621310" y="-13654"/>
                  <a:pt x="4455192" y="54857"/>
                  <a:pt x="4137499" y="27432"/>
                </a:cubicBezTo>
                <a:cubicBezTo>
                  <a:pt x="3853317" y="12285"/>
                  <a:pt x="3862894" y="26263"/>
                  <a:pt x="3628268" y="27432"/>
                </a:cubicBezTo>
                <a:cubicBezTo>
                  <a:pt x="3418779" y="32610"/>
                  <a:pt x="3174456" y="83656"/>
                  <a:pt x="2991730" y="27432"/>
                </a:cubicBezTo>
                <a:cubicBezTo>
                  <a:pt x="2801278" y="6667"/>
                  <a:pt x="2497351" y="22891"/>
                  <a:pt x="2227884" y="27432"/>
                </a:cubicBezTo>
                <a:cubicBezTo>
                  <a:pt x="1986101" y="16297"/>
                  <a:pt x="1767219" y="-7535"/>
                  <a:pt x="1591346" y="27432"/>
                </a:cubicBezTo>
                <a:cubicBezTo>
                  <a:pt x="1447183" y="73731"/>
                  <a:pt x="1315973" y="39477"/>
                  <a:pt x="1145769" y="27432"/>
                </a:cubicBezTo>
                <a:cubicBezTo>
                  <a:pt x="990245" y="8882"/>
                  <a:pt x="810845" y="16910"/>
                  <a:pt x="636538" y="27432"/>
                </a:cubicBezTo>
                <a:cubicBezTo>
                  <a:pt x="482916" y="17795"/>
                  <a:pt x="183027" y="-17710"/>
                  <a:pt x="0" y="27432"/>
                </a:cubicBezTo>
                <a:cubicBezTo>
                  <a:pt x="491" y="19542"/>
                  <a:pt x="-1038" y="8534"/>
                  <a:pt x="0" y="0"/>
                </a:cubicBezTo>
                <a:close/>
              </a:path>
              <a:path w="6365383" h="27432" fill="none" stroke="0" extrusionOk="0">
                <a:moveTo>
                  <a:pt x="0" y="0"/>
                </a:moveTo>
                <a:cubicBezTo>
                  <a:pt x="296223" y="15991"/>
                  <a:pt x="333462" y="-23795"/>
                  <a:pt x="636538" y="0"/>
                </a:cubicBezTo>
                <a:cubicBezTo>
                  <a:pt x="970197" y="30961"/>
                  <a:pt x="1039864" y="3183"/>
                  <a:pt x="1273077" y="0"/>
                </a:cubicBezTo>
                <a:cubicBezTo>
                  <a:pt x="1449809" y="24819"/>
                  <a:pt x="1735152" y="23060"/>
                  <a:pt x="1909615" y="0"/>
                </a:cubicBezTo>
                <a:cubicBezTo>
                  <a:pt x="2016351" y="-41665"/>
                  <a:pt x="2415001" y="34773"/>
                  <a:pt x="2673461" y="0"/>
                </a:cubicBezTo>
                <a:cubicBezTo>
                  <a:pt x="2996983" y="-13411"/>
                  <a:pt x="3130707" y="3741"/>
                  <a:pt x="3373653" y="0"/>
                </a:cubicBezTo>
                <a:cubicBezTo>
                  <a:pt x="3601951" y="-16140"/>
                  <a:pt x="3689909" y="23222"/>
                  <a:pt x="3819230" y="0"/>
                </a:cubicBezTo>
                <a:cubicBezTo>
                  <a:pt x="3931872" y="-29406"/>
                  <a:pt x="4119438" y="24094"/>
                  <a:pt x="4392114" y="0"/>
                </a:cubicBezTo>
                <a:cubicBezTo>
                  <a:pt x="4665359" y="21557"/>
                  <a:pt x="4978709" y="13267"/>
                  <a:pt x="5155960" y="0"/>
                </a:cubicBezTo>
                <a:cubicBezTo>
                  <a:pt x="5299518" y="-18386"/>
                  <a:pt x="5605020" y="-6762"/>
                  <a:pt x="5792499" y="0"/>
                </a:cubicBezTo>
                <a:cubicBezTo>
                  <a:pt x="6013281" y="43398"/>
                  <a:pt x="6167567" y="36727"/>
                  <a:pt x="6365383" y="0"/>
                </a:cubicBezTo>
                <a:cubicBezTo>
                  <a:pt x="6365697" y="8368"/>
                  <a:pt x="6365332" y="21050"/>
                  <a:pt x="6365383" y="27432"/>
                </a:cubicBezTo>
                <a:cubicBezTo>
                  <a:pt x="6154893" y="8454"/>
                  <a:pt x="6014206" y="-8372"/>
                  <a:pt x="5856152" y="27432"/>
                </a:cubicBezTo>
                <a:cubicBezTo>
                  <a:pt x="5659455" y="59503"/>
                  <a:pt x="5350806" y="-35991"/>
                  <a:pt x="5092306" y="27432"/>
                </a:cubicBezTo>
                <a:cubicBezTo>
                  <a:pt x="4756309" y="48260"/>
                  <a:pt x="4699746" y="-4780"/>
                  <a:pt x="4583076" y="27432"/>
                </a:cubicBezTo>
                <a:cubicBezTo>
                  <a:pt x="4462137" y="30142"/>
                  <a:pt x="4226168" y="50236"/>
                  <a:pt x="4137499" y="27432"/>
                </a:cubicBezTo>
                <a:cubicBezTo>
                  <a:pt x="4018570" y="42181"/>
                  <a:pt x="3887179" y="34623"/>
                  <a:pt x="3691922" y="27432"/>
                </a:cubicBezTo>
                <a:cubicBezTo>
                  <a:pt x="3499755" y="32935"/>
                  <a:pt x="3281056" y="-9158"/>
                  <a:pt x="2991730" y="27432"/>
                </a:cubicBezTo>
                <a:cubicBezTo>
                  <a:pt x="2716073" y="57462"/>
                  <a:pt x="2755481" y="34494"/>
                  <a:pt x="2546153" y="27432"/>
                </a:cubicBezTo>
                <a:cubicBezTo>
                  <a:pt x="2356479" y="62622"/>
                  <a:pt x="2079190" y="73729"/>
                  <a:pt x="1909615" y="27432"/>
                </a:cubicBezTo>
                <a:cubicBezTo>
                  <a:pt x="1715819" y="-26444"/>
                  <a:pt x="1631368" y="48131"/>
                  <a:pt x="1400384" y="27432"/>
                </a:cubicBezTo>
                <a:cubicBezTo>
                  <a:pt x="1177327" y="16190"/>
                  <a:pt x="1065236" y="24992"/>
                  <a:pt x="763846" y="27432"/>
                </a:cubicBezTo>
                <a:cubicBezTo>
                  <a:pt x="448643" y="60691"/>
                  <a:pt x="160833" y="2330"/>
                  <a:pt x="0" y="27432"/>
                </a:cubicBezTo>
                <a:cubicBezTo>
                  <a:pt x="1559" y="18666"/>
                  <a:pt x="-585" y="7580"/>
                  <a:pt x="0" y="0"/>
                </a:cubicBezTo>
                <a:close/>
              </a:path>
            </a:pathLst>
          </a:custGeom>
          <a:solidFill>
            <a:srgbClr val="FFFFFF"/>
          </a:solidFill>
          <a:ln w="41275" cap="rnd">
            <a:solidFill>
              <a:srgbClr val="FFFFFF"/>
            </a:solidFill>
            <a:round/>
            <a:extLst>
              <a:ext uri="{C807C97D-BFC1-408E-A445-0C87EB9F89A2}">
                <ask:lineSketchStyleProps xmlns:ask="http://schemas.microsoft.com/office/drawing/2018/sketchyshapes" sd="1219033472">
                  <a:custGeom>
                    <a:avLst/>
                    <a:gdLst>
                      <a:gd name="connsiteX0" fmla="*/ 0 w 6365383"/>
                      <a:gd name="connsiteY0" fmla="*/ 0 h 27432"/>
                      <a:gd name="connsiteX1" fmla="*/ 636538 w 6365383"/>
                      <a:gd name="connsiteY1" fmla="*/ 0 h 27432"/>
                      <a:gd name="connsiteX2" fmla="*/ 1273077 w 6365383"/>
                      <a:gd name="connsiteY2" fmla="*/ 0 h 27432"/>
                      <a:gd name="connsiteX3" fmla="*/ 1909615 w 6365383"/>
                      <a:gd name="connsiteY3" fmla="*/ 0 h 27432"/>
                      <a:gd name="connsiteX4" fmla="*/ 2673461 w 6365383"/>
                      <a:gd name="connsiteY4" fmla="*/ 0 h 27432"/>
                      <a:gd name="connsiteX5" fmla="*/ 3373653 w 6365383"/>
                      <a:gd name="connsiteY5" fmla="*/ 0 h 27432"/>
                      <a:gd name="connsiteX6" fmla="*/ 3819230 w 6365383"/>
                      <a:gd name="connsiteY6" fmla="*/ 0 h 27432"/>
                      <a:gd name="connsiteX7" fmla="*/ 4392114 w 6365383"/>
                      <a:gd name="connsiteY7" fmla="*/ 0 h 27432"/>
                      <a:gd name="connsiteX8" fmla="*/ 5155960 w 6365383"/>
                      <a:gd name="connsiteY8" fmla="*/ 0 h 27432"/>
                      <a:gd name="connsiteX9" fmla="*/ 5792499 w 6365383"/>
                      <a:gd name="connsiteY9" fmla="*/ 0 h 27432"/>
                      <a:gd name="connsiteX10" fmla="*/ 6365383 w 6365383"/>
                      <a:gd name="connsiteY10" fmla="*/ 0 h 27432"/>
                      <a:gd name="connsiteX11" fmla="*/ 6365383 w 6365383"/>
                      <a:gd name="connsiteY11" fmla="*/ 27432 h 27432"/>
                      <a:gd name="connsiteX12" fmla="*/ 5856152 w 6365383"/>
                      <a:gd name="connsiteY12" fmla="*/ 27432 h 27432"/>
                      <a:gd name="connsiteX13" fmla="*/ 5092306 w 6365383"/>
                      <a:gd name="connsiteY13" fmla="*/ 27432 h 27432"/>
                      <a:gd name="connsiteX14" fmla="*/ 4583076 w 6365383"/>
                      <a:gd name="connsiteY14" fmla="*/ 27432 h 27432"/>
                      <a:gd name="connsiteX15" fmla="*/ 4137499 w 6365383"/>
                      <a:gd name="connsiteY15" fmla="*/ 27432 h 27432"/>
                      <a:gd name="connsiteX16" fmla="*/ 3691922 w 6365383"/>
                      <a:gd name="connsiteY16" fmla="*/ 27432 h 27432"/>
                      <a:gd name="connsiteX17" fmla="*/ 2991730 w 6365383"/>
                      <a:gd name="connsiteY17" fmla="*/ 27432 h 27432"/>
                      <a:gd name="connsiteX18" fmla="*/ 2546153 w 6365383"/>
                      <a:gd name="connsiteY18" fmla="*/ 27432 h 27432"/>
                      <a:gd name="connsiteX19" fmla="*/ 1909615 w 6365383"/>
                      <a:gd name="connsiteY19" fmla="*/ 27432 h 27432"/>
                      <a:gd name="connsiteX20" fmla="*/ 1400384 w 6365383"/>
                      <a:gd name="connsiteY20" fmla="*/ 27432 h 27432"/>
                      <a:gd name="connsiteX21" fmla="*/ 763846 w 6365383"/>
                      <a:gd name="connsiteY21" fmla="*/ 27432 h 27432"/>
                      <a:gd name="connsiteX22" fmla="*/ 0 w 6365383"/>
                      <a:gd name="connsiteY22" fmla="*/ 27432 h 27432"/>
                      <a:gd name="connsiteX23" fmla="*/ 0 w 6365383"/>
                      <a:gd name="connsiteY23"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365383" h="27432" fill="none" extrusionOk="0">
                        <a:moveTo>
                          <a:pt x="0" y="0"/>
                        </a:moveTo>
                        <a:cubicBezTo>
                          <a:pt x="305169" y="21509"/>
                          <a:pt x="334704" y="-24261"/>
                          <a:pt x="636538" y="0"/>
                        </a:cubicBezTo>
                        <a:cubicBezTo>
                          <a:pt x="938372" y="24261"/>
                          <a:pt x="1068606" y="2269"/>
                          <a:pt x="1273077" y="0"/>
                        </a:cubicBezTo>
                        <a:cubicBezTo>
                          <a:pt x="1477548" y="-2269"/>
                          <a:pt x="1738189" y="6272"/>
                          <a:pt x="1909615" y="0"/>
                        </a:cubicBezTo>
                        <a:cubicBezTo>
                          <a:pt x="2081041" y="-6272"/>
                          <a:pt x="2377015" y="16623"/>
                          <a:pt x="2673461" y="0"/>
                        </a:cubicBezTo>
                        <a:cubicBezTo>
                          <a:pt x="2969907" y="-16623"/>
                          <a:pt x="3126114" y="13194"/>
                          <a:pt x="3373653" y="0"/>
                        </a:cubicBezTo>
                        <a:cubicBezTo>
                          <a:pt x="3621192" y="-13194"/>
                          <a:pt x="3704499" y="9486"/>
                          <a:pt x="3819230" y="0"/>
                        </a:cubicBezTo>
                        <a:cubicBezTo>
                          <a:pt x="3933961" y="-9486"/>
                          <a:pt x="4142691" y="-8221"/>
                          <a:pt x="4392114" y="0"/>
                        </a:cubicBezTo>
                        <a:cubicBezTo>
                          <a:pt x="4641537" y="8221"/>
                          <a:pt x="4974506" y="12257"/>
                          <a:pt x="5155960" y="0"/>
                        </a:cubicBezTo>
                        <a:cubicBezTo>
                          <a:pt x="5337414" y="-12257"/>
                          <a:pt x="5585731" y="-22537"/>
                          <a:pt x="5792499" y="0"/>
                        </a:cubicBezTo>
                        <a:cubicBezTo>
                          <a:pt x="5999267" y="22537"/>
                          <a:pt x="6164726" y="7303"/>
                          <a:pt x="6365383" y="0"/>
                        </a:cubicBezTo>
                        <a:cubicBezTo>
                          <a:pt x="6365125" y="7487"/>
                          <a:pt x="6364462" y="19984"/>
                          <a:pt x="6365383" y="27432"/>
                        </a:cubicBezTo>
                        <a:cubicBezTo>
                          <a:pt x="6132222" y="28304"/>
                          <a:pt x="6011986" y="2071"/>
                          <a:pt x="5856152" y="27432"/>
                        </a:cubicBezTo>
                        <a:cubicBezTo>
                          <a:pt x="5700318" y="52793"/>
                          <a:pt x="5410732" y="5357"/>
                          <a:pt x="5092306" y="27432"/>
                        </a:cubicBezTo>
                        <a:cubicBezTo>
                          <a:pt x="4773880" y="49507"/>
                          <a:pt x="4705351" y="6645"/>
                          <a:pt x="4583076" y="27432"/>
                        </a:cubicBezTo>
                        <a:cubicBezTo>
                          <a:pt x="4460801" y="48220"/>
                          <a:pt x="4239915" y="42209"/>
                          <a:pt x="4137499" y="27432"/>
                        </a:cubicBezTo>
                        <a:cubicBezTo>
                          <a:pt x="4035083" y="12655"/>
                          <a:pt x="3883665" y="32012"/>
                          <a:pt x="3691922" y="27432"/>
                        </a:cubicBezTo>
                        <a:cubicBezTo>
                          <a:pt x="3500179" y="22852"/>
                          <a:pt x="3265830" y="-126"/>
                          <a:pt x="2991730" y="27432"/>
                        </a:cubicBezTo>
                        <a:cubicBezTo>
                          <a:pt x="2717630" y="54990"/>
                          <a:pt x="2757122" y="34407"/>
                          <a:pt x="2546153" y="27432"/>
                        </a:cubicBezTo>
                        <a:cubicBezTo>
                          <a:pt x="2335184" y="20457"/>
                          <a:pt x="2107331" y="58889"/>
                          <a:pt x="1909615" y="27432"/>
                        </a:cubicBezTo>
                        <a:cubicBezTo>
                          <a:pt x="1711899" y="-4025"/>
                          <a:pt x="1634641" y="48316"/>
                          <a:pt x="1400384" y="27432"/>
                        </a:cubicBezTo>
                        <a:cubicBezTo>
                          <a:pt x="1166127" y="6548"/>
                          <a:pt x="1068288" y="15776"/>
                          <a:pt x="763846" y="27432"/>
                        </a:cubicBezTo>
                        <a:cubicBezTo>
                          <a:pt x="459404" y="39088"/>
                          <a:pt x="170017" y="14515"/>
                          <a:pt x="0" y="27432"/>
                        </a:cubicBezTo>
                        <a:cubicBezTo>
                          <a:pt x="-14" y="18173"/>
                          <a:pt x="-517" y="8990"/>
                          <a:pt x="0" y="0"/>
                        </a:cubicBezTo>
                        <a:close/>
                      </a:path>
                      <a:path w="6365383" h="27432" stroke="0" extrusionOk="0">
                        <a:moveTo>
                          <a:pt x="0" y="0"/>
                        </a:moveTo>
                        <a:cubicBezTo>
                          <a:pt x="114610" y="-2215"/>
                          <a:pt x="340315" y="12554"/>
                          <a:pt x="572884" y="0"/>
                        </a:cubicBezTo>
                        <a:cubicBezTo>
                          <a:pt x="805453" y="-12554"/>
                          <a:pt x="832891" y="-10424"/>
                          <a:pt x="1018461" y="0"/>
                        </a:cubicBezTo>
                        <a:cubicBezTo>
                          <a:pt x="1204031" y="10424"/>
                          <a:pt x="1590875" y="8682"/>
                          <a:pt x="1782307" y="0"/>
                        </a:cubicBezTo>
                        <a:cubicBezTo>
                          <a:pt x="1973739" y="-8682"/>
                          <a:pt x="2150876" y="5508"/>
                          <a:pt x="2355192" y="0"/>
                        </a:cubicBezTo>
                        <a:cubicBezTo>
                          <a:pt x="2559508" y="-5508"/>
                          <a:pt x="2790194" y="26965"/>
                          <a:pt x="2928076" y="0"/>
                        </a:cubicBezTo>
                        <a:cubicBezTo>
                          <a:pt x="3065958" y="-26965"/>
                          <a:pt x="3321537" y="819"/>
                          <a:pt x="3691922" y="0"/>
                        </a:cubicBezTo>
                        <a:cubicBezTo>
                          <a:pt x="4062307" y="-819"/>
                          <a:pt x="4072238" y="-15327"/>
                          <a:pt x="4201153" y="0"/>
                        </a:cubicBezTo>
                        <a:cubicBezTo>
                          <a:pt x="4330068" y="15327"/>
                          <a:pt x="4772079" y="-35646"/>
                          <a:pt x="4964999" y="0"/>
                        </a:cubicBezTo>
                        <a:cubicBezTo>
                          <a:pt x="5157919" y="35646"/>
                          <a:pt x="5543915" y="6802"/>
                          <a:pt x="5728845" y="0"/>
                        </a:cubicBezTo>
                        <a:cubicBezTo>
                          <a:pt x="5913775" y="-6802"/>
                          <a:pt x="6142952" y="-21408"/>
                          <a:pt x="6365383" y="0"/>
                        </a:cubicBezTo>
                        <a:cubicBezTo>
                          <a:pt x="6364552" y="6329"/>
                          <a:pt x="6365787" y="16858"/>
                          <a:pt x="6365383" y="27432"/>
                        </a:cubicBezTo>
                        <a:cubicBezTo>
                          <a:pt x="6176931" y="320"/>
                          <a:pt x="5998736" y="11244"/>
                          <a:pt x="5665191" y="27432"/>
                        </a:cubicBezTo>
                        <a:cubicBezTo>
                          <a:pt x="5331646" y="43620"/>
                          <a:pt x="5198011" y="28615"/>
                          <a:pt x="4901345" y="27432"/>
                        </a:cubicBezTo>
                        <a:cubicBezTo>
                          <a:pt x="4604679" y="26249"/>
                          <a:pt x="4422931" y="40617"/>
                          <a:pt x="4137499" y="27432"/>
                        </a:cubicBezTo>
                        <a:cubicBezTo>
                          <a:pt x="3852067" y="14247"/>
                          <a:pt x="3861939" y="26581"/>
                          <a:pt x="3628268" y="27432"/>
                        </a:cubicBezTo>
                        <a:cubicBezTo>
                          <a:pt x="3394597" y="28283"/>
                          <a:pt x="3171361" y="44132"/>
                          <a:pt x="2991730" y="27432"/>
                        </a:cubicBezTo>
                        <a:cubicBezTo>
                          <a:pt x="2812099" y="10732"/>
                          <a:pt x="2469344" y="24737"/>
                          <a:pt x="2227884" y="27432"/>
                        </a:cubicBezTo>
                        <a:cubicBezTo>
                          <a:pt x="1986424" y="30127"/>
                          <a:pt x="1748067" y="6359"/>
                          <a:pt x="1591346" y="27432"/>
                        </a:cubicBezTo>
                        <a:cubicBezTo>
                          <a:pt x="1434625" y="48505"/>
                          <a:pt x="1307456" y="39663"/>
                          <a:pt x="1145769" y="27432"/>
                        </a:cubicBezTo>
                        <a:cubicBezTo>
                          <a:pt x="984082" y="15201"/>
                          <a:pt x="800279" y="41647"/>
                          <a:pt x="636538" y="27432"/>
                        </a:cubicBezTo>
                        <a:cubicBezTo>
                          <a:pt x="472797" y="13217"/>
                          <a:pt x="160022" y="2213"/>
                          <a:pt x="0" y="27432"/>
                        </a:cubicBezTo>
                        <a:cubicBezTo>
                          <a:pt x="-177" y="19307"/>
                          <a:pt x="-1145" y="9170"/>
                          <a:pt x="0" y="0"/>
                        </a:cubicBezTo>
                        <a:close/>
                      </a:path>
                    </a:pathLst>
                  </a:cu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798192004"/>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6"/>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marL="0" marR="0" lvl="0" indent="0" algn="ctr" defTabSz="914400" rtl="0" eaLnBrk="1" fontAlgn="auto" latinLnBrk="0" hangingPunct="1">
                <a:lnSpc>
                  <a:spcPts val="3919"/>
                </a:lnSpc>
                <a:spcBef>
                  <a:spcPct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OCR A Extended" panose="02010509020102010303" pitchFamily="50" charset="0"/>
                  <a:ea typeface="+mn-ea"/>
                  <a:cs typeface="+mn-cs"/>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4"/>
          <a:srcRect/>
          <a:stretch>
            <a:fillRect/>
          </a:stretch>
        </p:blipFill>
        <p:spPr>
          <a:xfrm>
            <a:off x="0" y="8901113"/>
            <a:ext cx="5715000" cy="1385887"/>
          </a:xfrm>
          <a:prstGeom prst="rect">
            <a:avLst/>
          </a:prstGeom>
        </p:spPr>
      </p:pic>
      <p:sp>
        <p:nvSpPr>
          <p:cNvPr id="24" name="TextBox 23">
            <a:extLst>
              <a:ext uri="{FF2B5EF4-FFF2-40B4-BE49-F238E27FC236}">
                <a16:creationId xmlns:a16="http://schemas.microsoft.com/office/drawing/2014/main" id="{18A1E8C5-B4EA-439B-9904-844DAB8EC6FB}"/>
              </a:ext>
            </a:extLst>
          </p:cNvPr>
          <p:cNvSpPr txBox="1"/>
          <p:nvPr/>
        </p:nvSpPr>
        <p:spPr>
          <a:xfrm>
            <a:off x="741948" y="1197813"/>
            <a:ext cx="15458171"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a:ln>
                  <a:noFill/>
                </a:ln>
                <a:solidFill>
                  <a:srgbClr val="CC0033"/>
                </a:solidFill>
                <a:effectLst/>
                <a:uLnTx/>
                <a:uFillTx/>
                <a:latin typeface="Arial"/>
                <a:ea typeface="+mn-ea"/>
                <a:cs typeface="Arial" panose="020B0604020202020204" pitchFamily="34" charset="0"/>
              </a:rPr>
              <a:t>Implemented digital solutions</a:t>
            </a:r>
            <a:endParaRPr kumimoji="0" lang="sv-SE" sz="4800" b="1" i="0" u="none" strike="noStrike" kern="1200" cap="none" spc="0" normalizeH="0" baseline="0" noProof="0">
              <a:ln>
                <a:noFill/>
              </a:ln>
              <a:solidFill>
                <a:srgbClr val="CC0033"/>
              </a:solidFill>
              <a:effectLst/>
              <a:uLnTx/>
              <a:uFillTx/>
              <a:latin typeface="Arial"/>
              <a:ea typeface="+mn-ea"/>
              <a:cs typeface="Arial" panose="020B0604020202020204" pitchFamily="34" charset="0"/>
            </a:endParaRPr>
          </a:p>
        </p:txBody>
      </p:sp>
      <p:grpSp>
        <p:nvGrpSpPr>
          <p:cNvPr id="3" name="Gruppo 2">
            <a:extLst>
              <a:ext uri="{FF2B5EF4-FFF2-40B4-BE49-F238E27FC236}">
                <a16:creationId xmlns:a16="http://schemas.microsoft.com/office/drawing/2014/main" id="{2BF6FEDF-B76D-FD9D-47C5-85622C686D7B}"/>
              </a:ext>
            </a:extLst>
          </p:cNvPr>
          <p:cNvGrpSpPr/>
          <p:nvPr/>
        </p:nvGrpSpPr>
        <p:grpSpPr>
          <a:xfrm>
            <a:off x="-12" y="138554"/>
            <a:ext cx="18288002" cy="681138"/>
            <a:chOff x="-12" y="138554"/>
            <a:chExt cx="18288002" cy="681138"/>
          </a:xfrm>
        </p:grpSpPr>
        <p:grpSp>
          <p:nvGrpSpPr>
            <p:cNvPr id="5" name="Gruppo 1">
              <a:extLst>
                <a:ext uri="{FF2B5EF4-FFF2-40B4-BE49-F238E27FC236}">
                  <a16:creationId xmlns:a16="http://schemas.microsoft.com/office/drawing/2014/main" id="{997EFA7B-379D-2474-E351-90C2BE1C3028}"/>
                </a:ext>
              </a:extLst>
            </p:cNvPr>
            <p:cNvGrpSpPr/>
            <p:nvPr/>
          </p:nvGrpSpPr>
          <p:grpSpPr>
            <a:xfrm>
              <a:off x="0" y="153125"/>
              <a:ext cx="17907000" cy="666567"/>
              <a:chOff x="0" y="153125"/>
              <a:chExt cx="17907000" cy="666567"/>
            </a:xfrm>
          </p:grpSpPr>
          <p:grpSp>
            <p:nvGrpSpPr>
              <p:cNvPr id="7" name="Gruppo 15">
                <a:extLst>
                  <a:ext uri="{FF2B5EF4-FFF2-40B4-BE49-F238E27FC236}">
                    <a16:creationId xmlns:a16="http://schemas.microsoft.com/office/drawing/2014/main" id="{F6C1F504-029E-3CF2-8F00-FB6CF69F7092}"/>
                  </a:ext>
                </a:extLst>
              </p:cNvPr>
              <p:cNvGrpSpPr/>
              <p:nvPr/>
            </p:nvGrpSpPr>
            <p:grpSpPr>
              <a:xfrm>
                <a:off x="0" y="153125"/>
                <a:ext cx="13958844" cy="666567"/>
                <a:chOff x="0" y="153125"/>
                <a:chExt cx="13958844" cy="666567"/>
              </a:xfrm>
            </p:grpSpPr>
            <p:pic>
              <p:nvPicPr>
                <p:cNvPr id="13" name="Picture 10">
                  <a:extLst>
                    <a:ext uri="{FF2B5EF4-FFF2-40B4-BE49-F238E27FC236}">
                      <a16:creationId xmlns:a16="http://schemas.microsoft.com/office/drawing/2014/main" id="{FA9040E7-9A49-1D5D-D3CF-619CBE4EF9A1}"/>
                    </a:ext>
                  </a:extLst>
                </p:cNvPr>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4" name="TextBox 11">
                  <a:extLst>
                    <a:ext uri="{FF2B5EF4-FFF2-40B4-BE49-F238E27FC236}">
                      <a16:creationId xmlns:a16="http://schemas.microsoft.com/office/drawing/2014/main" id="{555D62B6-1711-5DE9-6801-4ADD6C4EE966}"/>
                    </a:ext>
                  </a:extLst>
                </p:cNvPr>
                <p:cNvSpPr txBox="1"/>
                <p:nvPr/>
              </p:nvSpPr>
              <p:spPr>
                <a:xfrm>
                  <a:off x="228600" y="257980"/>
                  <a:ext cx="9296400" cy="456856"/>
                </a:xfrm>
                <a:prstGeom prst="rect">
                  <a:avLst/>
                </a:prstGeom>
              </p:spPr>
              <p:txBody>
                <a:bodyPr wrap="square" lIns="0" tIns="0" rIns="0" bIns="0" rtlCol="0" anchor="t">
                  <a:spAutoFit/>
                </a:bodyPr>
                <a:lstStyle/>
                <a:p>
                  <a:pPr marL="0" marR="0" lvl="0" indent="0" algn="l" defTabSz="914400" rtl="0" eaLnBrk="1" fontAlgn="auto" latinLnBrk="0" hangingPunct="1">
                    <a:lnSpc>
                      <a:spcPts val="3919"/>
                    </a:lnSpc>
                    <a:spcBef>
                      <a:spcPct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8" name="TextBox 7">
                <a:extLst>
                  <a:ext uri="{FF2B5EF4-FFF2-40B4-BE49-F238E27FC236}">
                    <a16:creationId xmlns:a16="http://schemas.microsoft.com/office/drawing/2014/main" id="{D7DDCECF-FF75-D60D-1173-211FDEA8EC87}"/>
                  </a:ext>
                </a:extLst>
              </p:cNvPr>
              <p:cNvSpPr txBox="1"/>
              <p:nvPr/>
            </p:nvSpPr>
            <p:spPr>
              <a:xfrm>
                <a:off x="12154296" y="257980"/>
                <a:ext cx="5752704" cy="456856"/>
              </a:xfrm>
              <a:prstGeom prst="rect">
                <a:avLst/>
              </a:prstGeom>
            </p:spPr>
            <p:txBody>
              <a:bodyPr wrap="square" lIns="0" tIns="0" rIns="0" bIns="0" rtlCol="0" anchor="t">
                <a:spAutoFit/>
              </a:bodyPr>
              <a:lstStyle/>
              <a:p>
                <a:pPr marL="0" marR="0" lvl="0" indent="0" algn="r" defTabSz="914400" rtl="0" eaLnBrk="1" fontAlgn="auto" latinLnBrk="0" hangingPunct="1">
                  <a:lnSpc>
                    <a:spcPts val="3919"/>
                  </a:lnSpc>
                  <a:spcBef>
                    <a:spcPct val="0"/>
                  </a:spcBef>
                  <a:spcAft>
                    <a:spcPts val="0"/>
                  </a:spcAft>
                  <a:buClrTx/>
                  <a:buSzTx/>
                  <a:buFontTx/>
                  <a:buNone/>
                  <a:tabLst/>
                  <a:defRPr/>
                </a:pPr>
                <a:endParaRPr kumimoji="0" lang="en-US" sz="2800" b="0" i="0" u="none" strike="noStrike" kern="1200" cap="none" spc="0" normalizeH="0" baseline="0" noProof="0">
                  <a:ln>
                    <a:noFill/>
                  </a:ln>
                  <a:solidFill>
                    <a:srgbClr val="2F2F2F">
                      <a:lumMod val="75000"/>
                      <a:lumOff val="25000"/>
                    </a:srgbClr>
                  </a:solidFill>
                  <a:effectLst/>
                  <a:uLnTx/>
                  <a:uFillTx/>
                  <a:latin typeface="Arial" panose="020B0604020202020204" pitchFamily="34" charset="0"/>
                  <a:ea typeface="+mn-ea"/>
                  <a:cs typeface="Arial" panose="020B0604020202020204" pitchFamily="34" charset="0"/>
                </a:endParaRPr>
              </a:p>
            </p:txBody>
          </p:sp>
        </p:grpSp>
        <p:sp>
          <p:nvSpPr>
            <p:cNvPr id="6" name="Rettangolo 13">
              <a:extLst>
                <a:ext uri="{FF2B5EF4-FFF2-40B4-BE49-F238E27FC236}">
                  <a16:creationId xmlns:a16="http://schemas.microsoft.com/office/drawing/2014/main" id="{A8B24503-3A2C-D82F-8FCC-B109F9D71FA2}"/>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graphicFrame>
        <p:nvGraphicFramePr>
          <p:cNvPr id="2" name="Table 3">
            <a:extLst>
              <a:ext uri="{FF2B5EF4-FFF2-40B4-BE49-F238E27FC236}">
                <a16:creationId xmlns:a16="http://schemas.microsoft.com/office/drawing/2014/main" id="{1065279C-0791-B6A3-DD41-69FEF2E759CF}"/>
              </a:ext>
            </a:extLst>
          </p:cNvPr>
          <p:cNvGraphicFramePr>
            <a:graphicFrameLocks noGrp="1"/>
          </p:cNvGraphicFramePr>
          <p:nvPr>
            <p:extLst>
              <p:ext uri="{D42A27DB-BD31-4B8C-83A1-F6EECF244321}">
                <p14:modId xmlns:p14="http://schemas.microsoft.com/office/powerpoint/2010/main" val="2365921936"/>
              </p:ext>
            </p:extLst>
          </p:nvPr>
        </p:nvGraphicFramePr>
        <p:xfrm>
          <a:off x="741948" y="4001717"/>
          <a:ext cx="16413481" cy="4740402"/>
        </p:xfrm>
        <a:graphic>
          <a:graphicData uri="http://schemas.openxmlformats.org/drawingml/2006/table">
            <a:tbl>
              <a:tblPr firstRow="1" bandRow="1">
                <a:tableStyleId>{21E4AEA4-8DFA-4A89-87EB-49C32662AFE0}</a:tableStyleId>
              </a:tblPr>
              <a:tblGrid>
                <a:gridCol w="5918159">
                  <a:extLst>
                    <a:ext uri="{9D8B030D-6E8A-4147-A177-3AD203B41FA5}">
                      <a16:colId xmlns:a16="http://schemas.microsoft.com/office/drawing/2014/main" val="2437984959"/>
                    </a:ext>
                  </a:extLst>
                </a:gridCol>
                <a:gridCol w="4982433">
                  <a:extLst>
                    <a:ext uri="{9D8B030D-6E8A-4147-A177-3AD203B41FA5}">
                      <a16:colId xmlns:a16="http://schemas.microsoft.com/office/drawing/2014/main" val="2413250884"/>
                    </a:ext>
                  </a:extLst>
                </a:gridCol>
                <a:gridCol w="5512889">
                  <a:extLst>
                    <a:ext uri="{9D8B030D-6E8A-4147-A177-3AD203B41FA5}">
                      <a16:colId xmlns:a16="http://schemas.microsoft.com/office/drawing/2014/main" val="2169069075"/>
                    </a:ext>
                  </a:extLst>
                </a:gridCol>
              </a:tblGrid>
              <a:tr h="370840">
                <a:tc>
                  <a:txBody>
                    <a:bodyPr/>
                    <a:lstStyle/>
                    <a:p>
                      <a:r>
                        <a:rPr lang="en-GB" sz="2400" b="1" kern="1200">
                          <a:solidFill>
                            <a:schemeClr val="lt1"/>
                          </a:solidFill>
                        </a:rPr>
                        <a:t>Solution</a:t>
                      </a:r>
                      <a:r>
                        <a:rPr lang="en-GB" sz="1600" b="1" kern="1200">
                          <a:solidFill>
                            <a:schemeClr val="lt1"/>
                          </a:solidFill>
                          <a:effectLst/>
                        </a:rPr>
                        <a:t> </a:t>
                      </a:r>
                      <a:endParaRPr lang="sv-SE" sz="2400"/>
                    </a:p>
                  </a:txBody>
                  <a:tcPr/>
                </a:tc>
                <a:tc>
                  <a:txBody>
                    <a:bodyPr/>
                    <a:lstStyle/>
                    <a:p>
                      <a:r>
                        <a:rPr lang="en-GB" sz="2400"/>
                        <a:t>Demo</a:t>
                      </a:r>
                      <a:endParaRPr lang="sv-SE" sz="2400"/>
                    </a:p>
                  </a:txBody>
                  <a:tcPr/>
                </a:tc>
                <a:tc>
                  <a:txBody>
                    <a:bodyPr/>
                    <a:lstStyle/>
                    <a:p>
                      <a:r>
                        <a:rPr lang="sv-SE" sz="2400"/>
                        <a:t>Solution developer</a:t>
                      </a:r>
                      <a:endParaRPr lang="sv-SE" sz="2400" dirty="0"/>
                    </a:p>
                  </a:txBody>
                  <a:tcPr/>
                </a:tc>
                <a:extLst>
                  <a:ext uri="{0D108BD9-81ED-4DB2-BD59-A6C34878D82A}">
                    <a16:rowId xmlns:a16="http://schemas.microsoft.com/office/drawing/2014/main" val="2162290095"/>
                  </a:ext>
                </a:extLst>
              </a:tr>
              <a:tr h="370840">
                <a:tc>
                  <a:txBody>
                    <a:bodyPr/>
                    <a:lstStyle/>
                    <a:p>
                      <a:r>
                        <a:rPr lang="en-GB" sz="2400" b="1">
                          <a:solidFill>
                            <a:srgbClr val="000000"/>
                          </a:solidFill>
                          <a:effectLst/>
                        </a:rPr>
                        <a:t>Digital Twins</a:t>
                      </a:r>
                      <a:endParaRPr lang="sv-SE" sz="2400"/>
                    </a:p>
                  </a:txBody>
                  <a:tcPr/>
                </a:tc>
                <a:tc>
                  <a:txBody>
                    <a:bodyPr/>
                    <a:lstStyle/>
                    <a:p>
                      <a:pPr marL="0" lvl="1" indent="0" algn="just">
                        <a:lnSpc>
                          <a:spcPct val="125000"/>
                        </a:lnSpc>
                        <a:spcAft>
                          <a:spcPts val="1200"/>
                        </a:spcAft>
                        <a:buFont typeface="Courier New" panose="02070309020205020404" pitchFamily="49" charset="0"/>
                        <a:buNone/>
                      </a:pPr>
                      <a:r>
                        <a:rPr lang="en-GB" sz="2400" kern="1200">
                          <a:solidFill>
                            <a:srgbClr val="000000"/>
                          </a:solidFill>
                          <a:effectLst/>
                        </a:rPr>
                        <a:t>Secil</a:t>
                      </a:r>
                      <a:r>
                        <a:rPr lang="en-GB" sz="2400">
                          <a:solidFill>
                            <a:srgbClr val="000000"/>
                          </a:solidFill>
                          <a:effectLst/>
                        </a:rPr>
                        <a:t>, Fertiberia, Torrecid</a:t>
                      </a:r>
                    </a:p>
                    <a:p>
                      <a:pPr marL="0" lvl="1" indent="0" algn="just">
                        <a:lnSpc>
                          <a:spcPct val="125000"/>
                        </a:lnSpc>
                        <a:spcAft>
                          <a:spcPts val="1200"/>
                        </a:spcAft>
                        <a:buFont typeface="Courier New" panose="02070309020205020404" pitchFamily="49" charset="0"/>
                        <a:buNone/>
                      </a:pPr>
                      <a:r>
                        <a:rPr lang="en-GB" sz="2400">
                          <a:solidFill>
                            <a:srgbClr val="000000"/>
                          </a:solidFill>
                          <a:effectLst/>
                        </a:rPr>
                        <a:t>Feno, Silcotub</a:t>
                      </a:r>
                    </a:p>
                    <a:p>
                      <a:pPr marL="0" lvl="1" indent="0" algn="just">
                        <a:lnSpc>
                          <a:spcPct val="125000"/>
                        </a:lnSpc>
                        <a:spcAft>
                          <a:spcPts val="1200"/>
                        </a:spcAft>
                        <a:buFont typeface="Courier New" panose="02070309020205020404" pitchFamily="49" charset="0"/>
                        <a:buNone/>
                      </a:pPr>
                      <a:r>
                        <a:rPr lang="en-GB" sz="2400">
                          <a:solidFill>
                            <a:srgbClr val="000000"/>
                          </a:solidFill>
                          <a:effectLst/>
                        </a:rPr>
                        <a:t>Asas</a:t>
                      </a:r>
                      <a:endParaRPr lang="sv-SE" sz="2400"/>
                    </a:p>
                  </a:txBody>
                  <a:tcPr/>
                </a:tc>
                <a:tc>
                  <a:txBody>
                    <a:bodyPr/>
                    <a:lstStyle/>
                    <a:p>
                      <a:pPr marL="0" lvl="1" indent="0" algn="just">
                        <a:lnSpc>
                          <a:spcPct val="125000"/>
                        </a:lnSpc>
                        <a:spcAft>
                          <a:spcPts val="1200"/>
                        </a:spcAft>
                        <a:buFont typeface="Courier New" panose="02070309020205020404" pitchFamily="49" charset="0"/>
                        <a:buNone/>
                      </a:pPr>
                      <a:r>
                        <a:rPr lang="sv-SE" sz="2400"/>
                        <a:t>Circe</a:t>
                      </a:r>
                    </a:p>
                    <a:p>
                      <a:pPr marL="0" lvl="1" indent="0" algn="just">
                        <a:lnSpc>
                          <a:spcPct val="125000"/>
                        </a:lnSpc>
                        <a:spcAft>
                          <a:spcPts val="1200"/>
                        </a:spcAft>
                        <a:buFont typeface="Courier New" panose="02070309020205020404" pitchFamily="49" charset="0"/>
                        <a:buNone/>
                      </a:pPr>
                      <a:r>
                        <a:rPr lang="sv-SE" sz="2400"/>
                        <a:t>CSM</a:t>
                      </a:r>
                    </a:p>
                    <a:p>
                      <a:pPr marL="0" lvl="1" indent="0" algn="just">
                        <a:lnSpc>
                          <a:spcPct val="125000"/>
                        </a:lnSpc>
                        <a:spcAft>
                          <a:spcPts val="1200"/>
                        </a:spcAft>
                        <a:buFont typeface="Courier New" panose="02070309020205020404" pitchFamily="49" charset="0"/>
                        <a:buNone/>
                      </a:pPr>
                      <a:r>
                        <a:rPr lang="sv-SE" sz="2400"/>
                        <a:t>IEN</a:t>
                      </a:r>
                      <a:endParaRPr lang="sv-SE" sz="2400" dirty="0"/>
                    </a:p>
                  </a:txBody>
                  <a:tcPr/>
                </a:tc>
                <a:extLst>
                  <a:ext uri="{0D108BD9-81ED-4DB2-BD59-A6C34878D82A}">
                    <a16:rowId xmlns:a16="http://schemas.microsoft.com/office/drawing/2014/main" val="1261250025"/>
                  </a:ext>
                </a:extLst>
              </a:tr>
              <a:tr h="370840">
                <a:tc>
                  <a:txBody>
                    <a:bodyPr/>
                    <a:lstStyle/>
                    <a:p>
                      <a:r>
                        <a:rPr lang="en-GB" sz="2400" b="1">
                          <a:solidFill>
                            <a:srgbClr val="000000"/>
                          </a:solidFill>
                          <a:effectLst/>
                        </a:rPr>
                        <a:t>Machine learning models</a:t>
                      </a:r>
                      <a:endParaRPr lang="sv-SE" sz="240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400">
                          <a:solidFill>
                            <a:srgbClr val="000000"/>
                          </a:solidFill>
                          <a:effectLst/>
                        </a:rPr>
                        <a:t>Torrecid, Secil, Asas, Feno and Silcotub</a:t>
                      </a:r>
                      <a:endParaRPr lang="sv-SE" sz="2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2400" dirty="0"/>
                        <a:t>AIMEN</a:t>
                      </a:r>
                    </a:p>
                  </a:txBody>
                  <a:tcPr/>
                </a:tc>
                <a:extLst>
                  <a:ext uri="{0D108BD9-81ED-4DB2-BD59-A6C34878D82A}">
                    <a16:rowId xmlns:a16="http://schemas.microsoft.com/office/drawing/2014/main" val="429905377"/>
                  </a:ext>
                </a:extLst>
              </a:tr>
              <a:tr h="0">
                <a:tc>
                  <a:txBody>
                    <a:bodyPr/>
                    <a:lstStyle/>
                    <a:p>
                      <a:r>
                        <a:rPr lang="en-GB" sz="2400" b="1">
                          <a:solidFill>
                            <a:srgbClr val="000000"/>
                          </a:solidFill>
                          <a:effectLst/>
                        </a:rPr>
                        <a:t>Monitoring models</a:t>
                      </a:r>
                      <a:endParaRPr lang="sv-SE" sz="240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400">
                          <a:solidFill>
                            <a:srgbClr val="000000"/>
                          </a:solidFill>
                          <a:effectLst/>
                        </a:rPr>
                        <a:t>Torrecid and Secil</a:t>
                      </a:r>
                      <a:endParaRPr lang="sv-SE" sz="24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24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Circe</a:t>
                      </a:r>
                      <a:endParaRPr lang="sv-SE" sz="24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2642579119"/>
                  </a:ext>
                </a:extLst>
              </a:tr>
              <a:tr h="0">
                <a:tc>
                  <a:txBody>
                    <a:bodyPr/>
                    <a:lstStyle/>
                    <a:p>
                      <a:r>
                        <a:rPr lang="en-GB" sz="2400" b="1">
                          <a:solidFill>
                            <a:srgbClr val="000000"/>
                          </a:solidFill>
                          <a:effectLst/>
                        </a:rPr>
                        <a:t>Clinker quality model</a:t>
                      </a:r>
                      <a:endParaRPr lang="sv-SE" sz="2400"/>
                    </a:p>
                  </a:txBody>
                  <a:tcPr/>
                </a:tc>
                <a:tc>
                  <a:txBody>
                    <a:bodyPr/>
                    <a:lstStyle/>
                    <a:p>
                      <a:r>
                        <a:rPr lang="en-GB" sz="2400">
                          <a:solidFill>
                            <a:srgbClr val="000000"/>
                          </a:solidFill>
                          <a:effectLst/>
                        </a:rPr>
                        <a:t>Secil</a:t>
                      </a:r>
                      <a:endParaRPr lang="sv-SE" sz="2400"/>
                    </a:p>
                  </a:txBody>
                  <a:tcPr/>
                </a:tc>
                <a:tc>
                  <a:txBody>
                    <a:bodyPr/>
                    <a:lstStyle/>
                    <a:p>
                      <a:r>
                        <a:rPr lang="sv-SE" sz="2400" dirty="0"/>
                        <a:t>AIMEN</a:t>
                      </a:r>
                    </a:p>
                  </a:txBody>
                  <a:tcPr/>
                </a:tc>
                <a:extLst>
                  <a:ext uri="{0D108BD9-81ED-4DB2-BD59-A6C34878D82A}">
                    <a16:rowId xmlns:a16="http://schemas.microsoft.com/office/drawing/2014/main" val="4029389053"/>
                  </a:ext>
                </a:extLst>
              </a:tr>
              <a:tr h="0">
                <a:tc>
                  <a:txBody>
                    <a:bodyPr/>
                    <a:lstStyle/>
                    <a:p>
                      <a:r>
                        <a:rPr lang="en-GB" sz="2400" b="1">
                          <a:solidFill>
                            <a:srgbClr val="000000"/>
                          </a:solidFill>
                          <a:effectLst/>
                        </a:rPr>
                        <a:t>Recipes melting temperature prediction model</a:t>
                      </a:r>
                      <a:endParaRPr lang="sv-SE" sz="2400"/>
                    </a:p>
                  </a:txBody>
                  <a:tcPr/>
                </a:tc>
                <a:tc>
                  <a:txBody>
                    <a:bodyPr/>
                    <a:lstStyle/>
                    <a:p>
                      <a:r>
                        <a:rPr lang="en-GB" sz="2400">
                          <a:solidFill>
                            <a:srgbClr val="000000"/>
                          </a:solidFill>
                          <a:effectLst/>
                        </a:rPr>
                        <a:t>Torrecid</a:t>
                      </a:r>
                      <a:endParaRPr lang="sv-SE" sz="2400"/>
                    </a:p>
                  </a:txBody>
                  <a:tcPr/>
                </a:tc>
                <a:tc>
                  <a:txBody>
                    <a:bodyPr/>
                    <a:lstStyle/>
                    <a:p>
                      <a:r>
                        <a:rPr lang="sv-SE" sz="2400"/>
                        <a:t>Circe</a:t>
                      </a:r>
                      <a:endParaRPr lang="sv-SE" sz="2400" dirty="0"/>
                    </a:p>
                  </a:txBody>
                  <a:tcPr/>
                </a:tc>
                <a:extLst>
                  <a:ext uri="{0D108BD9-81ED-4DB2-BD59-A6C34878D82A}">
                    <a16:rowId xmlns:a16="http://schemas.microsoft.com/office/drawing/2014/main" val="2561723758"/>
                  </a:ext>
                </a:extLst>
              </a:tr>
            </a:tbl>
          </a:graphicData>
        </a:graphic>
      </p:graphicFrame>
      <p:sp>
        <p:nvSpPr>
          <p:cNvPr id="10" name="CuadroTexto 5">
            <a:extLst>
              <a:ext uri="{FF2B5EF4-FFF2-40B4-BE49-F238E27FC236}">
                <a16:creationId xmlns:a16="http://schemas.microsoft.com/office/drawing/2014/main" id="{90BF635B-EF03-A91F-7672-B0D3B967D227}"/>
              </a:ext>
            </a:extLst>
          </p:cNvPr>
          <p:cNvSpPr txBox="1"/>
          <p:nvPr/>
        </p:nvSpPr>
        <p:spPr>
          <a:xfrm>
            <a:off x="741947" y="2649814"/>
            <a:ext cx="16413481"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2F2F2F"/>
                </a:solidFill>
                <a:effectLst/>
                <a:uLnTx/>
                <a:uFillTx/>
                <a:latin typeface="Arial"/>
                <a:ea typeface="+mn-ea"/>
                <a:cs typeface="+mn-cs"/>
              </a:rPr>
              <a:t>This section is presenting the challenges the solution developers were facing during development of the digitals solutions. The digital solutions for each site and the developers are presented in the table below. </a:t>
            </a:r>
          </a:p>
        </p:txBody>
      </p:sp>
    </p:spTree>
    <p:extLst>
      <p:ext uri="{BB962C8B-B14F-4D97-AF65-F5344CB8AC3E}">
        <p14:creationId xmlns:p14="http://schemas.microsoft.com/office/powerpoint/2010/main" val="2546205019"/>
      </p:ext>
    </p:extLst>
  </p:cSld>
  <p:clrMapOvr>
    <a:masterClrMapping/>
  </p:clrMapOvr>
  <mc:AlternateContent xmlns:mc="http://schemas.openxmlformats.org/markup-compatibility/2006" xmlns:p14="http://schemas.microsoft.com/office/powerpoint/2010/main">
    <mc:Choice Requires="p14">
      <p:transition spd="slow" p14:dur="2000" advTm="92160"/>
    </mc:Choice>
    <mc:Fallback xmlns="">
      <p:transition spd="slow" advTm="92160"/>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58" name="Rectangle 57">
            <a:extLst>
              <a:ext uri="{FF2B5EF4-FFF2-40B4-BE49-F238E27FC236}">
                <a16:creationId xmlns:a16="http://schemas.microsoft.com/office/drawing/2014/main" id="{289ED1AA-8684-4D37-B208-8777E1A7780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8283428" cy="10287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0" name="Graphic 33">
            <a:extLst>
              <a:ext uri="{FF2B5EF4-FFF2-40B4-BE49-F238E27FC236}">
                <a16:creationId xmlns:a16="http://schemas.microsoft.com/office/drawing/2014/main" id="{4180E01B-B1F4-437C-807D-1C930718EE6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966176" y="0"/>
            <a:ext cx="14355646" cy="10287000"/>
          </a:xfrm>
          <a:custGeom>
            <a:avLst/>
            <a:gdLst>
              <a:gd name="connsiteX0" fmla="*/ 7178288 w 7187261"/>
              <a:gd name="connsiteY0" fmla="*/ 2604802 h 5150263"/>
              <a:gd name="connsiteX1" fmla="*/ 7169335 w 7187261"/>
              <a:gd name="connsiteY1" fmla="*/ 2328577 h 5150263"/>
              <a:gd name="connsiteX2" fmla="*/ 7060845 w 7187261"/>
              <a:gd name="connsiteY2" fmla="*/ 1661160 h 5150263"/>
              <a:gd name="connsiteX3" fmla="*/ 6212263 w 7187261"/>
              <a:gd name="connsiteY3" fmla="*/ 243840 h 5150263"/>
              <a:gd name="connsiteX4" fmla="*/ 5953564 w 7187261"/>
              <a:gd name="connsiteY4" fmla="*/ 0 h 5150263"/>
              <a:gd name="connsiteX5" fmla="*/ 1408615 w 7187261"/>
              <a:gd name="connsiteY5" fmla="*/ 0 h 5150263"/>
              <a:gd name="connsiteX6" fmla="*/ 805111 w 7187261"/>
              <a:gd name="connsiteY6" fmla="*/ 676275 h 5150263"/>
              <a:gd name="connsiteX7" fmla="*/ 104928 w 7187261"/>
              <a:gd name="connsiteY7" fmla="*/ 2183035 h 5150263"/>
              <a:gd name="connsiteX8" fmla="*/ 51588 w 7187261"/>
              <a:gd name="connsiteY8" fmla="*/ 2400014 h 5150263"/>
              <a:gd name="connsiteX9" fmla="*/ 41301 w 7187261"/>
              <a:gd name="connsiteY9" fmla="*/ 2424208 h 5150263"/>
              <a:gd name="connsiteX10" fmla="*/ 119692 w 7187261"/>
              <a:gd name="connsiteY10" fmla="*/ 1834801 h 5150263"/>
              <a:gd name="connsiteX11" fmla="*/ 870071 w 7187261"/>
              <a:gd name="connsiteY11" fmla="*/ 462248 h 5150263"/>
              <a:gd name="connsiteX12" fmla="*/ 1389279 w 7187261"/>
              <a:gd name="connsiteY12" fmla="*/ 476 h 5150263"/>
              <a:gd name="connsiteX13" fmla="*/ 1320223 w 7187261"/>
              <a:gd name="connsiteY13" fmla="*/ 476 h 5150263"/>
              <a:gd name="connsiteX14" fmla="*/ 423158 w 7187261"/>
              <a:gd name="connsiteY14" fmla="*/ 989743 h 5150263"/>
              <a:gd name="connsiteX15" fmla="*/ 25585 w 7187261"/>
              <a:gd name="connsiteY15" fmla="*/ 2113693 h 5150263"/>
              <a:gd name="connsiteX16" fmla="*/ 2344 w 7187261"/>
              <a:gd name="connsiteY16" fmla="*/ 2725865 h 5150263"/>
              <a:gd name="connsiteX17" fmla="*/ 447256 w 7187261"/>
              <a:gd name="connsiteY17" fmla="*/ 4210717 h 5150263"/>
              <a:gd name="connsiteX18" fmla="*/ 1138962 w 7187261"/>
              <a:gd name="connsiteY18" fmla="*/ 4988910 h 5150263"/>
              <a:gd name="connsiteX19" fmla="*/ 1348512 w 7187261"/>
              <a:gd name="connsiteY19" fmla="*/ 5146834 h 5150263"/>
              <a:gd name="connsiteX20" fmla="*/ 1422712 w 7187261"/>
              <a:gd name="connsiteY20" fmla="*/ 5146834 h 5150263"/>
              <a:gd name="connsiteX21" fmla="*/ 480594 w 7187261"/>
              <a:gd name="connsiteY21" fmla="*/ 4187952 h 5150263"/>
              <a:gd name="connsiteX22" fmla="*/ 398679 w 7187261"/>
              <a:gd name="connsiteY22" fmla="*/ 4046125 h 5150263"/>
              <a:gd name="connsiteX23" fmla="*/ 411823 w 7187261"/>
              <a:gd name="connsiteY23" fmla="*/ 4053078 h 5150263"/>
              <a:gd name="connsiteX24" fmla="*/ 1439380 w 7187261"/>
              <a:gd name="connsiteY24" fmla="*/ 5147405 h 5150263"/>
              <a:gd name="connsiteX25" fmla="*/ 5710010 w 7187261"/>
              <a:gd name="connsiteY25" fmla="*/ 5150263 h 5150263"/>
              <a:gd name="connsiteX26" fmla="*/ 5999665 w 7187261"/>
              <a:gd name="connsiteY26" fmla="*/ 4910900 h 5150263"/>
              <a:gd name="connsiteX27" fmla="*/ 6954165 w 7187261"/>
              <a:gd name="connsiteY27" fmla="*/ 3545777 h 5150263"/>
              <a:gd name="connsiteX28" fmla="*/ 7137712 w 7187261"/>
              <a:gd name="connsiteY28" fmla="*/ 2799207 h 5150263"/>
              <a:gd name="connsiteX29" fmla="*/ 7142951 w 7187261"/>
              <a:gd name="connsiteY29" fmla="*/ 2754535 h 5150263"/>
              <a:gd name="connsiteX30" fmla="*/ 7149428 w 7187261"/>
              <a:gd name="connsiteY30" fmla="*/ 2774823 h 5150263"/>
              <a:gd name="connsiteX31" fmla="*/ 7066465 w 7187261"/>
              <a:gd name="connsiteY31" fmla="*/ 3465672 h 5150263"/>
              <a:gd name="connsiteX32" fmla="*/ 6452578 w 7187261"/>
              <a:gd name="connsiteY32" fmla="*/ 4552760 h 5150263"/>
              <a:gd name="connsiteX33" fmla="*/ 5752110 w 7187261"/>
              <a:gd name="connsiteY33" fmla="*/ 5150263 h 5150263"/>
              <a:gd name="connsiteX34" fmla="*/ 5827643 w 7187261"/>
              <a:gd name="connsiteY34" fmla="*/ 5150263 h 5150263"/>
              <a:gd name="connsiteX35" fmla="*/ 6642793 w 7187261"/>
              <a:gd name="connsiteY35" fmla="*/ 4389406 h 5150263"/>
              <a:gd name="connsiteX36" fmla="*/ 7102469 w 7187261"/>
              <a:gd name="connsiteY36" fmla="*/ 3490817 h 5150263"/>
              <a:gd name="connsiteX37" fmla="*/ 7187242 w 7187261"/>
              <a:gd name="connsiteY37" fmla="*/ 2990183 h 5150263"/>
              <a:gd name="connsiteX38" fmla="*/ 7178288 w 7187261"/>
              <a:gd name="connsiteY38" fmla="*/ 2604802 h 5150263"/>
              <a:gd name="connsiteX39" fmla="*/ 6342565 w 7187261"/>
              <a:gd name="connsiteY39" fmla="*/ 441389 h 5150263"/>
              <a:gd name="connsiteX40" fmla="*/ 7126567 w 7187261"/>
              <a:gd name="connsiteY40" fmla="*/ 2355056 h 5150263"/>
              <a:gd name="connsiteX41" fmla="*/ 6342565 w 7187261"/>
              <a:gd name="connsiteY41" fmla="*/ 441389 h 5150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187261" h="5150263">
                <a:moveTo>
                  <a:pt x="7178288" y="2604802"/>
                </a:moveTo>
                <a:cubicBezTo>
                  <a:pt x="7168763" y="2513076"/>
                  <a:pt x="7174478" y="2420684"/>
                  <a:pt x="7169335" y="2328577"/>
                </a:cubicBezTo>
                <a:cubicBezTo>
                  <a:pt x="7156952" y="2102882"/>
                  <a:pt x="7120586" y="1879149"/>
                  <a:pt x="7060845" y="1661160"/>
                </a:cubicBezTo>
                <a:cubicBezTo>
                  <a:pt x="6910588" y="1121007"/>
                  <a:pt x="6617428" y="631374"/>
                  <a:pt x="6212263" y="243840"/>
                </a:cubicBezTo>
                <a:cubicBezTo>
                  <a:pt x="6126538" y="162496"/>
                  <a:pt x="6040813" y="80201"/>
                  <a:pt x="5953564" y="0"/>
                </a:cubicBezTo>
                <a:lnTo>
                  <a:pt x="1408615" y="0"/>
                </a:lnTo>
                <a:cubicBezTo>
                  <a:pt x="1180967" y="200316"/>
                  <a:pt x="978332" y="427387"/>
                  <a:pt x="805111" y="676275"/>
                </a:cubicBezTo>
                <a:cubicBezTo>
                  <a:pt x="481261" y="1136523"/>
                  <a:pt x="252089" y="1640872"/>
                  <a:pt x="104928" y="2183035"/>
                </a:cubicBezTo>
                <a:cubicBezTo>
                  <a:pt x="85878" y="2254853"/>
                  <a:pt x="69495" y="2327720"/>
                  <a:pt x="51588" y="2400014"/>
                </a:cubicBezTo>
                <a:cubicBezTo>
                  <a:pt x="49683" y="2407634"/>
                  <a:pt x="51588" y="2416969"/>
                  <a:pt x="41301" y="2424208"/>
                </a:cubicBezTo>
                <a:cubicBezTo>
                  <a:pt x="45900" y="2225469"/>
                  <a:pt x="72186" y="2027834"/>
                  <a:pt x="119692" y="1834801"/>
                </a:cubicBezTo>
                <a:cubicBezTo>
                  <a:pt x="247993" y="1310926"/>
                  <a:pt x="506121" y="857726"/>
                  <a:pt x="870071" y="462248"/>
                </a:cubicBezTo>
                <a:cubicBezTo>
                  <a:pt x="1027729" y="291823"/>
                  <a:pt x="1201617" y="137169"/>
                  <a:pt x="1389279" y="476"/>
                </a:cubicBezTo>
                <a:lnTo>
                  <a:pt x="1320223" y="476"/>
                </a:lnTo>
                <a:cubicBezTo>
                  <a:pt x="960844" y="274320"/>
                  <a:pt x="656330" y="599123"/>
                  <a:pt x="423158" y="989743"/>
                </a:cubicBezTo>
                <a:cubicBezTo>
                  <a:pt x="215608" y="1337596"/>
                  <a:pt x="80258" y="1711357"/>
                  <a:pt x="25585" y="2113693"/>
                </a:cubicBezTo>
                <a:cubicBezTo>
                  <a:pt x="-2705" y="2316480"/>
                  <a:pt x="-2228" y="2521077"/>
                  <a:pt x="2344" y="2725865"/>
                </a:cubicBezTo>
                <a:cubicBezTo>
                  <a:pt x="14155" y="3261932"/>
                  <a:pt x="170650" y="3754565"/>
                  <a:pt x="447256" y="4210717"/>
                </a:cubicBezTo>
                <a:cubicBezTo>
                  <a:pt x="629851" y="4511612"/>
                  <a:pt x="866356" y="4767167"/>
                  <a:pt x="1138962" y="4988910"/>
                </a:cubicBezTo>
                <a:cubicBezTo>
                  <a:pt x="1207161" y="5044345"/>
                  <a:pt x="1277008" y="5096990"/>
                  <a:pt x="1348512" y="5146834"/>
                </a:cubicBezTo>
                <a:lnTo>
                  <a:pt x="1422712" y="5146834"/>
                </a:lnTo>
                <a:cubicBezTo>
                  <a:pt x="1043426" y="4892802"/>
                  <a:pt x="724720" y="4577334"/>
                  <a:pt x="480594" y="4187952"/>
                </a:cubicBezTo>
                <a:cubicBezTo>
                  <a:pt x="452019" y="4141851"/>
                  <a:pt x="423444" y="4095179"/>
                  <a:pt x="398679" y="4046125"/>
                </a:cubicBezTo>
                <a:cubicBezTo>
                  <a:pt x="407442" y="4043267"/>
                  <a:pt x="409156" y="4048982"/>
                  <a:pt x="411823" y="4053078"/>
                </a:cubicBezTo>
                <a:cubicBezTo>
                  <a:pt x="683572" y="4484656"/>
                  <a:pt x="1033139" y="4842701"/>
                  <a:pt x="1439380" y="5147405"/>
                </a:cubicBezTo>
                <a:lnTo>
                  <a:pt x="5710010" y="5150263"/>
                </a:lnTo>
                <a:cubicBezTo>
                  <a:pt x="5810594" y="5075482"/>
                  <a:pt x="5907272" y="4995587"/>
                  <a:pt x="5999665" y="4910900"/>
                </a:cubicBezTo>
                <a:cubicBezTo>
                  <a:pt x="6418765" y="4526661"/>
                  <a:pt x="6746901" y="4078129"/>
                  <a:pt x="6954165" y="3545777"/>
                </a:cubicBezTo>
                <a:cubicBezTo>
                  <a:pt x="7048234" y="3306175"/>
                  <a:pt x="7109956" y="3055115"/>
                  <a:pt x="7137712" y="2799207"/>
                </a:cubicBezTo>
                <a:cubicBezTo>
                  <a:pt x="7139236" y="2784920"/>
                  <a:pt x="7141046" y="2770632"/>
                  <a:pt x="7142951" y="2754535"/>
                </a:cubicBezTo>
                <a:cubicBezTo>
                  <a:pt x="7151714" y="2760440"/>
                  <a:pt x="7149237" y="2768441"/>
                  <a:pt x="7149428" y="2774823"/>
                </a:cubicBezTo>
                <a:cubicBezTo>
                  <a:pt x="7156743" y="3007967"/>
                  <a:pt x="7128777" y="3240881"/>
                  <a:pt x="7066465" y="3465672"/>
                </a:cubicBezTo>
                <a:cubicBezTo>
                  <a:pt x="6952165" y="3878580"/>
                  <a:pt x="6737948" y="4235863"/>
                  <a:pt x="6452578" y="4552760"/>
                </a:cubicBezTo>
                <a:cubicBezTo>
                  <a:pt x="6244553" y="4783836"/>
                  <a:pt x="6008809" y="4980242"/>
                  <a:pt x="5752110" y="5150263"/>
                </a:cubicBezTo>
                <a:lnTo>
                  <a:pt x="5827643" y="5150263"/>
                </a:lnTo>
                <a:cubicBezTo>
                  <a:pt x="6136539" y="4938904"/>
                  <a:pt x="6412192" y="4689348"/>
                  <a:pt x="6642793" y="4389406"/>
                </a:cubicBezTo>
                <a:cubicBezTo>
                  <a:pt x="6851295" y="4118324"/>
                  <a:pt x="7009125" y="3820859"/>
                  <a:pt x="7102469" y="3490817"/>
                </a:cubicBezTo>
                <a:cubicBezTo>
                  <a:pt x="7148646" y="3327473"/>
                  <a:pt x="7177069" y="3159624"/>
                  <a:pt x="7187242" y="2990183"/>
                </a:cubicBezTo>
                <a:cubicBezTo>
                  <a:pt x="7187623" y="2984087"/>
                  <a:pt x="7182384" y="2642330"/>
                  <a:pt x="7178288" y="2604802"/>
                </a:cubicBezTo>
                <a:close/>
                <a:moveTo>
                  <a:pt x="6342565" y="441389"/>
                </a:moveTo>
                <a:cubicBezTo>
                  <a:pt x="6829797" y="986533"/>
                  <a:pt x="7091135" y="1624422"/>
                  <a:pt x="7126567" y="2355056"/>
                </a:cubicBezTo>
                <a:cubicBezTo>
                  <a:pt x="7001123" y="1661827"/>
                  <a:pt x="6756426" y="1017365"/>
                  <a:pt x="6342565" y="441389"/>
                </a:cubicBez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Arial"/>
              <a:ea typeface="+mn-ea"/>
              <a:cs typeface="+mn-cs"/>
            </a:endParaRPr>
          </a:p>
        </p:txBody>
      </p:sp>
      <p:sp>
        <p:nvSpPr>
          <p:cNvPr id="4" name="Title 3">
            <a:extLst>
              <a:ext uri="{FF2B5EF4-FFF2-40B4-BE49-F238E27FC236}">
                <a16:creationId xmlns:a16="http://schemas.microsoft.com/office/drawing/2014/main" id="{B009CD84-DA40-4CAA-8A89-DD6DAA862368}"/>
              </a:ext>
            </a:extLst>
          </p:cNvPr>
          <p:cNvSpPr>
            <a:spLocks noGrp="1"/>
          </p:cNvSpPr>
          <p:nvPr>
            <p:ph type="title"/>
          </p:nvPr>
        </p:nvSpPr>
        <p:spPr>
          <a:xfrm>
            <a:off x="1966176" y="1485900"/>
            <a:ext cx="14355646" cy="4348463"/>
          </a:xfrm>
        </p:spPr>
        <p:txBody>
          <a:bodyPr vert="horz" lIns="91440" tIns="45720" rIns="91440" bIns="45720" rtlCol="0" anchor="b">
            <a:normAutofit/>
          </a:bodyPr>
          <a:lstStyle/>
          <a:p>
            <a:pPr indent="457200">
              <a:lnSpc>
                <a:spcPct val="90000"/>
              </a:lnSpc>
              <a:spcAft>
                <a:spcPts val="600"/>
              </a:spcAft>
            </a:pPr>
            <a:r>
              <a:rPr lang="en-GB" sz="6000" b="1" kern="1200" noProof="0" dirty="0">
                <a:solidFill>
                  <a:srgbClr val="FFFFFF"/>
                </a:solidFill>
                <a:latin typeface="+mj-lt"/>
                <a:ea typeface="+mj-ea"/>
                <a:cs typeface="+mj-cs"/>
              </a:rPr>
              <a:t>Chapter 2.1 </a:t>
            </a:r>
            <a:br>
              <a:rPr lang="en-GB" sz="6000" b="1" kern="1200" noProof="0" dirty="0">
                <a:solidFill>
                  <a:srgbClr val="FFFFFF"/>
                </a:solidFill>
                <a:latin typeface="+mj-lt"/>
                <a:ea typeface="+mj-ea"/>
                <a:cs typeface="+mj-cs"/>
              </a:rPr>
            </a:br>
            <a:r>
              <a:rPr lang="en-GB" sz="6000" b="1" kern="1200" noProof="0" dirty="0">
                <a:solidFill>
                  <a:srgbClr val="FFFFFF"/>
                </a:solidFill>
                <a:latin typeface="+mj-lt"/>
                <a:ea typeface="+mj-ea"/>
                <a:cs typeface="+mj-cs"/>
              </a:rPr>
              <a:t>The RETROFEED PROJECT</a:t>
            </a:r>
          </a:p>
        </p:txBody>
      </p:sp>
      <p:sp>
        <p:nvSpPr>
          <p:cNvPr id="62" name="sketch line">
            <a:extLst>
              <a:ext uri="{FF2B5EF4-FFF2-40B4-BE49-F238E27FC236}">
                <a16:creationId xmlns:a16="http://schemas.microsoft.com/office/drawing/2014/main" id="{41F77738-2AF0-4750-A0C7-F97C2C17590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961309" y="6260247"/>
            <a:ext cx="6365383" cy="27432"/>
          </a:xfrm>
          <a:custGeom>
            <a:avLst/>
            <a:gdLst>
              <a:gd name="connsiteX0" fmla="*/ 0 w 6365383"/>
              <a:gd name="connsiteY0" fmla="*/ 0 h 27432"/>
              <a:gd name="connsiteX1" fmla="*/ 636538 w 6365383"/>
              <a:gd name="connsiteY1" fmla="*/ 0 h 27432"/>
              <a:gd name="connsiteX2" fmla="*/ 1273077 w 6365383"/>
              <a:gd name="connsiteY2" fmla="*/ 0 h 27432"/>
              <a:gd name="connsiteX3" fmla="*/ 1909615 w 6365383"/>
              <a:gd name="connsiteY3" fmla="*/ 0 h 27432"/>
              <a:gd name="connsiteX4" fmla="*/ 2673461 w 6365383"/>
              <a:gd name="connsiteY4" fmla="*/ 0 h 27432"/>
              <a:gd name="connsiteX5" fmla="*/ 3373653 w 6365383"/>
              <a:gd name="connsiteY5" fmla="*/ 0 h 27432"/>
              <a:gd name="connsiteX6" fmla="*/ 3819230 w 6365383"/>
              <a:gd name="connsiteY6" fmla="*/ 0 h 27432"/>
              <a:gd name="connsiteX7" fmla="*/ 4392114 w 6365383"/>
              <a:gd name="connsiteY7" fmla="*/ 0 h 27432"/>
              <a:gd name="connsiteX8" fmla="*/ 5155960 w 6365383"/>
              <a:gd name="connsiteY8" fmla="*/ 0 h 27432"/>
              <a:gd name="connsiteX9" fmla="*/ 5792499 w 6365383"/>
              <a:gd name="connsiteY9" fmla="*/ 0 h 27432"/>
              <a:gd name="connsiteX10" fmla="*/ 6365383 w 6365383"/>
              <a:gd name="connsiteY10" fmla="*/ 0 h 27432"/>
              <a:gd name="connsiteX11" fmla="*/ 6365383 w 6365383"/>
              <a:gd name="connsiteY11" fmla="*/ 27432 h 27432"/>
              <a:gd name="connsiteX12" fmla="*/ 5856152 w 6365383"/>
              <a:gd name="connsiteY12" fmla="*/ 27432 h 27432"/>
              <a:gd name="connsiteX13" fmla="*/ 5092306 w 6365383"/>
              <a:gd name="connsiteY13" fmla="*/ 27432 h 27432"/>
              <a:gd name="connsiteX14" fmla="*/ 4583076 w 6365383"/>
              <a:gd name="connsiteY14" fmla="*/ 27432 h 27432"/>
              <a:gd name="connsiteX15" fmla="*/ 4137499 w 6365383"/>
              <a:gd name="connsiteY15" fmla="*/ 27432 h 27432"/>
              <a:gd name="connsiteX16" fmla="*/ 3691922 w 6365383"/>
              <a:gd name="connsiteY16" fmla="*/ 27432 h 27432"/>
              <a:gd name="connsiteX17" fmla="*/ 2991730 w 6365383"/>
              <a:gd name="connsiteY17" fmla="*/ 27432 h 27432"/>
              <a:gd name="connsiteX18" fmla="*/ 2546153 w 6365383"/>
              <a:gd name="connsiteY18" fmla="*/ 27432 h 27432"/>
              <a:gd name="connsiteX19" fmla="*/ 1909615 w 6365383"/>
              <a:gd name="connsiteY19" fmla="*/ 27432 h 27432"/>
              <a:gd name="connsiteX20" fmla="*/ 1400384 w 6365383"/>
              <a:gd name="connsiteY20" fmla="*/ 27432 h 27432"/>
              <a:gd name="connsiteX21" fmla="*/ 763846 w 6365383"/>
              <a:gd name="connsiteY21" fmla="*/ 27432 h 27432"/>
              <a:gd name="connsiteX22" fmla="*/ 0 w 6365383"/>
              <a:gd name="connsiteY22" fmla="*/ 27432 h 27432"/>
              <a:gd name="connsiteX23" fmla="*/ 0 w 6365383"/>
              <a:gd name="connsiteY23" fmla="*/ 0 h 27432"/>
              <a:gd name="connsiteX0" fmla="*/ 0 w 6365383"/>
              <a:gd name="connsiteY0" fmla="*/ 0 h 27432"/>
              <a:gd name="connsiteX1" fmla="*/ 572884 w 6365383"/>
              <a:gd name="connsiteY1" fmla="*/ 0 h 27432"/>
              <a:gd name="connsiteX2" fmla="*/ 1018461 w 6365383"/>
              <a:gd name="connsiteY2" fmla="*/ 0 h 27432"/>
              <a:gd name="connsiteX3" fmla="*/ 1782307 w 6365383"/>
              <a:gd name="connsiteY3" fmla="*/ 0 h 27432"/>
              <a:gd name="connsiteX4" fmla="*/ 2355192 w 6365383"/>
              <a:gd name="connsiteY4" fmla="*/ 0 h 27432"/>
              <a:gd name="connsiteX5" fmla="*/ 2928076 w 6365383"/>
              <a:gd name="connsiteY5" fmla="*/ 0 h 27432"/>
              <a:gd name="connsiteX6" fmla="*/ 3691922 w 6365383"/>
              <a:gd name="connsiteY6" fmla="*/ 0 h 27432"/>
              <a:gd name="connsiteX7" fmla="*/ 4201153 w 6365383"/>
              <a:gd name="connsiteY7" fmla="*/ 0 h 27432"/>
              <a:gd name="connsiteX8" fmla="*/ 4964999 w 6365383"/>
              <a:gd name="connsiteY8" fmla="*/ 0 h 27432"/>
              <a:gd name="connsiteX9" fmla="*/ 5728845 w 6365383"/>
              <a:gd name="connsiteY9" fmla="*/ 0 h 27432"/>
              <a:gd name="connsiteX10" fmla="*/ 6365383 w 6365383"/>
              <a:gd name="connsiteY10" fmla="*/ 0 h 27432"/>
              <a:gd name="connsiteX11" fmla="*/ 6365383 w 6365383"/>
              <a:gd name="connsiteY11" fmla="*/ 27432 h 27432"/>
              <a:gd name="connsiteX12" fmla="*/ 5665191 w 6365383"/>
              <a:gd name="connsiteY12" fmla="*/ 27432 h 27432"/>
              <a:gd name="connsiteX13" fmla="*/ 4901345 w 6365383"/>
              <a:gd name="connsiteY13" fmla="*/ 27432 h 27432"/>
              <a:gd name="connsiteX14" fmla="*/ 4137499 w 6365383"/>
              <a:gd name="connsiteY14" fmla="*/ 27432 h 27432"/>
              <a:gd name="connsiteX15" fmla="*/ 3628268 w 6365383"/>
              <a:gd name="connsiteY15" fmla="*/ 27432 h 27432"/>
              <a:gd name="connsiteX16" fmla="*/ 2991730 w 6365383"/>
              <a:gd name="connsiteY16" fmla="*/ 27432 h 27432"/>
              <a:gd name="connsiteX17" fmla="*/ 2227884 w 6365383"/>
              <a:gd name="connsiteY17" fmla="*/ 27432 h 27432"/>
              <a:gd name="connsiteX18" fmla="*/ 1591346 w 6365383"/>
              <a:gd name="connsiteY18" fmla="*/ 27432 h 27432"/>
              <a:gd name="connsiteX19" fmla="*/ 1145769 w 6365383"/>
              <a:gd name="connsiteY19" fmla="*/ 27432 h 27432"/>
              <a:gd name="connsiteX20" fmla="*/ 636538 w 6365383"/>
              <a:gd name="connsiteY20" fmla="*/ 27432 h 27432"/>
              <a:gd name="connsiteX21" fmla="*/ 0 w 6365383"/>
              <a:gd name="connsiteY21" fmla="*/ 27432 h 27432"/>
              <a:gd name="connsiteX22" fmla="*/ 0 w 6365383"/>
              <a:gd name="connsiteY22"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365383" h="27432" fill="none" extrusionOk="0">
                <a:moveTo>
                  <a:pt x="0" y="0"/>
                </a:moveTo>
                <a:cubicBezTo>
                  <a:pt x="311910" y="25756"/>
                  <a:pt x="328854" y="-22977"/>
                  <a:pt x="636538" y="0"/>
                </a:cubicBezTo>
                <a:cubicBezTo>
                  <a:pt x="929901" y="50670"/>
                  <a:pt x="1067253" y="-1993"/>
                  <a:pt x="1273077" y="0"/>
                </a:cubicBezTo>
                <a:cubicBezTo>
                  <a:pt x="1507620" y="-24857"/>
                  <a:pt x="1747799" y="-10413"/>
                  <a:pt x="1909615" y="0"/>
                </a:cubicBezTo>
                <a:cubicBezTo>
                  <a:pt x="2041097" y="-21585"/>
                  <a:pt x="2422417" y="-28022"/>
                  <a:pt x="2673461" y="0"/>
                </a:cubicBezTo>
                <a:cubicBezTo>
                  <a:pt x="2948394" y="-4560"/>
                  <a:pt x="3134893" y="36981"/>
                  <a:pt x="3373653" y="0"/>
                </a:cubicBezTo>
                <a:cubicBezTo>
                  <a:pt x="3634761" y="-15887"/>
                  <a:pt x="3700843" y="23167"/>
                  <a:pt x="3819230" y="0"/>
                </a:cubicBezTo>
                <a:cubicBezTo>
                  <a:pt x="3977295" y="2943"/>
                  <a:pt x="4128910" y="-53150"/>
                  <a:pt x="4392114" y="0"/>
                </a:cubicBezTo>
                <a:cubicBezTo>
                  <a:pt x="4672763" y="9214"/>
                  <a:pt x="4999833" y="38501"/>
                  <a:pt x="5155960" y="0"/>
                </a:cubicBezTo>
                <a:cubicBezTo>
                  <a:pt x="5343367" y="-6557"/>
                  <a:pt x="5597661" y="6622"/>
                  <a:pt x="5792499" y="0"/>
                </a:cubicBezTo>
                <a:cubicBezTo>
                  <a:pt x="6020774" y="43813"/>
                  <a:pt x="6148830" y="-13954"/>
                  <a:pt x="6365383" y="0"/>
                </a:cubicBezTo>
                <a:cubicBezTo>
                  <a:pt x="6364517" y="8091"/>
                  <a:pt x="6365728" y="20268"/>
                  <a:pt x="6365383" y="27432"/>
                </a:cubicBezTo>
                <a:cubicBezTo>
                  <a:pt x="6144545" y="15144"/>
                  <a:pt x="6006673" y="-7419"/>
                  <a:pt x="5856152" y="27432"/>
                </a:cubicBezTo>
                <a:cubicBezTo>
                  <a:pt x="5638446" y="81548"/>
                  <a:pt x="5413846" y="52067"/>
                  <a:pt x="5092306" y="27432"/>
                </a:cubicBezTo>
                <a:cubicBezTo>
                  <a:pt x="4768499" y="43350"/>
                  <a:pt x="4708569" y="3163"/>
                  <a:pt x="4583076" y="27432"/>
                </a:cubicBezTo>
                <a:cubicBezTo>
                  <a:pt x="4475482" y="66269"/>
                  <a:pt x="4242792" y="42702"/>
                  <a:pt x="4137499" y="27432"/>
                </a:cubicBezTo>
                <a:cubicBezTo>
                  <a:pt x="4003968" y="24039"/>
                  <a:pt x="3882646" y="-3026"/>
                  <a:pt x="3691922" y="27432"/>
                </a:cubicBezTo>
                <a:cubicBezTo>
                  <a:pt x="3501639" y="8096"/>
                  <a:pt x="3270842" y="-14942"/>
                  <a:pt x="2991730" y="27432"/>
                </a:cubicBezTo>
                <a:cubicBezTo>
                  <a:pt x="2712135" y="55419"/>
                  <a:pt x="2758697" y="31955"/>
                  <a:pt x="2546153" y="27432"/>
                </a:cubicBezTo>
                <a:cubicBezTo>
                  <a:pt x="2362220" y="-818"/>
                  <a:pt x="2130397" y="57099"/>
                  <a:pt x="1909615" y="27432"/>
                </a:cubicBezTo>
                <a:cubicBezTo>
                  <a:pt x="1714835" y="-15389"/>
                  <a:pt x="1636770" y="40318"/>
                  <a:pt x="1400384" y="27432"/>
                </a:cubicBezTo>
                <a:cubicBezTo>
                  <a:pt x="1161504" y="29515"/>
                  <a:pt x="1060819" y="7773"/>
                  <a:pt x="763846" y="27432"/>
                </a:cubicBezTo>
                <a:cubicBezTo>
                  <a:pt x="465096" y="43671"/>
                  <a:pt x="165309" y="15831"/>
                  <a:pt x="0" y="27432"/>
                </a:cubicBezTo>
                <a:cubicBezTo>
                  <a:pt x="-2013" y="18874"/>
                  <a:pt x="-525" y="8614"/>
                  <a:pt x="0" y="0"/>
                </a:cubicBezTo>
                <a:close/>
              </a:path>
              <a:path w="6365383" h="27432" stroke="0" extrusionOk="0">
                <a:moveTo>
                  <a:pt x="0" y="0"/>
                </a:moveTo>
                <a:cubicBezTo>
                  <a:pt x="84020" y="9133"/>
                  <a:pt x="339524" y="24523"/>
                  <a:pt x="572884" y="0"/>
                </a:cubicBezTo>
                <a:cubicBezTo>
                  <a:pt x="803790" y="-14011"/>
                  <a:pt x="837492" y="-10007"/>
                  <a:pt x="1018461" y="0"/>
                </a:cubicBezTo>
                <a:cubicBezTo>
                  <a:pt x="1188530" y="8943"/>
                  <a:pt x="1571061" y="17361"/>
                  <a:pt x="1782307" y="0"/>
                </a:cubicBezTo>
                <a:cubicBezTo>
                  <a:pt x="1967448" y="-16010"/>
                  <a:pt x="2153334" y="-25629"/>
                  <a:pt x="2355192" y="0"/>
                </a:cubicBezTo>
                <a:cubicBezTo>
                  <a:pt x="2541804" y="20205"/>
                  <a:pt x="2779440" y="53811"/>
                  <a:pt x="2928076" y="0"/>
                </a:cubicBezTo>
                <a:cubicBezTo>
                  <a:pt x="3024078" y="-16903"/>
                  <a:pt x="3337092" y="43483"/>
                  <a:pt x="3691922" y="0"/>
                </a:cubicBezTo>
                <a:cubicBezTo>
                  <a:pt x="4060895" y="-1064"/>
                  <a:pt x="4072166" y="-17195"/>
                  <a:pt x="4201153" y="0"/>
                </a:cubicBezTo>
                <a:cubicBezTo>
                  <a:pt x="4349835" y="-22516"/>
                  <a:pt x="4800106" y="-64797"/>
                  <a:pt x="4964999" y="0"/>
                </a:cubicBezTo>
                <a:cubicBezTo>
                  <a:pt x="5186764" y="15779"/>
                  <a:pt x="5564421" y="-10544"/>
                  <a:pt x="5728845" y="0"/>
                </a:cubicBezTo>
                <a:cubicBezTo>
                  <a:pt x="5915953" y="5493"/>
                  <a:pt x="6171384" y="-48026"/>
                  <a:pt x="6365383" y="0"/>
                </a:cubicBezTo>
                <a:cubicBezTo>
                  <a:pt x="6366596" y="6455"/>
                  <a:pt x="6365588" y="14391"/>
                  <a:pt x="6365383" y="27432"/>
                </a:cubicBezTo>
                <a:cubicBezTo>
                  <a:pt x="6172514" y="805"/>
                  <a:pt x="6006523" y="20734"/>
                  <a:pt x="5665191" y="27432"/>
                </a:cubicBezTo>
                <a:cubicBezTo>
                  <a:pt x="5322179" y="66687"/>
                  <a:pt x="5219376" y="21111"/>
                  <a:pt x="4901345" y="27432"/>
                </a:cubicBezTo>
                <a:cubicBezTo>
                  <a:pt x="4621310" y="-13654"/>
                  <a:pt x="4455192" y="54857"/>
                  <a:pt x="4137499" y="27432"/>
                </a:cubicBezTo>
                <a:cubicBezTo>
                  <a:pt x="3853317" y="12285"/>
                  <a:pt x="3862894" y="26263"/>
                  <a:pt x="3628268" y="27432"/>
                </a:cubicBezTo>
                <a:cubicBezTo>
                  <a:pt x="3418779" y="32610"/>
                  <a:pt x="3174456" y="83656"/>
                  <a:pt x="2991730" y="27432"/>
                </a:cubicBezTo>
                <a:cubicBezTo>
                  <a:pt x="2801278" y="6667"/>
                  <a:pt x="2497351" y="22891"/>
                  <a:pt x="2227884" y="27432"/>
                </a:cubicBezTo>
                <a:cubicBezTo>
                  <a:pt x="1986101" y="16297"/>
                  <a:pt x="1767219" y="-7535"/>
                  <a:pt x="1591346" y="27432"/>
                </a:cubicBezTo>
                <a:cubicBezTo>
                  <a:pt x="1447183" y="73731"/>
                  <a:pt x="1315973" y="39477"/>
                  <a:pt x="1145769" y="27432"/>
                </a:cubicBezTo>
                <a:cubicBezTo>
                  <a:pt x="990245" y="8882"/>
                  <a:pt x="810845" y="16910"/>
                  <a:pt x="636538" y="27432"/>
                </a:cubicBezTo>
                <a:cubicBezTo>
                  <a:pt x="482916" y="17795"/>
                  <a:pt x="183027" y="-17710"/>
                  <a:pt x="0" y="27432"/>
                </a:cubicBezTo>
                <a:cubicBezTo>
                  <a:pt x="491" y="19542"/>
                  <a:pt x="-1038" y="8534"/>
                  <a:pt x="0" y="0"/>
                </a:cubicBezTo>
                <a:close/>
              </a:path>
              <a:path w="6365383" h="27432" fill="none" stroke="0" extrusionOk="0">
                <a:moveTo>
                  <a:pt x="0" y="0"/>
                </a:moveTo>
                <a:cubicBezTo>
                  <a:pt x="296223" y="15991"/>
                  <a:pt x="333462" y="-23795"/>
                  <a:pt x="636538" y="0"/>
                </a:cubicBezTo>
                <a:cubicBezTo>
                  <a:pt x="970197" y="30961"/>
                  <a:pt x="1039864" y="3183"/>
                  <a:pt x="1273077" y="0"/>
                </a:cubicBezTo>
                <a:cubicBezTo>
                  <a:pt x="1449809" y="24819"/>
                  <a:pt x="1735152" y="23060"/>
                  <a:pt x="1909615" y="0"/>
                </a:cubicBezTo>
                <a:cubicBezTo>
                  <a:pt x="2016351" y="-41665"/>
                  <a:pt x="2415001" y="34773"/>
                  <a:pt x="2673461" y="0"/>
                </a:cubicBezTo>
                <a:cubicBezTo>
                  <a:pt x="2996983" y="-13411"/>
                  <a:pt x="3130707" y="3741"/>
                  <a:pt x="3373653" y="0"/>
                </a:cubicBezTo>
                <a:cubicBezTo>
                  <a:pt x="3601951" y="-16140"/>
                  <a:pt x="3689909" y="23222"/>
                  <a:pt x="3819230" y="0"/>
                </a:cubicBezTo>
                <a:cubicBezTo>
                  <a:pt x="3931872" y="-29406"/>
                  <a:pt x="4119438" y="24094"/>
                  <a:pt x="4392114" y="0"/>
                </a:cubicBezTo>
                <a:cubicBezTo>
                  <a:pt x="4665359" y="21557"/>
                  <a:pt x="4978709" y="13267"/>
                  <a:pt x="5155960" y="0"/>
                </a:cubicBezTo>
                <a:cubicBezTo>
                  <a:pt x="5299518" y="-18386"/>
                  <a:pt x="5605020" y="-6762"/>
                  <a:pt x="5792499" y="0"/>
                </a:cubicBezTo>
                <a:cubicBezTo>
                  <a:pt x="6013281" y="43398"/>
                  <a:pt x="6167567" y="36727"/>
                  <a:pt x="6365383" y="0"/>
                </a:cubicBezTo>
                <a:cubicBezTo>
                  <a:pt x="6365697" y="8368"/>
                  <a:pt x="6365332" y="21050"/>
                  <a:pt x="6365383" y="27432"/>
                </a:cubicBezTo>
                <a:cubicBezTo>
                  <a:pt x="6154893" y="8454"/>
                  <a:pt x="6014206" y="-8372"/>
                  <a:pt x="5856152" y="27432"/>
                </a:cubicBezTo>
                <a:cubicBezTo>
                  <a:pt x="5659455" y="59503"/>
                  <a:pt x="5350806" y="-35991"/>
                  <a:pt x="5092306" y="27432"/>
                </a:cubicBezTo>
                <a:cubicBezTo>
                  <a:pt x="4756309" y="48260"/>
                  <a:pt x="4699746" y="-4780"/>
                  <a:pt x="4583076" y="27432"/>
                </a:cubicBezTo>
                <a:cubicBezTo>
                  <a:pt x="4462137" y="30142"/>
                  <a:pt x="4226168" y="50236"/>
                  <a:pt x="4137499" y="27432"/>
                </a:cubicBezTo>
                <a:cubicBezTo>
                  <a:pt x="4018570" y="42181"/>
                  <a:pt x="3887179" y="34623"/>
                  <a:pt x="3691922" y="27432"/>
                </a:cubicBezTo>
                <a:cubicBezTo>
                  <a:pt x="3499755" y="32935"/>
                  <a:pt x="3281056" y="-9158"/>
                  <a:pt x="2991730" y="27432"/>
                </a:cubicBezTo>
                <a:cubicBezTo>
                  <a:pt x="2716073" y="57462"/>
                  <a:pt x="2755481" y="34494"/>
                  <a:pt x="2546153" y="27432"/>
                </a:cubicBezTo>
                <a:cubicBezTo>
                  <a:pt x="2356479" y="62622"/>
                  <a:pt x="2079190" y="73729"/>
                  <a:pt x="1909615" y="27432"/>
                </a:cubicBezTo>
                <a:cubicBezTo>
                  <a:pt x="1715819" y="-26444"/>
                  <a:pt x="1631368" y="48131"/>
                  <a:pt x="1400384" y="27432"/>
                </a:cubicBezTo>
                <a:cubicBezTo>
                  <a:pt x="1177327" y="16190"/>
                  <a:pt x="1065236" y="24992"/>
                  <a:pt x="763846" y="27432"/>
                </a:cubicBezTo>
                <a:cubicBezTo>
                  <a:pt x="448643" y="60691"/>
                  <a:pt x="160833" y="2330"/>
                  <a:pt x="0" y="27432"/>
                </a:cubicBezTo>
                <a:cubicBezTo>
                  <a:pt x="1559" y="18666"/>
                  <a:pt x="-585" y="7580"/>
                  <a:pt x="0" y="0"/>
                </a:cubicBezTo>
                <a:close/>
              </a:path>
            </a:pathLst>
          </a:custGeom>
          <a:solidFill>
            <a:srgbClr val="FFFFFF"/>
          </a:solidFill>
          <a:ln w="41275" cap="rnd">
            <a:solidFill>
              <a:srgbClr val="FFFFFF"/>
            </a:solidFill>
            <a:round/>
            <a:extLst>
              <a:ext uri="{C807C97D-BFC1-408E-A445-0C87EB9F89A2}">
                <ask:lineSketchStyleProps xmlns:ask="http://schemas.microsoft.com/office/drawing/2018/sketchyshapes" sd="1219033472">
                  <a:custGeom>
                    <a:avLst/>
                    <a:gdLst>
                      <a:gd name="connsiteX0" fmla="*/ 0 w 6365383"/>
                      <a:gd name="connsiteY0" fmla="*/ 0 h 27432"/>
                      <a:gd name="connsiteX1" fmla="*/ 636538 w 6365383"/>
                      <a:gd name="connsiteY1" fmla="*/ 0 h 27432"/>
                      <a:gd name="connsiteX2" fmla="*/ 1273077 w 6365383"/>
                      <a:gd name="connsiteY2" fmla="*/ 0 h 27432"/>
                      <a:gd name="connsiteX3" fmla="*/ 1909615 w 6365383"/>
                      <a:gd name="connsiteY3" fmla="*/ 0 h 27432"/>
                      <a:gd name="connsiteX4" fmla="*/ 2673461 w 6365383"/>
                      <a:gd name="connsiteY4" fmla="*/ 0 h 27432"/>
                      <a:gd name="connsiteX5" fmla="*/ 3373653 w 6365383"/>
                      <a:gd name="connsiteY5" fmla="*/ 0 h 27432"/>
                      <a:gd name="connsiteX6" fmla="*/ 3819230 w 6365383"/>
                      <a:gd name="connsiteY6" fmla="*/ 0 h 27432"/>
                      <a:gd name="connsiteX7" fmla="*/ 4392114 w 6365383"/>
                      <a:gd name="connsiteY7" fmla="*/ 0 h 27432"/>
                      <a:gd name="connsiteX8" fmla="*/ 5155960 w 6365383"/>
                      <a:gd name="connsiteY8" fmla="*/ 0 h 27432"/>
                      <a:gd name="connsiteX9" fmla="*/ 5792499 w 6365383"/>
                      <a:gd name="connsiteY9" fmla="*/ 0 h 27432"/>
                      <a:gd name="connsiteX10" fmla="*/ 6365383 w 6365383"/>
                      <a:gd name="connsiteY10" fmla="*/ 0 h 27432"/>
                      <a:gd name="connsiteX11" fmla="*/ 6365383 w 6365383"/>
                      <a:gd name="connsiteY11" fmla="*/ 27432 h 27432"/>
                      <a:gd name="connsiteX12" fmla="*/ 5856152 w 6365383"/>
                      <a:gd name="connsiteY12" fmla="*/ 27432 h 27432"/>
                      <a:gd name="connsiteX13" fmla="*/ 5092306 w 6365383"/>
                      <a:gd name="connsiteY13" fmla="*/ 27432 h 27432"/>
                      <a:gd name="connsiteX14" fmla="*/ 4583076 w 6365383"/>
                      <a:gd name="connsiteY14" fmla="*/ 27432 h 27432"/>
                      <a:gd name="connsiteX15" fmla="*/ 4137499 w 6365383"/>
                      <a:gd name="connsiteY15" fmla="*/ 27432 h 27432"/>
                      <a:gd name="connsiteX16" fmla="*/ 3691922 w 6365383"/>
                      <a:gd name="connsiteY16" fmla="*/ 27432 h 27432"/>
                      <a:gd name="connsiteX17" fmla="*/ 2991730 w 6365383"/>
                      <a:gd name="connsiteY17" fmla="*/ 27432 h 27432"/>
                      <a:gd name="connsiteX18" fmla="*/ 2546153 w 6365383"/>
                      <a:gd name="connsiteY18" fmla="*/ 27432 h 27432"/>
                      <a:gd name="connsiteX19" fmla="*/ 1909615 w 6365383"/>
                      <a:gd name="connsiteY19" fmla="*/ 27432 h 27432"/>
                      <a:gd name="connsiteX20" fmla="*/ 1400384 w 6365383"/>
                      <a:gd name="connsiteY20" fmla="*/ 27432 h 27432"/>
                      <a:gd name="connsiteX21" fmla="*/ 763846 w 6365383"/>
                      <a:gd name="connsiteY21" fmla="*/ 27432 h 27432"/>
                      <a:gd name="connsiteX22" fmla="*/ 0 w 6365383"/>
                      <a:gd name="connsiteY22" fmla="*/ 27432 h 27432"/>
                      <a:gd name="connsiteX23" fmla="*/ 0 w 6365383"/>
                      <a:gd name="connsiteY23"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365383" h="27432" fill="none" extrusionOk="0">
                        <a:moveTo>
                          <a:pt x="0" y="0"/>
                        </a:moveTo>
                        <a:cubicBezTo>
                          <a:pt x="305169" y="21509"/>
                          <a:pt x="334704" y="-24261"/>
                          <a:pt x="636538" y="0"/>
                        </a:cubicBezTo>
                        <a:cubicBezTo>
                          <a:pt x="938372" y="24261"/>
                          <a:pt x="1068606" y="2269"/>
                          <a:pt x="1273077" y="0"/>
                        </a:cubicBezTo>
                        <a:cubicBezTo>
                          <a:pt x="1477548" y="-2269"/>
                          <a:pt x="1738189" y="6272"/>
                          <a:pt x="1909615" y="0"/>
                        </a:cubicBezTo>
                        <a:cubicBezTo>
                          <a:pt x="2081041" y="-6272"/>
                          <a:pt x="2377015" y="16623"/>
                          <a:pt x="2673461" y="0"/>
                        </a:cubicBezTo>
                        <a:cubicBezTo>
                          <a:pt x="2969907" y="-16623"/>
                          <a:pt x="3126114" y="13194"/>
                          <a:pt x="3373653" y="0"/>
                        </a:cubicBezTo>
                        <a:cubicBezTo>
                          <a:pt x="3621192" y="-13194"/>
                          <a:pt x="3704499" y="9486"/>
                          <a:pt x="3819230" y="0"/>
                        </a:cubicBezTo>
                        <a:cubicBezTo>
                          <a:pt x="3933961" y="-9486"/>
                          <a:pt x="4142691" y="-8221"/>
                          <a:pt x="4392114" y="0"/>
                        </a:cubicBezTo>
                        <a:cubicBezTo>
                          <a:pt x="4641537" y="8221"/>
                          <a:pt x="4974506" y="12257"/>
                          <a:pt x="5155960" y="0"/>
                        </a:cubicBezTo>
                        <a:cubicBezTo>
                          <a:pt x="5337414" y="-12257"/>
                          <a:pt x="5585731" y="-22537"/>
                          <a:pt x="5792499" y="0"/>
                        </a:cubicBezTo>
                        <a:cubicBezTo>
                          <a:pt x="5999267" y="22537"/>
                          <a:pt x="6164726" y="7303"/>
                          <a:pt x="6365383" y="0"/>
                        </a:cubicBezTo>
                        <a:cubicBezTo>
                          <a:pt x="6365125" y="7487"/>
                          <a:pt x="6364462" y="19984"/>
                          <a:pt x="6365383" y="27432"/>
                        </a:cubicBezTo>
                        <a:cubicBezTo>
                          <a:pt x="6132222" y="28304"/>
                          <a:pt x="6011986" y="2071"/>
                          <a:pt x="5856152" y="27432"/>
                        </a:cubicBezTo>
                        <a:cubicBezTo>
                          <a:pt x="5700318" y="52793"/>
                          <a:pt x="5410732" y="5357"/>
                          <a:pt x="5092306" y="27432"/>
                        </a:cubicBezTo>
                        <a:cubicBezTo>
                          <a:pt x="4773880" y="49507"/>
                          <a:pt x="4705351" y="6645"/>
                          <a:pt x="4583076" y="27432"/>
                        </a:cubicBezTo>
                        <a:cubicBezTo>
                          <a:pt x="4460801" y="48220"/>
                          <a:pt x="4239915" y="42209"/>
                          <a:pt x="4137499" y="27432"/>
                        </a:cubicBezTo>
                        <a:cubicBezTo>
                          <a:pt x="4035083" y="12655"/>
                          <a:pt x="3883665" y="32012"/>
                          <a:pt x="3691922" y="27432"/>
                        </a:cubicBezTo>
                        <a:cubicBezTo>
                          <a:pt x="3500179" y="22852"/>
                          <a:pt x="3265830" y="-126"/>
                          <a:pt x="2991730" y="27432"/>
                        </a:cubicBezTo>
                        <a:cubicBezTo>
                          <a:pt x="2717630" y="54990"/>
                          <a:pt x="2757122" y="34407"/>
                          <a:pt x="2546153" y="27432"/>
                        </a:cubicBezTo>
                        <a:cubicBezTo>
                          <a:pt x="2335184" y="20457"/>
                          <a:pt x="2107331" y="58889"/>
                          <a:pt x="1909615" y="27432"/>
                        </a:cubicBezTo>
                        <a:cubicBezTo>
                          <a:pt x="1711899" y="-4025"/>
                          <a:pt x="1634641" y="48316"/>
                          <a:pt x="1400384" y="27432"/>
                        </a:cubicBezTo>
                        <a:cubicBezTo>
                          <a:pt x="1166127" y="6548"/>
                          <a:pt x="1068288" y="15776"/>
                          <a:pt x="763846" y="27432"/>
                        </a:cubicBezTo>
                        <a:cubicBezTo>
                          <a:pt x="459404" y="39088"/>
                          <a:pt x="170017" y="14515"/>
                          <a:pt x="0" y="27432"/>
                        </a:cubicBezTo>
                        <a:cubicBezTo>
                          <a:pt x="-14" y="18173"/>
                          <a:pt x="-517" y="8990"/>
                          <a:pt x="0" y="0"/>
                        </a:cubicBezTo>
                        <a:close/>
                      </a:path>
                      <a:path w="6365383" h="27432" stroke="0" extrusionOk="0">
                        <a:moveTo>
                          <a:pt x="0" y="0"/>
                        </a:moveTo>
                        <a:cubicBezTo>
                          <a:pt x="114610" y="-2215"/>
                          <a:pt x="340315" y="12554"/>
                          <a:pt x="572884" y="0"/>
                        </a:cubicBezTo>
                        <a:cubicBezTo>
                          <a:pt x="805453" y="-12554"/>
                          <a:pt x="832891" y="-10424"/>
                          <a:pt x="1018461" y="0"/>
                        </a:cubicBezTo>
                        <a:cubicBezTo>
                          <a:pt x="1204031" y="10424"/>
                          <a:pt x="1590875" y="8682"/>
                          <a:pt x="1782307" y="0"/>
                        </a:cubicBezTo>
                        <a:cubicBezTo>
                          <a:pt x="1973739" y="-8682"/>
                          <a:pt x="2150876" y="5508"/>
                          <a:pt x="2355192" y="0"/>
                        </a:cubicBezTo>
                        <a:cubicBezTo>
                          <a:pt x="2559508" y="-5508"/>
                          <a:pt x="2790194" y="26965"/>
                          <a:pt x="2928076" y="0"/>
                        </a:cubicBezTo>
                        <a:cubicBezTo>
                          <a:pt x="3065958" y="-26965"/>
                          <a:pt x="3321537" y="819"/>
                          <a:pt x="3691922" y="0"/>
                        </a:cubicBezTo>
                        <a:cubicBezTo>
                          <a:pt x="4062307" y="-819"/>
                          <a:pt x="4072238" y="-15327"/>
                          <a:pt x="4201153" y="0"/>
                        </a:cubicBezTo>
                        <a:cubicBezTo>
                          <a:pt x="4330068" y="15327"/>
                          <a:pt x="4772079" y="-35646"/>
                          <a:pt x="4964999" y="0"/>
                        </a:cubicBezTo>
                        <a:cubicBezTo>
                          <a:pt x="5157919" y="35646"/>
                          <a:pt x="5543915" y="6802"/>
                          <a:pt x="5728845" y="0"/>
                        </a:cubicBezTo>
                        <a:cubicBezTo>
                          <a:pt x="5913775" y="-6802"/>
                          <a:pt x="6142952" y="-21408"/>
                          <a:pt x="6365383" y="0"/>
                        </a:cubicBezTo>
                        <a:cubicBezTo>
                          <a:pt x="6364552" y="6329"/>
                          <a:pt x="6365787" y="16858"/>
                          <a:pt x="6365383" y="27432"/>
                        </a:cubicBezTo>
                        <a:cubicBezTo>
                          <a:pt x="6176931" y="320"/>
                          <a:pt x="5998736" y="11244"/>
                          <a:pt x="5665191" y="27432"/>
                        </a:cubicBezTo>
                        <a:cubicBezTo>
                          <a:pt x="5331646" y="43620"/>
                          <a:pt x="5198011" y="28615"/>
                          <a:pt x="4901345" y="27432"/>
                        </a:cubicBezTo>
                        <a:cubicBezTo>
                          <a:pt x="4604679" y="26249"/>
                          <a:pt x="4422931" y="40617"/>
                          <a:pt x="4137499" y="27432"/>
                        </a:cubicBezTo>
                        <a:cubicBezTo>
                          <a:pt x="3852067" y="14247"/>
                          <a:pt x="3861939" y="26581"/>
                          <a:pt x="3628268" y="27432"/>
                        </a:cubicBezTo>
                        <a:cubicBezTo>
                          <a:pt x="3394597" y="28283"/>
                          <a:pt x="3171361" y="44132"/>
                          <a:pt x="2991730" y="27432"/>
                        </a:cubicBezTo>
                        <a:cubicBezTo>
                          <a:pt x="2812099" y="10732"/>
                          <a:pt x="2469344" y="24737"/>
                          <a:pt x="2227884" y="27432"/>
                        </a:cubicBezTo>
                        <a:cubicBezTo>
                          <a:pt x="1986424" y="30127"/>
                          <a:pt x="1748067" y="6359"/>
                          <a:pt x="1591346" y="27432"/>
                        </a:cubicBezTo>
                        <a:cubicBezTo>
                          <a:pt x="1434625" y="48505"/>
                          <a:pt x="1307456" y="39663"/>
                          <a:pt x="1145769" y="27432"/>
                        </a:cubicBezTo>
                        <a:cubicBezTo>
                          <a:pt x="984082" y="15201"/>
                          <a:pt x="800279" y="41647"/>
                          <a:pt x="636538" y="27432"/>
                        </a:cubicBezTo>
                        <a:cubicBezTo>
                          <a:pt x="472797" y="13217"/>
                          <a:pt x="160022" y="2213"/>
                          <a:pt x="0" y="27432"/>
                        </a:cubicBezTo>
                        <a:cubicBezTo>
                          <a:pt x="-177" y="19307"/>
                          <a:pt x="-1145" y="9170"/>
                          <a:pt x="0" y="0"/>
                        </a:cubicBezTo>
                        <a:close/>
                      </a:path>
                    </a:pathLst>
                  </a:cu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306341775"/>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1" name="Picture 12">
            <a:extLst>
              <a:ext uri="{FF2B5EF4-FFF2-40B4-BE49-F238E27FC236}">
                <a16:creationId xmlns:a16="http://schemas.microsoft.com/office/drawing/2014/main" id="{43802E0E-B79D-4EA7-8141-0CA3ED138B1A}"/>
              </a:ext>
            </a:extLst>
          </p:cNvPr>
          <p:cNvPicPr>
            <a:picLocks noChangeAspect="1"/>
          </p:cNvPicPr>
          <p:nvPr/>
        </p:nvPicPr>
        <p:blipFill>
          <a:blip r:embed="rId3"/>
          <a:srcRect/>
          <a:stretch>
            <a:fillRect/>
          </a:stretch>
        </p:blipFill>
        <p:spPr>
          <a:xfrm>
            <a:off x="0" y="8959889"/>
            <a:ext cx="5715000" cy="1385887"/>
          </a:xfrm>
          <a:prstGeom prst="rect">
            <a:avLst/>
          </a:prstGeom>
        </p:spPr>
      </p:pic>
      <p:grpSp>
        <p:nvGrpSpPr>
          <p:cNvPr id="132" name="Gruppo 2">
            <a:extLst>
              <a:ext uri="{FF2B5EF4-FFF2-40B4-BE49-F238E27FC236}">
                <a16:creationId xmlns:a16="http://schemas.microsoft.com/office/drawing/2014/main" id="{649928F6-6E82-4611-9715-AD3C75457C28}"/>
              </a:ext>
            </a:extLst>
          </p:cNvPr>
          <p:cNvGrpSpPr/>
          <p:nvPr/>
        </p:nvGrpSpPr>
        <p:grpSpPr>
          <a:xfrm>
            <a:off x="-12" y="138554"/>
            <a:ext cx="18288002" cy="681138"/>
            <a:chOff x="-12" y="138554"/>
            <a:chExt cx="18288002" cy="681138"/>
          </a:xfrm>
        </p:grpSpPr>
        <p:grpSp>
          <p:nvGrpSpPr>
            <p:cNvPr id="133" name="Gruppo 1">
              <a:extLst>
                <a:ext uri="{FF2B5EF4-FFF2-40B4-BE49-F238E27FC236}">
                  <a16:creationId xmlns:a16="http://schemas.microsoft.com/office/drawing/2014/main" id="{A8EB8794-E5C6-45EB-BAEC-2778E982797A}"/>
                </a:ext>
              </a:extLst>
            </p:cNvPr>
            <p:cNvGrpSpPr/>
            <p:nvPr/>
          </p:nvGrpSpPr>
          <p:grpSpPr>
            <a:xfrm>
              <a:off x="0" y="153125"/>
              <a:ext cx="17907000" cy="666567"/>
              <a:chOff x="0" y="153125"/>
              <a:chExt cx="17907000" cy="666567"/>
            </a:xfrm>
          </p:grpSpPr>
          <p:grpSp>
            <p:nvGrpSpPr>
              <p:cNvPr id="135" name="Gruppo 15">
                <a:extLst>
                  <a:ext uri="{FF2B5EF4-FFF2-40B4-BE49-F238E27FC236}">
                    <a16:creationId xmlns:a16="http://schemas.microsoft.com/office/drawing/2014/main" id="{AB129748-9FD7-458D-BD6E-304271C1814A}"/>
                  </a:ext>
                </a:extLst>
              </p:cNvPr>
              <p:cNvGrpSpPr/>
              <p:nvPr/>
            </p:nvGrpSpPr>
            <p:grpSpPr>
              <a:xfrm>
                <a:off x="0" y="153125"/>
                <a:ext cx="13958844" cy="666567"/>
                <a:chOff x="0" y="153125"/>
                <a:chExt cx="13958844" cy="666567"/>
              </a:xfrm>
            </p:grpSpPr>
            <p:pic>
              <p:nvPicPr>
                <p:cNvPr id="137" name="Picture 136">
                  <a:extLst>
                    <a:ext uri="{FF2B5EF4-FFF2-40B4-BE49-F238E27FC236}">
                      <a16:creationId xmlns:a16="http://schemas.microsoft.com/office/drawing/2014/main" id="{88E31CFD-796F-4F3F-A1EC-0E38F9D83456}"/>
                    </a:ext>
                  </a:extLst>
                </p:cNvPr>
                <p:cNvPicPr>
                  <a:picLocks noChangeAspect="1"/>
                </p:cNvPicPr>
                <p:nvPr/>
              </p:nvPicPr>
              <p:blipFill>
                <a:blip r:embed="rId4"/>
                <a:srcRect l="134" t="91287" b="3943"/>
                <a:stretch>
                  <a:fillRect/>
                </a:stretch>
              </p:blipFill>
              <p:spPr>
                <a:xfrm>
                  <a:off x="0" y="153125"/>
                  <a:ext cx="13958844" cy="666567"/>
                </a:xfrm>
                <a:prstGeom prst="rect">
                  <a:avLst/>
                </a:prstGeom>
              </p:spPr>
            </p:pic>
            <p:sp>
              <p:nvSpPr>
                <p:cNvPr id="138" name="TextBox 137">
                  <a:extLst>
                    <a:ext uri="{FF2B5EF4-FFF2-40B4-BE49-F238E27FC236}">
                      <a16:creationId xmlns:a16="http://schemas.microsoft.com/office/drawing/2014/main" id="{7694DADD-E227-40A7-A98D-244B0D207E54}"/>
                    </a:ext>
                  </a:extLst>
                </p:cNvPr>
                <p:cNvSpPr txBox="1"/>
                <p:nvPr/>
              </p:nvSpPr>
              <p:spPr>
                <a:xfrm>
                  <a:off x="228600" y="257980"/>
                  <a:ext cx="9296400" cy="456856"/>
                </a:xfrm>
                <a:prstGeom prst="rect">
                  <a:avLst/>
                </a:prstGeom>
              </p:spPr>
              <p:txBody>
                <a:bodyPr wrap="square" lIns="0" tIns="0" rIns="0" bIns="0" rtlCol="0" anchor="t">
                  <a:spAutoFit/>
                </a:bodyPr>
                <a:lstStyle/>
                <a:p>
                  <a:pPr marL="0" marR="0" lvl="0" indent="0" algn="l" defTabSz="914400" rtl="0" eaLnBrk="1" fontAlgn="auto" latinLnBrk="0" hangingPunct="1">
                    <a:lnSpc>
                      <a:spcPts val="3919"/>
                    </a:lnSpc>
                    <a:spcBef>
                      <a:spcPct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36" name="TextBox 135">
                <a:extLst>
                  <a:ext uri="{FF2B5EF4-FFF2-40B4-BE49-F238E27FC236}">
                    <a16:creationId xmlns:a16="http://schemas.microsoft.com/office/drawing/2014/main" id="{4B3CCEBB-60EF-4175-9878-F0D51FD80FF0}"/>
                  </a:ext>
                </a:extLst>
              </p:cNvPr>
              <p:cNvSpPr txBox="1"/>
              <p:nvPr/>
            </p:nvSpPr>
            <p:spPr>
              <a:xfrm>
                <a:off x="12154296" y="257980"/>
                <a:ext cx="5752704" cy="456856"/>
              </a:xfrm>
              <a:prstGeom prst="rect">
                <a:avLst/>
              </a:prstGeom>
            </p:spPr>
            <p:txBody>
              <a:bodyPr wrap="square" lIns="0" tIns="0" rIns="0" bIns="0" rtlCol="0" anchor="t">
                <a:spAutoFit/>
              </a:bodyPr>
              <a:lstStyle/>
              <a:p>
                <a:pPr marL="0" marR="0" lvl="0" indent="0" algn="r" defTabSz="914400" rtl="0" eaLnBrk="1" fontAlgn="auto" latinLnBrk="0" hangingPunct="1">
                  <a:lnSpc>
                    <a:spcPts val="3919"/>
                  </a:lnSpc>
                  <a:spcBef>
                    <a:spcPct val="0"/>
                  </a:spcBef>
                  <a:spcAft>
                    <a:spcPts val="0"/>
                  </a:spcAft>
                  <a:buClrTx/>
                  <a:buSzTx/>
                  <a:buFontTx/>
                  <a:buNone/>
                  <a:tabLst/>
                  <a:defRPr/>
                </a:pPr>
                <a:endParaRPr kumimoji="0" lang="en-US" sz="2800" b="0" i="0" u="none" strike="noStrike" kern="1200" cap="none" spc="0" normalizeH="0" baseline="0" noProof="0">
                  <a:ln>
                    <a:noFill/>
                  </a:ln>
                  <a:solidFill>
                    <a:srgbClr val="2F2F2F">
                      <a:lumMod val="75000"/>
                      <a:lumOff val="25000"/>
                    </a:srgbClr>
                  </a:solidFill>
                  <a:effectLst/>
                  <a:uLnTx/>
                  <a:uFillTx/>
                  <a:latin typeface="Arial" panose="020B0604020202020204" pitchFamily="34" charset="0"/>
                  <a:ea typeface="+mn-ea"/>
                  <a:cs typeface="Arial" panose="020B0604020202020204" pitchFamily="34" charset="0"/>
                </a:endParaRPr>
              </a:p>
            </p:txBody>
          </p:sp>
        </p:grpSp>
        <p:sp>
          <p:nvSpPr>
            <p:cNvPr id="134" name="Rettangolo 13">
              <a:extLst>
                <a:ext uri="{FF2B5EF4-FFF2-40B4-BE49-F238E27FC236}">
                  <a16:creationId xmlns:a16="http://schemas.microsoft.com/office/drawing/2014/main" id="{8F0CF2A7-592A-4287-9206-D3289F1B0C37}"/>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pic>
        <p:nvPicPr>
          <p:cNvPr id="139" name="Picture 12">
            <a:extLst>
              <a:ext uri="{FF2B5EF4-FFF2-40B4-BE49-F238E27FC236}">
                <a16:creationId xmlns:a16="http://schemas.microsoft.com/office/drawing/2014/main" id="{F047215A-40D8-4A57-BE02-5E03FCEEBB7B}"/>
              </a:ext>
            </a:extLst>
          </p:cNvPr>
          <p:cNvPicPr>
            <a:picLocks noChangeAspect="1"/>
          </p:cNvPicPr>
          <p:nvPr/>
        </p:nvPicPr>
        <p:blipFill>
          <a:blip r:embed="rId5"/>
          <a:srcRect l="134" t="91287" b="3943"/>
          <a:stretch>
            <a:fillRect/>
          </a:stretch>
        </p:blipFill>
        <p:spPr>
          <a:xfrm rot="10800000">
            <a:off x="4329146" y="9679208"/>
            <a:ext cx="13958844" cy="666567"/>
          </a:xfrm>
          <a:prstGeom prst="rect">
            <a:avLst/>
          </a:prstGeom>
        </p:spPr>
      </p:pic>
      <p:sp>
        <p:nvSpPr>
          <p:cNvPr id="140" name="TextBox 16">
            <a:extLst>
              <a:ext uri="{FF2B5EF4-FFF2-40B4-BE49-F238E27FC236}">
                <a16:creationId xmlns:a16="http://schemas.microsoft.com/office/drawing/2014/main" id="{C693B1DB-897C-4A9D-8CF3-F1423F6CB38D}"/>
              </a:ext>
            </a:extLst>
          </p:cNvPr>
          <p:cNvSpPr txBox="1"/>
          <p:nvPr/>
        </p:nvSpPr>
        <p:spPr>
          <a:xfrm>
            <a:off x="14400019" y="9762301"/>
            <a:ext cx="3636320" cy="448713"/>
          </a:xfrm>
          <a:prstGeom prst="rect">
            <a:avLst/>
          </a:prstGeom>
        </p:spPr>
        <p:txBody>
          <a:bodyPr wrap="square" lIns="0" tIns="0" rIns="0" bIns="0" rtlCol="0" anchor="t">
            <a:spAutoFit/>
          </a:bodyPr>
          <a:lstStyle/>
          <a:p>
            <a:pPr marL="0" marR="0" lvl="0" indent="0" algn="ctr" defTabSz="914400" rtl="0" eaLnBrk="1" fontAlgn="auto" latinLnBrk="0" hangingPunct="1">
              <a:lnSpc>
                <a:spcPts val="3919"/>
              </a:lnSpc>
              <a:spcBef>
                <a:spcPct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OCR A Extended" panose="02010509020102010303" pitchFamily="50" charset="0"/>
                <a:ea typeface="+mn-ea"/>
                <a:cs typeface="+mn-cs"/>
              </a:rPr>
              <a:t>www.retrofeed.eu</a:t>
            </a:r>
          </a:p>
        </p:txBody>
      </p:sp>
      <p:pic>
        <p:nvPicPr>
          <p:cNvPr id="277" name="Picture 276" descr="RETROFEED FERTIBERIA">
            <a:extLst>
              <a:ext uri="{FF2B5EF4-FFF2-40B4-BE49-F238E27FC236}">
                <a16:creationId xmlns:a16="http://schemas.microsoft.com/office/drawing/2014/main" id="{13D4CF92-1DBE-F158-BA77-B8A6CA0F45B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619548" y="486408"/>
            <a:ext cx="2287452" cy="841782"/>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28A92B3D-B015-47CC-1892-D0A64B20B5EE}"/>
              </a:ext>
            </a:extLst>
          </p:cNvPr>
          <p:cNvSpPr txBox="1"/>
          <p:nvPr/>
        </p:nvSpPr>
        <p:spPr>
          <a:xfrm>
            <a:off x="1142999" y="2880859"/>
            <a:ext cx="16143207" cy="468205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chemeClr val="accent1"/>
                </a:solidFill>
                <a:effectLst/>
                <a:uLnTx/>
                <a:uFillTx/>
                <a:latin typeface="Arial"/>
                <a:ea typeface="Calibri" panose="020F0502020204030204" pitchFamily="34" charset="0"/>
                <a:cs typeface="+mn-cs"/>
              </a:rPr>
              <a:t>For the </a:t>
            </a:r>
            <a:r>
              <a:rPr kumimoji="0" lang="en-GB" sz="2400" b="1" i="0" u="none" strike="noStrike" kern="1200" cap="none" spc="0" normalizeH="0" baseline="0" noProof="0" dirty="0" err="1">
                <a:ln>
                  <a:noFill/>
                </a:ln>
                <a:solidFill>
                  <a:schemeClr val="accent1"/>
                </a:solidFill>
                <a:effectLst/>
                <a:uLnTx/>
                <a:uFillTx/>
                <a:latin typeface="Arial"/>
                <a:ea typeface="Calibri" panose="020F0502020204030204" pitchFamily="34" charset="0"/>
                <a:cs typeface="+mn-cs"/>
              </a:rPr>
              <a:t>Fertiberia</a:t>
            </a:r>
            <a:r>
              <a:rPr kumimoji="0" lang="en-GB" sz="2400" b="1" i="0" u="none" strike="noStrike" kern="1200" cap="none" spc="0" normalizeH="0" baseline="0" noProof="0" dirty="0">
                <a:ln>
                  <a:noFill/>
                </a:ln>
                <a:solidFill>
                  <a:schemeClr val="accent1"/>
                </a:solidFill>
                <a:effectLst/>
                <a:uLnTx/>
                <a:uFillTx/>
                <a:latin typeface="Arial"/>
                <a:ea typeface="Calibri" panose="020F0502020204030204" pitchFamily="34" charset="0"/>
                <a:cs typeface="+mn-cs"/>
              </a:rPr>
              <a:t> case, the challenges in developing the Digital Twin were the follow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2400" b="0" i="0" u="none" strike="noStrike" kern="1200" cap="none" spc="0" normalizeH="0" baseline="0" noProof="0" dirty="0">
              <a:ln>
                <a:noFill/>
              </a:ln>
              <a:solidFill>
                <a:srgbClr val="2F2F2F"/>
              </a:solidFill>
              <a:effectLst/>
              <a:uLnTx/>
              <a:uFillTx/>
              <a:latin typeface="Arial"/>
              <a:ea typeface="Calibri" panose="020F0502020204030204" pitchFamily="34" charset="0"/>
              <a:cs typeface="+mn-cs"/>
            </a:endParaRPr>
          </a:p>
          <a:p>
            <a:pPr marL="342900" marR="0" lvl="0" indent="-342900" algn="l" defTabSz="914400" rtl="0" eaLnBrk="1" fontAlgn="auto" latinLnBrk="0" hangingPunct="1">
              <a:lnSpc>
                <a:spcPct val="105000"/>
              </a:lnSpc>
              <a:spcBef>
                <a:spcPts val="0"/>
              </a:spcBef>
              <a:spcAft>
                <a:spcPts val="0"/>
              </a:spcAft>
              <a:buClrTx/>
              <a:buSzTx/>
              <a:buFont typeface="Symbol" panose="05050102010706020507" pitchFamily="18" charset="2"/>
              <a:buChar char=""/>
              <a:tabLst/>
              <a:defRPr/>
            </a:pPr>
            <a:r>
              <a:rPr kumimoji="0" lang="en-GB" sz="2400" b="0" i="0" u="none" strike="noStrike" kern="1200" cap="none" spc="0" normalizeH="0" baseline="0" noProof="0" dirty="0">
                <a:ln>
                  <a:noFill/>
                </a:ln>
                <a:solidFill>
                  <a:srgbClr val="2F2F2F"/>
                </a:solidFill>
                <a:effectLst/>
                <a:uLnTx/>
                <a:uFillTx/>
                <a:latin typeface="Arial"/>
                <a:ea typeface="Times New Roman" panose="02020603050405020304" pitchFamily="18" charset="0"/>
                <a:cs typeface="+mn-cs"/>
              </a:rPr>
              <a:t>Accurate capture of mixing of reactants in T-shaped inlets in the gas reactor. </a:t>
            </a:r>
          </a:p>
          <a:p>
            <a:pPr marL="800100" lvl="1" indent="-342900">
              <a:lnSpc>
                <a:spcPct val="105000"/>
              </a:lnSpc>
              <a:buFont typeface="Wingdings" panose="05000000000000000000" pitchFamily="2" charset="2"/>
              <a:buChar char="Ø"/>
              <a:defRPr/>
            </a:pPr>
            <a:r>
              <a:rPr kumimoji="0" lang="en-GB" sz="2400" b="0" i="0" u="none" strike="noStrike" kern="1200" cap="none" spc="0" normalizeH="0" baseline="0" noProof="0" dirty="0">
                <a:ln>
                  <a:noFill/>
                </a:ln>
                <a:solidFill>
                  <a:srgbClr val="2F2F2F"/>
                </a:solidFill>
                <a:effectLst/>
                <a:uLnTx/>
                <a:uFillTx/>
                <a:latin typeface="Arial"/>
                <a:ea typeface="Times New Roman" panose="02020603050405020304" pitchFamily="18" charset="0"/>
                <a:cs typeface="+mn-cs"/>
              </a:rPr>
              <a:t>To overcome this, a set of simulations covering the operating range with a complex and precise turbulent model (Large Eddy Simulation – LES) was used.</a:t>
            </a:r>
          </a:p>
          <a:p>
            <a:pPr marL="342900" marR="0" lvl="0" indent="-342900" algn="l" defTabSz="914400" rtl="0" eaLnBrk="1" fontAlgn="auto" latinLnBrk="0" hangingPunct="1">
              <a:lnSpc>
                <a:spcPct val="105000"/>
              </a:lnSpc>
              <a:spcBef>
                <a:spcPts val="0"/>
              </a:spcBef>
              <a:spcAft>
                <a:spcPts val="0"/>
              </a:spcAft>
              <a:buClrTx/>
              <a:buSzTx/>
              <a:buFont typeface="Symbol" panose="05050102010706020507" pitchFamily="18" charset="2"/>
              <a:buChar char=""/>
              <a:tabLst/>
              <a:defRPr/>
            </a:pPr>
            <a:endParaRPr kumimoji="0" lang="sv-SE" sz="2400" b="0" i="0" u="none" strike="noStrike" kern="1200" cap="none" spc="0" normalizeH="0" baseline="0" noProof="0" dirty="0">
              <a:ln>
                <a:noFill/>
              </a:ln>
              <a:solidFill>
                <a:srgbClr val="2F2F2F"/>
              </a:solidFill>
              <a:effectLst/>
              <a:uLnTx/>
              <a:uFillTx/>
              <a:latin typeface="Arial"/>
              <a:ea typeface="Calibri" panose="020F0502020204030204" pitchFamily="34" charset="0"/>
              <a:cs typeface="+mn-cs"/>
            </a:endParaRPr>
          </a:p>
          <a:p>
            <a:pPr marL="342900" marR="0" lvl="0" indent="-342900" algn="l" defTabSz="914400" rtl="0" eaLnBrk="1" fontAlgn="auto" latinLnBrk="0" hangingPunct="1">
              <a:lnSpc>
                <a:spcPct val="105000"/>
              </a:lnSpc>
              <a:spcBef>
                <a:spcPts val="0"/>
              </a:spcBef>
              <a:spcAft>
                <a:spcPts val="0"/>
              </a:spcAft>
              <a:buClrTx/>
              <a:buSzTx/>
              <a:buFont typeface="Symbol" panose="05050102010706020507" pitchFamily="18" charset="2"/>
              <a:buChar char=""/>
              <a:tabLst/>
              <a:defRPr/>
            </a:pPr>
            <a:r>
              <a:rPr kumimoji="0" lang="en-GB" sz="2400" b="0" i="0" u="none" strike="noStrike" kern="1200" cap="none" spc="0" normalizeH="0" baseline="0" noProof="0" dirty="0">
                <a:ln>
                  <a:noFill/>
                </a:ln>
                <a:solidFill>
                  <a:srgbClr val="2F2F2F"/>
                </a:solidFill>
                <a:effectLst/>
                <a:uLnTx/>
                <a:uFillTx/>
                <a:latin typeface="Arial"/>
                <a:ea typeface="Times New Roman" panose="02020603050405020304" pitchFamily="18" charset="0"/>
                <a:cs typeface="+mn-cs"/>
              </a:rPr>
              <a:t>Reducing computational cost by using less complex turbulent models. </a:t>
            </a:r>
          </a:p>
          <a:p>
            <a:pPr marL="800100" lvl="1" indent="-342900">
              <a:lnSpc>
                <a:spcPct val="105000"/>
              </a:lnSpc>
              <a:buFont typeface="Wingdings" panose="05000000000000000000" pitchFamily="2" charset="2"/>
              <a:buChar char="Ø"/>
              <a:defRPr/>
            </a:pPr>
            <a:r>
              <a:rPr kumimoji="0" lang="en-GB" sz="2400" b="0" i="0" u="none" strike="noStrike" kern="1200" cap="none" spc="0" normalizeH="0" baseline="0" noProof="0" dirty="0">
                <a:ln>
                  <a:noFill/>
                </a:ln>
                <a:solidFill>
                  <a:srgbClr val="2F2F2F"/>
                </a:solidFill>
                <a:effectLst/>
                <a:uLnTx/>
                <a:uFillTx/>
                <a:latin typeface="Arial"/>
                <a:ea typeface="Times New Roman" panose="02020603050405020304" pitchFamily="18" charset="0"/>
                <a:cs typeface="+mn-cs"/>
              </a:rPr>
              <a:t>To beat this challenge, different RANS (Reynolds-Averaged Navier Stokes) turbulent models were compared with the LES results, and the closest solution was chosen.</a:t>
            </a:r>
          </a:p>
          <a:p>
            <a:pPr marL="0" marR="0" lvl="0" indent="0" algn="l" defTabSz="914400" rtl="0" eaLnBrk="1" fontAlgn="auto" latinLnBrk="0" hangingPunct="1">
              <a:lnSpc>
                <a:spcPct val="105000"/>
              </a:lnSpc>
              <a:spcBef>
                <a:spcPts val="0"/>
              </a:spcBef>
              <a:spcAft>
                <a:spcPts val="0"/>
              </a:spcAft>
              <a:buClrTx/>
              <a:buSzTx/>
              <a:buFontTx/>
              <a:buNone/>
              <a:tabLst/>
              <a:defRPr/>
            </a:pPr>
            <a:endParaRPr kumimoji="0" lang="sv-SE" sz="2400" b="0" i="0" u="none" strike="noStrike" kern="1200" cap="none" spc="0" normalizeH="0" baseline="0" noProof="0" dirty="0">
              <a:ln>
                <a:noFill/>
              </a:ln>
              <a:solidFill>
                <a:srgbClr val="2F2F2F"/>
              </a:solidFill>
              <a:effectLst/>
              <a:uLnTx/>
              <a:uFillTx/>
              <a:latin typeface="Arial"/>
              <a:ea typeface="Calibri" panose="020F0502020204030204" pitchFamily="34" charset="0"/>
              <a:cs typeface="+mn-cs"/>
            </a:endParaRPr>
          </a:p>
          <a:p>
            <a:pPr marL="342900" marR="0" lvl="0" indent="-342900" algn="l" defTabSz="914400" rtl="0" eaLnBrk="1" fontAlgn="auto" latinLnBrk="0" hangingPunct="1">
              <a:lnSpc>
                <a:spcPct val="105000"/>
              </a:lnSpc>
              <a:spcBef>
                <a:spcPts val="0"/>
              </a:spcBef>
              <a:spcAft>
                <a:spcPts val="0"/>
              </a:spcAft>
              <a:buClrTx/>
              <a:buSzTx/>
              <a:buFont typeface="Symbol" panose="05050102010706020507" pitchFamily="18" charset="2"/>
              <a:buChar char=""/>
              <a:tabLst/>
              <a:defRPr/>
            </a:pPr>
            <a:r>
              <a:rPr kumimoji="0" lang="en-GB" sz="2400" b="0" i="0" u="none" strike="noStrike" kern="1200" cap="none" spc="0" normalizeH="0" baseline="0" noProof="0" dirty="0">
                <a:ln>
                  <a:noFill/>
                </a:ln>
                <a:solidFill>
                  <a:srgbClr val="2F2F2F"/>
                </a:solidFill>
                <a:effectLst/>
                <a:uLnTx/>
                <a:uFillTx/>
                <a:latin typeface="Arial"/>
                <a:ea typeface="Times New Roman" panose="02020603050405020304" pitchFamily="18" charset="0"/>
                <a:cs typeface="+mn-cs"/>
              </a:rPr>
              <a:t>The challenge was to account for the competing kinetic rate between the three reactants in the CFD simulation. </a:t>
            </a:r>
          </a:p>
          <a:p>
            <a:pPr marL="800100" lvl="1" indent="-342900">
              <a:lnSpc>
                <a:spcPct val="105000"/>
              </a:lnSpc>
              <a:buFont typeface="Wingdings" panose="05000000000000000000" pitchFamily="2" charset="2"/>
              <a:buChar char="Ø"/>
              <a:defRPr/>
            </a:pPr>
            <a:r>
              <a:rPr kumimoji="0" lang="en-GB" sz="2400" b="0" i="0" u="none" strike="noStrike" kern="1200" cap="none" spc="0" normalizeH="0" baseline="0" noProof="0" dirty="0">
                <a:ln>
                  <a:noFill/>
                </a:ln>
                <a:solidFill>
                  <a:srgbClr val="2F2F2F"/>
                </a:solidFill>
                <a:effectLst/>
                <a:uLnTx/>
                <a:uFillTx/>
                <a:latin typeface="Arial"/>
                <a:ea typeface="Times New Roman" panose="02020603050405020304" pitchFamily="18" charset="0"/>
                <a:cs typeface="+mn-cs"/>
              </a:rPr>
              <a:t>To solve this, a User Defined Function (UDF) was created and introduced into the CFD software.</a:t>
            </a:r>
            <a:endParaRPr kumimoji="0" lang="sv-SE" sz="2400" b="0" i="0" u="none" strike="noStrike" kern="1200" cap="none" spc="0" normalizeH="0" baseline="0" noProof="0" dirty="0">
              <a:ln>
                <a:noFill/>
              </a:ln>
              <a:solidFill>
                <a:srgbClr val="2F2F2F"/>
              </a:solidFill>
              <a:effectLst/>
              <a:uLnTx/>
              <a:uFillTx/>
              <a:latin typeface="Arial"/>
              <a:ea typeface="Calibri" panose="020F0502020204030204" pitchFamily="34" charset="0"/>
              <a:cs typeface="+mn-cs"/>
            </a:endParaRPr>
          </a:p>
        </p:txBody>
      </p:sp>
      <p:sp>
        <p:nvSpPr>
          <p:cNvPr id="2" name="TextBox 275">
            <a:extLst>
              <a:ext uri="{FF2B5EF4-FFF2-40B4-BE49-F238E27FC236}">
                <a16:creationId xmlns:a16="http://schemas.microsoft.com/office/drawing/2014/main" id="{F565884F-7101-8AA8-2A5B-263D7CF2318A}"/>
              </a:ext>
            </a:extLst>
          </p:cNvPr>
          <p:cNvSpPr txBox="1"/>
          <p:nvPr/>
        </p:nvSpPr>
        <p:spPr>
          <a:xfrm>
            <a:off x="909922" y="1244707"/>
            <a:ext cx="16143207" cy="107721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6400" b="1" i="0" u="none" strike="noStrike" kern="1200" cap="none" spc="0" normalizeH="0" baseline="0" noProof="0">
                <a:ln>
                  <a:noFill/>
                </a:ln>
                <a:solidFill>
                  <a:srgbClr val="CC0033"/>
                </a:solidFill>
                <a:effectLst/>
                <a:uLnTx/>
                <a:uFillTx/>
                <a:latin typeface="Arial"/>
                <a:ea typeface="+mn-ea"/>
                <a:cs typeface="Arial" panose="020B0604020202020204" pitchFamily="34" charset="0"/>
              </a:rPr>
              <a:t>Digital </a:t>
            </a:r>
            <a:r>
              <a:rPr kumimoji="0" lang="sv-SE" sz="6400" b="1" i="0" u="none" strike="noStrike" kern="1200" cap="none" spc="0" normalizeH="0" baseline="0" noProof="0" err="1">
                <a:ln>
                  <a:noFill/>
                </a:ln>
                <a:solidFill>
                  <a:srgbClr val="CC0033"/>
                </a:solidFill>
                <a:effectLst/>
                <a:uLnTx/>
                <a:uFillTx/>
                <a:latin typeface="Arial"/>
                <a:ea typeface="+mn-ea"/>
                <a:cs typeface="Arial" panose="020B0604020202020204" pitchFamily="34" charset="0"/>
              </a:rPr>
              <a:t>twin</a:t>
            </a:r>
            <a:r>
              <a:rPr kumimoji="0" lang="sv-SE" sz="6400" b="1" i="0" u="none" strike="noStrike" kern="1200" cap="none" spc="0" normalizeH="0" baseline="0" noProof="0">
                <a:ln>
                  <a:noFill/>
                </a:ln>
                <a:solidFill>
                  <a:srgbClr val="CC0033"/>
                </a:solidFill>
                <a:effectLst/>
                <a:uLnTx/>
                <a:uFillTx/>
                <a:latin typeface="Arial"/>
                <a:ea typeface="+mn-ea"/>
                <a:cs typeface="Arial" panose="020B0604020202020204" pitchFamily="34" charset="0"/>
              </a:rPr>
              <a:t> </a:t>
            </a:r>
            <a:r>
              <a:rPr kumimoji="0" lang="sv-SE" sz="6400" b="1" i="0" u="none" strike="noStrike" kern="1200" cap="none" spc="0" normalizeH="0" baseline="0" noProof="0" err="1">
                <a:ln>
                  <a:noFill/>
                </a:ln>
                <a:solidFill>
                  <a:srgbClr val="CC0033"/>
                </a:solidFill>
                <a:effectLst/>
                <a:uLnTx/>
                <a:uFillTx/>
                <a:latin typeface="Arial"/>
                <a:ea typeface="+mn-ea"/>
                <a:cs typeface="Arial" panose="020B0604020202020204" pitchFamily="34" charset="0"/>
              </a:rPr>
              <a:t>challenges</a:t>
            </a:r>
            <a:endParaRPr kumimoji="0" lang="sv-SE" sz="6400" b="1" i="0" u="none" strike="noStrike" kern="1200" cap="none" spc="0" normalizeH="0" baseline="0" noProof="0">
              <a:ln>
                <a:noFill/>
              </a:ln>
              <a:solidFill>
                <a:srgbClr val="CC0033"/>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791224237"/>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1" name="Picture 12">
            <a:extLst>
              <a:ext uri="{FF2B5EF4-FFF2-40B4-BE49-F238E27FC236}">
                <a16:creationId xmlns:a16="http://schemas.microsoft.com/office/drawing/2014/main" id="{43802E0E-B79D-4EA7-8141-0CA3ED138B1A}"/>
              </a:ext>
            </a:extLst>
          </p:cNvPr>
          <p:cNvPicPr>
            <a:picLocks noChangeAspect="1"/>
          </p:cNvPicPr>
          <p:nvPr/>
        </p:nvPicPr>
        <p:blipFill>
          <a:blip r:embed="rId3"/>
          <a:srcRect/>
          <a:stretch>
            <a:fillRect/>
          </a:stretch>
        </p:blipFill>
        <p:spPr>
          <a:xfrm>
            <a:off x="0" y="8959889"/>
            <a:ext cx="5715000" cy="1385887"/>
          </a:xfrm>
          <a:prstGeom prst="rect">
            <a:avLst/>
          </a:prstGeom>
        </p:spPr>
      </p:pic>
      <p:grpSp>
        <p:nvGrpSpPr>
          <p:cNvPr id="132" name="Gruppo 2">
            <a:extLst>
              <a:ext uri="{FF2B5EF4-FFF2-40B4-BE49-F238E27FC236}">
                <a16:creationId xmlns:a16="http://schemas.microsoft.com/office/drawing/2014/main" id="{649928F6-6E82-4611-9715-AD3C75457C28}"/>
              </a:ext>
            </a:extLst>
          </p:cNvPr>
          <p:cNvGrpSpPr/>
          <p:nvPr/>
        </p:nvGrpSpPr>
        <p:grpSpPr>
          <a:xfrm>
            <a:off x="-12" y="138554"/>
            <a:ext cx="18288002" cy="681138"/>
            <a:chOff x="-12" y="138554"/>
            <a:chExt cx="18288002" cy="681138"/>
          </a:xfrm>
        </p:grpSpPr>
        <p:grpSp>
          <p:nvGrpSpPr>
            <p:cNvPr id="133" name="Gruppo 1">
              <a:extLst>
                <a:ext uri="{FF2B5EF4-FFF2-40B4-BE49-F238E27FC236}">
                  <a16:creationId xmlns:a16="http://schemas.microsoft.com/office/drawing/2014/main" id="{A8EB8794-E5C6-45EB-BAEC-2778E982797A}"/>
                </a:ext>
              </a:extLst>
            </p:cNvPr>
            <p:cNvGrpSpPr/>
            <p:nvPr/>
          </p:nvGrpSpPr>
          <p:grpSpPr>
            <a:xfrm>
              <a:off x="0" y="153125"/>
              <a:ext cx="17907000" cy="666567"/>
              <a:chOff x="0" y="153125"/>
              <a:chExt cx="17907000" cy="666567"/>
            </a:xfrm>
          </p:grpSpPr>
          <p:grpSp>
            <p:nvGrpSpPr>
              <p:cNvPr id="135" name="Gruppo 15">
                <a:extLst>
                  <a:ext uri="{FF2B5EF4-FFF2-40B4-BE49-F238E27FC236}">
                    <a16:creationId xmlns:a16="http://schemas.microsoft.com/office/drawing/2014/main" id="{AB129748-9FD7-458D-BD6E-304271C1814A}"/>
                  </a:ext>
                </a:extLst>
              </p:cNvPr>
              <p:cNvGrpSpPr/>
              <p:nvPr/>
            </p:nvGrpSpPr>
            <p:grpSpPr>
              <a:xfrm>
                <a:off x="0" y="153125"/>
                <a:ext cx="13958844" cy="666567"/>
                <a:chOff x="0" y="153125"/>
                <a:chExt cx="13958844" cy="666567"/>
              </a:xfrm>
            </p:grpSpPr>
            <p:pic>
              <p:nvPicPr>
                <p:cNvPr id="137" name="Picture 136">
                  <a:extLst>
                    <a:ext uri="{FF2B5EF4-FFF2-40B4-BE49-F238E27FC236}">
                      <a16:creationId xmlns:a16="http://schemas.microsoft.com/office/drawing/2014/main" id="{88E31CFD-796F-4F3F-A1EC-0E38F9D83456}"/>
                    </a:ext>
                  </a:extLst>
                </p:cNvPr>
                <p:cNvPicPr>
                  <a:picLocks noChangeAspect="1"/>
                </p:cNvPicPr>
                <p:nvPr/>
              </p:nvPicPr>
              <p:blipFill>
                <a:blip r:embed="rId4"/>
                <a:srcRect l="134" t="91287" b="3943"/>
                <a:stretch>
                  <a:fillRect/>
                </a:stretch>
              </p:blipFill>
              <p:spPr>
                <a:xfrm>
                  <a:off x="0" y="153125"/>
                  <a:ext cx="13958844" cy="666567"/>
                </a:xfrm>
                <a:prstGeom prst="rect">
                  <a:avLst/>
                </a:prstGeom>
              </p:spPr>
            </p:pic>
            <p:sp>
              <p:nvSpPr>
                <p:cNvPr id="138" name="TextBox 137">
                  <a:extLst>
                    <a:ext uri="{FF2B5EF4-FFF2-40B4-BE49-F238E27FC236}">
                      <a16:creationId xmlns:a16="http://schemas.microsoft.com/office/drawing/2014/main" id="{7694DADD-E227-40A7-A98D-244B0D207E54}"/>
                    </a:ext>
                  </a:extLst>
                </p:cNvPr>
                <p:cNvSpPr txBox="1"/>
                <p:nvPr/>
              </p:nvSpPr>
              <p:spPr>
                <a:xfrm>
                  <a:off x="228600" y="257980"/>
                  <a:ext cx="9296400" cy="456856"/>
                </a:xfrm>
                <a:prstGeom prst="rect">
                  <a:avLst/>
                </a:prstGeom>
              </p:spPr>
              <p:txBody>
                <a:bodyPr wrap="square" lIns="0" tIns="0" rIns="0" bIns="0" rtlCol="0" anchor="t">
                  <a:spAutoFit/>
                </a:bodyPr>
                <a:lstStyle/>
                <a:p>
                  <a:pPr marL="0" marR="0" lvl="0" indent="0" algn="l" defTabSz="914400" rtl="0" eaLnBrk="1" fontAlgn="auto" latinLnBrk="0" hangingPunct="1">
                    <a:lnSpc>
                      <a:spcPts val="3919"/>
                    </a:lnSpc>
                    <a:spcBef>
                      <a:spcPct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36" name="TextBox 135">
                <a:extLst>
                  <a:ext uri="{FF2B5EF4-FFF2-40B4-BE49-F238E27FC236}">
                    <a16:creationId xmlns:a16="http://schemas.microsoft.com/office/drawing/2014/main" id="{4B3CCEBB-60EF-4175-9878-F0D51FD80FF0}"/>
                  </a:ext>
                </a:extLst>
              </p:cNvPr>
              <p:cNvSpPr txBox="1"/>
              <p:nvPr/>
            </p:nvSpPr>
            <p:spPr>
              <a:xfrm>
                <a:off x="12154296" y="257980"/>
                <a:ext cx="5752704" cy="456856"/>
              </a:xfrm>
              <a:prstGeom prst="rect">
                <a:avLst/>
              </a:prstGeom>
            </p:spPr>
            <p:txBody>
              <a:bodyPr wrap="square" lIns="0" tIns="0" rIns="0" bIns="0" rtlCol="0" anchor="t">
                <a:spAutoFit/>
              </a:bodyPr>
              <a:lstStyle/>
              <a:p>
                <a:pPr marL="0" marR="0" lvl="0" indent="0" algn="r" defTabSz="914400" rtl="0" eaLnBrk="1" fontAlgn="auto" latinLnBrk="0" hangingPunct="1">
                  <a:lnSpc>
                    <a:spcPts val="3919"/>
                  </a:lnSpc>
                  <a:spcBef>
                    <a:spcPct val="0"/>
                  </a:spcBef>
                  <a:spcAft>
                    <a:spcPts val="0"/>
                  </a:spcAft>
                  <a:buClrTx/>
                  <a:buSzTx/>
                  <a:buFontTx/>
                  <a:buNone/>
                  <a:tabLst/>
                  <a:defRPr/>
                </a:pPr>
                <a:endParaRPr kumimoji="0" lang="en-US" sz="2800" b="0" i="0" u="none" strike="noStrike" kern="1200" cap="none" spc="0" normalizeH="0" baseline="0" noProof="0">
                  <a:ln>
                    <a:noFill/>
                  </a:ln>
                  <a:solidFill>
                    <a:srgbClr val="2F2F2F">
                      <a:lumMod val="75000"/>
                      <a:lumOff val="25000"/>
                    </a:srgbClr>
                  </a:solidFill>
                  <a:effectLst/>
                  <a:uLnTx/>
                  <a:uFillTx/>
                  <a:latin typeface="Arial" panose="020B0604020202020204" pitchFamily="34" charset="0"/>
                  <a:ea typeface="+mn-ea"/>
                  <a:cs typeface="Arial" panose="020B0604020202020204" pitchFamily="34" charset="0"/>
                </a:endParaRPr>
              </a:p>
            </p:txBody>
          </p:sp>
        </p:grpSp>
        <p:sp>
          <p:nvSpPr>
            <p:cNvPr id="134" name="Rettangolo 13">
              <a:extLst>
                <a:ext uri="{FF2B5EF4-FFF2-40B4-BE49-F238E27FC236}">
                  <a16:creationId xmlns:a16="http://schemas.microsoft.com/office/drawing/2014/main" id="{8F0CF2A7-592A-4287-9206-D3289F1B0C37}"/>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pic>
        <p:nvPicPr>
          <p:cNvPr id="139" name="Picture 12">
            <a:extLst>
              <a:ext uri="{FF2B5EF4-FFF2-40B4-BE49-F238E27FC236}">
                <a16:creationId xmlns:a16="http://schemas.microsoft.com/office/drawing/2014/main" id="{F047215A-40D8-4A57-BE02-5E03FCEEBB7B}"/>
              </a:ext>
            </a:extLst>
          </p:cNvPr>
          <p:cNvPicPr>
            <a:picLocks noChangeAspect="1"/>
          </p:cNvPicPr>
          <p:nvPr/>
        </p:nvPicPr>
        <p:blipFill>
          <a:blip r:embed="rId5"/>
          <a:srcRect l="134" t="91287" b="3943"/>
          <a:stretch>
            <a:fillRect/>
          </a:stretch>
        </p:blipFill>
        <p:spPr>
          <a:xfrm rot="10800000">
            <a:off x="4329146" y="9679208"/>
            <a:ext cx="13958844" cy="666567"/>
          </a:xfrm>
          <a:prstGeom prst="rect">
            <a:avLst/>
          </a:prstGeom>
        </p:spPr>
      </p:pic>
      <p:sp>
        <p:nvSpPr>
          <p:cNvPr id="140" name="TextBox 16">
            <a:extLst>
              <a:ext uri="{FF2B5EF4-FFF2-40B4-BE49-F238E27FC236}">
                <a16:creationId xmlns:a16="http://schemas.microsoft.com/office/drawing/2014/main" id="{C693B1DB-897C-4A9D-8CF3-F1423F6CB38D}"/>
              </a:ext>
            </a:extLst>
          </p:cNvPr>
          <p:cNvSpPr txBox="1"/>
          <p:nvPr/>
        </p:nvSpPr>
        <p:spPr>
          <a:xfrm>
            <a:off x="14400019" y="9762301"/>
            <a:ext cx="3636320" cy="448713"/>
          </a:xfrm>
          <a:prstGeom prst="rect">
            <a:avLst/>
          </a:prstGeom>
        </p:spPr>
        <p:txBody>
          <a:bodyPr wrap="square" lIns="0" tIns="0" rIns="0" bIns="0" rtlCol="0" anchor="t">
            <a:spAutoFit/>
          </a:bodyPr>
          <a:lstStyle/>
          <a:p>
            <a:pPr marL="0" marR="0" lvl="0" indent="0" algn="ctr" defTabSz="914400" rtl="0" eaLnBrk="1" fontAlgn="auto" latinLnBrk="0" hangingPunct="1">
              <a:lnSpc>
                <a:spcPts val="3919"/>
              </a:lnSpc>
              <a:spcBef>
                <a:spcPct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OCR A Extended" panose="02010509020102010303" pitchFamily="50" charset="0"/>
                <a:ea typeface="+mn-ea"/>
                <a:cs typeface="+mn-cs"/>
              </a:rPr>
              <a:t>www.retrofeed.eu</a:t>
            </a:r>
          </a:p>
        </p:txBody>
      </p:sp>
      <p:sp>
        <p:nvSpPr>
          <p:cNvPr id="6" name="TextBox 5">
            <a:extLst>
              <a:ext uri="{FF2B5EF4-FFF2-40B4-BE49-F238E27FC236}">
                <a16:creationId xmlns:a16="http://schemas.microsoft.com/office/drawing/2014/main" id="{00D1D594-354C-FF5A-81BC-BA54953684D1}"/>
              </a:ext>
            </a:extLst>
          </p:cNvPr>
          <p:cNvSpPr txBox="1"/>
          <p:nvPr/>
        </p:nvSpPr>
        <p:spPr>
          <a:xfrm>
            <a:off x="709712" y="2990296"/>
            <a:ext cx="16868554" cy="6370975"/>
          </a:xfrm>
          <a:prstGeom prst="rect">
            <a:avLst/>
          </a:prstGeom>
          <a:noFill/>
        </p:spPr>
        <p:txBody>
          <a:bodyPr wrap="square">
            <a:spAutoFit/>
          </a:bodyPr>
          <a:lstStyle/>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400" b="1" i="0" u="none" strike="noStrike" kern="1200" cap="none" spc="0" normalizeH="0" baseline="0" noProof="0" dirty="0">
                <a:ln>
                  <a:noFill/>
                </a:ln>
                <a:solidFill>
                  <a:srgbClr val="2F2F2F"/>
                </a:solidFill>
                <a:effectLst/>
                <a:uLnTx/>
                <a:uFillTx/>
                <a:latin typeface="Calibri" panose="020F0502020204030204" pitchFamily="34" charset="0"/>
                <a:ea typeface="Times New Roman" panose="02020603050405020304" pitchFamily="18" charset="0"/>
                <a:cs typeface="+mn-cs"/>
              </a:rPr>
              <a:t>Characterise the RDF properties: </a:t>
            </a:r>
            <a:endParaRPr kumimoji="0" lang="sv-SE" sz="2400" b="1" i="0" u="none" strike="noStrike" kern="1200" cap="none" spc="0" normalizeH="0" baseline="0" noProof="0" dirty="0">
              <a:ln>
                <a:noFill/>
              </a:ln>
              <a:solidFill>
                <a:srgbClr val="2F2F2F"/>
              </a:solidFill>
              <a:effectLst/>
              <a:uLnTx/>
              <a:uFillTx/>
              <a:latin typeface="Calibri" panose="020F0502020204030204" pitchFamily="34" charset="0"/>
              <a:ea typeface="Calibri" panose="020F0502020204030204" pitchFamily="34" charset="0"/>
              <a:cs typeface="+mn-cs"/>
            </a:endParaRPr>
          </a:p>
          <a:p>
            <a:pPr marL="1257300" marR="0" lvl="2"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400" b="0" i="0" u="none" strike="noStrike" kern="1200" cap="none" spc="0" normalizeH="0" baseline="0" noProof="0" dirty="0">
                <a:ln>
                  <a:noFill/>
                </a:ln>
                <a:solidFill>
                  <a:srgbClr val="2F2F2F"/>
                </a:solidFill>
                <a:effectLst/>
                <a:uLnTx/>
                <a:uFillTx/>
                <a:latin typeface="Calibri" panose="020F0502020204030204" pitchFamily="34" charset="0"/>
                <a:ea typeface="Times New Roman" panose="02020603050405020304" pitchFamily="18" charset="0"/>
                <a:cs typeface="+mn-cs"/>
              </a:rPr>
              <a:t>Chemical and combustion properties: performed a statistical analysis of all the supplies during 2020 and 2021 and sorted them by moisture content (most relevant value). Three statistically representative mixtures were used (1</a:t>
            </a:r>
            <a:r>
              <a:rPr kumimoji="0" lang="en-GB" sz="2400" b="0" i="0" u="none" strike="noStrike" kern="1200" cap="none" spc="0" normalizeH="0" baseline="30000" noProof="0" dirty="0">
                <a:ln>
                  <a:noFill/>
                </a:ln>
                <a:solidFill>
                  <a:srgbClr val="2F2F2F"/>
                </a:solidFill>
                <a:effectLst/>
                <a:uLnTx/>
                <a:uFillTx/>
                <a:latin typeface="Calibri" panose="020F0502020204030204" pitchFamily="34" charset="0"/>
                <a:ea typeface="Times New Roman" panose="02020603050405020304" pitchFamily="18" charset="0"/>
                <a:cs typeface="+mn-cs"/>
              </a:rPr>
              <a:t>st</a:t>
            </a:r>
            <a:r>
              <a:rPr kumimoji="0" lang="en-GB" sz="2400" b="0" i="0" u="none" strike="noStrike" kern="1200" cap="none" spc="0" normalizeH="0" baseline="0" noProof="0" dirty="0">
                <a:ln>
                  <a:noFill/>
                </a:ln>
                <a:solidFill>
                  <a:srgbClr val="2F2F2F"/>
                </a:solidFill>
                <a:effectLst/>
                <a:uLnTx/>
                <a:uFillTx/>
                <a:latin typeface="Calibri" panose="020F0502020204030204" pitchFamily="34" charset="0"/>
                <a:ea typeface="Times New Roman" panose="02020603050405020304" pitchFamily="18" charset="0"/>
                <a:cs typeface="+mn-cs"/>
              </a:rPr>
              <a:t> quartile, median and 3</a:t>
            </a:r>
            <a:r>
              <a:rPr kumimoji="0" lang="en-GB" sz="2400" b="0" i="0" u="none" strike="noStrike" kern="1200" cap="none" spc="0" normalizeH="0" baseline="30000" noProof="0" dirty="0">
                <a:ln>
                  <a:noFill/>
                </a:ln>
                <a:solidFill>
                  <a:srgbClr val="2F2F2F"/>
                </a:solidFill>
                <a:effectLst/>
                <a:uLnTx/>
                <a:uFillTx/>
                <a:latin typeface="Calibri" panose="020F0502020204030204" pitchFamily="34" charset="0"/>
                <a:ea typeface="Times New Roman" panose="02020603050405020304" pitchFamily="18" charset="0"/>
                <a:cs typeface="+mn-cs"/>
              </a:rPr>
              <a:t>rd</a:t>
            </a:r>
            <a:r>
              <a:rPr kumimoji="0" lang="en-GB" sz="2400" b="0" i="0" u="none" strike="noStrike" kern="1200" cap="none" spc="0" normalizeH="0" baseline="0" noProof="0" dirty="0">
                <a:ln>
                  <a:noFill/>
                </a:ln>
                <a:solidFill>
                  <a:srgbClr val="2F2F2F"/>
                </a:solidFill>
                <a:effectLst/>
                <a:uLnTx/>
                <a:uFillTx/>
                <a:latin typeface="Calibri" panose="020F0502020204030204" pitchFamily="34" charset="0"/>
                <a:ea typeface="Times New Roman" panose="02020603050405020304" pitchFamily="18" charset="0"/>
                <a:cs typeface="+mn-cs"/>
              </a:rPr>
              <a:t> quartile samples).</a:t>
            </a:r>
            <a:endParaRPr kumimoji="0" lang="sv-SE" sz="2400" b="0" i="0" u="none" strike="noStrike" kern="1200" cap="none" spc="0" normalizeH="0" baseline="0" noProof="0" dirty="0">
              <a:ln>
                <a:noFill/>
              </a:ln>
              <a:solidFill>
                <a:srgbClr val="2F2F2F"/>
              </a:solidFill>
              <a:effectLst/>
              <a:uLnTx/>
              <a:uFillTx/>
              <a:latin typeface="Calibri" panose="020F0502020204030204" pitchFamily="34" charset="0"/>
              <a:ea typeface="Calibri" panose="020F0502020204030204" pitchFamily="34" charset="0"/>
              <a:cs typeface="+mn-cs"/>
            </a:endParaRPr>
          </a:p>
          <a:p>
            <a:pPr marL="1257300" marR="0" lvl="2"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400" b="0" i="0" u="none" strike="noStrike" kern="1200" cap="none" spc="0" normalizeH="0" baseline="0" noProof="0" dirty="0">
                <a:ln>
                  <a:noFill/>
                </a:ln>
                <a:solidFill>
                  <a:srgbClr val="2F2F2F"/>
                </a:solidFill>
                <a:effectLst/>
                <a:uLnTx/>
                <a:uFillTx/>
                <a:latin typeface="Calibri" panose="020F0502020204030204" pitchFamily="34" charset="0"/>
                <a:ea typeface="Times New Roman" panose="02020603050405020304" pitchFamily="18" charset="0"/>
                <a:cs typeface="+mn-cs"/>
              </a:rPr>
              <a:t>Shape, size and combustible species: performed in-house granulometry analysis for different samples of RDF sent by </a:t>
            </a:r>
            <a:r>
              <a:rPr kumimoji="0" lang="en-GB" sz="2400" b="0" i="0" u="none" strike="noStrike" kern="1200" cap="none" spc="0" normalizeH="0" baseline="0" noProof="0" dirty="0" err="1">
                <a:ln>
                  <a:noFill/>
                </a:ln>
                <a:solidFill>
                  <a:srgbClr val="2F2F2F"/>
                </a:solidFill>
                <a:effectLst/>
                <a:uLnTx/>
                <a:uFillTx/>
                <a:latin typeface="Calibri" panose="020F0502020204030204" pitchFamily="34" charset="0"/>
                <a:ea typeface="Times New Roman" panose="02020603050405020304" pitchFamily="18" charset="0"/>
                <a:cs typeface="+mn-cs"/>
              </a:rPr>
              <a:t>Secil</a:t>
            </a:r>
            <a:r>
              <a:rPr kumimoji="0" lang="en-GB" sz="2400" b="0" i="0" u="none" strike="noStrike" kern="1200" cap="none" spc="0" normalizeH="0" baseline="0" noProof="0" dirty="0">
                <a:ln>
                  <a:noFill/>
                </a:ln>
                <a:solidFill>
                  <a:srgbClr val="2F2F2F"/>
                </a:solidFill>
                <a:effectLst/>
                <a:uLnTx/>
                <a:uFillTx/>
                <a:latin typeface="Calibri" panose="020F0502020204030204" pitchFamily="34" charset="0"/>
                <a:ea typeface="Times New Roman" panose="02020603050405020304" pitchFamily="18" charset="0"/>
                <a:cs typeface="+mn-cs"/>
              </a:rPr>
              <a:t>. We then matched them with literature studies, and stablished a quantity of each component in a final RDF mixture.</a:t>
            </a:r>
          </a:p>
          <a:p>
            <a:pPr marL="914400" marR="0" lvl="2" indent="0" algn="l" defTabSz="914400" rtl="0" eaLnBrk="1" fontAlgn="auto" latinLnBrk="0" hangingPunct="1">
              <a:lnSpc>
                <a:spcPct val="100000"/>
              </a:lnSpc>
              <a:spcBef>
                <a:spcPts val="0"/>
              </a:spcBef>
              <a:spcAft>
                <a:spcPts val="0"/>
              </a:spcAft>
              <a:buClrTx/>
              <a:buSzTx/>
              <a:buFontTx/>
              <a:buNone/>
              <a:tabLst/>
              <a:defRPr/>
            </a:pPr>
            <a:endParaRPr kumimoji="0" lang="sv-SE" sz="2400" b="0" i="0" u="none" strike="noStrike" kern="1200" cap="none" spc="0" normalizeH="0" baseline="0" noProof="0" dirty="0">
              <a:ln>
                <a:noFill/>
              </a:ln>
              <a:solidFill>
                <a:srgbClr val="2F2F2F"/>
              </a:solidFill>
              <a:effectLst/>
              <a:uLnTx/>
              <a:uFillTx/>
              <a:latin typeface="Calibri" panose="020F0502020204030204" pitchFamily="34" charset="0"/>
              <a:ea typeface="Calibri" panose="020F0502020204030204" pitchFamily="34" charset="0"/>
              <a:cs typeface="+mn-cs"/>
            </a:endParaRP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400" b="1" i="0" u="none" strike="noStrike" kern="1200" cap="none" spc="0" normalizeH="0" baseline="0" noProof="0" dirty="0">
                <a:ln>
                  <a:noFill/>
                </a:ln>
                <a:solidFill>
                  <a:srgbClr val="2F2F2F"/>
                </a:solidFill>
                <a:effectLst/>
                <a:uLnTx/>
                <a:uFillTx/>
                <a:latin typeface="Calibri" panose="020F0502020204030204" pitchFamily="34" charset="0"/>
                <a:ea typeface="Times New Roman" panose="02020603050405020304" pitchFamily="18" charset="0"/>
                <a:cs typeface="+mn-cs"/>
              </a:rPr>
              <a:t>Modelling of cyclones tower: </a:t>
            </a:r>
            <a:r>
              <a:rPr kumimoji="0" lang="en-GB" sz="2400" b="0" i="0" u="none" strike="noStrike" kern="1200" cap="none" spc="0" normalizeH="0" baseline="0" noProof="0" dirty="0">
                <a:ln>
                  <a:noFill/>
                </a:ln>
                <a:solidFill>
                  <a:srgbClr val="2F2F2F"/>
                </a:solidFill>
                <a:effectLst/>
                <a:uLnTx/>
                <a:uFillTx/>
                <a:latin typeface="Calibri" panose="020F0502020204030204" pitchFamily="34" charset="0"/>
                <a:ea typeface="Times New Roman" panose="02020603050405020304" pitchFamily="18" charset="0"/>
                <a:cs typeface="+mn-cs"/>
              </a:rPr>
              <a:t>not enough information for modelling in a discretized way, so no possible to compute conversion of raw material into clinker material within the tower. For overcoming this, we performed a historical analysis of conversion of components depending on the final Calcium Carbonate (CaCO3) content measured at the entrance of the kiln. With the analysis, a linear trend approximation was found for correlating each other chemical component.</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sv-SE" sz="2400" b="0" i="0" u="none" strike="noStrike" kern="1200" cap="none" spc="0" normalizeH="0" baseline="0" noProof="0" dirty="0">
              <a:ln>
                <a:noFill/>
              </a:ln>
              <a:solidFill>
                <a:srgbClr val="2F2F2F"/>
              </a:solidFill>
              <a:effectLst/>
              <a:uLnTx/>
              <a:uFillTx/>
              <a:latin typeface="Calibri" panose="020F0502020204030204" pitchFamily="34" charset="0"/>
              <a:ea typeface="Calibri" panose="020F0502020204030204" pitchFamily="34" charset="0"/>
              <a:cs typeface="+mn-cs"/>
            </a:endParaRP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400" b="1" i="0" u="none" strike="noStrike" kern="1200" cap="none" spc="0" normalizeH="0" baseline="0" noProof="0" dirty="0">
                <a:ln>
                  <a:noFill/>
                </a:ln>
                <a:solidFill>
                  <a:srgbClr val="2F2F2F"/>
                </a:solidFill>
                <a:effectLst/>
                <a:uLnTx/>
                <a:uFillTx/>
                <a:latin typeface="Calibri" panose="020F0502020204030204" pitchFamily="34" charset="0"/>
                <a:ea typeface="Times New Roman" panose="02020603050405020304" pitchFamily="18" charset="0"/>
                <a:cs typeface="+mn-cs"/>
              </a:rPr>
              <a:t>Secondary air mass flow: </a:t>
            </a:r>
            <a:r>
              <a:rPr kumimoji="0" lang="en-GB" sz="2400" b="0" i="0" u="none" strike="noStrike" kern="1200" cap="none" spc="0" normalizeH="0" baseline="0" noProof="0" dirty="0">
                <a:ln>
                  <a:noFill/>
                </a:ln>
                <a:solidFill>
                  <a:srgbClr val="2F2F2F"/>
                </a:solidFill>
                <a:effectLst/>
                <a:uLnTx/>
                <a:uFillTx/>
                <a:latin typeface="Calibri" panose="020F0502020204030204" pitchFamily="34" charset="0"/>
                <a:ea typeface="Times New Roman" panose="02020603050405020304" pitchFamily="18" charset="0"/>
                <a:cs typeface="+mn-cs"/>
              </a:rPr>
              <a:t>since this is an input to the model, it had to be added to the optimization algorithms to find this flow for each validation point together with the empirical tuneable parameters.</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sv-SE" sz="2400" b="0" i="0" u="none" strike="noStrike" kern="1200" cap="none" spc="0" normalizeH="0" baseline="0" noProof="0" dirty="0">
              <a:ln>
                <a:noFill/>
              </a:ln>
              <a:solidFill>
                <a:srgbClr val="2F2F2F"/>
              </a:solidFill>
              <a:effectLst/>
              <a:uLnTx/>
              <a:uFillTx/>
              <a:latin typeface="Calibri" panose="020F0502020204030204" pitchFamily="34" charset="0"/>
              <a:ea typeface="Calibri" panose="020F0502020204030204" pitchFamily="34" charset="0"/>
              <a:cs typeface="+mn-cs"/>
            </a:endParaRP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400" b="1" i="0" u="none" strike="noStrike" kern="1200" cap="none" spc="0" normalizeH="0" baseline="0" noProof="0" dirty="0">
                <a:ln>
                  <a:noFill/>
                </a:ln>
                <a:solidFill>
                  <a:srgbClr val="2F2F2F"/>
                </a:solidFill>
                <a:effectLst/>
                <a:uLnTx/>
                <a:uFillTx/>
                <a:latin typeface="Calibri" panose="020F0502020204030204" pitchFamily="34" charset="0"/>
                <a:ea typeface="Times New Roman" panose="02020603050405020304" pitchFamily="18" charset="0"/>
                <a:cs typeface="+mn-cs"/>
              </a:rPr>
              <a:t>Large set of empirical parameters to be tuned. </a:t>
            </a:r>
            <a:r>
              <a:rPr kumimoji="0" lang="en-GB" sz="2400" b="0" i="0" u="none" strike="noStrike" kern="1200" cap="none" spc="0" normalizeH="0" baseline="0" noProof="0" dirty="0">
                <a:ln>
                  <a:noFill/>
                </a:ln>
                <a:solidFill>
                  <a:srgbClr val="2F2F2F"/>
                </a:solidFill>
                <a:effectLst/>
                <a:uLnTx/>
                <a:uFillTx/>
                <a:latin typeface="Calibri" panose="020F0502020204030204" pitchFamily="34" charset="0"/>
                <a:ea typeface="Times New Roman" panose="02020603050405020304" pitchFamily="18" charset="0"/>
                <a:cs typeface="+mn-cs"/>
              </a:rPr>
              <a:t>To overcome this challenge, a metaheuristic algorithm was developed to find out the best combination of all the parameters for fitting to the validation points measured by </a:t>
            </a:r>
            <a:r>
              <a:rPr kumimoji="0" lang="en-GB" sz="2400" b="0" i="0" u="none" strike="noStrike" kern="1200" cap="none" spc="0" normalizeH="0" baseline="0" noProof="0" dirty="0" err="1">
                <a:ln>
                  <a:noFill/>
                </a:ln>
                <a:solidFill>
                  <a:srgbClr val="2F2F2F"/>
                </a:solidFill>
                <a:effectLst/>
                <a:uLnTx/>
                <a:uFillTx/>
                <a:latin typeface="Calibri" panose="020F0502020204030204" pitchFamily="34" charset="0"/>
                <a:ea typeface="Times New Roman" panose="02020603050405020304" pitchFamily="18" charset="0"/>
                <a:cs typeface="+mn-cs"/>
              </a:rPr>
              <a:t>Secil</a:t>
            </a:r>
            <a:r>
              <a:rPr kumimoji="0" lang="en-GB" sz="2400" b="0" i="0" u="none" strike="noStrike" kern="1200" cap="none" spc="0" normalizeH="0" baseline="0" noProof="0" dirty="0">
                <a:ln>
                  <a:noFill/>
                </a:ln>
                <a:solidFill>
                  <a:srgbClr val="2F2F2F"/>
                </a:solidFill>
                <a:effectLst/>
                <a:uLnTx/>
                <a:uFillTx/>
                <a:latin typeface="Calibri" panose="020F0502020204030204" pitchFamily="34" charset="0"/>
                <a:ea typeface="Times New Roman" panose="02020603050405020304" pitchFamily="18" charset="0"/>
                <a:cs typeface="+mn-cs"/>
              </a:rPr>
              <a:t>.</a:t>
            </a:r>
            <a:endParaRPr kumimoji="0" lang="sv-SE" sz="2400" b="0" i="0" u="none" strike="noStrike" kern="1200" cap="none" spc="0" normalizeH="0" baseline="0" noProof="0" dirty="0">
              <a:ln>
                <a:noFill/>
              </a:ln>
              <a:solidFill>
                <a:srgbClr val="2F2F2F"/>
              </a:solidFill>
              <a:effectLst/>
              <a:uLnTx/>
              <a:uFillTx/>
              <a:latin typeface="Calibri" panose="020F0502020204030204" pitchFamily="34" charset="0"/>
              <a:ea typeface="Calibri" panose="020F0502020204030204" pitchFamily="34" charset="0"/>
              <a:cs typeface="+mn-cs"/>
            </a:endParaRPr>
          </a:p>
        </p:txBody>
      </p:sp>
      <p:pic>
        <p:nvPicPr>
          <p:cNvPr id="2" name="Imagen 93">
            <a:extLst>
              <a:ext uri="{FF2B5EF4-FFF2-40B4-BE49-F238E27FC236}">
                <a16:creationId xmlns:a16="http://schemas.microsoft.com/office/drawing/2014/main" id="{7DB12FDA-76BC-F5BB-58E9-DA82FCA09011}"/>
              </a:ext>
            </a:extLst>
          </p:cNvPr>
          <p:cNvPicPr>
            <a:picLocks noChangeAspect="1"/>
          </p:cNvPicPr>
          <p:nvPr/>
        </p:nvPicPr>
        <p:blipFill rotWithShape="1">
          <a:blip r:embed="rId6"/>
          <a:srcRect l="23084" t="14316" r="9046" b="7091"/>
          <a:stretch/>
        </p:blipFill>
        <p:spPr>
          <a:xfrm>
            <a:off x="15868607" y="466021"/>
            <a:ext cx="2369044" cy="1936268"/>
          </a:xfrm>
          <a:prstGeom prst="rect">
            <a:avLst/>
          </a:prstGeom>
        </p:spPr>
      </p:pic>
      <p:sp>
        <p:nvSpPr>
          <p:cNvPr id="3" name="TextBox 275">
            <a:extLst>
              <a:ext uri="{FF2B5EF4-FFF2-40B4-BE49-F238E27FC236}">
                <a16:creationId xmlns:a16="http://schemas.microsoft.com/office/drawing/2014/main" id="{343E7C7C-6798-A5EA-43BF-7CFB8C78ACCC}"/>
              </a:ext>
            </a:extLst>
          </p:cNvPr>
          <p:cNvSpPr txBox="1"/>
          <p:nvPr/>
        </p:nvSpPr>
        <p:spPr>
          <a:xfrm>
            <a:off x="909922" y="1244707"/>
            <a:ext cx="16143207" cy="107721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6400" b="1" i="0" u="none" strike="noStrike" kern="1200" cap="none" spc="0" normalizeH="0" baseline="0" noProof="0">
                <a:ln>
                  <a:noFill/>
                </a:ln>
                <a:solidFill>
                  <a:srgbClr val="CC0033"/>
                </a:solidFill>
                <a:effectLst/>
                <a:uLnTx/>
                <a:uFillTx/>
                <a:latin typeface="Arial"/>
                <a:ea typeface="+mn-ea"/>
                <a:cs typeface="Arial" panose="020B0604020202020204" pitchFamily="34" charset="0"/>
              </a:rPr>
              <a:t>Digital </a:t>
            </a:r>
            <a:r>
              <a:rPr kumimoji="0" lang="sv-SE" sz="6400" b="1" i="0" u="none" strike="noStrike" kern="1200" cap="none" spc="0" normalizeH="0" baseline="0" noProof="0" err="1">
                <a:ln>
                  <a:noFill/>
                </a:ln>
                <a:solidFill>
                  <a:srgbClr val="CC0033"/>
                </a:solidFill>
                <a:effectLst/>
                <a:uLnTx/>
                <a:uFillTx/>
                <a:latin typeface="Arial"/>
                <a:ea typeface="+mn-ea"/>
                <a:cs typeface="Arial" panose="020B0604020202020204" pitchFamily="34" charset="0"/>
              </a:rPr>
              <a:t>twin</a:t>
            </a:r>
            <a:r>
              <a:rPr kumimoji="0" lang="sv-SE" sz="6400" b="1" i="0" u="none" strike="noStrike" kern="1200" cap="none" spc="0" normalizeH="0" baseline="0" noProof="0">
                <a:ln>
                  <a:noFill/>
                </a:ln>
                <a:solidFill>
                  <a:srgbClr val="CC0033"/>
                </a:solidFill>
                <a:effectLst/>
                <a:uLnTx/>
                <a:uFillTx/>
                <a:latin typeface="Arial"/>
                <a:ea typeface="+mn-ea"/>
                <a:cs typeface="Arial" panose="020B0604020202020204" pitchFamily="34" charset="0"/>
              </a:rPr>
              <a:t> </a:t>
            </a:r>
            <a:r>
              <a:rPr kumimoji="0" lang="sv-SE" sz="6400" b="1" i="0" u="none" strike="noStrike" kern="1200" cap="none" spc="0" normalizeH="0" baseline="0" noProof="0" err="1">
                <a:ln>
                  <a:noFill/>
                </a:ln>
                <a:solidFill>
                  <a:srgbClr val="CC0033"/>
                </a:solidFill>
                <a:effectLst/>
                <a:uLnTx/>
                <a:uFillTx/>
                <a:latin typeface="Arial"/>
                <a:ea typeface="+mn-ea"/>
                <a:cs typeface="Arial" panose="020B0604020202020204" pitchFamily="34" charset="0"/>
              </a:rPr>
              <a:t>challenges</a:t>
            </a:r>
            <a:endParaRPr kumimoji="0" lang="sv-SE" sz="6400" b="1" i="0" u="none" strike="noStrike" kern="1200" cap="none" spc="0" normalizeH="0" baseline="0" noProof="0">
              <a:ln>
                <a:noFill/>
              </a:ln>
              <a:solidFill>
                <a:srgbClr val="CC0033"/>
              </a:solidFill>
              <a:effectLst/>
              <a:uLnTx/>
              <a:uFillTx/>
              <a:latin typeface="Arial"/>
              <a:ea typeface="+mn-ea"/>
              <a:cs typeface="Arial" panose="020B0604020202020204" pitchFamily="34" charset="0"/>
            </a:endParaRPr>
          </a:p>
        </p:txBody>
      </p:sp>
      <p:sp>
        <p:nvSpPr>
          <p:cNvPr id="5" name="textruta 4">
            <a:extLst>
              <a:ext uri="{FF2B5EF4-FFF2-40B4-BE49-F238E27FC236}">
                <a16:creationId xmlns:a16="http://schemas.microsoft.com/office/drawing/2014/main" id="{BC709C01-EDB0-ABDB-6AF4-6FE367629019}"/>
              </a:ext>
            </a:extLst>
          </p:cNvPr>
          <p:cNvSpPr txBox="1"/>
          <p:nvPr/>
        </p:nvSpPr>
        <p:spPr>
          <a:xfrm>
            <a:off x="1142999" y="2528631"/>
            <a:ext cx="15528852"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chemeClr val="accent1"/>
                </a:solidFill>
                <a:effectLst/>
                <a:uLnTx/>
                <a:uFillTx/>
                <a:latin typeface="Arial"/>
                <a:ea typeface="Calibri" panose="020F0502020204030204" pitchFamily="34" charset="0"/>
                <a:cs typeface="+mn-cs"/>
              </a:rPr>
              <a:t>For the </a:t>
            </a:r>
            <a:r>
              <a:rPr kumimoji="0" lang="en-GB" sz="2400" b="1" i="0" u="none" strike="noStrike" kern="1200" cap="none" spc="0" normalizeH="0" baseline="0" noProof="0" err="1">
                <a:ln>
                  <a:noFill/>
                </a:ln>
                <a:solidFill>
                  <a:schemeClr val="accent1"/>
                </a:solidFill>
                <a:effectLst/>
                <a:uLnTx/>
                <a:uFillTx/>
                <a:latin typeface="Arial"/>
                <a:ea typeface="Calibri" panose="020F0502020204030204" pitchFamily="34" charset="0"/>
                <a:cs typeface="+mn-cs"/>
              </a:rPr>
              <a:t>Secil</a:t>
            </a:r>
            <a:r>
              <a:rPr kumimoji="0" lang="en-GB" sz="2400" b="1" i="0" u="none" strike="noStrike" kern="1200" cap="none" spc="0" normalizeH="0" baseline="0" noProof="0">
                <a:ln>
                  <a:noFill/>
                </a:ln>
                <a:solidFill>
                  <a:schemeClr val="accent1"/>
                </a:solidFill>
                <a:effectLst/>
                <a:uLnTx/>
                <a:uFillTx/>
                <a:latin typeface="Arial"/>
                <a:ea typeface="Calibri" panose="020F0502020204030204" pitchFamily="34" charset="0"/>
                <a:cs typeface="+mn-cs"/>
              </a:rPr>
              <a:t> case, the main challenges for developing the Digital Twin were the following:</a:t>
            </a:r>
          </a:p>
        </p:txBody>
      </p:sp>
    </p:spTree>
    <p:extLst>
      <p:ext uri="{BB962C8B-B14F-4D97-AF65-F5344CB8AC3E}">
        <p14:creationId xmlns:p14="http://schemas.microsoft.com/office/powerpoint/2010/main" val="413488605"/>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1" name="Picture 12">
            <a:extLst>
              <a:ext uri="{FF2B5EF4-FFF2-40B4-BE49-F238E27FC236}">
                <a16:creationId xmlns:a16="http://schemas.microsoft.com/office/drawing/2014/main" id="{43802E0E-B79D-4EA7-8141-0CA3ED138B1A}"/>
              </a:ext>
            </a:extLst>
          </p:cNvPr>
          <p:cNvPicPr>
            <a:picLocks noChangeAspect="1"/>
          </p:cNvPicPr>
          <p:nvPr/>
        </p:nvPicPr>
        <p:blipFill>
          <a:blip r:embed="rId3"/>
          <a:srcRect/>
          <a:stretch>
            <a:fillRect/>
          </a:stretch>
        </p:blipFill>
        <p:spPr>
          <a:xfrm>
            <a:off x="0" y="8959889"/>
            <a:ext cx="5715000" cy="1385887"/>
          </a:xfrm>
          <a:prstGeom prst="rect">
            <a:avLst/>
          </a:prstGeom>
        </p:spPr>
      </p:pic>
      <p:grpSp>
        <p:nvGrpSpPr>
          <p:cNvPr id="132" name="Gruppo 2">
            <a:extLst>
              <a:ext uri="{FF2B5EF4-FFF2-40B4-BE49-F238E27FC236}">
                <a16:creationId xmlns:a16="http://schemas.microsoft.com/office/drawing/2014/main" id="{649928F6-6E82-4611-9715-AD3C75457C28}"/>
              </a:ext>
            </a:extLst>
          </p:cNvPr>
          <p:cNvGrpSpPr/>
          <p:nvPr/>
        </p:nvGrpSpPr>
        <p:grpSpPr>
          <a:xfrm>
            <a:off x="-12" y="138554"/>
            <a:ext cx="18288002" cy="681138"/>
            <a:chOff x="-12" y="138554"/>
            <a:chExt cx="18288002" cy="681138"/>
          </a:xfrm>
        </p:grpSpPr>
        <p:grpSp>
          <p:nvGrpSpPr>
            <p:cNvPr id="133" name="Gruppo 1">
              <a:extLst>
                <a:ext uri="{FF2B5EF4-FFF2-40B4-BE49-F238E27FC236}">
                  <a16:creationId xmlns:a16="http://schemas.microsoft.com/office/drawing/2014/main" id="{A8EB8794-E5C6-45EB-BAEC-2778E982797A}"/>
                </a:ext>
              </a:extLst>
            </p:cNvPr>
            <p:cNvGrpSpPr/>
            <p:nvPr/>
          </p:nvGrpSpPr>
          <p:grpSpPr>
            <a:xfrm>
              <a:off x="0" y="153125"/>
              <a:ext cx="17907000" cy="666567"/>
              <a:chOff x="0" y="153125"/>
              <a:chExt cx="17907000" cy="666567"/>
            </a:xfrm>
          </p:grpSpPr>
          <p:grpSp>
            <p:nvGrpSpPr>
              <p:cNvPr id="135" name="Gruppo 15">
                <a:extLst>
                  <a:ext uri="{FF2B5EF4-FFF2-40B4-BE49-F238E27FC236}">
                    <a16:creationId xmlns:a16="http://schemas.microsoft.com/office/drawing/2014/main" id="{AB129748-9FD7-458D-BD6E-304271C1814A}"/>
                  </a:ext>
                </a:extLst>
              </p:cNvPr>
              <p:cNvGrpSpPr/>
              <p:nvPr/>
            </p:nvGrpSpPr>
            <p:grpSpPr>
              <a:xfrm>
                <a:off x="0" y="153125"/>
                <a:ext cx="13958844" cy="666567"/>
                <a:chOff x="0" y="153125"/>
                <a:chExt cx="13958844" cy="666567"/>
              </a:xfrm>
            </p:grpSpPr>
            <p:pic>
              <p:nvPicPr>
                <p:cNvPr id="137" name="Picture 136">
                  <a:extLst>
                    <a:ext uri="{FF2B5EF4-FFF2-40B4-BE49-F238E27FC236}">
                      <a16:creationId xmlns:a16="http://schemas.microsoft.com/office/drawing/2014/main" id="{88E31CFD-796F-4F3F-A1EC-0E38F9D83456}"/>
                    </a:ext>
                  </a:extLst>
                </p:cNvPr>
                <p:cNvPicPr>
                  <a:picLocks noChangeAspect="1"/>
                </p:cNvPicPr>
                <p:nvPr/>
              </p:nvPicPr>
              <p:blipFill>
                <a:blip r:embed="rId4"/>
                <a:srcRect l="134" t="91287" b="3943"/>
                <a:stretch>
                  <a:fillRect/>
                </a:stretch>
              </p:blipFill>
              <p:spPr>
                <a:xfrm>
                  <a:off x="0" y="153125"/>
                  <a:ext cx="13958844" cy="666567"/>
                </a:xfrm>
                <a:prstGeom prst="rect">
                  <a:avLst/>
                </a:prstGeom>
              </p:spPr>
            </p:pic>
            <p:sp>
              <p:nvSpPr>
                <p:cNvPr id="138" name="TextBox 137">
                  <a:extLst>
                    <a:ext uri="{FF2B5EF4-FFF2-40B4-BE49-F238E27FC236}">
                      <a16:creationId xmlns:a16="http://schemas.microsoft.com/office/drawing/2014/main" id="{7694DADD-E227-40A7-A98D-244B0D207E54}"/>
                    </a:ext>
                  </a:extLst>
                </p:cNvPr>
                <p:cNvSpPr txBox="1"/>
                <p:nvPr/>
              </p:nvSpPr>
              <p:spPr>
                <a:xfrm>
                  <a:off x="228600" y="257980"/>
                  <a:ext cx="9296400" cy="456856"/>
                </a:xfrm>
                <a:prstGeom prst="rect">
                  <a:avLst/>
                </a:prstGeom>
              </p:spPr>
              <p:txBody>
                <a:bodyPr wrap="square" lIns="0" tIns="0" rIns="0" bIns="0" rtlCol="0" anchor="t">
                  <a:spAutoFit/>
                </a:bodyPr>
                <a:lstStyle/>
                <a:p>
                  <a:pPr marL="0" marR="0" lvl="0" indent="0" algn="l" defTabSz="914400" rtl="0" eaLnBrk="1" fontAlgn="auto" latinLnBrk="0" hangingPunct="1">
                    <a:lnSpc>
                      <a:spcPts val="3919"/>
                    </a:lnSpc>
                    <a:spcBef>
                      <a:spcPct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36" name="TextBox 135">
                <a:extLst>
                  <a:ext uri="{FF2B5EF4-FFF2-40B4-BE49-F238E27FC236}">
                    <a16:creationId xmlns:a16="http://schemas.microsoft.com/office/drawing/2014/main" id="{4B3CCEBB-60EF-4175-9878-F0D51FD80FF0}"/>
                  </a:ext>
                </a:extLst>
              </p:cNvPr>
              <p:cNvSpPr txBox="1"/>
              <p:nvPr/>
            </p:nvSpPr>
            <p:spPr>
              <a:xfrm>
                <a:off x="12154296" y="257980"/>
                <a:ext cx="5752704" cy="456856"/>
              </a:xfrm>
              <a:prstGeom prst="rect">
                <a:avLst/>
              </a:prstGeom>
            </p:spPr>
            <p:txBody>
              <a:bodyPr wrap="square" lIns="0" tIns="0" rIns="0" bIns="0" rtlCol="0" anchor="t">
                <a:spAutoFit/>
              </a:bodyPr>
              <a:lstStyle/>
              <a:p>
                <a:pPr marL="0" marR="0" lvl="0" indent="0" algn="r" defTabSz="914400" rtl="0" eaLnBrk="1" fontAlgn="auto" latinLnBrk="0" hangingPunct="1">
                  <a:lnSpc>
                    <a:spcPts val="3919"/>
                  </a:lnSpc>
                  <a:spcBef>
                    <a:spcPct val="0"/>
                  </a:spcBef>
                  <a:spcAft>
                    <a:spcPts val="0"/>
                  </a:spcAft>
                  <a:buClrTx/>
                  <a:buSzTx/>
                  <a:buFontTx/>
                  <a:buNone/>
                  <a:tabLst/>
                  <a:defRPr/>
                </a:pPr>
                <a:endParaRPr kumimoji="0" lang="en-US" sz="2800" b="0" i="0" u="none" strike="noStrike" kern="1200" cap="none" spc="0" normalizeH="0" baseline="0" noProof="0">
                  <a:ln>
                    <a:noFill/>
                  </a:ln>
                  <a:solidFill>
                    <a:srgbClr val="2F2F2F">
                      <a:lumMod val="75000"/>
                      <a:lumOff val="25000"/>
                    </a:srgbClr>
                  </a:solidFill>
                  <a:effectLst/>
                  <a:uLnTx/>
                  <a:uFillTx/>
                  <a:latin typeface="Arial" panose="020B0604020202020204" pitchFamily="34" charset="0"/>
                  <a:ea typeface="+mn-ea"/>
                  <a:cs typeface="Arial" panose="020B0604020202020204" pitchFamily="34" charset="0"/>
                </a:endParaRPr>
              </a:p>
            </p:txBody>
          </p:sp>
        </p:grpSp>
        <p:sp>
          <p:nvSpPr>
            <p:cNvPr id="134" name="Rettangolo 13">
              <a:extLst>
                <a:ext uri="{FF2B5EF4-FFF2-40B4-BE49-F238E27FC236}">
                  <a16:creationId xmlns:a16="http://schemas.microsoft.com/office/drawing/2014/main" id="{8F0CF2A7-592A-4287-9206-D3289F1B0C37}"/>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pic>
        <p:nvPicPr>
          <p:cNvPr id="139" name="Picture 12">
            <a:extLst>
              <a:ext uri="{FF2B5EF4-FFF2-40B4-BE49-F238E27FC236}">
                <a16:creationId xmlns:a16="http://schemas.microsoft.com/office/drawing/2014/main" id="{F047215A-40D8-4A57-BE02-5E03FCEEBB7B}"/>
              </a:ext>
            </a:extLst>
          </p:cNvPr>
          <p:cNvPicPr>
            <a:picLocks noChangeAspect="1"/>
          </p:cNvPicPr>
          <p:nvPr/>
        </p:nvPicPr>
        <p:blipFill>
          <a:blip r:embed="rId5"/>
          <a:srcRect l="134" t="91287" b="3943"/>
          <a:stretch>
            <a:fillRect/>
          </a:stretch>
        </p:blipFill>
        <p:spPr>
          <a:xfrm rot="10800000">
            <a:off x="4329146" y="9679208"/>
            <a:ext cx="13958844" cy="666567"/>
          </a:xfrm>
          <a:prstGeom prst="rect">
            <a:avLst/>
          </a:prstGeom>
        </p:spPr>
      </p:pic>
      <p:sp>
        <p:nvSpPr>
          <p:cNvPr id="140" name="TextBox 16">
            <a:extLst>
              <a:ext uri="{FF2B5EF4-FFF2-40B4-BE49-F238E27FC236}">
                <a16:creationId xmlns:a16="http://schemas.microsoft.com/office/drawing/2014/main" id="{C693B1DB-897C-4A9D-8CF3-F1423F6CB38D}"/>
              </a:ext>
            </a:extLst>
          </p:cNvPr>
          <p:cNvSpPr txBox="1"/>
          <p:nvPr/>
        </p:nvSpPr>
        <p:spPr>
          <a:xfrm>
            <a:off x="14400019" y="9762301"/>
            <a:ext cx="3636320" cy="448713"/>
          </a:xfrm>
          <a:prstGeom prst="rect">
            <a:avLst/>
          </a:prstGeom>
        </p:spPr>
        <p:txBody>
          <a:bodyPr wrap="square" lIns="0" tIns="0" rIns="0" bIns="0" rtlCol="0" anchor="t">
            <a:spAutoFit/>
          </a:bodyPr>
          <a:lstStyle/>
          <a:p>
            <a:pPr marL="0" marR="0" lvl="0" indent="0" algn="ctr" defTabSz="914400" rtl="0" eaLnBrk="1" fontAlgn="auto" latinLnBrk="0" hangingPunct="1">
              <a:lnSpc>
                <a:spcPts val="3919"/>
              </a:lnSpc>
              <a:spcBef>
                <a:spcPct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OCR A Extended" panose="02010509020102010303" pitchFamily="50" charset="0"/>
                <a:ea typeface="+mn-ea"/>
                <a:cs typeface="+mn-cs"/>
              </a:rPr>
              <a:t>www.retrofeed.eu</a:t>
            </a:r>
          </a:p>
        </p:txBody>
      </p:sp>
      <p:sp>
        <p:nvSpPr>
          <p:cNvPr id="6" name="TextBox 5">
            <a:extLst>
              <a:ext uri="{FF2B5EF4-FFF2-40B4-BE49-F238E27FC236}">
                <a16:creationId xmlns:a16="http://schemas.microsoft.com/office/drawing/2014/main" id="{00D1D594-354C-FF5A-81BC-BA54953684D1}"/>
              </a:ext>
            </a:extLst>
          </p:cNvPr>
          <p:cNvSpPr txBox="1"/>
          <p:nvPr/>
        </p:nvSpPr>
        <p:spPr>
          <a:xfrm>
            <a:off x="1142999" y="3174894"/>
            <a:ext cx="15910130" cy="1569660"/>
          </a:xfrm>
          <a:prstGeom prst="rect">
            <a:avLst/>
          </a:prstGeom>
          <a:noFill/>
        </p:spPr>
        <p:txBody>
          <a:bodyPr wrap="square">
            <a:spAutoFit/>
          </a:bodyPr>
          <a:lstStyle/>
          <a:p>
            <a:pPr marR="0" lvl="0" algn="l" defTabSz="914400" rtl="0" eaLnBrk="1" fontAlgn="auto" latinLnBrk="0" hangingPunct="1">
              <a:lnSpc>
                <a:spcPct val="100000"/>
              </a:lnSpc>
              <a:spcBef>
                <a:spcPts val="0"/>
              </a:spcBef>
              <a:spcAft>
                <a:spcPts val="0"/>
              </a:spcAft>
              <a:buClrTx/>
              <a:buSzTx/>
              <a:tabLst/>
              <a:defRPr/>
            </a:pPr>
            <a:r>
              <a:rPr kumimoji="0" lang="en-GB" sz="2400" b="0" i="0" u="none" strike="noStrike" kern="1200" cap="none" spc="0" normalizeH="0" baseline="0" noProof="0" dirty="0">
                <a:ln>
                  <a:noFill/>
                </a:ln>
                <a:solidFill>
                  <a:srgbClr val="2F2F2F"/>
                </a:solidFill>
                <a:effectLst/>
                <a:uLnTx/>
                <a:uFillTx/>
                <a:latin typeface="Arial"/>
                <a:ea typeface="Calibri" panose="020F0502020204030204" pitchFamily="34" charset="0"/>
                <a:cs typeface="+mn-cs"/>
              </a:rPr>
              <a:t>The most important challenge in DT development, is lack of sufficient data (operational, design) for model building and measurements (temperatures, flows, emissions) for model validating and fine-tuning.</a:t>
            </a:r>
            <a:r>
              <a:rPr kumimoji="0" lang="sv-SE" sz="2400" b="0" i="0" u="none" strike="noStrike" kern="1200" cap="none" spc="0" normalizeH="0" baseline="0" noProof="0" dirty="0">
                <a:ln>
                  <a:noFill/>
                </a:ln>
                <a:solidFill>
                  <a:srgbClr val="2F2F2F"/>
                </a:solidFill>
                <a:effectLst/>
                <a:uLnTx/>
                <a:uFillTx/>
                <a:latin typeface="Arial"/>
                <a:ea typeface="Calibri" panose="020F0502020204030204" pitchFamily="34" charset="0"/>
                <a:cs typeface="+mn-cs"/>
              </a:rPr>
              <a:t> </a:t>
            </a:r>
            <a:r>
              <a:rPr kumimoji="0" lang="en-GB" sz="2400" b="0" i="0" u="none" strike="noStrike" kern="1200" cap="none" spc="0" normalizeH="0" baseline="0" noProof="0" dirty="0">
                <a:ln>
                  <a:noFill/>
                </a:ln>
                <a:solidFill>
                  <a:srgbClr val="2F2F2F"/>
                </a:solidFill>
                <a:effectLst/>
                <a:uLnTx/>
                <a:uFillTx/>
                <a:latin typeface="Arial"/>
                <a:ea typeface="Calibri" panose="020F0502020204030204" pitchFamily="34" charset="0"/>
                <a:cs typeface="+mn-cs"/>
              </a:rPr>
              <a:t>Without this DT and DSS will always be inadequate. Everything else (sub-models, computation power, implementation, programming) can be taken care of.</a:t>
            </a:r>
            <a:endParaRPr kumimoji="0" lang="sv-SE" sz="2400" b="0" i="0" u="none" strike="noStrike" kern="1200" cap="none" spc="0" normalizeH="0" baseline="0" noProof="0" dirty="0">
              <a:ln>
                <a:noFill/>
              </a:ln>
              <a:solidFill>
                <a:srgbClr val="2F2F2F"/>
              </a:solidFill>
              <a:effectLst/>
              <a:uLnTx/>
              <a:uFillTx/>
              <a:latin typeface="Arial"/>
              <a:ea typeface="Calibri" panose="020F0502020204030204" pitchFamily="34" charset="0"/>
              <a:cs typeface="+mn-cs"/>
            </a:endParaRPr>
          </a:p>
        </p:txBody>
      </p:sp>
      <p:sp>
        <p:nvSpPr>
          <p:cNvPr id="3" name="TextBox 275">
            <a:extLst>
              <a:ext uri="{FF2B5EF4-FFF2-40B4-BE49-F238E27FC236}">
                <a16:creationId xmlns:a16="http://schemas.microsoft.com/office/drawing/2014/main" id="{343E7C7C-6798-A5EA-43BF-7CFB8C78ACCC}"/>
              </a:ext>
            </a:extLst>
          </p:cNvPr>
          <p:cNvSpPr txBox="1"/>
          <p:nvPr/>
        </p:nvSpPr>
        <p:spPr>
          <a:xfrm>
            <a:off x="909922" y="1244707"/>
            <a:ext cx="16143207" cy="107721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6400" b="1" i="0" u="none" strike="noStrike" kern="1200" cap="none" spc="0" normalizeH="0" baseline="0" noProof="0">
                <a:ln>
                  <a:noFill/>
                </a:ln>
                <a:solidFill>
                  <a:srgbClr val="CC0033"/>
                </a:solidFill>
                <a:effectLst/>
                <a:uLnTx/>
                <a:uFillTx/>
                <a:latin typeface="Arial"/>
                <a:ea typeface="+mn-ea"/>
                <a:cs typeface="Arial" panose="020B0604020202020204" pitchFamily="34" charset="0"/>
              </a:rPr>
              <a:t>Digital </a:t>
            </a:r>
            <a:r>
              <a:rPr kumimoji="0" lang="sv-SE" sz="6400" b="1" i="0" u="none" strike="noStrike" kern="1200" cap="none" spc="0" normalizeH="0" baseline="0" noProof="0" err="1">
                <a:ln>
                  <a:noFill/>
                </a:ln>
                <a:solidFill>
                  <a:srgbClr val="CC0033"/>
                </a:solidFill>
                <a:effectLst/>
                <a:uLnTx/>
                <a:uFillTx/>
                <a:latin typeface="Arial"/>
                <a:ea typeface="+mn-ea"/>
                <a:cs typeface="Arial" panose="020B0604020202020204" pitchFamily="34" charset="0"/>
              </a:rPr>
              <a:t>twin</a:t>
            </a:r>
            <a:r>
              <a:rPr kumimoji="0" lang="sv-SE" sz="6400" b="1" i="0" u="none" strike="noStrike" kern="1200" cap="none" spc="0" normalizeH="0" baseline="0" noProof="0">
                <a:ln>
                  <a:noFill/>
                </a:ln>
                <a:solidFill>
                  <a:srgbClr val="CC0033"/>
                </a:solidFill>
                <a:effectLst/>
                <a:uLnTx/>
                <a:uFillTx/>
                <a:latin typeface="Arial"/>
                <a:ea typeface="+mn-ea"/>
                <a:cs typeface="Arial" panose="020B0604020202020204" pitchFamily="34" charset="0"/>
              </a:rPr>
              <a:t> </a:t>
            </a:r>
            <a:r>
              <a:rPr kumimoji="0" lang="sv-SE" sz="6400" b="1" i="0" u="none" strike="noStrike" kern="1200" cap="none" spc="0" normalizeH="0" baseline="0" noProof="0" err="1">
                <a:ln>
                  <a:noFill/>
                </a:ln>
                <a:solidFill>
                  <a:srgbClr val="CC0033"/>
                </a:solidFill>
                <a:effectLst/>
                <a:uLnTx/>
                <a:uFillTx/>
                <a:latin typeface="Arial"/>
                <a:ea typeface="+mn-ea"/>
                <a:cs typeface="Arial" panose="020B0604020202020204" pitchFamily="34" charset="0"/>
              </a:rPr>
              <a:t>challenges</a:t>
            </a:r>
            <a:endParaRPr kumimoji="0" lang="sv-SE" sz="6400" b="1" i="0" u="none" strike="noStrike" kern="1200" cap="none" spc="0" normalizeH="0" baseline="0" noProof="0">
              <a:ln>
                <a:noFill/>
              </a:ln>
              <a:solidFill>
                <a:srgbClr val="CC0033"/>
              </a:solidFill>
              <a:effectLst/>
              <a:uLnTx/>
              <a:uFillTx/>
              <a:latin typeface="Arial"/>
              <a:ea typeface="+mn-ea"/>
              <a:cs typeface="Arial" panose="020B0604020202020204" pitchFamily="34" charset="0"/>
            </a:endParaRPr>
          </a:p>
        </p:txBody>
      </p:sp>
      <p:sp>
        <p:nvSpPr>
          <p:cNvPr id="5" name="textruta 4">
            <a:extLst>
              <a:ext uri="{FF2B5EF4-FFF2-40B4-BE49-F238E27FC236}">
                <a16:creationId xmlns:a16="http://schemas.microsoft.com/office/drawing/2014/main" id="{BC709C01-EDB0-ABDB-6AF4-6FE367629019}"/>
              </a:ext>
            </a:extLst>
          </p:cNvPr>
          <p:cNvSpPr txBox="1"/>
          <p:nvPr/>
        </p:nvSpPr>
        <p:spPr>
          <a:xfrm>
            <a:off x="1142999" y="2528630"/>
            <a:ext cx="15486322"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chemeClr val="accent1"/>
                </a:solidFill>
                <a:effectLst/>
                <a:uLnTx/>
                <a:uFillTx/>
                <a:latin typeface="Arial"/>
                <a:ea typeface="Calibri" panose="020F0502020204030204" pitchFamily="34" charset="0"/>
                <a:cs typeface="+mn-cs"/>
              </a:rPr>
              <a:t>For the ASAS case, the main challenges for developing the Digital Twin were the following:</a:t>
            </a:r>
          </a:p>
        </p:txBody>
      </p:sp>
      <p:pic>
        <p:nvPicPr>
          <p:cNvPr id="4" name="Picture 10" descr="RETROFEED ASAS">
            <a:hlinkClick r:id="rId6" action="ppaction://hlinksldjump"/>
            <a:extLst>
              <a:ext uri="{FF2B5EF4-FFF2-40B4-BE49-F238E27FC236}">
                <a16:creationId xmlns:a16="http://schemas.microsoft.com/office/drawing/2014/main" id="{DFB18754-00B6-FC27-C5D5-A0CAB7FF8D36}"/>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5626334" y="484905"/>
            <a:ext cx="2327758" cy="6665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8633424"/>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1" name="Picture 12">
            <a:extLst>
              <a:ext uri="{FF2B5EF4-FFF2-40B4-BE49-F238E27FC236}">
                <a16:creationId xmlns:a16="http://schemas.microsoft.com/office/drawing/2014/main" id="{43802E0E-B79D-4EA7-8141-0CA3ED138B1A}"/>
              </a:ext>
            </a:extLst>
          </p:cNvPr>
          <p:cNvPicPr>
            <a:picLocks noChangeAspect="1"/>
          </p:cNvPicPr>
          <p:nvPr/>
        </p:nvPicPr>
        <p:blipFill>
          <a:blip r:embed="rId3"/>
          <a:srcRect/>
          <a:stretch>
            <a:fillRect/>
          </a:stretch>
        </p:blipFill>
        <p:spPr>
          <a:xfrm>
            <a:off x="0" y="8959889"/>
            <a:ext cx="5715000" cy="1385887"/>
          </a:xfrm>
          <a:prstGeom prst="rect">
            <a:avLst/>
          </a:prstGeom>
        </p:spPr>
      </p:pic>
      <p:grpSp>
        <p:nvGrpSpPr>
          <p:cNvPr id="132" name="Gruppo 2">
            <a:extLst>
              <a:ext uri="{FF2B5EF4-FFF2-40B4-BE49-F238E27FC236}">
                <a16:creationId xmlns:a16="http://schemas.microsoft.com/office/drawing/2014/main" id="{649928F6-6E82-4611-9715-AD3C75457C28}"/>
              </a:ext>
            </a:extLst>
          </p:cNvPr>
          <p:cNvGrpSpPr/>
          <p:nvPr/>
        </p:nvGrpSpPr>
        <p:grpSpPr>
          <a:xfrm>
            <a:off x="-12" y="138554"/>
            <a:ext cx="18288002" cy="681138"/>
            <a:chOff x="-12" y="138554"/>
            <a:chExt cx="18288002" cy="681138"/>
          </a:xfrm>
        </p:grpSpPr>
        <p:grpSp>
          <p:nvGrpSpPr>
            <p:cNvPr id="133" name="Gruppo 1">
              <a:extLst>
                <a:ext uri="{FF2B5EF4-FFF2-40B4-BE49-F238E27FC236}">
                  <a16:creationId xmlns:a16="http://schemas.microsoft.com/office/drawing/2014/main" id="{A8EB8794-E5C6-45EB-BAEC-2778E982797A}"/>
                </a:ext>
              </a:extLst>
            </p:cNvPr>
            <p:cNvGrpSpPr/>
            <p:nvPr/>
          </p:nvGrpSpPr>
          <p:grpSpPr>
            <a:xfrm>
              <a:off x="0" y="153125"/>
              <a:ext cx="17907000" cy="666567"/>
              <a:chOff x="0" y="153125"/>
              <a:chExt cx="17907000" cy="666567"/>
            </a:xfrm>
          </p:grpSpPr>
          <p:grpSp>
            <p:nvGrpSpPr>
              <p:cNvPr id="135" name="Gruppo 15">
                <a:extLst>
                  <a:ext uri="{FF2B5EF4-FFF2-40B4-BE49-F238E27FC236}">
                    <a16:creationId xmlns:a16="http://schemas.microsoft.com/office/drawing/2014/main" id="{AB129748-9FD7-458D-BD6E-304271C1814A}"/>
                  </a:ext>
                </a:extLst>
              </p:cNvPr>
              <p:cNvGrpSpPr/>
              <p:nvPr/>
            </p:nvGrpSpPr>
            <p:grpSpPr>
              <a:xfrm>
                <a:off x="0" y="153125"/>
                <a:ext cx="13958844" cy="666567"/>
                <a:chOff x="0" y="153125"/>
                <a:chExt cx="13958844" cy="666567"/>
              </a:xfrm>
            </p:grpSpPr>
            <p:pic>
              <p:nvPicPr>
                <p:cNvPr id="137" name="Picture 136">
                  <a:extLst>
                    <a:ext uri="{FF2B5EF4-FFF2-40B4-BE49-F238E27FC236}">
                      <a16:creationId xmlns:a16="http://schemas.microsoft.com/office/drawing/2014/main" id="{88E31CFD-796F-4F3F-A1EC-0E38F9D83456}"/>
                    </a:ext>
                  </a:extLst>
                </p:cNvPr>
                <p:cNvPicPr>
                  <a:picLocks noChangeAspect="1"/>
                </p:cNvPicPr>
                <p:nvPr/>
              </p:nvPicPr>
              <p:blipFill>
                <a:blip r:embed="rId4"/>
                <a:srcRect l="134" t="91287" b="3943"/>
                <a:stretch>
                  <a:fillRect/>
                </a:stretch>
              </p:blipFill>
              <p:spPr>
                <a:xfrm>
                  <a:off x="0" y="153125"/>
                  <a:ext cx="13958844" cy="666567"/>
                </a:xfrm>
                <a:prstGeom prst="rect">
                  <a:avLst/>
                </a:prstGeom>
              </p:spPr>
            </p:pic>
            <p:sp>
              <p:nvSpPr>
                <p:cNvPr id="138" name="TextBox 137">
                  <a:extLst>
                    <a:ext uri="{FF2B5EF4-FFF2-40B4-BE49-F238E27FC236}">
                      <a16:creationId xmlns:a16="http://schemas.microsoft.com/office/drawing/2014/main" id="{7694DADD-E227-40A7-A98D-244B0D207E54}"/>
                    </a:ext>
                  </a:extLst>
                </p:cNvPr>
                <p:cNvSpPr txBox="1"/>
                <p:nvPr/>
              </p:nvSpPr>
              <p:spPr>
                <a:xfrm>
                  <a:off x="228600" y="257980"/>
                  <a:ext cx="9296400" cy="456856"/>
                </a:xfrm>
                <a:prstGeom prst="rect">
                  <a:avLst/>
                </a:prstGeom>
              </p:spPr>
              <p:txBody>
                <a:bodyPr wrap="square" lIns="0" tIns="0" rIns="0" bIns="0" rtlCol="0" anchor="t">
                  <a:spAutoFit/>
                </a:bodyPr>
                <a:lstStyle/>
                <a:p>
                  <a:pPr marL="0" marR="0" lvl="0" indent="0" algn="l" defTabSz="914400" rtl="0" eaLnBrk="1" fontAlgn="auto" latinLnBrk="0" hangingPunct="1">
                    <a:lnSpc>
                      <a:spcPts val="3919"/>
                    </a:lnSpc>
                    <a:spcBef>
                      <a:spcPct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36" name="TextBox 135">
                <a:extLst>
                  <a:ext uri="{FF2B5EF4-FFF2-40B4-BE49-F238E27FC236}">
                    <a16:creationId xmlns:a16="http://schemas.microsoft.com/office/drawing/2014/main" id="{4B3CCEBB-60EF-4175-9878-F0D51FD80FF0}"/>
                  </a:ext>
                </a:extLst>
              </p:cNvPr>
              <p:cNvSpPr txBox="1"/>
              <p:nvPr/>
            </p:nvSpPr>
            <p:spPr>
              <a:xfrm>
                <a:off x="12154296" y="257980"/>
                <a:ext cx="5752704" cy="456856"/>
              </a:xfrm>
              <a:prstGeom prst="rect">
                <a:avLst/>
              </a:prstGeom>
            </p:spPr>
            <p:txBody>
              <a:bodyPr wrap="square" lIns="0" tIns="0" rIns="0" bIns="0" rtlCol="0" anchor="t">
                <a:spAutoFit/>
              </a:bodyPr>
              <a:lstStyle/>
              <a:p>
                <a:pPr marL="0" marR="0" lvl="0" indent="0" algn="r" defTabSz="914400" rtl="0" eaLnBrk="1" fontAlgn="auto" latinLnBrk="0" hangingPunct="1">
                  <a:lnSpc>
                    <a:spcPts val="3919"/>
                  </a:lnSpc>
                  <a:spcBef>
                    <a:spcPct val="0"/>
                  </a:spcBef>
                  <a:spcAft>
                    <a:spcPts val="0"/>
                  </a:spcAft>
                  <a:buClrTx/>
                  <a:buSzTx/>
                  <a:buFontTx/>
                  <a:buNone/>
                  <a:tabLst/>
                  <a:defRPr/>
                </a:pPr>
                <a:endParaRPr kumimoji="0" lang="en-US" sz="2800" b="0" i="0" u="none" strike="noStrike" kern="1200" cap="none" spc="0" normalizeH="0" baseline="0" noProof="0">
                  <a:ln>
                    <a:noFill/>
                  </a:ln>
                  <a:solidFill>
                    <a:srgbClr val="2F2F2F">
                      <a:lumMod val="75000"/>
                      <a:lumOff val="25000"/>
                    </a:srgbClr>
                  </a:solidFill>
                  <a:effectLst/>
                  <a:uLnTx/>
                  <a:uFillTx/>
                  <a:latin typeface="Arial" panose="020B0604020202020204" pitchFamily="34" charset="0"/>
                  <a:ea typeface="+mn-ea"/>
                  <a:cs typeface="Arial" panose="020B0604020202020204" pitchFamily="34" charset="0"/>
                </a:endParaRPr>
              </a:p>
            </p:txBody>
          </p:sp>
        </p:grpSp>
        <p:sp>
          <p:nvSpPr>
            <p:cNvPr id="134" name="Rettangolo 13">
              <a:extLst>
                <a:ext uri="{FF2B5EF4-FFF2-40B4-BE49-F238E27FC236}">
                  <a16:creationId xmlns:a16="http://schemas.microsoft.com/office/drawing/2014/main" id="{8F0CF2A7-592A-4287-9206-D3289F1B0C37}"/>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pic>
        <p:nvPicPr>
          <p:cNvPr id="139" name="Picture 12">
            <a:extLst>
              <a:ext uri="{FF2B5EF4-FFF2-40B4-BE49-F238E27FC236}">
                <a16:creationId xmlns:a16="http://schemas.microsoft.com/office/drawing/2014/main" id="{F047215A-40D8-4A57-BE02-5E03FCEEBB7B}"/>
              </a:ext>
            </a:extLst>
          </p:cNvPr>
          <p:cNvPicPr>
            <a:picLocks noChangeAspect="1"/>
          </p:cNvPicPr>
          <p:nvPr/>
        </p:nvPicPr>
        <p:blipFill>
          <a:blip r:embed="rId5"/>
          <a:srcRect l="134" t="91287" b="3943"/>
          <a:stretch>
            <a:fillRect/>
          </a:stretch>
        </p:blipFill>
        <p:spPr>
          <a:xfrm rot="10800000">
            <a:off x="4329146" y="9679208"/>
            <a:ext cx="13958844" cy="666567"/>
          </a:xfrm>
          <a:prstGeom prst="rect">
            <a:avLst/>
          </a:prstGeom>
        </p:spPr>
      </p:pic>
      <p:sp>
        <p:nvSpPr>
          <p:cNvPr id="140" name="TextBox 16">
            <a:extLst>
              <a:ext uri="{FF2B5EF4-FFF2-40B4-BE49-F238E27FC236}">
                <a16:creationId xmlns:a16="http://schemas.microsoft.com/office/drawing/2014/main" id="{C693B1DB-897C-4A9D-8CF3-F1423F6CB38D}"/>
              </a:ext>
            </a:extLst>
          </p:cNvPr>
          <p:cNvSpPr txBox="1"/>
          <p:nvPr/>
        </p:nvSpPr>
        <p:spPr>
          <a:xfrm>
            <a:off x="14400019" y="9762301"/>
            <a:ext cx="3636320" cy="448713"/>
          </a:xfrm>
          <a:prstGeom prst="rect">
            <a:avLst/>
          </a:prstGeom>
        </p:spPr>
        <p:txBody>
          <a:bodyPr wrap="square" lIns="0" tIns="0" rIns="0" bIns="0" rtlCol="0" anchor="t">
            <a:spAutoFit/>
          </a:bodyPr>
          <a:lstStyle/>
          <a:p>
            <a:pPr marL="0" marR="0" lvl="0" indent="0" algn="ctr" defTabSz="914400" rtl="0" eaLnBrk="1" fontAlgn="auto" latinLnBrk="0" hangingPunct="1">
              <a:lnSpc>
                <a:spcPts val="3919"/>
              </a:lnSpc>
              <a:spcBef>
                <a:spcPct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OCR A Extended" panose="02010509020102010303" pitchFamily="50" charset="0"/>
                <a:ea typeface="+mn-ea"/>
                <a:cs typeface="+mn-cs"/>
              </a:rPr>
              <a:t>www.retrofeed.eu</a:t>
            </a:r>
          </a:p>
        </p:txBody>
      </p:sp>
      <p:sp>
        <p:nvSpPr>
          <p:cNvPr id="6" name="TextBox 5">
            <a:extLst>
              <a:ext uri="{FF2B5EF4-FFF2-40B4-BE49-F238E27FC236}">
                <a16:creationId xmlns:a16="http://schemas.microsoft.com/office/drawing/2014/main" id="{00D1D594-354C-FF5A-81BC-BA54953684D1}"/>
              </a:ext>
            </a:extLst>
          </p:cNvPr>
          <p:cNvSpPr txBox="1"/>
          <p:nvPr/>
        </p:nvSpPr>
        <p:spPr>
          <a:xfrm>
            <a:off x="1142999" y="3203055"/>
            <a:ext cx="16002001" cy="4893647"/>
          </a:xfrm>
          <a:prstGeom prst="rect">
            <a:avLst/>
          </a:prstGeom>
          <a:noFill/>
        </p:spPr>
        <p:txBody>
          <a:bodyPr wrap="square">
            <a:spAutoFit/>
          </a:bodyPr>
          <a:lstStyle/>
          <a:p>
            <a:pPr marL="342900" marR="0" lvl="0" indent="-34290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US" sz="2400" b="1" i="0" u="none" strike="noStrike" kern="1200" cap="none" spc="0" normalizeH="0" baseline="0" noProof="0" dirty="0">
                <a:ln>
                  <a:noFill/>
                </a:ln>
                <a:solidFill>
                  <a:srgbClr val="2F2F2F"/>
                </a:solidFill>
                <a:effectLst/>
                <a:uLnTx/>
                <a:uFillTx/>
                <a:latin typeface="Arial"/>
                <a:ea typeface="Times New Roman" panose="02020603050405020304" pitchFamily="18" charset="0"/>
                <a:cs typeface="+mn-cs"/>
              </a:rPr>
              <a:t>Data process and collecting. </a:t>
            </a:r>
            <a:r>
              <a:rPr kumimoji="0" lang="en-US" sz="2400" b="0" i="0" u="none" strike="noStrike" kern="1200" cap="none" spc="0" normalizeH="0" baseline="0" noProof="0" dirty="0">
                <a:ln>
                  <a:noFill/>
                </a:ln>
                <a:solidFill>
                  <a:srgbClr val="2F2F2F"/>
                </a:solidFill>
                <a:effectLst/>
                <a:uLnTx/>
                <a:uFillTx/>
                <a:latin typeface="Arial"/>
                <a:ea typeface="Times New Roman" panose="02020603050405020304" pitchFamily="18" charset="0"/>
                <a:cs typeface="+mn-cs"/>
              </a:rPr>
              <a:t>The process is transient and involve a lot of input data, which varies during time. Sometimes data had to be converted to a format suitable for the DT and for the analysis.</a:t>
            </a:r>
          </a:p>
          <a:p>
            <a:pPr marL="342900" marR="0" lvl="0" indent="-34290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endParaRPr kumimoji="0" lang="sv-SE" sz="2400" b="0" i="0" u="none" strike="noStrike" kern="1200" cap="none" spc="0" normalizeH="0" baseline="0" noProof="0" dirty="0">
              <a:ln>
                <a:noFill/>
              </a:ln>
              <a:solidFill>
                <a:srgbClr val="2F2F2F"/>
              </a:solidFill>
              <a:effectLst/>
              <a:uLnTx/>
              <a:uFillTx/>
              <a:latin typeface="Arial"/>
              <a:ea typeface="Calibri" panose="020F0502020204030204" pitchFamily="34" charset="0"/>
              <a:cs typeface="+mn-cs"/>
            </a:endParaRPr>
          </a:p>
          <a:p>
            <a:pPr marL="342900" marR="0" lvl="0" indent="-34290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US" sz="2400" b="1" i="0" u="none" strike="noStrike" kern="1200" cap="none" spc="0" normalizeH="0" baseline="0" noProof="0" dirty="0">
                <a:ln>
                  <a:noFill/>
                </a:ln>
                <a:solidFill>
                  <a:srgbClr val="2F2F2F"/>
                </a:solidFill>
                <a:effectLst/>
                <a:uLnTx/>
                <a:uFillTx/>
                <a:latin typeface="Arial"/>
                <a:ea typeface="Times New Roman" panose="02020603050405020304" pitchFamily="18" charset="0"/>
                <a:cs typeface="+mn-cs"/>
              </a:rPr>
              <a:t>Many parameters to be tuned. </a:t>
            </a:r>
            <a:endParaRPr kumimoji="0" lang="sv-SE" sz="2400" b="1" i="0" u="none" strike="noStrike" kern="1200" cap="none" spc="0" normalizeH="0" baseline="0" noProof="0" dirty="0">
              <a:ln>
                <a:noFill/>
              </a:ln>
              <a:solidFill>
                <a:srgbClr val="2F2F2F"/>
              </a:solidFill>
              <a:effectLst/>
              <a:uLnTx/>
              <a:uFillTx/>
              <a:latin typeface="Arial"/>
              <a:ea typeface="Calibri" panose="020F0502020204030204" pitchFamily="34" charset="0"/>
              <a:cs typeface="+mn-cs"/>
            </a:endParaRPr>
          </a:p>
          <a:p>
            <a:pPr marL="742950" marR="0" lvl="1"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2400" b="0" i="0" u="none" strike="noStrike" kern="1200" cap="none" spc="0" normalizeH="0" baseline="0" noProof="0" dirty="0">
                <a:ln>
                  <a:noFill/>
                </a:ln>
                <a:solidFill>
                  <a:srgbClr val="2F2F2F"/>
                </a:solidFill>
                <a:effectLst/>
                <a:uLnTx/>
                <a:uFillTx/>
                <a:latin typeface="Arial"/>
                <a:ea typeface="Times New Roman" panose="02020603050405020304" pitchFamily="18" charset="0"/>
                <a:cs typeface="+mn-cs"/>
              </a:rPr>
              <a:t>A subset of parameters has been selected as the most correlated to the desired output (steel temperature) and to overcome plant specific process (e.g. roof removal during basket loading)</a:t>
            </a:r>
            <a:endParaRPr kumimoji="0" lang="sv-SE" sz="2400" b="0" i="0" u="none" strike="noStrike" kern="1200" cap="none" spc="0" normalizeH="0" baseline="0" noProof="0" dirty="0">
              <a:ln>
                <a:noFill/>
              </a:ln>
              <a:solidFill>
                <a:srgbClr val="2F2F2F"/>
              </a:solidFill>
              <a:effectLst/>
              <a:uLnTx/>
              <a:uFillTx/>
              <a:latin typeface="Arial"/>
              <a:ea typeface="Calibri" panose="020F0502020204030204" pitchFamily="34" charset="0"/>
              <a:cs typeface="+mn-cs"/>
            </a:endParaRPr>
          </a:p>
          <a:p>
            <a:pPr marL="742950" marR="0" lvl="1"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2400" b="0" i="0" u="none" strike="noStrike" kern="1200" cap="none" spc="0" normalizeH="0" baseline="0" noProof="0" dirty="0">
                <a:ln>
                  <a:noFill/>
                </a:ln>
                <a:solidFill>
                  <a:srgbClr val="2F2F2F"/>
                </a:solidFill>
                <a:effectLst/>
                <a:uLnTx/>
                <a:uFillTx/>
                <a:latin typeface="Arial"/>
                <a:ea typeface="Times New Roman" panose="02020603050405020304" pitchFamily="18" charset="0"/>
                <a:cs typeface="+mn-cs"/>
              </a:rPr>
              <a:t>Due to the large amount of data, tuning was performed on a subset of batch data. Later, fine tuning was performed on the whole data set.</a:t>
            </a:r>
            <a:endParaRPr kumimoji="0" lang="sv-SE" sz="2400" b="0" i="0" u="none" strike="noStrike" kern="1200" cap="none" spc="0" normalizeH="0" baseline="0" noProof="0" dirty="0">
              <a:ln>
                <a:noFill/>
              </a:ln>
              <a:solidFill>
                <a:srgbClr val="2F2F2F"/>
              </a:solidFill>
              <a:effectLst/>
              <a:uLnTx/>
              <a:uFillTx/>
              <a:latin typeface="Arial"/>
              <a:ea typeface="Calibri" panose="020F0502020204030204" pitchFamily="34" charset="0"/>
              <a:cs typeface="+mn-cs"/>
            </a:endParaRPr>
          </a:p>
          <a:p>
            <a:pPr marL="742950" marR="0" lvl="1"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2400" b="0" i="0" u="none" strike="noStrike" kern="1200" cap="none" spc="0" normalizeH="0" baseline="0" noProof="0" dirty="0">
                <a:ln>
                  <a:noFill/>
                </a:ln>
                <a:solidFill>
                  <a:srgbClr val="2F2F2F"/>
                </a:solidFill>
                <a:effectLst/>
                <a:uLnTx/>
                <a:uFillTx/>
                <a:latin typeface="Arial"/>
                <a:ea typeface="Times New Roman" panose="02020603050405020304" pitchFamily="18" charset="0"/>
                <a:cs typeface="+mn-cs"/>
              </a:rPr>
              <a:t>Temperature tuning. The temperature is measured before the end of the batch, thus it was necessary to match the simulated temperature at the right timing.</a:t>
            </a:r>
          </a:p>
          <a:p>
            <a:pPr marL="742950" marR="0" lvl="1"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endParaRPr kumimoji="0" lang="sv-SE" sz="2400" b="0" i="0" u="none" strike="noStrike" kern="1200" cap="none" spc="0" normalizeH="0" baseline="0" noProof="0" dirty="0">
              <a:ln>
                <a:noFill/>
              </a:ln>
              <a:solidFill>
                <a:srgbClr val="2F2F2F"/>
              </a:solidFill>
              <a:effectLst/>
              <a:uLnTx/>
              <a:uFillTx/>
              <a:latin typeface="Arial"/>
              <a:ea typeface="Calibri" panose="020F0502020204030204" pitchFamily="34" charset="0"/>
              <a:cs typeface="+mn-cs"/>
            </a:endParaRPr>
          </a:p>
          <a:p>
            <a:pPr marL="342900" marR="0" lvl="0" indent="-34290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US" sz="2400" b="1" i="0" u="none" strike="noStrike" kern="1200" cap="none" spc="0" normalizeH="0" baseline="0" noProof="0" dirty="0">
                <a:ln>
                  <a:noFill/>
                </a:ln>
                <a:solidFill>
                  <a:srgbClr val="2F2F2F"/>
                </a:solidFill>
                <a:effectLst/>
                <a:uLnTx/>
                <a:uFillTx/>
                <a:latin typeface="Arial"/>
                <a:ea typeface="Times New Roman" panose="02020603050405020304" pitchFamily="18" charset="0"/>
                <a:cs typeface="+mn-cs"/>
              </a:rPr>
              <a:t>New injected material. </a:t>
            </a:r>
            <a:r>
              <a:rPr kumimoji="0" lang="en-US" sz="2400" b="0" i="0" u="none" strike="noStrike" kern="1200" cap="none" spc="0" normalizeH="0" baseline="0" noProof="0" dirty="0">
                <a:ln>
                  <a:noFill/>
                </a:ln>
                <a:solidFill>
                  <a:srgbClr val="2F2F2F"/>
                </a:solidFill>
                <a:effectLst/>
                <a:uLnTx/>
                <a:uFillTx/>
                <a:latin typeface="Arial"/>
                <a:ea typeface="Times New Roman" panose="02020603050405020304" pitchFamily="18" charset="0"/>
                <a:cs typeface="+mn-cs"/>
              </a:rPr>
              <a:t>We added model to simulate plastic injection, plastic combustion was simulated by taking into account data from solid fuels analysis (proximate and ultimate analysis).</a:t>
            </a:r>
            <a:endParaRPr kumimoji="0" lang="sv-SE" sz="2400" b="0" i="0" u="none" strike="noStrike" kern="1200" cap="none" spc="0" normalizeH="0" baseline="0" noProof="0" dirty="0">
              <a:ln>
                <a:noFill/>
              </a:ln>
              <a:solidFill>
                <a:srgbClr val="2F2F2F"/>
              </a:solidFill>
              <a:effectLst/>
              <a:uLnTx/>
              <a:uFillTx/>
              <a:latin typeface="Arial"/>
              <a:ea typeface="Calibri" panose="020F0502020204030204" pitchFamily="34" charset="0"/>
              <a:cs typeface="+mn-cs"/>
            </a:endParaRPr>
          </a:p>
        </p:txBody>
      </p:sp>
      <p:sp>
        <p:nvSpPr>
          <p:cNvPr id="3" name="TextBox 275">
            <a:extLst>
              <a:ext uri="{FF2B5EF4-FFF2-40B4-BE49-F238E27FC236}">
                <a16:creationId xmlns:a16="http://schemas.microsoft.com/office/drawing/2014/main" id="{343E7C7C-6798-A5EA-43BF-7CFB8C78ACCC}"/>
              </a:ext>
            </a:extLst>
          </p:cNvPr>
          <p:cNvSpPr txBox="1"/>
          <p:nvPr/>
        </p:nvSpPr>
        <p:spPr>
          <a:xfrm>
            <a:off x="909922" y="1244707"/>
            <a:ext cx="16143207" cy="107721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6400" b="1" i="0" u="none" strike="noStrike" kern="1200" cap="none" spc="0" normalizeH="0" baseline="0" noProof="0">
                <a:ln>
                  <a:noFill/>
                </a:ln>
                <a:solidFill>
                  <a:srgbClr val="CC0033"/>
                </a:solidFill>
                <a:effectLst/>
                <a:uLnTx/>
                <a:uFillTx/>
                <a:latin typeface="Arial"/>
                <a:ea typeface="+mn-ea"/>
                <a:cs typeface="Arial" panose="020B0604020202020204" pitchFamily="34" charset="0"/>
              </a:rPr>
              <a:t>Digital </a:t>
            </a:r>
            <a:r>
              <a:rPr kumimoji="0" lang="sv-SE" sz="6400" b="1" i="0" u="none" strike="noStrike" kern="1200" cap="none" spc="0" normalizeH="0" baseline="0" noProof="0" err="1">
                <a:ln>
                  <a:noFill/>
                </a:ln>
                <a:solidFill>
                  <a:srgbClr val="CC0033"/>
                </a:solidFill>
                <a:effectLst/>
                <a:uLnTx/>
                <a:uFillTx/>
                <a:latin typeface="Arial"/>
                <a:ea typeface="+mn-ea"/>
                <a:cs typeface="Arial" panose="020B0604020202020204" pitchFamily="34" charset="0"/>
              </a:rPr>
              <a:t>twin</a:t>
            </a:r>
            <a:r>
              <a:rPr kumimoji="0" lang="sv-SE" sz="6400" b="1" i="0" u="none" strike="noStrike" kern="1200" cap="none" spc="0" normalizeH="0" baseline="0" noProof="0">
                <a:ln>
                  <a:noFill/>
                </a:ln>
                <a:solidFill>
                  <a:srgbClr val="CC0033"/>
                </a:solidFill>
                <a:effectLst/>
                <a:uLnTx/>
                <a:uFillTx/>
                <a:latin typeface="Arial"/>
                <a:ea typeface="+mn-ea"/>
                <a:cs typeface="Arial" panose="020B0604020202020204" pitchFamily="34" charset="0"/>
              </a:rPr>
              <a:t> </a:t>
            </a:r>
            <a:r>
              <a:rPr kumimoji="0" lang="sv-SE" sz="6400" b="1" i="0" u="none" strike="noStrike" kern="1200" cap="none" spc="0" normalizeH="0" baseline="0" noProof="0" err="1">
                <a:ln>
                  <a:noFill/>
                </a:ln>
                <a:solidFill>
                  <a:srgbClr val="CC0033"/>
                </a:solidFill>
                <a:effectLst/>
                <a:uLnTx/>
                <a:uFillTx/>
                <a:latin typeface="Arial"/>
                <a:ea typeface="+mn-ea"/>
                <a:cs typeface="Arial" panose="020B0604020202020204" pitchFamily="34" charset="0"/>
              </a:rPr>
              <a:t>challenges</a:t>
            </a:r>
            <a:endParaRPr kumimoji="0" lang="sv-SE" sz="6400" b="1" i="0" u="none" strike="noStrike" kern="1200" cap="none" spc="0" normalizeH="0" baseline="0" noProof="0">
              <a:ln>
                <a:noFill/>
              </a:ln>
              <a:solidFill>
                <a:srgbClr val="CC0033"/>
              </a:solidFill>
              <a:effectLst/>
              <a:uLnTx/>
              <a:uFillTx/>
              <a:latin typeface="Arial"/>
              <a:ea typeface="+mn-ea"/>
              <a:cs typeface="Arial" panose="020B0604020202020204" pitchFamily="34" charset="0"/>
            </a:endParaRPr>
          </a:p>
        </p:txBody>
      </p:sp>
      <p:sp>
        <p:nvSpPr>
          <p:cNvPr id="5" name="textruta 4">
            <a:extLst>
              <a:ext uri="{FF2B5EF4-FFF2-40B4-BE49-F238E27FC236}">
                <a16:creationId xmlns:a16="http://schemas.microsoft.com/office/drawing/2014/main" id="{BC709C01-EDB0-ABDB-6AF4-6FE367629019}"/>
              </a:ext>
            </a:extLst>
          </p:cNvPr>
          <p:cNvSpPr txBox="1"/>
          <p:nvPr/>
        </p:nvSpPr>
        <p:spPr>
          <a:xfrm>
            <a:off x="1142999" y="2528631"/>
            <a:ext cx="15273671"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chemeClr val="accent1"/>
                </a:solidFill>
                <a:effectLst/>
                <a:uLnTx/>
                <a:uFillTx/>
                <a:latin typeface="Arial"/>
                <a:ea typeface="Calibri" panose="020F0502020204030204" pitchFamily="34" charset="0"/>
                <a:cs typeface="+mn-cs"/>
              </a:rPr>
              <a:t>The main challenges for developing the Digital Twin of the Electric Arc Furnace were the following:</a:t>
            </a:r>
          </a:p>
        </p:txBody>
      </p:sp>
      <p:pic>
        <p:nvPicPr>
          <p:cNvPr id="2" name="Picture 18">
            <a:hlinkClick r:id="" action="ppaction://noaction"/>
            <a:extLst>
              <a:ext uri="{FF2B5EF4-FFF2-40B4-BE49-F238E27FC236}">
                <a16:creationId xmlns:a16="http://schemas.microsoft.com/office/drawing/2014/main" id="{8A039DDE-718D-86DD-C7CB-BE3A9B114B98}"/>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5206361" y="462766"/>
            <a:ext cx="2853039" cy="430639"/>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16" descr="RETROFEED PITTINI">
            <a:hlinkClick r:id="rId7" action="ppaction://hlinksldjump"/>
            <a:extLst>
              <a:ext uri="{FF2B5EF4-FFF2-40B4-BE49-F238E27FC236}">
                <a16:creationId xmlns:a16="http://schemas.microsoft.com/office/drawing/2014/main" id="{0CA470B4-DD27-0538-B956-46BB7A5F5DEA}"/>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5179507" y="1244788"/>
            <a:ext cx="1873622" cy="367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83314068"/>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58" name="Rectangle 57">
            <a:extLst>
              <a:ext uri="{FF2B5EF4-FFF2-40B4-BE49-F238E27FC236}">
                <a16:creationId xmlns:a16="http://schemas.microsoft.com/office/drawing/2014/main" id="{289ED1AA-8684-4D37-B208-8777E1A7780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8283428" cy="10287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0" name="Graphic 33">
            <a:extLst>
              <a:ext uri="{FF2B5EF4-FFF2-40B4-BE49-F238E27FC236}">
                <a16:creationId xmlns:a16="http://schemas.microsoft.com/office/drawing/2014/main" id="{4180E01B-B1F4-437C-807D-1C930718EE6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966176" y="0"/>
            <a:ext cx="14355646" cy="10287000"/>
          </a:xfrm>
          <a:custGeom>
            <a:avLst/>
            <a:gdLst>
              <a:gd name="connsiteX0" fmla="*/ 7178288 w 7187261"/>
              <a:gd name="connsiteY0" fmla="*/ 2604802 h 5150263"/>
              <a:gd name="connsiteX1" fmla="*/ 7169335 w 7187261"/>
              <a:gd name="connsiteY1" fmla="*/ 2328577 h 5150263"/>
              <a:gd name="connsiteX2" fmla="*/ 7060845 w 7187261"/>
              <a:gd name="connsiteY2" fmla="*/ 1661160 h 5150263"/>
              <a:gd name="connsiteX3" fmla="*/ 6212263 w 7187261"/>
              <a:gd name="connsiteY3" fmla="*/ 243840 h 5150263"/>
              <a:gd name="connsiteX4" fmla="*/ 5953564 w 7187261"/>
              <a:gd name="connsiteY4" fmla="*/ 0 h 5150263"/>
              <a:gd name="connsiteX5" fmla="*/ 1408615 w 7187261"/>
              <a:gd name="connsiteY5" fmla="*/ 0 h 5150263"/>
              <a:gd name="connsiteX6" fmla="*/ 805111 w 7187261"/>
              <a:gd name="connsiteY6" fmla="*/ 676275 h 5150263"/>
              <a:gd name="connsiteX7" fmla="*/ 104928 w 7187261"/>
              <a:gd name="connsiteY7" fmla="*/ 2183035 h 5150263"/>
              <a:gd name="connsiteX8" fmla="*/ 51588 w 7187261"/>
              <a:gd name="connsiteY8" fmla="*/ 2400014 h 5150263"/>
              <a:gd name="connsiteX9" fmla="*/ 41301 w 7187261"/>
              <a:gd name="connsiteY9" fmla="*/ 2424208 h 5150263"/>
              <a:gd name="connsiteX10" fmla="*/ 119692 w 7187261"/>
              <a:gd name="connsiteY10" fmla="*/ 1834801 h 5150263"/>
              <a:gd name="connsiteX11" fmla="*/ 870071 w 7187261"/>
              <a:gd name="connsiteY11" fmla="*/ 462248 h 5150263"/>
              <a:gd name="connsiteX12" fmla="*/ 1389279 w 7187261"/>
              <a:gd name="connsiteY12" fmla="*/ 476 h 5150263"/>
              <a:gd name="connsiteX13" fmla="*/ 1320223 w 7187261"/>
              <a:gd name="connsiteY13" fmla="*/ 476 h 5150263"/>
              <a:gd name="connsiteX14" fmla="*/ 423158 w 7187261"/>
              <a:gd name="connsiteY14" fmla="*/ 989743 h 5150263"/>
              <a:gd name="connsiteX15" fmla="*/ 25585 w 7187261"/>
              <a:gd name="connsiteY15" fmla="*/ 2113693 h 5150263"/>
              <a:gd name="connsiteX16" fmla="*/ 2344 w 7187261"/>
              <a:gd name="connsiteY16" fmla="*/ 2725865 h 5150263"/>
              <a:gd name="connsiteX17" fmla="*/ 447256 w 7187261"/>
              <a:gd name="connsiteY17" fmla="*/ 4210717 h 5150263"/>
              <a:gd name="connsiteX18" fmla="*/ 1138962 w 7187261"/>
              <a:gd name="connsiteY18" fmla="*/ 4988910 h 5150263"/>
              <a:gd name="connsiteX19" fmla="*/ 1348512 w 7187261"/>
              <a:gd name="connsiteY19" fmla="*/ 5146834 h 5150263"/>
              <a:gd name="connsiteX20" fmla="*/ 1422712 w 7187261"/>
              <a:gd name="connsiteY20" fmla="*/ 5146834 h 5150263"/>
              <a:gd name="connsiteX21" fmla="*/ 480594 w 7187261"/>
              <a:gd name="connsiteY21" fmla="*/ 4187952 h 5150263"/>
              <a:gd name="connsiteX22" fmla="*/ 398679 w 7187261"/>
              <a:gd name="connsiteY22" fmla="*/ 4046125 h 5150263"/>
              <a:gd name="connsiteX23" fmla="*/ 411823 w 7187261"/>
              <a:gd name="connsiteY23" fmla="*/ 4053078 h 5150263"/>
              <a:gd name="connsiteX24" fmla="*/ 1439380 w 7187261"/>
              <a:gd name="connsiteY24" fmla="*/ 5147405 h 5150263"/>
              <a:gd name="connsiteX25" fmla="*/ 5710010 w 7187261"/>
              <a:gd name="connsiteY25" fmla="*/ 5150263 h 5150263"/>
              <a:gd name="connsiteX26" fmla="*/ 5999665 w 7187261"/>
              <a:gd name="connsiteY26" fmla="*/ 4910900 h 5150263"/>
              <a:gd name="connsiteX27" fmla="*/ 6954165 w 7187261"/>
              <a:gd name="connsiteY27" fmla="*/ 3545777 h 5150263"/>
              <a:gd name="connsiteX28" fmla="*/ 7137712 w 7187261"/>
              <a:gd name="connsiteY28" fmla="*/ 2799207 h 5150263"/>
              <a:gd name="connsiteX29" fmla="*/ 7142951 w 7187261"/>
              <a:gd name="connsiteY29" fmla="*/ 2754535 h 5150263"/>
              <a:gd name="connsiteX30" fmla="*/ 7149428 w 7187261"/>
              <a:gd name="connsiteY30" fmla="*/ 2774823 h 5150263"/>
              <a:gd name="connsiteX31" fmla="*/ 7066465 w 7187261"/>
              <a:gd name="connsiteY31" fmla="*/ 3465672 h 5150263"/>
              <a:gd name="connsiteX32" fmla="*/ 6452578 w 7187261"/>
              <a:gd name="connsiteY32" fmla="*/ 4552760 h 5150263"/>
              <a:gd name="connsiteX33" fmla="*/ 5752110 w 7187261"/>
              <a:gd name="connsiteY33" fmla="*/ 5150263 h 5150263"/>
              <a:gd name="connsiteX34" fmla="*/ 5827643 w 7187261"/>
              <a:gd name="connsiteY34" fmla="*/ 5150263 h 5150263"/>
              <a:gd name="connsiteX35" fmla="*/ 6642793 w 7187261"/>
              <a:gd name="connsiteY35" fmla="*/ 4389406 h 5150263"/>
              <a:gd name="connsiteX36" fmla="*/ 7102469 w 7187261"/>
              <a:gd name="connsiteY36" fmla="*/ 3490817 h 5150263"/>
              <a:gd name="connsiteX37" fmla="*/ 7187242 w 7187261"/>
              <a:gd name="connsiteY37" fmla="*/ 2990183 h 5150263"/>
              <a:gd name="connsiteX38" fmla="*/ 7178288 w 7187261"/>
              <a:gd name="connsiteY38" fmla="*/ 2604802 h 5150263"/>
              <a:gd name="connsiteX39" fmla="*/ 6342565 w 7187261"/>
              <a:gd name="connsiteY39" fmla="*/ 441389 h 5150263"/>
              <a:gd name="connsiteX40" fmla="*/ 7126567 w 7187261"/>
              <a:gd name="connsiteY40" fmla="*/ 2355056 h 5150263"/>
              <a:gd name="connsiteX41" fmla="*/ 6342565 w 7187261"/>
              <a:gd name="connsiteY41" fmla="*/ 441389 h 5150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187261" h="5150263">
                <a:moveTo>
                  <a:pt x="7178288" y="2604802"/>
                </a:moveTo>
                <a:cubicBezTo>
                  <a:pt x="7168763" y="2513076"/>
                  <a:pt x="7174478" y="2420684"/>
                  <a:pt x="7169335" y="2328577"/>
                </a:cubicBezTo>
                <a:cubicBezTo>
                  <a:pt x="7156952" y="2102882"/>
                  <a:pt x="7120586" y="1879149"/>
                  <a:pt x="7060845" y="1661160"/>
                </a:cubicBezTo>
                <a:cubicBezTo>
                  <a:pt x="6910588" y="1121007"/>
                  <a:pt x="6617428" y="631374"/>
                  <a:pt x="6212263" y="243840"/>
                </a:cubicBezTo>
                <a:cubicBezTo>
                  <a:pt x="6126538" y="162496"/>
                  <a:pt x="6040813" y="80201"/>
                  <a:pt x="5953564" y="0"/>
                </a:cubicBezTo>
                <a:lnTo>
                  <a:pt x="1408615" y="0"/>
                </a:lnTo>
                <a:cubicBezTo>
                  <a:pt x="1180967" y="200316"/>
                  <a:pt x="978332" y="427387"/>
                  <a:pt x="805111" y="676275"/>
                </a:cubicBezTo>
                <a:cubicBezTo>
                  <a:pt x="481261" y="1136523"/>
                  <a:pt x="252089" y="1640872"/>
                  <a:pt x="104928" y="2183035"/>
                </a:cubicBezTo>
                <a:cubicBezTo>
                  <a:pt x="85878" y="2254853"/>
                  <a:pt x="69495" y="2327720"/>
                  <a:pt x="51588" y="2400014"/>
                </a:cubicBezTo>
                <a:cubicBezTo>
                  <a:pt x="49683" y="2407634"/>
                  <a:pt x="51588" y="2416969"/>
                  <a:pt x="41301" y="2424208"/>
                </a:cubicBezTo>
                <a:cubicBezTo>
                  <a:pt x="45900" y="2225469"/>
                  <a:pt x="72186" y="2027834"/>
                  <a:pt x="119692" y="1834801"/>
                </a:cubicBezTo>
                <a:cubicBezTo>
                  <a:pt x="247993" y="1310926"/>
                  <a:pt x="506121" y="857726"/>
                  <a:pt x="870071" y="462248"/>
                </a:cubicBezTo>
                <a:cubicBezTo>
                  <a:pt x="1027729" y="291823"/>
                  <a:pt x="1201617" y="137169"/>
                  <a:pt x="1389279" y="476"/>
                </a:cubicBezTo>
                <a:lnTo>
                  <a:pt x="1320223" y="476"/>
                </a:lnTo>
                <a:cubicBezTo>
                  <a:pt x="960844" y="274320"/>
                  <a:pt x="656330" y="599123"/>
                  <a:pt x="423158" y="989743"/>
                </a:cubicBezTo>
                <a:cubicBezTo>
                  <a:pt x="215608" y="1337596"/>
                  <a:pt x="80258" y="1711357"/>
                  <a:pt x="25585" y="2113693"/>
                </a:cubicBezTo>
                <a:cubicBezTo>
                  <a:pt x="-2705" y="2316480"/>
                  <a:pt x="-2228" y="2521077"/>
                  <a:pt x="2344" y="2725865"/>
                </a:cubicBezTo>
                <a:cubicBezTo>
                  <a:pt x="14155" y="3261932"/>
                  <a:pt x="170650" y="3754565"/>
                  <a:pt x="447256" y="4210717"/>
                </a:cubicBezTo>
                <a:cubicBezTo>
                  <a:pt x="629851" y="4511612"/>
                  <a:pt x="866356" y="4767167"/>
                  <a:pt x="1138962" y="4988910"/>
                </a:cubicBezTo>
                <a:cubicBezTo>
                  <a:pt x="1207161" y="5044345"/>
                  <a:pt x="1277008" y="5096990"/>
                  <a:pt x="1348512" y="5146834"/>
                </a:cubicBezTo>
                <a:lnTo>
                  <a:pt x="1422712" y="5146834"/>
                </a:lnTo>
                <a:cubicBezTo>
                  <a:pt x="1043426" y="4892802"/>
                  <a:pt x="724720" y="4577334"/>
                  <a:pt x="480594" y="4187952"/>
                </a:cubicBezTo>
                <a:cubicBezTo>
                  <a:pt x="452019" y="4141851"/>
                  <a:pt x="423444" y="4095179"/>
                  <a:pt x="398679" y="4046125"/>
                </a:cubicBezTo>
                <a:cubicBezTo>
                  <a:pt x="407442" y="4043267"/>
                  <a:pt x="409156" y="4048982"/>
                  <a:pt x="411823" y="4053078"/>
                </a:cubicBezTo>
                <a:cubicBezTo>
                  <a:pt x="683572" y="4484656"/>
                  <a:pt x="1033139" y="4842701"/>
                  <a:pt x="1439380" y="5147405"/>
                </a:cubicBezTo>
                <a:lnTo>
                  <a:pt x="5710010" y="5150263"/>
                </a:lnTo>
                <a:cubicBezTo>
                  <a:pt x="5810594" y="5075482"/>
                  <a:pt x="5907272" y="4995587"/>
                  <a:pt x="5999665" y="4910900"/>
                </a:cubicBezTo>
                <a:cubicBezTo>
                  <a:pt x="6418765" y="4526661"/>
                  <a:pt x="6746901" y="4078129"/>
                  <a:pt x="6954165" y="3545777"/>
                </a:cubicBezTo>
                <a:cubicBezTo>
                  <a:pt x="7048234" y="3306175"/>
                  <a:pt x="7109956" y="3055115"/>
                  <a:pt x="7137712" y="2799207"/>
                </a:cubicBezTo>
                <a:cubicBezTo>
                  <a:pt x="7139236" y="2784920"/>
                  <a:pt x="7141046" y="2770632"/>
                  <a:pt x="7142951" y="2754535"/>
                </a:cubicBezTo>
                <a:cubicBezTo>
                  <a:pt x="7151714" y="2760440"/>
                  <a:pt x="7149237" y="2768441"/>
                  <a:pt x="7149428" y="2774823"/>
                </a:cubicBezTo>
                <a:cubicBezTo>
                  <a:pt x="7156743" y="3007967"/>
                  <a:pt x="7128777" y="3240881"/>
                  <a:pt x="7066465" y="3465672"/>
                </a:cubicBezTo>
                <a:cubicBezTo>
                  <a:pt x="6952165" y="3878580"/>
                  <a:pt x="6737948" y="4235863"/>
                  <a:pt x="6452578" y="4552760"/>
                </a:cubicBezTo>
                <a:cubicBezTo>
                  <a:pt x="6244553" y="4783836"/>
                  <a:pt x="6008809" y="4980242"/>
                  <a:pt x="5752110" y="5150263"/>
                </a:cubicBezTo>
                <a:lnTo>
                  <a:pt x="5827643" y="5150263"/>
                </a:lnTo>
                <a:cubicBezTo>
                  <a:pt x="6136539" y="4938904"/>
                  <a:pt x="6412192" y="4689348"/>
                  <a:pt x="6642793" y="4389406"/>
                </a:cubicBezTo>
                <a:cubicBezTo>
                  <a:pt x="6851295" y="4118324"/>
                  <a:pt x="7009125" y="3820859"/>
                  <a:pt x="7102469" y="3490817"/>
                </a:cubicBezTo>
                <a:cubicBezTo>
                  <a:pt x="7148646" y="3327473"/>
                  <a:pt x="7177069" y="3159624"/>
                  <a:pt x="7187242" y="2990183"/>
                </a:cubicBezTo>
                <a:cubicBezTo>
                  <a:pt x="7187623" y="2984087"/>
                  <a:pt x="7182384" y="2642330"/>
                  <a:pt x="7178288" y="2604802"/>
                </a:cubicBezTo>
                <a:close/>
                <a:moveTo>
                  <a:pt x="6342565" y="441389"/>
                </a:moveTo>
                <a:cubicBezTo>
                  <a:pt x="6829797" y="986533"/>
                  <a:pt x="7091135" y="1624422"/>
                  <a:pt x="7126567" y="2355056"/>
                </a:cubicBezTo>
                <a:cubicBezTo>
                  <a:pt x="7001123" y="1661827"/>
                  <a:pt x="6756426" y="1017365"/>
                  <a:pt x="6342565" y="441389"/>
                </a:cubicBez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Arial"/>
              <a:ea typeface="+mn-ea"/>
              <a:cs typeface="+mn-cs"/>
            </a:endParaRPr>
          </a:p>
        </p:txBody>
      </p:sp>
      <p:sp>
        <p:nvSpPr>
          <p:cNvPr id="4" name="Title 3">
            <a:extLst>
              <a:ext uri="{FF2B5EF4-FFF2-40B4-BE49-F238E27FC236}">
                <a16:creationId xmlns:a16="http://schemas.microsoft.com/office/drawing/2014/main" id="{B009CD84-DA40-4CAA-8A89-DD6DAA862368}"/>
              </a:ext>
            </a:extLst>
          </p:cNvPr>
          <p:cNvSpPr>
            <a:spLocks noGrp="1"/>
          </p:cNvSpPr>
          <p:nvPr>
            <p:ph type="title"/>
          </p:nvPr>
        </p:nvSpPr>
        <p:spPr>
          <a:xfrm>
            <a:off x="2819400" y="1764645"/>
            <a:ext cx="13502422" cy="4348463"/>
          </a:xfrm>
        </p:spPr>
        <p:txBody>
          <a:bodyPr vert="horz" lIns="91440" tIns="45720" rIns="91440" bIns="45720" rtlCol="0" anchor="b">
            <a:normAutofit/>
          </a:bodyPr>
          <a:lstStyle/>
          <a:p>
            <a:pPr indent="457200">
              <a:lnSpc>
                <a:spcPct val="90000"/>
              </a:lnSpc>
              <a:spcAft>
                <a:spcPts val="600"/>
              </a:spcAft>
            </a:pPr>
            <a:r>
              <a:rPr lang="en-GB" sz="8000" b="1" noProof="0" dirty="0">
                <a:solidFill>
                  <a:schemeClr val="bg1"/>
                </a:solidFill>
                <a:ea typeface="+mn-ea"/>
                <a:cs typeface="Arial" panose="020B0604020202020204" pitchFamily="34" charset="0"/>
              </a:rPr>
              <a:t>LCA, LCC and Social LCA challenges</a:t>
            </a:r>
          </a:p>
        </p:txBody>
      </p:sp>
      <p:sp>
        <p:nvSpPr>
          <p:cNvPr id="62" name="sketch line">
            <a:extLst>
              <a:ext uri="{FF2B5EF4-FFF2-40B4-BE49-F238E27FC236}">
                <a16:creationId xmlns:a16="http://schemas.microsoft.com/office/drawing/2014/main" id="{41F77738-2AF0-4750-A0C7-F97C2C17590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961309" y="6260247"/>
            <a:ext cx="6365383" cy="27432"/>
          </a:xfrm>
          <a:custGeom>
            <a:avLst/>
            <a:gdLst>
              <a:gd name="connsiteX0" fmla="*/ 0 w 6365383"/>
              <a:gd name="connsiteY0" fmla="*/ 0 h 27432"/>
              <a:gd name="connsiteX1" fmla="*/ 636538 w 6365383"/>
              <a:gd name="connsiteY1" fmla="*/ 0 h 27432"/>
              <a:gd name="connsiteX2" fmla="*/ 1273077 w 6365383"/>
              <a:gd name="connsiteY2" fmla="*/ 0 h 27432"/>
              <a:gd name="connsiteX3" fmla="*/ 1909615 w 6365383"/>
              <a:gd name="connsiteY3" fmla="*/ 0 h 27432"/>
              <a:gd name="connsiteX4" fmla="*/ 2673461 w 6365383"/>
              <a:gd name="connsiteY4" fmla="*/ 0 h 27432"/>
              <a:gd name="connsiteX5" fmla="*/ 3373653 w 6365383"/>
              <a:gd name="connsiteY5" fmla="*/ 0 h 27432"/>
              <a:gd name="connsiteX6" fmla="*/ 3819230 w 6365383"/>
              <a:gd name="connsiteY6" fmla="*/ 0 h 27432"/>
              <a:gd name="connsiteX7" fmla="*/ 4392114 w 6365383"/>
              <a:gd name="connsiteY7" fmla="*/ 0 h 27432"/>
              <a:gd name="connsiteX8" fmla="*/ 5155960 w 6365383"/>
              <a:gd name="connsiteY8" fmla="*/ 0 h 27432"/>
              <a:gd name="connsiteX9" fmla="*/ 5792499 w 6365383"/>
              <a:gd name="connsiteY9" fmla="*/ 0 h 27432"/>
              <a:gd name="connsiteX10" fmla="*/ 6365383 w 6365383"/>
              <a:gd name="connsiteY10" fmla="*/ 0 h 27432"/>
              <a:gd name="connsiteX11" fmla="*/ 6365383 w 6365383"/>
              <a:gd name="connsiteY11" fmla="*/ 27432 h 27432"/>
              <a:gd name="connsiteX12" fmla="*/ 5856152 w 6365383"/>
              <a:gd name="connsiteY12" fmla="*/ 27432 h 27432"/>
              <a:gd name="connsiteX13" fmla="*/ 5092306 w 6365383"/>
              <a:gd name="connsiteY13" fmla="*/ 27432 h 27432"/>
              <a:gd name="connsiteX14" fmla="*/ 4583076 w 6365383"/>
              <a:gd name="connsiteY14" fmla="*/ 27432 h 27432"/>
              <a:gd name="connsiteX15" fmla="*/ 4137499 w 6365383"/>
              <a:gd name="connsiteY15" fmla="*/ 27432 h 27432"/>
              <a:gd name="connsiteX16" fmla="*/ 3691922 w 6365383"/>
              <a:gd name="connsiteY16" fmla="*/ 27432 h 27432"/>
              <a:gd name="connsiteX17" fmla="*/ 2991730 w 6365383"/>
              <a:gd name="connsiteY17" fmla="*/ 27432 h 27432"/>
              <a:gd name="connsiteX18" fmla="*/ 2546153 w 6365383"/>
              <a:gd name="connsiteY18" fmla="*/ 27432 h 27432"/>
              <a:gd name="connsiteX19" fmla="*/ 1909615 w 6365383"/>
              <a:gd name="connsiteY19" fmla="*/ 27432 h 27432"/>
              <a:gd name="connsiteX20" fmla="*/ 1400384 w 6365383"/>
              <a:gd name="connsiteY20" fmla="*/ 27432 h 27432"/>
              <a:gd name="connsiteX21" fmla="*/ 763846 w 6365383"/>
              <a:gd name="connsiteY21" fmla="*/ 27432 h 27432"/>
              <a:gd name="connsiteX22" fmla="*/ 0 w 6365383"/>
              <a:gd name="connsiteY22" fmla="*/ 27432 h 27432"/>
              <a:gd name="connsiteX23" fmla="*/ 0 w 6365383"/>
              <a:gd name="connsiteY23" fmla="*/ 0 h 27432"/>
              <a:gd name="connsiteX0" fmla="*/ 0 w 6365383"/>
              <a:gd name="connsiteY0" fmla="*/ 0 h 27432"/>
              <a:gd name="connsiteX1" fmla="*/ 572884 w 6365383"/>
              <a:gd name="connsiteY1" fmla="*/ 0 h 27432"/>
              <a:gd name="connsiteX2" fmla="*/ 1018461 w 6365383"/>
              <a:gd name="connsiteY2" fmla="*/ 0 h 27432"/>
              <a:gd name="connsiteX3" fmla="*/ 1782307 w 6365383"/>
              <a:gd name="connsiteY3" fmla="*/ 0 h 27432"/>
              <a:gd name="connsiteX4" fmla="*/ 2355192 w 6365383"/>
              <a:gd name="connsiteY4" fmla="*/ 0 h 27432"/>
              <a:gd name="connsiteX5" fmla="*/ 2928076 w 6365383"/>
              <a:gd name="connsiteY5" fmla="*/ 0 h 27432"/>
              <a:gd name="connsiteX6" fmla="*/ 3691922 w 6365383"/>
              <a:gd name="connsiteY6" fmla="*/ 0 h 27432"/>
              <a:gd name="connsiteX7" fmla="*/ 4201153 w 6365383"/>
              <a:gd name="connsiteY7" fmla="*/ 0 h 27432"/>
              <a:gd name="connsiteX8" fmla="*/ 4964999 w 6365383"/>
              <a:gd name="connsiteY8" fmla="*/ 0 h 27432"/>
              <a:gd name="connsiteX9" fmla="*/ 5728845 w 6365383"/>
              <a:gd name="connsiteY9" fmla="*/ 0 h 27432"/>
              <a:gd name="connsiteX10" fmla="*/ 6365383 w 6365383"/>
              <a:gd name="connsiteY10" fmla="*/ 0 h 27432"/>
              <a:gd name="connsiteX11" fmla="*/ 6365383 w 6365383"/>
              <a:gd name="connsiteY11" fmla="*/ 27432 h 27432"/>
              <a:gd name="connsiteX12" fmla="*/ 5665191 w 6365383"/>
              <a:gd name="connsiteY12" fmla="*/ 27432 h 27432"/>
              <a:gd name="connsiteX13" fmla="*/ 4901345 w 6365383"/>
              <a:gd name="connsiteY13" fmla="*/ 27432 h 27432"/>
              <a:gd name="connsiteX14" fmla="*/ 4137499 w 6365383"/>
              <a:gd name="connsiteY14" fmla="*/ 27432 h 27432"/>
              <a:gd name="connsiteX15" fmla="*/ 3628268 w 6365383"/>
              <a:gd name="connsiteY15" fmla="*/ 27432 h 27432"/>
              <a:gd name="connsiteX16" fmla="*/ 2991730 w 6365383"/>
              <a:gd name="connsiteY16" fmla="*/ 27432 h 27432"/>
              <a:gd name="connsiteX17" fmla="*/ 2227884 w 6365383"/>
              <a:gd name="connsiteY17" fmla="*/ 27432 h 27432"/>
              <a:gd name="connsiteX18" fmla="*/ 1591346 w 6365383"/>
              <a:gd name="connsiteY18" fmla="*/ 27432 h 27432"/>
              <a:gd name="connsiteX19" fmla="*/ 1145769 w 6365383"/>
              <a:gd name="connsiteY19" fmla="*/ 27432 h 27432"/>
              <a:gd name="connsiteX20" fmla="*/ 636538 w 6365383"/>
              <a:gd name="connsiteY20" fmla="*/ 27432 h 27432"/>
              <a:gd name="connsiteX21" fmla="*/ 0 w 6365383"/>
              <a:gd name="connsiteY21" fmla="*/ 27432 h 27432"/>
              <a:gd name="connsiteX22" fmla="*/ 0 w 6365383"/>
              <a:gd name="connsiteY22"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365383" h="27432" fill="none" extrusionOk="0">
                <a:moveTo>
                  <a:pt x="0" y="0"/>
                </a:moveTo>
                <a:cubicBezTo>
                  <a:pt x="311910" y="25756"/>
                  <a:pt x="328854" y="-22977"/>
                  <a:pt x="636538" y="0"/>
                </a:cubicBezTo>
                <a:cubicBezTo>
                  <a:pt x="929901" y="50670"/>
                  <a:pt x="1067253" y="-1993"/>
                  <a:pt x="1273077" y="0"/>
                </a:cubicBezTo>
                <a:cubicBezTo>
                  <a:pt x="1507620" y="-24857"/>
                  <a:pt x="1747799" y="-10413"/>
                  <a:pt x="1909615" y="0"/>
                </a:cubicBezTo>
                <a:cubicBezTo>
                  <a:pt x="2041097" y="-21585"/>
                  <a:pt x="2422417" y="-28022"/>
                  <a:pt x="2673461" y="0"/>
                </a:cubicBezTo>
                <a:cubicBezTo>
                  <a:pt x="2948394" y="-4560"/>
                  <a:pt x="3134893" y="36981"/>
                  <a:pt x="3373653" y="0"/>
                </a:cubicBezTo>
                <a:cubicBezTo>
                  <a:pt x="3634761" y="-15887"/>
                  <a:pt x="3700843" y="23167"/>
                  <a:pt x="3819230" y="0"/>
                </a:cubicBezTo>
                <a:cubicBezTo>
                  <a:pt x="3977295" y="2943"/>
                  <a:pt x="4128910" y="-53150"/>
                  <a:pt x="4392114" y="0"/>
                </a:cubicBezTo>
                <a:cubicBezTo>
                  <a:pt x="4672763" y="9214"/>
                  <a:pt x="4999833" y="38501"/>
                  <a:pt x="5155960" y="0"/>
                </a:cubicBezTo>
                <a:cubicBezTo>
                  <a:pt x="5343367" y="-6557"/>
                  <a:pt x="5597661" y="6622"/>
                  <a:pt x="5792499" y="0"/>
                </a:cubicBezTo>
                <a:cubicBezTo>
                  <a:pt x="6020774" y="43813"/>
                  <a:pt x="6148830" y="-13954"/>
                  <a:pt x="6365383" y="0"/>
                </a:cubicBezTo>
                <a:cubicBezTo>
                  <a:pt x="6364517" y="8091"/>
                  <a:pt x="6365728" y="20268"/>
                  <a:pt x="6365383" y="27432"/>
                </a:cubicBezTo>
                <a:cubicBezTo>
                  <a:pt x="6144545" y="15144"/>
                  <a:pt x="6006673" y="-7419"/>
                  <a:pt x="5856152" y="27432"/>
                </a:cubicBezTo>
                <a:cubicBezTo>
                  <a:pt x="5638446" y="81548"/>
                  <a:pt x="5413846" y="52067"/>
                  <a:pt x="5092306" y="27432"/>
                </a:cubicBezTo>
                <a:cubicBezTo>
                  <a:pt x="4768499" y="43350"/>
                  <a:pt x="4708569" y="3163"/>
                  <a:pt x="4583076" y="27432"/>
                </a:cubicBezTo>
                <a:cubicBezTo>
                  <a:pt x="4475482" y="66269"/>
                  <a:pt x="4242792" y="42702"/>
                  <a:pt x="4137499" y="27432"/>
                </a:cubicBezTo>
                <a:cubicBezTo>
                  <a:pt x="4003968" y="24039"/>
                  <a:pt x="3882646" y="-3026"/>
                  <a:pt x="3691922" y="27432"/>
                </a:cubicBezTo>
                <a:cubicBezTo>
                  <a:pt x="3501639" y="8096"/>
                  <a:pt x="3270842" y="-14942"/>
                  <a:pt x="2991730" y="27432"/>
                </a:cubicBezTo>
                <a:cubicBezTo>
                  <a:pt x="2712135" y="55419"/>
                  <a:pt x="2758697" y="31955"/>
                  <a:pt x="2546153" y="27432"/>
                </a:cubicBezTo>
                <a:cubicBezTo>
                  <a:pt x="2362220" y="-818"/>
                  <a:pt x="2130397" y="57099"/>
                  <a:pt x="1909615" y="27432"/>
                </a:cubicBezTo>
                <a:cubicBezTo>
                  <a:pt x="1714835" y="-15389"/>
                  <a:pt x="1636770" y="40318"/>
                  <a:pt x="1400384" y="27432"/>
                </a:cubicBezTo>
                <a:cubicBezTo>
                  <a:pt x="1161504" y="29515"/>
                  <a:pt x="1060819" y="7773"/>
                  <a:pt x="763846" y="27432"/>
                </a:cubicBezTo>
                <a:cubicBezTo>
                  <a:pt x="465096" y="43671"/>
                  <a:pt x="165309" y="15831"/>
                  <a:pt x="0" y="27432"/>
                </a:cubicBezTo>
                <a:cubicBezTo>
                  <a:pt x="-2013" y="18874"/>
                  <a:pt x="-525" y="8614"/>
                  <a:pt x="0" y="0"/>
                </a:cubicBezTo>
                <a:close/>
              </a:path>
              <a:path w="6365383" h="27432" stroke="0" extrusionOk="0">
                <a:moveTo>
                  <a:pt x="0" y="0"/>
                </a:moveTo>
                <a:cubicBezTo>
                  <a:pt x="84020" y="9133"/>
                  <a:pt x="339524" y="24523"/>
                  <a:pt x="572884" y="0"/>
                </a:cubicBezTo>
                <a:cubicBezTo>
                  <a:pt x="803790" y="-14011"/>
                  <a:pt x="837492" y="-10007"/>
                  <a:pt x="1018461" y="0"/>
                </a:cubicBezTo>
                <a:cubicBezTo>
                  <a:pt x="1188530" y="8943"/>
                  <a:pt x="1571061" y="17361"/>
                  <a:pt x="1782307" y="0"/>
                </a:cubicBezTo>
                <a:cubicBezTo>
                  <a:pt x="1967448" y="-16010"/>
                  <a:pt x="2153334" y="-25629"/>
                  <a:pt x="2355192" y="0"/>
                </a:cubicBezTo>
                <a:cubicBezTo>
                  <a:pt x="2541804" y="20205"/>
                  <a:pt x="2779440" y="53811"/>
                  <a:pt x="2928076" y="0"/>
                </a:cubicBezTo>
                <a:cubicBezTo>
                  <a:pt x="3024078" y="-16903"/>
                  <a:pt x="3337092" y="43483"/>
                  <a:pt x="3691922" y="0"/>
                </a:cubicBezTo>
                <a:cubicBezTo>
                  <a:pt x="4060895" y="-1064"/>
                  <a:pt x="4072166" y="-17195"/>
                  <a:pt x="4201153" y="0"/>
                </a:cubicBezTo>
                <a:cubicBezTo>
                  <a:pt x="4349835" y="-22516"/>
                  <a:pt x="4800106" y="-64797"/>
                  <a:pt x="4964999" y="0"/>
                </a:cubicBezTo>
                <a:cubicBezTo>
                  <a:pt x="5186764" y="15779"/>
                  <a:pt x="5564421" y="-10544"/>
                  <a:pt x="5728845" y="0"/>
                </a:cubicBezTo>
                <a:cubicBezTo>
                  <a:pt x="5915953" y="5493"/>
                  <a:pt x="6171384" y="-48026"/>
                  <a:pt x="6365383" y="0"/>
                </a:cubicBezTo>
                <a:cubicBezTo>
                  <a:pt x="6366596" y="6455"/>
                  <a:pt x="6365588" y="14391"/>
                  <a:pt x="6365383" y="27432"/>
                </a:cubicBezTo>
                <a:cubicBezTo>
                  <a:pt x="6172514" y="805"/>
                  <a:pt x="6006523" y="20734"/>
                  <a:pt x="5665191" y="27432"/>
                </a:cubicBezTo>
                <a:cubicBezTo>
                  <a:pt x="5322179" y="66687"/>
                  <a:pt x="5219376" y="21111"/>
                  <a:pt x="4901345" y="27432"/>
                </a:cubicBezTo>
                <a:cubicBezTo>
                  <a:pt x="4621310" y="-13654"/>
                  <a:pt x="4455192" y="54857"/>
                  <a:pt x="4137499" y="27432"/>
                </a:cubicBezTo>
                <a:cubicBezTo>
                  <a:pt x="3853317" y="12285"/>
                  <a:pt x="3862894" y="26263"/>
                  <a:pt x="3628268" y="27432"/>
                </a:cubicBezTo>
                <a:cubicBezTo>
                  <a:pt x="3418779" y="32610"/>
                  <a:pt x="3174456" y="83656"/>
                  <a:pt x="2991730" y="27432"/>
                </a:cubicBezTo>
                <a:cubicBezTo>
                  <a:pt x="2801278" y="6667"/>
                  <a:pt x="2497351" y="22891"/>
                  <a:pt x="2227884" y="27432"/>
                </a:cubicBezTo>
                <a:cubicBezTo>
                  <a:pt x="1986101" y="16297"/>
                  <a:pt x="1767219" y="-7535"/>
                  <a:pt x="1591346" y="27432"/>
                </a:cubicBezTo>
                <a:cubicBezTo>
                  <a:pt x="1447183" y="73731"/>
                  <a:pt x="1315973" y="39477"/>
                  <a:pt x="1145769" y="27432"/>
                </a:cubicBezTo>
                <a:cubicBezTo>
                  <a:pt x="990245" y="8882"/>
                  <a:pt x="810845" y="16910"/>
                  <a:pt x="636538" y="27432"/>
                </a:cubicBezTo>
                <a:cubicBezTo>
                  <a:pt x="482916" y="17795"/>
                  <a:pt x="183027" y="-17710"/>
                  <a:pt x="0" y="27432"/>
                </a:cubicBezTo>
                <a:cubicBezTo>
                  <a:pt x="491" y="19542"/>
                  <a:pt x="-1038" y="8534"/>
                  <a:pt x="0" y="0"/>
                </a:cubicBezTo>
                <a:close/>
              </a:path>
              <a:path w="6365383" h="27432" fill="none" stroke="0" extrusionOk="0">
                <a:moveTo>
                  <a:pt x="0" y="0"/>
                </a:moveTo>
                <a:cubicBezTo>
                  <a:pt x="296223" y="15991"/>
                  <a:pt x="333462" y="-23795"/>
                  <a:pt x="636538" y="0"/>
                </a:cubicBezTo>
                <a:cubicBezTo>
                  <a:pt x="970197" y="30961"/>
                  <a:pt x="1039864" y="3183"/>
                  <a:pt x="1273077" y="0"/>
                </a:cubicBezTo>
                <a:cubicBezTo>
                  <a:pt x="1449809" y="24819"/>
                  <a:pt x="1735152" y="23060"/>
                  <a:pt x="1909615" y="0"/>
                </a:cubicBezTo>
                <a:cubicBezTo>
                  <a:pt x="2016351" y="-41665"/>
                  <a:pt x="2415001" y="34773"/>
                  <a:pt x="2673461" y="0"/>
                </a:cubicBezTo>
                <a:cubicBezTo>
                  <a:pt x="2996983" y="-13411"/>
                  <a:pt x="3130707" y="3741"/>
                  <a:pt x="3373653" y="0"/>
                </a:cubicBezTo>
                <a:cubicBezTo>
                  <a:pt x="3601951" y="-16140"/>
                  <a:pt x="3689909" y="23222"/>
                  <a:pt x="3819230" y="0"/>
                </a:cubicBezTo>
                <a:cubicBezTo>
                  <a:pt x="3931872" y="-29406"/>
                  <a:pt x="4119438" y="24094"/>
                  <a:pt x="4392114" y="0"/>
                </a:cubicBezTo>
                <a:cubicBezTo>
                  <a:pt x="4665359" y="21557"/>
                  <a:pt x="4978709" y="13267"/>
                  <a:pt x="5155960" y="0"/>
                </a:cubicBezTo>
                <a:cubicBezTo>
                  <a:pt x="5299518" y="-18386"/>
                  <a:pt x="5605020" y="-6762"/>
                  <a:pt x="5792499" y="0"/>
                </a:cubicBezTo>
                <a:cubicBezTo>
                  <a:pt x="6013281" y="43398"/>
                  <a:pt x="6167567" y="36727"/>
                  <a:pt x="6365383" y="0"/>
                </a:cubicBezTo>
                <a:cubicBezTo>
                  <a:pt x="6365697" y="8368"/>
                  <a:pt x="6365332" y="21050"/>
                  <a:pt x="6365383" y="27432"/>
                </a:cubicBezTo>
                <a:cubicBezTo>
                  <a:pt x="6154893" y="8454"/>
                  <a:pt x="6014206" y="-8372"/>
                  <a:pt x="5856152" y="27432"/>
                </a:cubicBezTo>
                <a:cubicBezTo>
                  <a:pt x="5659455" y="59503"/>
                  <a:pt x="5350806" y="-35991"/>
                  <a:pt x="5092306" y="27432"/>
                </a:cubicBezTo>
                <a:cubicBezTo>
                  <a:pt x="4756309" y="48260"/>
                  <a:pt x="4699746" y="-4780"/>
                  <a:pt x="4583076" y="27432"/>
                </a:cubicBezTo>
                <a:cubicBezTo>
                  <a:pt x="4462137" y="30142"/>
                  <a:pt x="4226168" y="50236"/>
                  <a:pt x="4137499" y="27432"/>
                </a:cubicBezTo>
                <a:cubicBezTo>
                  <a:pt x="4018570" y="42181"/>
                  <a:pt x="3887179" y="34623"/>
                  <a:pt x="3691922" y="27432"/>
                </a:cubicBezTo>
                <a:cubicBezTo>
                  <a:pt x="3499755" y="32935"/>
                  <a:pt x="3281056" y="-9158"/>
                  <a:pt x="2991730" y="27432"/>
                </a:cubicBezTo>
                <a:cubicBezTo>
                  <a:pt x="2716073" y="57462"/>
                  <a:pt x="2755481" y="34494"/>
                  <a:pt x="2546153" y="27432"/>
                </a:cubicBezTo>
                <a:cubicBezTo>
                  <a:pt x="2356479" y="62622"/>
                  <a:pt x="2079190" y="73729"/>
                  <a:pt x="1909615" y="27432"/>
                </a:cubicBezTo>
                <a:cubicBezTo>
                  <a:pt x="1715819" y="-26444"/>
                  <a:pt x="1631368" y="48131"/>
                  <a:pt x="1400384" y="27432"/>
                </a:cubicBezTo>
                <a:cubicBezTo>
                  <a:pt x="1177327" y="16190"/>
                  <a:pt x="1065236" y="24992"/>
                  <a:pt x="763846" y="27432"/>
                </a:cubicBezTo>
                <a:cubicBezTo>
                  <a:pt x="448643" y="60691"/>
                  <a:pt x="160833" y="2330"/>
                  <a:pt x="0" y="27432"/>
                </a:cubicBezTo>
                <a:cubicBezTo>
                  <a:pt x="1559" y="18666"/>
                  <a:pt x="-585" y="7580"/>
                  <a:pt x="0" y="0"/>
                </a:cubicBezTo>
                <a:close/>
              </a:path>
            </a:pathLst>
          </a:custGeom>
          <a:solidFill>
            <a:srgbClr val="FFFFFF"/>
          </a:solidFill>
          <a:ln w="41275" cap="rnd">
            <a:solidFill>
              <a:srgbClr val="FFFFFF"/>
            </a:solidFill>
            <a:round/>
            <a:extLst>
              <a:ext uri="{C807C97D-BFC1-408E-A445-0C87EB9F89A2}">
                <ask:lineSketchStyleProps xmlns:ask="http://schemas.microsoft.com/office/drawing/2018/sketchyshapes" sd="1219033472">
                  <a:custGeom>
                    <a:avLst/>
                    <a:gdLst>
                      <a:gd name="connsiteX0" fmla="*/ 0 w 6365383"/>
                      <a:gd name="connsiteY0" fmla="*/ 0 h 27432"/>
                      <a:gd name="connsiteX1" fmla="*/ 636538 w 6365383"/>
                      <a:gd name="connsiteY1" fmla="*/ 0 h 27432"/>
                      <a:gd name="connsiteX2" fmla="*/ 1273077 w 6365383"/>
                      <a:gd name="connsiteY2" fmla="*/ 0 h 27432"/>
                      <a:gd name="connsiteX3" fmla="*/ 1909615 w 6365383"/>
                      <a:gd name="connsiteY3" fmla="*/ 0 h 27432"/>
                      <a:gd name="connsiteX4" fmla="*/ 2673461 w 6365383"/>
                      <a:gd name="connsiteY4" fmla="*/ 0 h 27432"/>
                      <a:gd name="connsiteX5" fmla="*/ 3373653 w 6365383"/>
                      <a:gd name="connsiteY5" fmla="*/ 0 h 27432"/>
                      <a:gd name="connsiteX6" fmla="*/ 3819230 w 6365383"/>
                      <a:gd name="connsiteY6" fmla="*/ 0 h 27432"/>
                      <a:gd name="connsiteX7" fmla="*/ 4392114 w 6365383"/>
                      <a:gd name="connsiteY7" fmla="*/ 0 h 27432"/>
                      <a:gd name="connsiteX8" fmla="*/ 5155960 w 6365383"/>
                      <a:gd name="connsiteY8" fmla="*/ 0 h 27432"/>
                      <a:gd name="connsiteX9" fmla="*/ 5792499 w 6365383"/>
                      <a:gd name="connsiteY9" fmla="*/ 0 h 27432"/>
                      <a:gd name="connsiteX10" fmla="*/ 6365383 w 6365383"/>
                      <a:gd name="connsiteY10" fmla="*/ 0 h 27432"/>
                      <a:gd name="connsiteX11" fmla="*/ 6365383 w 6365383"/>
                      <a:gd name="connsiteY11" fmla="*/ 27432 h 27432"/>
                      <a:gd name="connsiteX12" fmla="*/ 5856152 w 6365383"/>
                      <a:gd name="connsiteY12" fmla="*/ 27432 h 27432"/>
                      <a:gd name="connsiteX13" fmla="*/ 5092306 w 6365383"/>
                      <a:gd name="connsiteY13" fmla="*/ 27432 h 27432"/>
                      <a:gd name="connsiteX14" fmla="*/ 4583076 w 6365383"/>
                      <a:gd name="connsiteY14" fmla="*/ 27432 h 27432"/>
                      <a:gd name="connsiteX15" fmla="*/ 4137499 w 6365383"/>
                      <a:gd name="connsiteY15" fmla="*/ 27432 h 27432"/>
                      <a:gd name="connsiteX16" fmla="*/ 3691922 w 6365383"/>
                      <a:gd name="connsiteY16" fmla="*/ 27432 h 27432"/>
                      <a:gd name="connsiteX17" fmla="*/ 2991730 w 6365383"/>
                      <a:gd name="connsiteY17" fmla="*/ 27432 h 27432"/>
                      <a:gd name="connsiteX18" fmla="*/ 2546153 w 6365383"/>
                      <a:gd name="connsiteY18" fmla="*/ 27432 h 27432"/>
                      <a:gd name="connsiteX19" fmla="*/ 1909615 w 6365383"/>
                      <a:gd name="connsiteY19" fmla="*/ 27432 h 27432"/>
                      <a:gd name="connsiteX20" fmla="*/ 1400384 w 6365383"/>
                      <a:gd name="connsiteY20" fmla="*/ 27432 h 27432"/>
                      <a:gd name="connsiteX21" fmla="*/ 763846 w 6365383"/>
                      <a:gd name="connsiteY21" fmla="*/ 27432 h 27432"/>
                      <a:gd name="connsiteX22" fmla="*/ 0 w 6365383"/>
                      <a:gd name="connsiteY22" fmla="*/ 27432 h 27432"/>
                      <a:gd name="connsiteX23" fmla="*/ 0 w 6365383"/>
                      <a:gd name="connsiteY23"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365383" h="27432" fill="none" extrusionOk="0">
                        <a:moveTo>
                          <a:pt x="0" y="0"/>
                        </a:moveTo>
                        <a:cubicBezTo>
                          <a:pt x="305169" y="21509"/>
                          <a:pt x="334704" y="-24261"/>
                          <a:pt x="636538" y="0"/>
                        </a:cubicBezTo>
                        <a:cubicBezTo>
                          <a:pt x="938372" y="24261"/>
                          <a:pt x="1068606" y="2269"/>
                          <a:pt x="1273077" y="0"/>
                        </a:cubicBezTo>
                        <a:cubicBezTo>
                          <a:pt x="1477548" y="-2269"/>
                          <a:pt x="1738189" y="6272"/>
                          <a:pt x="1909615" y="0"/>
                        </a:cubicBezTo>
                        <a:cubicBezTo>
                          <a:pt x="2081041" y="-6272"/>
                          <a:pt x="2377015" y="16623"/>
                          <a:pt x="2673461" y="0"/>
                        </a:cubicBezTo>
                        <a:cubicBezTo>
                          <a:pt x="2969907" y="-16623"/>
                          <a:pt x="3126114" y="13194"/>
                          <a:pt x="3373653" y="0"/>
                        </a:cubicBezTo>
                        <a:cubicBezTo>
                          <a:pt x="3621192" y="-13194"/>
                          <a:pt x="3704499" y="9486"/>
                          <a:pt x="3819230" y="0"/>
                        </a:cubicBezTo>
                        <a:cubicBezTo>
                          <a:pt x="3933961" y="-9486"/>
                          <a:pt x="4142691" y="-8221"/>
                          <a:pt x="4392114" y="0"/>
                        </a:cubicBezTo>
                        <a:cubicBezTo>
                          <a:pt x="4641537" y="8221"/>
                          <a:pt x="4974506" y="12257"/>
                          <a:pt x="5155960" y="0"/>
                        </a:cubicBezTo>
                        <a:cubicBezTo>
                          <a:pt x="5337414" y="-12257"/>
                          <a:pt x="5585731" y="-22537"/>
                          <a:pt x="5792499" y="0"/>
                        </a:cubicBezTo>
                        <a:cubicBezTo>
                          <a:pt x="5999267" y="22537"/>
                          <a:pt x="6164726" y="7303"/>
                          <a:pt x="6365383" y="0"/>
                        </a:cubicBezTo>
                        <a:cubicBezTo>
                          <a:pt x="6365125" y="7487"/>
                          <a:pt x="6364462" y="19984"/>
                          <a:pt x="6365383" y="27432"/>
                        </a:cubicBezTo>
                        <a:cubicBezTo>
                          <a:pt x="6132222" y="28304"/>
                          <a:pt x="6011986" y="2071"/>
                          <a:pt x="5856152" y="27432"/>
                        </a:cubicBezTo>
                        <a:cubicBezTo>
                          <a:pt x="5700318" y="52793"/>
                          <a:pt x="5410732" y="5357"/>
                          <a:pt x="5092306" y="27432"/>
                        </a:cubicBezTo>
                        <a:cubicBezTo>
                          <a:pt x="4773880" y="49507"/>
                          <a:pt x="4705351" y="6645"/>
                          <a:pt x="4583076" y="27432"/>
                        </a:cubicBezTo>
                        <a:cubicBezTo>
                          <a:pt x="4460801" y="48220"/>
                          <a:pt x="4239915" y="42209"/>
                          <a:pt x="4137499" y="27432"/>
                        </a:cubicBezTo>
                        <a:cubicBezTo>
                          <a:pt x="4035083" y="12655"/>
                          <a:pt x="3883665" y="32012"/>
                          <a:pt x="3691922" y="27432"/>
                        </a:cubicBezTo>
                        <a:cubicBezTo>
                          <a:pt x="3500179" y="22852"/>
                          <a:pt x="3265830" y="-126"/>
                          <a:pt x="2991730" y="27432"/>
                        </a:cubicBezTo>
                        <a:cubicBezTo>
                          <a:pt x="2717630" y="54990"/>
                          <a:pt x="2757122" y="34407"/>
                          <a:pt x="2546153" y="27432"/>
                        </a:cubicBezTo>
                        <a:cubicBezTo>
                          <a:pt x="2335184" y="20457"/>
                          <a:pt x="2107331" y="58889"/>
                          <a:pt x="1909615" y="27432"/>
                        </a:cubicBezTo>
                        <a:cubicBezTo>
                          <a:pt x="1711899" y="-4025"/>
                          <a:pt x="1634641" y="48316"/>
                          <a:pt x="1400384" y="27432"/>
                        </a:cubicBezTo>
                        <a:cubicBezTo>
                          <a:pt x="1166127" y="6548"/>
                          <a:pt x="1068288" y="15776"/>
                          <a:pt x="763846" y="27432"/>
                        </a:cubicBezTo>
                        <a:cubicBezTo>
                          <a:pt x="459404" y="39088"/>
                          <a:pt x="170017" y="14515"/>
                          <a:pt x="0" y="27432"/>
                        </a:cubicBezTo>
                        <a:cubicBezTo>
                          <a:pt x="-14" y="18173"/>
                          <a:pt x="-517" y="8990"/>
                          <a:pt x="0" y="0"/>
                        </a:cubicBezTo>
                        <a:close/>
                      </a:path>
                      <a:path w="6365383" h="27432" stroke="0" extrusionOk="0">
                        <a:moveTo>
                          <a:pt x="0" y="0"/>
                        </a:moveTo>
                        <a:cubicBezTo>
                          <a:pt x="114610" y="-2215"/>
                          <a:pt x="340315" y="12554"/>
                          <a:pt x="572884" y="0"/>
                        </a:cubicBezTo>
                        <a:cubicBezTo>
                          <a:pt x="805453" y="-12554"/>
                          <a:pt x="832891" y="-10424"/>
                          <a:pt x="1018461" y="0"/>
                        </a:cubicBezTo>
                        <a:cubicBezTo>
                          <a:pt x="1204031" y="10424"/>
                          <a:pt x="1590875" y="8682"/>
                          <a:pt x="1782307" y="0"/>
                        </a:cubicBezTo>
                        <a:cubicBezTo>
                          <a:pt x="1973739" y="-8682"/>
                          <a:pt x="2150876" y="5508"/>
                          <a:pt x="2355192" y="0"/>
                        </a:cubicBezTo>
                        <a:cubicBezTo>
                          <a:pt x="2559508" y="-5508"/>
                          <a:pt x="2790194" y="26965"/>
                          <a:pt x="2928076" y="0"/>
                        </a:cubicBezTo>
                        <a:cubicBezTo>
                          <a:pt x="3065958" y="-26965"/>
                          <a:pt x="3321537" y="819"/>
                          <a:pt x="3691922" y="0"/>
                        </a:cubicBezTo>
                        <a:cubicBezTo>
                          <a:pt x="4062307" y="-819"/>
                          <a:pt x="4072238" y="-15327"/>
                          <a:pt x="4201153" y="0"/>
                        </a:cubicBezTo>
                        <a:cubicBezTo>
                          <a:pt x="4330068" y="15327"/>
                          <a:pt x="4772079" y="-35646"/>
                          <a:pt x="4964999" y="0"/>
                        </a:cubicBezTo>
                        <a:cubicBezTo>
                          <a:pt x="5157919" y="35646"/>
                          <a:pt x="5543915" y="6802"/>
                          <a:pt x="5728845" y="0"/>
                        </a:cubicBezTo>
                        <a:cubicBezTo>
                          <a:pt x="5913775" y="-6802"/>
                          <a:pt x="6142952" y="-21408"/>
                          <a:pt x="6365383" y="0"/>
                        </a:cubicBezTo>
                        <a:cubicBezTo>
                          <a:pt x="6364552" y="6329"/>
                          <a:pt x="6365787" y="16858"/>
                          <a:pt x="6365383" y="27432"/>
                        </a:cubicBezTo>
                        <a:cubicBezTo>
                          <a:pt x="6176931" y="320"/>
                          <a:pt x="5998736" y="11244"/>
                          <a:pt x="5665191" y="27432"/>
                        </a:cubicBezTo>
                        <a:cubicBezTo>
                          <a:pt x="5331646" y="43620"/>
                          <a:pt x="5198011" y="28615"/>
                          <a:pt x="4901345" y="27432"/>
                        </a:cubicBezTo>
                        <a:cubicBezTo>
                          <a:pt x="4604679" y="26249"/>
                          <a:pt x="4422931" y="40617"/>
                          <a:pt x="4137499" y="27432"/>
                        </a:cubicBezTo>
                        <a:cubicBezTo>
                          <a:pt x="3852067" y="14247"/>
                          <a:pt x="3861939" y="26581"/>
                          <a:pt x="3628268" y="27432"/>
                        </a:cubicBezTo>
                        <a:cubicBezTo>
                          <a:pt x="3394597" y="28283"/>
                          <a:pt x="3171361" y="44132"/>
                          <a:pt x="2991730" y="27432"/>
                        </a:cubicBezTo>
                        <a:cubicBezTo>
                          <a:pt x="2812099" y="10732"/>
                          <a:pt x="2469344" y="24737"/>
                          <a:pt x="2227884" y="27432"/>
                        </a:cubicBezTo>
                        <a:cubicBezTo>
                          <a:pt x="1986424" y="30127"/>
                          <a:pt x="1748067" y="6359"/>
                          <a:pt x="1591346" y="27432"/>
                        </a:cubicBezTo>
                        <a:cubicBezTo>
                          <a:pt x="1434625" y="48505"/>
                          <a:pt x="1307456" y="39663"/>
                          <a:pt x="1145769" y="27432"/>
                        </a:cubicBezTo>
                        <a:cubicBezTo>
                          <a:pt x="984082" y="15201"/>
                          <a:pt x="800279" y="41647"/>
                          <a:pt x="636538" y="27432"/>
                        </a:cubicBezTo>
                        <a:cubicBezTo>
                          <a:pt x="472797" y="13217"/>
                          <a:pt x="160022" y="2213"/>
                          <a:pt x="0" y="27432"/>
                        </a:cubicBezTo>
                        <a:cubicBezTo>
                          <a:pt x="-177" y="19307"/>
                          <a:pt x="-1145" y="9170"/>
                          <a:pt x="0" y="0"/>
                        </a:cubicBezTo>
                        <a:close/>
                      </a:path>
                    </a:pathLst>
                  </a:cu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519059571"/>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uppo 16">
            <a:extLst>
              <a:ext uri="{FF2B5EF4-FFF2-40B4-BE49-F238E27FC236}">
                <a16:creationId xmlns:a16="http://schemas.microsoft.com/office/drawing/2014/main" id="{7F05FA2D-BA17-4C4E-9DAE-36CC81DE9BAA}"/>
              </a:ext>
            </a:extLst>
          </p:cNvPr>
          <p:cNvGrpSpPr/>
          <p:nvPr/>
        </p:nvGrpSpPr>
        <p:grpSpPr>
          <a:xfrm>
            <a:off x="4329156" y="9695736"/>
            <a:ext cx="13958844" cy="666567"/>
            <a:chOff x="4329156" y="9649198"/>
            <a:chExt cx="13958844" cy="666567"/>
          </a:xfrm>
        </p:grpSpPr>
        <p:pic>
          <p:nvPicPr>
            <p:cNvPr id="5" name="Picture 12">
              <a:extLst>
                <a:ext uri="{FF2B5EF4-FFF2-40B4-BE49-F238E27FC236}">
                  <a16:creationId xmlns:a16="http://schemas.microsoft.com/office/drawing/2014/main" id="{00810EF5-3949-4698-A5DE-428CD380175F}"/>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6" name="TextBox 16">
              <a:extLst>
                <a:ext uri="{FF2B5EF4-FFF2-40B4-BE49-F238E27FC236}">
                  <a16:creationId xmlns:a16="http://schemas.microsoft.com/office/drawing/2014/main" id="{EDDD1531-1BDA-4725-B6A3-364F4B7CF76A}"/>
                </a:ext>
              </a:extLst>
            </p:cNvPr>
            <p:cNvSpPr txBox="1"/>
            <p:nvPr/>
          </p:nvSpPr>
          <p:spPr>
            <a:xfrm>
              <a:off x="14400029" y="9732291"/>
              <a:ext cx="3636320" cy="448713"/>
            </a:xfrm>
            <a:prstGeom prst="rect">
              <a:avLst/>
            </a:prstGeom>
          </p:spPr>
          <p:txBody>
            <a:bodyPr wrap="square" lIns="0" tIns="0" rIns="0" bIns="0" rtlCol="0" anchor="t">
              <a:spAutoFit/>
            </a:bodyPr>
            <a:lstStyle/>
            <a:p>
              <a:pPr marL="0" marR="0" lvl="0" indent="0" algn="ctr" defTabSz="914400" rtl="0" eaLnBrk="1" fontAlgn="auto" latinLnBrk="0" hangingPunct="1">
                <a:lnSpc>
                  <a:spcPts val="3919"/>
                </a:lnSpc>
                <a:spcBef>
                  <a:spcPct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OCR A Extended" panose="02010509020102010303" pitchFamily="50" charset="0"/>
                  <a:ea typeface="+mn-ea"/>
                  <a:cs typeface="+mn-cs"/>
                </a:rPr>
                <a:t>www.retrofeed.eu</a:t>
              </a:r>
            </a:p>
          </p:txBody>
        </p:sp>
      </p:grpSp>
      <p:pic>
        <p:nvPicPr>
          <p:cNvPr id="7" name="Picture 12">
            <a:extLst>
              <a:ext uri="{FF2B5EF4-FFF2-40B4-BE49-F238E27FC236}">
                <a16:creationId xmlns:a16="http://schemas.microsoft.com/office/drawing/2014/main" id="{52C35A30-8BA0-4714-8363-E6CE748BA2C3}"/>
              </a:ext>
            </a:extLst>
          </p:cNvPr>
          <p:cNvPicPr>
            <a:picLocks noChangeAspect="1"/>
          </p:cNvPicPr>
          <p:nvPr/>
        </p:nvPicPr>
        <p:blipFill>
          <a:blip r:embed="rId4"/>
          <a:srcRect/>
          <a:stretch>
            <a:fillRect/>
          </a:stretch>
        </p:blipFill>
        <p:spPr>
          <a:xfrm>
            <a:off x="0" y="9464707"/>
            <a:ext cx="3390900" cy="822293"/>
          </a:xfrm>
          <a:prstGeom prst="rect">
            <a:avLst/>
          </a:prstGeom>
        </p:spPr>
      </p:pic>
      <p:grpSp>
        <p:nvGrpSpPr>
          <p:cNvPr id="8" name="Gruppo 2">
            <a:extLst>
              <a:ext uri="{FF2B5EF4-FFF2-40B4-BE49-F238E27FC236}">
                <a16:creationId xmlns:a16="http://schemas.microsoft.com/office/drawing/2014/main" id="{C9C93A65-4067-4ACC-B2C9-8C15277024E4}"/>
              </a:ext>
            </a:extLst>
          </p:cNvPr>
          <p:cNvGrpSpPr/>
          <p:nvPr/>
        </p:nvGrpSpPr>
        <p:grpSpPr>
          <a:xfrm>
            <a:off x="-12" y="138554"/>
            <a:ext cx="18288002" cy="681138"/>
            <a:chOff x="-12" y="138554"/>
            <a:chExt cx="18288002" cy="681138"/>
          </a:xfrm>
        </p:grpSpPr>
        <p:grpSp>
          <p:nvGrpSpPr>
            <p:cNvPr id="9" name="Gruppo 1">
              <a:extLst>
                <a:ext uri="{FF2B5EF4-FFF2-40B4-BE49-F238E27FC236}">
                  <a16:creationId xmlns:a16="http://schemas.microsoft.com/office/drawing/2014/main" id="{A943E672-738C-4FE3-BD35-ACD7A4E4D95E}"/>
                </a:ext>
              </a:extLst>
            </p:cNvPr>
            <p:cNvGrpSpPr/>
            <p:nvPr/>
          </p:nvGrpSpPr>
          <p:grpSpPr>
            <a:xfrm>
              <a:off x="0" y="153125"/>
              <a:ext cx="17907000" cy="666567"/>
              <a:chOff x="0" y="153125"/>
              <a:chExt cx="17907000" cy="666567"/>
            </a:xfrm>
          </p:grpSpPr>
          <p:grpSp>
            <p:nvGrpSpPr>
              <p:cNvPr id="11" name="Gruppo 15">
                <a:extLst>
                  <a:ext uri="{FF2B5EF4-FFF2-40B4-BE49-F238E27FC236}">
                    <a16:creationId xmlns:a16="http://schemas.microsoft.com/office/drawing/2014/main" id="{10037738-5D9A-4755-B52F-99B1FA543ED3}"/>
                  </a:ext>
                </a:extLst>
              </p:cNvPr>
              <p:cNvGrpSpPr/>
              <p:nvPr/>
            </p:nvGrpSpPr>
            <p:grpSpPr>
              <a:xfrm>
                <a:off x="0" y="153125"/>
                <a:ext cx="13958844" cy="666567"/>
                <a:chOff x="0" y="153125"/>
                <a:chExt cx="13958844" cy="666567"/>
              </a:xfrm>
            </p:grpSpPr>
            <p:pic>
              <p:nvPicPr>
                <p:cNvPr id="13" name="Picture 10">
                  <a:extLst>
                    <a:ext uri="{FF2B5EF4-FFF2-40B4-BE49-F238E27FC236}">
                      <a16:creationId xmlns:a16="http://schemas.microsoft.com/office/drawing/2014/main" id="{30234B5E-6FF9-499F-817A-9B69F1CC9911}"/>
                    </a:ext>
                  </a:extLst>
                </p:cNvPr>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4" name="TextBox 11">
                  <a:extLst>
                    <a:ext uri="{FF2B5EF4-FFF2-40B4-BE49-F238E27FC236}">
                      <a16:creationId xmlns:a16="http://schemas.microsoft.com/office/drawing/2014/main" id="{E5F3FE84-033A-4279-AF93-ABD80EC40550}"/>
                    </a:ext>
                  </a:extLst>
                </p:cNvPr>
                <p:cNvSpPr txBox="1"/>
                <p:nvPr/>
              </p:nvSpPr>
              <p:spPr>
                <a:xfrm>
                  <a:off x="228600" y="257980"/>
                  <a:ext cx="9296400" cy="456856"/>
                </a:xfrm>
                <a:prstGeom prst="rect">
                  <a:avLst/>
                </a:prstGeom>
              </p:spPr>
              <p:txBody>
                <a:bodyPr wrap="square" lIns="0" tIns="0" rIns="0" bIns="0" rtlCol="0" anchor="t">
                  <a:spAutoFit/>
                </a:bodyPr>
                <a:lstStyle/>
                <a:p>
                  <a:pPr marL="0" marR="0" lvl="0" indent="0" algn="l" defTabSz="914400" rtl="0" eaLnBrk="1" fontAlgn="auto" latinLnBrk="0" hangingPunct="1">
                    <a:lnSpc>
                      <a:spcPts val="3919"/>
                    </a:lnSpc>
                    <a:spcBef>
                      <a:spcPct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2" name="TextBox 11">
                <a:extLst>
                  <a:ext uri="{FF2B5EF4-FFF2-40B4-BE49-F238E27FC236}">
                    <a16:creationId xmlns:a16="http://schemas.microsoft.com/office/drawing/2014/main" id="{7B4365DB-7AB3-494A-91B9-B5781D39B67B}"/>
                  </a:ext>
                </a:extLst>
              </p:cNvPr>
              <p:cNvSpPr txBox="1"/>
              <p:nvPr/>
            </p:nvSpPr>
            <p:spPr>
              <a:xfrm>
                <a:off x="12154296" y="257980"/>
                <a:ext cx="5752704" cy="456856"/>
              </a:xfrm>
              <a:prstGeom prst="rect">
                <a:avLst/>
              </a:prstGeom>
            </p:spPr>
            <p:txBody>
              <a:bodyPr wrap="square" lIns="0" tIns="0" rIns="0" bIns="0" rtlCol="0" anchor="t">
                <a:spAutoFit/>
              </a:bodyPr>
              <a:lstStyle/>
              <a:p>
                <a:pPr marL="0" marR="0" lvl="0" indent="0" algn="r" defTabSz="914400" rtl="0" eaLnBrk="1" fontAlgn="auto" latinLnBrk="0" hangingPunct="1">
                  <a:lnSpc>
                    <a:spcPts val="3919"/>
                  </a:lnSpc>
                  <a:spcBef>
                    <a:spcPct val="0"/>
                  </a:spcBef>
                  <a:spcAft>
                    <a:spcPts val="0"/>
                  </a:spcAft>
                  <a:buClrTx/>
                  <a:buSzTx/>
                  <a:buFontTx/>
                  <a:buNone/>
                  <a:tabLst/>
                  <a:defRPr/>
                </a:pPr>
                <a:endParaRPr kumimoji="0" lang="en-US" sz="2800" b="0" i="0" u="none" strike="noStrike" kern="1200" cap="none" spc="0" normalizeH="0" baseline="0" noProof="0">
                  <a:ln>
                    <a:noFill/>
                  </a:ln>
                  <a:solidFill>
                    <a:srgbClr val="2F2F2F">
                      <a:lumMod val="75000"/>
                      <a:lumOff val="25000"/>
                    </a:srgbClr>
                  </a:solidFill>
                  <a:effectLst/>
                  <a:uLnTx/>
                  <a:uFillTx/>
                  <a:latin typeface="Arial" panose="020B0604020202020204" pitchFamily="34" charset="0"/>
                  <a:ea typeface="+mn-ea"/>
                  <a:cs typeface="Arial" panose="020B0604020202020204" pitchFamily="34" charset="0"/>
                </a:endParaRPr>
              </a:p>
            </p:txBody>
          </p:sp>
        </p:grpSp>
        <p:sp>
          <p:nvSpPr>
            <p:cNvPr id="10" name="Rettangolo 13">
              <a:extLst>
                <a:ext uri="{FF2B5EF4-FFF2-40B4-BE49-F238E27FC236}">
                  <a16:creationId xmlns:a16="http://schemas.microsoft.com/office/drawing/2014/main" id="{BC76EB51-B4AB-4BAB-AAF6-1883074EEF50}"/>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20" name="TextBox 19">
            <a:extLst>
              <a:ext uri="{FF2B5EF4-FFF2-40B4-BE49-F238E27FC236}">
                <a16:creationId xmlns:a16="http://schemas.microsoft.com/office/drawing/2014/main" id="{B4D68CAB-2F99-49CF-9331-08151EAABA39}"/>
              </a:ext>
            </a:extLst>
          </p:cNvPr>
          <p:cNvSpPr txBox="1"/>
          <p:nvPr/>
        </p:nvSpPr>
        <p:spPr>
          <a:xfrm>
            <a:off x="3944204" y="921311"/>
            <a:ext cx="9413558"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4800" b="1" i="0" u="none" strike="noStrike" kern="1200" cap="none" spc="0" normalizeH="0" baseline="0" noProof="0">
                <a:ln>
                  <a:noFill/>
                </a:ln>
                <a:solidFill>
                  <a:srgbClr val="CC0033"/>
                </a:solidFill>
                <a:effectLst/>
                <a:uLnTx/>
                <a:uFillTx/>
                <a:latin typeface="Arial"/>
                <a:ea typeface="+mn-ea"/>
                <a:cs typeface="Arial" panose="020B0604020202020204" pitchFamily="34" charset="0"/>
              </a:rPr>
              <a:t>Challenges </a:t>
            </a:r>
            <a:r>
              <a:rPr kumimoji="0" lang="sv-SE" sz="4800" b="1" i="0" u="none" strike="noStrike" kern="1200" cap="none" spc="0" normalizeH="0" baseline="0" noProof="0" err="1">
                <a:ln>
                  <a:noFill/>
                </a:ln>
                <a:solidFill>
                  <a:srgbClr val="CC0033"/>
                </a:solidFill>
                <a:effectLst/>
                <a:uLnTx/>
                <a:uFillTx/>
                <a:latin typeface="Arial"/>
                <a:ea typeface="+mn-ea"/>
                <a:cs typeface="Arial" panose="020B0604020202020204" pitchFamily="34" charset="0"/>
              </a:rPr>
              <a:t>with</a:t>
            </a:r>
            <a:r>
              <a:rPr kumimoji="0" lang="sv-SE" sz="4800" b="1" i="0" u="none" strike="noStrike" kern="1200" cap="none" spc="0" normalizeH="0" baseline="0" noProof="0">
                <a:ln>
                  <a:noFill/>
                </a:ln>
                <a:solidFill>
                  <a:srgbClr val="CC0033"/>
                </a:solidFill>
                <a:effectLst/>
                <a:uLnTx/>
                <a:uFillTx/>
                <a:latin typeface="Arial"/>
                <a:ea typeface="+mn-ea"/>
                <a:cs typeface="Arial" panose="020B0604020202020204" pitchFamily="34" charset="0"/>
              </a:rPr>
              <a:t> LCA and LCC</a:t>
            </a:r>
          </a:p>
        </p:txBody>
      </p:sp>
      <p:sp>
        <p:nvSpPr>
          <p:cNvPr id="23" name="TextBox 22">
            <a:extLst>
              <a:ext uri="{FF2B5EF4-FFF2-40B4-BE49-F238E27FC236}">
                <a16:creationId xmlns:a16="http://schemas.microsoft.com/office/drawing/2014/main" id="{EDADB62C-C9C5-46BD-B3F0-92C52F43256C}"/>
              </a:ext>
            </a:extLst>
          </p:cNvPr>
          <p:cNvSpPr txBox="1"/>
          <p:nvPr/>
        </p:nvSpPr>
        <p:spPr>
          <a:xfrm>
            <a:off x="871974" y="2929443"/>
            <a:ext cx="9144000"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2400" b="1" i="0" u="none" strike="noStrike" kern="1200" cap="none" spc="0" normalizeH="0" baseline="0" noProof="0">
                <a:ln>
                  <a:noFill/>
                </a:ln>
                <a:solidFill>
                  <a:srgbClr val="CC0033"/>
                </a:solidFill>
                <a:effectLst/>
                <a:uLnTx/>
                <a:uFillTx/>
                <a:latin typeface="Arial"/>
                <a:ea typeface="+mn-ea"/>
                <a:cs typeface="Arial" panose="020B0604020202020204" pitchFamily="34" charset="0"/>
              </a:rPr>
              <a:t>Data </a:t>
            </a:r>
            <a:r>
              <a:rPr kumimoji="0" lang="sv-SE" sz="2400" b="1" i="0" u="none" strike="noStrike" kern="1200" cap="none" spc="0" normalizeH="0" baseline="0" noProof="0" err="1">
                <a:ln>
                  <a:noFill/>
                </a:ln>
                <a:solidFill>
                  <a:srgbClr val="CC0033"/>
                </a:solidFill>
                <a:effectLst/>
                <a:uLnTx/>
                <a:uFillTx/>
                <a:latin typeface="Arial"/>
                <a:ea typeface="+mn-ea"/>
                <a:cs typeface="Arial" panose="020B0604020202020204" pitchFamily="34" charset="0"/>
              </a:rPr>
              <a:t>collection</a:t>
            </a:r>
            <a:endParaRPr kumimoji="0" lang="sv-SE" sz="2400" b="1" i="0" u="none" strike="noStrike" kern="1200" cap="none" spc="0" normalizeH="0" baseline="0" noProof="0">
              <a:ln>
                <a:noFill/>
              </a:ln>
              <a:solidFill>
                <a:srgbClr val="CC0033"/>
              </a:solidFill>
              <a:effectLst/>
              <a:uLnTx/>
              <a:uFillTx/>
              <a:latin typeface="Arial"/>
              <a:ea typeface="+mn-ea"/>
              <a:cs typeface="Arial" panose="020B0604020202020204" pitchFamily="34" charset="0"/>
            </a:endParaRPr>
          </a:p>
        </p:txBody>
      </p:sp>
      <p:sp>
        <p:nvSpPr>
          <p:cNvPr id="3" name="TextBox 2">
            <a:extLst>
              <a:ext uri="{FF2B5EF4-FFF2-40B4-BE49-F238E27FC236}">
                <a16:creationId xmlns:a16="http://schemas.microsoft.com/office/drawing/2014/main" id="{67319821-1568-CA96-9D17-E79E2E7A8784}"/>
              </a:ext>
            </a:extLst>
          </p:cNvPr>
          <p:cNvSpPr txBox="1"/>
          <p:nvPr/>
        </p:nvSpPr>
        <p:spPr>
          <a:xfrm>
            <a:off x="871974" y="3391108"/>
            <a:ext cx="14207606" cy="304698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srgbClr val="2F2F2F"/>
                </a:solidFill>
                <a:effectLst/>
                <a:uLnTx/>
                <a:uFillTx/>
                <a:latin typeface="Calibri" panose="020F0502020204030204" pitchFamily="34" charset="0"/>
                <a:ea typeface="Calibri" panose="020F0502020204030204" pitchFamily="34" charset="0"/>
                <a:cs typeface="+mn-cs"/>
              </a:rPr>
              <a:t>Time consuming data gathering from partners that are not familiar LCA methodology.  Usually the data given contains quantities but not information about the detailed origin and how it was extracted or produced. Furthermore, the cost data is very sensitive information for the sites which makes hard to gather and present data related to costs of the proces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2F2F2F"/>
              </a:solidFill>
              <a:effectLst/>
              <a:uLnTx/>
              <a:uFillTx/>
              <a:latin typeface="Calibri" panose="020F0502020204030204" pitchFamily="34" charset="0"/>
              <a:ea typeface="Calibri" panose="020F050202020403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2F2F2F"/>
              </a:solidFill>
              <a:effectLst/>
              <a:uLnTx/>
              <a:uFillTx/>
              <a:latin typeface="Calibri" panose="020F0502020204030204" pitchFamily="34" charset="0"/>
              <a:ea typeface="Calibri" panose="020F050202020403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srgbClr val="2F2F2F"/>
                </a:solidFill>
                <a:effectLst/>
                <a:uLnTx/>
                <a:uFillTx/>
                <a:latin typeface="Calibri" panose="020F0502020204030204" pitchFamily="34" charset="0"/>
                <a:ea typeface="Calibri" panose="020F0502020204030204" pitchFamily="34" charset="0"/>
                <a:cs typeface="+mn-cs"/>
              </a:rPr>
              <a:t>Since the project was conducted over several years the prices of raw material and energy may vary due to external factors which is hard to predict. This makes it difficult to estimate the real impact of the project actions.    </a:t>
            </a:r>
          </a:p>
        </p:txBody>
      </p:sp>
      <p:sp>
        <p:nvSpPr>
          <p:cNvPr id="15" name="TextBox 22">
            <a:extLst>
              <a:ext uri="{FF2B5EF4-FFF2-40B4-BE49-F238E27FC236}">
                <a16:creationId xmlns:a16="http://schemas.microsoft.com/office/drawing/2014/main" id="{F534CC7B-708F-1883-4B7B-EDC5EE9FAED0}"/>
              </a:ext>
            </a:extLst>
          </p:cNvPr>
          <p:cNvSpPr txBox="1"/>
          <p:nvPr/>
        </p:nvSpPr>
        <p:spPr>
          <a:xfrm>
            <a:off x="871974" y="5164997"/>
            <a:ext cx="9144000"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2400" b="1" i="0" u="none" strike="noStrike" kern="1200" cap="none" spc="0" normalizeH="0" baseline="0" noProof="0" err="1">
                <a:ln>
                  <a:noFill/>
                </a:ln>
                <a:solidFill>
                  <a:srgbClr val="CC0033"/>
                </a:solidFill>
                <a:effectLst/>
                <a:uLnTx/>
                <a:uFillTx/>
                <a:latin typeface="Arial"/>
                <a:ea typeface="+mn-ea"/>
                <a:cs typeface="Arial" panose="020B0604020202020204" pitchFamily="34" charset="0"/>
              </a:rPr>
              <a:t>External</a:t>
            </a:r>
            <a:r>
              <a:rPr kumimoji="0" lang="sv-SE" sz="2400" b="1" i="0" u="none" strike="noStrike" kern="1200" cap="none" spc="0" normalizeH="0" baseline="0" noProof="0">
                <a:ln>
                  <a:noFill/>
                </a:ln>
                <a:solidFill>
                  <a:srgbClr val="CC0033"/>
                </a:solidFill>
                <a:effectLst/>
                <a:uLnTx/>
                <a:uFillTx/>
                <a:latin typeface="Arial"/>
                <a:ea typeface="+mn-ea"/>
                <a:cs typeface="Arial" panose="020B0604020202020204" pitchFamily="34" charset="0"/>
              </a:rPr>
              <a:t> </a:t>
            </a:r>
            <a:r>
              <a:rPr kumimoji="0" lang="sv-SE" sz="2400" b="1" i="0" u="none" strike="noStrike" kern="1200" cap="none" spc="0" normalizeH="0" baseline="0" noProof="0" err="1">
                <a:ln>
                  <a:noFill/>
                </a:ln>
                <a:solidFill>
                  <a:srgbClr val="CC0033"/>
                </a:solidFill>
                <a:effectLst/>
                <a:uLnTx/>
                <a:uFillTx/>
                <a:latin typeface="Arial"/>
                <a:ea typeface="+mn-ea"/>
                <a:cs typeface="Arial" panose="020B0604020202020204" pitchFamily="34" charset="0"/>
              </a:rPr>
              <a:t>factors</a:t>
            </a:r>
            <a:endParaRPr kumimoji="0" lang="sv-SE" sz="2400" b="1" i="0" u="none" strike="noStrike" kern="1200" cap="none" spc="0" normalizeH="0" baseline="0" noProof="0">
              <a:ln>
                <a:noFill/>
              </a:ln>
              <a:solidFill>
                <a:srgbClr val="CC0033"/>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1079646359"/>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uppo 16">
            <a:extLst>
              <a:ext uri="{FF2B5EF4-FFF2-40B4-BE49-F238E27FC236}">
                <a16:creationId xmlns:a16="http://schemas.microsoft.com/office/drawing/2014/main" id="{7F05FA2D-BA17-4C4E-9DAE-36CC81DE9BAA}"/>
              </a:ext>
            </a:extLst>
          </p:cNvPr>
          <p:cNvGrpSpPr/>
          <p:nvPr/>
        </p:nvGrpSpPr>
        <p:grpSpPr>
          <a:xfrm>
            <a:off x="4329156" y="9695736"/>
            <a:ext cx="13958844" cy="666567"/>
            <a:chOff x="4329156" y="9649198"/>
            <a:chExt cx="13958844" cy="666567"/>
          </a:xfrm>
        </p:grpSpPr>
        <p:pic>
          <p:nvPicPr>
            <p:cNvPr id="5" name="Picture 12">
              <a:extLst>
                <a:ext uri="{FF2B5EF4-FFF2-40B4-BE49-F238E27FC236}">
                  <a16:creationId xmlns:a16="http://schemas.microsoft.com/office/drawing/2014/main" id="{00810EF5-3949-4698-A5DE-428CD380175F}"/>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6" name="TextBox 16">
              <a:extLst>
                <a:ext uri="{FF2B5EF4-FFF2-40B4-BE49-F238E27FC236}">
                  <a16:creationId xmlns:a16="http://schemas.microsoft.com/office/drawing/2014/main" id="{EDDD1531-1BDA-4725-B6A3-364F4B7CF76A}"/>
                </a:ext>
              </a:extLst>
            </p:cNvPr>
            <p:cNvSpPr txBox="1"/>
            <p:nvPr/>
          </p:nvSpPr>
          <p:spPr>
            <a:xfrm>
              <a:off x="14400029" y="9732291"/>
              <a:ext cx="3636320" cy="448713"/>
            </a:xfrm>
            <a:prstGeom prst="rect">
              <a:avLst/>
            </a:prstGeom>
          </p:spPr>
          <p:txBody>
            <a:bodyPr wrap="square" lIns="0" tIns="0" rIns="0" bIns="0" rtlCol="0" anchor="t">
              <a:spAutoFit/>
            </a:bodyPr>
            <a:lstStyle/>
            <a:p>
              <a:pPr marL="0" marR="0" lvl="0" indent="0" algn="ctr" defTabSz="914400" rtl="0" eaLnBrk="1" fontAlgn="auto" latinLnBrk="0" hangingPunct="1">
                <a:lnSpc>
                  <a:spcPts val="3919"/>
                </a:lnSpc>
                <a:spcBef>
                  <a:spcPct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OCR A Extended" panose="02010509020102010303" pitchFamily="50" charset="0"/>
                  <a:ea typeface="+mn-ea"/>
                  <a:cs typeface="+mn-cs"/>
                </a:rPr>
                <a:t>www.retrofeed.eu</a:t>
              </a:r>
            </a:p>
          </p:txBody>
        </p:sp>
      </p:grpSp>
      <p:pic>
        <p:nvPicPr>
          <p:cNvPr id="7" name="Picture 12">
            <a:extLst>
              <a:ext uri="{FF2B5EF4-FFF2-40B4-BE49-F238E27FC236}">
                <a16:creationId xmlns:a16="http://schemas.microsoft.com/office/drawing/2014/main" id="{52C35A30-8BA0-4714-8363-E6CE748BA2C3}"/>
              </a:ext>
            </a:extLst>
          </p:cNvPr>
          <p:cNvPicPr>
            <a:picLocks noChangeAspect="1"/>
          </p:cNvPicPr>
          <p:nvPr/>
        </p:nvPicPr>
        <p:blipFill>
          <a:blip r:embed="rId4"/>
          <a:srcRect/>
          <a:stretch>
            <a:fillRect/>
          </a:stretch>
        </p:blipFill>
        <p:spPr>
          <a:xfrm>
            <a:off x="0" y="9464707"/>
            <a:ext cx="3390900" cy="822293"/>
          </a:xfrm>
          <a:prstGeom prst="rect">
            <a:avLst/>
          </a:prstGeom>
        </p:spPr>
      </p:pic>
      <p:grpSp>
        <p:nvGrpSpPr>
          <p:cNvPr id="8" name="Gruppo 2">
            <a:extLst>
              <a:ext uri="{FF2B5EF4-FFF2-40B4-BE49-F238E27FC236}">
                <a16:creationId xmlns:a16="http://schemas.microsoft.com/office/drawing/2014/main" id="{C9C93A65-4067-4ACC-B2C9-8C15277024E4}"/>
              </a:ext>
            </a:extLst>
          </p:cNvPr>
          <p:cNvGrpSpPr/>
          <p:nvPr/>
        </p:nvGrpSpPr>
        <p:grpSpPr>
          <a:xfrm>
            <a:off x="-12" y="138554"/>
            <a:ext cx="18288002" cy="681138"/>
            <a:chOff x="-12" y="138554"/>
            <a:chExt cx="18288002" cy="681138"/>
          </a:xfrm>
        </p:grpSpPr>
        <p:grpSp>
          <p:nvGrpSpPr>
            <p:cNvPr id="9" name="Gruppo 1">
              <a:extLst>
                <a:ext uri="{FF2B5EF4-FFF2-40B4-BE49-F238E27FC236}">
                  <a16:creationId xmlns:a16="http://schemas.microsoft.com/office/drawing/2014/main" id="{A943E672-738C-4FE3-BD35-ACD7A4E4D95E}"/>
                </a:ext>
              </a:extLst>
            </p:cNvPr>
            <p:cNvGrpSpPr/>
            <p:nvPr/>
          </p:nvGrpSpPr>
          <p:grpSpPr>
            <a:xfrm>
              <a:off x="0" y="153125"/>
              <a:ext cx="17907000" cy="666567"/>
              <a:chOff x="0" y="153125"/>
              <a:chExt cx="17907000" cy="666567"/>
            </a:xfrm>
          </p:grpSpPr>
          <p:grpSp>
            <p:nvGrpSpPr>
              <p:cNvPr id="11" name="Gruppo 15">
                <a:extLst>
                  <a:ext uri="{FF2B5EF4-FFF2-40B4-BE49-F238E27FC236}">
                    <a16:creationId xmlns:a16="http://schemas.microsoft.com/office/drawing/2014/main" id="{10037738-5D9A-4755-B52F-99B1FA543ED3}"/>
                  </a:ext>
                </a:extLst>
              </p:cNvPr>
              <p:cNvGrpSpPr/>
              <p:nvPr/>
            </p:nvGrpSpPr>
            <p:grpSpPr>
              <a:xfrm>
                <a:off x="0" y="153125"/>
                <a:ext cx="13958844" cy="666567"/>
                <a:chOff x="0" y="153125"/>
                <a:chExt cx="13958844" cy="666567"/>
              </a:xfrm>
            </p:grpSpPr>
            <p:pic>
              <p:nvPicPr>
                <p:cNvPr id="13" name="Picture 10">
                  <a:extLst>
                    <a:ext uri="{FF2B5EF4-FFF2-40B4-BE49-F238E27FC236}">
                      <a16:creationId xmlns:a16="http://schemas.microsoft.com/office/drawing/2014/main" id="{30234B5E-6FF9-499F-817A-9B69F1CC9911}"/>
                    </a:ext>
                  </a:extLst>
                </p:cNvPr>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4" name="TextBox 11">
                  <a:extLst>
                    <a:ext uri="{FF2B5EF4-FFF2-40B4-BE49-F238E27FC236}">
                      <a16:creationId xmlns:a16="http://schemas.microsoft.com/office/drawing/2014/main" id="{E5F3FE84-033A-4279-AF93-ABD80EC40550}"/>
                    </a:ext>
                  </a:extLst>
                </p:cNvPr>
                <p:cNvSpPr txBox="1"/>
                <p:nvPr/>
              </p:nvSpPr>
              <p:spPr>
                <a:xfrm>
                  <a:off x="228600" y="257980"/>
                  <a:ext cx="9296400" cy="456856"/>
                </a:xfrm>
                <a:prstGeom prst="rect">
                  <a:avLst/>
                </a:prstGeom>
              </p:spPr>
              <p:txBody>
                <a:bodyPr wrap="square" lIns="0" tIns="0" rIns="0" bIns="0" rtlCol="0" anchor="t">
                  <a:spAutoFit/>
                </a:bodyPr>
                <a:lstStyle/>
                <a:p>
                  <a:pPr marL="0" marR="0" lvl="0" indent="0" algn="l" defTabSz="914400" rtl="0" eaLnBrk="1" fontAlgn="auto" latinLnBrk="0" hangingPunct="1">
                    <a:lnSpc>
                      <a:spcPts val="3919"/>
                    </a:lnSpc>
                    <a:spcBef>
                      <a:spcPct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2" name="TextBox 11">
                <a:extLst>
                  <a:ext uri="{FF2B5EF4-FFF2-40B4-BE49-F238E27FC236}">
                    <a16:creationId xmlns:a16="http://schemas.microsoft.com/office/drawing/2014/main" id="{7B4365DB-7AB3-494A-91B9-B5781D39B67B}"/>
                  </a:ext>
                </a:extLst>
              </p:cNvPr>
              <p:cNvSpPr txBox="1"/>
              <p:nvPr/>
            </p:nvSpPr>
            <p:spPr>
              <a:xfrm>
                <a:off x="12154296" y="257980"/>
                <a:ext cx="5752704" cy="456856"/>
              </a:xfrm>
              <a:prstGeom prst="rect">
                <a:avLst/>
              </a:prstGeom>
            </p:spPr>
            <p:txBody>
              <a:bodyPr wrap="square" lIns="0" tIns="0" rIns="0" bIns="0" rtlCol="0" anchor="t">
                <a:spAutoFit/>
              </a:bodyPr>
              <a:lstStyle/>
              <a:p>
                <a:pPr marL="0" marR="0" lvl="0" indent="0" algn="r" defTabSz="914400" rtl="0" eaLnBrk="1" fontAlgn="auto" latinLnBrk="0" hangingPunct="1">
                  <a:lnSpc>
                    <a:spcPts val="3919"/>
                  </a:lnSpc>
                  <a:spcBef>
                    <a:spcPct val="0"/>
                  </a:spcBef>
                  <a:spcAft>
                    <a:spcPts val="0"/>
                  </a:spcAft>
                  <a:buClrTx/>
                  <a:buSzTx/>
                  <a:buFontTx/>
                  <a:buNone/>
                  <a:tabLst/>
                  <a:defRPr/>
                </a:pPr>
                <a:endParaRPr kumimoji="0" lang="en-US" sz="2800" b="0" i="0" u="none" strike="noStrike" kern="1200" cap="none" spc="0" normalizeH="0" baseline="0" noProof="0">
                  <a:ln>
                    <a:noFill/>
                  </a:ln>
                  <a:solidFill>
                    <a:srgbClr val="2F2F2F">
                      <a:lumMod val="75000"/>
                      <a:lumOff val="25000"/>
                    </a:srgbClr>
                  </a:solidFill>
                  <a:effectLst/>
                  <a:uLnTx/>
                  <a:uFillTx/>
                  <a:latin typeface="Arial" panose="020B0604020202020204" pitchFamily="34" charset="0"/>
                  <a:ea typeface="+mn-ea"/>
                  <a:cs typeface="Arial" panose="020B0604020202020204" pitchFamily="34" charset="0"/>
                </a:endParaRPr>
              </a:p>
            </p:txBody>
          </p:sp>
        </p:grpSp>
        <p:sp>
          <p:nvSpPr>
            <p:cNvPr id="10" name="Rettangolo 13">
              <a:extLst>
                <a:ext uri="{FF2B5EF4-FFF2-40B4-BE49-F238E27FC236}">
                  <a16:creationId xmlns:a16="http://schemas.microsoft.com/office/drawing/2014/main" id="{BC76EB51-B4AB-4BAB-AAF6-1883074EEF50}"/>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20" name="TextBox 19">
            <a:extLst>
              <a:ext uri="{FF2B5EF4-FFF2-40B4-BE49-F238E27FC236}">
                <a16:creationId xmlns:a16="http://schemas.microsoft.com/office/drawing/2014/main" id="{B4D68CAB-2F99-49CF-9331-08151EAABA39}"/>
              </a:ext>
            </a:extLst>
          </p:cNvPr>
          <p:cNvSpPr txBox="1"/>
          <p:nvPr/>
        </p:nvSpPr>
        <p:spPr>
          <a:xfrm>
            <a:off x="2797791" y="845040"/>
            <a:ext cx="12714672"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4800" b="1" i="0" u="none" strike="noStrike" kern="1200" cap="none" spc="0" normalizeH="0" baseline="0" noProof="0">
                <a:ln>
                  <a:noFill/>
                </a:ln>
                <a:solidFill>
                  <a:srgbClr val="CC0033"/>
                </a:solidFill>
                <a:effectLst/>
                <a:uLnTx/>
                <a:uFillTx/>
                <a:latin typeface="Arial"/>
                <a:ea typeface="+mn-ea"/>
                <a:cs typeface="Arial" panose="020B0604020202020204" pitchFamily="34" charset="0"/>
              </a:rPr>
              <a:t>Challenges </a:t>
            </a:r>
            <a:r>
              <a:rPr kumimoji="0" lang="sv-SE" sz="4800" b="1" i="0" u="none" strike="noStrike" kern="1200" cap="none" spc="0" normalizeH="0" baseline="0" noProof="0" err="1">
                <a:ln>
                  <a:noFill/>
                </a:ln>
                <a:solidFill>
                  <a:srgbClr val="CC0033"/>
                </a:solidFill>
                <a:effectLst/>
                <a:uLnTx/>
                <a:uFillTx/>
                <a:latin typeface="Arial"/>
                <a:ea typeface="+mn-ea"/>
                <a:cs typeface="Arial" panose="020B0604020202020204" pitchFamily="34" charset="0"/>
              </a:rPr>
              <a:t>with</a:t>
            </a:r>
            <a:r>
              <a:rPr kumimoji="0" lang="sv-SE" sz="4800" b="1" i="0" u="none" strike="noStrike" kern="1200" cap="none" spc="0" normalizeH="0" baseline="0" noProof="0">
                <a:ln>
                  <a:noFill/>
                </a:ln>
                <a:solidFill>
                  <a:srgbClr val="CC0033"/>
                </a:solidFill>
                <a:effectLst/>
                <a:uLnTx/>
                <a:uFillTx/>
                <a:latin typeface="Arial"/>
                <a:ea typeface="+mn-ea"/>
                <a:cs typeface="Arial" panose="020B0604020202020204" pitchFamily="34" charset="0"/>
              </a:rPr>
              <a:t> Social LCA</a:t>
            </a:r>
          </a:p>
        </p:txBody>
      </p:sp>
      <p:sp>
        <p:nvSpPr>
          <p:cNvPr id="23" name="TextBox 22">
            <a:extLst>
              <a:ext uri="{FF2B5EF4-FFF2-40B4-BE49-F238E27FC236}">
                <a16:creationId xmlns:a16="http://schemas.microsoft.com/office/drawing/2014/main" id="{EDADB62C-C9C5-46BD-B3F0-92C52F43256C}"/>
              </a:ext>
            </a:extLst>
          </p:cNvPr>
          <p:cNvSpPr txBox="1"/>
          <p:nvPr/>
        </p:nvSpPr>
        <p:spPr>
          <a:xfrm>
            <a:off x="711550" y="1770106"/>
            <a:ext cx="9144000"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2400" b="1" i="0" u="none" strike="noStrike" kern="1200" cap="none" spc="0" normalizeH="0" baseline="0" noProof="0" err="1">
                <a:ln>
                  <a:noFill/>
                </a:ln>
                <a:solidFill>
                  <a:srgbClr val="CC0033"/>
                </a:solidFill>
                <a:effectLst/>
                <a:uLnTx/>
                <a:uFillTx/>
                <a:latin typeface="Arial"/>
                <a:ea typeface="+mn-ea"/>
                <a:cs typeface="Arial" panose="020B0604020202020204" pitchFamily="34" charset="0"/>
              </a:rPr>
              <a:t>Database</a:t>
            </a:r>
            <a:r>
              <a:rPr kumimoji="0" lang="sv-SE" sz="2400" b="1" i="0" u="none" strike="noStrike" kern="1200" cap="none" spc="0" normalizeH="0" baseline="0" noProof="0">
                <a:ln>
                  <a:noFill/>
                </a:ln>
                <a:solidFill>
                  <a:srgbClr val="CC0033"/>
                </a:solidFill>
                <a:effectLst/>
                <a:uLnTx/>
                <a:uFillTx/>
                <a:latin typeface="Arial"/>
                <a:ea typeface="+mn-ea"/>
                <a:cs typeface="Arial" panose="020B0604020202020204" pitchFamily="34" charset="0"/>
              </a:rPr>
              <a:t> </a:t>
            </a:r>
            <a:r>
              <a:rPr kumimoji="0" lang="sv-SE" sz="2400" b="1" i="0" u="none" strike="noStrike" kern="1200" cap="none" spc="0" normalizeH="0" baseline="0" noProof="0" err="1">
                <a:ln>
                  <a:noFill/>
                </a:ln>
                <a:solidFill>
                  <a:srgbClr val="CC0033"/>
                </a:solidFill>
                <a:effectLst/>
                <a:uLnTx/>
                <a:uFillTx/>
                <a:latin typeface="Arial"/>
                <a:ea typeface="+mn-ea"/>
                <a:cs typeface="Arial" panose="020B0604020202020204" pitchFamily="34" charset="0"/>
              </a:rPr>
              <a:t>challenges</a:t>
            </a:r>
            <a:endParaRPr kumimoji="0" lang="sv-SE" sz="2400" b="1" i="0" u="none" strike="noStrike" kern="1200" cap="none" spc="0" normalizeH="0" baseline="0" noProof="0">
              <a:ln>
                <a:noFill/>
              </a:ln>
              <a:solidFill>
                <a:srgbClr val="CC0033"/>
              </a:solidFill>
              <a:effectLst/>
              <a:uLnTx/>
              <a:uFillTx/>
              <a:latin typeface="Arial"/>
              <a:ea typeface="+mn-ea"/>
              <a:cs typeface="Arial" panose="020B0604020202020204" pitchFamily="34" charset="0"/>
            </a:endParaRPr>
          </a:p>
        </p:txBody>
      </p:sp>
      <p:sp>
        <p:nvSpPr>
          <p:cNvPr id="24" name="TextBox 23">
            <a:extLst>
              <a:ext uri="{FF2B5EF4-FFF2-40B4-BE49-F238E27FC236}">
                <a16:creationId xmlns:a16="http://schemas.microsoft.com/office/drawing/2014/main" id="{937FCD4A-B1F9-4E69-A0BA-D616BDBFF034}"/>
              </a:ext>
            </a:extLst>
          </p:cNvPr>
          <p:cNvSpPr txBox="1"/>
          <p:nvPr/>
        </p:nvSpPr>
        <p:spPr>
          <a:xfrm>
            <a:off x="711550" y="5281838"/>
            <a:ext cx="9144000"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2400" b="1" i="0" u="none" strike="noStrike" kern="1200" cap="none" spc="0" normalizeH="0" baseline="0" noProof="0" dirty="0" err="1">
                <a:ln>
                  <a:noFill/>
                </a:ln>
                <a:solidFill>
                  <a:srgbClr val="CC0033"/>
                </a:solidFill>
                <a:effectLst/>
                <a:uLnTx/>
                <a:uFillTx/>
                <a:latin typeface="Arial"/>
                <a:ea typeface="+mn-ea"/>
                <a:cs typeface="Arial" panose="020B0604020202020204" pitchFamily="34" charset="0"/>
              </a:rPr>
              <a:t>Time</a:t>
            </a:r>
            <a:r>
              <a:rPr kumimoji="0" lang="sv-SE" sz="2400" b="1" i="0" u="none" strike="noStrike" kern="1200" cap="none" spc="0" normalizeH="0" baseline="0" noProof="0" dirty="0">
                <a:ln>
                  <a:noFill/>
                </a:ln>
                <a:solidFill>
                  <a:srgbClr val="CC0033"/>
                </a:solidFill>
                <a:effectLst/>
                <a:uLnTx/>
                <a:uFillTx/>
                <a:latin typeface="Arial"/>
                <a:ea typeface="+mn-ea"/>
                <a:cs typeface="Arial" panose="020B0604020202020204" pitchFamily="34" charset="0"/>
              </a:rPr>
              <a:t> </a:t>
            </a:r>
            <a:r>
              <a:rPr kumimoji="0" lang="sv-SE" sz="2400" b="1" i="0" u="none" strike="noStrike" kern="1200" cap="none" spc="0" normalizeH="0" baseline="0" noProof="0" dirty="0" err="1">
                <a:ln>
                  <a:noFill/>
                </a:ln>
                <a:solidFill>
                  <a:srgbClr val="CC0033"/>
                </a:solidFill>
                <a:effectLst/>
                <a:uLnTx/>
                <a:uFillTx/>
                <a:latin typeface="Arial"/>
                <a:ea typeface="+mn-ea"/>
                <a:cs typeface="Arial" panose="020B0604020202020204" pitchFamily="34" charset="0"/>
              </a:rPr>
              <a:t>consuming</a:t>
            </a:r>
            <a:r>
              <a:rPr kumimoji="0" lang="sv-SE" sz="2400" b="1" i="0" u="none" strike="noStrike" kern="1200" cap="none" spc="0" normalizeH="0" baseline="0" noProof="0" dirty="0">
                <a:ln>
                  <a:noFill/>
                </a:ln>
                <a:solidFill>
                  <a:srgbClr val="CC0033"/>
                </a:solidFill>
                <a:effectLst/>
                <a:uLnTx/>
                <a:uFillTx/>
                <a:latin typeface="Arial"/>
                <a:ea typeface="+mn-ea"/>
                <a:cs typeface="Arial" panose="020B0604020202020204" pitchFamily="34" charset="0"/>
              </a:rPr>
              <a:t> </a:t>
            </a:r>
            <a:r>
              <a:rPr kumimoji="0" lang="sv-SE" sz="2400" b="1" i="0" u="none" strike="noStrike" kern="1200" cap="none" spc="0" normalizeH="0" baseline="0" noProof="0" dirty="0" err="1">
                <a:ln>
                  <a:noFill/>
                </a:ln>
                <a:solidFill>
                  <a:srgbClr val="CC0033"/>
                </a:solidFill>
                <a:effectLst/>
                <a:uLnTx/>
                <a:uFillTx/>
                <a:latin typeface="Arial"/>
                <a:ea typeface="+mn-ea"/>
                <a:cs typeface="Arial" panose="020B0604020202020204" pitchFamily="34" charset="0"/>
              </a:rPr>
              <a:t>analysis</a:t>
            </a:r>
            <a:endParaRPr kumimoji="0" lang="sv-SE" sz="2400" b="1" i="0" u="none" strike="noStrike" kern="1200" cap="none" spc="0" normalizeH="0" baseline="0" noProof="0" dirty="0">
              <a:ln>
                <a:noFill/>
              </a:ln>
              <a:solidFill>
                <a:srgbClr val="CC0033"/>
              </a:solidFill>
              <a:effectLst/>
              <a:uLnTx/>
              <a:uFillTx/>
              <a:latin typeface="Arial"/>
              <a:ea typeface="+mn-ea"/>
              <a:cs typeface="Arial" panose="020B0604020202020204" pitchFamily="34" charset="0"/>
            </a:endParaRPr>
          </a:p>
        </p:txBody>
      </p:sp>
      <p:sp>
        <p:nvSpPr>
          <p:cNvPr id="3" name="TextBox 2">
            <a:extLst>
              <a:ext uri="{FF2B5EF4-FFF2-40B4-BE49-F238E27FC236}">
                <a16:creationId xmlns:a16="http://schemas.microsoft.com/office/drawing/2014/main" id="{67319821-1568-CA96-9D17-E79E2E7A8784}"/>
              </a:ext>
            </a:extLst>
          </p:cNvPr>
          <p:cNvSpPr txBox="1"/>
          <p:nvPr/>
        </p:nvSpPr>
        <p:spPr>
          <a:xfrm>
            <a:off x="711550" y="2225107"/>
            <a:ext cx="16470664" cy="1323439"/>
          </a:xfrm>
          <a:prstGeom prst="rect">
            <a:avLst/>
          </a:prstGeom>
          <a:noFill/>
        </p:spPr>
        <p:txBody>
          <a:bodyPr wrap="square">
            <a:spAutoFit/>
          </a:bodyPr>
          <a:lstStyle/>
          <a:p>
            <a:pPr marL="342900" marR="0" lvl="0" indent="-34290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GB" sz="2000" b="0" i="0" u="none" strike="noStrike" kern="1200" cap="none" spc="0" normalizeH="0" baseline="0" noProof="0">
                <a:ln>
                  <a:noFill/>
                </a:ln>
                <a:solidFill>
                  <a:srgbClr val="2F2F2F"/>
                </a:solidFill>
                <a:effectLst/>
                <a:uLnTx/>
                <a:uFillTx/>
                <a:latin typeface="Arial"/>
                <a:ea typeface="Times New Roman" panose="02020603050405020304" pitchFamily="18" charset="0"/>
                <a:cs typeface="+mn-cs"/>
              </a:rPr>
              <a:t>Data collection was a challenge similar to the ones for LCA/LCC since it is based on LCA/LCC data.  </a:t>
            </a:r>
            <a:endParaRPr kumimoji="0" lang="sv-SE" sz="2000" b="0" i="0" u="none" strike="noStrike" kern="1200" cap="none" spc="0" normalizeH="0" baseline="0" noProof="0">
              <a:ln>
                <a:noFill/>
              </a:ln>
              <a:solidFill>
                <a:srgbClr val="2F2F2F"/>
              </a:solidFill>
              <a:effectLst/>
              <a:uLnTx/>
              <a:uFillTx/>
              <a:latin typeface="Arial"/>
              <a:ea typeface="Calibri" panose="020F0502020204030204" pitchFamily="34" charset="0"/>
              <a:cs typeface="+mn-cs"/>
            </a:endParaRPr>
          </a:p>
          <a:p>
            <a:pPr marL="342900" marR="0" lvl="0" indent="-34290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2000" b="0" i="0" u="none" strike="noStrike" kern="1200" cap="none" spc="0" normalizeH="0" baseline="0" noProof="0">
                <a:ln>
                  <a:noFill/>
                </a:ln>
                <a:solidFill>
                  <a:srgbClr val="2F2F2F"/>
                </a:solidFill>
                <a:effectLst/>
                <a:uLnTx/>
                <a:uFillTx/>
                <a:latin typeface="Arial"/>
                <a:ea typeface="Times New Roman" panose="02020603050405020304" pitchFamily="18" charset="0"/>
                <a:cs typeface="+mn-cs"/>
              </a:rPr>
              <a:t>Constructing relevant reference scales specific to each site under investigation has proven to be challenging. These scales need to account for industry-specific factors, local and national standards, as well as a global perspective.</a:t>
            </a:r>
            <a:r>
              <a:rPr kumimoji="0" lang="en-US" sz="2000" b="0" i="0" u="none" strike="noStrike" kern="1200" cap="none" spc="0" normalizeH="0" baseline="0" noProof="0">
                <a:ln>
                  <a:noFill/>
                </a:ln>
                <a:solidFill>
                  <a:srgbClr val="2F2F2F"/>
                </a:solidFill>
                <a:effectLst/>
                <a:uLnTx/>
                <a:uFillTx/>
                <a:latin typeface="Calibri" panose="020F0502020204030204" pitchFamily="34" charset="0"/>
                <a:ea typeface="Calibri" panose="020F0502020204030204" pitchFamily="34" charset="0"/>
                <a:cs typeface="+mn-cs"/>
              </a:rPr>
              <a:t> </a:t>
            </a:r>
            <a:r>
              <a:rPr kumimoji="0" lang="en-US" sz="2000" b="0" i="0" u="none" strike="noStrike" kern="1200" cap="none" spc="0" normalizeH="0" baseline="0" noProof="0">
                <a:ln>
                  <a:noFill/>
                </a:ln>
                <a:solidFill>
                  <a:srgbClr val="2F2F2F"/>
                </a:solidFill>
                <a:effectLst/>
                <a:uLnTx/>
                <a:uFillTx/>
                <a:latin typeface="Arial"/>
                <a:ea typeface="+mn-ea"/>
                <a:cs typeface="+mn-cs"/>
              </a:rPr>
              <a:t>However, this challenge is likely to diminish over time as the databank of reference scales continues to grow.</a:t>
            </a:r>
          </a:p>
        </p:txBody>
      </p:sp>
      <p:sp>
        <p:nvSpPr>
          <p:cNvPr id="15" name="textruta 14">
            <a:extLst>
              <a:ext uri="{FF2B5EF4-FFF2-40B4-BE49-F238E27FC236}">
                <a16:creationId xmlns:a16="http://schemas.microsoft.com/office/drawing/2014/main" id="{1FA53D53-706E-818C-EE0F-D206AE3C0F9D}"/>
              </a:ext>
            </a:extLst>
          </p:cNvPr>
          <p:cNvSpPr txBox="1"/>
          <p:nvPr/>
        </p:nvSpPr>
        <p:spPr>
          <a:xfrm>
            <a:off x="711549" y="4173732"/>
            <a:ext cx="16470663" cy="1015663"/>
          </a:xfrm>
          <a:prstGeom prst="rect">
            <a:avLst/>
          </a:prstGeom>
          <a:noFill/>
        </p:spPr>
        <p:txBody>
          <a:bodyPr wrap="square">
            <a:spAutoFit/>
          </a:bodyPr>
          <a:lstStyle/>
          <a:p>
            <a:pPr marL="342900" marR="0" lvl="0" indent="-34290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2000" b="0" i="0" u="none" strike="noStrike" kern="1200" cap="none" spc="0" normalizeH="0" baseline="0" noProof="0">
                <a:ln>
                  <a:noFill/>
                </a:ln>
                <a:solidFill>
                  <a:srgbClr val="2F2F2F"/>
                </a:solidFill>
                <a:effectLst/>
                <a:uLnTx/>
                <a:uFillTx/>
                <a:latin typeface="Arial"/>
                <a:ea typeface="Times New Roman" panose="02020603050405020304" pitchFamily="18" charset="0"/>
                <a:cs typeface="+mn-cs"/>
              </a:rPr>
              <a:t>Limited availability of site-specific social data makes things hard to understand. The cultural differences has not been adequately considered between different countries. For instance, it's essential to understand if the local community is comfortable with voicing complaints or to what degree they are annoyed by certain issues. Addressing these cultural nuances may require further research and resource allocation.</a:t>
            </a:r>
            <a:endParaRPr kumimoji="0" lang="sv-SE" sz="2000" b="0" i="0" u="none" strike="noStrike" kern="1200" cap="none" spc="0" normalizeH="0" baseline="0" noProof="0">
              <a:ln>
                <a:noFill/>
              </a:ln>
              <a:solidFill>
                <a:srgbClr val="2F2F2F"/>
              </a:solidFill>
              <a:effectLst/>
              <a:uLnTx/>
              <a:uFillTx/>
              <a:latin typeface="Arial"/>
              <a:ea typeface="Calibri" panose="020F0502020204030204" pitchFamily="34" charset="0"/>
              <a:cs typeface="+mn-cs"/>
            </a:endParaRPr>
          </a:p>
        </p:txBody>
      </p:sp>
      <p:sp>
        <p:nvSpPr>
          <p:cNvPr id="22" name="TextBox 22">
            <a:extLst>
              <a:ext uri="{FF2B5EF4-FFF2-40B4-BE49-F238E27FC236}">
                <a16:creationId xmlns:a16="http://schemas.microsoft.com/office/drawing/2014/main" id="{9AC9BB84-E34E-129E-68A7-446C562EB0EC}"/>
              </a:ext>
            </a:extLst>
          </p:cNvPr>
          <p:cNvSpPr txBox="1"/>
          <p:nvPr/>
        </p:nvSpPr>
        <p:spPr>
          <a:xfrm>
            <a:off x="711550" y="3659907"/>
            <a:ext cx="9144000"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2400" b="1" i="0" u="none" strike="noStrike" kern="1200" cap="none" spc="0" normalizeH="0" baseline="0" noProof="0" dirty="0">
                <a:ln>
                  <a:noFill/>
                </a:ln>
                <a:solidFill>
                  <a:srgbClr val="CC0033"/>
                </a:solidFill>
                <a:effectLst/>
                <a:uLnTx/>
                <a:uFillTx/>
                <a:latin typeface="Arial"/>
                <a:ea typeface="+mn-ea"/>
                <a:cs typeface="Arial" panose="020B0604020202020204" pitchFamily="34" charset="0"/>
              </a:rPr>
              <a:t>Site </a:t>
            </a:r>
            <a:r>
              <a:rPr kumimoji="0" lang="sv-SE" sz="2400" b="1" i="0" u="none" strike="noStrike" kern="1200" cap="none" spc="0" normalizeH="0" baseline="0" noProof="0" dirty="0" err="1">
                <a:ln>
                  <a:noFill/>
                </a:ln>
                <a:solidFill>
                  <a:srgbClr val="CC0033"/>
                </a:solidFill>
                <a:effectLst/>
                <a:uLnTx/>
                <a:uFillTx/>
                <a:latin typeface="Arial"/>
                <a:ea typeface="+mn-ea"/>
                <a:cs typeface="Arial" panose="020B0604020202020204" pitchFamily="34" charset="0"/>
              </a:rPr>
              <a:t>specific</a:t>
            </a:r>
            <a:r>
              <a:rPr kumimoji="0" lang="sv-SE" sz="2400" b="1" i="0" u="none" strike="noStrike" kern="1200" cap="none" spc="0" normalizeH="0" baseline="0" noProof="0" dirty="0">
                <a:ln>
                  <a:noFill/>
                </a:ln>
                <a:solidFill>
                  <a:srgbClr val="CC0033"/>
                </a:solidFill>
                <a:effectLst/>
                <a:uLnTx/>
                <a:uFillTx/>
                <a:latin typeface="Arial"/>
                <a:ea typeface="+mn-ea"/>
                <a:cs typeface="Arial" panose="020B0604020202020204" pitchFamily="34" charset="0"/>
              </a:rPr>
              <a:t> </a:t>
            </a:r>
            <a:r>
              <a:rPr kumimoji="0" lang="sv-SE" sz="2400" b="1" i="0" u="none" strike="noStrike" kern="1200" cap="none" spc="0" normalizeH="0" baseline="0" noProof="0" dirty="0" err="1">
                <a:ln>
                  <a:noFill/>
                </a:ln>
                <a:solidFill>
                  <a:srgbClr val="CC0033"/>
                </a:solidFill>
                <a:effectLst/>
                <a:uLnTx/>
                <a:uFillTx/>
                <a:latin typeface="Arial"/>
                <a:ea typeface="+mn-ea"/>
                <a:cs typeface="Arial" panose="020B0604020202020204" pitchFamily="34" charset="0"/>
              </a:rPr>
              <a:t>challenges</a:t>
            </a:r>
            <a:endParaRPr kumimoji="0" lang="sv-SE" sz="2400" b="1" i="0" u="none" strike="noStrike" kern="1200" cap="none" spc="0" normalizeH="0" baseline="0" noProof="0" dirty="0">
              <a:ln>
                <a:noFill/>
              </a:ln>
              <a:solidFill>
                <a:srgbClr val="CC0033"/>
              </a:solidFill>
              <a:effectLst/>
              <a:uLnTx/>
              <a:uFillTx/>
              <a:latin typeface="Arial"/>
              <a:ea typeface="+mn-ea"/>
              <a:cs typeface="Arial" panose="020B0604020202020204" pitchFamily="34" charset="0"/>
            </a:endParaRPr>
          </a:p>
        </p:txBody>
      </p:sp>
      <p:sp>
        <p:nvSpPr>
          <p:cNvPr id="27" name="textruta 26">
            <a:extLst>
              <a:ext uri="{FF2B5EF4-FFF2-40B4-BE49-F238E27FC236}">
                <a16:creationId xmlns:a16="http://schemas.microsoft.com/office/drawing/2014/main" id="{7FF9EB23-9B72-48FD-D353-3238086E3D7E}"/>
              </a:ext>
            </a:extLst>
          </p:cNvPr>
          <p:cNvSpPr txBox="1"/>
          <p:nvPr/>
        </p:nvSpPr>
        <p:spPr>
          <a:xfrm>
            <a:off x="711550" y="5804579"/>
            <a:ext cx="16470662"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2F2F2F"/>
                </a:solidFill>
                <a:effectLst/>
                <a:uLnTx/>
                <a:uFillTx/>
                <a:latin typeface="Arial"/>
                <a:ea typeface="Times New Roman" panose="02020603050405020304" pitchFamily="18" charset="0"/>
                <a:cs typeface="+mn-cs"/>
              </a:rPr>
              <a:t>- Interview results are highly dependent to transcriptions and the same people should assess the results together. The time for the study took more time than expected. </a:t>
            </a:r>
            <a:endParaRPr kumimoji="0" lang="sv-SE" sz="2000" b="0" i="0" u="none" strike="noStrike" kern="1200" cap="none" spc="0" normalizeH="0" baseline="0" noProof="0">
              <a:ln>
                <a:noFill/>
              </a:ln>
              <a:solidFill>
                <a:srgbClr val="2F2F2F"/>
              </a:solidFill>
              <a:effectLst/>
              <a:uLnTx/>
              <a:uFillTx/>
              <a:latin typeface="Arial"/>
              <a:ea typeface="+mn-ea"/>
              <a:cs typeface="+mn-cs"/>
            </a:endParaRPr>
          </a:p>
        </p:txBody>
      </p:sp>
      <p:sp>
        <p:nvSpPr>
          <p:cNvPr id="28" name="TextBox 23">
            <a:extLst>
              <a:ext uri="{FF2B5EF4-FFF2-40B4-BE49-F238E27FC236}">
                <a16:creationId xmlns:a16="http://schemas.microsoft.com/office/drawing/2014/main" id="{83964A5D-72C9-C07C-7366-6E40FD38DD67}"/>
              </a:ext>
            </a:extLst>
          </p:cNvPr>
          <p:cNvSpPr txBox="1"/>
          <p:nvPr/>
        </p:nvSpPr>
        <p:spPr>
          <a:xfrm>
            <a:off x="711550" y="6600609"/>
            <a:ext cx="9144000"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2400" b="1" i="0" u="none" strike="noStrike" kern="1200" cap="none" spc="0" normalizeH="0" baseline="0" noProof="0" err="1">
                <a:ln>
                  <a:noFill/>
                </a:ln>
                <a:solidFill>
                  <a:srgbClr val="CC0033"/>
                </a:solidFill>
                <a:effectLst/>
                <a:uLnTx/>
                <a:uFillTx/>
                <a:latin typeface="Arial"/>
                <a:ea typeface="+mn-ea"/>
                <a:cs typeface="Arial" panose="020B0604020202020204" pitchFamily="34" charset="0"/>
              </a:rPr>
              <a:t>Methodology</a:t>
            </a:r>
            <a:endParaRPr kumimoji="0" lang="sv-SE" sz="2400" b="1" i="0" u="none" strike="noStrike" kern="1200" cap="none" spc="0" normalizeH="0" baseline="0" noProof="0">
              <a:ln>
                <a:noFill/>
              </a:ln>
              <a:solidFill>
                <a:srgbClr val="CC0033"/>
              </a:solidFill>
              <a:effectLst/>
              <a:uLnTx/>
              <a:uFillTx/>
              <a:latin typeface="Arial"/>
              <a:ea typeface="+mn-ea"/>
              <a:cs typeface="Arial" panose="020B0604020202020204" pitchFamily="34" charset="0"/>
            </a:endParaRPr>
          </a:p>
        </p:txBody>
      </p:sp>
      <p:sp>
        <p:nvSpPr>
          <p:cNvPr id="29" name="textruta 28">
            <a:extLst>
              <a:ext uri="{FF2B5EF4-FFF2-40B4-BE49-F238E27FC236}">
                <a16:creationId xmlns:a16="http://schemas.microsoft.com/office/drawing/2014/main" id="{2068B350-D30F-5860-65A8-406EBA210FFD}"/>
              </a:ext>
            </a:extLst>
          </p:cNvPr>
          <p:cNvSpPr txBox="1"/>
          <p:nvPr/>
        </p:nvSpPr>
        <p:spPr>
          <a:xfrm>
            <a:off x="711549" y="7100684"/>
            <a:ext cx="16470661" cy="224676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2F2F2F"/>
                </a:solidFill>
                <a:effectLst/>
                <a:uLnTx/>
                <a:uFillTx/>
                <a:latin typeface="Arial"/>
                <a:ea typeface="Times New Roman" panose="02020603050405020304" pitchFamily="18" charset="0"/>
                <a:cs typeface="+mn-cs"/>
              </a:rPr>
              <a:t>- Many of the social indicators are related to the entire workplace and do not specifically address individual processes. Consequently, the methodology lacks a clear way to assess changes in specific processes. </a:t>
            </a:r>
            <a:endParaRPr kumimoji="0" lang="sv-SE" sz="2000" b="0" i="0" u="none" strike="noStrike" kern="1200" cap="none" spc="0" normalizeH="0" baseline="0" noProof="0">
              <a:ln>
                <a:noFill/>
              </a:ln>
              <a:solidFill>
                <a:srgbClr val="2F2F2F"/>
              </a:solidFill>
              <a:effectLst/>
              <a:uLnTx/>
              <a:uFillTx/>
              <a:latin typeface="Arial"/>
              <a:ea typeface="Calibri" panose="020F050202020403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2F2F2F"/>
                </a:solidFill>
                <a:effectLst/>
                <a:uLnTx/>
                <a:uFillTx/>
                <a:latin typeface="Arial"/>
                <a:ea typeface="Times New Roman" panose="02020603050405020304" pitchFamily="18" charset="0"/>
                <a:cs typeface="+mn-cs"/>
              </a:rPr>
              <a:t>- There is a scarcity of literature examples that compare the social aspects of process changes before and after implementation, especially in the context of retrofitting. To conduct the S-LCA a new set of questions to understand the post-RETROFEED situation had to developed .</a:t>
            </a:r>
            <a:endParaRPr kumimoji="0" lang="sv-SE" sz="2000" b="0" i="0" u="none" strike="noStrike" kern="1200" cap="none" spc="0" normalizeH="0" baseline="0" noProof="0">
              <a:ln>
                <a:noFill/>
              </a:ln>
              <a:solidFill>
                <a:srgbClr val="2F2F2F"/>
              </a:solidFill>
              <a:effectLst/>
              <a:uLnTx/>
              <a:uFillTx/>
              <a:latin typeface="Arial"/>
              <a:ea typeface="Times New Roman" panose="02020603050405020304" pitchFamily="18"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2000" b="0" i="0" u="none" strike="noStrike" kern="1200" cap="none" spc="0" normalizeH="0" baseline="0" noProof="0">
                <a:ln>
                  <a:noFill/>
                </a:ln>
                <a:solidFill>
                  <a:srgbClr val="2F2F2F"/>
                </a:solidFill>
                <a:effectLst/>
                <a:uLnTx/>
                <a:uFillTx/>
                <a:latin typeface="Arial"/>
                <a:ea typeface="Times New Roman" panose="02020603050405020304" pitchFamily="18" charset="0"/>
                <a:cs typeface="+mn-cs"/>
              </a:rPr>
              <a:t>- </a:t>
            </a:r>
            <a:r>
              <a:rPr kumimoji="0" lang="en-US" sz="2000" b="0" i="0" u="none" strike="noStrike" kern="1200" cap="none" spc="0" normalizeH="0" baseline="0" noProof="0">
                <a:ln>
                  <a:noFill/>
                </a:ln>
                <a:solidFill>
                  <a:srgbClr val="2F2F2F"/>
                </a:solidFill>
                <a:effectLst/>
                <a:uLnTx/>
                <a:uFillTx/>
                <a:latin typeface="Arial"/>
                <a:ea typeface="Times New Roman" panose="02020603050405020304" pitchFamily="18" charset="0"/>
                <a:cs typeface="+mn-cs"/>
              </a:rPr>
              <a:t>Determining how to assess changes in social impacts resulting from retrofitting activities was challenging, as these implementations are relatively new, and the full scope of their social impacts has yet to be realized. </a:t>
            </a:r>
            <a:endParaRPr kumimoji="0" lang="sv-SE" sz="2000" b="0" i="0" u="none" strike="noStrike" kern="1200" cap="none" spc="0" normalizeH="0" baseline="0" noProof="0">
              <a:ln>
                <a:noFill/>
              </a:ln>
              <a:solidFill>
                <a:srgbClr val="2F2F2F"/>
              </a:solidFill>
              <a:effectLst/>
              <a:uLnTx/>
              <a:uFillTx/>
              <a:latin typeface="Arial"/>
              <a:ea typeface="Calibri" panose="020F050202020403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2000" b="0" i="0" u="none" strike="noStrike" kern="1200" cap="none" spc="0" normalizeH="0" baseline="0" noProof="0">
              <a:ln>
                <a:noFill/>
              </a:ln>
              <a:solidFill>
                <a:srgbClr val="2F2F2F"/>
              </a:solidFill>
              <a:effectLst/>
              <a:uLnTx/>
              <a:uFillTx/>
              <a:latin typeface="Arial"/>
              <a:ea typeface="+mn-ea"/>
              <a:cs typeface="+mn-cs"/>
            </a:endParaRPr>
          </a:p>
        </p:txBody>
      </p:sp>
    </p:spTree>
    <p:extLst>
      <p:ext uri="{BB962C8B-B14F-4D97-AF65-F5344CB8AC3E}">
        <p14:creationId xmlns:p14="http://schemas.microsoft.com/office/powerpoint/2010/main" val="3622506706"/>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58" name="Rectangle 57">
            <a:extLst>
              <a:ext uri="{FF2B5EF4-FFF2-40B4-BE49-F238E27FC236}">
                <a16:creationId xmlns:a16="http://schemas.microsoft.com/office/drawing/2014/main" id="{289ED1AA-8684-4D37-B208-8777E1A7780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8283428" cy="10287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0" name="Graphic 33">
            <a:extLst>
              <a:ext uri="{FF2B5EF4-FFF2-40B4-BE49-F238E27FC236}">
                <a16:creationId xmlns:a16="http://schemas.microsoft.com/office/drawing/2014/main" id="{4180E01B-B1F4-437C-807D-1C930718EE6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966176" y="0"/>
            <a:ext cx="14355646" cy="10287000"/>
          </a:xfrm>
          <a:custGeom>
            <a:avLst/>
            <a:gdLst>
              <a:gd name="connsiteX0" fmla="*/ 7178288 w 7187261"/>
              <a:gd name="connsiteY0" fmla="*/ 2604802 h 5150263"/>
              <a:gd name="connsiteX1" fmla="*/ 7169335 w 7187261"/>
              <a:gd name="connsiteY1" fmla="*/ 2328577 h 5150263"/>
              <a:gd name="connsiteX2" fmla="*/ 7060845 w 7187261"/>
              <a:gd name="connsiteY2" fmla="*/ 1661160 h 5150263"/>
              <a:gd name="connsiteX3" fmla="*/ 6212263 w 7187261"/>
              <a:gd name="connsiteY3" fmla="*/ 243840 h 5150263"/>
              <a:gd name="connsiteX4" fmla="*/ 5953564 w 7187261"/>
              <a:gd name="connsiteY4" fmla="*/ 0 h 5150263"/>
              <a:gd name="connsiteX5" fmla="*/ 1408615 w 7187261"/>
              <a:gd name="connsiteY5" fmla="*/ 0 h 5150263"/>
              <a:gd name="connsiteX6" fmla="*/ 805111 w 7187261"/>
              <a:gd name="connsiteY6" fmla="*/ 676275 h 5150263"/>
              <a:gd name="connsiteX7" fmla="*/ 104928 w 7187261"/>
              <a:gd name="connsiteY7" fmla="*/ 2183035 h 5150263"/>
              <a:gd name="connsiteX8" fmla="*/ 51588 w 7187261"/>
              <a:gd name="connsiteY8" fmla="*/ 2400014 h 5150263"/>
              <a:gd name="connsiteX9" fmla="*/ 41301 w 7187261"/>
              <a:gd name="connsiteY9" fmla="*/ 2424208 h 5150263"/>
              <a:gd name="connsiteX10" fmla="*/ 119692 w 7187261"/>
              <a:gd name="connsiteY10" fmla="*/ 1834801 h 5150263"/>
              <a:gd name="connsiteX11" fmla="*/ 870071 w 7187261"/>
              <a:gd name="connsiteY11" fmla="*/ 462248 h 5150263"/>
              <a:gd name="connsiteX12" fmla="*/ 1389279 w 7187261"/>
              <a:gd name="connsiteY12" fmla="*/ 476 h 5150263"/>
              <a:gd name="connsiteX13" fmla="*/ 1320223 w 7187261"/>
              <a:gd name="connsiteY13" fmla="*/ 476 h 5150263"/>
              <a:gd name="connsiteX14" fmla="*/ 423158 w 7187261"/>
              <a:gd name="connsiteY14" fmla="*/ 989743 h 5150263"/>
              <a:gd name="connsiteX15" fmla="*/ 25585 w 7187261"/>
              <a:gd name="connsiteY15" fmla="*/ 2113693 h 5150263"/>
              <a:gd name="connsiteX16" fmla="*/ 2344 w 7187261"/>
              <a:gd name="connsiteY16" fmla="*/ 2725865 h 5150263"/>
              <a:gd name="connsiteX17" fmla="*/ 447256 w 7187261"/>
              <a:gd name="connsiteY17" fmla="*/ 4210717 h 5150263"/>
              <a:gd name="connsiteX18" fmla="*/ 1138962 w 7187261"/>
              <a:gd name="connsiteY18" fmla="*/ 4988910 h 5150263"/>
              <a:gd name="connsiteX19" fmla="*/ 1348512 w 7187261"/>
              <a:gd name="connsiteY19" fmla="*/ 5146834 h 5150263"/>
              <a:gd name="connsiteX20" fmla="*/ 1422712 w 7187261"/>
              <a:gd name="connsiteY20" fmla="*/ 5146834 h 5150263"/>
              <a:gd name="connsiteX21" fmla="*/ 480594 w 7187261"/>
              <a:gd name="connsiteY21" fmla="*/ 4187952 h 5150263"/>
              <a:gd name="connsiteX22" fmla="*/ 398679 w 7187261"/>
              <a:gd name="connsiteY22" fmla="*/ 4046125 h 5150263"/>
              <a:gd name="connsiteX23" fmla="*/ 411823 w 7187261"/>
              <a:gd name="connsiteY23" fmla="*/ 4053078 h 5150263"/>
              <a:gd name="connsiteX24" fmla="*/ 1439380 w 7187261"/>
              <a:gd name="connsiteY24" fmla="*/ 5147405 h 5150263"/>
              <a:gd name="connsiteX25" fmla="*/ 5710010 w 7187261"/>
              <a:gd name="connsiteY25" fmla="*/ 5150263 h 5150263"/>
              <a:gd name="connsiteX26" fmla="*/ 5999665 w 7187261"/>
              <a:gd name="connsiteY26" fmla="*/ 4910900 h 5150263"/>
              <a:gd name="connsiteX27" fmla="*/ 6954165 w 7187261"/>
              <a:gd name="connsiteY27" fmla="*/ 3545777 h 5150263"/>
              <a:gd name="connsiteX28" fmla="*/ 7137712 w 7187261"/>
              <a:gd name="connsiteY28" fmla="*/ 2799207 h 5150263"/>
              <a:gd name="connsiteX29" fmla="*/ 7142951 w 7187261"/>
              <a:gd name="connsiteY29" fmla="*/ 2754535 h 5150263"/>
              <a:gd name="connsiteX30" fmla="*/ 7149428 w 7187261"/>
              <a:gd name="connsiteY30" fmla="*/ 2774823 h 5150263"/>
              <a:gd name="connsiteX31" fmla="*/ 7066465 w 7187261"/>
              <a:gd name="connsiteY31" fmla="*/ 3465672 h 5150263"/>
              <a:gd name="connsiteX32" fmla="*/ 6452578 w 7187261"/>
              <a:gd name="connsiteY32" fmla="*/ 4552760 h 5150263"/>
              <a:gd name="connsiteX33" fmla="*/ 5752110 w 7187261"/>
              <a:gd name="connsiteY33" fmla="*/ 5150263 h 5150263"/>
              <a:gd name="connsiteX34" fmla="*/ 5827643 w 7187261"/>
              <a:gd name="connsiteY34" fmla="*/ 5150263 h 5150263"/>
              <a:gd name="connsiteX35" fmla="*/ 6642793 w 7187261"/>
              <a:gd name="connsiteY35" fmla="*/ 4389406 h 5150263"/>
              <a:gd name="connsiteX36" fmla="*/ 7102469 w 7187261"/>
              <a:gd name="connsiteY36" fmla="*/ 3490817 h 5150263"/>
              <a:gd name="connsiteX37" fmla="*/ 7187242 w 7187261"/>
              <a:gd name="connsiteY37" fmla="*/ 2990183 h 5150263"/>
              <a:gd name="connsiteX38" fmla="*/ 7178288 w 7187261"/>
              <a:gd name="connsiteY38" fmla="*/ 2604802 h 5150263"/>
              <a:gd name="connsiteX39" fmla="*/ 6342565 w 7187261"/>
              <a:gd name="connsiteY39" fmla="*/ 441389 h 5150263"/>
              <a:gd name="connsiteX40" fmla="*/ 7126567 w 7187261"/>
              <a:gd name="connsiteY40" fmla="*/ 2355056 h 5150263"/>
              <a:gd name="connsiteX41" fmla="*/ 6342565 w 7187261"/>
              <a:gd name="connsiteY41" fmla="*/ 441389 h 5150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187261" h="5150263">
                <a:moveTo>
                  <a:pt x="7178288" y="2604802"/>
                </a:moveTo>
                <a:cubicBezTo>
                  <a:pt x="7168763" y="2513076"/>
                  <a:pt x="7174478" y="2420684"/>
                  <a:pt x="7169335" y="2328577"/>
                </a:cubicBezTo>
                <a:cubicBezTo>
                  <a:pt x="7156952" y="2102882"/>
                  <a:pt x="7120586" y="1879149"/>
                  <a:pt x="7060845" y="1661160"/>
                </a:cubicBezTo>
                <a:cubicBezTo>
                  <a:pt x="6910588" y="1121007"/>
                  <a:pt x="6617428" y="631374"/>
                  <a:pt x="6212263" y="243840"/>
                </a:cubicBezTo>
                <a:cubicBezTo>
                  <a:pt x="6126538" y="162496"/>
                  <a:pt x="6040813" y="80201"/>
                  <a:pt x="5953564" y="0"/>
                </a:cubicBezTo>
                <a:lnTo>
                  <a:pt x="1408615" y="0"/>
                </a:lnTo>
                <a:cubicBezTo>
                  <a:pt x="1180967" y="200316"/>
                  <a:pt x="978332" y="427387"/>
                  <a:pt x="805111" y="676275"/>
                </a:cubicBezTo>
                <a:cubicBezTo>
                  <a:pt x="481261" y="1136523"/>
                  <a:pt x="252089" y="1640872"/>
                  <a:pt x="104928" y="2183035"/>
                </a:cubicBezTo>
                <a:cubicBezTo>
                  <a:pt x="85878" y="2254853"/>
                  <a:pt x="69495" y="2327720"/>
                  <a:pt x="51588" y="2400014"/>
                </a:cubicBezTo>
                <a:cubicBezTo>
                  <a:pt x="49683" y="2407634"/>
                  <a:pt x="51588" y="2416969"/>
                  <a:pt x="41301" y="2424208"/>
                </a:cubicBezTo>
                <a:cubicBezTo>
                  <a:pt x="45900" y="2225469"/>
                  <a:pt x="72186" y="2027834"/>
                  <a:pt x="119692" y="1834801"/>
                </a:cubicBezTo>
                <a:cubicBezTo>
                  <a:pt x="247993" y="1310926"/>
                  <a:pt x="506121" y="857726"/>
                  <a:pt x="870071" y="462248"/>
                </a:cubicBezTo>
                <a:cubicBezTo>
                  <a:pt x="1027729" y="291823"/>
                  <a:pt x="1201617" y="137169"/>
                  <a:pt x="1389279" y="476"/>
                </a:cubicBezTo>
                <a:lnTo>
                  <a:pt x="1320223" y="476"/>
                </a:lnTo>
                <a:cubicBezTo>
                  <a:pt x="960844" y="274320"/>
                  <a:pt x="656330" y="599123"/>
                  <a:pt x="423158" y="989743"/>
                </a:cubicBezTo>
                <a:cubicBezTo>
                  <a:pt x="215608" y="1337596"/>
                  <a:pt x="80258" y="1711357"/>
                  <a:pt x="25585" y="2113693"/>
                </a:cubicBezTo>
                <a:cubicBezTo>
                  <a:pt x="-2705" y="2316480"/>
                  <a:pt x="-2228" y="2521077"/>
                  <a:pt x="2344" y="2725865"/>
                </a:cubicBezTo>
                <a:cubicBezTo>
                  <a:pt x="14155" y="3261932"/>
                  <a:pt x="170650" y="3754565"/>
                  <a:pt x="447256" y="4210717"/>
                </a:cubicBezTo>
                <a:cubicBezTo>
                  <a:pt x="629851" y="4511612"/>
                  <a:pt x="866356" y="4767167"/>
                  <a:pt x="1138962" y="4988910"/>
                </a:cubicBezTo>
                <a:cubicBezTo>
                  <a:pt x="1207161" y="5044345"/>
                  <a:pt x="1277008" y="5096990"/>
                  <a:pt x="1348512" y="5146834"/>
                </a:cubicBezTo>
                <a:lnTo>
                  <a:pt x="1422712" y="5146834"/>
                </a:lnTo>
                <a:cubicBezTo>
                  <a:pt x="1043426" y="4892802"/>
                  <a:pt x="724720" y="4577334"/>
                  <a:pt x="480594" y="4187952"/>
                </a:cubicBezTo>
                <a:cubicBezTo>
                  <a:pt x="452019" y="4141851"/>
                  <a:pt x="423444" y="4095179"/>
                  <a:pt x="398679" y="4046125"/>
                </a:cubicBezTo>
                <a:cubicBezTo>
                  <a:pt x="407442" y="4043267"/>
                  <a:pt x="409156" y="4048982"/>
                  <a:pt x="411823" y="4053078"/>
                </a:cubicBezTo>
                <a:cubicBezTo>
                  <a:pt x="683572" y="4484656"/>
                  <a:pt x="1033139" y="4842701"/>
                  <a:pt x="1439380" y="5147405"/>
                </a:cubicBezTo>
                <a:lnTo>
                  <a:pt x="5710010" y="5150263"/>
                </a:lnTo>
                <a:cubicBezTo>
                  <a:pt x="5810594" y="5075482"/>
                  <a:pt x="5907272" y="4995587"/>
                  <a:pt x="5999665" y="4910900"/>
                </a:cubicBezTo>
                <a:cubicBezTo>
                  <a:pt x="6418765" y="4526661"/>
                  <a:pt x="6746901" y="4078129"/>
                  <a:pt x="6954165" y="3545777"/>
                </a:cubicBezTo>
                <a:cubicBezTo>
                  <a:pt x="7048234" y="3306175"/>
                  <a:pt x="7109956" y="3055115"/>
                  <a:pt x="7137712" y="2799207"/>
                </a:cubicBezTo>
                <a:cubicBezTo>
                  <a:pt x="7139236" y="2784920"/>
                  <a:pt x="7141046" y="2770632"/>
                  <a:pt x="7142951" y="2754535"/>
                </a:cubicBezTo>
                <a:cubicBezTo>
                  <a:pt x="7151714" y="2760440"/>
                  <a:pt x="7149237" y="2768441"/>
                  <a:pt x="7149428" y="2774823"/>
                </a:cubicBezTo>
                <a:cubicBezTo>
                  <a:pt x="7156743" y="3007967"/>
                  <a:pt x="7128777" y="3240881"/>
                  <a:pt x="7066465" y="3465672"/>
                </a:cubicBezTo>
                <a:cubicBezTo>
                  <a:pt x="6952165" y="3878580"/>
                  <a:pt x="6737948" y="4235863"/>
                  <a:pt x="6452578" y="4552760"/>
                </a:cubicBezTo>
                <a:cubicBezTo>
                  <a:pt x="6244553" y="4783836"/>
                  <a:pt x="6008809" y="4980242"/>
                  <a:pt x="5752110" y="5150263"/>
                </a:cubicBezTo>
                <a:lnTo>
                  <a:pt x="5827643" y="5150263"/>
                </a:lnTo>
                <a:cubicBezTo>
                  <a:pt x="6136539" y="4938904"/>
                  <a:pt x="6412192" y="4689348"/>
                  <a:pt x="6642793" y="4389406"/>
                </a:cubicBezTo>
                <a:cubicBezTo>
                  <a:pt x="6851295" y="4118324"/>
                  <a:pt x="7009125" y="3820859"/>
                  <a:pt x="7102469" y="3490817"/>
                </a:cubicBezTo>
                <a:cubicBezTo>
                  <a:pt x="7148646" y="3327473"/>
                  <a:pt x="7177069" y="3159624"/>
                  <a:pt x="7187242" y="2990183"/>
                </a:cubicBezTo>
                <a:cubicBezTo>
                  <a:pt x="7187623" y="2984087"/>
                  <a:pt x="7182384" y="2642330"/>
                  <a:pt x="7178288" y="2604802"/>
                </a:cubicBezTo>
                <a:close/>
                <a:moveTo>
                  <a:pt x="6342565" y="441389"/>
                </a:moveTo>
                <a:cubicBezTo>
                  <a:pt x="6829797" y="986533"/>
                  <a:pt x="7091135" y="1624422"/>
                  <a:pt x="7126567" y="2355056"/>
                </a:cubicBezTo>
                <a:cubicBezTo>
                  <a:pt x="7001123" y="1661827"/>
                  <a:pt x="6756426" y="1017365"/>
                  <a:pt x="6342565" y="441389"/>
                </a:cubicBez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Arial"/>
              <a:ea typeface="+mn-ea"/>
              <a:cs typeface="+mn-cs"/>
            </a:endParaRPr>
          </a:p>
        </p:txBody>
      </p:sp>
      <p:sp>
        <p:nvSpPr>
          <p:cNvPr id="4" name="Title 3">
            <a:extLst>
              <a:ext uri="{FF2B5EF4-FFF2-40B4-BE49-F238E27FC236}">
                <a16:creationId xmlns:a16="http://schemas.microsoft.com/office/drawing/2014/main" id="{B009CD84-DA40-4CAA-8A89-DD6DAA862368}"/>
              </a:ext>
            </a:extLst>
          </p:cNvPr>
          <p:cNvSpPr>
            <a:spLocks noGrp="1"/>
          </p:cNvSpPr>
          <p:nvPr>
            <p:ph type="title"/>
          </p:nvPr>
        </p:nvSpPr>
        <p:spPr>
          <a:xfrm>
            <a:off x="2819400" y="1764645"/>
            <a:ext cx="13030200" cy="4348463"/>
          </a:xfrm>
        </p:spPr>
        <p:txBody>
          <a:bodyPr vert="horz" lIns="91440" tIns="45720" rIns="91440" bIns="45720" rtlCol="0" anchor="b">
            <a:normAutofit fontScale="90000"/>
          </a:bodyPr>
          <a:lstStyle/>
          <a:p>
            <a:pPr indent="457200">
              <a:lnSpc>
                <a:spcPct val="90000"/>
              </a:lnSpc>
              <a:spcAft>
                <a:spcPts val="600"/>
              </a:spcAft>
            </a:pPr>
            <a:r>
              <a:rPr lang="en-GB" sz="8000" b="1" noProof="0" dirty="0">
                <a:solidFill>
                  <a:schemeClr val="bg1"/>
                </a:solidFill>
                <a:ea typeface="+mn-ea"/>
                <a:cs typeface="Arial" panose="020B0604020202020204" pitchFamily="34" charset="0"/>
              </a:rPr>
              <a:t>Chapter 6.4 </a:t>
            </a:r>
            <a:br>
              <a:rPr lang="en-GB" sz="8000" b="1" strike="sngStrike" noProof="0" dirty="0">
                <a:solidFill>
                  <a:schemeClr val="bg1"/>
                </a:solidFill>
                <a:ea typeface="+mn-ea"/>
                <a:cs typeface="Arial" panose="020B0604020202020204" pitchFamily="34" charset="0"/>
              </a:rPr>
            </a:br>
            <a:r>
              <a:rPr lang="en-GB" sz="8000" b="1" noProof="0" dirty="0">
                <a:solidFill>
                  <a:schemeClr val="bg1"/>
                </a:solidFill>
                <a:ea typeface="+mn-ea"/>
                <a:cs typeface="Arial" panose="020B0604020202020204" pitchFamily="34" charset="0"/>
              </a:rPr>
              <a:t>Future Outlook:</a:t>
            </a:r>
            <a:br>
              <a:rPr lang="en-GB" sz="8000" b="1" noProof="0" dirty="0">
                <a:solidFill>
                  <a:schemeClr val="bg1"/>
                </a:solidFill>
                <a:ea typeface="+mn-ea"/>
                <a:cs typeface="Arial" panose="020B0604020202020204" pitchFamily="34" charset="0"/>
              </a:rPr>
            </a:br>
            <a:r>
              <a:rPr lang="en-GB" sz="8000" b="1" dirty="0">
                <a:solidFill>
                  <a:schemeClr val="bg1"/>
                </a:solidFill>
                <a:ea typeface="+mn-ea"/>
                <a:cs typeface="Arial" panose="020B0604020202020204" pitchFamily="34" charset="0"/>
              </a:rPr>
              <a:t>Replicability </a:t>
            </a:r>
            <a:r>
              <a:rPr lang="en-GB" sz="8000" b="1" noProof="0" dirty="0">
                <a:solidFill>
                  <a:schemeClr val="bg1"/>
                </a:solidFill>
                <a:ea typeface="+mn-ea"/>
                <a:cs typeface="Arial" panose="020B0604020202020204" pitchFamily="34" charset="0"/>
              </a:rPr>
              <a:t>and Legislation </a:t>
            </a:r>
          </a:p>
        </p:txBody>
      </p:sp>
      <p:sp>
        <p:nvSpPr>
          <p:cNvPr id="62" name="sketch line">
            <a:extLst>
              <a:ext uri="{FF2B5EF4-FFF2-40B4-BE49-F238E27FC236}">
                <a16:creationId xmlns:a16="http://schemas.microsoft.com/office/drawing/2014/main" id="{41F77738-2AF0-4750-A0C7-F97C2C17590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961309" y="6260247"/>
            <a:ext cx="6365383" cy="27432"/>
          </a:xfrm>
          <a:custGeom>
            <a:avLst/>
            <a:gdLst>
              <a:gd name="connsiteX0" fmla="*/ 0 w 6365383"/>
              <a:gd name="connsiteY0" fmla="*/ 0 h 27432"/>
              <a:gd name="connsiteX1" fmla="*/ 636538 w 6365383"/>
              <a:gd name="connsiteY1" fmla="*/ 0 h 27432"/>
              <a:gd name="connsiteX2" fmla="*/ 1273077 w 6365383"/>
              <a:gd name="connsiteY2" fmla="*/ 0 h 27432"/>
              <a:gd name="connsiteX3" fmla="*/ 1909615 w 6365383"/>
              <a:gd name="connsiteY3" fmla="*/ 0 h 27432"/>
              <a:gd name="connsiteX4" fmla="*/ 2673461 w 6365383"/>
              <a:gd name="connsiteY4" fmla="*/ 0 h 27432"/>
              <a:gd name="connsiteX5" fmla="*/ 3373653 w 6365383"/>
              <a:gd name="connsiteY5" fmla="*/ 0 h 27432"/>
              <a:gd name="connsiteX6" fmla="*/ 3819230 w 6365383"/>
              <a:gd name="connsiteY6" fmla="*/ 0 h 27432"/>
              <a:gd name="connsiteX7" fmla="*/ 4392114 w 6365383"/>
              <a:gd name="connsiteY7" fmla="*/ 0 h 27432"/>
              <a:gd name="connsiteX8" fmla="*/ 5155960 w 6365383"/>
              <a:gd name="connsiteY8" fmla="*/ 0 h 27432"/>
              <a:gd name="connsiteX9" fmla="*/ 5792499 w 6365383"/>
              <a:gd name="connsiteY9" fmla="*/ 0 h 27432"/>
              <a:gd name="connsiteX10" fmla="*/ 6365383 w 6365383"/>
              <a:gd name="connsiteY10" fmla="*/ 0 h 27432"/>
              <a:gd name="connsiteX11" fmla="*/ 6365383 w 6365383"/>
              <a:gd name="connsiteY11" fmla="*/ 27432 h 27432"/>
              <a:gd name="connsiteX12" fmla="*/ 5856152 w 6365383"/>
              <a:gd name="connsiteY12" fmla="*/ 27432 h 27432"/>
              <a:gd name="connsiteX13" fmla="*/ 5092306 w 6365383"/>
              <a:gd name="connsiteY13" fmla="*/ 27432 h 27432"/>
              <a:gd name="connsiteX14" fmla="*/ 4583076 w 6365383"/>
              <a:gd name="connsiteY14" fmla="*/ 27432 h 27432"/>
              <a:gd name="connsiteX15" fmla="*/ 4137499 w 6365383"/>
              <a:gd name="connsiteY15" fmla="*/ 27432 h 27432"/>
              <a:gd name="connsiteX16" fmla="*/ 3691922 w 6365383"/>
              <a:gd name="connsiteY16" fmla="*/ 27432 h 27432"/>
              <a:gd name="connsiteX17" fmla="*/ 2991730 w 6365383"/>
              <a:gd name="connsiteY17" fmla="*/ 27432 h 27432"/>
              <a:gd name="connsiteX18" fmla="*/ 2546153 w 6365383"/>
              <a:gd name="connsiteY18" fmla="*/ 27432 h 27432"/>
              <a:gd name="connsiteX19" fmla="*/ 1909615 w 6365383"/>
              <a:gd name="connsiteY19" fmla="*/ 27432 h 27432"/>
              <a:gd name="connsiteX20" fmla="*/ 1400384 w 6365383"/>
              <a:gd name="connsiteY20" fmla="*/ 27432 h 27432"/>
              <a:gd name="connsiteX21" fmla="*/ 763846 w 6365383"/>
              <a:gd name="connsiteY21" fmla="*/ 27432 h 27432"/>
              <a:gd name="connsiteX22" fmla="*/ 0 w 6365383"/>
              <a:gd name="connsiteY22" fmla="*/ 27432 h 27432"/>
              <a:gd name="connsiteX23" fmla="*/ 0 w 6365383"/>
              <a:gd name="connsiteY23" fmla="*/ 0 h 27432"/>
              <a:gd name="connsiteX0" fmla="*/ 0 w 6365383"/>
              <a:gd name="connsiteY0" fmla="*/ 0 h 27432"/>
              <a:gd name="connsiteX1" fmla="*/ 572884 w 6365383"/>
              <a:gd name="connsiteY1" fmla="*/ 0 h 27432"/>
              <a:gd name="connsiteX2" fmla="*/ 1018461 w 6365383"/>
              <a:gd name="connsiteY2" fmla="*/ 0 h 27432"/>
              <a:gd name="connsiteX3" fmla="*/ 1782307 w 6365383"/>
              <a:gd name="connsiteY3" fmla="*/ 0 h 27432"/>
              <a:gd name="connsiteX4" fmla="*/ 2355192 w 6365383"/>
              <a:gd name="connsiteY4" fmla="*/ 0 h 27432"/>
              <a:gd name="connsiteX5" fmla="*/ 2928076 w 6365383"/>
              <a:gd name="connsiteY5" fmla="*/ 0 h 27432"/>
              <a:gd name="connsiteX6" fmla="*/ 3691922 w 6365383"/>
              <a:gd name="connsiteY6" fmla="*/ 0 h 27432"/>
              <a:gd name="connsiteX7" fmla="*/ 4201153 w 6365383"/>
              <a:gd name="connsiteY7" fmla="*/ 0 h 27432"/>
              <a:gd name="connsiteX8" fmla="*/ 4964999 w 6365383"/>
              <a:gd name="connsiteY8" fmla="*/ 0 h 27432"/>
              <a:gd name="connsiteX9" fmla="*/ 5728845 w 6365383"/>
              <a:gd name="connsiteY9" fmla="*/ 0 h 27432"/>
              <a:gd name="connsiteX10" fmla="*/ 6365383 w 6365383"/>
              <a:gd name="connsiteY10" fmla="*/ 0 h 27432"/>
              <a:gd name="connsiteX11" fmla="*/ 6365383 w 6365383"/>
              <a:gd name="connsiteY11" fmla="*/ 27432 h 27432"/>
              <a:gd name="connsiteX12" fmla="*/ 5665191 w 6365383"/>
              <a:gd name="connsiteY12" fmla="*/ 27432 h 27432"/>
              <a:gd name="connsiteX13" fmla="*/ 4901345 w 6365383"/>
              <a:gd name="connsiteY13" fmla="*/ 27432 h 27432"/>
              <a:gd name="connsiteX14" fmla="*/ 4137499 w 6365383"/>
              <a:gd name="connsiteY14" fmla="*/ 27432 h 27432"/>
              <a:gd name="connsiteX15" fmla="*/ 3628268 w 6365383"/>
              <a:gd name="connsiteY15" fmla="*/ 27432 h 27432"/>
              <a:gd name="connsiteX16" fmla="*/ 2991730 w 6365383"/>
              <a:gd name="connsiteY16" fmla="*/ 27432 h 27432"/>
              <a:gd name="connsiteX17" fmla="*/ 2227884 w 6365383"/>
              <a:gd name="connsiteY17" fmla="*/ 27432 h 27432"/>
              <a:gd name="connsiteX18" fmla="*/ 1591346 w 6365383"/>
              <a:gd name="connsiteY18" fmla="*/ 27432 h 27432"/>
              <a:gd name="connsiteX19" fmla="*/ 1145769 w 6365383"/>
              <a:gd name="connsiteY19" fmla="*/ 27432 h 27432"/>
              <a:gd name="connsiteX20" fmla="*/ 636538 w 6365383"/>
              <a:gd name="connsiteY20" fmla="*/ 27432 h 27432"/>
              <a:gd name="connsiteX21" fmla="*/ 0 w 6365383"/>
              <a:gd name="connsiteY21" fmla="*/ 27432 h 27432"/>
              <a:gd name="connsiteX22" fmla="*/ 0 w 6365383"/>
              <a:gd name="connsiteY22"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365383" h="27432" fill="none" extrusionOk="0">
                <a:moveTo>
                  <a:pt x="0" y="0"/>
                </a:moveTo>
                <a:cubicBezTo>
                  <a:pt x="311910" y="25756"/>
                  <a:pt x="328854" y="-22977"/>
                  <a:pt x="636538" y="0"/>
                </a:cubicBezTo>
                <a:cubicBezTo>
                  <a:pt x="929901" y="50670"/>
                  <a:pt x="1067253" y="-1993"/>
                  <a:pt x="1273077" y="0"/>
                </a:cubicBezTo>
                <a:cubicBezTo>
                  <a:pt x="1507620" y="-24857"/>
                  <a:pt x="1747799" y="-10413"/>
                  <a:pt x="1909615" y="0"/>
                </a:cubicBezTo>
                <a:cubicBezTo>
                  <a:pt x="2041097" y="-21585"/>
                  <a:pt x="2422417" y="-28022"/>
                  <a:pt x="2673461" y="0"/>
                </a:cubicBezTo>
                <a:cubicBezTo>
                  <a:pt x="2948394" y="-4560"/>
                  <a:pt x="3134893" y="36981"/>
                  <a:pt x="3373653" y="0"/>
                </a:cubicBezTo>
                <a:cubicBezTo>
                  <a:pt x="3634761" y="-15887"/>
                  <a:pt x="3700843" y="23167"/>
                  <a:pt x="3819230" y="0"/>
                </a:cubicBezTo>
                <a:cubicBezTo>
                  <a:pt x="3977295" y="2943"/>
                  <a:pt x="4128910" y="-53150"/>
                  <a:pt x="4392114" y="0"/>
                </a:cubicBezTo>
                <a:cubicBezTo>
                  <a:pt x="4672763" y="9214"/>
                  <a:pt x="4999833" y="38501"/>
                  <a:pt x="5155960" y="0"/>
                </a:cubicBezTo>
                <a:cubicBezTo>
                  <a:pt x="5343367" y="-6557"/>
                  <a:pt x="5597661" y="6622"/>
                  <a:pt x="5792499" y="0"/>
                </a:cubicBezTo>
                <a:cubicBezTo>
                  <a:pt x="6020774" y="43813"/>
                  <a:pt x="6148830" y="-13954"/>
                  <a:pt x="6365383" y="0"/>
                </a:cubicBezTo>
                <a:cubicBezTo>
                  <a:pt x="6364517" y="8091"/>
                  <a:pt x="6365728" y="20268"/>
                  <a:pt x="6365383" y="27432"/>
                </a:cubicBezTo>
                <a:cubicBezTo>
                  <a:pt x="6144545" y="15144"/>
                  <a:pt x="6006673" y="-7419"/>
                  <a:pt x="5856152" y="27432"/>
                </a:cubicBezTo>
                <a:cubicBezTo>
                  <a:pt x="5638446" y="81548"/>
                  <a:pt x="5413846" y="52067"/>
                  <a:pt x="5092306" y="27432"/>
                </a:cubicBezTo>
                <a:cubicBezTo>
                  <a:pt x="4768499" y="43350"/>
                  <a:pt x="4708569" y="3163"/>
                  <a:pt x="4583076" y="27432"/>
                </a:cubicBezTo>
                <a:cubicBezTo>
                  <a:pt x="4475482" y="66269"/>
                  <a:pt x="4242792" y="42702"/>
                  <a:pt x="4137499" y="27432"/>
                </a:cubicBezTo>
                <a:cubicBezTo>
                  <a:pt x="4003968" y="24039"/>
                  <a:pt x="3882646" y="-3026"/>
                  <a:pt x="3691922" y="27432"/>
                </a:cubicBezTo>
                <a:cubicBezTo>
                  <a:pt x="3501639" y="8096"/>
                  <a:pt x="3270842" y="-14942"/>
                  <a:pt x="2991730" y="27432"/>
                </a:cubicBezTo>
                <a:cubicBezTo>
                  <a:pt x="2712135" y="55419"/>
                  <a:pt x="2758697" y="31955"/>
                  <a:pt x="2546153" y="27432"/>
                </a:cubicBezTo>
                <a:cubicBezTo>
                  <a:pt x="2362220" y="-818"/>
                  <a:pt x="2130397" y="57099"/>
                  <a:pt x="1909615" y="27432"/>
                </a:cubicBezTo>
                <a:cubicBezTo>
                  <a:pt x="1714835" y="-15389"/>
                  <a:pt x="1636770" y="40318"/>
                  <a:pt x="1400384" y="27432"/>
                </a:cubicBezTo>
                <a:cubicBezTo>
                  <a:pt x="1161504" y="29515"/>
                  <a:pt x="1060819" y="7773"/>
                  <a:pt x="763846" y="27432"/>
                </a:cubicBezTo>
                <a:cubicBezTo>
                  <a:pt x="465096" y="43671"/>
                  <a:pt x="165309" y="15831"/>
                  <a:pt x="0" y="27432"/>
                </a:cubicBezTo>
                <a:cubicBezTo>
                  <a:pt x="-2013" y="18874"/>
                  <a:pt x="-525" y="8614"/>
                  <a:pt x="0" y="0"/>
                </a:cubicBezTo>
                <a:close/>
              </a:path>
              <a:path w="6365383" h="27432" stroke="0" extrusionOk="0">
                <a:moveTo>
                  <a:pt x="0" y="0"/>
                </a:moveTo>
                <a:cubicBezTo>
                  <a:pt x="84020" y="9133"/>
                  <a:pt x="339524" y="24523"/>
                  <a:pt x="572884" y="0"/>
                </a:cubicBezTo>
                <a:cubicBezTo>
                  <a:pt x="803790" y="-14011"/>
                  <a:pt x="837492" y="-10007"/>
                  <a:pt x="1018461" y="0"/>
                </a:cubicBezTo>
                <a:cubicBezTo>
                  <a:pt x="1188530" y="8943"/>
                  <a:pt x="1571061" y="17361"/>
                  <a:pt x="1782307" y="0"/>
                </a:cubicBezTo>
                <a:cubicBezTo>
                  <a:pt x="1967448" y="-16010"/>
                  <a:pt x="2153334" y="-25629"/>
                  <a:pt x="2355192" y="0"/>
                </a:cubicBezTo>
                <a:cubicBezTo>
                  <a:pt x="2541804" y="20205"/>
                  <a:pt x="2779440" y="53811"/>
                  <a:pt x="2928076" y="0"/>
                </a:cubicBezTo>
                <a:cubicBezTo>
                  <a:pt x="3024078" y="-16903"/>
                  <a:pt x="3337092" y="43483"/>
                  <a:pt x="3691922" y="0"/>
                </a:cubicBezTo>
                <a:cubicBezTo>
                  <a:pt x="4060895" y="-1064"/>
                  <a:pt x="4072166" y="-17195"/>
                  <a:pt x="4201153" y="0"/>
                </a:cubicBezTo>
                <a:cubicBezTo>
                  <a:pt x="4349835" y="-22516"/>
                  <a:pt x="4800106" y="-64797"/>
                  <a:pt x="4964999" y="0"/>
                </a:cubicBezTo>
                <a:cubicBezTo>
                  <a:pt x="5186764" y="15779"/>
                  <a:pt x="5564421" y="-10544"/>
                  <a:pt x="5728845" y="0"/>
                </a:cubicBezTo>
                <a:cubicBezTo>
                  <a:pt x="5915953" y="5493"/>
                  <a:pt x="6171384" y="-48026"/>
                  <a:pt x="6365383" y="0"/>
                </a:cubicBezTo>
                <a:cubicBezTo>
                  <a:pt x="6366596" y="6455"/>
                  <a:pt x="6365588" y="14391"/>
                  <a:pt x="6365383" y="27432"/>
                </a:cubicBezTo>
                <a:cubicBezTo>
                  <a:pt x="6172514" y="805"/>
                  <a:pt x="6006523" y="20734"/>
                  <a:pt x="5665191" y="27432"/>
                </a:cubicBezTo>
                <a:cubicBezTo>
                  <a:pt x="5322179" y="66687"/>
                  <a:pt x="5219376" y="21111"/>
                  <a:pt x="4901345" y="27432"/>
                </a:cubicBezTo>
                <a:cubicBezTo>
                  <a:pt x="4621310" y="-13654"/>
                  <a:pt x="4455192" y="54857"/>
                  <a:pt x="4137499" y="27432"/>
                </a:cubicBezTo>
                <a:cubicBezTo>
                  <a:pt x="3853317" y="12285"/>
                  <a:pt x="3862894" y="26263"/>
                  <a:pt x="3628268" y="27432"/>
                </a:cubicBezTo>
                <a:cubicBezTo>
                  <a:pt x="3418779" y="32610"/>
                  <a:pt x="3174456" y="83656"/>
                  <a:pt x="2991730" y="27432"/>
                </a:cubicBezTo>
                <a:cubicBezTo>
                  <a:pt x="2801278" y="6667"/>
                  <a:pt x="2497351" y="22891"/>
                  <a:pt x="2227884" y="27432"/>
                </a:cubicBezTo>
                <a:cubicBezTo>
                  <a:pt x="1986101" y="16297"/>
                  <a:pt x="1767219" y="-7535"/>
                  <a:pt x="1591346" y="27432"/>
                </a:cubicBezTo>
                <a:cubicBezTo>
                  <a:pt x="1447183" y="73731"/>
                  <a:pt x="1315973" y="39477"/>
                  <a:pt x="1145769" y="27432"/>
                </a:cubicBezTo>
                <a:cubicBezTo>
                  <a:pt x="990245" y="8882"/>
                  <a:pt x="810845" y="16910"/>
                  <a:pt x="636538" y="27432"/>
                </a:cubicBezTo>
                <a:cubicBezTo>
                  <a:pt x="482916" y="17795"/>
                  <a:pt x="183027" y="-17710"/>
                  <a:pt x="0" y="27432"/>
                </a:cubicBezTo>
                <a:cubicBezTo>
                  <a:pt x="491" y="19542"/>
                  <a:pt x="-1038" y="8534"/>
                  <a:pt x="0" y="0"/>
                </a:cubicBezTo>
                <a:close/>
              </a:path>
              <a:path w="6365383" h="27432" fill="none" stroke="0" extrusionOk="0">
                <a:moveTo>
                  <a:pt x="0" y="0"/>
                </a:moveTo>
                <a:cubicBezTo>
                  <a:pt x="296223" y="15991"/>
                  <a:pt x="333462" y="-23795"/>
                  <a:pt x="636538" y="0"/>
                </a:cubicBezTo>
                <a:cubicBezTo>
                  <a:pt x="970197" y="30961"/>
                  <a:pt x="1039864" y="3183"/>
                  <a:pt x="1273077" y="0"/>
                </a:cubicBezTo>
                <a:cubicBezTo>
                  <a:pt x="1449809" y="24819"/>
                  <a:pt x="1735152" y="23060"/>
                  <a:pt x="1909615" y="0"/>
                </a:cubicBezTo>
                <a:cubicBezTo>
                  <a:pt x="2016351" y="-41665"/>
                  <a:pt x="2415001" y="34773"/>
                  <a:pt x="2673461" y="0"/>
                </a:cubicBezTo>
                <a:cubicBezTo>
                  <a:pt x="2996983" y="-13411"/>
                  <a:pt x="3130707" y="3741"/>
                  <a:pt x="3373653" y="0"/>
                </a:cubicBezTo>
                <a:cubicBezTo>
                  <a:pt x="3601951" y="-16140"/>
                  <a:pt x="3689909" y="23222"/>
                  <a:pt x="3819230" y="0"/>
                </a:cubicBezTo>
                <a:cubicBezTo>
                  <a:pt x="3931872" y="-29406"/>
                  <a:pt x="4119438" y="24094"/>
                  <a:pt x="4392114" y="0"/>
                </a:cubicBezTo>
                <a:cubicBezTo>
                  <a:pt x="4665359" y="21557"/>
                  <a:pt x="4978709" y="13267"/>
                  <a:pt x="5155960" y="0"/>
                </a:cubicBezTo>
                <a:cubicBezTo>
                  <a:pt x="5299518" y="-18386"/>
                  <a:pt x="5605020" y="-6762"/>
                  <a:pt x="5792499" y="0"/>
                </a:cubicBezTo>
                <a:cubicBezTo>
                  <a:pt x="6013281" y="43398"/>
                  <a:pt x="6167567" y="36727"/>
                  <a:pt x="6365383" y="0"/>
                </a:cubicBezTo>
                <a:cubicBezTo>
                  <a:pt x="6365697" y="8368"/>
                  <a:pt x="6365332" y="21050"/>
                  <a:pt x="6365383" y="27432"/>
                </a:cubicBezTo>
                <a:cubicBezTo>
                  <a:pt x="6154893" y="8454"/>
                  <a:pt x="6014206" y="-8372"/>
                  <a:pt x="5856152" y="27432"/>
                </a:cubicBezTo>
                <a:cubicBezTo>
                  <a:pt x="5659455" y="59503"/>
                  <a:pt x="5350806" y="-35991"/>
                  <a:pt x="5092306" y="27432"/>
                </a:cubicBezTo>
                <a:cubicBezTo>
                  <a:pt x="4756309" y="48260"/>
                  <a:pt x="4699746" y="-4780"/>
                  <a:pt x="4583076" y="27432"/>
                </a:cubicBezTo>
                <a:cubicBezTo>
                  <a:pt x="4462137" y="30142"/>
                  <a:pt x="4226168" y="50236"/>
                  <a:pt x="4137499" y="27432"/>
                </a:cubicBezTo>
                <a:cubicBezTo>
                  <a:pt x="4018570" y="42181"/>
                  <a:pt x="3887179" y="34623"/>
                  <a:pt x="3691922" y="27432"/>
                </a:cubicBezTo>
                <a:cubicBezTo>
                  <a:pt x="3499755" y="32935"/>
                  <a:pt x="3281056" y="-9158"/>
                  <a:pt x="2991730" y="27432"/>
                </a:cubicBezTo>
                <a:cubicBezTo>
                  <a:pt x="2716073" y="57462"/>
                  <a:pt x="2755481" y="34494"/>
                  <a:pt x="2546153" y="27432"/>
                </a:cubicBezTo>
                <a:cubicBezTo>
                  <a:pt x="2356479" y="62622"/>
                  <a:pt x="2079190" y="73729"/>
                  <a:pt x="1909615" y="27432"/>
                </a:cubicBezTo>
                <a:cubicBezTo>
                  <a:pt x="1715819" y="-26444"/>
                  <a:pt x="1631368" y="48131"/>
                  <a:pt x="1400384" y="27432"/>
                </a:cubicBezTo>
                <a:cubicBezTo>
                  <a:pt x="1177327" y="16190"/>
                  <a:pt x="1065236" y="24992"/>
                  <a:pt x="763846" y="27432"/>
                </a:cubicBezTo>
                <a:cubicBezTo>
                  <a:pt x="448643" y="60691"/>
                  <a:pt x="160833" y="2330"/>
                  <a:pt x="0" y="27432"/>
                </a:cubicBezTo>
                <a:cubicBezTo>
                  <a:pt x="1559" y="18666"/>
                  <a:pt x="-585" y="7580"/>
                  <a:pt x="0" y="0"/>
                </a:cubicBezTo>
                <a:close/>
              </a:path>
            </a:pathLst>
          </a:custGeom>
          <a:solidFill>
            <a:srgbClr val="FFFFFF"/>
          </a:solidFill>
          <a:ln w="41275" cap="rnd">
            <a:solidFill>
              <a:srgbClr val="FFFFFF"/>
            </a:solidFill>
            <a:round/>
            <a:extLst>
              <a:ext uri="{C807C97D-BFC1-408E-A445-0C87EB9F89A2}">
                <ask:lineSketchStyleProps xmlns:ask="http://schemas.microsoft.com/office/drawing/2018/sketchyshapes" sd="1219033472">
                  <a:custGeom>
                    <a:avLst/>
                    <a:gdLst>
                      <a:gd name="connsiteX0" fmla="*/ 0 w 6365383"/>
                      <a:gd name="connsiteY0" fmla="*/ 0 h 27432"/>
                      <a:gd name="connsiteX1" fmla="*/ 636538 w 6365383"/>
                      <a:gd name="connsiteY1" fmla="*/ 0 h 27432"/>
                      <a:gd name="connsiteX2" fmla="*/ 1273077 w 6365383"/>
                      <a:gd name="connsiteY2" fmla="*/ 0 h 27432"/>
                      <a:gd name="connsiteX3" fmla="*/ 1909615 w 6365383"/>
                      <a:gd name="connsiteY3" fmla="*/ 0 h 27432"/>
                      <a:gd name="connsiteX4" fmla="*/ 2673461 w 6365383"/>
                      <a:gd name="connsiteY4" fmla="*/ 0 h 27432"/>
                      <a:gd name="connsiteX5" fmla="*/ 3373653 w 6365383"/>
                      <a:gd name="connsiteY5" fmla="*/ 0 h 27432"/>
                      <a:gd name="connsiteX6" fmla="*/ 3819230 w 6365383"/>
                      <a:gd name="connsiteY6" fmla="*/ 0 h 27432"/>
                      <a:gd name="connsiteX7" fmla="*/ 4392114 w 6365383"/>
                      <a:gd name="connsiteY7" fmla="*/ 0 h 27432"/>
                      <a:gd name="connsiteX8" fmla="*/ 5155960 w 6365383"/>
                      <a:gd name="connsiteY8" fmla="*/ 0 h 27432"/>
                      <a:gd name="connsiteX9" fmla="*/ 5792499 w 6365383"/>
                      <a:gd name="connsiteY9" fmla="*/ 0 h 27432"/>
                      <a:gd name="connsiteX10" fmla="*/ 6365383 w 6365383"/>
                      <a:gd name="connsiteY10" fmla="*/ 0 h 27432"/>
                      <a:gd name="connsiteX11" fmla="*/ 6365383 w 6365383"/>
                      <a:gd name="connsiteY11" fmla="*/ 27432 h 27432"/>
                      <a:gd name="connsiteX12" fmla="*/ 5856152 w 6365383"/>
                      <a:gd name="connsiteY12" fmla="*/ 27432 h 27432"/>
                      <a:gd name="connsiteX13" fmla="*/ 5092306 w 6365383"/>
                      <a:gd name="connsiteY13" fmla="*/ 27432 h 27432"/>
                      <a:gd name="connsiteX14" fmla="*/ 4583076 w 6365383"/>
                      <a:gd name="connsiteY14" fmla="*/ 27432 h 27432"/>
                      <a:gd name="connsiteX15" fmla="*/ 4137499 w 6365383"/>
                      <a:gd name="connsiteY15" fmla="*/ 27432 h 27432"/>
                      <a:gd name="connsiteX16" fmla="*/ 3691922 w 6365383"/>
                      <a:gd name="connsiteY16" fmla="*/ 27432 h 27432"/>
                      <a:gd name="connsiteX17" fmla="*/ 2991730 w 6365383"/>
                      <a:gd name="connsiteY17" fmla="*/ 27432 h 27432"/>
                      <a:gd name="connsiteX18" fmla="*/ 2546153 w 6365383"/>
                      <a:gd name="connsiteY18" fmla="*/ 27432 h 27432"/>
                      <a:gd name="connsiteX19" fmla="*/ 1909615 w 6365383"/>
                      <a:gd name="connsiteY19" fmla="*/ 27432 h 27432"/>
                      <a:gd name="connsiteX20" fmla="*/ 1400384 w 6365383"/>
                      <a:gd name="connsiteY20" fmla="*/ 27432 h 27432"/>
                      <a:gd name="connsiteX21" fmla="*/ 763846 w 6365383"/>
                      <a:gd name="connsiteY21" fmla="*/ 27432 h 27432"/>
                      <a:gd name="connsiteX22" fmla="*/ 0 w 6365383"/>
                      <a:gd name="connsiteY22" fmla="*/ 27432 h 27432"/>
                      <a:gd name="connsiteX23" fmla="*/ 0 w 6365383"/>
                      <a:gd name="connsiteY23"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365383" h="27432" fill="none" extrusionOk="0">
                        <a:moveTo>
                          <a:pt x="0" y="0"/>
                        </a:moveTo>
                        <a:cubicBezTo>
                          <a:pt x="305169" y="21509"/>
                          <a:pt x="334704" y="-24261"/>
                          <a:pt x="636538" y="0"/>
                        </a:cubicBezTo>
                        <a:cubicBezTo>
                          <a:pt x="938372" y="24261"/>
                          <a:pt x="1068606" y="2269"/>
                          <a:pt x="1273077" y="0"/>
                        </a:cubicBezTo>
                        <a:cubicBezTo>
                          <a:pt x="1477548" y="-2269"/>
                          <a:pt x="1738189" y="6272"/>
                          <a:pt x="1909615" y="0"/>
                        </a:cubicBezTo>
                        <a:cubicBezTo>
                          <a:pt x="2081041" y="-6272"/>
                          <a:pt x="2377015" y="16623"/>
                          <a:pt x="2673461" y="0"/>
                        </a:cubicBezTo>
                        <a:cubicBezTo>
                          <a:pt x="2969907" y="-16623"/>
                          <a:pt x="3126114" y="13194"/>
                          <a:pt x="3373653" y="0"/>
                        </a:cubicBezTo>
                        <a:cubicBezTo>
                          <a:pt x="3621192" y="-13194"/>
                          <a:pt x="3704499" y="9486"/>
                          <a:pt x="3819230" y="0"/>
                        </a:cubicBezTo>
                        <a:cubicBezTo>
                          <a:pt x="3933961" y="-9486"/>
                          <a:pt x="4142691" y="-8221"/>
                          <a:pt x="4392114" y="0"/>
                        </a:cubicBezTo>
                        <a:cubicBezTo>
                          <a:pt x="4641537" y="8221"/>
                          <a:pt x="4974506" y="12257"/>
                          <a:pt x="5155960" y="0"/>
                        </a:cubicBezTo>
                        <a:cubicBezTo>
                          <a:pt x="5337414" y="-12257"/>
                          <a:pt x="5585731" y="-22537"/>
                          <a:pt x="5792499" y="0"/>
                        </a:cubicBezTo>
                        <a:cubicBezTo>
                          <a:pt x="5999267" y="22537"/>
                          <a:pt x="6164726" y="7303"/>
                          <a:pt x="6365383" y="0"/>
                        </a:cubicBezTo>
                        <a:cubicBezTo>
                          <a:pt x="6365125" y="7487"/>
                          <a:pt x="6364462" y="19984"/>
                          <a:pt x="6365383" y="27432"/>
                        </a:cubicBezTo>
                        <a:cubicBezTo>
                          <a:pt x="6132222" y="28304"/>
                          <a:pt x="6011986" y="2071"/>
                          <a:pt x="5856152" y="27432"/>
                        </a:cubicBezTo>
                        <a:cubicBezTo>
                          <a:pt x="5700318" y="52793"/>
                          <a:pt x="5410732" y="5357"/>
                          <a:pt x="5092306" y="27432"/>
                        </a:cubicBezTo>
                        <a:cubicBezTo>
                          <a:pt x="4773880" y="49507"/>
                          <a:pt x="4705351" y="6645"/>
                          <a:pt x="4583076" y="27432"/>
                        </a:cubicBezTo>
                        <a:cubicBezTo>
                          <a:pt x="4460801" y="48220"/>
                          <a:pt x="4239915" y="42209"/>
                          <a:pt x="4137499" y="27432"/>
                        </a:cubicBezTo>
                        <a:cubicBezTo>
                          <a:pt x="4035083" y="12655"/>
                          <a:pt x="3883665" y="32012"/>
                          <a:pt x="3691922" y="27432"/>
                        </a:cubicBezTo>
                        <a:cubicBezTo>
                          <a:pt x="3500179" y="22852"/>
                          <a:pt x="3265830" y="-126"/>
                          <a:pt x="2991730" y="27432"/>
                        </a:cubicBezTo>
                        <a:cubicBezTo>
                          <a:pt x="2717630" y="54990"/>
                          <a:pt x="2757122" y="34407"/>
                          <a:pt x="2546153" y="27432"/>
                        </a:cubicBezTo>
                        <a:cubicBezTo>
                          <a:pt x="2335184" y="20457"/>
                          <a:pt x="2107331" y="58889"/>
                          <a:pt x="1909615" y="27432"/>
                        </a:cubicBezTo>
                        <a:cubicBezTo>
                          <a:pt x="1711899" y="-4025"/>
                          <a:pt x="1634641" y="48316"/>
                          <a:pt x="1400384" y="27432"/>
                        </a:cubicBezTo>
                        <a:cubicBezTo>
                          <a:pt x="1166127" y="6548"/>
                          <a:pt x="1068288" y="15776"/>
                          <a:pt x="763846" y="27432"/>
                        </a:cubicBezTo>
                        <a:cubicBezTo>
                          <a:pt x="459404" y="39088"/>
                          <a:pt x="170017" y="14515"/>
                          <a:pt x="0" y="27432"/>
                        </a:cubicBezTo>
                        <a:cubicBezTo>
                          <a:pt x="-14" y="18173"/>
                          <a:pt x="-517" y="8990"/>
                          <a:pt x="0" y="0"/>
                        </a:cubicBezTo>
                        <a:close/>
                      </a:path>
                      <a:path w="6365383" h="27432" stroke="0" extrusionOk="0">
                        <a:moveTo>
                          <a:pt x="0" y="0"/>
                        </a:moveTo>
                        <a:cubicBezTo>
                          <a:pt x="114610" y="-2215"/>
                          <a:pt x="340315" y="12554"/>
                          <a:pt x="572884" y="0"/>
                        </a:cubicBezTo>
                        <a:cubicBezTo>
                          <a:pt x="805453" y="-12554"/>
                          <a:pt x="832891" y="-10424"/>
                          <a:pt x="1018461" y="0"/>
                        </a:cubicBezTo>
                        <a:cubicBezTo>
                          <a:pt x="1204031" y="10424"/>
                          <a:pt x="1590875" y="8682"/>
                          <a:pt x="1782307" y="0"/>
                        </a:cubicBezTo>
                        <a:cubicBezTo>
                          <a:pt x="1973739" y="-8682"/>
                          <a:pt x="2150876" y="5508"/>
                          <a:pt x="2355192" y="0"/>
                        </a:cubicBezTo>
                        <a:cubicBezTo>
                          <a:pt x="2559508" y="-5508"/>
                          <a:pt x="2790194" y="26965"/>
                          <a:pt x="2928076" y="0"/>
                        </a:cubicBezTo>
                        <a:cubicBezTo>
                          <a:pt x="3065958" y="-26965"/>
                          <a:pt x="3321537" y="819"/>
                          <a:pt x="3691922" y="0"/>
                        </a:cubicBezTo>
                        <a:cubicBezTo>
                          <a:pt x="4062307" y="-819"/>
                          <a:pt x="4072238" y="-15327"/>
                          <a:pt x="4201153" y="0"/>
                        </a:cubicBezTo>
                        <a:cubicBezTo>
                          <a:pt x="4330068" y="15327"/>
                          <a:pt x="4772079" y="-35646"/>
                          <a:pt x="4964999" y="0"/>
                        </a:cubicBezTo>
                        <a:cubicBezTo>
                          <a:pt x="5157919" y="35646"/>
                          <a:pt x="5543915" y="6802"/>
                          <a:pt x="5728845" y="0"/>
                        </a:cubicBezTo>
                        <a:cubicBezTo>
                          <a:pt x="5913775" y="-6802"/>
                          <a:pt x="6142952" y="-21408"/>
                          <a:pt x="6365383" y="0"/>
                        </a:cubicBezTo>
                        <a:cubicBezTo>
                          <a:pt x="6364552" y="6329"/>
                          <a:pt x="6365787" y="16858"/>
                          <a:pt x="6365383" y="27432"/>
                        </a:cubicBezTo>
                        <a:cubicBezTo>
                          <a:pt x="6176931" y="320"/>
                          <a:pt x="5998736" y="11244"/>
                          <a:pt x="5665191" y="27432"/>
                        </a:cubicBezTo>
                        <a:cubicBezTo>
                          <a:pt x="5331646" y="43620"/>
                          <a:pt x="5198011" y="28615"/>
                          <a:pt x="4901345" y="27432"/>
                        </a:cubicBezTo>
                        <a:cubicBezTo>
                          <a:pt x="4604679" y="26249"/>
                          <a:pt x="4422931" y="40617"/>
                          <a:pt x="4137499" y="27432"/>
                        </a:cubicBezTo>
                        <a:cubicBezTo>
                          <a:pt x="3852067" y="14247"/>
                          <a:pt x="3861939" y="26581"/>
                          <a:pt x="3628268" y="27432"/>
                        </a:cubicBezTo>
                        <a:cubicBezTo>
                          <a:pt x="3394597" y="28283"/>
                          <a:pt x="3171361" y="44132"/>
                          <a:pt x="2991730" y="27432"/>
                        </a:cubicBezTo>
                        <a:cubicBezTo>
                          <a:pt x="2812099" y="10732"/>
                          <a:pt x="2469344" y="24737"/>
                          <a:pt x="2227884" y="27432"/>
                        </a:cubicBezTo>
                        <a:cubicBezTo>
                          <a:pt x="1986424" y="30127"/>
                          <a:pt x="1748067" y="6359"/>
                          <a:pt x="1591346" y="27432"/>
                        </a:cubicBezTo>
                        <a:cubicBezTo>
                          <a:pt x="1434625" y="48505"/>
                          <a:pt x="1307456" y="39663"/>
                          <a:pt x="1145769" y="27432"/>
                        </a:cubicBezTo>
                        <a:cubicBezTo>
                          <a:pt x="984082" y="15201"/>
                          <a:pt x="800279" y="41647"/>
                          <a:pt x="636538" y="27432"/>
                        </a:cubicBezTo>
                        <a:cubicBezTo>
                          <a:pt x="472797" y="13217"/>
                          <a:pt x="160022" y="2213"/>
                          <a:pt x="0" y="27432"/>
                        </a:cubicBezTo>
                        <a:cubicBezTo>
                          <a:pt x="-177" y="19307"/>
                          <a:pt x="-1145" y="9170"/>
                          <a:pt x="0" y="0"/>
                        </a:cubicBezTo>
                        <a:close/>
                      </a:path>
                    </a:pathLst>
                  </a:cu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293355707"/>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58" name="Rectangle 57">
            <a:extLst>
              <a:ext uri="{FF2B5EF4-FFF2-40B4-BE49-F238E27FC236}">
                <a16:creationId xmlns:a16="http://schemas.microsoft.com/office/drawing/2014/main" id="{289ED1AA-8684-4D37-B208-8777E1A7780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8283428" cy="10287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0" name="Graphic 33">
            <a:extLst>
              <a:ext uri="{FF2B5EF4-FFF2-40B4-BE49-F238E27FC236}">
                <a16:creationId xmlns:a16="http://schemas.microsoft.com/office/drawing/2014/main" id="{4180E01B-B1F4-437C-807D-1C930718EE6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966176" y="0"/>
            <a:ext cx="14355646" cy="10287000"/>
          </a:xfrm>
          <a:custGeom>
            <a:avLst/>
            <a:gdLst>
              <a:gd name="connsiteX0" fmla="*/ 7178288 w 7187261"/>
              <a:gd name="connsiteY0" fmla="*/ 2604802 h 5150263"/>
              <a:gd name="connsiteX1" fmla="*/ 7169335 w 7187261"/>
              <a:gd name="connsiteY1" fmla="*/ 2328577 h 5150263"/>
              <a:gd name="connsiteX2" fmla="*/ 7060845 w 7187261"/>
              <a:gd name="connsiteY2" fmla="*/ 1661160 h 5150263"/>
              <a:gd name="connsiteX3" fmla="*/ 6212263 w 7187261"/>
              <a:gd name="connsiteY3" fmla="*/ 243840 h 5150263"/>
              <a:gd name="connsiteX4" fmla="*/ 5953564 w 7187261"/>
              <a:gd name="connsiteY4" fmla="*/ 0 h 5150263"/>
              <a:gd name="connsiteX5" fmla="*/ 1408615 w 7187261"/>
              <a:gd name="connsiteY5" fmla="*/ 0 h 5150263"/>
              <a:gd name="connsiteX6" fmla="*/ 805111 w 7187261"/>
              <a:gd name="connsiteY6" fmla="*/ 676275 h 5150263"/>
              <a:gd name="connsiteX7" fmla="*/ 104928 w 7187261"/>
              <a:gd name="connsiteY7" fmla="*/ 2183035 h 5150263"/>
              <a:gd name="connsiteX8" fmla="*/ 51588 w 7187261"/>
              <a:gd name="connsiteY8" fmla="*/ 2400014 h 5150263"/>
              <a:gd name="connsiteX9" fmla="*/ 41301 w 7187261"/>
              <a:gd name="connsiteY9" fmla="*/ 2424208 h 5150263"/>
              <a:gd name="connsiteX10" fmla="*/ 119692 w 7187261"/>
              <a:gd name="connsiteY10" fmla="*/ 1834801 h 5150263"/>
              <a:gd name="connsiteX11" fmla="*/ 870071 w 7187261"/>
              <a:gd name="connsiteY11" fmla="*/ 462248 h 5150263"/>
              <a:gd name="connsiteX12" fmla="*/ 1389279 w 7187261"/>
              <a:gd name="connsiteY12" fmla="*/ 476 h 5150263"/>
              <a:gd name="connsiteX13" fmla="*/ 1320223 w 7187261"/>
              <a:gd name="connsiteY13" fmla="*/ 476 h 5150263"/>
              <a:gd name="connsiteX14" fmla="*/ 423158 w 7187261"/>
              <a:gd name="connsiteY14" fmla="*/ 989743 h 5150263"/>
              <a:gd name="connsiteX15" fmla="*/ 25585 w 7187261"/>
              <a:gd name="connsiteY15" fmla="*/ 2113693 h 5150263"/>
              <a:gd name="connsiteX16" fmla="*/ 2344 w 7187261"/>
              <a:gd name="connsiteY16" fmla="*/ 2725865 h 5150263"/>
              <a:gd name="connsiteX17" fmla="*/ 447256 w 7187261"/>
              <a:gd name="connsiteY17" fmla="*/ 4210717 h 5150263"/>
              <a:gd name="connsiteX18" fmla="*/ 1138962 w 7187261"/>
              <a:gd name="connsiteY18" fmla="*/ 4988910 h 5150263"/>
              <a:gd name="connsiteX19" fmla="*/ 1348512 w 7187261"/>
              <a:gd name="connsiteY19" fmla="*/ 5146834 h 5150263"/>
              <a:gd name="connsiteX20" fmla="*/ 1422712 w 7187261"/>
              <a:gd name="connsiteY20" fmla="*/ 5146834 h 5150263"/>
              <a:gd name="connsiteX21" fmla="*/ 480594 w 7187261"/>
              <a:gd name="connsiteY21" fmla="*/ 4187952 h 5150263"/>
              <a:gd name="connsiteX22" fmla="*/ 398679 w 7187261"/>
              <a:gd name="connsiteY22" fmla="*/ 4046125 h 5150263"/>
              <a:gd name="connsiteX23" fmla="*/ 411823 w 7187261"/>
              <a:gd name="connsiteY23" fmla="*/ 4053078 h 5150263"/>
              <a:gd name="connsiteX24" fmla="*/ 1439380 w 7187261"/>
              <a:gd name="connsiteY24" fmla="*/ 5147405 h 5150263"/>
              <a:gd name="connsiteX25" fmla="*/ 5710010 w 7187261"/>
              <a:gd name="connsiteY25" fmla="*/ 5150263 h 5150263"/>
              <a:gd name="connsiteX26" fmla="*/ 5999665 w 7187261"/>
              <a:gd name="connsiteY26" fmla="*/ 4910900 h 5150263"/>
              <a:gd name="connsiteX27" fmla="*/ 6954165 w 7187261"/>
              <a:gd name="connsiteY27" fmla="*/ 3545777 h 5150263"/>
              <a:gd name="connsiteX28" fmla="*/ 7137712 w 7187261"/>
              <a:gd name="connsiteY28" fmla="*/ 2799207 h 5150263"/>
              <a:gd name="connsiteX29" fmla="*/ 7142951 w 7187261"/>
              <a:gd name="connsiteY29" fmla="*/ 2754535 h 5150263"/>
              <a:gd name="connsiteX30" fmla="*/ 7149428 w 7187261"/>
              <a:gd name="connsiteY30" fmla="*/ 2774823 h 5150263"/>
              <a:gd name="connsiteX31" fmla="*/ 7066465 w 7187261"/>
              <a:gd name="connsiteY31" fmla="*/ 3465672 h 5150263"/>
              <a:gd name="connsiteX32" fmla="*/ 6452578 w 7187261"/>
              <a:gd name="connsiteY32" fmla="*/ 4552760 h 5150263"/>
              <a:gd name="connsiteX33" fmla="*/ 5752110 w 7187261"/>
              <a:gd name="connsiteY33" fmla="*/ 5150263 h 5150263"/>
              <a:gd name="connsiteX34" fmla="*/ 5827643 w 7187261"/>
              <a:gd name="connsiteY34" fmla="*/ 5150263 h 5150263"/>
              <a:gd name="connsiteX35" fmla="*/ 6642793 w 7187261"/>
              <a:gd name="connsiteY35" fmla="*/ 4389406 h 5150263"/>
              <a:gd name="connsiteX36" fmla="*/ 7102469 w 7187261"/>
              <a:gd name="connsiteY36" fmla="*/ 3490817 h 5150263"/>
              <a:gd name="connsiteX37" fmla="*/ 7187242 w 7187261"/>
              <a:gd name="connsiteY37" fmla="*/ 2990183 h 5150263"/>
              <a:gd name="connsiteX38" fmla="*/ 7178288 w 7187261"/>
              <a:gd name="connsiteY38" fmla="*/ 2604802 h 5150263"/>
              <a:gd name="connsiteX39" fmla="*/ 6342565 w 7187261"/>
              <a:gd name="connsiteY39" fmla="*/ 441389 h 5150263"/>
              <a:gd name="connsiteX40" fmla="*/ 7126567 w 7187261"/>
              <a:gd name="connsiteY40" fmla="*/ 2355056 h 5150263"/>
              <a:gd name="connsiteX41" fmla="*/ 6342565 w 7187261"/>
              <a:gd name="connsiteY41" fmla="*/ 441389 h 5150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187261" h="5150263">
                <a:moveTo>
                  <a:pt x="7178288" y="2604802"/>
                </a:moveTo>
                <a:cubicBezTo>
                  <a:pt x="7168763" y="2513076"/>
                  <a:pt x="7174478" y="2420684"/>
                  <a:pt x="7169335" y="2328577"/>
                </a:cubicBezTo>
                <a:cubicBezTo>
                  <a:pt x="7156952" y="2102882"/>
                  <a:pt x="7120586" y="1879149"/>
                  <a:pt x="7060845" y="1661160"/>
                </a:cubicBezTo>
                <a:cubicBezTo>
                  <a:pt x="6910588" y="1121007"/>
                  <a:pt x="6617428" y="631374"/>
                  <a:pt x="6212263" y="243840"/>
                </a:cubicBezTo>
                <a:cubicBezTo>
                  <a:pt x="6126538" y="162496"/>
                  <a:pt x="6040813" y="80201"/>
                  <a:pt x="5953564" y="0"/>
                </a:cubicBezTo>
                <a:lnTo>
                  <a:pt x="1408615" y="0"/>
                </a:lnTo>
                <a:cubicBezTo>
                  <a:pt x="1180967" y="200316"/>
                  <a:pt x="978332" y="427387"/>
                  <a:pt x="805111" y="676275"/>
                </a:cubicBezTo>
                <a:cubicBezTo>
                  <a:pt x="481261" y="1136523"/>
                  <a:pt x="252089" y="1640872"/>
                  <a:pt x="104928" y="2183035"/>
                </a:cubicBezTo>
                <a:cubicBezTo>
                  <a:pt x="85878" y="2254853"/>
                  <a:pt x="69495" y="2327720"/>
                  <a:pt x="51588" y="2400014"/>
                </a:cubicBezTo>
                <a:cubicBezTo>
                  <a:pt x="49683" y="2407634"/>
                  <a:pt x="51588" y="2416969"/>
                  <a:pt x="41301" y="2424208"/>
                </a:cubicBezTo>
                <a:cubicBezTo>
                  <a:pt x="45900" y="2225469"/>
                  <a:pt x="72186" y="2027834"/>
                  <a:pt x="119692" y="1834801"/>
                </a:cubicBezTo>
                <a:cubicBezTo>
                  <a:pt x="247993" y="1310926"/>
                  <a:pt x="506121" y="857726"/>
                  <a:pt x="870071" y="462248"/>
                </a:cubicBezTo>
                <a:cubicBezTo>
                  <a:pt x="1027729" y="291823"/>
                  <a:pt x="1201617" y="137169"/>
                  <a:pt x="1389279" y="476"/>
                </a:cubicBezTo>
                <a:lnTo>
                  <a:pt x="1320223" y="476"/>
                </a:lnTo>
                <a:cubicBezTo>
                  <a:pt x="960844" y="274320"/>
                  <a:pt x="656330" y="599123"/>
                  <a:pt x="423158" y="989743"/>
                </a:cubicBezTo>
                <a:cubicBezTo>
                  <a:pt x="215608" y="1337596"/>
                  <a:pt x="80258" y="1711357"/>
                  <a:pt x="25585" y="2113693"/>
                </a:cubicBezTo>
                <a:cubicBezTo>
                  <a:pt x="-2705" y="2316480"/>
                  <a:pt x="-2228" y="2521077"/>
                  <a:pt x="2344" y="2725865"/>
                </a:cubicBezTo>
                <a:cubicBezTo>
                  <a:pt x="14155" y="3261932"/>
                  <a:pt x="170650" y="3754565"/>
                  <a:pt x="447256" y="4210717"/>
                </a:cubicBezTo>
                <a:cubicBezTo>
                  <a:pt x="629851" y="4511612"/>
                  <a:pt x="866356" y="4767167"/>
                  <a:pt x="1138962" y="4988910"/>
                </a:cubicBezTo>
                <a:cubicBezTo>
                  <a:pt x="1207161" y="5044345"/>
                  <a:pt x="1277008" y="5096990"/>
                  <a:pt x="1348512" y="5146834"/>
                </a:cubicBezTo>
                <a:lnTo>
                  <a:pt x="1422712" y="5146834"/>
                </a:lnTo>
                <a:cubicBezTo>
                  <a:pt x="1043426" y="4892802"/>
                  <a:pt x="724720" y="4577334"/>
                  <a:pt x="480594" y="4187952"/>
                </a:cubicBezTo>
                <a:cubicBezTo>
                  <a:pt x="452019" y="4141851"/>
                  <a:pt x="423444" y="4095179"/>
                  <a:pt x="398679" y="4046125"/>
                </a:cubicBezTo>
                <a:cubicBezTo>
                  <a:pt x="407442" y="4043267"/>
                  <a:pt x="409156" y="4048982"/>
                  <a:pt x="411823" y="4053078"/>
                </a:cubicBezTo>
                <a:cubicBezTo>
                  <a:pt x="683572" y="4484656"/>
                  <a:pt x="1033139" y="4842701"/>
                  <a:pt x="1439380" y="5147405"/>
                </a:cubicBezTo>
                <a:lnTo>
                  <a:pt x="5710010" y="5150263"/>
                </a:lnTo>
                <a:cubicBezTo>
                  <a:pt x="5810594" y="5075482"/>
                  <a:pt x="5907272" y="4995587"/>
                  <a:pt x="5999665" y="4910900"/>
                </a:cubicBezTo>
                <a:cubicBezTo>
                  <a:pt x="6418765" y="4526661"/>
                  <a:pt x="6746901" y="4078129"/>
                  <a:pt x="6954165" y="3545777"/>
                </a:cubicBezTo>
                <a:cubicBezTo>
                  <a:pt x="7048234" y="3306175"/>
                  <a:pt x="7109956" y="3055115"/>
                  <a:pt x="7137712" y="2799207"/>
                </a:cubicBezTo>
                <a:cubicBezTo>
                  <a:pt x="7139236" y="2784920"/>
                  <a:pt x="7141046" y="2770632"/>
                  <a:pt x="7142951" y="2754535"/>
                </a:cubicBezTo>
                <a:cubicBezTo>
                  <a:pt x="7151714" y="2760440"/>
                  <a:pt x="7149237" y="2768441"/>
                  <a:pt x="7149428" y="2774823"/>
                </a:cubicBezTo>
                <a:cubicBezTo>
                  <a:pt x="7156743" y="3007967"/>
                  <a:pt x="7128777" y="3240881"/>
                  <a:pt x="7066465" y="3465672"/>
                </a:cubicBezTo>
                <a:cubicBezTo>
                  <a:pt x="6952165" y="3878580"/>
                  <a:pt x="6737948" y="4235863"/>
                  <a:pt x="6452578" y="4552760"/>
                </a:cubicBezTo>
                <a:cubicBezTo>
                  <a:pt x="6244553" y="4783836"/>
                  <a:pt x="6008809" y="4980242"/>
                  <a:pt x="5752110" y="5150263"/>
                </a:cubicBezTo>
                <a:lnTo>
                  <a:pt x="5827643" y="5150263"/>
                </a:lnTo>
                <a:cubicBezTo>
                  <a:pt x="6136539" y="4938904"/>
                  <a:pt x="6412192" y="4689348"/>
                  <a:pt x="6642793" y="4389406"/>
                </a:cubicBezTo>
                <a:cubicBezTo>
                  <a:pt x="6851295" y="4118324"/>
                  <a:pt x="7009125" y="3820859"/>
                  <a:pt x="7102469" y="3490817"/>
                </a:cubicBezTo>
                <a:cubicBezTo>
                  <a:pt x="7148646" y="3327473"/>
                  <a:pt x="7177069" y="3159624"/>
                  <a:pt x="7187242" y="2990183"/>
                </a:cubicBezTo>
                <a:cubicBezTo>
                  <a:pt x="7187623" y="2984087"/>
                  <a:pt x="7182384" y="2642330"/>
                  <a:pt x="7178288" y="2604802"/>
                </a:cubicBezTo>
                <a:close/>
                <a:moveTo>
                  <a:pt x="6342565" y="441389"/>
                </a:moveTo>
                <a:cubicBezTo>
                  <a:pt x="6829797" y="986533"/>
                  <a:pt x="7091135" y="1624422"/>
                  <a:pt x="7126567" y="2355056"/>
                </a:cubicBezTo>
                <a:cubicBezTo>
                  <a:pt x="7001123" y="1661827"/>
                  <a:pt x="6756426" y="1017365"/>
                  <a:pt x="6342565" y="441389"/>
                </a:cubicBez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Arial"/>
              <a:ea typeface="+mn-ea"/>
              <a:cs typeface="+mn-cs"/>
            </a:endParaRPr>
          </a:p>
        </p:txBody>
      </p:sp>
      <p:sp>
        <p:nvSpPr>
          <p:cNvPr id="4" name="Title 3">
            <a:extLst>
              <a:ext uri="{FF2B5EF4-FFF2-40B4-BE49-F238E27FC236}">
                <a16:creationId xmlns:a16="http://schemas.microsoft.com/office/drawing/2014/main" id="{B009CD84-DA40-4CAA-8A89-DD6DAA862368}"/>
              </a:ext>
            </a:extLst>
          </p:cNvPr>
          <p:cNvSpPr>
            <a:spLocks noGrp="1"/>
          </p:cNvSpPr>
          <p:nvPr>
            <p:ph type="title"/>
          </p:nvPr>
        </p:nvSpPr>
        <p:spPr>
          <a:xfrm>
            <a:off x="2390503" y="1852521"/>
            <a:ext cx="13502422" cy="4348463"/>
          </a:xfrm>
        </p:spPr>
        <p:txBody>
          <a:bodyPr vert="horz" lIns="91440" tIns="45720" rIns="91440" bIns="45720" rtlCol="0" anchor="b">
            <a:normAutofit/>
          </a:bodyPr>
          <a:lstStyle/>
          <a:p>
            <a:pPr indent="457200">
              <a:lnSpc>
                <a:spcPct val="90000"/>
              </a:lnSpc>
              <a:spcAft>
                <a:spcPts val="600"/>
              </a:spcAft>
            </a:pPr>
            <a:r>
              <a:rPr lang="en-GB" sz="8000" b="1" noProof="0" dirty="0" err="1">
                <a:solidFill>
                  <a:schemeClr val="bg1"/>
                </a:solidFill>
                <a:ea typeface="+mn-ea"/>
                <a:cs typeface="Arial" panose="020B0604020202020204" pitchFamily="34" charset="0"/>
              </a:rPr>
              <a:t>Retrofeed</a:t>
            </a:r>
            <a:r>
              <a:rPr lang="en-GB" sz="8000" b="1" noProof="0" dirty="0">
                <a:solidFill>
                  <a:schemeClr val="bg1"/>
                </a:solidFill>
                <a:ea typeface="+mn-ea"/>
                <a:cs typeface="Arial" panose="020B0604020202020204" pitchFamily="34" charset="0"/>
              </a:rPr>
              <a:t> Replicability and </a:t>
            </a:r>
            <a:r>
              <a:rPr lang="en-US" sz="8000" b="1" noProof="0" dirty="0">
                <a:solidFill>
                  <a:schemeClr val="bg1"/>
                </a:solidFill>
                <a:ea typeface="+mn-ea"/>
                <a:cs typeface="Arial" panose="020B0604020202020204" pitchFamily="34" charset="0"/>
              </a:rPr>
              <a:t>C</a:t>
            </a:r>
            <a:r>
              <a:rPr lang="en-US" sz="8000" b="1" dirty="0" err="1">
                <a:solidFill>
                  <a:schemeClr val="bg1"/>
                </a:solidFill>
                <a:ea typeface="+mn-ea"/>
                <a:cs typeface="Arial" panose="020B0604020202020204" pitchFamily="34" charset="0"/>
              </a:rPr>
              <a:t>ommercialization</a:t>
            </a:r>
            <a:endParaRPr lang="en-GB" sz="8000" b="1" dirty="0">
              <a:solidFill>
                <a:schemeClr val="bg1"/>
              </a:solidFill>
              <a:ea typeface="+mn-ea"/>
              <a:cs typeface="Arial" panose="020B0604020202020204" pitchFamily="34" charset="0"/>
            </a:endParaRPr>
          </a:p>
        </p:txBody>
      </p:sp>
      <p:sp>
        <p:nvSpPr>
          <p:cNvPr id="62" name="sketch line">
            <a:extLst>
              <a:ext uri="{FF2B5EF4-FFF2-40B4-BE49-F238E27FC236}">
                <a16:creationId xmlns:a16="http://schemas.microsoft.com/office/drawing/2014/main" id="{41F77738-2AF0-4750-A0C7-F97C2C17590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961309" y="6260247"/>
            <a:ext cx="6365383" cy="27432"/>
          </a:xfrm>
          <a:custGeom>
            <a:avLst/>
            <a:gdLst>
              <a:gd name="connsiteX0" fmla="*/ 0 w 6365383"/>
              <a:gd name="connsiteY0" fmla="*/ 0 h 27432"/>
              <a:gd name="connsiteX1" fmla="*/ 636538 w 6365383"/>
              <a:gd name="connsiteY1" fmla="*/ 0 h 27432"/>
              <a:gd name="connsiteX2" fmla="*/ 1273077 w 6365383"/>
              <a:gd name="connsiteY2" fmla="*/ 0 h 27432"/>
              <a:gd name="connsiteX3" fmla="*/ 1909615 w 6365383"/>
              <a:gd name="connsiteY3" fmla="*/ 0 h 27432"/>
              <a:gd name="connsiteX4" fmla="*/ 2673461 w 6365383"/>
              <a:gd name="connsiteY4" fmla="*/ 0 h 27432"/>
              <a:gd name="connsiteX5" fmla="*/ 3373653 w 6365383"/>
              <a:gd name="connsiteY5" fmla="*/ 0 h 27432"/>
              <a:gd name="connsiteX6" fmla="*/ 3819230 w 6365383"/>
              <a:gd name="connsiteY6" fmla="*/ 0 h 27432"/>
              <a:gd name="connsiteX7" fmla="*/ 4392114 w 6365383"/>
              <a:gd name="connsiteY7" fmla="*/ 0 h 27432"/>
              <a:gd name="connsiteX8" fmla="*/ 5155960 w 6365383"/>
              <a:gd name="connsiteY8" fmla="*/ 0 h 27432"/>
              <a:gd name="connsiteX9" fmla="*/ 5792499 w 6365383"/>
              <a:gd name="connsiteY9" fmla="*/ 0 h 27432"/>
              <a:gd name="connsiteX10" fmla="*/ 6365383 w 6365383"/>
              <a:gd name="connsiteY10" fmla="*/ 0 h 27432"/>
              <a:gd name="connsiteX11" fmla="*/ 6365383 w 6365383"/>
              <a:gd name="connsiteY11" fmla="*/ 27432 h 27432"/>
              <a:gd name="connsiteX12" fmla="*/ 5856152 w 6365383"/>
              <a:gd name="connsiteY12" fmla="*/ 27432 h 27432"/>
              <a:gd name="connsiteX13" fmla="*/ 5092306 w 6365383"/>
              <a:gd name="connsiteY13" fmla="*/ 27432 h 27432"/>
              <a:gd name="connsiteX14" fmla="*/ 4583076 w 6365383"/>
              <a:gd name="connsiteY14" fmla="*/ 27432 h 27432"/>
              <a:gd name="connsiteX15" fmla="*/ 4137499 w 6365383"/>
              <a:gd name="connsiteY15" fmla="*/ 27432 h 27432"/>
              <a:gd name="connsiteX16" fmla="*/ 3691922 w 6365383"/>
              <a:gd name="connsiteY16" fmla="*/ 27432 h 27432"/>
              <a:gd name="connsiteX17" fmla="*/ 2991730 w 6365383"/>
              <a:gd name="connsiteY17" fmla="*/ 27432 h 27432"/>
              <a:gd name="connsiteX18" fmla="*/ 2546153 w 6365383"/>
              <a:gd name="connsiteY18" fmla="*/ 27432 h 27432"/>
              <a:gd name="connsiteX19" fmla="*/ 1909615 w 6365383"/>
              <a:gd name="connsiteY19" fmla="*/ 27432 h 27432"/>
              <a:gd name="connsiteX20" fmla="*/ 1400384 w 6365383"/>
              <a:gd name="connsiteY20" fmla="*/ 27432 h 27432"/>
              <a:gd name="connsiteX21" fmla="*/ 763846 w 6365383"/>
              <a:gd name="connsiteY21" fmla="*/ 27432 h 27432"/>
              <a:gd name="connsiteX22" fmla="*/ 0 w 6365383"/>
              <a:gd name="connsiteY22" fmla="*/ 27432 h 27432"/>
              <a:gd name="connsiteX23" fmla="*/ 0 w 6365383"/>
              <a:gd name="connsiteY23" fmla="*/ 0 h 27432"/>
              <a:gd name="connsiteX0" fmla="*/ 0 w 6365383"/>
              <a:gd name="connsiteY0" fmla="*/ 0 h 27432"/>
              <a:gd name="connsiteX1" fmla="*/ 572884 w 6365383"/>
              <a:gd name="connsiteY1" fmla="*/ 0 h 27432"/>
              <a:gd name="connsiteX2" fmla="*/ 1018461 w 6365383"/>
              <a:gd name="connsiteY2" fmla="*/ 0 h 27432"/>
              <a:gd name="connsiteX3" fmla="*/ 1782307 w 6365383"/>
              <a:gd name="connsiteY3" fmla="*/ 0 h 27432"/>
              <a:gd name="connsiteX4" fmla="*/ 2355192 w 6365383"/>
              <a:gd name="connsiteY4" fmla="*/ 0 h 27432"/>
              <a:gd name="connsiteX5" fmla="*/ 2928076 w 6365383"/>
              <a:gd name="connsiteY5" fmla="*/ 0 h 27432"/>
              <a:gd name="connsiteX6" fmla="*/ 3691922 w 6365383"/>
              <a:gd name="connsiteY6" fmla="*/ 0 h 27432"/>
              <a:gd name="connsiteX7" fmla="*/ 4201153 w 6365383"/>
              <a:gd name="connsiteY7" fmla="*/ 0 h 27432"/>
              <a:gd name="connsiteX8" fmla="*/ 4964999 w 6365383"/>
              <a:gd name="connsiteY8" fmla="*/ 0 h 27432"/>
              <a:gd name="connsiteX9" fmla="*/ 5728845 w 6365383"/>
              <a:gd name="connsiteY9" fmla="*/ 0 h 27432"/>
              <a:gd name="connsiteX10" fmla="*/ 6365383 w 6365383"/>
              <a:gd name="connsiteY10" fmla="*/ 0 h 27432"/>
              <a:gd name="connsiteX11" fmla="*/ 6365383 w 6365383"/>
              <a:gd name="connsiteY11" fmla="*/ 27432 h 27432"/>
              <a:gd name="connsiteX12" fmla="*/ 5665191 w 6365383"/>
              <a:gd name="connsiteY12" fmla="*/ 27432 h 27432"/>
              <a:gd name="connsiteX13" fmla="*/ 4901345 w 6365383"/>
              <a:gd name="connsiteY13" fmla="*/ 27432 h 27432"/>
              <a:gd name="connsiteX14" fmla="*/ 4137499 w 6365383"/>
              <a:gd name="connsiteY14" fmla="*/ 27432 h 27432"/>
              <a:gd name="connsiteX15" fmla="*/ 3628268 w 6365383"/>
              <a:gd name="connsiteY15" fmla="*/ 27432 h 27432"/>
              <a:gd name="connsiteX16" fmla="*/ 2991730 w 6365383"/>
              <a:gd name="connsiteY16" fmla="*/ 27432 h 27432"/>
              <a:gd name="connsiteX17" fmla="*/ 2227884 w 6365383"/>
              <a:gd name="connsiteY17" fmla="*/ 27432 h 27432"/>
              <a:gd name="connsiteX18" fmla="*/ 1591346 w 6365383"/>
              <a:gd name="connsiteY18" fmla="*/ 27432 h 27432"/>
              <a:gd name="connsiteX19" fmla="*/ 1145769 w 6365383"/>
              <a:gd name="connsiteY19" fmla="*/ 27432 h 27432"/>
              <a:gd name="connsiteX20" fmla="*/ 636538 w 6365383"/>
              <a:gd name="connsiteY20" fmla="*/ 27432 h 27432"/>
              <a:gd name="connsiteX21" fmla="*/ 0 w 6365383"/>
              <a:gd name="connsiteY21" fmla="*/ 27432 h 27432"/>
              <a:gd name="connsiteX22" fmla="*/ 0 w 6365383"/>
              <a:gd name="connsiteY22"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365383" h="27432" fill="none" extrusionOk="0">
                <a:moveTo>
                  <a:pt x="0" y="0"/>
                </a:moveTo>
                <a:cubicBezTo>
                  <a:pt x="311910" y="25756"/>
                  <a:pt x="328854" y="-22977"/>
                  <a:pt x="636538" y="0"/>
                </a:cubicBezTo>
                <a:cubicBezTo>
                  <a:pt x="929901" y="50670"/>
                  <a:pt x="1067253" y="-1993"/>
                  <a:pt x="1273077" y="0"/>
                </a:cubicBezTo>
                <a:cubicBezTo>
                  <a:pt x="1507620" y="-24857"/>
                  <a:pt x="1747799" y="-10413"/>
                  <a:pt x="1909615" y="0"/>
                </a:cubicBezTo>
                <a:cubicBezTo>
                  <a:pt x="2041097" y="-21585"/>
                  <a:pt x="2422417" y="-28022"/>
                  <a:pt x="2673461" y="0"/>
                </a:cubicBezTo>
                <a:cubicBezTo>
                  <a:pt x="2948394" y="-4560"/>
                  <a:pt x="3134893" y="36981"/>
                  <a:pt x="3373653" y="0"/>
                </a:cubicBezTo>
                <a:cubicBezTo>
                  <a:pt x="3634761" y="-15887"/>
                  <a:pt x="3700843" y="23167"/>
                  <a:pt x="3819230" y="0"/>
                </a:cubicBezTo>
                <a:cubicBezTo>
                  <a:pt x="3977295" y="2943"/>
                  <a:pt x="4128910" y="-53150"/>
                  <a:pt x="4392114" y="0"/>
                </a:cubicBezTo>
                <a:cubicBezTo>
                  <a:pt x="4672763" y="9214"/>
                  <a:pt x="4999833" y="38501"/>
                  <a:pt x="5155960" y="0"/>
                </a:cubicBezTo>
                <a:cubicBezTo>
                  <a:pt x="5343367" y="-6557"/>
                  <a:pt x="5597661" y="6622"/>
                  <a:pt x="5792499" y="0"/>
                </a:cubicBezTo>
                <a:cubicBezTo>
                  <a:pt x="6020774" y="43813"/>
                  <a:pt x="6148830" y="-13954"/>
                  <a:pt x="6365383" y="0"/>
                </a:cubicBezTo>
                <a:cubicBezTo>
                  <a:pt x="6364517" y="8091"/>
                  <a:pt x="6365728" y="20268"/>
                  <a:pt x="6365383" y="27432"/>
                </a:cubicBezTo>
                <a:cubicBezTo>
                  <a:pt x="6144545" y="15144"/>
                  <a:pt x="6006673" y="-7419"/>
                  <a:pt x="5856152" y="27432"/>
                </a:cubicBezTo>
                <a:cubicBezTo>
                  <a:pt x="5638446" y="81548"/>
                  <a:pt x="5413846" y="52067"/>
                  <a:pt x="5092306" y="27432"/>
                </a:cubicBezTo>
                <a:cubicBezTo>
                  <a:pt x="4768499" y="43350"/>
                  <a:pt x="4708569" y="3163"/>
                  <a:pt x="4583076" y="27432"/>
                </a:cubicBezTo>
                <a:cubicBezTo>
                  <a:pt x="4475482" y="66269"/>
                  <a:pt x="4242792" y="42702"/>
                  <a:pt x="4137499" y="27432"/>
                </a:cubicBezTo>
                <a:cubicBezTo>
                  <a:pt x="4003968" y="24039"/>
                  <a:pt x="3882646" y="-3026"/>
                  <a:pt x="3691922" y="27432"/>
                </a:cubicBezTo>
                <a:cubicBezTo>
                  <a:pt x="3501639" y="8096"/>
                  <a:pt x="3270842" y="-14942"/>
                  <a:pt x="2991730" y="27432"/>
                </a:cubicBezTo>
                <a:cubicBezTo>
                  <a:pt x="2712135" y="55419"/>
                  <a:pt x="2758697" y="31955"/>
                  <a:pt x="2546153" y="27432"/>
                </a:cubicBezTo>
                <a:cubicBezTo>
                  <a:pt x="2362220" y="-818"/>
                  <a:pt x="2130397" y="57099"/>
                  <a:pt x="1909615" y="27432"/>
                </a:cubicBezTo>
                <a:cubicBezTo>
                  <a:pt x="1714835" y="-15389"/>
                  <a:pt x="1636770" y="40318"/>
                  <a:pt x="1400384" y="27432"/>
                </a:cubicBezTo>
                <a:cubicBezTo>
                  <a:pt x="1161504" y="29515"/>
                  <a:pt x="1060819" y="7773"/>
                  <a:pt x="763846" y="27432"/>
                </a:cubicBezTo>
                <a:cubicBezTo>
                  <a:pt x="465096" y="43671"/>
                  <a:pt x="165309" y="15831"/>
                  <a:pt x="0" y="27432"/>
                </a:cubicBezTo>
                <a:cubicBezTo>
                  <a:pt x="-2013" y="18874"/>
                  <a:pt x="-525" y="8614"/>
                  <a:pt x="0" y="0"/>
                </a:cubicBezTo>
                <a:close/>
              </a:path>
              <a:path w="6365383" h="27432" stroke="0" extrusionOk="0">
                <a:moveTo>
                  <a:pt x="0" y="0"/>
                </a:moveTo>
                <a:cubicBezTo>
                  <a:pt x="84020" y="9133"/>
                  <a:pt x="339524" y="24523"/>
                  <a:pt x="572884" y="0"/>
                </a:cubicBezTo>
                <a:cubicBezTo>
                  <a:pt x="803790" y="-14011"/>
                  <a:pt x="837492" y="-10007"/>
                  <a:pt x="1018461" y="0"/>
                </a:cubicBezTo>
                <a:cubicBezTo>
                  <a:pt x="1188530" y="8943"/>
                  <a:pt x="1571061" y="17361"/>
                  <a:pt x="1782307" y="0"/>
                </a:cubicBezTo>
                <a:cubicBezTo>
                  <a:pt x="1967448" y="-16010"/>
                  <a:pt x="2153334" y="-25629"/>
                  <a:pt x="2355192" y="0"/>
                </a:cubicBezTo>
                <a:cubicBezTo>
                  <a:pt x="2541804" y="20205"/>
                  <a:pt x="2779440" y="53811"/>
                  <a:pt x="2928076" y="0"/>
                </a:cubicBezTo>
                <a:cubicBezTo>
                  <a:pt x="3024078" y="-16903"/>
                  <a:pt x="3337092" y="43483"/>
                  <a:pt x="3691922" y="0"/>
                </a:cubicBezTo>
                <a:cubicBezTo>
                  <a:pt x="4060895" y="-1064"/>
                  <a:pt x="4072166" y="-17195"/>
                  <a:pt x="4201153" y="0"/>
                </a:cubicBezTo>
                <a:cubicBezTo>
                  <a:pt x="4349835" y="-22516"/>
                  <a:pt x="4800106" y="-64797"/>
                  <a:pt x="4964999" y="0"/>
                </a:cubicBezTo>
                <a:cubicBezTo>
                  <a:pt x="5186764" y="15779"/>
                  <a:pt x="5564421" y="-10544"/>
                  <a:pt x="5728845" y="0"/>
                </a:cubicBezTo>
                <a:cubicBezTo>
                  <a:pt x="5915953" y="5493"/>
                  <a:pt x="6171384" y="-48026"/>
                  <a:pt x="6365383" y="0"/>
                </a:cubicBezTo>
                <a:cubicBezTo>
                  <a:pt x="6366596" y="6455"/>
                  <a:pt x="6365588" y="14391"/>
                  <a:pt x="6365383" y="27432"/>
                </a:cubicBezTo>
                <a:cubicBezTo>
                  <a:pt x="6172514" y="805"/>
                  <a:pt x="6006523" y="20734"/>
                  <a:pt x="5665191" y="27432"/>
                </a:cubicBezTo>
                <a:cubicBezTo>
                  <a:pt x="5322179" y="66687"/>
                  <a:pt x="5219376" y="21111"/>
                  <a:pt x="4901345" y="27432"/>
                </a:cubicBezTo>
                <a:cubicBezTo>
                  <a:pt x="4621310" y="-13654"/>
                  <a:pt x="4455192" y="54857"/>
                  <a:pt x="4137499" y="27432"/>
                </a:cubicBezTo>
                <a:cubicBezTo>
                  <a:pt x="3853317" y="12285"/>
                  <a:pt x="3862894" y="26263"/>
                  <a:pt x="3628268" y="27432"/>
                </a:cubicBezTo>
                <a:cubicBezTo>
                  <a:pt x="3418779" y="32610"/>
                  <a:pt x="3174456" y="83656"/>
                  <a:pt x="2991730" y="27432"/>
                </a:cubicBezTo>
                <a:cubicBezTo>
                  <a:pt x="2801278" y="6667"/>
                  <a:pt x="2497351" y="22891"/>
                  <a:pt x="2227884" y="27432"/>
                </a:cubicBezTo>
                <a:cubicBezTo>
                  <a:pt x="1986101" y="16297"/>
                  <a:pt x="1767219" y="-7535"/>
                  <a:pt x="1591346" y="27432"/>
                </a:cubicBezTo>
                <a:cubicBezTo>
                  <a:pt x="1447183" y="73731"/>
                  <a:pt x="1315973" y="39477"/>
                  <a:pt x="1145769" y="27432"/>
                </a:cubicBezTo>
                <a:cubicBezTo>
                  <a:pt x="990245" y="8882"/>
                  <a:pt x="810845" y="16910"/>
                  <a:pt x="636538" y="27432"/>
                </a:cubicBezTo>
                <a:cubicBezTo>
                  <a:pt x="482916" y="17795"/>
                  <a:pt x="183027" y="-17710"/>
                  <a:pt x="0" y="27432"/>
                </a:cubicBezTo>
                <a:cubicBezTo>
                  <a:pt x="491" y="19542"/>
                  <a:pt x="-1038" y="8534"/>
                  <a:pt x="0" y="0"/>
                </a:cubicBezTo>
                <a:close/>
              </a:path>
              <a:path w="6365383" h="27432" fill="none" stroke="0" extrusionOk="0">
                <a:moveTo>
                  <a:pt x="0" y="0"/>
                </a:moveTo>
                <a:cubicBezTo>
                  <a:pt x="296223" y="15991"/>
                  <a:pt x="333462" y="-23795"/>
                  <a:pt x="636538" y="0"/>
                </a:cubicBezTo>
                <a:cubicBezTo>
                  <a:pt x="970197" y="30961"/>
                  <a:pt x="1039864" y="3183"/>
                  <a:pt x="1273077" y="0"/>
                </a:cubicBezTo>
                <a:cubicBezTo>
                  <a:pt x="1449809" y="24819"/>
                  <a:pt x="1735152" y="23060"/>
                  <a:pt x="1909615" y="0"/>
                </a:cubicBezTo>
                <a:cubicBezTo>
                  <a:pt x="2016351" y="-41665"/>
                  <a:pt x="2415001" y="34773"/>
                  <a:pt x="2673461" y="0"/>
                </a:cubicBezTo>
                <a:cubicBezTo>
                  <a:pt x="2996983" y="-13411"/>
                  <a:pt x="3130707" y="3741"/>
                  <a:pt x="3373653" y="0"/>
                </a:cubicBezTo>
                <a:cubicBezTo>
                  <a:pt x="3601951" y="-16140"/>
                  <a:pt x="3689909" y="23222"/>
                  <a:pt x="3819230" y="0"/>
                </a:cubicBezTo>
                <a:cubicBezTo>
                  <a:pt x="3931872" y="-29406"/>
                  <a:pt x="4119438" y="24094"/>
                  <a:pt x="4392114" y="0"/>
                </a:cubicBezTo>
                <a:cubicBezTo>
                  <a:pt x="4665359" y="21557"/>
                  <a:pt x="4978709" y="13267"/>
                  <a:pt x="5155960" y="0"/>
                </a:cubicBezTo>
                <a:cubicBezTo>
                  <a:pt x="5299518" y="-18386"/>
                  <a:pt x="5605020" y="-6762"/>
                  <a:pt x="5792499" y="0"/>
                </a:cubicBezTo>
                <a:cubicBezTo>
                  <a:pt x="6013281" y="43398"/>
                  <a:pt x="6167567" y="36727"/>
                  <a:pt x="6365383" y="0"/>
                </a:cubicBezTo>
                <a:cubicBezTo>
                  <a:pt x="6365697" y="8368"/>
                  <a:pt x="6365332" y="21050"/>
                  <a:pt x="6365383" y="27432"/>
                </a:cubicBezTo>
                <a:cubicBezTo>
                  <a:pt x="6154893" y="8454"/>
                  <a:pt x="6014206" y="-8372"/>
                  <a:pt x="5856152" y="27432"/>
                </a:cubicBezTo>
                <a:cubicBezTo>
                  <a:pt x="5659455" y="59503"/>
                  <a:pt x="5350806" y="-35991"/>
                  <a:pt x="5092306" y="27432"/>
                </a:cubicBezTo>
                <a:cubicBezTo>
                  <a:pt x="4756309" y="48260"/>
                  <a:pt x="4699746" y="-4780"/>
                  <a:pt x="4583076" y="27432"/>
                </a:cubicBezTo>
                <a:cubicBezTo>
                  <a:pt x="4462137" y="30142"/>
                  <a:pt x="4226168" y="50236"/>
                  <a:pt x="4137499" y="27432"/>
                </a:cubicBezTo>
                <a:cubicBezTo>
                  <a:pt x="4018570" y="42181"/>
                  <a:pt x="3887179" y="34623"/>
                  <a:pt x="3691922" y="27432"/>
                </a:cubicBezTo>
                <a:cubicBezTo>
                  <a:pt x="3499755" y="32935"/>
                  <a:pt x="3281056" y="-9158"/>
                  <a:pt x="2991730" y="27432"/>
                </a:cubicBezTo>
                <a:cubicBezTo>
                  <a:pt x="2716073" y="57462"/>
                  <a:pt x="2755481" y="34494"/>
                  <a:pt x="2546153" y="27432"/>
                </a:cubicBezTo>
                <a:cubicBezTo>
                  <a:pt x="2356479" y="62622"/>
                  <a:pt x="2079190" y="73729"/>
                  <a:pt x="1909615" y="27432"/>
                </a:cubicBezTo>
                <a:cubicBezTo>
                  <a:pt x="1715819" y="-26444"/>
                  <a:pt x="1631368" y="48131"/>
                  <a:pt x="1400384" y="27432"/>
                </a:cubicBezTo>
                <a:cubicBezTo>
                  <a:pt x="1177327" y="16190"/>
                  <a:pt x="1065236" y="24992"/>
                  <a:pt x="763846" y="27432"/>
                </a:cubicBezTo>
                <a:cubicBezTo>
                  <a:pt x="448643" y="60691"/>
                  <a:pt x="160833" y="2330"/>
                  <a:pt x="0" y="27432"/>
                </a:cubicBezTo>
                <a:cubicBezTo>
                  <a:pt x="1559" y="18666"/>
                  <a:pt x="-585" y="7580"/>
                  <a:pt x="0" y="0"/>
                </a:cubicBezTo>
                <a:close/>
              </a:path>
            </a:pathLst>
          </a:custGeom>
          <a:solidFill>
            <a:srgbClr val="FFFFFF"/>
          </a:solidFill>
          <a:ln w="41275" cap="rnd">
            <a:solidFill>
              <a:srgbClr val="FFFFFF"/>
            </a:solidFill>
            <a:round/>
            <a:extLst>
              <a:ext uri="{C807C97D-BFC1-408E-A445-0C87EB9F89A2}">
                <ask:lineSketchStyleProps xmlns:ask="http://schemas.microsoft.com/office/drawing/2018/sketchyshapes" sd="1219033472">
                  <a:custGeom>
                    <a:avLst/>
                    <a:gdLst>
                      <a:gd name="connsiteX0" fmla="*/ 0 w 6365383"/>
                      <a:gd name="connsiteY0" fmla="*/ 0 h 27432"/>
                      <a:gd name="connsiteX1" fmla="*/ 636538 w 6365383"/>
                      <a:gd name="connsiteY1" fmla="*/ 0 h 27432"/>
                      <a:gd name="connsiteX2" fmla="*/ 1273077 w 6365383"/>
                      <a:gd name="connsiteY2" fmla="*/ 0 h 27432"/>
                      <a:gd name="connsiteX3" fmla="*/ 1909615 w 6365383"/>
                      <a:gd name="connsiteY3" fmla="*/ 0 h 27432"/>
                      <a:gd name="connsiteX4" fmla="*/ 2673461 w 6365383"/>
                      <a:gd name="connsiteY4" fmla="*/ 0 h 27432"/>
                      <a:gd name="connsiteX5" fmla="*/ 3373653 w 6365383"/>
                      <a:gd name="connsiteY5" fmla="*/ 0 h 27432"/>
                      <a:gd name="connsiteX6" fmla="*/ 3819230 w 6365383"/>
                      <a:gd name="connsiteY6" fmla="*/ 0 h 27432"/>
                      <a:gd name="connsiteX7" fmla="*/ 4392114 w 6365383"/>
                      <a:gd name="connsiteY7" fmla="*/ 0 h 27432"/>
                      <a:gd name="connsiteX8" fmla="*/ 5155960 w 6365383"/>
                      <a:gd name="connsiteY8" fmla="*/ 0 h 27432"/>
                      <a:gd name="connsiteX9" fmla="*/ 5792499 w 6365383"/>
                      <a:gd name="connsiteY9" fmla="*/ 0 h 27432"/>
                      <a:gd name="connsiteX10" fmla="*/ 6365383 w 6365383"/>
                      <a:gd name="connsiteY10" fmla="*/ 0 h 27432"/>
                      <a:gd name="connsiteX11" fmla="*/ 6365383 w 6365383"/>
                      <a:gd name="connsiteY11" fmla="*/ 27432 h 27432"/>
                      <a:gd name="connsiteX12" fmla="*/ 5856152 w 6365383"/>
                      <a:gd name="connsiteY12" fmla="*/ 27432 h 27432"/>
                      <a:gd name="connsiteX13" fmla="*/ 5092306 w 6365383"/>
                      <a:gd name="connsiteY13" fmla="*/ 27432 h 27432"/>
                      <a:gd name="connsiteX14" fmla="*/ 4583076 w 6365383"/>
                      <a:gd name="connsiteY14" fmla="*/ 27432 h 27432"/>
                      <a:gd name="connsiteX15" fmla="*/ 4137499 w 6365383"/>
                      <a:gd name="connsiteY15" fmla="*/ 27432 h 27432"/>
                      <a:gd name="connsiteX16" fmla="*/ 3691922 w 6365383"/>
                      <a:gd name="connsiteY16" fmla="*/ 27432 h 27432"/>
                      <a:gd name="connsiteX17" fmla="*/ 2991730 w 6365383"/>
                      <a:gd name="connsiteY17" fmla="*/ 27432 h 27432"/>
                      <a:gd name="connsiteX18" fmla="*/ 2546153 w 6365383"/>
                      <a:gd name="connsiteY18" fmla="*/ 27432 h 27432"/>
                      <a:gd name="connsiteX19" fmla="*/ 1909615 w 6365383"/>
                      <a:gd name="connsiteY19" fmla="*/ 27432 h 27432"/>
                      <a:gd name="connsiteX20" fmla="*/ 1400384 w 6365383"/>
                      <a:gd name="connsiteY20" fmla="*/ 27432 h 27432"/>
                      <a:gd name="connsiteX21" fmla="*/ 763846 w 6365383"/>
                      <a:gd name="connsiteY21" fmla="*/ 27432 h 27432"/>
                      <a:gd name="connsiteX22" fmla="*/ 0 w 6365383"/>
                      <a:gd name="connsiteY22" fmla="*/ 27432 h 27432"/>
                      <a:gd name="connsiteX23" fmla="*/ 0 w 6365383"/>
                      <a:gd name="connsiteY23"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365383" h="27432" fill="none" extrusionOk="0">
                        <a:moveTo>
                          <a:pt x="0" y="0"/>
                        </a:moveTo>
                        <a:cubicBezTo>
                          <a:pt x="305169" y="21509"/>
                          <a:pt x="334704" y="-24261"/>
                          <a:pt x="636538" y="0"/>
                        </a:cubicBezTo>
                        <a:cubicBezTo>
                          <a:pt x="938372" y="24261"/>
                          <a:pt x="1068606" y="2269"/>
                          <a:pt x="1273077" y="0"/>
                        </a:cubicBezTo>
                        <a:cubicBezTo>
                          <a:pt x="1477548" y="-2269"/>
                          <a:pt x="1738189" y="6272"/>
                          <a:pt x="1909615" y="0"/>
                        </a:cubicBezTo>
                        <a:cubicBezTo>
                          <a:pt x="2081041" y="-6272"/>
                          <a:pt x="2377015" y="16623"/>
                          <a:pt x="2673461" y="0"/>
                        </a:cubicBezTo>
                        <a:cubicBezTo>
                          <a:pt x="2969907" y="-16623"/>
                          <a:pt x="3126114" y="13194"/>
                          <a:pt x="3373653" y="0"/>
                        </a:cubicBezTo>
                        <a:cubicBezTo>
                          <a:pt x="3621192" y="-13194"/>
                          <a:pt x="3704499" y="9486"/>
                          <a:pt x="3819230" y="0"/>
                        </a:cubicBezTo>
                        <a:cubicBezTo>
                          <a:pt x="3933961" y="-9486"/>
                          <a:pt x="4142691" y="-8221"/>
                          <a:pt x="4392114" y="0"/>
                        </a:cubicBezTo>
                        <a:cubicBezTo>
                          <a:pt x="4641537" y="8221"/>
                          <a:pt x="4974506" y="12257"/>
                          <a:pt x="5155960" y="0"/>
                        </a:cubicBezTo>
                        <a:cubicBezTo>
                          <a:pt x="5337414" y="-12257"/>
                          <a:pt x="5585731" y="-22537"/>
                          <a:pt x="5792499" y="0"/>
                        </a:cubicBezTo>
                        <a:cubicBezTo>
                          <a:pt x="5999267" y="22537"/>
                          <a:pt x="6164726" y="7303"/>
                          <a:pt x="6365383" y="0"/>
                        </a:cubicBezTo>
                        <a:cubicBezTo>
                          <a:pt x="6365125" y="7487"/>
                          <a:pt x="6364462" y="19984"/>
                          <a:pt x="6365383" y="27432"/>
                        </a:cubicBezTo>
                        <a:cubicBezTo>
                          <a:pt x="6132222" y="28304"/>
                          <a:pt x="6011986" y="2071"/>
                          <a:pt x="5856152" y="27432"/>
                        </a:cubicBezTo>
                        <a:cubicBezTo>
                          <a:pt x="5700318" y="52793"/>
                          <a:pt x="5410732" y="5357"/>
                          <a:pt x="5092306" y="27432"/>
                        </a:cubicBezTo>
                        <a:cubicBezTo>
                          <a:pt x="4773880" y="49507"/>
                          <a:pt x="4705351" y="6645"/>
                          <a:pt x="4583076" y="27432"/>
                        </a:cubicBezTo>
                        <a:cubicBezTo>
                          <a:pt x="4460801" y="48220"/>
                          <a:pt x="4239915" y="42209"/>
                          <a:pt x="4137499" y="27432"/>
                        </a:cubicBezTo>
                        <a:cubicBezTo>
                          <a:pt x="4035083" y="12655"/>
                          <a:pt x="3883665" y="32012"/>
                          <a:pt x="3691922" y="27432"/>
                        </a:cubicBezTo>
                        <a:cubicBezTo>
                          <a:pt x="3500179" y="22852"/>
                          <a:pt x="3265830" y="-126"/>
                          <a:pt x="2991730" y="27432"/>
                        </a:cubicBezTo>
                        <a:cubicBezTo>
                          <a:pt x="2717630" y="54990"/>
                          <a:pt x="2757122" y="34407"/>
                          <a:pt x="2546153" y="27432"/>
                        </a:cubicBezTo>
                        <a:cubicBezTo>
                          <a:pt x="2335184" y="20457"/>
                          <a:pt x="2107331" y="58889"/>
                          <a:pt x="1909615" y="27432"/>
                        </a:cubicBezTo>
                        <a:cubicBezTo>
                          <a:pt x="1711899" y="-4025"/>
                          <a:pt x="1634641" y="48316"/>
                          <a:pt x="1400384" y="27432"/>
                        </a:cubicBezTo>
                        <a:cubicBezTo>
                          <a:pt x="1166127" y="6548"/>
                          <a:pt x="1068288" y="15776"/>
                          <a:pt x="763846" y="27432"/>
                        </a:cubicBezTo>
                        <a:cubicBezTo>
                          <a:pt x="459404" y="39088"/>
                          <a:pt x="170017" y="14515"/>
                          <a:pt x="0" y="27432"/>
                        </a:cubicBezTo>
                        <a:cubicBezTo>
                          <a:pt x="-14" y="18173"/>
                          <a:pt x="-517" y="8990"/>
                          <a:pt x="0" y="0"/>
                        </a:cubicBezTo>
                        <a:close/>
                      </a:path>
                      <a:path w="6365383" h="27432" stroke="0" extrusionOk="0">
                        <a:moveTo>
                          <a:pt x="0" y="0"/>
                        </a:moveTo>
                        <a:cubicBezTo>
                          <a:pt x="114610" y="-2215"/>
                          <a:pt x="340315" y="12554"/>
                          <a:pt x="572884" y="0"/>
                        </a:cubicBezTo>
                        <a:cubicBezTo>
                          <a:pt x="805453" y="-12554"/>
                          <a:pt x="832891" y="-10424"/>
                          <a:pt x="1018461" y="0"/>
                        </a:cubicBezTo>
                        <a:cubicBezTo>
                          <a:pt x="1204031" y="10424"/>
                          <a:pt x="1590875" y="8682"/>
                          <a:pt x="1782307" y="0"/>
                        </a:cubicBezTo>
                        <a:cubicBezTo>
                          <a:pt x="1973739" y="-8682"/>
                          <a:pt x="2150876" y="5508"/>
                          <a:pt x="2355192" y="0"/>
                        </a:cubicBezTo>
                        <a:cubicBezTo>
                          <a:pt x="2559508" y="-5508"/>
                          <a:pt x="2790194" y="26965"/>
                          <a:pt x="2928076" y="0"/>
                        </a:cubicBezTo>
                        <a:cubicBezTo>
                          <a:pt x="3065958" y="-26965"/>
                          <a:pt x="3321537" y="819"/>
                          <a:pt x="3691922" y="0"/>
                        </a:cubicBezTo>
                        <a:cubicBezTo>
                          <a:pt x="4062307" y="-819"/>
                          <a:pt x="4072238" y="-15327"/>
                          <a:pt x="4201153" y="0"/>
                        </a:cubicBezTo>
                        <a:cubicBezTo>
                          <a:pt x="4330068" y="15327"/>
                          <a:pt x="4772079" y="-35646"/>
                          <a:pt x="4964999" y="0"/>
                        </a:cubicBezTo>
                        <a:cubicBezTo>
                          <a:pt x="5157919" y="35646"/>
                          <a:pt x="5543915" y="6802"/>
                          <a:pt x="5728845" y="0"/>
                        </a:cubicBezTo>
                        <a:cubicBezTo>
                          <a:pt x="5913775" y="-6802"/>
                          <a:pt x="6142952" y="-21408"/>
                          <a:pt x="6365383" y="0"/>
                        </a:cubicBezTo>
                        <a:cubicBezTo>
                          <a:pt x="6364552" y="6329"/>
                          <a:pt x="6365787" y="16858"/>
                          <a:pt x="6365383" y="27432"/>
                        </a:cubicBezTo>
                        <a:cubicBezTo>
                          <a:pt x="6176931" y="320"/>
                          <a:pt x="5998736" y="11244"/>
                          <a:pt x="5665191" y="27432"/>
                        </a:cubicBezTo>
                        <a:cubicBezTo>
                          <a:pt x="5331646" y="43620"/>
                          <a:pt x="5198011" y="28615"/>
                          <a:pt x="4901345" y="27432"/>
                        </a:cubicBezTo>
                        <a:cubicBezTo>
                          <a:pt x="4604679" y="26249"/>
                          <a:pt x="4422931" y="40617"/>
                          <a:pt x="4137499" y="27432"/>
                        </a:cubicBezTo>
                        <a:cubicBezTo>
                          <a:pt x="3852067" y="14247"/>
                          <a:pt x="3861939" y="26581"/>
                          <a:pt x="3628268" y="27432"/>
                        </a:cubicBezTo>
                        <a:cubicBezTo>
                          <a:pt x="3394597" y="28283"/>
                          <a:pt x="3171361" y="44132"/>
                          <a:pt x="2991730" y="27432"/>
                        </a:cubicBezTo>
                        <a:cubicBezTo>
                          <a:pt x="2812099" y="10732"/>
                          <a:pt x="2469344" y="24737"/>
                          <a:pt x="2227884" y="27432"/>
                        </a:cubicBezTo>
                        <a:cubicBezTo>
                          <a:pt x="1986424" y="30127"/>
                          <a:pt x="1748067" y="6359"/>
                          <a:pt x="1591346" y="27432"/>
                        </a:cubicBezTo>
                        <a:cubicBezTo>
                          <a:pt x="1434625" y="48505"/>
                          <a:pt x="1307456" y="39663"/>
                          <a:pt x="1145769" y="27432"/>
                        </a:cubicBezTo>
                        <a:cubicBezTo>
                          <a:pt x="984082" y="15201"/>
                          <a:pt x="800279" y="41647"/>
                          <a:pt x="636538" y="27432"/>
                        </a:cubicBezTo>
                        <a:cubicBezTo>
                          <a:pt x="472797" y="13217"/>
                          <a:pt x="160022" y="2213"/>
                          <a:pt x="0" y="27432"/>
                        </a:cubicBezTo>
                        <a:cubicBezTo>
                          <a:pt x="-177" y="19307"/>
                          <a:pt x="-1145" y="9170"/>
                          <a:pt x="0" y="0"/>
                        </a:cubicBezTo>
                        <a:close/>
                      </a:path>
                    </a:pathLst>
                  </a:cu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920538569"/>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p:cNvGrpSpPr/>
          <p:nvPr/>
        </p:nvGrpSpPr>
        <p:grpSpPr>
          <a:xfrm>
            <a:off x="4329156" y="9695736"/>
            <a:ext cx="13958844" cy="666567"/>
            <a:chOff x="4329156" y="9649198"/>
            <a:chExt cx="13958844" cy="666567"/>
          </a:xfrm>
        </p:grpSpPr>
        <p:pic>
          <p:nvPicPr>
            <p:cNvPr id="18" name="Picture 12"/>
            <p:cNvPicPr>
              <a:picLocks noChangeAspect="1"/>
            </p:cNvPicPr>
            <p:nvPr/>
          </p:nvPicPr>
          <p:blipFill>
            <a:blip r:embed="rId2"/>
            <a:srcRect l="134" t="91287" b="3943"/>
            <a:stretch>
              <a:fillRect/>
            </a:stretch>
          </p:blipFill>
          <p:spPr>
            <a:xfrm rot="-10800000">
              <a:off x="4329156" y="9649198"/>
              <a:ext cx="13958844" cy="666567"/>
            </a:xfrm>
            <a:prstGeom prst="rect">
              <a:avLst/>
            </a:prstGeom>
          </p:spPr>
        </p:pic>
        <p:sp>
          <p:nvSpPr>
            <p:cNvPr id="19" name="TextBox 16"/>
            <p:cNvSpPr txBox="1"/>
            <p:nvPr/>
          </p:nvSpPr>
          <p:spPr>
            <a:xfrm>
              <a:off x="14400029" y="9732291"/>
              <a:ext cx="3636320" cy="448713"/>
            </a:xfrm>
            <a:prstGeom prst="rect">
              <a:avLst/>
            </a:prstGeom>
          </p:spPr>
          <p:txBody>
            <a:bodyPr wrap="square" lIns="0" tIns="0" rIns="0" bIns="0" rtlCol="0" anchor="t">
              <a:spAutoFit/>
            </a:bodyPr>
            <a:lstStyle/>
            <a:p>
              <a:pPr marL="0" marR="0" lvl="0" indent="0" algn="ctr" defTabSz="914400" rtl="0" eaLnBrk="1" fontAlgn="auto" latinLnBrk="0" hangingPunct="1">
                <a:lnSpc>
                  <a:spcPts val="3920"/>
                </a:lnSpc>
                <a:spcBef>
                  <a:spcPct val="0"/>
                </a:spcBef>
                <a:spcAft>
                  <a:spcPts val="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OCR A Extended" panose="02010509020102010303" pitchFamily="50" charset="0"/>
                  <a:ea typeface="+mn-ea"/>
                  <a:cs typeface="+mn-cs"/>
                </a:rPr>
                <a:t>www.retrofeed.eu</a:t>
              </a:r>
            </a:p>
          </p:txBody>
        </p:sp>
      </p:grpSp>
      <p:pic>
        <p:nvPicPr>
          <p:cNvPr id="20" name="Picture 12"/>
          <p:cNvPicPr>
            <a:picLocks noChangeAspect="1"/>
          </p:cNvPicPr>
          <p:nvPr/>
        </p:nvPicPr>
        <p:blipFill>
          <a:blip r:embed="rId3"/>
          <a:srcRect/>
          <a:stretch>
            <a:fillRect/>
          </a:stretch>
        </p:blipFill>
        <p:spPr>
          <a:xfrm>
            <a:off x="0" y="8901113"/>
            <a:ext cx="5715000" cy="1385887"/>
          </a:xfrm>
          <a:prstGeom prst="rect">
            <a:avLst/>
          </a:prstGeom>
        </p:spPr>
      </p:pic>
      <p:sp>
        <p:nvSpPr>
          <p:cNvPr id="15" name="TextBox 14"/>
          <p:cNvSpPr txBox="1"/>
          <p:nvPr/>
        </p:nvSpPr>
        <p:spPr>
          <a:xfrm>
            <a:off x="838199" y="2421298"/>
            <a:ext cx="16611600" cy="3385542"/>
          </a:xfrm>
          <a:prstGeom prst="rect">
            <a:avLst/>
          </a:prstGeom>
        </p:spPr>
        <p:txBody>
          <a:bodyPr wrap="square" lIns="0" tIns="0" rIns="0" bIns="0" rtlCol="0" anchor="t">
            <a:spAutoFit/>
          </a:bodyPr>
          <a:lstStyle/>
          <a:p>
            <a:pPr marL="0" marR="0" lvl="0" indent="0" algn="just" defTabSz="914400" rtl="0" eaLnBrk="1" fontAlgn="auto" latinLnBrk="0" hangingPunct="1">
              <a:lnSpc>
                <a:spcPct val="100000"/>
              </a:lnSpc>
              <a:spcBef>
                <a:spcPts val="0"/>
              </a:spcBef>
              <a:spcAft>
                <a:spcPts val="1200"/>
              </a:spcAft>
              <a:buClrTx/>
              <a:buSzTx/>
              <a:buFontTx/>
              <a:buNone/>
              <a:tabLst/>
              <a:defRPr/>
            </a:pPr>
            <a:r>
              <a:rPr kumimoji="0" lang="en-GB" sz="3000" b="0" i="0" u="none" strike="noStrike" kern="1200" cap="none" spc="0" normalizeH="0" baseline="0" noProof="0" dirty="0">
                <a:ln>
                  <a:noFill/>
                </a:ln>
                <a:solidFill>
                  <a:srgbClr val="2F2F2F">
                    <a:lumMod val="90000"/>
                    <a:lumOff val="10000"/>
                  </a:srgbClr>
                </a:solidFill>
                <a:effectLst/>
                <a:uLnTx/>
                <a:uFillTx/>
                <a:latin typeface="Arial"/>
                <a:ea typeface="+mn-ea"/>
                <a:cs typeface="Arial" panose="020B0604020202020204" pitchFamily="34" charset="0"/>
              </a:rPr>
              <a:t>European Commission considers that the commercialisation and exploitation of H2020 developments </a:t>
            </a:r>
            <a:r>
              <a:rPr kumimoji="0" lang="en-GB" sz="3000" b="1" i="0" u="none" strike="noStrike" kern="1200" cap="none" spc="0" normalizeH="0" baseline="0" noProof="0" dirty="0">
                <a:ln>
                  <a:noFill/>
                </a:ln>
                <a:solidFill>
                  <a:srgbClr val="2F2F2F">
                    <a:lumMod val="90000"/>
                    <a:lumOff val="10000"/>
                  </a:srgbClr>
                </a:solidFill>
                <a:effectLst/>
                <a:uLnTx/>
                <a:uFillTx/>
                <a:latin typeface="Arial"/>
                <a:ea typeface="+mn-ea"/>
                <a:cs typeface="Arial" panose="020B0604020202020204" pitchFamily="34" charset="0"/>
              </a:rPr>
              <a:t>are essential </a:t>
            </a:r>
            <a:r>
              <a:rPr kumimoji="0" lang="en-GB" sz="3000" b="0" i="0" u="none" strike="noStrike" kern="1200" cap="none" spc="0" normalizeH="0" baseline="0" noProof="0" dirty="0">
                <a:ln>
                  <a:noFill/>
                </a:ln>
                <a:solidFill>
                  <a:srgbClr val="2F2F2F">
                    <a:lumMod val="90000"/>
                    <a:lumOff val="10000"/>
                  </a:srgbClr>
                </a:solidFill>
                <a:effectLst/>
                <a:uLnTx/>
                <a:uFillTx/>
                <a:latin typeface="Arial"/>
                <a:ea typeface="+mn-ea"/>
                <a:cs typeface="Arial" panose="020B0604020202020204" pitchFamily="34" charset="0"/>
              </a:rPr>
              <a:t>to:</a:t>
            </a:r>
          </a:p>
          <a:p>
            <a:pPr marL="457200" marR="0" lvl="0" indent="-457200" algn="just"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3000" b="0" i="0" u="none" strike="noStrike" kern="1200" cap="none" spc="0" normalizeH="0" baseline="0" noProof="0" dirty="0">
                <a:ln>
                  <a:noFill/>
                </a:ln>
                <a:solidFill>
                  <a:srgbClr val="2F2F2F">
                    <a:lumMod val="90000"/>
                    <a:lumOff val="10000"/>
                  </a:srgbClr>
                </a:solidFill>
                <a:effectLst/>
                <a:uLnTx/>
                <a:uFillTx/>
                <a:latin typeface="Arial"/>
                <a:ea typeface="+mn-ea"/>
                <a:cs typeface="Arial" panose="020B0604020202020204" pitchFamily="34" charset="0"/>
              </a:rPr>
              <a:t>Maximise </a:t>
            </a:r>
            <a:r>
              <a:rPr kumimoji="0" lang="en-GB" sz="3000" b="1" i="0" u="none" strike="noStrike" kern="1200" cap="none" spc="0" normalizeH="0" baseline="0" noProof="0" dirty="0">
                <a:ln>
                  <a:noFill/>
                </a:ln>
                <a:solidFill>
                  <a:srgbClr val="2F2F2F">
                    <a:lumMod val="90000"/>
                    <a:lumOff val="10000"/>
                  </a:srgbClr>
                </a:solidFill>
                <a:effectLst/>
                <a:uLnTx/>
                <a:uFillTx/>
                <a:latin typeface="Arial"/>
                <a:ea typeface="+mn-ea"/>
                <a:cs typeface="Arial" panose="020B0604020202020204" pitchFamily="34" charset="0"/>
              </a:rPr>
              <a:t>investment</a:t>
            </a:r>
            <a:r>
              <a:rPr kumimoji="0" lang="en-GB" sz="3000" b="0" i="0" u="none" strike="noStrike" kern="1200" cap="none" spc="0" normalizeH="0" baseline="0" noProof="0" dirty="0">
                <a:ln>
                  <a:noFill/>
                </a:ln>
                <a:solidFill>
                  <a:srgbClr val="2F2F2F">
                    <a:lumMod val="90000"/>
                    <a:lumOff val="10000"/>
                  </a:srgbClr>
                </a:solidFill>
                <a:effectLst/>
                <a:uLnTx/>
                <a:uFillTx/>
                <a:latin typeface="Arial"/>
                <a:ea typeface="+mn-ea"/>
                <a:cs typeface="Arial" panose="020B0604020202020204" pitchFamily="34" charset="0"/>
              </a:rPr>
              <a:t> in research and development</a:t>
            </a:r>
          </a:p>
          <a:p>
            <a:pPr marL="457200" marR="0" lvl="0" indent="-457200" algn="just"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3000" b="0" i="0" u="none" strike="noStrike" kern="1200" cap="none" spc="0" normalizeH="0" baseline="0" noProof="0" dirty="0">
                <a:ln>
                  <a:noFill/>
                </a:ln>
                <a:solidFill>
                  <a:srgbClr val="2F2F2F">
                    <a:lumMod val="90000"/>
                    <a:lumOff val="10000"/>
                  </a:srgbClr>
                </a:solidFill>
                <a:effectLst/>
                <a:uLnTx/>
                <a:uFillTx/>
                <a:latin typeface="Arial"/>
                <a:ea typeface="+mn-ea"/>
                <a:cs typeface="Arial" panose="020B0604020202020204" pitchFamily="34" charset="0"/>
              </a:rPr>
              <a:t>Drive </a:t>
            </a:r>
            <a:r>
              <a:rPr kumimoji="0" lang="en-GB" sz="3000" b="1" i="0" u="none" strike="noStrike" kern="1200" cap="none" spc="0" normalizeH="0" baseline="0" noProof="0" dirty="0">
                <a:ln>
                  <a:noFill/>
                </a:ln>
                <a:solidFill>
                  <a:srgbClr val="2F2F2F">
                    <a:lumMod val="90000"/>
                    <a:lumOff val="10000"/>
                  </a:srgbClr>
                </a:solidFill>
                <a:effectLst/>
                <a:uLnTx/>
                <a:uFillTx/>
                <a:latin typeface="Arial"/>
                <a:ea typeface="+mn-ea"/>
                <a:cs typeface="Arial" panose="020B0604020202020204" pitchFamily="34" charset="0"/>
              </a:rPr>
              <a:t>innovation</a:t>
            </a:r>
          </a:p>
          <a:p>
            <a:pPr marL="457200" marR="0" lvl="0" indent="-457200" algn="just"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3000" b="0" i="0" u="none" strike="noStrike" kern="1200" cap="none" spc="0" normalizeH="0" baseline="0" noProof="0" dirty="0">
                <a:ln>
                  <a:noFill/>
                </a:ln>
                <a:solidFill>
                  <a:srgbClr val="2F2F2F">
                    <a:lumMod val="90000"/>
                    <a:lumOff val="10000"/>
                  </a:srgbClr>
                </a:solidFill>
                <a:effectLst/>
                <a:uLnTx/>
                <a:uFillTx/>
                <a:latin typeface="Arial"/>
                <a:ea typeface="+mn-ea"/>
                <a:cs typeface="Arial" panose="020B0604020202020204" pitchFamily="34" charset="0"/>
              </a:rPr>
              <a:t>Generate </a:t>
            </a:r>
            <a:r>
              <a:rPr kumimoji="0" lang="en-GB" sz="3000" b="1" i="0" u="none" strike="noStrike" kern="1200" cap="none" spc="0" normalizeH="0" baseline="0" noProof="0" dirty="0">
                <a:ln>
                  <a:noFill/>
                </a:ln>
                <a:solidFill>
                  <a:srgbClr val="2F2F2F">
                    <a:lumMod val="90000"/>
                    <a:lumOff val="10000"/>
                  </a:srgbClr>
                </a:solidFill>
                <a:effectLst/>
                <a:uLnTx/>
                <a:uFillTx/>
                <a:latin typeface="Arial"/>
                <a:ea typeface="+mn-ea"/>
                <a:cs typeface="Arial" panose="020B0604020202020204" pitchFamily="34" charset="0"/>
              </a:rPr>
              <a:t>economic growth</a:t>
            </a:r>
          </a:p>
          <a:p>
            <a:pPr marL="457200" marR="0" lvl="0" indent="-457200" algn="just"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GB" sz="3000" b="0" i="0" u="none" strike="noStrike" kern="1200" cap="none" spc="0" normalizeH="0" baseline="0" noProof="0" dirty="0">
                <a:ln>
                  <a:noFill/>
                </a:ln>
                <a:solidFill>
                  <a:srgbClr val="2F2F2F">
                    <a:lumMod val="90000"/>
                    <a:lumOff val="10000"/>
                  </a:srgbClr>
                </a:solidFill>
                <a:effectLst/>
                <a:uLnTx/>
                <a:uFillTx/>
                <a:latin typeface="Arial"/>
                <a:ea typeface="+mn-ea"/>
                <a:cs typeface="Arial" panose="020B0604020202020204" pitchFamily="34" charset="0"/>
              </a:rPr>
              <a:t>Address global </a:t>
            </a:r>
            <a:r>
              <a:rPr kumimoji="0" lang="en-GB" sz="3000" b="1" i="0" u="none" strike="noStrike" kern="1200" cap="none" spc="0" normalizeH="0" baseline="0" noProof="0" dirty="0">
                <a:ln>
                  <a:noFill/>
                </a:ln>
                <a:solidFill>
                  <a:srgbClr val="2F2F2F">
                    <a:lumMod val="90000"/>
                    <a:lumOff val="10000"/>
                  </a:srgbClr>
                </a:solidFill>
                <a:effectLst/>
                <a:uLnTx/>
                <a:uFillTx/>
                <a:latin typeface="Arial"/>
                <a:ea typeface="+mn-ea"/>
                <a:cs typeface="Arial" panose="020B0604020202020204" pitchFamily="34" charset="0"/>
              </a:rPr>
              <a:t>challenges</a:t>
            </a:r>
          </a:p>
        </p:txBody>
      </p:sp>
      <p:sp>
        <p:nvSpPr>
          <p:cNvPr id="13" name="TextBox 13"/>
          <p:cNvSpPr txBox="1"/>
          <p:nvPr/>
        </p:nvSpPr>
        <p:spPr>
          <a:xfrm>
            <a:off x="0" y="1046466"/>
            <a:ext cx="18287999" cy="1052468"/>
          </a:xfrm>
          <a:prstGeom prst="rect">
            <a:avLst/>
          </a:prstGeom>
        </p:spPr>
        <p:txBody>
          <a:bodyPr wrap="square" lIns="0" tIns="0" rIns="0" bIns="0" rtlCol="0" anchor="t">
            <a:spAutoFit/>
          </a:bodyPr>
          <a:lstStyle/>
          <a:p>
            <a:pPr marL="0" marR="0" lvl="0" indent="0" algn="ctr" defTabSz="914400" rtl="0" eaLnBrk="1" fontAlgn="auto" latinLnBrk="0" hangingPunct="1">
              <a:lnSpc>
                <a:spcPts val="8960"/>
              </a:lnSpc>
              <a:spcBef>
                <a:spcPct val="0"/>
              </a:spcBef>
              <a:spcAft>
                <a:spcPts val="0"/>
              </a:spcAft>
              <a:buClrTx/>
              <a:buSzTx/>
              <a:buFontTx/>
              <a:buNone/>
              <a:tabLst/>
              <a:defRPr/>
            </a:pPr>
            <a:r>
              <a:rPr kumimoji="0" lang="en-US" sz="6400" b="1" i="0" u="none" strike="noStrike" kern="1200" cap="none" spc="0" normalizeH="0" baseline="0" noProof="0" dirty="0">
                <a:ln>
                  <a:noFill/>
                </a:ln>
                <a:solidFill>
                  <a:srgbClr val="CC0033"/>
                </a:solidFill>
                <a:effectLst/>
                <a:uLnTx/>
                <a:uFillTx/>
                <a:latin typeface="Arial"/>
                <a:ea typeface="+mn-ea"/>
                <a:cs typeface="Arial" panose="020B0604020202020204" pitchFamily="34" charset="0"/>
              </a:rPr>
              <a:t>Replication and Exploitation</a:t>
            </a:r>
          </a:p>
        </p:txBody>
      </p:sp>
      <p:sp>
        <p:nvSpPr>
          <p:cNvPr id="22" name="Rettangolo 65">
            <a:extLst>
              <a:ext uri="{FF2B5EF4-FFF2-40B4-BE49-F238E27FC236}">
                <a16:creationId xmlns:a16="http://schemas.microsoft.com/office/drawing/2014/main" id="{DB60361B-40EC-1542-B2E1-989026C681C7}"/>
              </a:ext>
            </a:extLst>
          </p:cNvPr>
          <p:cNvSpPr/>
          <p:nvPr/>
        </p:nvSpPr>
        <p:spPr>
          <a:xfrm>
            <a:off x="-2" y="-13652"/>
            <a:ext cx="18288002" cy="604916"/>
          </a:xfrm>
          <a:prstGeom prst="rect">
            <a:avLst/>
          </a:prstGeom>
          <a:solidFill>
            <a:srgbClr val="CC00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 name="TextBox 1">
            <a:extLst>
              <a:ext uri="{FF2B5EF4-FFF2-40B4-BE49-F238E27FC236}">
                <a16:creationId xmlns:a16="http://schemas.microsoft.com/office/drawing/2014/main" id="{83D57D3C-F681-9C71-10E2-6C8D4BFA0C27}"/>
              </a:ext>
            </a:extLst>
          </p:cNvPr>
          <p:cNvSpPr txBox="1"/>
          <p:nvPr/>
        </p:nvSpPr>
        <p:spPr>
          <a:xfrm>
            <a:off x="2285999" y="6204151"/>
            <a:ext cx="13716000" cy="255454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rgbClr val="FFFFFF"/>
                </a:solidFill>
                <a:effectLst/>
                <a:uLnTx/>
                <a:uFillTx/>
                <a:latin typeface="Arial"/>
                <a:ea typeface="+mn-ea"/>
                <a:cs typeface="+mn-cs"/>
              </a:rPr>
              <a:t>Contributing to the well-being of the European Union and its position on the world stag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FFFFFF"/>
              </a:solidFill>
              <a:effectLst/>
              <a:uLnTx/>
              <a:uFillTx/>
              <a:latin typeface="Arial"/>
              <a:ea typeface="+mn-ea"/>
              <a:cs typeface="+mn-cs"/>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6"/>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4"/>
          <a:srcRect/>
          <a:stretch>
            <a:fillRect/>
          </a:stretch>
        </p:blipFill>
        <p:spPr>
          <a:xfrm>
            <a:off x="0" y="8901113"/>
            <a:ext cx="5715000" cy="1385887"/>
          </a:xfrm>
          <a:prstGeom prst="rect">
            <a:avLst/>
          </a:prstGeom>
        </p:spPr>
      </p:pic>
      <p:sp>
        <p:nvSpPr>
          <p:cNvPr id="15" name="TextBox 14">
            <a:extLst>
              <a:ext uri="{FF2B5EF4-FFF2-40B4-BE49-F238E27FC236}">
                <a16:creationId xmlns:a16="http://schemas.microsoft.com/office/drawing/2014/main" id="{598022D8-5A0B-44B3-A8B8-D3FB90A3345D}"/>
              </a:ext>
            </a:extLst>
          </p:cNvPr>
          <p:cNvSpPr txBox="1"/>
          <p:nvPr/>
        </p:nvSpPr>
        <p:spPr>
          <a:xfrm>
            <a:off x="838189" y="3050146"/>
            <a:ext cx="16611600" cy="861774"/>
          </a:xfrm>
          <a:prstGeom prst="rect">
            <a:avLst/>
          </a:prstGeom>
        </p:spPr>
        <p:txBody>
          <a:bodyPr wrap="square" lIns="0" tIns="0" rIns="0" bIns="0" rtlCol="0" anchor="t">
            <a:spAutoFit/>
          </a:bodyPr>
          <a:lstStyle/>
          <a:p>
            <a:r>
              <a:rPr lang="en-US" sz="2800" b="1" i="1" kern="100">
                <a:solidFill>
                  <a:srgbClr val="404040"/>
                </a:solidFill>
                <a:effectLst/>
                <a:latin typeface="Arial" panose="020B0604020202020204" pitchFamily="34" charset="0"/>
                <a:ea typeface="Noto Sans CJK SC"/>
                <a:cs typeface="Lohit Devanagari"/>
              </a:rPr>
              <a:t>AIM: Implement a smart </a:t>
            </a:r>
            <a:r>
              <a:rPr lang="en-US" sz="2800" b="1" i="1" kern="100" err="1">
                <a:solidFill>
                  <a:srgbClr val="404040"/>
                </a:solidFill>
                <a:effectLst/>
                <a:latin typeface="Arial" panose="020B0604020202020204" pitchFamily="34" charset="0"/>
                <a:ea typeface="Noto Sans CJK SC"/>
                <a:cs typeface="Lohit Devanagari"/>
              </a:rPr>
              <a:t>RETROfitting</a:t>
            </a:r>
            <a:r>
              <a:rPr lang="en-US" sz="2800" b="1" i="1" kern="100">
                <a:solidFill>
                  <a:srgbClr val="404040"/>
                </a:solidFill>
                <a:effectLst/>
                <a:latin typeface="Arial" panose="020B0604020202020204" pitchFamily="34" charset="0"/>
                <a:ea typeface="Noto Sans CJK SC"/>
                <a:cs typeface="Lohit Devanagari"/>
              </a:rPr>
              <a:t> framework in the process industry towards its operation with variable, biobased and circular </a:t>
            </a:r>
            <a:r>
              <a:rPr lang="en-US" sz="2800" b="1" i="1" kern="100" err="1">
                <a:solidFill>
                  <a:srgbClr val="404040"/>
                </a:solidFill>
                <a:effectLst/>
                <a:latin typeface="Arial" panose="020B0604020202020204" pitchFamily="34" charset="0"/>
                <a:ea typeface="Noto Sans CJK SC"/>
                <a:cs typeface="Lohit Devanagari"/>
              </a:rPr>
              <a:t>FEEDstock</a:t>
            </a:r>
            <a:endParaRPr lang="sv-SE" sz="2800" b="1" i="1" kern="100">
              <a:solidFill>
                <a:srgbClr val="404040"/>
              </a:solidFill>
              <a:effectLst/>
              <a:latin typeface="Liberation Serif"/>
              <a:ea typeface="Noto Sans CJK SC"/>
              <a:cs typeface="Lohit Devanagari"/>
            </a:endParaRPr>
          </a:p>
        </p:txBody>
      </p:sp>
      <p:grpSp>
        <p:nvGrpSpPr>
          <p:cNvPr id="3" name="Gruppo 2">
            <a:extLst>
              <a:ext uri="{FF2B5EF4-FFF2-40B4-BE49-F238E27FC236}">
                <a16:creationId xmlns:a16="http://schemas.microsoft.com/office/drawing/2014/main" id="{1C29CBCA-BE0A-4EF6-AC69-329941E1DCFD}"/>
              </a:ext>
            </a:extLst>
          </p:cNvPr>
          <p:cNvGrpSpPr/>
          <p:nvPr/>
        </p:nvGrpSpPr>
        <p:grpSpPr>
          <a:xfrm>
            <a:off x="-12" y="138554"/>
            <a:ext cx="18288002" cy="681138"/>
            <a:chOff x="-12" y="138554"/>
            <a:chExt cx="18288002" cy="681138"/>
          </a:xfrm>
        </p:grpSpPr>
        <p:grpSp>
          <p:nvGrpSpPr>
            <p:cNvPr id="2" name="Gruppo 1">
              <a:extLst>
                <a:ext uri="{FF2B5EF4-FFF2-40B4-BE49-F238E27FC236}">
                  <a16:creationId xmlns:a16="http://schemas.microsoft.com/office/drawing/2014/main" id="{24E9C7AF-0093-476F-826C-A2702AB72892}"/>
                </a:ext>
              </a:extLst>
            </p:cNvPr>
            <p:cNvGrpSpPr/>
            <p:nvPr/>
          </p:nvGrpSpPr>
          <p:grpSpPr>
            <a:xfrm>
              <a:off x="0" y="153125"/>
              <a:ext cx="17907000" cy="666567"/>
              <a:chOff x="0" y="153125"/>
              <a:chExt cx="17907000" cy="666567"/>
            </a:xfrm>
          </p:grpSpPr>
          <p:grpSp>
            <p:nvGrpSpPr>
              <p:cNvPr id="16" name="Gruppo 15">
                <a:extLst>
                  <a:ext uri="{FF2B5EF4-FFF2-40B4-BE49-F238E27FC236}">
                    <a16:creationId xmlns:a16="http://schemas.microsoft.com/office/drawing/2014/main" id="{DAC42A46-917D-41AB-8F07-E15E54D0F7D4}"/>
                  </a:ext>
                </a:extLst>
              </p:cNvPr>
              <p:cNvGrpSpPr/>
              <p:nvPr/>
            </p:nvGrpSpPr>
            <p:grpSpPr>
              <a:xfrm>
                <a:off x="0" y="153125"/>
                <a:ext cx="13958844" cy="666567"/>
                <a:chOff x="0" y="153125"/>
                <a:chExt cx="13958844" cy="666567"/>
              </a:xfrm>
            </p:grpSpPr>
            <p:pic>
              <p:nvPicPr>
                <p:cNvPr id="10" name="Picture 10"/>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1" name="TextBox 11"/>
                <p:cNvSpPr txBox="1"/>
                <p:nvPr/>
              </p:nvSpPr>
              <p:spPr>
                <a:xfrm>
                  <a:off x="228600" y="257980"/>
                  <a:ext cx="9296400" cy="456856"/>
                </a:xfrm>
                <a:prstGeom prst="rect">
                  <a:avLst/>
                </a:prstGeom>
              </p:spPr>
              <p:txBody>
                <a:bodyPr wrap="square" lIns="0" tIns="0" rIns="0" bIns="0" rtlCol="0" anchor="t">
                  <a:spAutoFit/>
                </a:bodyPr>
                <a:lstStyle/>
                <a:p>
                  <a:pPr>
                    <a:lnSpc>
                      <a:spcPts val="3919"/>
                    </a:lnSpc>
                    <a:spcBef>
                      <a:spcPct val="0"/>
                    </a:spcBef>
                  </a:pPr>
                  <a:endParaRPr lang="en-US" sz="2800" b="1">
                    <a:solidFill>
                      <a:srgbClr val="FFFFFF"/>
                    </a:solidFill>
                    <a:latin typeface="Arial" panose="020B0604020202020204" pitchFamily="34" charset="0"/>
                    <a:cs typeface="Arial" panose="020B0604020202020204" pitchFamily="34" charset="0"/>
                  </a:endParaRPr>
                </a:p>
              </p:txBody>
            </p:sp>
          </p:grpSp>
          <p:sp>
            <p:nvSpPr>
              <p:cNvPr id="12" name="TextBox 11">
                <a:extLst>
                  <a:ext uri="{FF2B5EF4-FFF2-40B4-BE49-F238E27FC236}">
                    <a16:creationId xmlns:a16="http://schemas.microsoft.com/office/drawing/2014/main" id="{1BD9B5F4-614C-4EB6-8C5B-120A5420CE43}"/>
                  </a:ext>
                </a:extLst>
              </p:cNvPr>
              <p:cNvSpPr txBox="1"/>
              <p:nvPr/>
            </p:nvSpPr>
            <p:spPr>
              <a:xfrm>
                <a:off x="12154296" y="257980"/>
                <a:ext cx="5752704" cy="456856"/>
              </a:xfrm>
              <a:prstGeom prst="rect">
                <a:avLst/>
              </a:prstGeom>
            </p:spPr>
            <p:txBody>
              <a:bodyPr wrap="square" lIns="0" tIns="0" rIns="0" bIns="0" rtlCol="0" anchor="t">
                <a:spAutoFit/>
              </a:bodyPr>
              <a:lstStyle/>
              <a:p>
                <a:pPr algn="r">
                  <a:lnSpc>
                    <a:spcPts val="3919"/>
                  </a:lnSpc>
                  <a:spcBef>
                    <a:spcPct val="0"/>
                  </a:spcBef>
                </a:pPr>
                <a:endParaRPr lang="en-US" sz="2800">
                  <a:solidFill>
                    <a:schemeClr val="tx1">
                      <a:lumMod val="75000"/>
                      <a:lumOff val="25000"/>
                    </a:schemeClr>
                  </a:solidFill>
                  <a:latin typeface="Arial" panose="020B0604020202020204" pitchFamily="34" charset="0"/>
                  <a:cs typeface="Arial" panose="020B0604020202020204" pitchFamily="34" charset="0"/>
                </a:endParaRPr>
              </a:p>
            </p:txBody>
          </p:sp>
        </p:grpSp>
        <p:sp>
          <p:nvSpPr>
            <p:cNvPr id="14" name="Rettangolo 13">
              <a:extLst>
                <a:ext uri="{FF2B5EF4-FFF2-40B4-BE49-F238E27FC236}">
                  <a16:creationId xmlns:a16="http://schemas.microsoft.com/office/drawing/2014/main" id="{55199736-B8B6-4C9A-8BAF-233E07A0CA89}"/>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3" name="TextBox 13"/>
          <p:cNvSpPr txBox="1"/>
          <p:nvPr/>
        </p:nvSpPr>
        <p:spPr>
          <a:xfrm>
            <a:off x="1981200" y="1106375"/>
            <a:ext cx="13563599" cy="1052468"/>
          </a:xfrm>
          <a:prstGeom prst="rect">
            <a:avLst/>
          </a:prstGeom>
        </p:spPr>
        <p:txBody>
          <a:bodyPr wrap="square" lIns="0" tIns="0" rIns="0" bIns="0" rtlCol="0" anchor="t">
            <a:spAutoFit/>
          </a:bodyPr>
          <a:lstStyle/>
          <a:p>
            <a:pPr algn="ctr">
              <a:lnSpc>
                <a:spcPts val="8960"/>
              </a:lnSpc>
              <a:spcBef>
                <a:spcPct val="0"/>
              </a:spcBef>
            </a:pPr>
            <a:r>
              <a:rPr lang="en-US" sz="6400" b="1">
                <a:solidFill>
                  <a:srgbClr val="CC0033"/>
                </a:solidFill>
                <a:latin typeface="+mj-lt"/>
                <a:cs typeface="Arial" panose="020B0604020202020204" pitchFamily="34" charset="0"/>
              </a:rPr>
              <a:t>The RETROFEED project</a:t>
            </a:r>
          </a:p>
        </p:txBody>
      </p:sp>
      <p:sp>
        <p:nvSpPr>
          <p:cNvPr id="22" name="TextBox 21">
            <a:extLst>
              <a:ext uri="{FF2B5EF4-FFF2-40B4-BE49-F238E27FC236}">
                <a16:creationId xmlns:a16="http://schemas.microsoft.com/office/drawing/2014/main" id="{F21DCD0B-B68A-4D7A-9F6C-6D71442D13F2}"/>
              </a:ext>
            </a:extLst>
          </p:cNvPr>
          <p:cNvSpPr txBox="1"/>
          <p:nvPr/>
        </p:nvSpPr>
        <p:spPr>
          <a:xfrm>
            <a:off x="1219200" y="4298334"/>
            <a:ext cx="16611600" cy="2505494"/>
          </a:xfrm>
          <a:prstGeom prst="rect">
            <a:avLst/>
          </a:prstGeom>
        </p:spPr>
        <p:txBody>
          <a:bodyPr wrap="square" lIns="0" tIns="0" rIns="0" bIns="0" rtlCol="0" anchor="t">
            <a:spAutoFit/>
          </a:bodyPr>
          <a:lstStyle/>
          <a:p>
            <a:pPr marL="571500" indent="-571500">
              <a:lnSpc>
                <a:spcPct val="150000"/>
              </a:lnSpc>
              <a:buFont typeface="Arial" panose="020B0604020202020204" pitchFamily="34" charset="0"/>
              <a:buChar char="•"/>
            </a:pPr>
            <a:r>
              <a:rPr lang="en-GB" sz="2800" kern="100">
                <a:solidFill>
                  <a:srgbClr val="404040"/>
                </a:solidFill>
                <a:latin typeface="+mj-lt"/>
                <a:ea typeface="Noto Sans CJK SC"/>
                <a:cs typeface="Lohit Devanagari"/>
              </a:rPr>
              <a:t>Potential of increasing the resource and energy efficiency  with consequent reduction in costs and GHG emissions.</a:t>
            </a:r>
          </a:p>
          <a:p>
            <a:pPr marL="571500" indent="-571500">
              <a:lnSpc>
                <a:spcPct val="150000"/>
              </a:lnSpc>
              <a:buFont typeface="Arial" panose="020B0604020202020204" pitchFamily="34" charset="0"/>
              <a:buChar char="•"/>
            </a:pPr>
            <a:r>
              <a:rPr lang="en-GB" sz="2800" kern="100" dirty="0">
                <a:solidFill>
                  <a:srgbClr val="404040"/>
                </a:solidFill>
                <a:latin typeface="+mj-lt"/>
                <a:ea typeface="Noto Sans CJK SC"/>
                <a:cs typeface="Lohit Devanagari"/>
              </a:rPr>
              <a:t>Making change in the core processes without affecting the quality of the feedstock</a:t>
            </a:r>
          </a:p>
          <a:p>
            <a:pPr marL="571500" indent="-571500">
              <a:lnSpc>
                <a:spcPct val="150000"/>
              </a:lnSpc>
              <a:buFont typeface="Arial" panose="020B0604020202020204" pitchFamily="34" charset="0"/>
              <a:buChar char="•"/>
            </a:pPr>
            <a:r>
              <a:rPr lang="en-GB" sz="2800" kern="100" dirty="0">
                <a:solidFill>
                  <a:srgbClr val="404040"/>
                </a:solidFill>
                <a:latin typeface="+mj-lt"/>
                <a:ea typeface="Noto Sans CJK SC"/>
                <a:cs typeface="Lohit Devanagari"/>
              </a:rPr>
              <a:t>I</a:t>
            </a:r>
            <a:r>
              <a:rPr lang="en-GB" sz="2800" kern="100" dirty="0">
                <a:solidFill>
                  <a:srgbClr val="404040"/>
                </a:solidFill>
                <a:effectLst/>
                <a:latin typeface="+mj-lt"/>
                <a:ea typeface="Noto Sans CJK SC"/>
                <a:cs typeface="Lohit Devanagari"/>
              </a:rPr>
              <a:t>mplementation in 6 sites of 5 different sectors in 5 different countries</a:t>
            </a:r>
            <a:r>
              <a:rPr lang="en-GB" sz="2800" kern="100" dirty="0">
                <a:solidFill>
                  <a:srgbClr val="404040"/>
                </a:solidFill>
                <a:latin typeface="+mj-lt"/>
                <a:ea typeface="Noto Sans CJK SC"/>
                <a:cs typeface="Lohit Devanagari"/>
              </a:rPr>
              <a:t>,</a:t>
            </a:r>
            <a:r>
              <a:rPr lang="en-GB" sz="2800" kern="100" dirty="0">
                <a:solidFill>
                  <a:srgbClr val="404040"/>
                </a:solidFill>
                <a:effectLst/>
                <a:latin typeface="+mj-lt"/>
                <a:ea typeface="Noto Sans CJK SC"/>
                <a:cs typeface="Lohit Devanagari"/>
              </a:rPr>
              <a:t> six demo-sites</a:t>
            </a:r>
          </a:p>
        </p:txBody>
      </p:sp>
    </p:spTree>
    <p:extLst>
      <p:ext uri="{BB962C8B-B14F-4D97-AF65-F5344CB8AC3E}">
        <p14:creationId xmlns:p14="http://schemas.microsoft.com/office/powerpoint/2010/main" val="2526912497"/>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p:cNvGrpSpPr/>
          <p:nvPr/>
        </p:nvGrpSpPr>
        <p:grpSpPr>
          <a:xfrm>
            <a:off x="4329156" y="9695736"/>
            <a:ext cx="13958844" cy="666567"/>
            <a:chOff x="4329156" y="9649198"/>
            <a:chExt cx="13958844" cy="666567"/>
          </a:xfrm>
        </p:grpSpPr>
        <p:pic>
          <p:nvPicPr>
            <p:cNvPr id="18" name="Picture 12"/>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19" name="TextBox 16"/>
            <p:cNvSpPr txBox="1"/>
            <p:nvPr/>
          </p:nvSpPr>
          <p:spPr>
            <a:xfrm>
              <a:off x="14400029" y="9732291"/>
              <a:ext cx="3636320" cy="448713"/>
            </a:xfrm>
            <a:prstGeom prst="rect">
              <a:avLst/>
            </a:prstGeom>
          </p:spPr>
          <p:txBody>
            <a:bodyPr wrap="square" lIns="0" tIns="0" rIns="0" bIns="0" rtlCol="0" anchor="t">
              <a:spAutoFit/>
            </a:bodyPr>
            <a:lstStyle/>
            <a:p>
              <a:pPr marL="0" marR="0" lvl="0" indent="0" algn="ctr" defTabSz="914400" rtl="0" eaLnBrk="1" fontAlgn="auto" latinLnBrk="0" hangingPunct="1">
                <a:lnSpc>
                  <a:spcPts val="3920"/>
                </a:lnSpc>
                <a:spcBef>
                  <a:spcPct val="0"/>
                </a:spcBef>
                <a:spcAft>
                  <a:spcPts val="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OCR A Extended" panose="02010509020102010303" pitchFamily="50" charset="0"/>
                  <a:ea typeface="+mn-ea"/>
                  <a:cs typeface="+mn-cs"/>
                </a:rPr>
                <a:t>www.retrofeed.eu</a:t>
              </a:r>
            </a:p>
          </p:txBody>
        </p:sp>
      </p:grpSp>
      <p:pic>
        <p:nvPicPr>
          <p:cNvPr id="20" name="Picture 12"/>
          <p:cNvPicPr>
            <a:picLocks noChangeAspect="1"/>
          </p:cNvPicPr>
          <p:nvPr/>
        </p:nvPicPr>
        <p:blipFill>
          <a:blip r:embed="rId4"/>
          <a:srcRect/>
          <a:stretch>
            <a:fillRect/>
          </a:stretch>
        </p:blipFill>
        <p:spPr>
          <a:xfrm>
            <a:off x="0" y="8901113"/>
            <a:ext cx="5715000" cy="1385887"/>
          </a:xfrm>
          <a:prstGeom prst="rect">
            <a:avLst/>
          </a:prstGeom>
        </p:spPr>
      </p:pic>
      <p:sp>
        <p:nvSpPr>
          <p:cNvPr id="22" name="Rettangolo 65">
            <a:extLst>
              <a:ext uri="{FF2B5EF4-FFF2-40B4-BE49-F238E27FC236}">
                <a16:creationId xmlns:a16="http://schemas.microsoft.com/office/drawing/2014/main" id="{DB60361B-40EC-1542-B2E1-989026C681C7}"/>
              </a:ext>
            </a:extLst>
          </p:cNvPr>
          <p:cNvSpPr/>
          <p:nvPr/>
        </p:nvSpPr>
        <p:spPr>
          <a:xfrm>
            <a:off x="-2" y="-13652"/>
            <a:ext cx="18288002" cy="604916"/>
          </a:xfrm>
          <a:prstGeom prst="rect">
            <a:avLst/>
          </a:prstGeom>
          <a:solidFill>
            <a:srgbClr val="CC00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graphicFrame>
        <p:nvGraphicFramePr>
          <p:cNvPr id="2" name="Table 4">
            <a:extLst>
              <a:ext uri="{FF2B5EF4-FFF2-40B4-BE49-F238E27FC236}">
                <a16:creationId xmlns:a16="http://schemas.microsoft.com/office/drawing/2014/main" id="{DC0E5649-6970-ED55-44E9-E43CA62B4F22}"/>
              </a:ext>
            </a:extLst>
          </p:cNvPr>
          <p:cNvGraphicFramePr>
            <a:graphicFrameLocks noGrp="1"/>
          </p:cNvGraphicFramePr>
          <p:nvPr/>
        </p:nvGraphicFramePr>
        <p:xfrm>
          <a:off x="580287" y="798068"/>
          <a:ext cx="17470576" cy="8790120"/>
        </p:xfrm>
        <a:graphic>
          <a:graphicData uri="http://schemas.openxmlformats.org/drawingml/2006/table">
            <a:tbl>
              <a:tblPr firstRow="1" bandRow="1">
                <a:tableStyleId>{5C22544A-7EE6-4342-B048-85BDC9FD1C3A}</a:tableStyleId>
              </a:tblPr>
              <a:tblGrid>
                <a:gridCol w="2222472">
                  <a:extLst>
                    <a:ext uri="{9D8B030D-6E8A-4147-A177-3AD203B41FA5}">
                      <a16:colId xmlns:a16="http://schemas.microsoft.com/office/drawing/2014/main" val="1903199979"/>
                    </a:ext>
                  </a:extLst>
                </a:gridCol>
                <a:gridCol w="8857034">
                  <a:extLst>
                    <a:ext uri="{9D8B030D-6E8A-4147-A177-3AD203B41FA5}">
                      <a16:colId xmlns:a16="http://schemas.microsoft.com/office/drawing/2014/main" val="130282486"/>
                    </a:ext>
                  </a:extLst>
                </a:gridCol>
                <a:gridCol w="1225686">
                  <a:extLst>
                    <a:ext uri="{9D8B030D-6E8A-4147-A177-3AD203B41FA5}">
                      <a16:colId xmlns:a16="http://schemas.microsoft.com/office/drawing/2014/main" val="165259440"/>
                    </a:ext>
                  </a:extLst>
                </a:gridCol>
                <a:gridCol w="2641059">
                  <a:extLst>
                    <a:ext uri="{9D8B030D-6E8A-4147-A177-3AD203B41FA5}">
                      <a16:colId xmlns:a16="http://schemas.microsoft.com/office/drawing/2014/main" val="2092245714"/>
                    </a:ext>
                  </a:extLst>
                </a:gridCol>
                <a:gridCol w="2524325">
                  <a:extLst>
                    <a:ext uri="{9D8B030D-6E8A-4147-A177-3AD203B41FA5}">
                      <a16:colId xmlns:a16="http://schemas.microsoft.com/office/drawing/2014/main" val="3203237814"/>
                    </a:ext>
                  </a:extLst>
                </a:gridCol>
              </a:tblGrid>
              <a:tr h="702000">
                <a:tc>
                  <a:txBody>
                    <a:bodyPr/>
                    <a:lstStyle/>
                    <a:p>
                      <a:pPr algn="ctr"/>
                      <a:r>
                        <a:rPr lang="es-ES" sz="2700" dirty="0" err="1"/>
                        <a:t>Demosite</a:t>
                      </a:r>
                      <a:endParaRPr lang="es-ES" sz="2700" dirty="0"/>
                    </a:p>
                  </a:txBody>
                  <a:tcPr marL="137160" marR="137160" marT="68580" marB="68580" anchor="ctr">
                    <a:lnL w="28575" cap="flat" cmpd="sng" algn="ctr">
                      <a:solidFill>
                        <a:schemeClr val="accent1"/>
                      </a:solidFill>
                      <a:prstDash val="solid"/>
                      <a:round/>
                      <a:headEnd type="none" w="med" len="med"/>
                      <a:tailEnd type="none" w="med" len="med"/>
                    </a:lnL>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tcPr>
                </a:tc>
                <a:tc>
                  <a:txBody>
                    <a:bodyPr/>
                    <a:lstStyle/>
                    <a:p>
                      <a:pPr algn="ctr"/>
                      <a:r>
                        <a:rPr lang="es-ES" sz="2700" dirty="0" err="1"/>
                        <a:t>Technology</a:t>
                      </a:r>
                      <a:endParaRPr lang="es-ES" sz="2700" dirty="0"/>
                    </a:p>
                  </a:txBody>
                  <a:tcPr marL="137160" marR="137160" marT="68580" marB="68580" anchor="ct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tcPr>
                </a:tc>
                <a:tc>
                  <a:txBody>
                    <a:bodyPr/>
                    <a:lstStyle/>
                    <a:p>
                      <a:pPr algn="ctr"/>
                      <a:r>
                        <a:rPr lang="es-ES" sz="2700" dirty="0"/>
                        <a:t>TRL</a:t>
                      </a:r>
                    </a:p>
                  </a:txBody>
                  <a:tcPr marL="137160" marR="137160" marT="68580" marB="68580" anchor="ct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tcPr>
                </a:tc>
                <a:tc>
                  <a:txBody>
                    <a:bodyPr/>
                    <a:lstStyle/>
                    <a:p>
                      <a:pPr algn="ctr"/>
                      <a:r>
                        <a:rPr lang="es-ES" sz="2700" dirty="0" err="1"/>
                        <a:t>Owner</a:t>
                      </a:r>
                      <a:endParaRPr lang="es-ES" sz="2700" dirty="0"/>
                    </a:p>
                  </a:txBody>
                  <a:tcPr marL="137160" marR="137160" marT="68580" marB="68580" anchor="ct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sz="2700" dirty="0"/>
                        <a:t>Digital Twin</a:t>
                      </a:r>
                    </a:p>
                  </a:txBody>
                  <a:tcPr marL="137160" marR="137160" marT="68580" marB="68580" anchor="ctr">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187762220"/>
                  </a:ext>
                </a:extLst>
              </a:tr>
              <a:tr h="594000">
                <a:tc>
                  <a:txBody>
                    <a:bodyPr/>
                    <a:lstStyle/>
                    <a:p>
                      <a:endParaRPr lang="es-ES" sz="2700" dirty="0"/>
                    </a:p>
                  </a:txBody>
                  <a:tcPr marL="137160" marR="137160" marT="68580" marB="68580">
                    <a:lnL w="28575"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a:txBody>
                    <a:bodyPr/>
                    <a:lstStyle/>
                    <a:p>
                      <a:pPr marL="304815" indent="-304815" algn="l" defTabSz="914400" rtl="0" eaLnBrk="1" latinLnBrk="0" hangingPunct="1">
                        <a:buClr>
                          <a:srgbClr val="CC0033"/>
                        </a:buClr>
                        <a:buFont typeface="Wingdings" panose="05000000000000000000" pitchFamily="2" charset="2"/>
                        <a:buChar char="ü"/>
                      </a:pPr>
                      <a:r>
                        <a:rPr lang="en-US" sz="2700" b="0" kern="1200" dirty="0">
                          <a:solidFill>
                            <a:schemeClr val="dk1"/>
                          </a:solidFill>
                          <a:latin typeface="+mn-lt"/>
                          <a:ea typeface="+mn-ea"/>
                          <a:cs typeface="+mn-cs"/>
                        </a:rPr>
                        <a:t>New reactor for alternative phosphorus sources </a:t>
                      </a:r>
                      <a:endParaRPr lang="es-ES" sz="2700" b="0" kern="1200" dirty="0">
                        <a:solidFill>
                          <a:schemeClr val="dk1"/>
                        </a:solidFill>
                        <a:latin typeface="+mn-lt"/>
                        <a:ea typeface="+mn-ea"/>
                        <a:cs typeface="+mn-cs"/>
                      </a:endParaRPr>
                    </a:p>
                  </a:txBody>
                  <a:tcPr marL="137160" marR="137160" marT="68580" marB="68580" anchor="ctr">
                    <a:lnL w="12700" cap="flat" cmpd="sng" algn="ctr">
                      <a:solidFill>
                        <a:schemeClr val="accent1"/>
                      </a:solidFill>
                      <a:prstDash val="solid"/>
                      <a:round/>
                      <a:headEnd type="none" w="med" len="med"/>
                      <a:tailEnd type="none" w="med" len="med"/>
                    </a:lnL>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tcPr>
                </a:tc>
                <a:tc>
                  <a:txBody>
                    <a:bodyPr/>
                    <a:lstStyle/>
                    <a:p>
                      <a:pPr algn="ctr"/>
                      <a:r>
                        <a:rPr lang="es-ES" sz="2700" dirty="0"/>
                        <a:t>6</a:t>
                      </a:r>
                    </a:p>
                  </a:txBody>
                  <a:tcPr marL="137160" marR="137160" marT="68580" marB="68580" anchor="ctr">
                    <a:lnR w="12700"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tcPr>
                </a:tc>
                <a:tc>
                  <a:txBody>
                    <a:bodyPr/>
                    <a:lstStyle/>
                    <a:p>
                      <a:endParaRPr lang="es-ES" sz="2700" dirty="0"/>
                    </a:p>
                  </a:txBody>
                  <a:tcPr marL="137160" marR="137160" marT="68580" marB="6858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a:txBody>
                    <a:bodyPr/>
                    <a:lstStyle/>
                    <a:p>
                      <a:endParaRPr lang="es-ES" sz="2700" dirty="0"/>
                    </a:p>
                  </a:txBody>
                  <a:tcPr marL="137160" marR="137160" marT="68580" marB="68580">
                    <a:lnL w="12700"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2175199520"/>
                  </a:ext>
                </a:extLst>
              </a:tr>
              <a:tr h="594000">
                <a:tc rowSpan="3">
                  <a:txBody>
                    <a:bodyPr/>
                    <a:lstStyle/>
                    <a:p>
                      <a:endParaRPr lang="es-ES" sz="2700" dirty="0"/>
                    </a:p>
                  </a:txBody>
                  <a:tcPr marL="137160" marR="137160" marT="68580" marB="68580">
                    <a:lnL w="28575"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a:txBody>
                    <a:bodyPr/>
                    <a:lstStyle/>
                    <a:p>
                      <a:pPr marL="304815" marR="0" lvl="0" indent="-304815" algn="l" defTabSz="914400" rtl="0" eaLnBrk="1" fontAlgn="auto" latinLnBrk="0" hangingPunct="1">
                        <a:lnSpc>
                          <a:spcPct val="100000"/>
                        </a:lnSpc>
                        <a:spcBef>
                          <a:spcPts val="0"/>
                        </a:spcBef>
                        <a:spcAft>
                          <a:spcPts val="0"/>
                        </a:spcAft>
                        <a:buClr>
                          <a:srgbClr val="CC0033"/>
                        </a:buClr>
                        <a:buSzTx/>
                        <a:buFont typeface="Wingdings" panose="05000000000000000000" pitchFamily="2" charset="2"/>
                        <a:buChar char="ü"/>
                        <a:tabLst/>
                        <a:defRPr/>
                      </a:pPr>
                      <a:r>
                        <a:rPr lang="en-US" sz="2700" b="0" kern="1200" dirty="0">
                          <a:solidFill>
                            <a:schemeClr val="dk1"/>
                          </a:solidFill>
                          <a:latin typeface="+mn-lt"/>
                          <a:ea typeface="+mn-ea"/>
                          <a:cs typeface="+mn-cs"/>
                        </a:rPr>
                        <a:t>Multi-fuel burner</a:t>
                      </a:r>
                    </a:p>
                  </a:txBody>
                  <a:tcPr marL="137160" marR="137160" marT="68580" marB="68580" anchor="ctr">
                    <a:lnL w="12700" cap="flat" cmpd="sng" algn="ctr">
                      <a:solidFill>
                        <a:schemeClr val="accent1"/>
                      </a:solidFill>
                      <a:prstDash val="solid"/>
                      <a:round/>
                      <a:headEnd type="none" w="med" len="med"/>
                      <a:tailEnd type="none" w="med" len="med"/>
                    </a:lnL>
                    <a:lnT w="28575" cap="flat" cmpd="sng" algn="ctr">
                      <a:solidFill>
                        <a:schemeClr val="accent1"/>
                      </a:solidFill>
                      <a:prstDash val="solid"/>
                      <a:round/>
                      <a:headEnd type="none" w="med" len="med"/>
                      <a:tailEnd type="none" w="med" len="med"/>
                    </a:lnT>
                  </a:tcPr>
                </a:tc>
                <a:tc>
                  <a:txBody>
                    <a:bodyPr/>
                    <a:lstStyle/>
                    <a:p>
                      <a:pPr algn="ctr"/>
                      <a:r>
                        <a:rPr lang="es-ES" sz="2700" dirty="0"/>
                        <a:t>8</a:t>
                      </a:r>
                    </a:p>
                  </a:txBody>
                  <a:tcPr marL="137160" marR="137160" marT="68580" marB="68580" anchor="ctr">
                    <a:lnR w="12700"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tcPr>
                </a:tc>
                <a:tc>
                  <a:txBody>
                    <a:bodyPr/>
                    <a:lstStyle/>
                    <a:p>
                      <a:pPr algn="l"/>
                      <a:r>
                        <a:rPr lang="es-ES" sz="2700" dirty="0"/>
                        <a:t>*</a:t>
                      </a:r>
                    </a:p>
                  </a:txBody>
                  <a:tcPr marL="137160" marR="137160" marT="68580" marB="6858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rowSpan="3">
                  <a:txBody>
                    <a:bodyPr/>
                    <a:lstStyle/>
                    <a:p>
                      <a:endParaRPr lang="es-ES" sz="2700" dirty="0"/>
                    </a:p>
                  </a:txBody>
                  <a:tcPr marL="137160" marR="137160" marT="68580" marB="68580">
                    <a:lnL w="12700"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2824115119"/>
                  </a:ext>
                </a:extLst>
              </a:tr>
              <a:tr h="594000">
                <a:tc vMerge="1">
                  <a:txBody>
                    <a:bodyPr/>
                    <a:lstStyle/>
                    <a:p>
                      <a:endParaRPr lang="es-ES" dirty="0"/>
                    </a:p>
                  </a:txBody>
                  <a:tcPr/>
                </a:tc>
                <a:tc>
                  <a:txBody>
                    <a:bodyPr/>
                    <a:lstStyle/>
                    <a:p>
                      <a:pPr marL="304815" marR="0" lvl="0" indent="-304815" algn="l" defTabSz="914400" rtl="0" eaLnBrk="1" fontAlgn="auto" latinLnBrk="0" hangingPunct="1">
                        <a:lnSpc>
                          <a:spcPct val="100000"/>
                        </a:lnSpc>
                        <a:spcBef>
                          <a:spcPts val="0"/>
                        </a:spcBef>
                        <a:spcAft>
                          <a:spcPts val="0"/>
                        </a:spcAft>
                        <a:buClr>
                          <a:srgbClr val="CC0033"/>
                        </a:buClr>
                        <a:buSzTx/>
                        <a:buFont typeface="Wingdings" panose="05000000000000000000" pitchFamily="2" charset="2"/>
                        <a:buChar char="ü"/>
                        <a:tabLst/>
                        <a:defRPr/>
                      </a:pPr>
                      <a:r>
                        <a:rPr lang="en-US" sz="2700" b="0" kern="1200" dirty="0">
                          <a:solidFill>
                            <a:schemeClr val="dk1"/>
                          </a:solidFill>
                          <a:latin typeface="+mn-lt"/>
                          <a:ea typeface="+mn-ea"/>
                          <a:cs typeface="+mn-cs"/>
                        </a:rPr>
                        <a:t>Image based combustion diagnosis tool</a:t>
                      </a:r>
                    </a:p>
                  </a:txBody>
                  <a:tcPr marL="137160" marR="137160" marT="68580" marB="68580" anchor="ctr">
                    <a:lnL w="12700" cap="flat" cmpd="sng" algn="ctr">
                      <a:solidFill>
                        <a:schemeClr val="accent1"/>
                      </a:solidFill>
                      <a:prstDash val="solid"/>
                      <a:round/>
                      <a:headEnd type="none" w="med" len="med"/>
                      <a:tailEnd type="none" w="med" len="med"/>
                    </a:lnL>
                  </a:tcPr>
                </a:tc>
                <a:tc>
                  <a:txBody>
                    <a:bodyPr/>
                    <a:lstStyle/>
                    <a:p>
                      <a:pPr algn="ctr"/>
                      <a:r>
                        <a:rPr lang="es-ES" sz="2700" dirty="0"/>
                        <a:t>7</a:t>
                      </a:r>
                    </a:p>
                  </a:txBody>
                  <a:tcPr marL="137160" marR="137160" marT="68580" marB="68580" anchor="ctr">
                    <a:lnR w="12700" cap="flat" cmpd="sng" algn="ctr">
                      <a:solidFill>
                        <a:schemeClr val="accent1"/>
                      </a:solidFill>
                      <a:prstDash val="solid"/>
                      <a:round/>
                      <a:headEnd type="none" w="med" len="med"/>
                      <a:tailEnd type="none" w="med" len="med"/>
                    </a:lnR>
                  </a:tcPr>
                </a:tc>
                <a:tc>
                  <a:txBody>
                    <a:bodyPr/>
                    <a:lstStyle/>
                    <a:p>
                      <a:endParaRPr lang="es-ES" sz="2700" dirty="0"/>
                    </a:p>
                  </a:txBody>
                  <a:tcPr marL="137160" marR="137160" marT="68580" marB="6858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vMerge="1">
                  <a:txBody>
                    <a:bodyPr/>
                    <a:lstStyle/>
                    <a:p>
                      <a:endParaRPr lang="es-ES" dirty="0"/>
                    </a:p>
                  </a:txBody>
                  <a:tcPr>
                    <a:lnL w="12700"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726599889"/>
                  </a:ext>
                </a:extLst>
              </a:tr>
              <a:tr h="594000">
                <a:tc vMerge="1">
                  <a:txBody>
                    <a:bodyPr/>
                    <a:lstStyle/>
                    <a:p>
                      <a:endParaRPr lang="es-ES" dirty="0"/>
                    </a:p>
                  </a:txBody>
                  <a:tcPr/>
                </a:tc>
                <a:tc>
                  <a:txBody>
                    <a:bodyPr/>
                    <a:lstStyle/>
                    <a:p>
                      <a:pPr marL="304815" indent="-304815" algn="l" defTabSz="914400" rtl="0" eaLnBrk="1" latinLnBrk="0" hangingPunct="1">
                        <a:buClr>
                          <a:srgbClr val="CC0033"/>
                        </a:buClr>
                        <a:buFont typeface="Wingdings" panose="05000000000000000000" pitchFamily="2" charset="2"/>
                        <a:buChar char="ü"/>
                      </a:pPr>
                      <a:r>
                        <a:rPr lang="en-US" sz="2700" b="0" kern="1200" dirty="0">
                          <a:solidFill>
                            <a:schemeClr val="dk1"/>
                          </a:solidFill>
                          <a:latin typeface="+mn-lt"/>
                          <a:ea typeface="+mn-ea"/>
                          <a:cs typeface="+mn-cs"/>
                        </a:rPr>
                        <a:t>Real time clinker optical characterization</a:t>
                      </a:r>
                    </a:p>
                  </a:txBody>
                  <a:tcPr marL="137160" marR="137160" marT="68580" marB="68580" anchor="ctr">
                    <a:lnL w="12700" cap="flat" cmpd="sng" algn="ctr">
                      <a:solidFill>
                        <a:schemeClr val="accent1"/>
                      </a:solidFill>
                      <a:prstDash val="solid"/>
                      <a:round/>
                      <a:headEnd type="none" w="med" len="med"/>
                      <a:tailEnd type="none" w="med" len="med"/>
                    </a:lnL>
                    <a:lnB w="28575" cap="flat" cmpd="sng" algn="ctr">
                      <a:solidFill>
                        <a:schemeClr val="accent1"/>
                      </a:solidFill>
                      <a:prstDash val="solid"/>
                      <a:round/>
                      <a:headEnd type="none" w="med" len="med"/>
                      <a:tailEnd type="none" w="med" len="med"/>
                    </a:lnB>
                  </a:tcPr>
                </a:tc>
                <a:tc>
                  <a:txBody>
                    <a:bodyPr/>
                    <a:lstStyle/>
                    <a:p>
                      <a:pPr algn="ctr"/>
                      <a:r>
                        <a:rPr lang="es-ES" sz="2700" dirty="0"/>
                        <a:t>7</a:t>
                      </a:r>
                    </a:p>
                  </a:txBody>
                  <a:tcPr marL="137160" marR="137160" marT="68580" marB="68580" anchor="ctr">
                    <a:lnR w="12700" cap="flat" cmpd="sng" algn="ctr">
                      <a:solidFill>
                        <a:schemeClr val="accent1"/>
                      </a:solidFill>
                      <a:prstDash val="solid"/>
                      <a:round/>
                      <a:headEnd type="none" w="med" len="med"/>
                      <a:tailEnd type="none" w="med" len="med"/>
                    </a:lnR>
                    <a:lnB w="28575" cap="flat" cmpd="sng" algn="ctr">
                      <a:solidFill>
                        <a:schemeClr val="accent1"/>
                      </a:solidFill>
                      <a:prstDash val="solid"/>
                      <a:round/>
                      <a:headEnd type="none" w="med" len="med"/>
                      <a:tailEnd type="none" w="med" len="med"/>
                    </a:lnB>
                  </a:tcPr>
                </a:tc>
                <a:tc>
                  <a:txBody>
                    <a:bodyPr/>
                    <a:lstStyle/>
                    <a:p>
                      <a:endParaRPr lang="es-ES" sz="2700" dirty="0"/>
                    </a:p>
                  </a:txBody>
                  <a:tcPr marL="137160" marR="137160" marT="68580" marB="6858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vMerge="1">
                  <a:txBody>
                    <a:bodyPr/>
                    <a:lstStyle/>
                    <a:p>
                      <a:endParaRPr lang="es-ES" dirty="0"/>
                    </a:p>
                  </a:txBody>
                  <a:tcPr>
                    <a:lnL w="12700"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2708567158"/>
                  </a:ext>
                </a:extLst>
              </a:tr>
              <a:tr h="594000">
                <a:tc rowSpan="3">
                  <a:txBody>
                    <a:bodyPr/>
                    <a:lstStyle/>
                    <a:p>
                      <a:endParaRPr lang="es-ES" sz="2700" dirty="0"/>
                    </a:p>
                  </a:txBody>
                  <a:tcPr marL="137160" marR="137160" marT="68580" marB="68580">
                    <a:lnL w="28575"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a:txBody>
                    <a:bodyPr/>
                    <a:lstStyle/>
                    <a:p>
                      <a:pPr marL="304815" indent="-304815" algn="l" defTabSz="914400" rtl="0" eaLnBrk="1" latinLnBrk="0" hangingPunct="1">
                        <a:buClr>
                          <a:srgbClr val="CC0033"/>
                        </a:buClr>
                        <a:buFont typeface="Wingdings" panose="05000000000000000000" pitchFamily="2" charset="2"/>
                        <a:buChar char="ü"/>
                      </a:pPr>
                      <a:r>
                        <a:rPr lang="en-US" sz="2700" b="0" kern="1200" dirty="0">
                          <a:solidFill>
                            <a:schemeClr val="dk1"/>
                          </a:solidFill>
                          <a:latin typeface="+mn-lt"/>
                          <a:ea typeface="+mn-ea"/>
                          <a:cs typeface="+mn-cs"/>
                        </a:rPr>
                        <a:t>New burner head design</a:t>
                      </a:r>
                    </a:p>
                  </a:txBody>
                  <a:tcPr marL="137160" marR="137160" marT="68580" marB="68580" anchor="ctr">
                    <a:lnL w="12700" cap="flat" cmpd="sng" algn="ctr">
                      <a:solidFill>
                        <a:schemeClr val="accent1"/>
                      </a:solidFill>
                      <a:prstDash val="solid"/>
                      <a:round/>
                      <a:headEnd type="none" w="med" len="med"/>
                      <a:tailEnd type="none" w="med" len="med"/>
                    </a:lnL>
                    <a:lnT w="28575" cap="flat" cmpd="sng" algn="ctr">
                      <a:solidFill>
                        <a:schemeClr val="accent1"/>
                      </a:solidFill>
                      <a:prstDash val="solid"/>
                      <a:round/>
                      <a:headEnd type="none" w="med" len="med"/>
                      <a:tailEnd type="none" w="med" len="med"/>
                    </a:lnT>
                  </a:tcPr>
                </a:tc>
                <a:tc>
                  <a:txBody>
                    <a:bodyPr/>
                    <a:lstStyle/>
                    <a:p>
                      <a:pPr algn="ctr"/>
                      <a:r>
                        <a:rPr lang="es-ES" sz="2700" dirty="0"/>
                        <a:t>9</a:t>
                      </a:r>
                    </a:p>
                  </a:txBody>
                  <a:tcPr marL="137160" marR="137160" marT="68580" marB="68580" anchor="ctr">
                    <a:lnR w="12700"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tcPr>
                </a:tc>
                <a:tc>
                  <a:txBody>
                    <a:bodyPr/>
                    <a:lstStyle/>
                    <a:p>
                      <a:endParaRPr lang="es-ES" sz="2700" dirty="0"/>
                    </a:p>
                  </a:txBody>
                  <a:tcPr marL="137160" marR="137160" marT="68580" marB="6858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rowSpan="3">
                  <a:txBody>
                    <a:bodyPr/>
                    <a:lstStyle/>
                    <a:p>
                      <a:endParaRPr lang="es-ES" sz="2700" dirty="0"/>
                    </a:p>
                  </a:txBody>
                  <a:tcPr marL="137160" marR="137160" marT="68580" marB="68580">
                    <a:lnL w="12700"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2162214557"/>
                  </a:ext>
                </a:extLst>
              </a:tr>
              <a:tr h="594000">
                <a:tc vMerge="1">
                  <a:txBody>
                    <a:bodyPr/>
                    <a:lstStyle/>
                    <a:p>
                      <a:endParaRPr lang="es-ES" dirty="0"/>
                    </a:p>
                  </a:txBody>
                  <a:tcPr/>
                </a:tc>
                <a:tc>
                  <a:txBody>
                    <a:bodyPr/>
                    <a:lstStyle/>
                    <a:p>
                      <a:pPr marL="304815" marR="0" lvl="0" indent="-304815" algn="l" defTabSz="914400" rtl="0" eaLnBrk="1" fontAlgn="auto" latinLnBrk="0" hangingPunct="1">
                        <a:lnSpc>
                          <a:spcPct val="100000"/>
                        </a:lnSpc>
                        <a:spcBef>
                          <a:spcPts val="0"/>
                        </a:spcBef>
                        <a:spcAft>
                          <a:spcPts val="0"/>
                        </a:spcAft>
                        <a:buClr>
                          <a:srgbClr val="CC0033"/>
                        </a:buClr>
                        <a:buSzTx/>
                        <a:buFont typeface="Wingdings" panose="05000000000000000000" pitchFamily="2" charset="2"/>
                        <a:buChar char="ü"/>
                        <a:tabLst/>
                        <a:defRPr/>
                      </a:pPr>
                      <a:r>
                        <a:rPr lang="en-US" sz="2700" b="0" kern="1200" dirty="0">
                          <a:solidFill>
                            <a:schemeClr val="dk1"/>
                          </a:solidFill>
                          <a:latin typeface="+mn-lt"/>
                          <a:ea typeface="+mn-ea"/>
                          <a:cs typeface="+mn-cs"/>
                        </a:rPr>
                        <a:t>O</a:t>
                      </a:r>
                      <a:r>
                        <a:rPr lang="en-US" sz="2700" b="0" kern="1200" baseline="-25000" dirty="0">
                          <a:solidFill>
                            <a:schemeClr val="dk1"/>
                          </a:solidFill>
                          <a:latin typeface="+mn-lt"/>
                          <a:ea typeface="+mn-ea"/>
                          <a:cs typeface="+mn-cs"/>
                        </a:rPr>
                        <a:t>2</a:t>
                      </a:r>
                      <a:r>
                        <a:rPr lang="en-US" sz="2700" b="0" kern="1200" dirty="0">
                          <a:solidFill>
                            <a:schemeClr val="dk1"/>
                          </a:solidFill>
                          <a:latin typeface="+mn-lt"/>
                          <a:ea typeface="+mn-ea"/>
                          <a:cs typeface="+mn-cs"/>
                        </a:rPr>
                        <a:t> injection system</a:t>
                      </a:r>
                    </a:p>
                  </a:txBody>
                  <a:tcPr marL="137160" marR="137160" marT="68580" marB="68580" anchor="ctr">
                    <a:lnL w="12700" cap="flat" cmpd="sng" algn="ctr">
                      <a:solidFill>
                        <a:schemeClr val="accent1"/>
                      </a:solidFill>
                      <a:prstDash val="solid"/>
                      <a:round/>
                      <a:headEnd type="none" w="med" len="med"/>
                      <a:tailEnd type="none" w="med" len="med"/>
                    </a:lnL>
                  </a:tcPr>
                </a:tc>
                <a:tc>
                  <a:txBody>
                    <a:bodyPr/>
                    <a:lstStyle/>
                    <a:p>
                      <a:pPr algn="ctr"/>
                      <a:r>
                        <a:rPr lang="es-ES" sz="2700" dirty="0"/>
                        <a:t>9</a:t>
                      </a:r>
                    </a:p>
                  </a:txBody>
                  <a:tcPr marL="137160" marR="137160" marT="68580" marB="68580" anchor="ctr">
                    <a:lnR w="12700" cap="flat" cmpd="sng" algn="ctr">
                      <a:solidFill>
                        <a:schemeClr val="accent1"/>
                      </a:solidFill>
                      <a:prstDash val="solid"/>
                      <a:round/>
                      <a:headEnd type="none" w="med" len="med"/>
                      <a:tailEnd type="none" w="med" len="med"/>
                    </a:lnR>
                  </a:tcPr>
                </a:tc>
                <a:tc>
                  <a:txBody>
                    <a:bodyPr/>
                    <a:lstStyle/>
                    <a:p>
                      <a:endParaRPr lang="es-ES" sz="2700" dirty="0"/>
                    </a:p>
                  </a:txBody>
                  <a:tcPr marL="137160" marR="137160" marT="68580" marB="6858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vMerge="1">
                  <a:txBody>
                    <a:bodyPr/>
                    <a:lstStyle/>
                    <a:p>
                      <a:endParaRPr lang="es-ES" dirty="0"/>
                    </a:p>
                  </a:txBody>
                  <a:tcPr>
                    <a:lnL w="12700"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2466104007"/>
                  </a:ext>
                </a:extLst>
              </a:tr>
              <a:tr h="594000">
                <a:tc vMerge="1">
                  <a:txBody>
                    <a:bodyPr/>
                    <a:lstStyle/>
                    <a:p>
                      <a:endParaRPr lang="es-ES" dirty="0"/>
                    </a:p>
                  </a:txBody>
                  <a:tcPr/>
                </a:tc>
                <a:tc>
                  <a:txBody>
                    <a:bodyPr/>
                    <a:lstStyle/>
                    <a:p>
                      <a:pPr marL="304815" marR="0" lvl="0" indent="-304815" algn="l" defTabSz="914400" rtl="0" eaLnBrk="1" fontAlgn="auto" latinLnBrk="0" hangingPunct="1">
                        <a:lnSpc>
                          <a:spcPct val="100000"/>
                        </a:lnSpc>
                        <a:spcBef>
                          <a:spcPts val="0"/>
                        </a:spcBef>
                        <a:spcAft>
                          <a:spcPts val="0"/>
                        </a:spcAft>
                        <a:buClr>
                          <a:srgbClr val="CC0033"/>
                        </a:buClr>
                        <a:buSzTx/>
                        <a:buFont typeface="Wingdings" panose="05000000000000000000" pitchFamily="2" charset="2"/>
                        <a:buChar char="ü"/>
                        <a:tabLst/>
                        <a:defRPr/>
                      </a:pPr>
                      <a:r>
                        <a:rPr lang="en-US" sz="2700" b="0" kern="1200" dirty="0">
                          <a:solidFill>
                            <a:schemeClr val="dk1"/>
                          </a:solidFill>
                          <a:latin typeface="+mn-lt"/>
                          <a:ea typeface="+mn-ea"/>
                          <a:cs typeface="+mn-cs"/>
                        </a:rPr>
                        <a:t>New burner head design</a:t>
                      </a:r>
                    </a:p>
                  </a:txBody>
                  <a:tcPr marL="137160" marR="137160" marT="68580" marB="68580" anchor="ctr">
                    <a:lnL w="12700" cap="flat" cmpd="sng" algn="ctr">
                      <a:solidFill>
                        <a:schemeClr val="accent1"/>
                      </a:solidFill>
                      <a:prstDash val="solid"/>
                      <a:round/>
                      <a:headEnd type="none" w="med" len="med"/>
                      <a:tailEnd type="none" w="med" len="med"/>
                    </a:lnL>
                    <a:lnB w="28575" cap="flat" cmpd="sng" algn="ctr">
                      <a:solidFill>
                        <a:schemeClr val="accent1"/>
                      </a:solidFill>
                      <a:prstDash val="solid"/>
                      <a:round/>
                      <a:headEnd type="none" w="med" len="med"/>
                      <a:tailEnd type="none" w="med" len="med"/>
                    </a:lnB>
                  </a:tcPr>
                </a:tc>
                <a:tc>
                  <a:txBody>
                    <a:bodyPr/>
                    <a:lstStyle/>
                    <a:p>
                      <a:pPr algn="ctr"/>
                      <a:r>
                        <a:rPr lang="es-ES" sz="2700" dirty="0"/>
                        <a:t>9</a:t>
                      </a:r>
                    </a:p>
                  </a:txBody>
                  <a:tcPr marL="137160" marR="137160" marT="68580" marB="68580" anchor="ctr">
                    <a:lnR w="12700" cap="flat" cmpd="sng" algn="ctr">
                      <a:solidFill>
                        <a:schemeClr val="accent1"/>
                      </a:solidFill>
                      <a:prstDash val="solid"/>
                      <a:round/>
                      <a:headEnd type="none" w="med" len="med"/>
                      <a:tailEnd type="none" w="med" len="med"/>
                    </a:lnR>
                    <a:lnB w="28575" cap="flat" cmpd="sng" algn="ctr">
                      <a:solidFill>
                        <a:schemeClr val="accent1"/>
                      </a:solidFill>
                      <a:prstDash val="solid"/>
                      <a:round/>
                      <a:headEnd type="none" w="med" len="med"/>
                      <a:tailEnd type="none" w="med" len="med"/>
                    </a:lnB>
                  </a:tcPr>
                </a:tc>
                <a:tc>
                  <a:txBody>
                    <a:bodyPr/>
                    <a:lstStyle/>
                    <a:p>
                      <a:endParaRPr lang="es-ES" sz="2700" dirty="0"/>
                    </a:p>
                  </a:txBody>
                  <a:tcPr marL="137160" marR="137160" marT="68580" marB="6858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vMerge="1">
                  <a:txBody>
                    <a:bodyPr/>
                    <a:lstStyle/>
                    <a:p>
                      <a:endParaRPr lang="es-ES" dirty="0"/>
                    </a:p>
                  </a:txBody>
                  <a:tcPr>
                    <a:lnL w="12700"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04883423"/>
                  </a:ext>
                </a:extLst>
              </a:tr>
              <a:tr h="594000">
                <a:tc rowSpan="2">
                  <a:txBody>
                    <a:bodyPr/>
                    <a:lstStyle/>
                    <a:p>
                      <a:endParaRPr lang="es-ES" sz="2700" dirty="0"/>
                    </a:p>
                  </a:txBody>
                  <a:tcPr marL="137160" marR="137160" marT="68580" marB="68580">
                    <a:lnL w="28575"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a:txBody>
                    <a:bodyPr/>
                    <a:lstStyle/>
                    <a:p>
                      <a:pPr marL="304815" indent="-304815" algn="l" defTabSz="914400" rtl="0" eaLnBrk="1" latinLnBrk="0" hangingPunct="1">
                        <a:buClr>
                          <a:srgbClr val="CC0033"/>
                        </a:buClr>
                        <a:buFont typeface="Wingdings" panose="05000000000000000000" pitchFamily="2" charset="2"/>
                        <a:buChar char="ü"/>
                      </a:pPr>
                      <a:r>
                        <a:rPr lang="en-US" sz="2700" b="0" kern="1200" dirty="0">
                          <a:solidFill>
                            <a:schemeClr val="dk1"/>
                          </a:solidFill>
                          <a:latin typeface="+mn-lt"/>
                          <a:ea typeface="+mn-ea"/>
                          <a:cs typeface="+mn-cs"/>
                        </a:rPr>
                        <a:t>Redesign of the flue gases recovery system </a:t>
                      </a:r>
                    </a:p>
                  </a:txBody>
                  <a:tcPr marL="137160" marR="137160" marT="68580" marB="68580" anchor="ctr">
                    <a:lnL w="12700" cap="flat" cmpd="sng" algn="ctr">
                      <a:solidFill>
                        <a:schemeClr val="accent1"/>
                      </a:solidFill>
                      <a:prstDash val="solid"/>
                      <a:round/>
                      <a:headEnd type="none" w="med" len="med"/>
                      <a:tailEnd type="none" w="med" len="med"/>
                    </a:lnL>
                    <a:lnT w="28575" cap="flat" cmpd="sng" algn="ctr">
                      <a:solidFill>
                        <a:schemeClr val="accent1"/>
                      </a:solidFill>
                      <a:prstDash val="solid"/>
                      <a:round/>
                      <a:headEnd type="none" w="med" len="med"/>
                      <a:tailEnd type="none" w="med" len="med"/>
                    </a:lnT>
                  </a:tcPr>
                </a:tc>
                <a:tc>
                  <a:txBody>
                    <a:bodyPr/>
                    <a:lstStyle/>
                    <a:p>
                      <a:pPr algn="ctr"/>
                      <a:r>
                        <a:rPr lang="es-ES" sz="2700" dirty="0"/>
                        <a:t>9</a:t>
                      </a:r>
                    </a:p>
                  </a:txBody>
                  <a:tcPr marL="137160" marR="137160" marT="68580" marB="68580" anchor="ctr">
                    <a:lnR w="12700"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tcPr>
                </a:tc>
                <a:tc>
                  <a:txBody>
                    <a:bodyPr/>
                    <a:lstStyle/>
                    <a:p>
                      <a:r>
                        <a:rPr lang="es-ES" sz="2700" dirty="0"/>
                        <a:t>*</a:t>
                      </a:r>
                    </a:p>
                  </a:txBody>
                  <a:tcPr marL="137160" marR="137160" marT="68580" marB="6858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rowSpan="2">
                  <a:txBody>
                    <a:bodyPr/>
                    <a:lstStyle/>
                    <a:p>
                      <a:endParaRPr lang="es-ES" sz="2700" dirty="0"/>
                    </a:p>
                  </a:txBody>
                  <a:tcPr marL="137160" marR="137160" marT="68580" marB="68580">
                    <a:lnL w="12700"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594310319"/>
                  </a:ext>
                </a:extLst>
              </a:tr>
              <a:tr h="594000">
                <a:tc vMerge="1">
                  <a:txBody>
                    <a:bodyPr/>
                    <a:lstStyle/>
                    <a:p>
                      <a:endParaRPr lang="es-ES" dirty="0"/>
                    </a:p>
                  </a:txBody>
                  <a:tcPr/>
                </a:tc>
                <a:tc>
                  <a:txBody>
                    <a:bodyPr/>
                    <a:lstStyle/>
                    <a:p>
                      <a:pPr marL="304815" marR="0" lvl="0" indent="-304815" algn="l" defTabSz="914400" rtl="0" eaLnBrk="1" fontAlgn="auto" latinLnBrk="0" hangingPunct="1">
                        <a:lnSpc>
                          <a:spcPct val="100000"/>
                        </a:lnSpc>
                        <a:spcBef>
                          <a:spcPts val="0"/>
                        </a:spcBef>
                        <a:spcAft>
                          <a:spcPts val="0"/>
                        </a:spcAft>
                        <a:buClr>
                          <a:srgbClr val="CC0033"/>
                        </a:buClr>
                        <a:buSzTx/>
                        <a:buFont typeface="Wingdings" panose="05000000000000000000" pitchFamily="2" charset="2"/>
                        <a:buChar char="ü"/>
                        <a:tabLst/>
                        <a:defRPr/>
                      </a:pPr>
                      <a:r>
                        <a:rPr lang="en-US" sz="2700" b="0" kern="1200" noProof="0" dirty="0">
                          <a:solidFill>
                            <a:schemeClr val="dk1"/>
                          </a:solidFill>
                          <a:latin typeface="+mn-lt"/>
                          <a:ea typeface="+mn-ea"/>
                          <a:cs typeface="+mn-cs"/>
                        </a:rPr>
                        <a:t>Height of frit visual tool </a:t>
                      </a:r>
                    </a:p>
                  </a:txBody>
                  <a:tcPr marL="137160" marR="137160" marT="68580" marB="68580" anchor="ctr">
                    <a:lnL w="12700" cap="flat" cmpd="sng" algn="ctr">
                      <a:solidFill>
                        <a:schemeClr val="accent1"/>
                      </a:solidFill>
                      <a:prstDash val="solid"/>
                      <a:round/>
                      <a:headEnd type="none" w="med" len="med"/>
                      <a:tailEnd type="none" w="med" len="med"/>
                    </a:lnL>
                    <a:lnB w="28575" cap="flat" cmpd="sng" algn="ctr">
                      <a:solidFill>
                        <a:schemeClr val="accent1"/>
                      </a:solidFill>
                      <a:prstDash val="solid"/>
                      <a:round/>
                      <a:headEnd type="none" w="med" len="med"/>
                      <a:tailEnd type="none" w="med" len="med"/>
                    </a:lnB>
                  </a:tcPr>
                </a:tc>
                <a:tc>
                  <a:txBody>
                    <a:bodyPr/>
                    <a:lstStyle/>
                    <a:p>
                      <a:pPr algn="ctr"/>
                      <a:r>
                        <a:rPr lang="es-ES" sz="2700" dirty="0"/>
                        <a:t>7</a:t>
                      </a:r>
                    </a:p>
                  </a:txBody>
                  <a:tcPr marL="137160" marR="137160" marT="68580" marB="68580" anchor="ctr">
                    <a:lnR w="12700" cap="flat" cmpd="sng" algn="ctr">
                      <a:solidFill>
                        <a:schemeClr val="accent1"/>
                      </a:solidFill>
                      <a:prstDash val="solid"/>
                      <a:round/>
                      <a:headEnd type="none" w="med" len="med"/>
                      <a:tailEnd type="none" w="med" len="med"/>
                    </a:lnR>
                    <a:lnB w="28575" cap="flat" cmpd="sng" algn="ctr">
                      <a:solidFill>
                        <a:schemeClr val="accent1"/>
                      </a:solidFill>
                      <a:prstDash val="solid"/>
                      <a:round/>
                      <a:headEnd type="none" w="med" len="med"/>
                      <a:tailEnd type="none" w="med" len="med"/>
                    </a:lnB>
                  </a:tcPr>
                </a:tc>
                <a:tc>
                  <a:txBody>
                    <a:bodyPr/>
                    <a:lstStyle/>
                    <a:p>
                      <a:endParaRPr lang="es-ES" sz="2700" dirty="0"/>
                    </a:p>
                  </a:txBody>
                  <a:tcPr marL="137160" marR="137160" marT="68580" marB="6858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vMerge="1">
                  <a:txBody>
                    <a:bodyPr/>
                    <a:lstStyle/>
                    <a:p>
                      <a:endParaRPr lang="es-ES" dirty="0"/>
                    </a:p>
                  </a:txBody>
                  <a:tcPr>
                    <a:lnL w="12700"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826288940"/>
                  </a:ext>
                </a:extLst>
              </a:tr>
              <a:tr h="960120">
                <a:tc rowSpan="2">
                  <a:txBody>
                    <a:bodyPr/>
                    <a:lstStyle/>
                    <a:p>
                      <a:endParaRPr lang="es-ES" sz="2700" dirty="0"/>
                    </a:p>
                  </a:txBody>
                  <a:tcPr marL="137160" marR="137160" marT="68580" marB="68580">
                    <a:lnL w="28575"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a:txBody>
                    <a:bodyPr/>
                    <a:lstStyle/>
                    <a:p>
                      <a:pPr marL="304815" marR="0" lvl="0" indent="-304815" algn="l" defTabSz="914400" rtl="0" eaLnBrk="1" fontAlgn="auto" latinLnBrk="0" hangingPunct="1">
                        <a:lnSpc>
                          <a:spcPct val="100000"/>
                        </a:lnSpc>
                        <a:spcBef>
                          <a:spcPts val="0"/>
                        </a:spcBef>
                        <a:spcAft>
                          <a:spcPts val="0"/>
                        </a:spcAft>
                        <a:buClr>
                          <a:srgbClr val="CC0033"/>
                        </a:buClr>
                        <a:buSzTx/>
                        <a:buFont typeface="Wingdings" panose="05000000000000000000" pitchFamily="2" charset="2"/>
                        <a:buChar char="ü"/>
                        <a:tabLst/>
                        <a:defRPr/>
                      </a:pPr>
                      <a:r>
                        <a:rPr lang="en-US" sz="2700" b="0" kern="1200" dirty="0">
                          <a:solidFill>
                            <a:schemeClr val="dk1"/>
                          </a:solidFill>
                          <a:latin typeface="+mn-lt"/>
                          <a:ea typeface="+mn-ea"/>
                          <a:cs typeface="+mn-cs"/>
                        </a:rPr>
                        <a:t>Burner modification for feeding biochar and plastic grains </a:t>
                      </a:r>
                    </a:p>
                  </a:txBody>
                  <a:tcPr marL="137160" marR="137160" marT="68580" marB="68580" anchor="ctr">
                    <a:lnL w="12700" cap="flat" cmpd="sng" algn="ctr">
                      <a:solidFill>
                        <a:schemeClr val="accent1"/>
                      </a:solidFill>
                      <a:prstDash val="solid"/>
                      <a:round/>
                      <a:headEnd type="none" w="med" len="med"/>
                      <a:tailEnd type="none" w="med" len="med"/>
                    </a:lnL>
                    <a:lnT w="28575" cap="flat" cmpd="sng" algn="ctr">
                      <a:solidFill>
                        <a:schemeClr val="accent1"/>
                      </a:solidFill>
                      <a:prstDash val="solid"/>
                      <a:round/>
                      <a:headEnd type="none" w="med" len="med"/>
                      <a:tailEnd type="none" w="med" len="med"/>
                    </a:lnT>
                  </a:tcPr>
                </a:tc>
                <a:tc>
                  <a:txBody>
                    <a:bodyPr/>
                    <a:lstStyle/>
                    <a:p>
                      <a:pPr algn="ctr"/>
                      <a:r>
                        <a:rPr lang="es-ES" sz="2700" dirty="0"/>
                        <a:t>9</a:t>
                      </a:r>
                    </a:p>
                  </a:txBody>
                  <a:tcPr marL="137160" marR="137160" marT="68580" marB="68580" anchor="ctr">
                    <a:lnR w="12700"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tcPr>
                </a:tc>
                <a:tc>
                  <a:txBody>
                    <a:bodyPr/>
                    <a:lstStyle/>
                    <a:p>
                      <a:endParaRPr lang="es-ES" sz="2700" dirty="0"/>
                    </a:p>
                  </a:txBody>
                  <a:tcPr marL="137160" marR="137160" marT="68580" marB="6858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rowSpan="2">
                  <a:txBody>
                    <a:bodyPr/>
                    <a:lstStyle/>
                    <a:p>
                      <a:endParaRPr lang="es-ES" sz="2700" dirty="0"/>
                    </a:p>
                  </a:txBody>
                  <a:tcPr marL="137160" marR="137160" marT="68580" marB="68580">
                    <a:lnL w="12700"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914759551"/>
                  </a:ext>
                </a:extLst>
              </a:tr>
              <a:tr h="594000">
                <a:tc vMerge="1">
                  <a:txBody>
                    <a:bodyPr/>
                    <a:lstStyle/>
                    <a:p>
                      <a:endParaRPr lang="es-ES" dirty="0"/>
                    </a:p>
                  </a:txBody>
                  <a:tcPr/>
                </a:tc>
                <a:tc>
                  <a:txBody>
                    <a:bodyPr/>
                    <a:lstStyle/>
                    <a:p>
                      <a:pPr marL="304815" marR="0" lvl="0" indent="-304815" algn="l" defTabSz="914400" rtl="0" eaLnBrk="1" fontAlgn="auto" latinLnBrk="0" hangingPunct="1">
                        <a:lnSpc>
                          <a:spcPct val="100000"/>
                        </a:lnSpc>
                        <a:spcBef>
                          <a:spcPts val="0"/>
                        </a:spcBef>
                        <a:spcAft>
                          <a:spcPts val="0"/>
                        </a:spcAft>
                        <a:buClr>
                          <a:srgbClr val="CC0033"/>
                        </a:buClr>
                        <a:buSzTx/>
                        <a:buFont typeface="Wingdings" panose="05000000000000000000" pitchFamily="2" charset="2"/>
                        <a:buChar char="ü"/>
                        <a:tabLst/>
                        <a:defRPr/>
                      </a:pPr>
                      <a:r>
                        <a:rPr lang="en-US" sz="2700" b="0" kern="1200" dirty="0">
                          <a:solidFill>
                            <a:schemeClr val="dk1"/>
                          </a:solidFill>
                          <a:latin typeface="+mn-lt"/>
                          <a:ea typeface="+mn-ea"/>
                          <a:cs typeface="+mn-cs"/>
                        </a:rPr>
                        <a:t>Feeding injection system for plastic grains</a:t>
                      </a:r>
                    </a:p>
                  </a:txBody>
                  <a:tcPr marL="137160" marR="137160" marT="68580" marB="68580" anchor="ctr">
                    <a:lnL w="12700" cap="flat" cmpd="sng" algn="ctr">
                      <a:solidFill>
                        <a:schemeClr val="accent1"/>
                      </a:solidFill>
                      <a:prstDash val="solid"/>
                      <a:round/>
                      <a:headEnd type="none" w="med" len="med"/>
                      <a:tailEnd type="none" w="med" len="med"/>
                    </a:lnL>
                    <a:lnB w="28575" cap="flat" cmpd="sng" algn="ctr">
                      <a:solidFill>
                        <a:schemeClr val="accent1"/>
                      </a:solidFill>
                      <a:prstDash val="solid"/>
                      <a:round/>
                      <a:headEnd type="none" w="med" len="med"/>
                      <a:tailEnd type="none" w="med" len="med"/>
                    </a:lnB>
                  </a:tcPr>
                </a:tc>
                <a:tc>
                  <a:txBody>
                    <a:bodyPr/>
                    <a:lstStyle/>
                    <a:p>
                      <a:pPr algn="ctr"/>
                      <a:r>
                        <a:rPr lang="es-ES" sz="2700" dirty="0"/>
                        <a:t>7</a:t>
                      </a:r>
                    </a:p>
                  </a:txBody>
                  <a:tcPr marL="137160" marR="137160" marT="68580" marB="68580" anchor="ctr">
                    <a:lnR w="12700" cap="flat" cmpd="sng" algn="ctr">
                      <a:solidFill>
                        <a:schemeClr val="accent1"/>
                      </a:solidFill>
                      <a:prstDash val="solid"/>
                      <a:round/>
                      <a:headEnd type="none" w="med" len="med"/>
                      <a:tailEnd type="none" w="med" len="med"/>
                    </a:lnR>
                    <a:lnB w="28575" cap="flat" cmpd="sng" algn="ctr">
                      <a:solidFill>
                        <a:schemeClr val="accent1"/>
                      </a:solidFill>
                      <a:prstDash val="solid"/>
                      <a:round/>
                      <a:headEnd type="none" w="med" len="med"/>
                      <a:tailEnd type="none" w="med" len="med"/>
                    </a:lnB>
                  </a:tcPr>
                </a:tc>
                <a:tc>
                  <a:txBody>
                    <a:bodyPr/>
                    <a:lstStyle/>
                    <a:p>
                      <a:endParaRPr lang="es-ES" sz="2700" dirty="0"/>
                    </a:p>
                  </a:txBody>
                  <a:tcPr marL="137160" marR="137160" marT="68580" marB="6858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vMerge="1">
                  <a:txBody>
                    <a:bodyPr/>
                    <a:lstStyle/>
                    <a:p>
                      <a:endParaRPr lang="es-ES" dirty="0"/>
                    </a:p>
                  </a:txBody>
                  <a:tcPr>
                    <a:lnL w="12700"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832282928"/>
                  </a:ext>
                </a:extLst>
              </a:tr>
              <a:tr h="594000">
                <a:tc>
                  <a:txBody>
                    <a:bodyPr/>
                    <a:lstStyle/>
                    <a:p>
                      <a:endParaRPr lang="es-ES" sz="2700" dirty="0"/>
                    </a:p>
                  </a:txBody>
                  <a:tcPr marL="137160" marR="137160" marT="68580" marB="68580">
                    <a:lnL w="28575"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a:txBody>
                    <a:bodyPr/>
                    <a:lstStyle/>
                    <a:p>
                      <a:pPr marL="304815" marR="0" lvl="0" indent="-304815" algn="l" defTabSz="914400" rtl="0" eaLnBrk="1" fontAlgn="auto" latinLnBrk="0" hangingPunct="1">
                        <a:lnSpc>
                          <a:spcPct val="100000"/>
                        </a:lnSpc>
                        <a:spcBef>
                          <a:spcPts val="0"/>
                        </a:spcBef>
                        <a:spcAft>
                          <a:spcPts val="0"/>
                        </a:spcAft>
                        <a:buClr>
                          <a:srgbClr val="CC0033"/>
                        </a:buClr>
                        <a:buSzTx/>
                        <a:buFont typeface="Wingdings" panose="05000000000000000000" pitchFamily="2" charset="2"/>
                        <a:buChar char="ü"/>
                        <a:tabLst/>
                        <a:defRPr/>
                      </a:pPr>
                      <a:r>
                        <a:rPr lang="en-US" sz="2700" b="0" kern="1200" dirty="0">
                          <a:solidFill>
                            <a:schemeClr val="dk1"/>
                          </a:solidFill>
                          <a:latin typeface="+mn-lt"/>
                          <a:ea typeface="+mn-ea"/>
                          <a:cs typeface="+mn-cs"/>
                        </a:rPr>
                        <a:t>Feeding injection system for polymer</a:t>
                      </a:r>
                    </a:p>
                  </a:txBody>
                  <a:tcPr marL="137160" marR="137160" marT="68580" marB="68580" anchor="ctr">
                    <a:lnL w="12700" cap="flat" cmpd="sng" algn="ctr">
                      <a:solidFill>
                        <a:schemeClr val="accent1"/>
                      </a:solidFill>
                      <a:prstDash val="solid"/>
                      <a:round/>
                      <a:headEnd type="none" w="med" len="med"/>
                      <a:tailEnd type="none" w="med" len="med"/>
                    </a:lnL>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tcPr>
                </a:tc>
                <a:tc>
                  <a:txBody>
                    <a:bodyPr/>
                    <a:lstStyle/>
                    <a:p>
                      <a:pPr algn="ctr"/>
                      <a:r>
                        <a:rPr lang="es-ES" sz="2700" dirty="0"/>
                        <a:t>9</a:t>
                      </a:r>
                    </a:p>
                  </a:txBody>
                  <a:tcPr marL="137160" marR="137160" marT="68580" marB="68580" anchor="ctr">
                    <a:lnR w="12700"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tcPr>
                </a:tc>
                <a:tc>
                  <a:txBody>
                    <a:bodyPr/>
                    <a:lstStyle/>
                    <a:p>
                      <a:r>
                        <a:rPr lang="es-ES" sz="2700" dirty="0"/>
                        <a:t>*</a:t>
                      </a:r>
                    </a:p>
                  </a:txBody>
                  <a:tcPr marL="137160" marR="137160" marT="68580" marB="6858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a:txBody>
                    <a:bodyPr/>
                    <a:lstStyle/>
                    <a:p>
                      <a:endParaRPr lang="es-ES" sz="2700" dirty="0"/>
                    </a:p>
                  </a:txBody>
                  <a:tcPr marL="137160" marR="137160" marT="68580" marB="68580">
                    <a:lnL w="12700"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110878623"/>
                  </a:ext>
                </a:extLst>
              </a:tr>
              <a:tr h="594000">
                <a:tc>
                  <a:txBody>
                    <a:bodyPr/>
                    <a:lstStyle/>
                    <a:p>
                      <a:pPr algn="ctr"/>
                      <a:r>
                        <a:rPr lang="es-ES" sz="2700" dirty="0"/>
                        <a:t>*</a:t>
                      </a:r>
                    </a:p>
                  </a:txBody>
                  <a:tcPr marL="137160" marR="137160" marT="68580" marB="68580">
                    <a:lnL w="28575"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c>
                  <a:txBody>
                    <a:bodyPr/>
                    <a:lstStyle/>
                    <a:p>
                      <a:pPr marL="304815" marR="0" lvl="0" indent="-304815" algn="l" defTabSz="914400" rtl="0" eaLnBrk="1" fontAlgn="auto" latinLnBrk="0" hangingPunct="1">
                        <a:lnSpc>
                          <a:spcPct val="100000"/>
                        </a:lnSpc>
                        <a:spcBef>
                          <a:spcPts val="0"/>
                        </a:spcBef>
                        <a:spcAft>
                          <a:spcPts val="0"/>
                        </a:spcAft>
                        <a:buClr>
                          <a:srgbClr val="CC0033"/>
                        </a:buClr>
                        <a:buSzTx/>
                        <a:buFont typeface="Wingdings" panose="05000000000000000000" pitchFamily="2" charset="2"/>
                        <a:buChar char="ü"/>
                        <a:tabLst/>
                        <a:defRPr/>
                      </a:pPr>
                      <a:r>
                        <a:rPr lang="en-US" sz="2700" b="0" kern="1200" dirty="0">
                          <a:solidFill>
                            <a:schemeClr val="dk1"/>
                          </a:solidFill>
                          <a:latin typeface="+mn-lt"/>
                          <a:ea typeface="+mn-ea"/>
                          <a:cs typeface="+mn-cs"/>
                        </a:rPr>
                        <a:t>Decision Support System (DSS)</a:t>
                      </a:r>
                    </a:p>
                  </a:txBody>
                  <a:tcPr marL="137160" marR="137160" marT="68580" marB="68580" anchor="ctr">
                    <a:lnL w="12700" cap="flat" cmpd="sng" algn="ctr">
                      <a:solidFill>
                        <a:schemeClr val="accent1"/>
                      </a:solidFill>
                      <a:prstDash val="solid"/>
                      <a:round/>
                      <a:headEnd type="none" w="med" len="med"/>
                      <a:tailEnd type="none" w="med" len="med"/>
                    </a:lnL>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tcPr>
                </a:tc>
                <a:tc>
                  <a:txBody>
                    <a:bodyPr/>
                    <a:lstStyle/>
                    <a:p>
                      <a:pPr algn="ctr"/>
                      <a:r>
                        <a:rPr lang="es-ES" sz="2700" dirty="0"/>
                        <a:t>8</a:t>
                      </a:r>
                    </a:p>
                  </a:txBody>
                  <a:tcPr marL="137160" marR="137160" marT="68580" marB="68580" anchor="ctr">
                    <a:lnR w="12700"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tcPr>
                </a:tc>
                <a:tc>
                  <a:txBody>
                    <a:bodyPr/>
                    <a:lstStyle/>
                    <a:p>
                      <a:endParaRPr lang="es-ES" sz="2700" dirty="0"/>
                    </a:p>
                  </a:txBody>
                  <a:tcPr marL="137160" marR="137160" marT="68580" marB="6858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a:txBody>
                    <a:bodyPr/>
                    <a:lstStyle/>
                    <a:p>
                      <a:pPr algn="ctr"/>
                      <a:r>
                        <a:rPr lang="es-ES" sz="2700" dirty="0"/>
                        <a:t>*</a:t>
                      </a:r>
                    </a:p>
                  </a:txBody>
                  <a:tcPr marL="137160" marR="137160" marT="68580" marB="68580">
                    <a:lnL w="12700"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4290674497"/>
                  </a:ext>
                </a:extLst>
              </a:tr>
            </a:tbl>
          </a:graphicData>
        </a:graphic>
      </p:graphicFrame>
      <p:pic>
        <p:nvPicPr>
          <p:cNvPr id="3" name="Picture 2">
            <a:extLst>
              <a:ext uri="{FF2B5EF4-FFF2-40B4-BE49-F238E27FC236}">
                <a16:creationId xmlns:a16="http://schemas.microsoft.com/office/drawing/2014/main" id="{F61D78BF-B7E0-A73D-8C70-FEFE99D285F5}"/>
              </a:ext>
            </a:extLst>
          </p:cNvPr>
          <p:cNvPicPr>
            <a:picLocks noChangeAspect="1"/>
          </p:cNvPicPr>
          <p:nvPr/>
        </p:nvPicPr>
        <p:blipFill>
          <a:blip r:embed="rId5"/>
          <a:stretch>
            <a:fillRect/>
          </a:stretch>
        </p:blipFill>
        <p:spPr>
          <a:xfrm>
            <a:off x="919902" y="1556560"/>
            <a:ext cx="1350000" cy="507299"/>
          </a:xfrm>
          <a:prstGeom prst="rect">
            <a:avLst/>
          </a:prstGeom>
        </p:spPr>
      </p:pic>
      <p:pic>
        <p:nvPicPr>
          <p:cNvPr id="5" name="Picture 4">
            <a:extLst>
              <a:ext uri="{FF2B5EF4-FFF2-40B4-BE49-F238E27FC236}">
                <a16:creationId xmlns:a16="http://schemas.microsoft.com/office/drawing/2014/main" id="{A692831E-B0C5-D40D-7A34-641C88A486D2}"/>
              </a:ext>
            </a:extLst>
          </p:cNvPr>
          <p:cNvPicPr>
            <a:picLocks noChangeAspect="1"/>
          </p:cNvPicPr>
          <p:nvPr/>
        </p:nvPicPr>
        <p:blipFill>
          <a:blip r:embed="rId6"/>
          <a:stretch>
            <a:fillRect/>
          </a:stretch>
        </p:blipFill>
        <p:spPr>
          <a:xfrm>
            <a:off x="1022578" y="2503215"/>
            <a:ext cx="1272893" cy="1038863"/>
          </a:xfrm>
          <a:prstGeom prst="rect">
            <a:avLst/>
          </a:prstGeom>
        </p:spPr>
      </p:pic>
      <p:pic>
        <p:nvPicPr>
          <p:cNvPr id="6" name="Picture 5">
            <a:extLst>
              <a:ext uri="{FF2B5EF4-FFF2-40B4-BE49-F238E27FC236}">
                <a16:creationId xmlns:a16="http://schemas.microsoft.com/office/drawing/2014/main" id="{8942D18D-F89C-4355-FEAF-4A11D6F7661F}"/>
              </a:ext>
            </a:extLst>
          </p:cNvPr>
          <p:cNvPicPr>
            <a:picLocks noChangeAspect="1"/>
          </p:cNvPicPr>
          <p:nvPr/>
        </p:nvPicPr>
        <p:blipFill>
          <a:blip r:embed="rId7"/>
          <a:stretch>
            <a:fillRect/>
          </a:stretch>
        </p:blipFill>
        <p:spPr>
          <a:xfrm>
            <a:off x="823308" y="4369091"/>
            <a:ext cx="1620000" cy="610200"/>
          </a:xfrm>
          <a:prstGeom prst="rect">
            <a:avLst/>
          </a:prstGeom>
        </p:spPr>
      </p:pic>
      <p:pic>
        <p:nvPicPr>
          <p:cNvPr id="7" name="Imagen 25" descr="Logotipo, nombre de la empresa&#10;&#10;Descripción generada automáticamente">
            <a:extLst>
              <a:ext uri="{FF2B5EF4-FFF2-40B4-BE49-F238E27FC236}">
                <a16:creationId xmlns:a16="http://schemas.microsoft.com/office/drawing/2014/main" id="{040FFBF2-B055-9619-C99D-C7907EC99961}"/>
              </a:ext>
            </a:extLst>
          </p:cNvPr>
          <p:cNvPicPr>
            <a:picLocks noChangeAspect="1"/>
          </p:cNvPicPr>
          <p:nvPr/>
        </p:nvPicPr>
        <p:blipFill rotWithShape="1">
          <a:blip r:embed="rId8"/>
          <a:srcRect l="-49" t="4856" r="75475" b="62463"/>
          <a:stretch/>
        </p:blipFill>
        <p:spPr>
          <a:xfrm>
            <a:off x="16196435" y="1545386"/>
            <a:ext cx="1142648" cy="486000"/>
          </a:xfrm>
          <a:prstGeom prst="rect">
            <a:avLst/>
          </a:prstGeom>
        </p:spPr>
      </p:pic>
      <p:pic>
        <p:nvPicPr>
          <p:cNvPr id="8" name="Picture 7">
            <a:extLst>
              <a:ext uri="{FF2B5EF4-FFF2-40B4-BE49-F238E27FC236}">
                <a16:creationId xmlns:a16="http://schemas.microsoft.com/office/drawing/2014/main" id="{3871E48A-19FB-5B28-A867-00F68AF32749}"/>
              </a:ext>
            </a:extLst>
          </p:cNvPr>
          <p:cNvPicPr>
            <a:picLocks noChangeAspect="1"/>
          </p:cNvPicPr>
          <p:nvPr/>
        </p:nvPicPr>
        <p:blipFill>
          <a:blip r:embed="rId9"/>
          <a:stretch>
            <a:fillRect/>
          </a:stretch>
        </p:blipFill>
        <p:spPr>
          <a:xfrm>
            <a:off x="828908" y="5905714"/>
            <a:ext cx="1620000" cy="579732"/>
          </a:xfrm>
          <a:prstGeom prst="rect">
            <a:avLst/>
          </a:prstGeom>
        </p:spPr>
      </p:pic>
      <p:pic>
        <p:nvPicPr>
          <p:cNvPr id="9" name="Imagen 115">
            <a:extLst>
              <a:ext uri="{FF2B5EF4-FFF2-40B4-BE49-F238E27FC236}">
                <a16:creationId xmlns:a16="http://schemas.microsoft.com/office/drawing/2014/main" id="{E690DAF6-82E0-C805-6E75-C7015419002F}"/>
              </a:ext>
            </a:extLst>
          </p:cNvPr>
          <p:cNvPicPr>
            <a:picLocks noChangeAspect="1"/>
          </p:cNvPicPr>
          <p:nvPr/>
        </p:nvPicPr>
        <p:blipFill>
          <a:blip r:embed="rId10"/>
          <a:stretch>
            <a:fillRect/>
          </a:stretch>
        </p:blipFill>
        <p:spPr>
          <a:xfrm>
            <a:off x="1101362" y="7012148"/>
            <a:ext cx="1077752" cy="904734"/>
          </a:xfrm>
          <a:prstGeom prst="rect">
            <a:avLst/>
          </a:prstGeom>
        </p:spPr>
      </p:pic>
      <p:pic>
        <p:nvPicPr>
          <p:cNvPr id="10" name="Picture 9">
            <a:extLst>
              <a:ext uri="{FF2B5EF4-FFF2-40B4-BE49-F238E27FC236}">
                <a16:creationId xmlns:a16="http://schemas.microsoft.com/office/drawing/2014/main" id="{01E17180-E8BA-4387-6049-3663B6EC258E}"/>
              </a:ext>
            </a:extLst>
          </p:cNvPr>
          <p:cNvPicPr>
            <a:picLocks noChangeAspect="1"/>
          </p:cNvPicPr>
          <p:nvPr/>
        </p:nvPicPr>
        <p:blipFill>
          <a:blip r:embed="rId11"/>
          <a:stretch>
            <a:fillRect/>
          </a:stretch>
        </p:blipFill>
        <p:spPr>
          <a:xfrm>
            <a:off x="787022" y="8596273"/>
            <a:ext cx="1782000" cy="241878"/>
          </a:xfrm>
          <a:prstGeom prst="rect">
            <a:avLst/>
          </a:prstGeom>
        </p:spPr>
      </p:pic>
      <p:pic>
        <p:nvPicPr>
          <p:cNvPr id="11" name="Picture 10">
            <a:extLst>
              <a:ext uri="{FF2B5EF4-FFF2-40B4-BE49-F238E27FC236}">
                <a16:creationId xmlns:a16="http://schemas.microsoft.com/office/drawing/2014/main" id="{963DC82E-611E-5507-624A-3795B3CE4CFA}"/>
              </a:ext>
            </a:extLst>
          </p:cNvPr>
          <p:cNvPicPr>
            <a:picLocks noChangeAspect="1"/>
          </p:cNvPicPr>
          <p:nvPr/>
        </p:nvPicPr>
        <p:blipFill>
          <a:blip r:embed="rId5"/>
          <a:stretch>
            <a:fillRect/>
          </a:stretch>
        </p:blipFill>
        <p:spPr>
          <a:xfrm>
            <a:off x="13540506" y="1545386"/>
            <a:ext cx="1293321" cy="486000"/>
          </a:xfrm>
          <a:prstGeom prst="rect">
            <a:avLst/>
          </a:prstGeom>
        </p:spPr>
      </p:pic>
      <p:pic>
        <p:nvPicPr>
          <p:cNvPr id="12" name="Imagen 25" descr="Logotipo, nombre de la empresa&#10;&#10;Descripción generada automáticamente">
            <a:extLst>
              <a:ext uri="{FF2B5EF4-FFF2-40B4-BE49-F238E27FC236}">
                <a16:creationId xmlns:a16="http://schemas.microsoft.com/office/drawing/2014/main" id="{ADE4C3B9-C09B-D25A-6C42-002EB8018D7E}"/>
              </a:ext>
            </a:extLst>
          </p:cNvPr>
          <p:cNvPicPr>
            <a:picLocks noChangeAspect="1"/>
          </p:cNvPicPr>
          <p:nvPr/>
        </p:nvPicPr>
        <p:blipFill rotWithShape="1">
          <a:blip r:embed="rId8"/>
          <a:srcRect l="-49" t="4856" r="75475" b="62463"/>
          <a:stretch/>
        </p:blipFill>
        <p:spPr>
          <a:xfrm>
            <a:off x="16089431" y="5960092"/>
            <a:ext cx="1142648" cy="486000"/>
          </a:xfrm>
          <a:prstGeom prst="rect">
            <a:avLst/>
          </a:prstGeom>
        </p:spPr>
      </p:pic>
      <p:pic>
        <p:nvPicPr>
          <p:cNvPr id="14" name="Imagen 25" descr="Logotipo, nombre de la empresa&#10;&#10;Descripción generada automáticamente">
            <a:extLst>
              <a:ext uri="{FF2B5EF4-FFF2-40B4-BE49-F238E27FC236}">
                <a16:creationId xmlns:a16="http://schemas.microsoft.com/office/drawing/2014/main" id="{93B539DE-5CAB-091E-4F26-629E7E52C9EA}"/>
              </a:ext>
            </a:extLst>
          </p:cNvPr>
          <p:cNvPicPr>
            <a:picLocks noChangeAspect="1"/>
          </p:cNvPicPr>
          <p:nvPr/>
        </p:nvPicPr>
        <p:blipFill rotWithShape="1">
          <a:blip r:embed="rId8"/>
          <a:srcRect l="-49" t="4856" r="75475" b="62463"/>
          <a:stretch/>
        </p:blipFill>
        <p:spPr>
          <a:xfrm>
            <a:off x="16241894" y="2778091"/>
            <a:ext cx="1142648" cy="486000"/>
          </a:xfrm>
          <a:prstGeom prst="rect">
            <a:avLst/>
          </a:prstGeom>
        </p:spPr>
      </p:pic>
      <p:pic>
        <p:nvPicPr>
          <p:cNvPr id="16" name="Imagen 25" descr="Logotipo, nombre de la empresa&#10;&#10;Descripción generada automáticamente">
            <a:extLst>
              <a:ext uri="{FF2B5EF4-FFF2-40B4-BE49-F238E27FC236}">
                <a16:creationId xmlns:a16="http://schemas.microsoft.com/office/drawing/2014/main" id="{2B842AD8-E7F2-3175-44C0-99D5960395DA}"/>
              </a:ext>
            </a:extLst>
          </p:cNvPr>
          <p:cNvPicPr>
            <a:picLocks noChangeAspect="1"/>
          </p:cNvPicPr>
          <p:nvPr/>
        </p:nvPicPr>
        <p:blipFill rotWithShape="1">
          <a:blip r:embed="rId8"/>
          <a:srcRect l="-49" t="4856" r="75475" b="62463"/>
          <a:stretch/>
        </p:blipFill>
        <p:spPr>
          <a:xfrm>
            <a:off x="13540507" y="2745565"/>
            <a:ext cx="1142648" cy="486000"/>
          </a:xfrm>
          <a:prstGeom prst="rect">
            <a:avLst/>
          </a:prstGeom>
        </p:spPr>
      </p:pic>
      <p:pic>
        <p:nvPicPr>
          <p:cNvPr id="21" name="Imagen 25" descr="Logotipo, nombre de la empresa&#10;&#10;Descripción generada automáticamente">
            <a:extLst>
              <a:ext uri="{FF2B5EF4-FFF2-40B4-BE49-F238E27FC236}">
                <a16:creationId xmlns:a16="http://schemas.microsoft.com/office/drawing/2014/main" id="{24821322-462C-0CA3-5E7F-20A739E89212}"/>
              </a:ext>
            </a:extLst>
          </p:cNvPr>
          <p:cNvPicPr>
            <a:picLocks noChangeAspect="1"/>
          </p:cNvPicPr>
          <p:nvPr/>
        </p:nvPicPr>
        <p:blipFill rotWithShape="1">
          <a:blip r:embed="rId8"/>
          <a:srcRect l="51628" t="40162" r="27744" b="36124"/>
          <a:stretch/>
        </p:blipFill>
        <p:spPr>
          <a:xfrm>
            <a:off x="13623191" y="4011598"/>
            <a:ext cx="1116350" cy="410429"/>
          </a:xfrm>
          <a:prstGeom prst="rect">
            <a:avLst/>
          </a:prstGeom>
        </p:spPr>
      </p:pic>
      <p:pic>
        <p:nvPicPr>
          <p:cNvPr id="23" name="Imagen 25" descr="Logotipo, nombre de la empresa&#10;&#10;Descripción generada automáticamente">
            <a:extLst>
              <a:ext uri="{FF2B5EF4-FFF2-40B4-BE49-F238E27FC236}">
                <a16:creationId xmlns:a16="http://schemas.microsoft.com/office/drawing/2014/main" id="{DA1556B4-FED9-3967-B881-7C172EBED590}"/>
              </a:ext>
            </a:extLst>
          </p:cNvPr>
          <p:cNvPicPr>
            <a:picLocks noChangeAspect="1"/>
          </p:cNvPicPr>
          <p:nvPr/>
        </p:nvPicPr>
        <p:blipFill rotWithShape="1">
          <a:blip r:embed="rId8"/>
          <a:srcRect l="11290" t="35796" r="74915" b="34206"/>
          <a:stretch/>
        </p:blipFill>
        <p:spPr>
          <a:xfrm>
            <a:off x="13863725" y="6918976"/>
            <a:ext cx="703562" cy="489272"/>
          </a:xfrm>
          <a:prstGeom prst="rect">
            <a:avLst/>
          </a:prstGeom>
        </p:spPr>
      </p:pic>
      <p:pic>
        <p:nvPicPr>
          <p:cNvPr id="24" name="Imagen 25" descr="Logotipo, nombre de la empresa&#10;&#10;Descripción generada automáticamente">
            <a:extLst>
              <a:ext uri="{FF2B5EF4-FFF2-40B4-BE49-F238E27FC236}">
                <a16:creationId xmlns:a16="http://schemas.microsoft.com/office/drawing/2014/main" id="{135B02E2-3D9A-A702-23E2-05AE38700268}"/>
              </a:ext>
            </a:extLst>
          </p:cNvPr>
          <p:cNvPicPr>
            <a:picLocks noChangeAspect="1"/>
          </p:cNvPicPr>
          <p:nvPr/>
        </p:nvPicPr>
        <p:blipFill rotWithShape="1">
          <a:blip r:embed="rId8"/>
          <a:srcRect l="11290" t="35796" r="74915" b="34206"/>
          <a:stretch/>
        </p:blipFill>
        <p:spPr>
          <a:xfrm>
            <a:off x="13896808" y="7862034"/>
            <a:ext cx="703562" cy="489272"/>
          </a:xfrm>
          <a:prstGeom prst="rect">
            <a:avLst/>
          </a:prstGeom>
        </p:spPr>
      </p:pic>
      <p:pic>
        <p:nvPicPr>
          <p:cNvPr id="25" name="Imagen 25" descr="Logotipo, nombre de la empresa&#10;&#10;Descripción generada automáticamente">
            <a:extLst>
              <a:ext uri="{FF2B5EF4-FFF2-40B4-BE49-F238E27FC236}">
                <a16:creationId xmlns:a16="http://schemas.microsoft.com/office/drawing/2014/main" id="{EAAE0FE6-99C2-6A5A-93A6-33E5F5C2CCEE}"/>
              </a:ext>
            </a:extLst>
          </p:cNvPr>
          <p:cNvPicPr>
            <a:picLocks noChangeAspect="1"/>
          </p:cNvPicPr>
          <p:nvPr/>
        </p:nvPicPr>
        <p:blipFill rotWithShape="1">
          <a:blip r:embed="rId8"/>
          <a:srcRect l="-49" t="4856" r="75475" b="62463"/>
          <a:stretch/>
        </p:blipFill>
        <p:spPr>
          <a:xfrm>
            <a:off x="13615843" y="6316969"/>
            <a:ext cx="1142648" cy="486000"/>
          </a:xfrm>
          <a:prstGeom prst="rect">
            <a:avLst/>
          </a:prstGeom>
        </p:spPr>
      </p:pic>
      <p:pic>
        <p:nvPicPr>
          <p:cNvPr id="26" name="Picture 25">
            <a:extLst>
              <a:ext uri="{FF2B5EF4-FFF2-40B4-BE49-F238E27FC236}">
                <a16:creationId xmlns:a16="http://schemas.microsoft.com/office/drawing/2014/main" id="{F02435AB-F3A1-244D-59DC-27FBC0DE1359}"/>
              </a:ext>
            </a:extLst>
          </p:cNvPr>
          <p:cNvPicPr>
            <a:picLocks noChangeAspect="1"/>
          </p:cNvPicPr>
          <p:nvPr/>
        </p:nvPicPr>
        <p:blipFill>
          <a:blip r:embed="rId9"/>
          <a:stretch>
            <a:fillRect/>
          </a:stretch>
        </p:blipFill>
        <p:spPr>
          <a:xfrm>
            <a:off x="13615841" y="5757489"/>
            <a:ext cx="1142648" cy="408908"/>
          </a:xfrm>
          <a:prstGeom prst="rect">
            <a:avLst/>
          </a:prstGeom>
        </p:spPr>
      </p:pic>
      <p:pic>
        <p:nvPicPr>
          <p:cNvPr id="27" name="Picture 26">
            <a:extLst>
              <a:ext uri="{FF2B5EF4-FFF2-40B4-BE49-F238E27FC236}">
                <a16:creationId xmlns:a16="http://schemas.microsoft.com/office/drawing/2014/main" id="{BDC6087A-4A90-E280-A3E3-B666D2D0D47C}"/>
              </a:ext>
            </a:extLst>
          </p:cNvPr>
          <p:cNvPicPr>
            <a:picLocks noChangeAspect="1"/>
          </p:cNvPicPr>
          <p:nvPr/>
        </p:nvPicPr>
        <p:blipFill>
          <a:blip r:embed="rId11"/>
          <a:stretch>
            <a:fillRect/>
          </a:stretch>
        </p:blipFill>
        <p:spPr>
          <a:xfrm>
            <a:off x="13378545" y="8596273"/>
            <a:ext cx="1782000" cy="241878"/>
          </a:xfrm>
          <a:prstGeom prst="rect">
            <a:avLst/>
          </a:prstGeom>
        </p:spPr>
      </p:pic>
      <p:pic>
        <p:nvPicPr>
          <p:cNvPr id="28" name="Imagen 25" descr="Logotipo, nombre de la empresa&#10;&#10;Descripción generada automáticamente">
            <a:extLst>
              <a:ext uri="{FF2B5EF4-FFF2-40B4-BE49-F238E27FC236}">
                <a16:creationId xmlns:a16="http://schemas.microsoft.com/office/drawing/2014/main" id="{E55E8C20-5DBA-6158-D14D-C6C833D0FB5B}"/>
              </a:ext>
            </a:extLst>
          </p:cNvPr>
          <p:cNvPicPr>
            <a:picLocks noChangeAspect="1"/>
          </p:cNvPicPr>
          <p:nvPr/>
        </p:nvPicPr>
        <p:blipFill rotWithShape="1">
          <a:blip r:embed="rId8"/>
          <a:srcRect l="61355" t="15315" r="21968" b="62800"/>
          <a:stretch/>
        </p:blipFill>
        <p:spPr>
          <a:xfrm>
            <a:off x="16425851" y="4538035"/>
            <a:ext cx="1157960" cy="486000"/>
          </a:xfrm>
          <a:prstGeom prst="rect">
            <a:avLst/>
          </a:prstGeom>
        </p:spPr>
      </p:pic>
      <p:pic>
        <p:nvPicPr>
          <p:cNvPr id="29" name="Imagen 25" descr="Logotipo, nombre de la empresa&#10;&#10;Descripción generada automáticamente">
            <a:extLst>
              <a:ext uri="{FF2B5EF4-FFF2-40B4-BE49-F238E27FC236}">
                <a16:creationId xmlns:a16="http://schemas.microsoft.com/office/drawing/2014/main" id="{425F1200-196B-89D3-981F-6F0D475212A5}"/>
              </a:ext>
            </a:extLst>
          </p:cNvPr>
          <p:cNvPicPr>
            <a:picLocks noChangeAspect="1"/>
          </p:cNvPicPr>
          <p:nvPr/>
        </p:nvPicPr>
        <p:blipFill rotWithShape="1">
          <a:blip r:embed="rId8"/>
          <a:srcRect l="31190" t="8474" r="50841" b="62261"/>
          <a:stretch/>
        </p:blipFill>
        <p:spPr>
          <a:xfrm>
            <a:off x="13689070" y="3340796"/>
            <a:ext cx="933071" cy="486000"/>
          </a:xfrm>
          <a:prstGeom prst="rect">
            <a:avLst/>
          </a:prstGeom>
        </p:spPr>
      </p:pic>
      <p:pic>
        <p:nvPicPr>
          <p:cNvPr id="30" name="Picture 29">
            <a:extLst>
              <a:ext uri="{FF2B5EF4-FFF2-40B4-BE49-F238E27FC236}">
                <a16:creationId xmlns:a16="http://schemas.microsoft.com/office/drawing/2014/main" id="{0990AD6F-B72B-6781-DFA4-8FFB5999B799}"/>
              </a:ext>
            </a:extLst>
          </p:cNvPr>
          <p:cNvPicPr>
            <a:picLocks noChangeAspect="1"/>
          </p:cNvPicPr>
          <p:nvPr/>
        </p:nvPicPr>
        <p:blipFill>
          <a:blip r:embed="rId6"/>
          <a:stretch>
            <a:fillRect/>
          </a:stretch>
        </p:blipFill>
        <p:spPr>
          <a:xfrm>
            <a:off x="13971804" y="2179763"/>
            <a:ext cx="595482" cy="486000"/>
          </a:xfrm>
          <a:prstGeom prst="rect">
            <a:avLst/>
          </a:prstGeom>
        </p:spPr>
      </p:pic>
      <p:pic>
        <p:nvPicPr>
          <p:cNvPr id="31" name="Imagen 25" descr="Logotipo, nombre de la empresa&#10;&#10;Descripción generada automáticamente">
            <a:extLst>
              <a:ext uri="{FF2B5EF4-FFF2-40B4-BE49-F238E27FC236}">
                <a16:creationId xmlns:a16="http://schemas.microsoft.com/office/drawing/2014/main" id="{682FC5AF-9496-A5A8-3E57-9E9231791461}"/>
              </a:ext>
            </a:extLst>
          </p:cNvPr>
          <p:cNvPicPr>
            <a:picLocks noChangeAspect="1"/>
          </p:cNvPicPr>
          <p:nvPr/>
        </p:nvPicPr>
        <p:blipFill rotWithShape="1">
          <a:blip r:embed="rId8"/>
          <a:srcRect l="81034" t="11430" r="-168" b="62800"/>
          <a:stretch/>
        </p:blipFill>
        <p:spPr>
          <a:xfrm>
            <a:off x="16104748" y="7139149"/>
            <a:ext cx="1128275" cy="486000"/>
          </a:xfrm>
          <a:prstGeom prst="rect">
            <a:avLst/>
          </a:prstGeom>
        </p:spPr>
      </p:pic>
      <p:pic>
        <p:nvPicPr>
          <p:cNvPr id="32" name="Imagen 25" descr="Logotipo, nombre de la empresa&#10;&#10;Descripción generada automáticamente">
            <a:extLst>
              <a:ext uri="{FF2B5EF4-FFF2-40B4-BE49-F238E27FC236}">
                <a16:creationId xmlns:a16="http://schemas.microsoft.com/office/drawing/2014/main" id="{8B6648BB-5D46-5F3A-D609-9AFF493EF93B}"/>
              </a:ext>
            </a:extLst>
          </p:cNvPr>
          <p:cNvPicPr>
            <a:picLocks noChangeAspect="1"/>
          </p:cNvPicPr>
          <p:nvPr/>
        </p:nvPicPr>
        <p:blipFill rotWithShape="1">
          <a:blip r:embed="rId8"/>
          <a:srcRect l="81034" t="11430" r="-168" b="62800"/>
          <a:stretch/>
        </p:blipFill>
        <p:spPr>
          <a:xfrm>
            <a:off x="16196435" y="8459620"/>
            <a:ext cx="1128275" cy="486000"/>
          </a:xfrm>
          <a:prstGeom prst="rect">
            <a:avLst/>
          </a:prstGeom>
        </p:spPr>
      </p:pic>
      <p:pic>
        <p:nvPicPr>
          <p:cNvPr id="33" name="Imagen 25" descr="Logotipo, nombre de la empresa&#10;&#10;Descripción generada automáticamente">
            <a:extLst>
              <a:ext uri="{FF2B5EF4-FFF2-40B4-BE49-F238E27FC236}">
                <a16:creationId xmlns:a16="http://schemas.microsoft.com/office/drawing/2014/main" id="{6EF34355-8BDC-0343-A2C6-469AE8409771}"/>
              </a:ext>
            </a:extLst>
          </p:cNvPr>
          <p:cNvPicPr>
            <a:picLocks noChangeAspect="1"/>
          </p:cNvPicPr>
          <p:nvPr/>
        </p:nvPicPr>
        <p:blipFill rotWithShape="1">
          <a:blip r:embed="rId8"/>
          <a:srcRect l="78935" t="38151" r="4505" b="37451"/>
          <a:stretch/>
        </p:blipFill>
        <p:spPr>
          <a:xfrm>
            <a:off x="13760010" y="9074974"/>
            <a:ext cx="1031450" cy="486000"/>
          </a:xfrm>
          <a:prstGeom prst="rect">
            <a:avLst/>
          </a:prstGeom>
        </p:spPr>
      </p:pic>
      <p:pic>
        <p:nvPicPr>
          <p:cNvPr id="34" name="Imagen 25" descr="Logotipo, nombre de la empresa&#10;&#10;Descripción generada automáticamente">
            <a:extLst>
              <a:ext uri="{FF2B5EF4-FFF2-40B4-BE49-F238E27FC236}">
                <a16:creationId xmlns:a16="http://schemas.microsoft.com/office/drawing/2014/main" id="{0F55C8FE-2334-9706-C64B-52C266390B0E}"/>
              </a:ext>
            </a:extLst>
          </p:cNvPr>
          <p:cNvPicPr>
            <a:picLocks noChangeAspect="1"/>
          </p:cNvPicPr>
          <p:nvPr/>
        </p:nvPicPr>
        <p:blipFill rotWithShape="1">
          <a:blip r:embed="rId8"/>
          <a:srcRect l="51628" t="40162" r="27744" b="36124"/>
          <a:stretch/>
        </p:blipFill>
        <p:spPr>
          <a:xfrm>
            <a:off x="13642138" y="4551081"/>
            <a:ext cx="1116350" cy="410429"/>
          </a:xfrm>
          <a:prstGeom prst="rect">
            <a:avLst/>
          </a:prstGeom>
        </p:spPr>
      </p:pic>
      <p:pic>
        <p:nvPicPr>
          <p:cNvPr id="35" name="Imagen 25" descr="Logotipo, nombre de la empresa&#10;&#10;Descripción generada automáticamente">
            <a:extLst>
              <a:ext uri="{FF2B5EF4-FFF2-40B4-BE49-F238E27FC236}">
                <a16:creationId xmlns:a16="http://schemas.microsoft.com/office/drawing/2014/main" id="{C3ACE237-F81C-BD02-4B7A-2A5FF3BB6F10}"/>
              </a:ext>
            </a:extLst>
          </p:cNvPr>
          <p:cNvPicPr>
            <a:picLocks noChangeAspect="1"/>
          </p:cNvPicPr>
          <p:nvPr/>
        </p:nvPicPr>
        <p:blipFill rotWithShape="1">
          <a:blip r:embed="rId8"/>
          <a:srcRect l="51628" t="40162" r="27744" b="36124"/>
          <a:stretch/>
        </p:blipFill>
        <p:spPr>
          <a:xfrm>
            <a:off x="13642136" y="5145537"/>
            <a:ext cx="1116350" cy="410429"/>
          </a:xfrm>
          <a:prstGeom prst="rect">
            <a:avLst/>
          </a:prstGeom>
        </p:spPr>
      </p:pic>
    </p:spTree>
    <p:extLst>
      <p:ext uri="{BB962C8B-B14F-4D97-AF65-F5344CB8AC3E}">
        <p14:creationId xmlns:p14="http://schemas.microsoft.com/office/powerpoint/2010/main" val="273371948"/>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p:cNvGrpSpPr/>
          <p:nvPr/>
        </p:nvGrpSpPr>
        <p:grpSpPr>
          <a:xfrm>
            <a:off x="4329156" y="9695736"/>
            <a:ext cx="13958844" cy="666567"/>
            <a:chOff x="4329156" y="9649198"/>
            <a:chExt cx="13958844" cy="666567"/>
          </a:xfrm>
        </p:grpSpPr>
        <p:pic>
          <p:nvPicPr>
            <p:cNvPr id="18" name="Picture 12"/>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19" name="TextBox 16"/>
            <p:cNvSpPr txBox="1"/>
            <p:nvPr/>
          </p:nvSpPr>
          <p:spPr>
            <a:xfrm>
              <a:off x="14400029" y="9732291"/>
              <a:ext cx="3636320" cy="448713"/>
            </a:xfrm>
            <a:prstGeom prst="rect">
              <a:avLst/>
            </a:prstGeom>
          </p:spPr>
          <p:txBody>
            <a:bodyPr wrap="square" lIns="0" tIns="0" rIns="0" bIns="0" rtlCol="0" anchor="t">
              <a:spAutoFit/>
            </a:bodyPr>
            <a:lstStyle/>
            <a:p>
              <a:pPr marL="0" marR="0" lvl="0" indent="0" algn="ctr" defTabSz="914400" rtl="0" eaLnBrk="1" fontAlgn="auto" latinLnBrk="0" hangingPunct="1">
                <a:lnSpc>
                  <a:spcPts val="3920"/>
                </a:lnSpc>
                <a:spcBef>
                  <a:spcPct val="0"/>
                </a:spcBef>
                <a:spcAft>
                  <a:spcPts val="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OCR A Extended" panose="02010509020102010303" pitchFamily="50" charset="0"/>
                  <a:ea typeface="+mn-ea"/>
                  <a:cs typeface="+mn-cs"/>
                </a:rPr>
                <a:t>www.retrofeed.eu</a:t>
              </a:r>
            </a:p>
          </p:txBody>
        </p:sp>
      </p:grpSp>
      <p:pic>
        <p:nvPicPr>
          <p:cNvPr id="20" name="Picture 12"/>
          <p:cNvPicPr>
            <a:picLocks noChangeAspect="1"/>
          </p:cNvPicPr>
          <p:nvPr/>
        </p:nvPicPr>
        <p:blipFill>
          <a:blip r:embed="rId4"/>
          <a:srcRect/>
          <a:stretch>
            <a:fillRect/>
          </a:stretch>
        </p:blipFill>
        <p:spPr>
          <a:xfrm>
            <a:off x="0" y="8901113"/>
            <a:ext cx="5715000" cy="1385887"/>
          </a:xfrm>
          <a:prstGeom prst="rect">
            <a:avLst/>
          </a:prstGeom>
        </p:spPr>
      </p:pic>
      <p:sp>
        <p:nvSpPr>
          <p:cNvPr id="15" name="TextBox 14"/>
          <p:cNvSpPr txBox="1"/>
          <p:nvPr/>
        </p:nvSpPr>
        <p:spPr>
          <a:xfrm>
            <a:off x="838199" y="3565712"/>
            <a:ext cx="16611600" cy="1846659"/>
          </a:xfrm>
          <a:prstGeom prst="rect">
            <a:avLst/>
          </a:prstGeom>
        </p:spPr>
        <p:txBody>
          <a:bodyPr wrap="square" lIns="0" tIns="0" rIns="0" bIns="0" rtlCol="0" anchor="t">
            <a:spAutoFit/>
          </a:bodyPr>
          <a:lstStyle/>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000" b="1" i="0" u="none" strike="noStrike" kern="1200" cap="none" spc="0" normalizeH="0" baseline="0" noProof="0" dirty="0">
                <a:ln>
                  <a:noFill/>
                </a:ln>
                <a:solidFill>
                  <a:srgbClr val="CC0033"/>
                </a:solidFill>
                <a:effectLst/>
                <a:uLnTx/>
                <a:uFillTx/>
                <a:latin typeface="Arial"/>
                <a:ea typeface="+mn-ea"/>
                <a:cs typeface="Arial" panose="020B0604020202020204" pitchFamily="34" charset="0"/>
              </a:rPr>
              <a:t>Increasing market demand </a:t>
            </a:r>
            <a:r>
              <a:rPr kumimoji="0" lang="en-US" sz="3000" b="0" i="0" u="none" strike="noStrike" kern="1200" cap="none" spc="0" normalizeH="0" baseline="0" noProof="0" dirty="0">
                <a:ln>
                  <a:noFill/>
                </a:ln>
                <a:solidFill>
                  <a:srgbClr val="2F2F2F">
                    <a:lumMod val="90000"/>
                    <a:lumOff val="10000"/>
                  </a:srgbClr>
                </a:solidFill>
                <a:effectLst/>
                <a:uLnTx/>
                <a:uFillTx/>
                <a:latin typeface="Arial"/>
                <a:ea typeface="+mn-ea"/>
                <a:cs typeface="Arial" panose="020B0604020202020204" pitchFamily="34" charset="0"/>
              </a:rPr>
              <a:t>towards more green and more automatized solutions</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1200" cap="none" spc="0" normalizeH="0" baseline="0" noProof="0" dirty="0">
              <a:ln>
                <a:noFill/>
              </a:ln>
              <a:solidFill>
                <a:srgbClr val="2F2F2F">
                  <a:lumMod val="90000"/>
                  <a:lumOff val="10000"/>
                </a:srgbClr>
              </a:solidFill>
              <a:effectLst/>
              <a:uLnTx/>
              <a:uFillTx/>
              <a:latin typeface="Arial"/>
              <a:ea typeface="+mn-ea"/>
              <a:cs typeface="Arial" panose="020B0604020202020204" pitchFamily="34" charset="0"/>
            </a:endParaRP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3000" b="0" i="0" u="none" strike="noStrike" kern="1200" cap="none" spc="0" normalizeH="0" baseline="0" noProof="0" dirty="0">
              <a:ln>
                <a:noFill/>
              </a:ln>
              <a:solidFill>
                <a:srgbClr val="2F2F2F">
                  <a:lumMod val="90000"/>
                  <a:lumOff val="10000"/>
                </a:srgbClr>
              </a:solidFill>
              <a:effectLst/>
              <a:uLnTx/>
              <a:uFillTx/>
              <a:latin typeface="Arial"/>
              <a:ea typeface="+mn-ea"/>
              <a:cs typeface="Arial" panose="020B0604020202020204" pitchFamily="34" charset="0"/>
            </a:endParaRP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000" b="1" i="0" u="none" strike="noStrike" kern="1200" cap="none" spc="0" normalizeH="0" baseline="0" noProof="0" dirty="0">
                <a:ln>
                  <a:noFill/>
                </a:ln>
                <a:solidFill>
                  <a:srgbClr val="CC0033"/>
                </a:solidFill>
                <a:effectLst/>
                <a:uLnTx/>
                <a:uFillTx/>
                <a:latin typeface="Arial"/>
                <a:ea typeface="+mn-ea"/>
                <a:cs typeface="Arial" panose="020B0604020202020204" pitchFamily="34" charset="0"/>
              </a:rPr>
              <a:t>Horizontal results</a:t>
            </a:r>
            <a:r>
              <a:rPr kumimoji="0" lang="en-US" sz="3000" b="0" i="0" u="none" strike="noStrike" kern="1200" cap="none" spc="0" normalizeH="0" baseline="0" noProof="0" dirty="0">
                <a:ln>
                  <a:noFill/>
                </a:ln>
                <a:solidFill>
                  <a:srgbClr val="2F2F2F">
                    <a:lumMod val="90000"/>
                    <a:lumOff val="10000"/>
                  </a:srgbClr>
                </a:solidFill>
                <a:effectLst/>
                <a:uLnTx/>
                <a:uFillTx/>
                <a:latin typeface="Arial"/>
                <a:ea typeface="+mn-ea"/>
                <a:cs typeface="Arial" panose="020B0604020202020204" pitchFamily="34" charset="0"/>
              </a:rPr>
              <a:t>: DSS</a:t>
            </a:r>
          </a:p>
        </p:txBody>
      </p:sp>
      <p:sp>
        <p:nvSpPr>
          <p:cNvPr id="13" name="TextBox 13"/>
          <p:cNvSpPr txBox="1"/>
          <p:nvPr/>
        </p:nvSpPr>
        <p:spPr>
          <a:xfrm>
            <a:off x="-2" y="1046466"/>
            <a:ext cx="18288002" cy="1052468"/>
          </a:xfrm>
          <a:prstGeom prst="rect">
            <a:avLst/>
          </a:prstGeom>
        </p:spPr>
        <p:txBody>
          <a:bodyPr wrap="square" lIns="0" tIns="0" rIns="0" bIns="0" rtlCol="0" anchor="t">
            <a:spAutoFit/>
          </a:bodyPr>
          <a:lstStyle/>
          <a:p>
            <a:pPr marL="0" marR="0" lvl="0" indent="0" algn="ctr" defTabSz="914400" rtl="0" eaLnBrk="1" fontAlgn="auto" latinLnBrk="0" hangingPunct="1">
              <a:lnSpc>
                <a:spcPts val="8960"/>
              </a:lnSpc>
              <a:spcBef>
                <a:spcPct val="0"/>
              </a:spcBef>
              <a:spcAft>
                <a:spcPts val="0"/>
              </a:spcAft>
              <a:buClrTx/>
              <a:buSzTx/>
              <a:buFontTx/>
              <a:buNone/>
              <a:tabLst/>
              <a:defRPr/>
            </a:pPr>
            <a:r>
              <a:rPr kumimoji="0" lang="en-US" sz="6400" b="1" i="0" u="none" strike="noStrike" kern="1200" cap="none" spc="0" normalizeH="0" baseline="0" noProof="0" dirty="0">
                <a:ln>
                  <a:noFill/>
                </a:ln>
                <a:solidFill>
                  <a:srgbClr val="CC0033"/>
                </a:solidFill>
                <a:effectLst/>
                <a:uLnTx/>
                <a:uFillTx/>
                <a:latin typeface="Arial"/>
                <a:ea typeface="+mn-ea"/>
                <a:cs typeface="Arial" panose="020B0604020202020204" pitchFamily="34" charset="0"/>
              </a:rPr>
              <a:t>The pathway to commercialization</a:t>
            </a:r>
          </a:p>
        </p:txBody>
      </p:sp>
      <p:sp>
        <p:nvSpPr>
          <p:cNvPr id="22" name="Rettangolo 65">
            <a:extLst>
              <a:ext uri="{FF2B5EF4-FFF2-40B4-BE49-F238E27FC236}">
                <a16:creationId xmlns:a16="http://schemas.microsoft.com/office/drawing/2014/main" id="{DB60361B-40EC-1542-B2E1-989026C681C7}"/>
              </a:ext>
            </a:extLst>
          </p:cNvPr>
          <p:cNvSpPr/>
          <p:nvPr/>
        </p:nvSpPr>
        <p:spPr>
          <a:xfrm>
            <a:off x="-2" y="-13652"/>
            <a:ext cx="18288002" cy="604916"/>
          </a:xfrm>
          <a:prstGeom prst="rect">
            <a:avLst/>
          </a:prstGeom>
          <a:solidFill>
            <a:srgbClr val="CC00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TextBox 13">
            <a:extLst>
              <a:ext uri="{FF2B5EF4-FFF2-40B4-BE49-F238E27FC236}">
                <a16:creationId xmlns:a16="http://schemas.microsoft.com/office/drawing/2014/main" id="{DE008883-2897-9835-FC48-2BF75FBB8F2F}"/>
              </a:ext>
            </a:extLst>
          </p:cNvPr>
          <p:cNvSpPr txBox="1"/>
          <p:nvPr/>
        </p:nvSpPr>
        <p:spPr>
          <a:xfrm>
            <a:off x="0" y="1905250"/>
            <a:ext cx="18287999" cy="2148217"/>
          </a:xfrm>
          <a:prstGeom prst="rect">
            <a:avLst/>
          </a:prstGeom>
        </p:spPr>
        <p:txBody>
          <a:bodyPr wrap="square" lIns="0" tIns="0" rIns="0" bIns="0" rtlCol="0" anchor="ctr">
            <a:spAutoFit/>
          </a:bodyPr>
          <a:lstStyle/>
          <a:p>
            <a:pPr marL="0" marR="0" lvl="0" indent="0" algn="ctr" defTabSz="914400" rtl="0" eaLnBrk="1" fontAlgn="auto" latinLnBrk="0" hangingPunct="1">
              <a:lnSpc>
                <a:spcPts val="8960"/>
              </a:lnSpc>
              <a:spcBef>
                <a:spcPct val="0"/>
              </a:spcBef>
              <a:spcAft>
                <a:spcPts val="0"/>
              </a:spcAft>
              <a:buClrTx/>
              <a:buSzTx/>
              <a:buFontTx/>
              <a:buNone/>
              <a:tabLst/>
              <a:defRPr/>
            </a:pPr>
            <a:r>
              <a:rPr kumimoji="0" lang="en-US" sz="4400" b="1" i="0" u="none" strike="noStrike" kern="1200" cap="none" spc="0" normalizeH="0" baseline="0" noProof="0" dirty="0">
                <a:ln>
                  <a:noFill/>
                </a:ln>
                <a:solidFill>
                  <a:srgbClr val="CC0033"/>
                </a:solidFill>
                <a:effectLst/>
                <a:uLnTx/>
                <a:uFillTx/>
                <a:latin typeface="Arial"/>
                <a:ea typeface="+mn-ea"/>
                <a:cs typeface="Arial" panose="020B0604020202020204" pitchFamily="34" charset="0"/>
              </a:rPr>
              <a:t>Commercialization of the results</a:t>
            </a:r>
          </a:p>
          <a:p>
            <a:pPr marL="0" marR="0" lvl="0" indent="0" algn="ctr" defTabSz="914400" rtl="0" eaLnBrk="1" fontAlgn="auto" latinLnBrk="0" hangingPunct="1">
              <a:lnSpc>
                <a:spcPts val="8960"/>
              </a:lnSpc>
              <a:spcBef>
                <a:spcPct val="0"/>
              </a:spcBef>
              <a:spcAft>
                <a:spcPts val="0"/>
              </a:spcAft>
              <a:buClrTx/>
              <a:buSzTx/>
              <a:buFontTx/>
              <a:buNone/>
              <a:tabLst/>
              <a:defRPr/>
            </a:pPr>
            <a:endParaRPr kumimoji="0" lang="en-US" sz="4400" b="1" i="0" u="none" strike="noStrike" kern="1200" cap="none" spc="0" normalizeH="0" baseline="0" noProof="0" dirty="0">
              <a:ln>
                <a:noFill/>
              </a:ln>
              <a:solidFill>
                <a:srgbClr val="CC0033"/>
              </a:solidFill>
              <a:effectLst/>
              <a:uLnTx/>
              <a:uFillTx/>
              <a:latin typeface="Arial"/>
              <a:ea typeface="+mn-ea"/>
              <a:cs typeface="Arial" panose="020B0604020202020204" pitchFamily="34" charset="0"/>
            </a:endParaRPr>
          </a:p>
        </p:txBody>
      </p:sp>
      <p:pic>
        <p:nvPicPr>
          <p:cNvPr id="2" name="Picture 1">
            <a:extLst>
              <a:ext uri="{FF2B5EF4-FFF2-40B4-BE49-F238E27FC236}">
                <a16:creationId xmlns:a16="http://schemas.microsoft.com/office/drawing/2014/main" id="{34FECD83-45FD-5F38-8DF5-A4A1AC6BC493}"/>
              </a:ext>
            </a:extLst>
          </p:cNvPr>
          <p:cNvPicPr>
            <a:picLocks noChangeAspect="1"/>
          </p:cNvPicPr>
          <p:nvPr/>
        </p:nvPicPr>
        <p:blipFill>
          <a:blip r:embed="rId5"/>
          <a:stretch>
            <a:fillRect/>
          </a:stretch>
        </p:blipFill>
        <p:spPr>
          <a:xfrm>
            <a:off x="7772400" y="5122049"/>
            <a:ext cx="6172200" cy="3471863"/>
          </a:xfrm>
          <a:prstGeom prst="rect">
            <a:avLst/>
          </a:prstGeom>
        </p:spPr>
      </p:pic>
    </p:spTree>
    <p:extLst>
      <p:ext uri="{BB962C8B-B14F-4D97-AF65-F5344CB8AC3E}">
        <p14:creationId xmlns:p14="http://schemas.microsoft.com/office/powerpoint/2010/main" val="2657338210"/>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p:cNvGrpSpPr/>
          <p:nvPr/>
        </p:nvGrpSpPr>
        <p:grpSpPr>
          <a:xfrm>
            <a:off x="4329156" y="9695736"/>
            <a:ext cx="13958844" cy="666567"/>
            <a:chOff x="4329156" y="9649198"/>
            <a:chExt cx="13958844" cy="666567"/>
          </a:xfrm>
        </p:grpSpPr>
        <p:pic>
          <p:nvPicPr>
            <p:cNvPr id="18" name="Picture 12"/>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19" name="TextBox 16"/>
            <p:cNvSpPr txBox="1"/>
            <p:nvPr/>
          </p:nvSpPr>
          <p:spPr>
            <a:xfrm>
              <a:off x="14400029" y="9732291"/>
              <a:ext cx="3636320" cy="448713"/>
            </a:xfrm>
            <a:prstGeom prst="rect">
              <a:avLst/>
            </a:prstGeom>
          </p:spPr>
          <p:txBody>
            <a:bodyPr wrap="square" lIns="0" tIns="0" rIns="0" bIns="0" rtlCol="0" anchor="t">
              <a:spAutoFit/>
            </a:bodyPr>
            <a:lstStyle/>
            <a:p>
              <a:pPr marL="0" marR="0" lvl="0" indent="0" algn="ctr" defTabSz="914400" rtl="0" eaLnBrk="1" fontAlgn="auto" latinLnBrk="0" hangingPunct="1">
                <a:lnSpc>
                  <a:spcPts val="3920"/>
                </a:lnSpc>
                <a:spcBef>
                  <a:spcPct val="0"/>
                </a:spcBef>
                <a:spcAft>
                  <a:spcPts val="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OCR A Extended" panose="02010509020102010303" pitchFamily="50" charset="0"/>
                  <a:ea typeface="+mn-ea"/>
                  <a:cs typeface="+mn-cs"/>
                </a:rPr>
                <a:t>www.retrofeed.eu</a:t>
              </a:r>
            </a:p>
          </p:txBody>
        </p:sp>
      </p:grpSp>
      <p:pic>
        <p:nvPicPr>
          <p:cNvPr id="20" name="Picture 12"/>
          <p:cNvPicPr>
            <a:picLocks noChangeAspect="1"/>
          </p:cNvPicPr>
          <p:nvPr/>
        </p:nvPicPr>
        <p:blipFill>
          <a:blip r:embed="rId4"/>
          <a:srcRect/>
          <a:stretch>
            <a:fillRect/>
          </a:stretch>
        </p:blipFill>
        <p:spPr>
          <a:xfrm>
            <a:off x="0" y="8901113"/>
            <a:ext cx="5715000" cy="1385887"/>
          </a:xfrm>
          <a:prstGeom prst="rect">
            <a:avLst/>
          </a:prstGeom>
        </p:spPr>
      </p:pic>
      <p:sp>
        <p:nvSpPr>
          <p:cNvPr id="15" name="TextBox 14"/>
          <p:cNvSpPr txBox="1"/>
          <p:nvPr/>
        </p:nvSpPr>
        <p:spPr>
          <a:xfrm>
            <a:off x="838199" y="3162300"/>
            <a:ext cx="16383001" cy="5232202"/>
          </a:xfrm>
          <a:prstGeom prst="rect">
            <a:avLst/>
          </a:prstGeom>
        </p:spPr>
        <p:txBody>
          <a:bodyPr wrap="square" lIns="0" tIns="0" rIns="0" bIns="0" rtlCol="0" anchor="t">
            <a:spAutoFit/>
          </a:bodyPr>
          <a:lstStyle/>
          <a:p>
            <a:pPr marL="457200" marR="0" lvl="0" indent="-4572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3000" b="1" i="0" u="none" strike="noStrike" kern="1200" cap="none" spc="0" normalizeH="0" baseline="0" noProof="0" dirty="0">
                <a:ln>
                  <a:noFill/>
                </a:ln>
                <a:solidFill>
                  <a:srgbClr val="CC0033"/>
                </a:solidFill>
                <a:effectLst/>
                <a:uLnTx/>
                <a:uFillTx/>
                <a:latin typeface="Arial"/>
                <a:ea typeface="+mn-ea"/>
                <a:cs typeface="Arial" panose="020B0604020202020204" pitchFamily="34" charset="0"/>
              </a:rPr>
              <a:t>Easy replication</a:t>
            </a:r>
          </a:p>
          <a:p>
            <a:pPr marL="914400" marR="0" lvl="1" indent="-4572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3000" b="0" i="0" u="none" strike="noStrike" kern="1200" cap="none" spc="0" normalizeH="0" baseline="0" noProof="0" dirty="0">
                <a:ln>
                  <a:noFill/>
                </a:ln>
                <a:solidFill>
                  <a:srgbClr val="2F2F2F">
                    <a:lumMod val="90000"/>
                    <a:lumOff val="10000"/>
                  </a:srgbClr>
                </a:solidFill>
                <a:effectLst/>
                <a:uLnTx/>
                <a:uFillTx/>
                <a:latin typeface="Arial"/>
                <a:ea typeface="+mn-ea"/>
                <a:cs typeface="Arial" panose="020B0604020202020204" pitchFamily="34" charset="0"/>
              </a:rPr>
              <a:t>Some RETROFEED results can be easily applied </a:t>
            </a:r>
            <a:r>
              <a:rPr kumimoji="0" lang="en-US" sz="3000" b="1" i="0" u="none" strike="noStrike" kern="1200" cap="none" spc="0" normalizeH="0" baseline="0" noProof="0" dirty="0">
                <a:ln>
                  <a:noFill/>
                </a:ln>
                <a:solidFill>
                  <a:srgbClr val="2F2F2F">
                    <a:lumMod val="90000"/>
                    <a:lumOff val="10000"/>
                  </a:srgbClr>
                </a:solidFill>
                <a:effectLst/>
                <a:uLnTx/>
                <a:uFillTx/>
                <a:latin typeface="Arial"/>
                <a:ea typeface="+mn-ea"/>
                <a:cs typeface="Arial" panose="020B0604020202020204" pitchFamily="34" charset="0"/>
              </a:rPr>
              <a:t>into the same company</a:t>
            </a:r>
            <a:r>
              <a:rPr kumimoji="0" lang="en-US" sz="3000" b="0" i="0" u="none" strike="noStrike" kern="1200" cap="none" spc="0" normalizeH="0" baseline="0" noProof="0" dirty="0">
                <a:ln>
                  <a:noFill/>
                </a:ln>
                <a:solidFill>
                  <a:srgbClr val="2F2F2F">
                    <a:lumMod val="90000"/>
                    <a:lumOff val="10000"/>
                  </a:srgbClr>
                </a:solidFill>
                <a:effectLst/>
                <a:uLnTx/>
                <a:uFillTx/>
                <a:latin typeface="Arial"/>
                <a:ea typeface="+mn-ea"/>
                <a:cs typeface="Arial" panose="020B0604020202020204" pitchFamily="34" charset="0"/>
              </a:rPr>
              <a:t>:</a:t>
            </a:r>
          </a:p>
          <a:p>
            <a:pPr marL="1371600" marR="0" lvl="2" indent="-4572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3000" b="0" i="0" u="none" strike="noStrike" kern="1200" cap="none" spc="0" normalizeH="0" baseline="0" noProof="0" dirty="0">
                <a:ln>
                  <a:noFill/>
                </a:ln>
                <a:solidFill>
                  <a:srgbClr val="2F2F2F">
                    <a:lumMod val="90000"/>
                    <a:lumOff val="10000"/>
                  </a:srgbClr>
                </a:solidFill>
                <a:effectLst/>
                <a:uLnTx/>
                <a:uFillTx/>
                <a:latin typeface="Arial"/>
                <a:ea typeface="+mn-ea"/>
                <a:cs typeface="Arial" panose="020B0604020202020204" pitchFamily="34" charset="0"/>
              </a:rPr>
              <a:t>Other furnaces, kilns, EAFs, burners, etc. in the same facilities or in the same group</a:t>
            </a:r>
          </a:p>
          <a:p>
            <a:pPr marL="914400" marR="0" lvl="1" indent="-4572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3000" b="0" i="0" u="none" strike="noStrike" kern="1200" cap="none" spc="0" normalizeH="0" baseline="0" noProof="0" dirty="0">
                <a:ln>
                  <a:noFill/>
                </a:ln>
                <a:solidFill>
                  <a:srgbClr val="2F2F2F">
                    <a:lumMod val="90000"/>
                    <a:lumOff val="10000"/>
                  </a:srgbClr>
                </a:solidFill>
                <a:effectLst/>
                <a:uLnTx/>
                <a:uFillTx/>
                <a:latin typeface="Arial"/>
                <a:ea typeface="+mn-ea"/>
                <a:cs typeface="Arial" panose="020B0604020202020204" pitchFamily="34" charset="0"/>
              </a:rPr>
              <a:t>But also, in </a:t>
            </a:r>
            <a:r>
              <a:rPr kumimoji="0" lang="en-US" sz="3000" b="1" i="0" u="none" strike="noStrike" kern="1200" cap="none" spc="0" normalizeH="0" baseline="0" noProof="0" dirty="0">
                <a:ln>
                  <a:noFill/>
                </a:ln>
                <a:solidFill>
                  <a:srgbClr val="2F2F2F">
                    <a:lumMod val="90000"/>
                    <a:lumOff val="10000"/>
                  </a:srgbClr>
                </a:solidFill>
                <a:effectLst/>
                <a:uLnTx/>
                <a:uFillTx/>
                <a:latin typeface="Arial"/>
                <a:ea typeface="+mn-ea"/>
                <a:cs typeface="Arial" panose="020B0604020202020204" pitchFamily="34" charset="0"/>
              </a:rPr>
              <a:t>other project industrial sectors</a:t>
            </a:r>
            <a:r>
              <a:rPr kumimoji="0" lang="en-US" sz="3000" b="0" i="0" u="none" strike="noStrike" kern="1200" cap="none" spc="0" normalizeH="0" baseline="0" noProof="0" dirty="0">
                <a:ln>
                  <a:noFill/>
                </a:ln>
                <a:solidFill>
                  <a:srgbClr val="2F2F2F">
                    <a:lumMod val="90000"/>
                    <a:lumOff val="10000"/>
                  </a:srgbClr>
                </a:solidFill>
                <a:effectLst/>
                <a:uLnTx/>
                <a:uFillTx/>
                <a:latin typeface="Arial"/>
                <a:ea typeface="+mn-ea"/>
                <a:cs typeface="Arial" panose="020B0604020202020204" pitchFamily="34" charset="0"/>
              </a:rPr>
              <a:t>:</a:t>
            </a:r>
          </a:p>
          <a:p>
            <a:pPr marL="1371600" marR="0" lvl="2" indent="-4572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3000" b="0" i="0" u="none" strike="noStrike" kern="1200" cap="none" spc="0" normalizeH="0" baseline="0" noProof="0" dirty="0">
                <a:ln>
                  <a:noFill/>
                </a:ln>
                <a:solidFill>
                  <a:srgbClr val="2F2F2F">
                    <a:lumMod val="90000"/>
                    <a:lumOff val="10000"/>
                  </a:srgbClr>
                </a:solidFill>
                <a:effectLst/>
                <a:uLnTx/>
                <a:uFillTx/>
                <a:latin typeface="Arial"/>
                <a:ea typeface="+mn-ea"/>
                <a:cs typeface="Arial" panose="020B0604020202020204" pitchFamily="34" charset="0"/>
              </a:rPr>
              <a:t>Flame monitoring system developed by CIRCE in SECIL: ceramic, steel</a:t>
            </a:r>
          </a:p>
          <a:p>
            <a:pPr marL="1371600" marR="0" lvl="2" indent="-4572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3000" b="0" i="0" u="none" strike="noStrike" kern="1200" cap="none" spc="0" normalizeH="0" baseline="0" noProof="0" dirty="0">
                <a:ln>
                  <a:noFill/>
                </a:ln>
                <a:solidFill>
                  <a:srgbClr val="2F2F2F">
                    <a:lumMod val="90000"/>
                    <a:lumOff val="10000"/>
                  </a:srgbClr>
                </a:solidFill>
                <a:effectLst/>
                <a:uLnTx/>
                <a:uFillTx/>
                <a:latin typeface="Arial"/>
                <a:ea typeface="+mn-ea"/>
                <a:cs typeface="Arial" panose="020B0604020202020204" pitchFamily="34" charset="0"/>
              </a:rPr>
              <a:t>Outlet material monitoring system developed by AIMEN in SECIL: ceramic</a:t>
            </a:r>
          </a:p>
          <a:p>
            <a:pPr marL="1371600" marR="0" lvl="2" indent="-4572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3000" b="0" i="0" u="none" strike="noStrike" kern="1200" cap="none" spc="0" normalizeH="0" baseline="0" noProof="0" dirty="0">
                <a:ln>
                  <a:noFill/>
                </a:ln>
                <a:solidFill>
                  <a:srgbClr val="2F2F2F">
                    <a:lumMod val="90000"/>
                    <a:lumOff val="10000"/>
                  </a:srgbClr>
                </a:solidFill>
                <a:effectLst/>
                <a:uLnTx/>
                <a:uFillTx/>
                <a:latin typeface="Arial"/>
                <a:ea typeface="+mn-ea"/>
                <a:cs typeface="Arial" panose="020B0604020202020204" pitchFamily="34" charset="0"/>
              </a:rPr>
              <a:t>Visual camera for raw material melting rate inside the furnace developed by CIRCE in TCID: steel, agrochemical</a:t>
            </a:r>
          </a:p>
          <a:p>
            <a:pPr marL="1371600" marR="0" lvl="2" indent="-4572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3000" b="0" i="0" u="none" strike="noStrike" kern="1200" cap="none" spc="0" normalizeH="0" baseline="0" noProof="0" dirty="0">
                <a:ln>
                  <a:noFill/>
                </a:ln>
                <a:solidFill>
                  <a:srgbClr val="2F2F2F">
                    <a:lumMod val="90000"/>
                    <a:lumOff val="10000"/>
                  </a:srgbClr>
                </a:solidFill>
                <a:effectLst/>
                <a:uLnTx/>
                <a:uFillTx/>
                <a:latin typeface="Arial"/>
                <a:ea typeface="+mn-ea"/>
                <a:cs typeface="Arial" panose="020B0604020202020204" pitchFamily="34" charset="0"/>
              </a:rPr>
              <a:t>Heat exchange with cooling air to preheat air combustion in TCID: agrochemical</a:t>
            </a:r>
          </a:p>
        </p:txBody>
      </p:sp>
      <p:sp>
        <p:nvSpPr>
          <p:cNvPr id="13" name="TextBox 13"/>
          <p:cNvSpPr txBox="1"/>
          <p:nvPr/>
        </p:nvSpPr>
        <p:spPr>
          <a:xfrm>
            <a:off x="-2" y="1046466"/>
            <a:ext cx="18288002" cy="1052468"/>
          </a:xfrm>
          <a:prstGeom prst="rect">
            <a:avLst/>
          </a:prstGeom>
        </p:spPr>
        <p:txBody>
          <a:bodyPr wrap="square" lIns="0" tIns="0" rIns="0" bIns="0" rtlCol="0" anchor="t">
            <a:spAutoFit/>
          </a:bodyPr>
          <a:lstStyle/>
          <a:p>
            <a:pPr marL="0" marR="0" lvl="0" indent="0" algn="ctr" defTabSz="914400" rtl="0" eaLnBrk="1" fontAlgn="auto" latinLnBrk="0" hangingPunct="1">
              <a:lnSpc>
                <a:spcPts val="8960"/>
              </a:lnSpc>
              <a:spcBef>
                <a:spcPct val="0"/>
              </a:spcBef>
              <a:spcAft>
                <a:spcPts val="0"/>
              </a:spcAft>
              <a:buClrTx/>
              <a:buSzTx/>
              <a:buFontTx/>
              <a:buNone/>
              <a:tabLst/>
              <a:defRPr/>
            </a:pPr>
            <a:r>
              <a:rPr kumimoji="0" lang="en-US" sz="6400" b="1" i="0" u="none" strike="noStrike" kern="1200" cap="none" spc="0" normalizeH="0" baseline="0" noProof="0" dirty="0">
                <a:ln>
                  <a:noFill/>
                </a:ln>
                <a:solidFill>
                  <a:srgbClr val="CC0033"/>
                </a:solidFill>
                <a:effectLst/>
                <a:uLnTx/>
                <a:uFillTx/>
                <a:latin typeface="Arial"/>
                <a:ea typeface="+mn-ea"/>
                <a:cs typeface="Arial" panose="020B0604020202020204" pitchFamily="34" charset="0"/>
              </a:rPr>
              <a:t>The pathway to commercialization</a:t>
            </a:r>
          </a:p>
        </p:txBody>
      </p:sp>
      <p:sp>
        <p:nvSpPr>
          <p:cNvPr id="22" name="Rettangolo 65">
            <a:extLst>
              <a:ext uri="{FF2B5EF4-FFF2-40B4-BE49-F238E27FC236}">
                <a16:creationId xmlns:a16="http://schemas.microsoft.com/office/drawing/2014/main" id="{DB60361B-40EC-1542-B2E1-989026C681C7}"/>
              </a:ext>
            </a:extLst>
          </p:cNvPr>
          <p:cNvSpPr/>
          <p:nvPr/>
        </p:nvSpPr>
        <p:spPr>
          <a:xfrm>
            <a:off x="-2" y="-13652"/>
            <a:ext cx="18288002" cy="604916"/>
          </a:xfrm>
          <a:prstGeom prst="rect">
            <a:avLst/>
          </a:prstGeom>
          <a:solidFill>
            <a:srgbClr val="CC00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TextBox 13">
            <a:extLst>
              <a:ext uri="{FF2B5EF4-FFF2-40B4-BE49-F238E27FC236}">
                <a16:creationId xmlns:a16="http://schemas.microsoft.com/office/drawing/2014/main" id="{DE008883-2897-9835-FC48-2BF75FBB8F2F}"/>
              </a:ext>
            </a:extLst>
          </p:cNvPr>
          <p:cNvSpPr txBox="1"/>
          <p:nvPr/>
        </p:nvSpPr>
        <p:spPr>
          <a:xfrm>
            <a:off x="0" y="1905250"/>
            <a:ext cx="18287999" cy="2148217"/>
          </a:xfrm>
          <a:prstGeom prst="rect">
            <a:avLst/>
          </a:prstGeom>
        </p:spPr>
        <p:txBody>
          <a:bodyPr wrap="square" lIns="0" tIns="0" rIns="0" bIns="0" rtlCol="0" anchor="ctr">
            <a:spAutoFit/>
          </a:bodyPr>
          <a:lstStyle/>
          <a:p>
            <a:pPr marL="0" marR="0" lvl="0" indent="0" algn="ctr" defTabSz="914400" rtl="0" eaLnBrk="1" fontAlgn="auto" latinLnBrk="0" hangingPunct="1">
              <a:lnSpc>
                <a:spcPts val="8960"/>
              </a:lnSpc>
              <a:spcBef>
                <a:spcPct val="0"/>
              </a:spcBef>
              <a:spcAft>
                <a:spcPts val="0"/>
              </a:spcAft>
              <a:buClrTx/>
              <a:buSzTx/>
              <a:buFontTx/>
              <a:buNone/>
              <a:tabLst/>
              <a:defRPr/>
            </a:pPr>
            <a:r>
              <a:rPr kumimoji="0" lang="en-US" sz="4400" b="1" i="0" u="none" strike="noStrike" kern="1200" cap="none" spc="0" normalizeH="0" baseline="0" noProof="0" dirty="0">
                <a:ln>
                  <a:noFill/>
                </a:ln>
                <a:solidFill>
                  <a:srgbClr val="CC0033"/>
                </a:solidFill>
                <a:effectLst/>
                <a:uLnTx/>
                <a:uFillTx/>
                <a:latin typeface="Arial"/>
                <a:ea typeface="+mn-ea"/>
                <a:cs typeface="Arial" panose="020B0604020202020204" pitchFamily="34" charset="0"/>
              </a:rPr>
              <a:t>Commercialization of the results</a:t>
            </a:r>
          </a:p>
          <a:p>
            <a:pPr marL="0" marR="0" lvl="0" indent="0" algn="ctr" defTabSz="914400" rtl="0" eaLnBrk="1" fontAlgn="auto" latinLnBrk="0" hangingPunct="1">
              <a:lnSpc>
                <a:spcPts val="8960"/>
              </a:lnSpc>
              <a:spcBef>
                <a:spcPct val="0"/>
              </a:spcBef>
              <a:spcAft>
                <a:spcPts val="0"/>
              </a:spcAft>
              <a:buClrTx/>
              <a:buSzTx/>
              <a:buFontTx/>
              <a:buNone/>
              <a:tabLst/>
              <a:defRPr/>
            </a:pPr>
            <a:endParaRPr kumimoji="0" lang="en-US" sz="4400" b="1" i="0" u="none" strike="noStrike" kern="1200" cap="none" spc="0" normalizeH="0" baseline="0" noProof="0" dirty="0">
              <a:ln>
                <a:noFill/>
              </a:ln>
              <a:solidFill>
                <a:srgbClr val="CC0033"/>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1567691011"/>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p:cNvGrpSpPr/>
          <p:nvPr/>
        </p:nvGrpSpPr>
        <p:grpSpPr>
          <a:xfrm>
            <a:off x="4329156" y="9695736"/>
            <a:ext cx="13958844" cy="666567"/>
            <a:chOff x="4329156" y="9649198"/>
            <a:chExt cx="13958844" cy="666567"/>
          </a:xfrm>
        </p:grpSpPr>
        <p:pic>
          <p:nvPicPr>
            <p:cNvPr id="18" name="Picture 12"/>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19" name="TextBox 16"/>
            <p:cNvSpPr txBox="1"/>
            <p:nvPr/>
          </p:nvSpPr>
          <p:spPr>
            <a:xfrm>
              <a:off x="14400029" y="9732291"/>
              <a:ext cx="3636320" cy="448713"/>
            </a:xfrm>
            <a:prstGeom prst="rect">
              <a:avLst/>
            </a:prstGeom>
          </p:spPr>
          <p:txBody>
            <a:bodyPr wrap="square" lIns="0" tIns="0" rIns="0" bIns="0" rtlCol="0" anchor="t">
              <a:spAutoFit/>
            </a:bodyPr>
            <a:lstStyle/>
            <a:p>
              <a:pPr marL="0" marR="0" lvl="0" indent="0" algn="ctr" defTabSz="914400" rtl="0" eaLnBrk="1" fontAlgn="auto" latinLnBrk="0" hangingPunct="1">
                <a:lnSpc>
                  <a:spcPts val="3920"/>
                </a:lnSpc>
                <a:spcBef>
                  <a:spcPct val="0"/>
                </a:spcBef>
                <a:spcAft>
                  <a:spcPts val="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OCR A Extended" panose="02010509020102010303" pitchFamily="50" charset="0"/>
                  <a:ea typeface="+mn-ea"/>
                  <a:cs typeface="+mn-cs"/>
                </a:rPr>
                <a:t>www.retrofeed.eu</a:t>
              </a:r>
            </a:p>
          </p:txBody>
        </p:sp>
      </p:grpSp>
      <p:pic>
        <p:nvPicPr>
          <p:cNvPr id="20" name="Picture 12"/>
          <p:cNvPicPr>
            <a:picLocks noChangeAspect="1"/>
          </p:cNvPicPr>
          <p:nvPr/>
        </p:nvPicPr>
        <p:blipFill>
          <a:blip r:embed="rId4"/>
          <a:srcRect/>
          <a:stretch>
            <a:fillRect/>
          </a:stretch>
        </p:blipFill>
        <p:spPr>
          <a:xfrm>
            <a:off x="0" y="8901113"/>
            <a:ext cx="5715000" cy="1385887"/>
          </a:xfrm>
          <a:prstGeom prst="rect">
            <a:avLst/>
          </a:prstGeom>
        </p:spPr>
      </p:pic>
      <p:sp>
        <p:nvSpPr>
          <p:cNvPr id="15" name="TextBox 14"/>
          <p:cNvSpPr txBox="1"/>
          <p:nvPr/>
        </p:nvSpPr>
        <p:spPr>
          <a:xfrm>
            <a:off x="838199" y="3143466"/>
            <a:ext cx="16611600" cy="2308324"/>
          </a:xfrm>
          <a:prstGeom prst="rect">
            <a:avLst/>
          </a:prstGeom>
        </p:spPr>
        <p:txBody>
          <a:bodyPr wrap="square" lIns="0" tIns="0" rIns="0" bIns="0" rtlCol="0" anchor="t">
            <a:spAutoFit/>
          </a:bodyPr>
          <a:lstStyle/>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000" b="0" i="0" u="none" strike="noStrike" kern="1200" cap="none" spc="0" normalizeH="0" baseline="0" noProof="0" dirty="0">
                <a:ln>
                  <a:noFill/>
                </a:ln>
                <a:solidFill>
                  <a:srgbClr val="2F2F2F">
                    <a:lumMod val="90000"/>
                    <a:lumOff val="10000"/>
                  </a:srgbClr>
                </a:solidFill>
                <a:effectLst/>
                <a:uLnTx/>
                <a:uFillTx/>
                <a:latin typeface="Arial"/>
                <a:ea typeface="+mn-ea"/>
                <a:cs typeface="Arial" panose="020B0604020202020204" pitchFamily="34" charset="0"/>
              </a:rPr>
              <a:t>Some solutions already TRL9 because there are industrial and engineering companies within Consortium</a:t>
            </a: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3000" b="0" i="0" u="none" strike="noStrike" kern="1200" cap="none" spc="0" normalizeH="0" baseline="0" noProof="0" dirty="0">
              <a:ln>
                <a:noFill/>
              </a:ln>
              <a:solidFill>
                <a:srgbClr val="2F2F2F">
                  <a:lumMod val="90000"/>
                  <a:lumOff val="10000"/>
                </a:srgbClr>
              </a:solidFill>
              <a:effectLst/>
              <a:uLnTx/>
              <a:uFillTx/>
              <a:latin typeface="Arial"/>
              <a:ea typeface="+mn-ea"/>
              <a:cs typeface="Arial" panose="020B0604020202020204" pitchFamily="34" charset="0"/>
            </a:endParaRP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000" b="0" i="0" u="none" strike="noStrike" kern="1200" cap="none" spc="0" normalizeH="0" baseline="0" noProof="0" dirty="0">
                <a:ln>
                  <a:noFill/>
                </a:ln>
                <a:solidFill>
                  <a:srgbClr val="2F2F2F">
                    <a:lumMod val="90000"/>
                    <a:lumOff val="10000"/>
                  </a:srgbClr>
                </a:solidFill>
                <a:effectLst/>
                <a:uLnTx/>
                <a:uFillTx/>
                <a:latin typeface="Arial"/>
                <a:ea typeface="+mn-ea"/>
                <a:cs typeface="Arial" panose="020B0604020202020204" pitchFamily="34" charset="0"/>
              </a:rPr>
              <a:t>Industrial-grade level and higher TRL upscaling is expected within 6-12 months after project closure</a:t>
            </a:r>
          </a:p>
        </p:txBody>
      </p:sp>
      <p:sp>
        <p:nvSpPr>
          <p:cNvPr id="13" name="TextBox 13"/>
          <p:cNvSpPr txBox="1"/>
          <p:nvPr/>
        </p:nvSpPr>
        <p:spPr>
          <a:xfrm>
            <a:off x="-2" y="1046466"/>
            <a:ext cx="18288002" cy="1052468"/>
          </a:xfrm>
          <a:prstGeom prst="rect">
            <a:avLst/>
          </a:prstGeom>
        </p:spPr>
        <p:txBody>
          <a:bodyPr wrap="square" lIns="0" tIns="0" rIns="0" bIns="0" rtlCol="0" anchor="t">
            <a:spAutoFit/>
          </a:bodyPr>
          <a:lstStyle/>
          <a:p>
            <a:pPr marL="0" marR="0" lvl="0" indent="0" algn="ctr" defTabSz="914400" rtl="0" eaLnBrk="1" fontAlgn="auto" latinLnBrk="0" hangingPunct="1">
              <a:lnSpc>
                <a:spcPts val="8960"/>
              </a:lnSpc>
              <a:spcBef>
                <a:spcPct val="0"/>
              </a:spcBef>
              <a:spcAft>
                <a:spcPts val="0"/>
              </a:spcAft>
              <a:buClrTx/>
              <a:buSzTx/>
              <a:buFontTx/>
              <a:buNone/>
              <a:tabLst/>
              <a:defRPr/>
            </a:pPr>
            <a:r>
              <a:rPr kumimoji="0" lang="en-US" sz="6400" b="1" i="0" u="none" strike="noStrike" kern="1200" cap="none" spc="0" normalizeH="0" baseline="0" noProof="0" dirty="0">
                <a:ln>
                  <a:noFill/>
                </a:ln>
                <a:solidFill>
                  <a:srgbClr val="CC0033"/>
                </a:solidFill>
                <a:effectLst/>
                <a:uLnTx/>
                <a:uFillTx/>
                <a:latin typeface="Arial"/>
                <a:ea typeface="+mn-ea"/>
                <a:cs typeface="Arial" panose="020B0604020202020204" pitchFamily="34" charset="0"/>
              </a:rPr>
              <a:t>The pathway to commercialization</a:t>
            </a:r>
          </a:p>
        </p:txBody>
      </p:sp>
      <p:sp>
        <p:nvSpPr>
          <p:cNvPr id="22" name="Rettangolo 65">
            <a:extLst>
              <a:ext uri="{FF2B5EF4-FFF2-40B4-BE49-F238E27FC236}">
                <a16:creationId xmlns:a16="http://schemas.microsoft.com/office/drawing/2014/main" id="{DB60361B-40EC-1542-B2E1-989026C681C7}"/>
              </a:ext>
            </a:extLst>
          </p:cNvPr>
          <p:cNvSpPr/>
          <p:nvPr/>
        </p:nvSpPr>
        <p:spPr>
          <a:xfrm>
            <a:off x="-2" y="-13652"/>
            <a:ext cx="18288002" cy="604916"/>
          </a:xfrm>
          <a:prstGeom prst="rect">
            <a:avLst/>
          </a:prstGeom>
          <a:solidFill>
            <a:srgbClr val="CC00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TextBox 13">
            <a:extLst>
              <a:ext uri="{FF2B5EF4-FFF2-40B4-BE49-F238E27FC236}">
                <a16:creationId xmlns:a16="http://schemas.microsoft.com/office/drawing/2014/main" id="{DE008883-2897-9835-FC48-2BF75FBB8F2F}"/>
              </a:ext>
            </a:extLst>
          </p:cNvPr>
          <p:cNvSpPr txBox="1"/>
          <p:nvPr/>
        </p:nvSpPr>
        <p:spPr>
          <a:xfrm>
            <a:off x="0" y="1905250"/>
            <a:ext cx="18287999" cy="2148217"/>
          </a:xfrm>
          <a:prstGeom prst="rect">
            <a:avLst/>
          </a:prstGeom>
        </p:spPr>
        <p:txBody>
          <a:bodyPr wrap="square" lIns="0" tIns="0" rIns="0" bIns="0" rtlCol="0" anchor="ctr">
            <a:spAutoFit/>
          </a:bodyPr>
          <a:lstStyle/>
          <a:p>
            <a:pPr marL="0" marR="0" lvl="0" indent="0" algn="ctr" defTabSz="914400" rtl="0" eaLnBrk="1" fontAlgn="auto" latinLnBrk="0" hangingPunct="1">
              <a:lnSpc>
                <a:spcPts val="8960"/>
              </a:lnSpc>
              <a:spcBef>
                <a:spcPct val="0"/>
              </a:spcBef>
              <a:spcAft>
                <a:spcPts val="0"/>
              </a:spcAft>
              <a:buClrTx/>
              <a:buSzTx/>
              <a:buFontTx/>
              <a:buNone/>
              <a:tabLst/>
              <a:defRPr/>
            </a:pPr>
            <a:r>
              <a:rPr kumimoji="0" lang="en-US" sz="4400" b="1" i="0" u="none" strike="noStrike" kern="1200" cap="none" spc="0" normalizeH="0" baseline="0" noProof="0" dirty="0">
                <a:ln>
                  <a:noFill/>
                </a:ln>
                <a:solidFill>
                  <a:srgbClr val="CC0033"/>
                </a:solidFill>
                <a:effectLst/>
                <a:uLnTx/>
                <a:uFillTx/>
                <a:latin typeface="Arial"/>
                <a:ea typeface="+mn-ea"/>
                <a:cs typeface="Arial" panose="020B0604020202020204" pitchFamily="34" charset="0"/>
              </a:rPr>
              <a:t>TRL 9</a:t>
            </a:r>
          </a:p>
          <a:p>
            <a:pPr marL="0" marR="0" lvl="0" indent="0" algn="ctr" defTabSz="914400" rtl="0" eaLnBrk="1" fontAlgn="auto" latinLnBrk="0" hangingPunct="1">
              <a:lnSpc>
                <a:spcPts val="8960"/>
              </a:lnSpc>
              <a:spcBef>
                <a:spcPct val="0"/>
              </a:spcBef>
              <a:spcAft>
                <a:spcPts val="0"/>
              </a:spcAft>
              <a:buClrTx/>
              <a:buSzTx/>
              <a:buFontTx/>
              <a:buNone/>
              <a:tabLst/>
              <a:defRPr/>
            </a:pPr>
            <a:endParaRPr kumimoji="0" lang="en-US" sz="4400" b="1" i="0" u="none" strike="noStrike" kern="1200" cap="none" spc="0" normalizeH="0" baseline="0" noProof="0" dirty="0">
              <a:ln>
                <a:noFill/>
              </a:ln>
              <a:solidFill>
                <a:srgbClr val="CC0033"/>
              </a:solidFill>
              <a:effectLst/>
              <a:uLnTx/>
              <a:uFillTx/>
              <a:latin typeface="Arial"/>
              <a:ea typeface="+mn-ea"/>
              <a:cs typeface="Arial" panose="020B0604020202020204" pitchFamily="34" charset="0"/>
            </a:endParaRPr>
          </a:p>
        </p:txBody>
      </p:sp>
      <p:pic>
        <p:nvPicPr>
          <p:cNvPr id="2" name="Resim 20">
            <a:extLst>
              <a:ext uri="{FF2B5EF4-FFF2-40B4-BE49-F238E27FC236}">
                <a16:creationId xmlns:a16="http://schemas.microsoft.com/office/drawing/2014/main" id="{8DBA2D8F-4D0E-20A4-B959-6C6776427E6D}"/>
              </a:ext>
            </a:extLst>
          </p:cNvPr>
          <p:cNvPicPr>
            <a:picLocks noChangeAspect="1"/>
          </p:cNvPicPr>
          <p:nvPr/>
        </p:nvPicPr>
        <p:blipFill rotWithShape="1">
          <a:blip r:embed="rId5">
            <a:extLst>
              <a:ext uri="{28A0092B-C50C-407E-A947-70E740481C1C}">
                <a14:useLocalDpi xmlns:a14="http://schemas.microsoft.com/office/drawing/2010/main" val="0"/>
              </a:ext>
            </a:extLst>
          </a:blip>
          <a:srcRect r="50000"/>
          <a:stretch/>
        </p:blipFill>
        <p:spPr bwMode="auto">
          <a:xfrm>
            <a:off x="657671" y="5741179"/>
            <a:ext cx="3445637" cy="2542653"/>
          </a:xfrm>
          <a:prstGeom prst="rect">
            <a:avLst/>
          </a:prstGeom>
          <a:noFill/>
          <a:ln>
            <a:noFill/>
          </a:ln>
        </p:spPr>
      </p:pic>
      <p:pic>
        <p:nvPicPr>
          <p:cNvPr id="3" name="Resim 1">
            <a:extLst>
              <a:ext uri="{FF2B5EF4-FFF2-40B4-BE49-F238E27FC236}">
                <a16:creationId xmlns:a16="http://schemas.microsoft.com/office/drawing/2014/main" id="{52404910-2388-0A30-6125-2A750FE5F740}"/>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808538" y="5721223"/>
            <a:ext cx="3427696" cy="2571068"/>
          </a:xfrm>
          <a:prstGeom prst="rect">
            <a:avLst/>
          </a:prstGeom>
          <a:noFill/>
          <a:ln>
            <a:noFill/>
          </a:ln>
        </p:spPr>
      </p:pic>
      <p:sp>
        <p:nvSpPr>
          <p:cNvPr id="5" name="TextBox 4">
            <a:extLst>
              <a:ext uri="{FF2B5EF4-FFF2-40B4-BE49-F238E27FC236}">
                <a16:creationId xmlns:a16="http://schemas.microsoft.com/office/drawing/2014/main" id="{58D234CD-CCCD-1126-9B69-807AF6CA2026}"/>
              </a:ext>
            </a:extLst>
          </p:cNvPr>
          <p:cNvSpPr txBox="1"/>
          <p:nvPr/>
        </p:nvSpPr>
        <p:spPr>
          <a:xfrm>
            <a:off x="657670" y="8294062"/>
            <a:ext cx="5558225" cy="492443"/>
          </a:xfrm>
          <a:prstGeom prst="rect">
            <a:avLst/>
          </a:prstGeom>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
                <a:srgbClr val="F2F2F2"/>
              </a:buClr>
              <a:buSzTx/>
              <a:buFontTx/>
              <a:buNone/>
              <a:tabLst/>
              <a:defRPr/>
            </a:pPr>
            <a:r>
              <a:rPr kumimoji="0" lang="en-US" sz="3200" b="1" i="0" u="none" strike="noStrike" kern="1200" cap="none" spc="0" normalizeH="0" baseline="0" noProof="0" dirty="0">
                <a:ln>
                  <a:noFill/>
                </a:ln>
                <a:solidFill>
                  <a:srgbClr val="CC0033"/>
                </a:solidFill>
                <a:effectLst/>
                <a:uLnTx/>
                <a:uFillTx/>
                <a:latin typeface="Arial"/>
                <a:ea typeface="+mn-ea"/>
                <a:cs typeface="+mn-cs"/>
              </a:rPr>
              <a:t>New burner head</a:t>
            </a:r>
          </a:p>
        </p:txBody>
      </p:sp>
      <p:sp>
        <p:nvSpPr>
          <p:cNvPr id="6" name="TextBox 5">
            <a:extLst>
              <a:ext uri="{FF2B5EF4-FFF2-40B4-BE49-F238E27FC236}">
                <a16:creationId xmlns:a16="http://schemas.microsoft.com/office/drawing/2014/main" id="{0E9E7B91-E6E1-36EF-9F9B-C56F48188A75}"/>
              </a:ext>
            </a:extLst>
          </p:cNvPr>
          <p:cNvSpPr txBox="1"/>
          <p:nvPr/>
        </p:nvSpPr>
        <p:spPr>
          <a:xfrm>
            <a:off x="6808538" y="8357020"/>
            <a:ext cx="3427696" cy="984885"/>
          </a:xfrm>
          <a:prstGeom prst="rect">
            <a:avLst/>
          </a:prstGeom>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
                <a:srgbClr val="F2F2F2"/>
              </a:buClr>
              <a:buSzTx/>
              <a:buFontTx/>
              <a:buNone/>
              <a:tabLst/>
              <a:defRPr/>
            </a:pPr>
            <a:r>
              <a:rPr kumimoji="0" lang="en-US" sz="3200" b="1" i="0" u="none" strike="noStrike" kern="1200" cap="none" spc="0" normalizeH="0" baseline="0" noProof="0" dirty="0" err="1">
                <a:ln>
                  <a:noFill/>
                </a:ln>
                <a:solidFill>
                  <a:srgbClr val="CC0033"/>
                </a:solidFill>
                <a:effectLst/>
                <a:uLnTx/>
                <a:uFillTx/>
                <a:latin typeface="Arial"/>
                <a:ea typeface="+mn-ea"/>
                <a:cs typeface="+mn-cs"/>
              </a:rPr>
              <a:t>Delacquering</a:t>
            </a:r>
            <a:r>
              <a:rPr kumimoji="0" lang="en-US" sz="3200" b="1" i="0" u="none" strike="noStrike" kern="1200" cap="none" spc="0" normalizeH="0" baseline="0" noProof="0" dirty="0">
                <a:ln>
                  <a:noFill/>
                </a:ln>
                <a:solidFill>
                  <a:srgbClr val="CC0033"/>
                </a:solidFill>
                <a:effectLst/>
                <a:uLnTx/>
                <a:uFillTx/>
                <a:latin typeface="Arial"/>
                <a:ea typeface="+mn-ea"/>
                <a:cs typeface="+mn-cs"/>
              </a:rPr>
              <a:t> system</a:t>
            </a:r>
          </a:p>
        </p:txBody>
      </p:sp>
      <p:pic>
        <p:nvPicPr>
          <p:cNvPr id="7" name="Resim 21">
            <a:extLst>
              <a:ext uri="{FF2B5EF4-FFF2-40B4-BE49-F238E27FC236}">
                <a16:creationId xmlns:a16="http://schemas.microsoft.com/office/drawing/2014/main" id="{C7D2F70B-9FA2-A471-A1AF-66D2CDFDD744}"/>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1287" t="23975" b="20577"/>
          <a:stretch/>
        </p:blipFill>
        <p:spPr>
          <a:xfrm>
            <a:off x="4103308" y="5727115"/>
            <a:ext cx="2112588" cy="2571068"/>
          </a:xfrm>
          <a:prstGeom prst="rect">
            <a:avLst/>
          </a:prstGeom>
        </p:spPr>
      </p:pic>
      <p:pic>
        <p:nvPicPr>
          <p:cNvPr id="8" name="Picture 7" descr="A picture containing transport, disk brake, gear&#10;&#10;Description automatically generated">
            <a:extLst>
              <a:ext uri="{FF2B5EF4-FFF2-40B4-BE49-F238E27FC236}">
                <a16:creationId xmlns:a16="http://schemas.microsoft.com/office/drawing/2014/main" id="{604DC480-49CC-7024-E3E5-FF3219BA17A0}"/>
              </a:ext>
            </a:extLst>
          </p:cNvPr>
          <p:cNvPicPr>
            <a:picLocks noChangeAspect="1"/>
          </p:cNvPicPr>
          <p:nvPr/>
        </p:nvPicPr>
        <p:blipFill rotWithShape="1">
          <a:blip r:embed="rId8"/>
          <a:srcRect l="20659" r="26783"/>
          <a:stretch/>
        </p:blipFill>
        <p:spPr>
          <a:xfrm>
            <a:off x="14724308" y="5693002"/>
            <a:ext cx="2987762" cy="2627510"/>
          </a:xfrm>
          <a:prstGeom prst="rect">
            <a:avLst/>
          </a:prstGeom>
        </p:spPr>
      </p:pic>
      <p:sp>
        <p:nvSpPr>
          <p:cNvPr id="9" name="TextBox 14">
            <a:extLst>
              <a:ext uri="{FF2B5EF4-FFF2-40B4-BE49-F238E27FC236}">
                <a16:creationId xmlns:a16="http://schemas.microsoft.com/office/drawing/2014/main" id="{7619146A-ED2F-7152-89FC-7AFB89BFC304}"/>
              </a:ext>
            </a:extLst>
          </p:cNvPr>
          <p:cNvSpPr txBox="1"/>
          <p:nvPr/>
        </p:nvSpPr>
        <p:spPr>
          <a:xfrm>
            <a:off x="14757571" y="8502015"/>
            <a:ext cx="2954499" cy="984885"/>
          </a:xfrm>
          <a:prstGeom prst="rect">
            <a:avLst/>
          </a:prstGeom>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
                <a:srgbClr val="F2F2F2"/>
              </a:buClr>
              <a:buSzTx/>
              <a:buFontTx/>
              <a:buNone/>
              <a:tabLst/>
              <a:defRPr/>
            </a:pPr>
            <a:r>
              <a:rPr kumimoji="0" lang="en-US" sz="3200" b="1" i="0" u="none" strike="noStrike" kern="1200" cap="none" spc="0" normalizeH="0" baseline="0" noProof="0" dirty="0">
                <a:ln>
                  <a:noFill/>
                </a:ln>
                <a:solidFill>
                  <a:srgbClr val="CC0033"/>
                </a:solidFill>
                <a:effectLst/>
                <a:uLnTx/>
                <a:uFillTx/>
                <a:latin typeface="Arial"/>
                <a:ea typeface="+mn-ea"/>
                <a:cs typeface="+mn-cs"/>
              </a:rPr>
              <a:t>Multi-fuel burner</a:t>
            </a:r>
          </a:p>
        </p:txBody>
      </p:sp>
      <p:pic>
        <p:nvPicPr>
          <p:cNvPr id="10" name="Immagine 13">
            <a:extLst>
              <a:ext uri="{FF2B5EF4-FFF2-40B4-BE49-F238E27FC236}">
                <a16:creationId xmlns:a16="http://schemas.microsoft.com/office/drawing/2014/main" id="{73274B9F-7A8A-98A5-5811-ABAB35F65318}"/>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l="22985" r="26356"/>
          <a:stretch/>
        </p:blipFill>
        <p:spPr bwMode="auto">
          <a:xfrm>
            <a:off x="10962369" y="5712843"/>
            <a:ext cx="3072720" cy="2644177"/>
          </a:xfrm>
          <a:prstGeom prst="rect">
            <a:avLst/>
          </a:prstGeom>
          <a:noFill/>
          <a:ln>
            <a:solidFill>
              <a:schemeClr val="bg2"/>
            </a:solidFill>
          </a:ln>
        </p:spPr>
      </p:pic>
      <p:sp>
        <p:nvSpPr>
          <p:cNvPr id="11" name="TextBox 14">
            <a:extLst>
              <a:ext uri="{FF2B5EF4-FFF2-40B4-BE49-F238E27FC236}">
                <a16:creationId xmlns:a16="http://schemas.microsoft.com/office/drawing/2014/main" id="{32F3FB6E-C214-DB97-300C-DBBD8DD8C2A5}"/>
              </a:ext>
            </a:extLst>
          </p:cNvPr>
          <p:cNvSpPr txBox="1"/>
          <p:nvPr/>
        </p:nvSpPr>
        <p:spPr>
          <a:xfrm>
            <a:off x="10828877" y="8502015"/>
            <a:ext cx="3206212" cy="984885"/>
          </a:xfrm>
          <a:prstGeom prst="rect">
            <a:avLst/>
          </a:prstGeom>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
                <a:srgbClr val="F2F2F2"/>
              </a:buClr>
              <a:buSzTx/>
              <a:buFontTx/>
              <a:buNone/>
              <a:tabLst/>
              <a:defRPr/>
            </a:pPr>
            <a:r>
              <a:rPr kumimoji="0" lang="en-US" sz="3200" b="1" i="0" u="none" strike="noStrike" kern="1200" cap="none" spc="0" normalizeH="0" baseline="0" noProof="0" dirty="0">
                <a:ln>
                  <a:noFill/>
                </a:ln>
                <a:solidFill>
                  <a:srgbClr val="CC0033"/>
                </a:solidFill>
                <a:effectLst/>
                <a:uLnTx/>
                <a:uFillTx/>
                <a:latin typeface="Arial"/>
                <a:ea typeface="+mn-ea"/>
                <a:cs typeface="+mn-cs"/>
              </a:rPr>
              <a:t>New burner/injector</a:t>
            </a:r>
          </a:p>
        </p:txBody>
      </p:sp>
    </p:spTree>
    <p:extLst>
      <p:ext uri="{BB962C8B-B14F-4D97-AF65-F5344CB8AC3E}">
        <p14:creationId xmlns:p14="http://schemas.microsoft.com/office/powerpoint/2010/main" val="328336300"/>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p:cNvGrpSpPr/>
          <p:nvPr/>
        </p:nvGrpSpPr>
        <p:grpSpPr>
          <a:xfrm>
            <a:off x="4329156" y="9695736"/>
            <a:ext cx="13958844" cy="666567"/>
            <a:chOff x="4329156" y="9649198"/>
            <a:chExt cx="13958844" cy="666567"/>
          </a:xfrm>
        </p:grpSpPr>
        <p:pic>
          <p:nvPicPr>
            <p:cNvPr id="18" name="Picture 12"/>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19" name="TextBox 16"/>
            <p:cNvSpPr txBox="1"/>
            <p:nvPr/>
          </p:nvSpPr>
          <p:spPr>
            <a:xfrm>
              <a:off x="14400029" y="9732291"/>
              <a:ext cx="3636320" cy="448713"/>
            </a:xfrm>
            <a:prstGeom prst="rect">
              <a:avLst/>
            </a:prstGeom>
          </p:spPr>
          <p:txBody>
            <a:bodyPr wrap="square" lIns="0" tIns="0" rIns="0" bIns="0" rtlCol="0" anchor="t">
              <a:spAutoFit/>
            </a:bodyPr>
            <a:lstStyle/>
            <a:p>
              <a:pPr marL="0" marR="0" lvl="0" indent="0" algn="ctr" defTabSz="914400" rtl="0" eaLnBrk="1" fontAlgn="auto" latinLnBrk="0" hangingPunct="1">
                <a:lnSpc>
                  <a:spcPts val="3920"/>
                </a:lnSpc>
                <a:spcBef>
                  <a:spcPct val="0"/>
                </a:spcBef>
                <a:spcAft>
                  <a:spcPts val="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OCR A Extended" panose="02010509020102010303" pitchFamily="50" charset="0"/>
                  <a:ea typeface="+mn-ea"/>
                  <a:cs typeface="+mn-cs"/>
                </a:rPr>
                <a:t>www.retrofeed.eu</a:t>
              </a:r>
            </a:p>
          </p:txBody>
        </p:sp>
      </p:grpSp>
      <p:pic>
        <p:nvPicPr>
          <p:cNvPr id="20" name="Picture 12"/>
          <p:cNvPicPr>
            <a:picLocks noChangeAspect="1"/>
          </p:cNvPicPr>
          <p:nvPr/>
        </p:nvPicPr>
        <p:blipFill>
          <a:blip r:embed="rId4"/>
          <a:srcRect/>
          <a:stretch>
            <a:fillRect/>
          </a:stretch>
        </p:blipFill>
        <p:spPr>
          <a:xfrm>
            <a:off x="0" y="8901113"/>
            <a:ext cx="5715000" cy="1385887"/>
          </a:xfrm>
          <a:prstGeom prst="rect">
            <a:avLst/>
          </a:prstGeom>
        </p:spPr>
      </p:pic>
      <p:sp>
        <p:nvSpPr>
          <p:cNvPr id="15" name="TextBox 14"/>
          <p:cNvSpPr txBox="1"/>
          <p:nvPr/>
        </p:nvSpPr>
        <p:spPr>
          <a:xfrm>
            <a:off x="2667000" y="3602597"/>
            <a:ext cx="14478000" cy="4462760"/>
          </a:xfrm>
          <a:prstGeom prst="rect">
            <a:avLst/>
          </a:prstGeom>
        </p:spPr>
        <p:txBody>
          <a:bodyPr wrap="square" lIns="0" tIns="0" rIns="0" bIns="0" rtlCol="0" anchor="t">
            <a:spAutoFit/>
          </a:bodyPr>
          <a:lstStyle/>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000" b="1" i="0" u="none" strike="noStrike" kern="1200" cap="none" spc="0" normalizeH="0" baseline="0" noProof="0" dirty="0">
                <a:ln>
                  <a:noFill/>
                </a:ln>
                <a:solidFill>
                  <a:srgbClr val="CC0033"/>
                </a:solidFill>
                <a:effectLst/>
                <a:uLnTx/>
                <a:uFillTx/>
                <a:latin typeface="Arial"/>
                <a:ea typeface="+mn-ea"/>
                <a:cs typeface="Arial" panose="020B0604020202020204" pitchFamily="34" charset="0"/>
              </a:rPr>
              <a:t>Legislative</a:t>
            </a:r>
            <a:r>
              <a:rPr kumimoji="0" lang="en-US" sz="3000" b="0" i="0" u="none" strike="noStrike" kern="1200" cap="none" spc="0" normalizeH="0" baseline="0" noProof="0" dirty="0">
                <a:ln>
                  <a:noFill/>
                </a:ln>
                <a:solidFill>
                  <a:srgbClr val="2F2F2F">
                    <a:lumMod val="90000"/>
                    <a:lumOff val="10000"/>
                  </a:srgbClr>
                </a:solidFill>
                <a:effectLst/>
                <a:uLnTx/>
                <a:uFillTx/>
                <a:latin typeface="Arial"/>
                <a:ea typeface="+mn-ea"/>
                <a:cs typeface="Arial" panose="020B0604020202020204" pitchFamily="34" charset="0"/>
              </a:rPr>
              <a:t> </a:t>
            </a:r>
          </a:p>
          <a:p>
            <a:pPr marL="914400" marR="0" lvl="1" indent="-4572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3000" b="0" i="0" u="none" strike="noStrike" kern="1200" cap="none" spc="0" normalizeH="0" baseline="0" noProof="0" dirty="0">
                <a:ln>
                  <a:noFill/>
                </a:ln>
                <a:solidFill>
                  <a:srgbClr val="2F2F2F">
                    <a:lumMod val="90000"/>
                    <a:lumOff val="10000"/>
                  </a:srgbClr>
                </a:solidFill>
                <a:effectLst/>
                <a:uLnTx/>
                <a:uFillTx/>
                <a:latin typeface="Arial"/>
                <a:ea typeface="+mn-ea"/>
                <a:cs typeface="Arial" panose="020B0604020202020204" pitchFamily="34" charset="0"/>
              </a:rPr>
              <a:t>Different legislation in each country even in each region</a:t>
            </a:r>
          </a:p>
          <a:p>
            <a:pPr marL="914400" marR="0" lvl="1" indent="-4572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3000" b="0" i="0" u="none" strike="noStrike" kern="1200" cap="none" spc="0" normalizeH="0" baseline="0" noProof="0" dirty="0">
                <a:ln>
                  <a:noFill/>
                </a:ln>
                <a:solidFill>
                  <a:srgbClr val="2F2F2F">
                    <a:lumMod val="90000"/>
                    <a:lumOff val="10000"/>
                  </a:srgbClr>
                </a:solidFill>
                <a:effectLst/>
                <a:uLnTx/>
                <a:uFillTx/>
                <a:latin typeface="Arial"/>
                <a:ea typeface="+mn-ea"/>
                <a:cs typeface="Arial" panose="020B0604020202020204" pitchFamily="34" charset="0"/>
              </a:rPr>
              <a:t>Use of waste is not always allowed</a:t>
            </a:r>
          </a:p>
          <a:p>
            <a:pPr marL="914400" marR="0" lvl="1" indent="-4572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3000" b="0" i="0" u="none" strike="noStrike" kern="1200" cap="none" spc="0" normalizeH="0" baseline="0" noProof="0" dirty="0">
                <a:ln>
                  <a:noFill/>
                </a:ln>
                <a:solidFill>
                  <a:srgbClr val="2F2F2F">
                    <a:lumMod val="90000"/>
                    <a:lumOff val="10000"/>
                  </a:srgbClr>
                </a:solidFill>
                <a:effectLst/>
                <a:uLnTx/>
                <a:uFillTx/>
                <a:latin typeface="Arial"/>
                <a:ea typeface="+mn-ea"/>
                <a:cs typeface="Arial" panose="020B0604020202020204" pitchFamily="34" charset="0"/>
              </a:rPr>
              <a:t>Bureaucratic procedures</a:t>
            </a:r>
          </a:p>
          <a:p>
            <a:pPr marL="914400" marR="0" lvl="1" indent="-4572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3000" b="0" i="0" u="none" strike="noStrike" kern="1200" cap="none" spc="0" normalizeH="0" baseline="0" noProof="0" dirty="0">
                <a:ln>
                  <a:noFill/>
                </a:ln>
                <a:solidFill>
                  <a:srgbClr val="2F2F2F">
                    <a:lumMod val="90000"/>
                    <a:lumOff val="10000"/>
                  </a:srgbClr>
                </a:solidFill>
                <a:effectLst/>
                <a:uLnTx/>
                <a:uFillTx/>
                <a:latin typeface="Arial"/>
                <a:ea typeface="+mn-ea"/>
                <a:cs typeface="Arial" panose="020B0604020202020204" pitchFamily="34" charset="0"/>
              </a:rPr>
              <a:t>High cost of permits (fee + preparation)</a:t>
            </a:r>
          </a:p>
          <a:p>
            <a:pPr marL="914400" marR="0" lvl="1" indent="-4572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3000" b="0" i="0" u="none" strike="noStrike" kern="1200" cap="none" spc="0" normalizeH="0" baseline="0" noProof="0" dirty="0">
                <a:ln>
                  <a:noFill/>
                </a:ln>
                <a:solidFill>
                  <a:srgbClr val="2F2F2F">
                    <a:lumMod val="90000"/>
                    <a:lumOff val="10000"/>
                  </a:srgbClr>
                </a:solidFill>
                <a:effectLst/>
                <a:uLnTx/>
                <a:uFillTx/>
                <a:latin typeface="Arial"/>
                <a:ea typeface="+mn-ea"/>
                <a:cs typeface="Arial" panose="020B0604020202020204" pitchFamily="34" charset="0"/>
              </a:rPr>
              <a:t>Transportation of external feedstocks, with strict regulations around residual materials often complicating the process </a:t>
            </a: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3000" b="0" i="0" u="none" strike="noStrike" kern="1200" cap="none" spc="0" normalizeH="0" baseline="0" noProof="0" dirty="0">
              <a:ln>
                <a:noFill/>
              </a:ln>
              <a:solidFill>
                <a:srgbClr val="2F2F2F">
                  <a:lumMod val="90000"/>
                  <a:lumOff val="10000"/>
                </a:srgbClr>
              </a:solidFill>
              <a:effectLst/>
              <a:uLnTx/>
              <a:uFillTx/>
              <a:latin typeface="Arial"/>
              <a:ea typeface="+mn-ea"/>
              <a:cs typeface="Arial" panose="020B0604020202020204" pitchFamily="34" charset="0"/>
            </a:endParaRPr>
          </a:p>
        </p:txBody>
      </p:sp>
      <p:sp>
        <p:nvSpPr>
          <p:cNvPr id="13" name="TextBox 13"/>
          <p:cNvSpPr txBox="1"/>
          <p:nvPr/>
        </p:nvSpPr>
        <p:spPr>
          <a:xfrm>
            <a:off x="-2" y="1046466"/>
            <a:ext cx="18288002" cy="1052468"/>
          </a:xfrm>
          <a:prstGeom prst="rect">
            <a:avLst/>
          </a:prstGeom>
        </p:spPr>
        <p:txBody>
          <a:bodyPr wrap="square" lIns="0" tIns="0" rIns="0" bIns="0" rtlCol="0" anchor="t">
            <a:spAutoFit/>
          </a:bodyPr>
          <a:lstStyle/>
          <a:p>
            <a:pPr marL="0" marR="0" lvl="0" indent="0" algn="ctr" defTabSz="914400" rtl="0" eaLnBrk="1" fontAlgn="auto" latinLnBrk="0" hangingPunct="1">
              <a:lnSpc>
                <a:spcPts val="8960"/>
              </a:lnSpc>
              <a:spcBef>
                <a:spcPct val="0"/>
              </a:spcBef>
              <a:spcAft>
                <a:spcPts val="0"/>
              </a:spcAft>
              <a:buClrTx/>
              <a:buSzTx/>
              <a:buFontTx/>
              <a:buNone/>
              <a:tabLst/>
              <a:defRPr/>
            </a:pPr>
            <a:r>
              <a:rPr kumimoji="0" lang="en-US" sz="6400" b="1" i="0" u="none" strike="noStrike" kern="1200" cap="none" spc="0" normalizeH="0" baseline="0" noProof="0" dirty="0">
                <a:ln>
                  <a:noFill/>
                </a:ln>
                <a:solidFill>
                  <a:srgbClr val="CC0033"/>
                </a:solidFill>
                <a:effectLst/>
                <a:uLnTx/>
                <a:uFillTx/>
                <a:latin typeface="Arial"/>
                <a:ea typeface="+mn-ea"/>
                <a:cs typeface="Arial" panose="020B0604020202020204" pitchFamily="34" charset="0"/>
              </a:rPr>
              <a:t>The pathway to commercialization</a:t>
            </a:r>
          </a:p>
        </p:txBody>
      </p:sp>
      <p:sp>
        <p:nvSpPr>
          <p:cNvPr id="22" name="Rettangolo 65">
            <a:extLst>
              <a:ext uri="{FF2B5EF4-FFF2-40B4-BE49-F238E27FC236}">
                <a16:creationId xmlns:a16="http://schemas.microsoft.com/office/drawing/2014/main" id="{DB60361B-40EC-1542-B2E1-989026C681C7}"/>
              </a:ext>
            </a:extLst>
          </p:cNvPr>
          <p:cNvSpPr/>
          <p:nvPr/>
        </p:nvSpPr>
        <p:spPr>
          <a:xfrm>
            <a:off x="-2" y="-13652"/>
            <a:ext cx="18288002" cy="604916"/>
          </a:xfrm>
          <a:prstGeom prst="rect">
            <a:avLst/>
          </a:prstGeom>
          <a:solidFill>
            <a:srgbClr val="CC00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TextBox 13">
            <a:extLst>
              <a:ext uri="{FF2B5EF4-FFF2-40B4-BE49-F238E27FC236}">
                <a16:creationId xmlns:a16="http://schemas.microsoft.com/office/drawing/2014/main" id="{DE008883-2897-9835-FC48-2BF75FBB8F2F}"/>
              </a:ext>
            </a:extLst>
          </p:cNvPr>
          <p:cNvSpPr txBox="1"/>
          <p:nvPr/>
        </p:nvSpPr>
        <p:spPr>
          <a:xfrm>
            <a:off x="0" y="1905250"/>
            <a:ext cx="18287999" cy="2148217"/>
          </a:xfrm>
          <a:prstGeom prst="rect">
            <a:avLst/>
          </a:prstGeom>
        </p:spPr>
        <p:txBody>
          <a:bodyPr wrap="square" lIns="0" tIns="0" rIns="0" bIns="0" rtlCol="0" anchor="ctr">
            <a:spAutoFit/>
          </a:bodyPr>
          <a:lstStyle/>
          <a:p>
            <a:pPr marL="0" marR="0" lvl="0" indent="0" algn="ctr" defTabSz="914400" rtl="0" eaLnBrk="1" fontAlgn="auto" latinLnBrk="0" hangingPunct="1">
              <a:lnSpc>
                <a:spcPts val="8960"/>
              </a:lnSpc>
              <a:spcBef>
                <a:spcPct val="0"/>
              </a:spcBef>
              <a:spcAft>
                <a:spcPts val="0"/>
              </a:spcAft>
              <a:buClrTx/>
              <a:buSzTx/>
              <a:buFontTx/>
              <a:buNone/>
              <a:tabLst/>
              <a:defRPr/>
            </a:pPr>
            <a:r>
              <a:rPr kumimoji="0" lang="en-US" sz="4400" b="1" i="0" u="none" strike="noStrike" kern="1200" cap="none" spc="0" normalizeH="0" baseline="0" noProof="0" dirty="0">
                <a:ln>
                  <a:noFill/>
                </a:ln>
                <a:solidFill>
                  <a:srgbClr val="CC0033"/>
                </a:solidFill>
                <a:effectLst/>
                <a:uLnTx/>
                <a:uFillTx/>
                <a:latin typeface="Arial"/>
                <a:ea typeface="+mn-ea"/>
                <a:cs typeface="Arial" panose="020B0604020202020204" pitchFamily="34" charset="0"/>
              </a:rPr>
              <a:t>Barriers</a:t>
            </a:r>
          </a:p>
          <a:p>
            <a:pPr marL="0" marR="0" lvl="0" indent="0" algn="ctr" defTabSz="914400" rtl="0" eaLnBrk="1" fontAlgn="auto" latinLnBrk="0" hangingPunct="1">
              <a:lnSpc>
                <a:spcPts val="8960"/>
              </a:lnSpc>
              <a:spcBef>
                <a:spcPct val="0"/>
              </a:spcBef>
              <a:spcAft>
                <a:spcPts val="0"/>
              </a:spcAft>
              <a:buClrTx/>
              <a:buSzTx/>
              <a:buFontTx/>
              <a:buNone/>
              <a:tabLst/>
              <a:defRPr/>
            </a:pPr>
            <a:endParaRPr kumimoji="0" lang="en-US" sz="4400" b="1" i="0" u="none" strike="noStrike" kern="1200" cap="none" spc="0" normalizeH="0" baseline="0" noProof="0" dirty="0">
              <a:ln>
                <a:noFill/>
              </a:ln>
              <a:solidFill>
                <a:srgbClr val="CC0033"/>
              </a:solidFill>
              <a:effectLst/>
              <a:uLnTx/>
              <a:uFillTx/>
              <a:latin typeface="Arial"/>
              <a:ea typeface="+mn-ea"/>
              <a:cs typeface="Arial" panose="020B0604020202020204" pitchFamily="34" charset="0"/>
            </a:endParaRPr>
          </a:p>
        </p:txBody>
      </p:sp>
      <p:pic>
        <p:nvPicPr>
          <p:cNvPr id="1026" name="Picture 2" descr="Legislación - Iconos gratis de seguridad">
            <a:extLst>
              <a:ext uri="{FF2B5EF4-FFF2-40B4-BE49-F238E27FC236}">
                <a16:creationId xmlns:a16="http://schemas.microsoft.com/office/drawing/2014/main" id="{1FF6B976-ACA0-5FBC-8EB5-C724C910F00B}"/>
              </a:ext>
            </a:extLst>
          </p:cNvPr>
          <p:cNvPicPr>
            <a:picLocks noChangeAspect="1" noChangeArrowheads="1"/>
          </p:cNvPicPr>
          <p:nvPr/>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50371" y="4337930"/>
            <a:ext cx="2438400" cy="2438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06809212"/>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p:cNvGrpSpPr/>
          <p:nvPr/>
        </p:nvGrpSpPr>
        <p:grpSpPr>
          <a:xfrm>
            <a:off x="4329156" y="9695736"/>
            <a:ext cx="13958844" cy="666567"/>
            <a:chOff x="4329156" y="9649198"/>
            <a:chExt cx="13958844" cy="666567"/>
          </a:xfrm>
        </p:grpSpPr>
        <p:pic>
          <p:nvPicPr>
            <p:cNvPr id="18" name="Picture 12"/>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19" name="TextBox 16"/>
            <p:cNvSpPr txBox="1"/>
            <p:nvPr/>
          </p:nvSpPr>
          <p:spPr>
            <a:xfrm>
              <a:off x="14400029" y="9732291"/>
              <a:ext cx="3636320" cy="448713"/>
            </a:xfrm>
            <a:prstGeom prst="rect">
              <a:avLst/>
            </a:prstGeom>
          </p:spPr>
          <p:txBody>
            <a:bodyPr wrap="square" lIns="0" tIns="0" rIns="0" bIns="0" rtlCol="0" anchor="t">
              <a:spAutoFit/>
            </a:bodyPr>
            <a:lstStyle/>
            <a:p>
              <a:pPr marL="0" marR="0" lvl="0" indent="0" algn="ctr" defTabSz="914400" rtl="0" eaLnBrk="1" fontAlgn="auto" latinLnBrk="0" hangingPunct="1">
                <a:lnSpc>
                  <a:spcPts val="3920"/>
                </a:lnSpc>
                <a:spcBef>
                  <a:spcPct val="0"/>
                </a:spcBef>
                <a:spcAft>
                  <a:spcPts val="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OCR A Extended" panose="02010509020102010303" pitchFamily="50" charset="0"/>
                  <a:ea typeface="+mn-ea"/>
                  <a:cs typeface="+mn-cs"/>
                </a:rPr>
                <a:t>www.retrofeed.eu</a:t>
              </a:r>
            </a:p>
          </p:txBody>
        </p:sp>
      </p:grpSp>
      <p:pic>
        <p:nvPicPr>
          <p:cNvPr id="20" name="Picture 12"/>
          <p:cNvPicPr>
            <a:picLocks noChangeAspect="1"/>
          </p:cNvPicPr>
          <p:nvPr/>
        </p:nvPicPr>
        <p:blipFill>
          <a:blip r:embed="rId4"/>
          <a:srcRect/>
          <a:stretch>
            <a:fillRect/>
          </a:stretch>
        </p:blipFill>
        <p:spPr>
          <a:xfrm>
            <a:off x="0" y="8901113"/>
            <a:ext cx="5715000" cy="1385887"/>
          </a:xfrm>
          <a:prstGeom prst="rect">
            <a:avLst/>
          </a:prstGeom>
        </p:spPr>
      </p:pic>
      <p:sp>
        <p:nvSpPr>
          <p:cNvPr id="15" name="TextBox 14"/>
          <p:cNvSpPr txBox="1"/>
          <p:nvPr/>
        </p:nvSpPr>
        <p:spPr>
          <a:xfrm>
            <a:off x="2819401" y="3565712"/>
            <a:ext cx="15087600" cy="5386090"/>
          </a:xfrm>
          <a:prstGeom prst="rect">
            <a:avLst/>
          </a:prstGeom>
        </p:spPr>
        <p:txBody>
          <a:bodyPr wrap="square" lIns="0" tIns="0" rIns="0" bIns="0" rtlCol="0" anchor="t">
            <a:spAutoFit/>
          </a:bodyPr>
          <a:lstStyle/>
          <a:p>
            <a:pPr marL="457200" marR="0" lvl="0" indent="-4572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3000" b="1" i="0" u="none" strike="noStrike" kern="1200" cap="none" spc="0" normalizeH="0" baseline="0" noProof="0" dirty="0">
                <a:ln>
                  <a:noFill/>
                </a:ln>
                <a:solidFill>
                  <a:srgbClr val="CC0033"/>
                </a:solidFill>
                <a:effectLst/>
                <a:uLnTx/>
                <a:uFillTx/>
                <a:latin typeface="Arial"/>
                <a:ea typeface="+mn-ea"/>
                <a:cs typeface="Arial" panose="020B0604020202020204" pitchFamily="34" charset="0"/>
              </a:rPr>
              <a:t>Functional</a:t>
            </a:r>
          </a:p>
          <a:p>
            <a:pPr marL="914400" marR="0" lvl="1" indent="-4572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3000" b="0" i="0" u="none" strike="noStrike" kern="1200" cap="none" spc="0" normalizeH="0" baseline="0" noProof="0" dirty="0">
                <a:ln>
                  <a:noFill/>
                </a:ln>
                <a:solidFill>
                  <a:srgbClr val="2F2F2F">
                    <a:lumMod val="90000"/>
                    <a:lumOff val="10000"/>
                  </a:srgbClr>
                </a:solidFill>
                <a:effectLst/>
                <a:uLnTx/>
                <a:uFillTx/>
                <a:latin typeface="Arial"/>
                <a:ea typeface="+mn-ea"/>
                <a:cs typeface="Arial" panose="020B0604020202020204" pitchFamily="34" charset="0"/>
              </a:rPr>
              <a:t>Joint ownership of partners with different geographical location</a:t>
            </a:r>
          </a:p>
          <a:p>
            <a:pPr marL="914400" marR="0" lvl="1" indent="-4572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3000" b="0" i="0" u="none" strike="noStrike" kern="1200" cap="none" spc="0" normalizeH="0" baseline="0" noProof="0" dirty="0">
                <a:ln>
                  <a:noFill/>
                </a:ln>
                <a:solidFill>
                  <a:srgbClr val="2F2F2F">
                    <a:lumMod val="90000"/>
                    <a:lumOff val="10000"/>
                  </a:srgbClr>
                </a:solidFill>
                <a:effectLst/>
                <a:uLnTx/>
                <a:uFillTx/>
                <a:latin typeface="Arial"/>
                <a:ea typeface="+mn-ea"/>
                <a:cs typeface="Arial" panose="020B0604020202020204" pitchFamily="34" charset="0"/>
              </a:rPr>
              <a:t>Developments from research centers are difficult to be exploited</a:t>
            </a:r>
          </a:p>
          <a:p>
            <a:pPr marL="914400" marR="0" lvl="1" indent="-4572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3000" b="0" i="0" u="none" strike="noStrike" kern="1200" cap="none" spc="0" normalizeH="0" baseline="0" noProof="0" dirty="0">
                <a:ln>
                  <a:noFill/>
                </a:ln>
                <a:solidFill>
                  <a:srgbClr val="2F2F2F">
                    <a:lumMod val="90000"/>
                    <a:lumOff val="10000"/>
                  </a:srgbClr>
                </a:solidFill>
                <a:effectLst/>
                <a:uLnTx/>
                <a:uFillTx/>
                <a:latin typeface="Arial"/>
                <a:ea typeface="+mn-ea"/>
                <a:cs typeface="Arial" panose="020B0604020202020204" pitchFamily="34" charset="0"/>
              </a:rPr>
              <a:t>Demo sites need results of large trials to implement R&amp;D solutions</a:t>
            </a:r>
          </a:p>
          <a:p>
            <a:pPr marL="457200" marR="0" lvl="0" indent="-4572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3000" b="1" i="0" u="none" strike="noStrike" kern="1200" cap="none" spc="0" normalizeH="0" baseline="0" noProof="0" dirty="0">
                <a:ln>
                  <a:noFill/>
                </a:ln>
                <a:solidFill>
                  <a:srgbClr val="CC0033"/>
                </a:solidFill>
                <a:effectLst/>
                <a:uLnTx/>
                <a:uFillTx/>
                <a:latin typeface="Arial"/>
                <a:ea typeface="+mn-ea"/>
                <a:cs typeface="Arial" panose="020B0604020202020204" pitchFamily="34" charset="0"/>
              </a:rPr>
              <a:t>Technical</a:t>
            </a:r>
          </a:p>
          <a:p>
            <a:pPr marL="914400" marR="0" lvl="1" indent="-4572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3000" b="0" i="0" u="none" strike="noStrike" kern="1200" cap="none" spc="0" normalizeH="0" baseline="0" noProof="0" dirty="0">
                <a:ln>
                  <a:noFill/>
                </a:ln>
                <a:solidFill>
                  <a:srgbClr val="2F2F2F">
                    <a:lumMod val="90000"/>
                    <a:lumOff val="10000"/>
                  </a:srgbClr>
                </a:solidFill>
                <a:effectLst/>
                <a:uLnTx/>
                <a:uFillTx/>
                <a:latin typeface="Arial"/>
                <a:ea typeface="+mn-ea"/>
                <a:cs typeface="Arial" panose="020B0604020202020204" pitchFamily="34" charset="0"/>
              </a:rPr>
              <a:t>Demo sites need results of large trials to implement R&amp;D solutions</a:t>
            </a:r>
          </a:p>
          <a:p>
            <a:pPr marL="914400" marR="0" lvl="1" indent="-4572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3000" b="0" i="0" u="none" strike="noStrike" kern="1200" cap="none" spc="0" normalizeH="0" baseline="0" noProof="0" dirty="0">
                <a:ln>
                  <a:noFill/>
                </a:ln>
                <a:solidFill>
                  <a:srgbClr val="2F2F2F">
                    <a:lumMod val="90000"/>
                    <a:lumOff val="10000"/>
                  </a:srgbClr>
                </a:solidFill>
                <a:effectLst/>
                <a:uLnTx/>
                <a:uFillTx/>
                <a:latin typeface="Arial"/>
                <a:ea typeface="+mn-ea"/>
                <a:cs typeface="Arial" panose="020B0604020202020204" pitchFamily="34" charset="0"/>
              </a:rPr>
              <a:t>Adaption of installation are needed with a high cost</a:t>
            </a:r>
          </a:p>
          <a:p>
            <a:pPr marL="914400" marR="0" lvl="1" indent="-4572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3000" b="0" i="0" u="none" strike="noStrike" kern="1200" cap="none" spc="0" normalizeH="0" baseline="0" noProof="0" dirty="0">
                <a:ln>
                  <a:noFill/>
                </a:ln>
                <a:solidFill>
                  <a:srgbClr val="2F2F2F">
                    <a:lumMod val="90000"/>
                    <a:lumOff val="10000"/>
                  </a:srgbClr>
                </a:solidFill>
                <a:effectLst/>
                <a:uLnTx/>
                <a:uFillTx/>
                <a:latin typeface="Arial"/>
                <a:ea typeface="+mn-ea"/>
                <a:cs typeface="Arial" panose="020B0604020202020204" pitchFamily="34" charset="0"/>
              </a:rPr>
              <a:t>Availability of resources in substantial volumes to support the production processes</a:t>
            </a:r>
          </a:p>
          <a:p>
            <a:pPr marL="914400" marR="0" lvl="1" indent="-4572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3000" b="0" i="0" u="none" strike="noStrike" kern="1200" cap="none" spc="0" normalizeH="0" baseline="0" noProof="0" dirty="0">
                <a:ln>
                  <a:noFill/>
                </a:ln>
                <a:solidFill>
                  <a:srgbClr val="2F2F2F">
                    <a:lumMod val="90000"/>
                    <a:lumOff val="10000"/>
                  </a:srgbClr>
                </a:solidFill>
                <a:effectLst/>
                <a:uLnTx/>
                <a:uFillTx/>
                <a:latin typeface="Arial"/>
                <a:ea typeface="+mn-ea"/>
                <a:cs typeface="Arial" panose="020B0604020202020204" pitchFamily="34" charset="0"/>
              </a:rPr>
              <a:t>Variability of alternative raw materials, in terms of their chemical composition</a:t>
            </a:r>
          </a:p>
        </p:txBody>
      </p:sp>
      <p:sp>
        <p:nvSpPr>
          <p:cNvPr id="13" name="TextBox 13"/>
          <p:cNvSpPr txBox="1"/>
          <p:nvPr/>
        </p:nvSpPr>
        <p:spPr>
          <a:xfrm>
            <a:off x="-2" y="1046466"/>
            <a:ext cx="18288002" cy="1052468"/>
          </a:xfrm>
          <a:prstGeom prst="rect">
            <a:avLst/>
          </a:prstGeom>
        </p:spPr>
        <p:txBody>
          <a:bodyPr wrap="square" lIns="0" tIns="0" rIns="0" bIns="0" rtlCol="0" anchor="t">
            <a:spAutoFit/>
          </a:bodyPr>
          <a:lstStyle/>
          <a:p>
            <a:pPr marL="0" marR="0" lvl="0" indent="0" algn="ctr" defTabSz="914400" rtl="0" eaLnBrk="1" fontAlgn="auto" latinLnBrk="0" hangingPunct="1">
              <a:lnSpc>
                <a:spcPts val="8960"/>
              </a:lnSpc>
              <a:spcBef>
                <a:spcPct val="0"/>
              </a:spcBef>
              <a:spcAft>
                <a:spcPts val="0"/>
              </a:spcAft>
              <a:buClrTx/>
              <a:buSzTx/>
              <a:buFontTx/>
              <a:buNone/>
              <a:tabLst/>
              <a:defRPr/>
            </a:pPr>
            <a:r>
              <a:rPr kumimoji="0" lang="en-US" sz="6400" b="1" i="0" u="none" strike="noStrike" kern="1200" cap="none" spc="0" normalizeH="0" baseline="0" noProof="0" dirty="0">
                <a:ln>
                  <a:noFill/>
                </a:ln>
                <a:solidFill>
                  <a:srgbClr val="CC0033"/>
                </a:solidFill>
                <a:effectLst/>
                <a:uLnTx/>
                <a:uFillTx/>
                <a:latin typeface="Arial"/>
                <a:ea typeface="+mn-ea"/>
                <a:cs typeface="Arial" panose="020B0604020202020204" pitchFamily="34" charset="0"/>
              </a:rPr>
              <a:t>The pathway to commercialization</a:t>
            </a:r>
          </a:p>
        </p:txBody>
      </p:sp>
      <p:sp>
        <p:nvSpPr>
          <p:cNvPr id="22" name="Rettangolo 65">
            <a:extLst>
              <a:ext uri="{FF2B5EF4-FFF2-40B4-BE49-F238E27FC236}">
                <a16:creationId xmlns:a16="http://schemas.microsoft.com/office/drawing/2014/main" id="{DB60361B-40EC-1542-B2E1-989026C681C7}"/>
              </a:ext>
            </a:extLst>
          </p:cNvPr>
          <p:cNvSpPr/>
          <p:nvPr/>
        </p:nvSpPr>
        <p:spPr>
          <a:xfrm>
            <a:off x="-2" y="-13652"/>
            <a:ext cx="18288002" cy="604916"/>
          </a:xfrm>
          <a:prstGeom prst="rect">
            <a:avLst/>
          </a:prstGeom>
          <a:solidFill>
            <a:srgbClr val="CC00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TextBox 13">
            <a:extLst>
              <a:ext uri="{FF2B5EF4-FFF2-40B4-BE49-F238E27FC236}">
                <a16:creationId xmlns:a16="http://schemas.microsoft.com/office/drawing/2014/main" id="{DE008883-2897-9835-FC48-2BF75FBB8F2F}"/>
              </a:ext>
            </a:extLst>
          </p:cNvPr>
          <p:cNvSpPr txBox="1"/>
          <p:nvPr/>
        </p:nvSpPr>
        <p:spPr>
          <a:xfrm>
            <a:off x="0" y="1905250"/>
            <a:ext cx="18287999" cy="2148217"/>
          </a:xfrm>
          <a:prstGeom prst="rect">
            <a:avLst/>
          </a:prstGeom>
        </p:spPr>
        <p:txBody>
          <a:bodyPr wrap="square" lIns="0" tIns="0" rIns="0" bIns="0" rtlCol="0" anchor="ctr">
            <a:spAutoFit/>
          </a:bodyPr>
          <a:lstStyle/>
          <a:p>
            <a:pPr marL="0" marR="0" lvl="0" indent="0" algn="ctr" defTabSz="914400" rtl="0" eaLnBrk="1" fontAlgn="auto" latinLnBrk="0" hangingPunct="1">
              <a:lnSpc>
                <a:spcPts val="8960"/>
              </a:lnSpc>
              <a:spcBef>
                <a:spcPct val="0"/>
              </a:spcBef>
              <a:spcAft>
                <a:spcPts val="0"/>
              </a:spcAft>
              <a:buClrTx/>
              <a:buSzTx/>
              <a:buFontTx/>
              <a:buNone/>
              <a:tabLst/>
              <a:defRPr/>
            </a:pPr>
            <a:r>
              <a:rPr kumimoji="0" lang="en-US" sz="4400" b="1" i="0" u="none" strike="noStrike" kern="1200" cap="none" spc="0" normalizeH="0" baseline="0" noProof="0" dirty="0">
                <a:ln>
                  <a:noFill/>
                </a:ln>
                <a:solidFill>
                  <a:srgbClr val="CC0033"/>
                </a:solidFill>
                <a:effectLst/>
                <a:uLnTx/>
                <a:uFillTx/>
                <a:latin typeface="Arial"/>
                <a:ea typeface="+mn-ea"/>
                <a:cs typeface="Arial" panose="020B0604020202020204" pitchFamily="34" charset="0"/>
              </a:rPr>
              <a:t>Barriers</a:t>
            </a:r>
          </a:p>
          <a:p>
            <a:pPr marL="0" marR="0" lvl="0" indent="0" algn="ctr" defTabSz="914400" rtl="0" eaLnBrk="1" fontAlgn="auto" latinLnBrk="0" hangingPunct="1">
              <a:lnSpc>
                <a:spcPts val="8960"/>
              </a:lnSpc>
              <a:spcBef>
                <a:spcPct val="0"/>
              </a:spcBef>
              <a:spcAft>
                <a:spcPts val="0"/>
              </a:spcAft>
              <a:buClrTx/>
              <a:buSzTx/>
              <a:buFontTx/>
              <a:buNone/>
              <a:tabLst/>
              <a:defRPr/>
            </a:pPr>
            <a:endParaRPr kumimoji="0" lang="en-US" sz="4400" b="1" i="0" u="none" strike="noStrike" kern="1200" cap="none" spc="0" normalizeH="0" baseline="0" noProof="0" dirty="0">
              <a:ln>
                <a:noFill/>
              </a:ln>
              <a:solidFill>
                <a:srgbClr val="CC0033"/>
              </a:solidFill>
              <a:effectLst/>
              <a:uLnTx/>
              <a:uFillTx/>
              <a:latin typeface="Arial"/>
              <a:ea typeface="+mn-ea"/>
              <a:cs typeface="Arial" panose="020B0604020202020204" pitchFamily="34" charset="0"/>
            </a:endParaRPr>
          </a:p>
        </p:txBody>
      </p:sp>
      <p:pic>
        <p:nvPicPr>
          <p:cNvPr id="2050" name="Picture 2" descr="Technical Support Detailed Rounded Lineal icon">
            <a:extLst>
              <a:ext uri="{FF2B5EF4-FFF2-40B4-BE49-F238E27FC236}">
                <a16:creationId xmlns:a16="http://schemas.microsoft.com/office/drawing/2014/main" id="{FD2CC69D-B77D-AC95-47D1-6D28CFFED33A}"/>
              </a:ext>
            </a:extLst>
          </p:cNvPr>
          <p:cNvPicPr>
            <a:picLocks noChangeAspect="1" noChangeArrowheads="1"/>
          </p:cNvPicPr>
          <p:nvPr/>
        </p:nvPicPr>
        <p:blipFill>
          <a:blip r:embed="rId5"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07416" y="6819920"/>
            <a:ext cx="1556387" cy="1556387"/>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Barrier - Free construction and tools icons">
            <a:extLst>
              <a:ext uri="{FF2B5EF4-FFF2-40B4-BE49-F238E27FC236}">
                <a16:creationId xmlns:a16="http://schemas.microsoft.com/office/drawing/2014/main" id="{1F95601F-59B4-1893-4CED-FFFA316E0FBB}"/>
              </a:ext>
            </a:extLst>
          </p:cNvPr>
          <p:cNvPicPr>
            <a:picLocks noChangeAspect="1" noChangeArrowheads="1"/>
          </p:cNvPicPr>
          <p:nvPr/>
        </p:nvPicPr>
        <p:blipFill>
          <a:blip r:embed="rId6"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48938" y="4379035"/>
            <a:ext cx="1262468" cy="12624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1292840"/>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1" descr="A map of europe with different colored circles&#10;&#10;Description automatically generated">
            <a:extLst>
              <a:ext uri="{FF2B5EF4-FFF2-40B4-BE49-F238E27FC236}">
                <a16:creationId xmlns:a16="http://schemas.microsoft.com/office/drawing/2014/main" id="{179A1529-6E97-43F0-A49D-3EF6F90B01B4}"/>
              </a:ext>
            </a:extLst>
          </p:cNvPr>
          <p:cNvPicPr>
            <a:picLocks noChangeAspect="1"/>
          </p:cNvPicPr>
          <p:nvPr/>
        </p:nvPicPr>
        <p:blipFill>
          <a:blip r:embed="rId3"/>
          <a:stretch>
            <a:fillRect/>
          </a:stretch>
        </p:blipFill>
        <p:spPr>
          <a:xfrm>
            <a:off x="9518463" y="1896849"/>
            <a:ext cx="7140242" cy="7153921"/>
          </a:xfrm>
          <a:prstGeom prst="rect">
            <a:avLst/>
          </a:prstGeom>
        </p:spPr>
      </p:pic>
      <p:pic>
        <p:nvPicPr>
          <p:cNvPr id="131" name="Picture 12">
            <a:extLst>
              <a:ext uri="{FF2B5EF4-FFF2-40B4-BE49-F238E27FC236}">
                <a16:creationId xmlns:a16="http://schemas.microsoft.com/office/drawing/2014/main" id="{43802E0E-B79D-4EA7-8141-0CA3ED138B1A}"/>
              </a:ext>
            </a:extLst>
          </p:cNvPr>
          <p:cNvPicPr>
            <a:picLocks noChangeAspect="1"/>
          </p:cNvPicPr>
          <p:nvPr/>
        </p:nvPicPr>
        <p:blipFill>
          <a:blip r:embed="rId4"/>
          <a:srcRect/>
          <a:stretch>
            <a:fillRect/>
          </a:stretch>
        </p:blipFill>
        <p:spPr>
          <a:xfrm>
            <a:off x="0" y="8959889"/>
            <a:ext cx="5715000" cy="1385887"/>
          </a:xfrm>
          <a:prstGeom prst="rect">
            <a:avLst/>
          </a:prstGeom>
        </p:spPr>
      </p:pic>
      <p:grpSp>
        <p:nvGrpSpPr>
          <p:cNvPr id="132" name="Gruppo 2">
            <a:extLst>
              <a:ext uri="{FF2B5EF4-FFF2-40B4-BE49-F238E27FC236}">
                <a16:creationId xmlns:a16="http://schemas.microsoft.com/office/drawing/2014/main" id="{649928F6-6E82-4611-9715-AD3C75457C28}"/>
              </a:ext>
            </a:extLst>
          </p:cNvPr>
          <p:cNvGrpSpPr/>
          <p:nvPr/>
        </p:nvGrpSpPr>
        <p:grpSpPr>
          <a:xfrm>
            <a:off x="-12" y="138554"/>
            <a:ext cx="18288002" cy="681138"/>
            <a:chOff x="-12" y="138554"/>
            <a:chExt cx="18288002" cy="681138"/>
          </a:xfrm>
        </p:grpSpPr>
        <p:grpSp>
          <p:nvGrpSpPr>
            <p:cNvPr id="133" name="Gruppo 1">
              <a:extLst>
                <a:ext uri="{FF2B5EF4-FFF2-40B4-BE49-F238E27FC236}">
                  <a16:creationId xmlns:a16="http://schemas.microsoft.com/office/drawing/2014/main" id="{A8EB8794-E5C6-45EB-BAEC-2778E982797A}"/>
                </a:ext>
              </a:extLst>
            </p:cNvPr>
            <p:cNvGrpSpPr/>
            <p:nvPr/>
          </p:nvGrpSpPr>
          <p:grpSpPr>
            <a:xfrm>
              <a:off x="0" y="153125"/>
              <a:ext cx="17907000" cy="666567"/>
              <a:chOff x="0" y="153125"/>
              <a:chExt cx="17907000" cy="666567"/>
            </a:xfrm>
          </p:grpSpPr>
          <p:grpSp>
            <p:nvGrpSpPr>
              <p:cNvPr id="135" name="Gruppo 15">
                <a:extLst>
                  <a:ext uri="{FF2B5EF4-FFF2-40B4-BE49-F238E27FC236}">
                    <a16:creationId xmlns:a16="http://schemas.microsoft.com/office/drawing/2014/main" id="{AB129748-9FD7-458D-BD6E-304271C1814A}"/>
                  </a:ext>
                </a:extLst>
              </p:cNvPr>
              <p:cNvGrpSpPr/>
              <p:nvPr/>
            </p:nvGrpSpPr>
            <p:grpSpPr>
              <a:xfrm>
                <a:off x="0" y="153125"/>
                <a:ext cx="13958844" cy="666567"/>
                <a:chOff x="0" y="153125"/>
                <a:chExt cx="13958844" cy="666567"/>
              </a:xfrm>
            </p:grpSpPr>
            <p:pic>
              <p:nvPicPr>
                <p:cNvPr id="137" name="Picture 136">
                  <a:extLst>
                    <a:ext uri="{FF2B5EF4-FFF2-40B4-BE49-F238E27FC236}">
                      <a16:creationId xmlns:a16="http://schemas.microsoft.com/office/drawing/2014/main" id="{88E31CFD-796F-4F3F-A1EC-0E38F9D83456}"/>
                    </a:ext>
                  </a:extLst>
                </p:cNvPr>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38" name="TextBox 137">
                  <a:extLst>
                    <a:ext uri="{FF2B5EF4-FFF2-40B4-BE49-F238E27FC236}">
                      <a16:creationId xmlns:a16="http://schemas.microsoft.com/office/drawing/2014/main" id="{7694DADD-E227-40A7-A98D-244B0D207E54}"/>
                    </a:ext>
                  </a:extLst>
                </p:cNvPr>
                <p:cNvSpPr txBox="1"/>
                <p:nvPr/>
              </p:nvSpPr>
              <p:spPr>
                <a:xfrm>
                  <a:off x="228600" y="257980"/>
                  <a:ext cx="9296400" cy="456856"/>
                </a:xfrm>
                <a:prstGeom prst="rect">
                  <a:avLst/>
                </a:prstGeom>
              </p:spPr>
              <p:txBody>
                <a:bodyPr wrap="square" lIns="0" tIns="0" rIns="0" bIns="0" rtlCol="0" anchor="t">
                  <a:spAutoFit/>
                </a:bodyPr>
                <a:lstStyle/>
                <a:p>
                  <a:pPr marL="0" marR="0" lvl="0" indent="0" algn="l" defTabSz="914400" rtl="0" eaLnBrk="1" fontAlgn="auto" latinLnBrk="0" hangingPunct="1">
                    <a:lnSpc>
                      <a:spcPts val="3919"/>
                    </a:lnSpc>
                    <a:spcBef>
                      <a:spcPct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36" name="TextBox 135">
                <a:extLst>
                  <a:ext uri="{FF2B5EF4-FFF2-40B4-BE49-F238E27FC236}">
                    <a16:creationId xmlns:a16="http://schemas.microsoft.com/office/drawing/2014/main" id="{4B3CCEBB-60EF-4175-9878-F0D51FD80FF0}"/>
                  </a:ext>
                </a:extLst>
              </p:cNvPr>
              <p:cNvSpPr txBox="1"/>
              <p:nvPr/>
            </p:nvSpPr>
            <p:spPr>
              <a:xfrm>
                <a:off x="12154296" y="257980"/>
                <a:ext cx="5752704" cy="456856"/>
              </a:xfrm>
              <a:prstGeom prst="rect">
                <a:avLst/>
              </a:prstGeom>
            </p:spPr>
            <p:txBody>
              <a:bodyPr wrap="square" lIns="0" tIns="0" rIns="0" bIns="0" rtlCol="0" anchor="t">
                <a:spAutoFit/>
              </a:bodyPr>
              <a:lstStyle/>
              <a:p>
                <a:pPr marL="0" marR="0" lvl="0" indent="0" algn="r" defTabSz="914400" rtl="0" eaLnBrk="1" fontAlgn="auto" latinLnBrk="0" hangingPunct="1">
                  <a:lnSpc>
                    <a:spcPts val="3919"/>
                  </a:lnSpc>
                  <a:spcBef>
                    <a:spcPct val="0"/>
                  </a:spcBef>
                  <a:spcAft>
                    <a:spcPts val="0"/>
                  </a:spcAft>
                  <a:buClrTx/>
                  <a:buSzTx/>
                  <a:buFontTx/>
                  <a:buNone/>
                  <a:tabLst/>
                  <a:defRPr/>
                </a:pPr>
                <a:endParaRPr kumimoji="0" lang="en-US" sz="2800" b="0" i="0" u="none" strike="noStrike" kern="1200" cap="none" spc="0" normalizeH="0" baseline="0" noProof="0">
                  <a:ln>
                    <a:noFill/>
                  </a:ln>
                  <a:solidFill>
                    <a:srgbClr val="2F2F2F">
                      <a:lumMod val="75000"/>
                      <a:lumOff val="25000"/>
                    </a:srgbClr>
                  </a:solidFill>
                  <a:effectLst/>
                  <a:uLnTx/>
                  <a:uFillTx/>
                  <a:latin typeface="Arial" panose="020B0604020202020204" pitchFamily="34" charset="0"/>
                  <a:ea typeface="+mn-ea"/>
                  <a:cs typeface="Arial" panose="020B0604020202020204" pitchFamily="34" charset="0"/>
                </a:endParaRPr>
              </a:p>
            </p:txBody>
          </p:sp>
        </p:grpSp>
        <p:sp>
          <p:nvSpPr>
            <p:cNvPr id="134" name="Rettangolo 13">
              <a:extLst>
                <a:ext uri="{FF2B5EF4-FFF2-40B4-BE49-F238E27FC236}">
                  <a16:creationId xmlns:a16="http://schemas.microsoft.com/office/drawing/2014/main" id="{8F0CF2A7-592A-4287-9206-D3289F1B0C37}"/>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pic>
        <p:nvPicPr>
          <p:cNvPr id="139" name="Picture 12">
            <a:extLst>
              <a:ext uri="{FF2B5EF4-FFF2-40B4-BE49-F238E27FC236}">
                <a16:creationId xmlns:a16="http://schemas.microsoft.com/office/drawing/2014/main" id="{F047215A-40D8-4A57-BE02-5E03FCEEBB7B}"/>
              </a:ext>
            </a:extLst>
          </p:cNvPr>
          <p:cNvPicPr>
            <a:picLocks noChangeAspect="1"/>
          </p:cNvPicPr>
          <p:nvPr/>
        </p:nvPicPr>
        <p:blipFill>
          <a:blip r:embed="rId6"/>
          <a:srcRect l="134" t="91287" b="3943"/>
          <a:stretch>
            <a:fillRect/>
          </a:stretch>
        </p:blipFill>
        <p:spPr>
          <a:xfrm rot="10800000">
            <a:off x="4329146" y="9679208"/>
            <a:ext cx="13958844" cy="666567"/>
          </a:xfrm>
          <a:prstGeom prst="rect">
            <a:avLst/>
          </a:prstGeom>
        </p:spPr>
      </p:pic>
      <p:sp>
        <p:nvSpPr>
          <p:cNvPr id="140" name="TextBox 16">
            <a:extLst>
              <a:ext uri="{FF2B5EF4-FFF2-40B4-BE49-F238E27FC236}">
                <a16:creationId xmlns:a16="http://schemas.microsoft.com/office/drawing/2014/main" id="{C693B1DB-897C-4A9D-8CF3-F1423F6CB38D}"/>
              </a:ext>
            </a:extLst>
          </p:cNvPr>
          <p:cNvSpPr txBox="1"/>
          <p:nvPr/>
        </p:nvSpPr>
        <p:spPr>
          <a:xfrm>
            <a:off x="14400019" y="9762301"/>
            <a:ext cx="3636320" cy="448713"/>
          </a:xfrm>
          <a:prstGeom prst="rect">
            <a:avLst/>
          </a:prstGeom>
        </p:spPr>
        <p:txBody>
          <a:bodyPr wrap="square" lIns="0" tIns="0" rIns="0" bIns="0" rtlCol="0" anchor="t">
            <a:spAutoFit/>
          </a:bodyPr>
          <a:lstStyle/>
          <a:p>
            <a:pPr marL="0" marR="0" lvl="0" indent="0" algn="ctr" defTabSz="914400" rtl="0" eaLnBrk="1" fontAlgn="auto" latinLnBrk="0" hangingPunct="1">
              <a:lnSpc>
                <a:spcPts val="3919"/>
              </a:lnSpc>
              <a:spcBef>
                <a:spcPct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OCR A Extended" panose="02010509020102010303" pitchFamily="50" charset="0"/>
                <a:ea typeface="+mn-ea"/>
                <a:cs typeface="+mn-cs"/>
              </a:rPr>
              <a:t>www.retrofeed.eu</a:t>
            </a:r>
          </a:p>
        </p:txBody>
      </p:sp>
      <p:sp>
        <p:nvSpPr>
          <p:cNvPr id="4" name="TextBox 3">
            <a:extLst>
              <a:ext uri="{FF2B5EF4-FFF2-40B4-BE49-F238E27FC236}">
                <a16:creationId xmlns:a16="http://schemas.microsoft.com/office/drawing/2014/main" id="{E2A6C351-D084-461B-85B4-078A69C47372}"/>
              </a:ext>
            </a:extLst>
          </p:cNvPr>
          <p:cNvSpPr txBox="1"/>
          <p:nvPr/>
        </p:nvSpPr>
        <p:spPr>
          <a:xfrm>
            <a:off x="350519" y="1018656"/>
            <a:ext cx="18552623" cy="76944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400" b="1" i="0" u="none" strike="noStrike" kern="1200" cap="none" spc="0" normalizeH="0" baseline="0" noProof="0" dirty="0" err="1">
                <a:ln>
                  <a:noFill/>
                </a:ln>
                <a:solidFill>
                  <a:srgbClr val="CC0033"/>
                </a:solidFill>
                <a:effectLst/>
                <a:uLnTx/>
                <a:uFillTx/>
                <a:latin typeface="Arial"/>
                <a:ea typeface="+mn-ea"/>
                <a:cs typeface="Arial" panose="020B0604020202020204" pitchFamily="34" charset="0"/>
              </a:rPr>
              <a:t>Aluminum</a:t>
            </a:r>
            <a:r>
              <a:rPr kumimoji="0" lang="en-GB" sz="4400" b="1" i="0" u="none" strike="noStrike" kern="1200" cap="none" spc="0" normalizeH="0" baseline="0" noProof="0" dirty="0">
                <a:ln>
                  <a:noFill/>
                </a:ln>
                <a:solidFill>
                  <a:srgbClr val="CC0033"/>
                </a:solidFill>
                <a:effectLst/>
                <a:uLnTx/>
                <a:uFillTx/>
                <a:latin typeface="Arial"/>
                <a:ea typeface="+mn-ea"/>
                <a:cs typeface="Arial" panose="020B0604020202020204" pitchFamily="34" charset="0"/>
              </a:rPr>
              <a:t> Sector Situation &amp; Replicability</a:t>
            </a:r>
            <a:endParaRPr kumimoji="0" lang="sv-SE" sz="4400" b="1" i="0" u="none" strike="noStrike" kern="1200" cap="none" spc="0" normalizeH="0" baseline="0" noProof="0" dirty="0">
              <a:ln>
                <a:noFill/>
              </a:ln>
              <a:solidFill>
                <a:srgbClr val="CC0033"/>
              </a:solidFill>
              <a:effectLst/>
              <a:uLnTx/>
              <a:uFillTx/>
              <a:latin typeface="Arial"/>
              <a:ea typeface="+mn-ea"/>
              <a:cs typeface="Arial" panose="020B0604020202020204" pitchFamily="34" charset="0"/>
            </a:endParaRPr>
          </a:p>
        </p:txBody>
      </p:sp>
      <p:pic>
        <p:nvPicPr>
          <p:cNvPr id="3" name="Imagen 113">
            <a:extLst>
              <a:ext uri="{FF2B5EF4-FFF2-40B4-BE49-F238E27FC236}">
                <a16:creationId xmlns:a16="http://schemas.microsoft.com/office/drawing/2014/main" id="{1DF956C5-D1D8-8E53-883B-2FE778214AC6}"/>
              </a:ext>
            </a:extLst>
          </p:cNvPr>
          <p:cNvPicPr>
            <a:picLocks noChangeAspect="1"/>
          </p:cNvPicPr>
          <p:nvPr/>
        </p:nvPicPr>
        <p:blipFill rotWithShape="1">
          <a:blip r:embed="rId7"/>
          <a:srcRect r="7132" b="12033"/>
          <a:stretch/>
        </p:blipFill>
        <p:spPr>
          <a:xfrm>
            <a:off x="15877308" y="288073"/>
            <a:ext cx="2410681" cy="912324"/>
          </a:xfrm>
          <a:prstGeom prst="rect">
            <a:avLst/>
          </a:prstGeom>
        </p:spPr>
      </p:pic>
      <p:sp>
        <p:nvSpPr>
          <p:cNvPr id="2" name="Platshållare för innehåll 2">
            <a:extLst>
              <a:ext uri="{FF2B5EF4-FFF2-40B4-BE49-F238E27FC236}">
                <a16:creationId xmlns:a16="http://schemas.microsoft.com/office/drawing/2014/main" id="{E326ED3E-7F7B-6D67-3818-1C11AA6EFBE3}"/>
              </a:ext>
            </a:extLst>
          </p:cNvPr>
          <p:cNvSpPr txBox="1">
            <a:spLocks/>
          </p:cNvSpPr>
          <p:nvPr/>
        </p:nvSpPr>
        <p:spPr>
          <a:xfrm>
            <a:off x="510802" y="2142606"/>
            <a:ext cx="8766202" cy="3626427"/>
          </a:xfrm>
          <a:prstGeom prst="rect">
            <a:avLst/>
          </a:prstGeom>
        </p:spPr>
        <p:txBody>
          <a:bodyPr>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000" dirty="0"/>
              <a:t>More than 600 plants in EU, EFTA, UK and Turkey, contributing to covering a demand of 9 million tons per year that is foreseen to grow up to 18 million tons per year in 2050. </a:t>
            </a:r>
          </a:p>
          <a:p>
            <a:r>
              <a:rPr lang="en-US" sz="2000" dirty="0"/>
              <a:t>The most important EU Member States are Germany (554 thousand tons/y), France (433 thousand tons/y) and Spain (401 thousand tons/y).</a:t>
            </a:r>
          </a:p>
          <a:p>
            <a:r>
              <a:rPr lang="en-US" sz="2000" dirty="0"/>
              <a:t>1 ton of aluminum is responsible of GHG emissions for 6.8 tCO2e in EU</a:t>
            </a:r>
          </a:p>
          <a:p>
            <a:pPr marL="0" indent="0">
              <a:buNone/>
            </a:pPr>
            <a:r>
              <a:rPr lang="en-US" sz="2000" dirty="0">
                <a:sym typeface="Wingdings" panose="05000000000000000000" pitchFamily="2" charset="2"/>
              </a:rPr>
              <a:t>	</a:t>
            </a:r>
            <a:r>
              <a:rPr lang="en-US" sz="2000" dirty="0"/>
              <a:t> Total GHG emissions for the EU production ~292 million tCO2e/y.</a:t>
            </a:r>
          </a:p>
          <a:p>
            <a:pPr marL="0" indent="0">
              <a:buNone/>
            </a:pPr>
            <a:endParaRPr lang="sv-SE" dirty="0"/>
          </a:p>
          <a:p>
            <a:pPr marL="0" indent="0">
              <a:buNone/>
            </a:pPr>
            <a:endParaRPr lang="sv-SE" dirty="0"/>
          </a:p>
        </p:txBody>
      </p:sp>
      <p:sp>
        <p:nvSpPr>
          <p:cNvPr id="6" name="textruta 5">
            <a:extLst>
              <a:ext uri="{FF2B5EF4-FFF2-40B4-BE49-F238E27FC236}">
                <a16:creationId xmlns:a16="http://schemas.microsoft.com/office/drawing/2014/main" id="{80DF19A3-1431-9C58-0EE1-E72D8BC9B22D}"/>
              </a:ext>
            </a:extLst>
          </p:cNvPr>
          <p:cNvSpPr txBox="1"/>
          <p:nvPr/>
        </p:nvSpPr>
        <p:spPr>
          <a:xfrm>
            <a:off x="9145039" y="8997981"/>
            <a:ext cx="9144000" cy="646331"/>
          </a:xfrm>
          <a:prstGeom prst="rect">
            <a:avLst/>
          </a:prstGeom>
          <a:noFill/>
        </p:spPr>
        <p:txBody>
          <a:bodyPr wrap="square">
            <a:spAutoFit/>
          </a:bodyPr>
          <a:lstStyle/>
          <a:p>
            <a:pPr>
              <a:spcBef>
                <a:spcPts val="600"/>
              </a:spcBef>
              <a:spcAft>
                <a:spcPts val="600"/>
              </a:spcAft>
            </a:pPr>
            <a:r>
              <a:rPr lang="en-GB" sz="1800" i="1" kern="100" dirty="0">
                <a:solidFill>
                  <a:srgbClr val="404040"/>
                </a:solidFill>
                <a:effectLst/>
                <a:latin typeface="Liberation Serif"/>
                <a:ea typeface="Noto Sans CJK SC"/>
                <a:cs typeface="Lohit Devanagari"/>
              </a:rPr>
              <a:t>Map </a:t>
            </a:r>
            <a:r>
              <a:rPr lang="en-GB" i="1" kern="100" dirty="0">
                <a:solidFill>
                  <a:srgbClr val="404040"/>
                </a:solidFill>
                <a:latin typeface="Liberation Serif"/>
              </a:rPr>
              <a:t>of Aluminium Plants in the EU. </a:t>
            </a:r>
            <a:r>
              <a:rPr lang="en-US" i="1" kern="100" dirty="0">
                <a:solidFill>
                  <a:srgbClr val="404040"/>
                </a:solidFill>
                <a:latin typeface="Liberation Serif"/>
              </a:rPr>
              <a:t>alumina plants in grey, primary aluminum plants in light blue, extrusion plants in purple, rolling plants in yellow and recycling plants in green</a:t>
            </a:r>
            <a:endParaRPr lang="sv-SE" i="1" kern="100" dirty="0">
              <a:solidFill>
                <a:srgbClr val="404040"/>
              </a:solidFill>
              <a:latin typeface="Liberation Serif"/>
            </a:endParaRPr>
          </a:p>
        </p:txBody>
      </p:sp>
      <p:sp>
        <p:nvSpPr>
          <p:cNvPr id="8" name="textruta 7">
            <a:extLst>
              <a:ext uri="{FF2B5EF4-FFF2-40B4-BE49-F238E27FC236}">
                <a16:creationId xmlns:a16="http://schemas.microsoft.com/office/drawing/2014/main" id="{B7306508-6EF7-50F5-83E3-36A1A4D12BFB}"/>
              </a:ext>
            </a:extLst>
          </p:cNvPr>
          <p:cNvSpPr txBox="1"/>
          <p:nvPr/>
        </p:nvSpPr>
        <p:spPr>
          <a:xfrm>
            <a:off x="504978" y="6844335"/>
            <a:ext cx="7712708" cy="666568"/>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sv-SE" sz="1800" b="0" i="1" u="none" strike="noStrike" cap="none" normalizeH="0" baseline="0" dirty="0">
                <a:ln>
                  <a:noFill/>
                </a:ln>
                <a:solidFill>
                  <a:srgbClr val="000000"/>
                </a:solidFill>
                <a:effectLst/>
                <a:latin typeface="Arial" panose="020B0604020202020204" pitchFamily="34" charset="0"/>
                <a:ea typeface="Calibri" panose="020F0502020204030204" pitchFamily="34" charset="0"/>
                <a:cs typeface="Arial" panose="020B0604020202020204" pitchFamily="34" charset="0"/>
              </a:rPr>
              <a:t>Replicability within the aluminum sector, according to the Consortium knowledge and experience:</a:t>
            </a:r>
            <a:endParaRPr kumimoji="0" lang="sv-SE" altLang="sv-SE" sz="1800" b="0" i="1" u="none" strike="noStrike" cap="none" normalizeH="0" baseline="0" dirty="0">
              <a:ln>
                <a:noFill/>
              </a:ln>
              <a:solidFill>
                <a:schemeClr val="tx1"/>
              </a:solidFill>
              <a:effectLst/>
            </a:endParaRPr>
          </a:p>
        </p:txBody>
      </p:sp>
      <p:graphicFrame>
        <p:nvGraphicFramePr>
          <p:cNvPr id="9" name="Tabell 8">
            <a:extLst>
              <a:ext uri="{FF2B5EF4-FFF2-40B4-BE49-F238E27FC236}">
                <a16:creationId xmlns:a16="http://schemas.microsoft.com/office/drawing/2014/main" id="{D8FE9D65-0AAD-5779-7047-116E51F65631}"/>
              </a:ext>
            </a:extLst>
          </p:cNvPr>
          <p:cNvGraphicFramePr>
            <a:graphicFrameLocks noGrp="1"/>
          </p:cNvGraphicFramePr>
          <p:nvPr>
            <p:extLst>
              <p:ext uri="{D42A27DB-BD31-4B8C-83A1-F6EECF244321}">
                <p14:modId xmlns:p14="http://schemas.microsoft.com/office/powerpoint/2010/main" val="3697903076"/>
              </p:ext>
            </p:extLst>
          </p:nvPr>
        </p:nvGraphicFramePr>
        <p:xfrm>
          <a:off x="541518" y="7493982"/>
          <a:ext cx="7676168" cy="1434084"/>
        </p:xfrm>
        <a:graphic>
          <a:graphicData uri="http://schemas.openxmlformats.org/drawingml/2006/table">
            <a:tbl>
              <a:tblPr firstRow="1" firstCol="1" bandRow="1">
                <a:tableStyleId>{5C22544A-7EE6-4342-B048-85BDC9FD1C3A}</a:tableStyleId>
              </a:tblPr>
              <a:tblGrid>
                <a:gridCol w="4733463">
                  <a:extLst>
                    <a:ext uri="{9D8B030D-6E8A-4147-A177-3AD203B41FA5}">
                      <a16:colId xmlns:a16="http://schemas.microsoft.com/office/drawing/2014/main" val="2839167773"/>
                    </a:ext>
                  </a:extLst>
                </a:gridCol>
                <a:gridCol w="2942705">
                  <a:extLst>
                    <a:ext uri="{9D8B030D-6E8A-4147-A177-3AD203B41FA5}">
                      <a16:colId xmlns:a16="http://schemas.microsoft.com/office/drawing/2014/main" val="1678004660"/>
                    </a:ext>
                  </a:extLst>
                </a:gridCol>
              </a:tblGrid>
              <a:tr h="0">
                <a:tc>
                  <a:txBody>
                    <a:bodyPr/>
                    <a:lstStyle/>
                    <a:p>
                      <a:pPr algn="ctr">
                        <a:lnSpc>
                          <a:spcPct val="125000"/>
                        </a:lnSpc>
                        <a:spcAft>
                          <a:spcPts val="1200"/>
                        </a:spcAft>
                      </a:pPr>
                      <a:r>
                        <a:rPr lang="en-GB" sz="1600" kern="100" dirty="0">
                          <a:effectLst/>
                        </a:rPr>
                        <a:t>RETROFEED solution</a:t>
                      </a:r>
                      <a:endParaRPr lang="sv-SE" sz="1600" kern="1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marL="0" algn="ctr" defTabSz="914400" rtl="0" eaLnBrk="1" latinLnBrk="0" hangingPunct="1">
                        <a:lnSpc>
                          <a:spcPct val="125000"/>
                        </a:lnSpc>
                        <a:spcAft>
                          <a:spcPts val="1200"/>
                        </a:spcAft>
                      </a:pPr>
                      <a:r>
                        <a:rPr lang="en-GB" sz="1600" b="1" kern="100" dirty="0">
                          <a:solidFill>
                            <a:schemeClr val="lt1"/>
                          </a:solidFill>
                          <a:effectLst/>
                          <a:latin typeface="+mn-lt"/>
                          <a:ea typeface="+mn-ea"/>
                          <a:cs typeface="+mn-cs"/>
                        </a:rPr>
                        <a:t>Replicability</a:t>
                      </a:r>
                      <a:endParaRPr lang="sv-SE" sz="1600" b="1" kern="100" dirty="0">
                        <a:solidFill>
                          <a:schemeClr val="lt1"/>
                        </a:solidFill>
                        <a:effectLst/>
                        <a:latin typeface="+mn-lt"/>
                        <a:ea typeface="+mn-ea"/>
                        <a:cs typeface="+mn-cs"/>
                      </a:endParaRPr>
                    </a:p>
                  </a:txBody>
                  <a:tcPr marL="68580" marR="68580" marT="0" marB="0" anchor="ctr"/>
                </a:tc>
                <a:extLst>
                  <a:ext uri="{0D108BD9-81ED-4DB2-BD59-A6C34878D82A}">
                    <a16:rowId xmlns:a16="http://schemas.microsoft.com/office/drawing/2014/main" val="1506738920"/>
                  </a:ext>
                </a:extLst>
              </a:tr>
              <a:tr h="0">
                <a:tc>
                  <a:txBody>
                    <a:bodyPr/>
                    <a:lstStyle/>
                    <a:p>
                      <a:pPr algn="just">
                        <a:lnSpc>
                          <a:spcPct val="125000"/>
                        </a:lnSpc>
                        <a:spcAft>
                          <a:spcPts val="1200"/>
                        </a:spcAft>
                      </a:pPr>
                      <a:r>
                        <a:rPr lang="en-GB" sz="1600" kern="100" dirty="0">
                          <a:effectLst/>
                        </a:rPr>
                        <a:t>Integrated retrofitting of furnace: replacement of burner and refractory material</a:t>
                      </a:r>
                      <a:endParaRPr lang="sv-SE" sz="1600" kern="1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lnSpc>
                          <a:spcPct val="125000"/>
                        </a:lnSpc>
                        <a:spcAft>
                          <a:spcPts val="1200"/>
                        </a:spcAft>
                      </a:pPr>
                      <a:r>
                        <a:rPr lang="en-GB" sz="1400" kern="100" dirty="0">
                          <a:effectLst/>
                        </a:rPr>
                        <a:t>YES</a:t>
                      </a:r>
                      <a:endParaRPr lang="sv-SE" sz="1400" kern="1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tc>
                <a:extLst>
                  <a:ext uri="{0D108BD9-81ED-4DB2-BD59-A6C34878D82A}">
                    <a16:rowId xmlns:a16="http://schemas.microsoft.com/office/drawing/2014/main" val="4229432378"/>
                  </a:ext>
                </a:extLst>
              </a:tr>
              <a:tr h="0">
                <a:tc>
                  <a:txBody>
                    <a:bodyPr/>
                    <a:lstStyle/>
                    <a:p>
                      <a:pPr algn="just">
                        <a:lnSpc>
                          <a:spcPct val="125000"/>
                        </a:lnSpc>
                        <a:spcAft>
                          <a:spcPts val="1200"/>
                        </a:spcAft>
                      </a:pPr>
                      <a:r>
                        <a:rPr lang="en-GB" sz="1600" kern="100" dirty="0">
                          <a:effectLst/>
                        </a:rPr>
                        <a:t>Installation of </a:t>
                      </a:r>
                      <a:r>
                        <a:rPr lang="en-GB" sz="1600" kern="100" dirty="0" err="1">
                          <a:effectLst/>
                        </a:rPr>
                        <a:t>delacquering</a:t>
                      </a:r>
                      <a:r>
                        <a:rPr lang="en-GB" sz="1600" kern="100" dirty="0">
                          <a:effectLst/>
                        </a:rPr>
                        <a:t> system to allow use of alternative feedstocks</a:t>
                      </a:r>
                      <a:endParaRPr lang="sv-SE" sz="1600" kern="1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lnSpc>
                          <a:spcPct val="125000"/>
                        </a:lnSpc>
                        <a:spcAft>
                          <a:spcPts val="1200"/>
                        </a:spcAft>
                      </a:pPr>
                      <a:r>
                        <a:rPr lang="en-GB" sz="1400" kern="100" dirty="0">
                          <a:effectLst/>
                        </a:rPr>
                        <a:t>YES</a:t>
                      </a:r>
                      <a:endParaRPr lang="sv-SE" sz="1400" kern="1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tc>
                <a:extLst>
                  <a:ext uri="{0D108BD9-81ED-4DB2-BD59-A6C34878D82A}">
                    <a16:rowId xmlns:a16="http://schemas.microsoft.com/office/drawing/2014/main" val="3446497980"/>
                  </a:ext>
                </a:extLst>
              </a:tr>
            </a:tbl>
          </a:graphicData>
        </a:graphic>
      </p:graphicFrame>
      <p:graphicFrame>
        <p:nvGraphicFramePr>
          <p:cNvPr id="10" name="Tabell 9">
            <a:extLst>
              <a:ext uri="{FF2B5EF4-FFF2-40B4-BE49-F238E27FC236}">
                <a16:creationId xmlns:a16="http://schemas.microsoft.com/office/drawing/2014/main" id="{1553AD97-2161-CEF1-7B6D-A5925DDF6BE7}"/>
              </a:ext>
            </a:extLst>
          </p:cNvPr>
          <p:cNvGraphicFramePr>
            <a:graphicFrameLocks noGrp="1"/>
          </p:cNvGraphicFramePr>
          <p:nvPr>
            <p:extLst>
              <p:ext uri="{D42A27DB-BD31-4B8C-83A1-F6EECF244321}">
                <p14:modId xmlns:p14="http://schemas.microsoft.com/office/powerpoint/2010/main" val="4180221418"/>
              </p:ext>
            </p:extLst>
          </p:nvPr>
        </p:nvGraphicFramePr>
        <p:xfrm>
          <a:off x="541518" y="4999783"/>
          <a:ext cx="5745163" cy="1666677"/>
        </p:xfrm>
        <a:graphic>
          <a:graphicData uri="http://schemas.openxmlformats.org/drawingml/2006/table">
            <a:tbl>
              <a:tblPr firstRow="1" firstCol="1" bandRow="1">
                <a:tableStyleId>{5C22544A-7EE6-4342-B048-85BDC9FD1C3A}</a:tableStyleId>
              </a:tblPr>
              <a:tblGrid>
                <a:gridCol w="2994263">
                  <a:extLst>
                    <a:ext uri="{9D8B030D-6E8A-4147-A177-3AD203B41FA5}">
                      <a16:colId xmlns:a16="http://schemas.microsoft.com/office/drawing/2014/main" val="3166973145"/>
                    </a:ext>
                  </a:extLst>
                </a:gridCol>
                <a:gridCol w="2750900">
                  <a:extLst>
                    <a:ext uri="{9D8B030D-6E8A-4147-A177-3AD203B41FA5}">
                      <a16:colId xmlns:a16="http://schemas.microsoft.com/office/drawing/2014/main" val="2817080502"/>
                    </a:ext>
                  </a:extLst>
                </a:gridCol>
              </a:tblGrid>
              <a:tr h="331272">
                <a:tc>
                  <a:txBody>
                    <a:bodyPr/>
                    <a:lstStyle/>
                    <a:p>
                      <a:pPr algn="ctr" rtl="0" fontAlgn="ctr"/>
                      <a:r>
                        <a:rPr lang="sv-SE" sz="1600" u="none" strike="noStrike" dirty="0">
                          <a:effectLst/>
                        </a:rPr>
                        <a:t>KRI</a:t>
                      </a:r>
                      <a:endParaRPr lang="sv-SE" sz="1600" b="1" i="0" u="none" strike="noStrike" dirty="0">
                        <a:solidFill>
                          <a:srgbClr val="FFFFFF"/>
                        </a:solidFill>
                        <a:effectLst/>
                        <a:latin typeface="Arial" panose="020B0604020202020204" pitchFamily="34" charset="0"/>
                      </a:endParaRPr>
                    </a:p>
                  </a:txBody>
                  <a:tcPr marL="9525" marR="9525" marT="9525" marB="0" anchor="ctr"/>
                </a:tc>
                <a:tc>
                  <a:txBody>
                    <a:bodyPr/>
                    <a:lstStyle/>
                    <a:p>
                      <a:pPr algn="ctr" rtl="0" fontAlgn="ctr"/>
                      <a:r>
                        <a:rPr lang="sv-SE" sz="1600" u="none" strike="noStrike">
                          <a:effectLst/>
                        </a:rPr>
                        <a:t>Change in KRI</a:t>
                      </a:r>
                      <a:endParaRPr lang="sv-SE" sz="1600" b="1" i="0" u="none" strike="noStrike">
                        <a:solidFill>
                          <a:srgbClr val="FFFFFF"/>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1840366725"/>
                  </a:ext>
                </a:extLst>
              </a:tr>
              <a:tr h="365760">
                <a:tc>
                  <a:txBody>
                    <a:bodyPr/>
                    <a:lstStyle/>
                    <a:p>
                      <a:pPr algn="ctr" rtl="0" fontAlgn="ctr"/>
                      <a:r>
                        <a:rPr lang="sv-SE" sz="1600" u="none" strike="noStrike">
                          <a:effectLst/>
                        </a:rPr>
                        <a:t>Electricity consumption</a:t>
                      </a:r>
                      <a:endParaRPr lang="sv-SE" sz="1600" b="1" i="0" u="none" strike="noStrike">
                        <a:solidFill>
                          <a:srgbClr val="FFFFFF"/>
                        </a:solidFill>
                        <a:effectLst/>
                        <a:latin typeface="Arial" panose="020B0604020202020204" pitchFamily="34" charset="0"/>
                      </a:endParaRPr>
                    </a:p>
                  </a:txBody>
                  <a:tcPr marL="9525" marR="9525" marT="9525" marB="0" anchor="ctr"/>
                </a:tc>
                <a:tc>
                  <a:txBody>
                    <a:bodyPr/>
                    <a:lstStyle/>
                    <a:p>
                      <a:pPr algn="ctr" rtl="0" fontAlgn="ctr"/>
                      <a:r>
                        <a:rPr lang="sv-SE" sz="1600" u="none" strike="noStrike" dirty="0">
                          <a:effectLst/>
                        </a:rPr>
                        <a:t>1.4%</a:t>
                      </a:r>
                      <a:endParaRPr lang="sv-SE" sz="1600" b="0" i="0" u="none" strike="noStrike" dirty="0">
                        <a:solidFill>
                          <a:srgbClr val="2F2F2F"/>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3732553802"/>
                  </a:ext>
                </a:extLst>
              </a:tr>
              <a:tr h="358140">
                <a:tc>
                  <a:txBody>
                    <a:bodyPr/>
                    <a:lstStyle/>
                    <a:p>
                      <a:pPr algn="ctr" rtl="0" fontAlgn="ctr"/>
                      <a:r>
                        <a:rPr lang="sv-SE" sz="1600" u="none" strike="noStrike">
                          <a:effectLst/>
                        </a:rPr>
                        <a:t>Natural gas consumption</a:t>
                      </a:r>
                      <a:endParaRPr lang="sv-SE" sz="1600" b="1" i="0" u="none" strike="noStrike">
                        <a:solidFill>
                          <a:srgbClr val="FFFFFF"/>
                        </a:solidFill>
                        <a:effectLst/>
                        <a:latin typeface="Arial" panose="020B0604020202020204" pitchFamily="34" charset="0"/>
                      </a:endParaRPr>
                    </a:p>
                  </a:txBody>
                  <a:tcPr marL="9525" marR="9525" marT="9525" marB="0" anchor="ctr"/>
                </a:tc>
                <a:tc>
                  <a:txBody>
                    <a:bodyPr/>
                    <a:lstStyle/>
                    <a:p>
                      <a:pPr algn="ctr" rtl="0" fontAlgn="ctr"/>
                      <a:r>
                        <a:rPr lang="sv-SE" sz="1600" u="none" strike="noStrike" dirty="0">
                          <a:effectLst/>
                        </a:rPr>
                        <a:t>-19.1%</a:t>
                      </a:r>
                      <a:endParaRPr lang="sv-SE" sz="1600" b="0" i="0" u="none" strike="noStrike" dirty="0">
                        <a:solidFill>
                          <a:srgbClr val="2F2F2F"/>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2604850477"/>
                  </a:ext>
                </a:extLst>
              </a:tr>
              <a:tr h="358140">
                <a:tc>
                  <a:txBody>
                    <a:bodyPr/>
                    <a:lstStyle/>
                    <a:p>
                      <a:pPr algn="ctr" rtl="0" fontAlgn="ctr"/>
                      <a:r>
                        <a:rPr lang="sv-SE" sz="1600" u="none" strike="noStrike">
                          <a:effectLst/>
                        </a:rPr>
                        <a:t>Primary energy consumption</a:t>
                      </a:r>
                      <a:endParaRPr lang="sv-SE" sz="1600" b="1" i="0" u="none" strike="noStrike">
                        <a:solidFill>
                          <a:srgbClr val="FFFFFF"/>
                        </a:solidFill>
                        <a:effectLst/>
                        <a:latin typeface="Arial" panose="020B0604020202020204" pitchFamily="34" charset="0"/>
                      </a:endParaRPr>
                    </a:p>
                  </a:txBody>
                  <a:tcPr marL="9525" marR="9525" marT="9525" marB="0" anchor="ctr"/>
                </a:tc>
                <a:tc>
                  <a:txBody>
                    <a:bodyPr/>
                    <a:lstStyle/>
                    <a:p>
                      <a:pPr algn="ctr" rtl="0" fontAlgn="ctr"/>
                      <a:r>
                        <a:rPr lang="sv-SE" sz="1600" u="none" strike="noStrike" dirty="0">
                          <a:effectLst/>
                        </a:rPr>
                        <a:t>-18.5%</a:t>
                      </a:r>
                      <a:endParaRPr lang="sv-SE" sz="1600" b="0" i="0" u="none" strike="noStrike" dirty="0">
                        <a:solidFill>
                          <a:srgbClr val="2F2F2F"/>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3215474322"/>
                  </a:ext>
                </a:extLst>
              </a:tr>
              <a:tr h="213360">
                <a:tc>
                  <a:txBody>
                    <a:bodyPr/>
                    <a:lstStyle/>
                    <a:p>
                      <a:pPr algn="ctr" rtl="0" fontAlgn="ctr"/>
                      <a:r>
                        <a:rPr lang="sv-SE" sz="1600" u="none" strike="noStrike" dirty="0">
                          <a:effectLst/>
                        </a:rPr>
                        <a:t>CO</a:t>
                      </a:r>
                      <a:r>
                        <a:rPr lang="sv-SE" sz="1600" u="none" strike="noStrike" baseline="-25000" dirty="0">
                          <a:effectLst/>
                        </a:rPr>
                        <a:t>2</a:t>
                      </a:r>
                      <a:r>
                        <a:rPr lang="sv-SE" sz="1600" u="none" strike="noStrike" dirty="0">
                          <a:effectLst/>
                        </a:rPr>
                        <a:t> emissions</a:t>
                      </a:r>
                      <a:endParaRPr lang="sv-SE" sz="1600" b="1" i="0" u="none" strike="noStrike" dirty="0">
                        <a:solidFill>
                          <a:srgbClr val="FFFFFF"/>
                        </a:solidFill>
                        <a:effectLst/>
                        <a:latin typeface="Arial" panose="020B0604020202020204" pitchFamily="34" charset="0"/>
                      </a:endParaRPr>
                    </a:p>
                  </a:txBody>
                  <a:tcPr marL="9525" marR="9525" marT="9525" marB="0" anchor="ctr"/>
                </a:tc>
                <a:tc>
                  <a:txBody>
                    <a:bodyPr/>
                    <a:lstStyle/>
                    <a:p>
                      <a:pPr algn="ctr" rtl="0" fontAlgn="ctr"/>
                      <a:r>
                        <a:rPr lang="sv-SE" sz="1600" u="none" strike="noStrike" dirty="0">
                          <a:effectLst/>
                        </a:rPr>
                        <a:t>-75%</a:t>
                      </a:r>
                      <a:endParaRPr lang="sv-SE" sz="1600" b="0" i="0" u="none" strike="noStrike" dirty="0">
                        <a:solidFill>
                          <a:srgbClr val="2F2F2F"/>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3090249813"/>
                  </a:ext>
                </a:extLst>
              </a:tr>
            </a:tbl>
          </a:graphicData>
        </a:graphic>
      </p:graphicFrame>
    </p:spTree>
    <p:extLst>
      <p:ext uri="{BB962C8B-B14F-4D97-AF65-F5344CB8AC3E}">
        <p14:creationId xmlns:p14="http://schemas.microsoft.com/office/powerpoint/2010/main" val="3001886769"/>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1" name="Picture 12">
            <a:extLst>
              <a:ext uri="{FF2B5EF4-FFF2-40B4-BE49-F238E27FC236}">
                <a16:creationId xmlns:a16="http://schemas.microsoft.com/office/drawing/2014/main" id="{43802E0E-B79D-4EA7-8141-0CA3ED138B1A}"/>
              </a:ext>
            </a:extLst>
          </p:cNvPr>
          <p:cNvPicPr>
            <a:picLocks noChangeAspect="1"/>
          </p:cNvPicPr>
          <p:nvPr/>
        </p:nvPicPr>
        <p:blipFill>
          <a:blip r:embed="rId3"/>
          <a:srcRect/>
          <a:stretch>
            <a:fillRect/>
          </a:stretch>
        </p:blipFill>
        <p:spPr>
          <a:xfrm>
            <a:off x="0" y="8959889"/>
            <a:ext cx="5715000" cy="1385887"/>
          </a:xfrm>
          <a:prstGeom prst="rect">
            <a:avLst/>
          </a:prstGeom>
        </p:spPr>
      </p:pic>
      <p:grpSp>
        <p:nvGrpSpPr>
          <p:cNvPr id="132" name="Gruppo 2">
            <a:extLst>
              <a:ext uri="{FF2B5EF4-FFF2-40B4-BE49-F238E27FC236}">
                <a16:creationId xmlns:a16="http://schemas.microsoft.com/office/drawing/2014/main" id="{649928F6-6E82-4611-9715-AD3C75457C28}"/>
              </a:ext>
            </a:extLst>
          </p:cNvPr>
          <p:cNvGrpSpPr/>
          <p:nvPr/>
        </p:nvGrpSpPr>
        <p:grpSpPr>
          <a:xfrm>
            <a:off x="-12" y="138554"/>
            <a:ext cx="18288002" cy="681138"/>
            <a:chOff x="-12" y="138554"/>
            <a:chExt cx="18288002" cy="681138"/>
          </a:xfrm>
        </p:grpSpPr>
        <p:grpSp>
          <p:nvGrpSpPr>
            <p:cNvPr id="133" name="Gruppo 1">
              <a:extLst>
                <a:ext uri="{FF2B5EF4-FFF2-40B4-BE49-F238E27FC236}">
                  <a16:creationId xmlns:a16="http://schemas.microsoft.com/office/drawing/2014/main" id="{A8EB8794-E5C6-45EB-BAEC-2778E982797A}"/>
                </a:ext>
              </a:extLst>
            </p:cNvPr>
            <p:cNvGrpSpPr/>
            <p:nvPr/>
          </p:nvGrpSpPr>
          <p:grpSpPr>
            <a:xfrm>
              <a:off x="0" y="153125"/>
              <a:ext cx="17907000" cy="666567"/>
              <a:chOff x="0" y="153125"/>
              <a:chExt cx="17907000" cy="666567"/>
            </a:xfrm>
          </p:grpSpPr>
          <p:grpSp>
            <p:nvGrpSpPr>
              <p:cNvPr id="135" name="Gruppo 15">
                <a:extLst>
                  <a:ext uri="{FF2B5EF4-FFF2-40B4-BE49-F238E27FC236}">
                    <a16:creationId xmlns:a16="http://schemas.microsoft.com/office/drawing/2014/main" id="{AB129748-9FD7-458D-BD6E-304271C1814A}"/>
                  </a:ext>
                </a:extLst>
              </p:cNvPr>
              <p:cNvGrpSpPr/>
              <p:nvPr/>
            </p:nvGrpSpPr>
            <p:grpSpPr>
              <a:xfrm>
                <a:off x="0" y="153125"/>
                <a:ext cx="13958844" cy="666567"/>
                <a:chOff x="0" y="153125"/>
                <a:chExt cx="13958844" cy="666567"/>
              </a:xfrm>
            </p:grpSpPr>
            <p:pic>
              <p:nvPicPr>
                <p:cNvPr id="137" name="Picture 136">
                  <a:extLst>
                    <a:ext uri="{FF2B5EF4-FFF2-40B4-BE49-F238E27FC236}">
                      <a16:creationId xmlns:a16="http://schemas.microsoft.com/office/drawing/2014/main" id="{88E31CFD-796F-4F3F-A1EC-0E38F9D83456}"/>
                    </a:ext>
                  </a:extLst>
                </p:cNvPr>
                <p:cNvPicPr>
                  <a:picLocks noChangeAspect="1"/>
                </p:cNvPicPr>
                <p:nvPr/>
              </p:nvPicPr>
              <p:blipFill>
                <a:blip r:embed="rId4"/>
                <a:srcRect l="134" t="91287" b="3943"/>
                <a:stretch>
                  <a:fillRect/>
                </a:stretch>
              </p:blipFill>
              <p:spPr>
                <a:xfrm>
                  <a:off x="0" y="153125"/>
                  <a:ext cx="13958844" cy="666567"/>
                </a:xfrm>
                <a:prstGeom prst="rect">
                  <a:avLst/>
                </a:prstGeom>
              </p:spPr>
            </p:pic>
            <p:sp>
              <p:nvSpPr>
                <p:cNvPr id="138" name="TextBox 137">
                  <a:extLst>
                    <a:ext uri="{FF2B5EF4-FFF2-40B4-BE49-F238E27FC236}">
                      <a16:creationId xmlns:a16="http://schemas.microsoft.com/office/drawing/2014/main" id="{7694DADD-E227-40A7-A98D-244B0D207E54}"/>
                    </a:ext>
                  </a:extLst>
                </p:cNvPr>
                <p:cNvSpPr txBox="1"/>
                <p:nvPr/>
              </p:nvSpPr>
              <p:spPr>
                <a:xfrm>
                  <a:off x="228600" y="257980"/>
                  <a:ext cx="9296400" cy="456856"/>
                </a:xfrm>
                <a:prstGeom prst="rect">
                  <a:avLst/>
                </a:prstGeom>
              </p:spPr>
              <p:txBody>
                <a:bodyPr wrap="square" lIns="0" tIns="0" rIns="0" bIns="0" rtlCol="0" anchor="t">
                  <a:spAutoFit/>
                </a:bodyPr>
                <a:lstStyle/>
                <a:p>
                  <a:pPr marL="0" marR="0" lvl="0" indent="0" algn="l" defTabSz="914400" rtl="0" eaLnBrk="1" fontAlgn="auto" latinLnBrk="0" hangingPunct="1">
                    <a:lnSpc>
                      <a:spcPts val="3919"/>
                    </a:lnSpc>
                    <a:spcBef>
                      <a:spcPct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36" name="TextBox 135">
                <a:extLst>
                  <a:ext uri="{FF2B5EF4-FFF2-40B4-BE49-F238E27FC236}">
                    <a16:creationId xmlns:a16="http://schemas.microsoft.com/office/drawing/2014/main" id="{4B3CCEBB-60EF-4175-9878-F0D51FD80FF0}"/>
                  </a:ext>
                </a:extLst>
              </p:cNvPr>
              <p:cNvSpPr txBox="1"/>
              <p:nvPr/>
            </p:nvSpPr>
            <p:spPr>
              <a:xfrm>
                <a:off x="12154296" y="257980"/>
                <a:ext cx="5752704" cy="456856"/>
              </a:xfrm>
              <a:prstGeom prst="rect">
                <a:avLst/>
              </a:prstGeom>
            </p:spPr>
            <p:txBody>
              <a:bodyPr wrap="square" lIns="0" tIns="0" rIns="0" bIns="0" rtlCol="0" anchor="t">
                <a:spAutoFit/>
              </a:bodyPr>
              <a:lstStyle/>
              <a:p>
                <a:pPr marL="0" marR="0" lvl="0" indent="0" algn="r" defTabSz="914400" rtl="0" eaLnBrk="1" fontAlgn="auto" latinLnBrk="0" hangingPunct="1">
                  <a:lnSpc>
                    <a:spcPts val="3919"/>
                  </a:lnSpc>
                  <a:spcBef>
                    <a:spcPct val="0"/>
                  </a:spcBef>
                  <a:spcAft>
                    <a:spcPts val="0"/>
                  </a:spcAft>
                  <a:buClrTx/>
                  <a:buSzTx/>
                  <a:buFontTx/>
                  <a:buNone/>
                  <a:tabLst/>
                  <a:defRPr/>
                </a:pPr>
                <a:endParaRPr kumimoji="0" lang="en-US" sz="2800" b="0" i="0" u="none" strike="noStrike" kern="1200" cap="none" spc="0" normalizeH="0" baseline="0" noProof="0">
                  <a:ln>
                    <a:noFill/>
                  </a:ln>
                  <a:solidFill>
                    <a:srgbClr val="2F2F2F">
                      <a:lumMod val="75000"/>
                      <a:lumOff val="25000"/>
                    </a:srgbClr>
                  </a:solidFill>
                  <a:effectLst/>
                  <a:uLnTx/>
                  <a:uFillTx/>
                  <a:latin typeface="Arial" panose="020B0604020202020204" pitchFamily="34" charset="0"/>
                  <a:ea typeface="+mn-ea"/>
                  <a:cs typeface="Arial" panose="020B0604020202020204" pitchFamily="34" charset="0"/>
                </a:endParaRPr>
              </a:p>
            </p:txBody>
          </p:sp>
        </p:grpSp>
        <p:sp>
          <p:nvSpPr>
            <p:cNvPr id="134" name="Rettangolo 13">
              <a:extLst>
                <a:ext uri="{FF2B5EF4-FFF2-40B4-BE49-F238E27FC236}">
                  <a16:creationId xmlns:a16="http://schemas.microsoft.com/office/drawing/2014/main" id="{8F0CF2A7-592A-4287-9206-D3289F1B0C37}"/>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pic>
        <p:nvPicPr>
          <p:cNvPr id="139" name="Picture 12">
            <a:extLst>
              <a:ext uri="{FF2B5EF4-FFF2-40B4-BE49-F238E27FC236}">
                <a16:creationId xmlns:a16="http://schemas.microsoft.com/office/drawing/2014/main" id="{F047215A-40D8-4A57-BE02-5E03FCEEBB7B}"/>
              </a:ext>
            </a:extLst>
          </p:cNvPr>
          <p:cNvPicPr>
            <a:picLocks noChangeAspect="1"/>
          </p:cNvPicPr>
          <p:nvPr/>
        </p:nvPicPr>
        <p:blipFill>
          <a:blip r:embed="rId5"/>
          <a:srcRect l="134" t="91287" b="3943"/>
          <a:stretch>
            <a:fillRect/>
          </a:stretch>
        </p:blipFill>
        <p:spPr>
          <a:xfrm rot="10800000">
            <a:off x="4329146" y="9679208"/>
            <a:ext cx="13958844" cy="666567"/>
          </a:xfrm>
          <a:prstGeom prst="rect">
            <a:avLst/>
          </a:prstGeom>
        </p:spPr>
      </p:pic>
      <p:sp>
        <p:nvSpPr>
          <p:cNvPr id="140" name="TextBox 16">
            <a:extLst>
              <a:ext uri="{FF2B5EF4-FFF2-40B4-BE49-F238E27FC236}">
                <a16:creationId xmlns:a16="http://schemas.microsoft.com/office/drawing/2014/main" id="{C693B1DB-897C-4A9D-8CF3-F1423F6CB38D}"/>
              </a:ext>
            </a:extLst>
          </p:cNvPr>
          <p:cNvSpPr txBox="1"/>
          <p:nvPr/>
        </p:nvSpPr>
        <p:spPr>
          <a:xfrm>
            <a:off x="14400019" y="9762301"/>
            <a:ext cx="3636320" cy="448713"/>
          </a:xfrm>
          <a:prstGeom prst="rect">
            <a:avLst/>
          </a:prstGeom>
        </p:spPr>
        <p:txBody>
          <a:bodyPr wrap="square" lIns="0" tIns="0" rIns="0" bIns="0" rtlCol="0" anchor="t">
            <a:spAutoFit/>
          </a:bodyPr>
          <a:lstStyle/>
          <a:p>
            <a:pPr marL="0" marR="0" lvl="0" indent="0" algn="ctr" defTabSz="914400" rtl="0" eaLnBrk="1" fontAlgn="auto" latinLnBrk="0" hangingPunct="1">
              <a:lnSpc>
                <a:spcPts val="3919"/>
              </a:lnSpc>
              <a:spcBef>
                <a:spcPct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OCR A Extended" panose="02010509020102010303" pitchFamily="50" charset="0"/>
                <a:ea typeface="+mn-ea"/>
                <a:cs typeface="+mn-cs"/>
              </a:rPr>
              <a:t>www.retrofeed.eu</a:t>
            </a:r>
          </a:p>
        </p:txBody>
      </p:sp>
      <p:sp>
        <p:nvSpPr>
          <p:cNvPr id="4" name="TextBox 3">
            <a:extLst>
              <a:ext uri="{FF2B5EF4-FFF2-40B4-BE49-F238E27FC236}">
                <a16:creationId xmlns:a16="http://schemas.microsoft.com/office/drawing/2014/main" id="{E2A6C351-D084-461B-85B4-078A69C47372}"/>
              </a:ext>
            </a:extLst>
          </p:cNvPr>
          <p:cNvSpPr txBox="1"/>
          <p:nvPr/>
        </p:nvSpPr>
        <p:spPr>
          <a:xfrm>
            <a:off x="350519" y="1018656"/>
            <a:ext cx="18552623" cy="76944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400" b="1" i="0" u="none" strike="noStrike" kern="1200" cap="none" spc="0" normalizeH="0" baseline="0" noProof="0" dirty="0">
                <a:ln>
                  <a:noFill/>
                </a:ln>
                <a:solidFill>
                  <a:srgbClr val="CC0033"/>
                </a:solidFill>
                <a:effectLst/>
                <a:uLnTx/>
                <a:uFillTx/>
                <a:latin typeface="Arial"/>
                <a:ea typeface="+mn-ea"/>
                <a:cs typeface="Arial" panose="020B0604020202020204" pitchFamily="34" charset="0"/>
              </a:rPr>
              <a:t>Steel Sector Situation &amp; Replicability</a:t>
            </a:r>
            <a:endParaRPr kumimoji="0" lang="sv-SE" sz="4400" b="1" i="0" u="none" strike="noStrike" kern="1200" cap="none" spc="0" normalizeH="0" baseline="0" noProof="0" dirty="0">
              <a:ln>
                <a:noFill/>
              </a:ln>
              <a:solidFill>
                <a:srgbClr val="CC0033"/>
              </a:solidFill>
              <a:effectLst/>
              <a:uLnTx/>
              <a:uFillTx/>
              <a:latin typeface="Arial"/>
              <a:ea typeface="+mn-ea"/>
              <a:cs typeface="Arial" panose="020B0604020202020204" pitchFamily="34" charset="0"/>
            </a:endParaRPr>
          </a:p>
        </p:txBody>
      </p:sp>
      <p:sp>
        <p:nvSpPr>
          <p:cNvPr id="2" name="Platshållare för innehåll 2">
            <a:extLst>
              <a:ext uri="{FF2B5EF4-FFF2-40B4-BE49-F238E27FC236}">
                <a16:creationId xmlns:a16="http://schemas.microsoft.com/office/drawing/2014/main" id="{E326ED3E-7F7B-6D67-3818-1C11AA6EFBE3}"/>
              </a:ext>
            </a:extLst>
          </p:cNvPr>
          <p:cNvSpPr txBox="1">
            <a:spLocks/>
          </p:cNvSpPr>
          <p:nvPr/>
        </p:nvSpPr>
        <p:spPr>
          <a:xfrm>
            <a:off x="510802" y="2042853"/>
            <a:ext cx="9481096" cy="3626427"/>
          </a:xfrm>
          <a:prstGeom prst="rect">
            <a:avLst/>
          </a:prstGeom>
        </p:spPr>
        <p:txBody>
          <a:bodyPr>
            <a:normAutofit fontScale="62500" lnSpcReduction="20000"/>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25000"/>
              </a:lnSpc>
            </a:pPr>
            <a:r>
              <a:rPr lang="en-US" sz="2900" dirty="0"/>
              <a:t>Employing more than 310,000 persons, producing on average 153 million tons of steel per year and generating revenues for 125 billion € per year.</a:t>
            </a:r>
            <a:endParaRPr lang="sv-SE" sz="2900" dirty="0"/>
          </a:p>
          <a:p>
            <a:pPr>
              <a:lnSpc>
                <a:spcPct val="125000"/>
              </a:lnSpc>
            </a:pPr>
            <a:r>
              <a:rPr lang="en-US" sz="2900" dirty="0"/>
              <a:t>The most important EU Member are Germany (40.1 million tons/y, i.e. 26.2% of EU total), Italy (24.4 million tons/y, i.e. 16.0% of EU total), Spain (14.2 million tons/y, i.e. 9.3% of EU total) and France (13.9 million tons/y, i.e. 9.1% of EU total).</a:t>
            </a:r>
            <a:endParaRPr lang="sv-SE" sz="2900" dirty="0"/>
          </a:p>
          <a:p>
            <a:pPr algn="just">
              <a:lnSpc>
                <a:spcPct val="125000"/>
              </a:lnSpc>
            </a:pPr>
            <a:r>
              <a:rPr lang="en-US" sz="2900" dirty="0"/>
              <a:t>Out of the total production, 56.4% is realized through Basic Oxygen Furnace and 43.6% through Electric Arc Furnaces; 77.5% is carbon steel-non alloy, 17.9% is carbon steel-other alloy and 4.6% is stainless steel.</a:t>
            </a:r>
            <a:endParaRPr lang="sv-SE" sz="2900" dirty="0"/>
          </a:p>
          <a:p>
            <a:pPr algn="just">
              <a:lnSpc>
                <a:spcPct val="125000"/>
              </a:lnSpc>
            </a:pPr>
            <a:r>
              <a:rPr lang="en-US" sz="2900" dirty="0"/>
              <a:t>1 ton of steel is responsible of GHG emissions for 1.91 tCO2e</a:t>
            </a:r>
          </a:p>
          <a:p>
            <a:pPr algn="just">
              <a:lnSpc>
                <a:spcPct val="125000"/>
              </a:lnSpc>
            </a:pPr>
            <a:r>
              <a:rPr lang="en-US" sz="2900" dirty="0">
                <a:sym typeface="Wingdings" panose="05000000000000000000" pitchFamily="2" charset="2"/>
              </a:rPr>
              <a:t></a:t>
            </a:r>
            <a:r>
              <a:rPr lang="en-US" sz="2900" dirty="0"/>
              <a:t> Total GHG emissions for the EU production of steel are ~292 million tCO2e/y.</a:t>
            </a:r>
            <a:endParaRPr lang="sv-SE" sz="2900" dirty="0"/>
          </a:p>
          <a:p>
            <a:pPr marL="0" indent="0">
              <a:buNone/>
            </a:pPr>
            <a:endParaRPr lang="sv-SE" dirty="0"/>
          </a:p>
          <a:p>
            <a:pPr marL="0" indent="0">
              <a:buNone/>
            </a:pPr>
            <a:endParaRPr lang="sv-SE" dirty="0"/>
          </a:p>
        </p:txBody>
      </p:sp>
      <p:sp>
        <p:nvSpPr>
          <p:cNvPr id="8" name="textruta 7">
            <a:extLst>
              <a:ext uri="{FF2B5EF4-FFF2-40B4-BE49-F238E27FC236}">
                <a16:creationId xmlns:a16="http://schemas.microsoft.com/office/drawing/2014/main" id="{B7306508-6EF7-50F5-83E3-36A1A4D12BFB}"/>
              </a:ext>
            </a:extLst>
          </p:cNvPr>
          <p:cNvSpPr txBox="1"/>
          <p:nvPr/>
        </p:nvSpPr>
        <p:spPr>
          <a:xfrm>
            <a:off x="504978" y="7309840"/>
            <a:ext cx="7712708" cy="666568"/>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sv-SE" sz="1800" b="0" i="1" u="none" strike="noStrike" cap="none" normalizeH="0" baseline="0" dirty="0">
                <a:ln>
                  <a:noFill/>
                </a:ln>
                <a:solidFill>
                  <a:srgbClr val="000000"/>
                </a:solidFill>
                <a:effectLst/>
                <a:latin typeface="Arial" panose="020B0604020202020204" pitchFamily="34" charset="0"/>
                <a:ea typeface="Calibri" panose="020F0502020204030204" pitchFamily="34" charset="0"/>
                <a:cs typeface="Arial" panose="020B0604020202020204" pitchFamily="34" charset="0"/>
              </a:rPr>
              <a:t>Replicability within the steel sector, according to the Consortium knowledge and experience:</a:t>
            </a:r>
            <a:endParaRPr kumimoji="0" lang="sv-SE" altLang="sv-SE" sz="1800" b="0" i="1" u="none" strike="noStrike" cap="none" normalizeH="0" baseline="0" dirty="0">
              <a:ln>
                <a:noFill/>
              </a:ln>
              <a:solidFill>
                <a:schemeClr val="tx1"/>
              </a:solidFill>
              <a:effectLst/>
            </a:endParaRPr>
          </a:p>
        </p:txBody>
      </p:sp>
      <p:graphicFrame>
        <p:nvGraphicFramePr>
          <p:cNvPr id="9" name="Tabell 8">
            <a:extLst>
              <a:ext uri="{FF2B5EF4-FFF2-40B4-BE49-F238E27FC236}">
                <a16:creationId xmlns:a16="http://schemas.microsoft.com/office/drawing/2014/main" id="{D8FE9D65-0AAD-5779-7047-116E51F65631}"/>
              </a:ext>
            </a:extLst>
          </p:cNvPr>
          <p:cNvGraphicFramePr>
            <a:graphicFrameLocks noGrp="1"/>
          </p:cNvGraphicFramePr>
          <p:nvPr>
            <p:extLst>
              <p:ext uri="{D42A27DB-BD31-4B8C-83A1-F6EECF244321}">
                <p14:modId xmlns:p14="http://schemas.microsoft.com/office/powerpoint/2010/main" val="1038729364"/>
              </p:ext>
            </p:extLst>
          </p:nvPr>
        </p:nvGraphicFramePr>
        <p:xfrm>
          <a:off x="541518" y="7991484"/>
          <a:ext cx="7676168" cy="854456"/>
        </p:xfrm>
        <a:graphic>
          <a:graphicData uri="http://schemas.openxmlformats.org/drawingml/2006/table">
            <a:tbl>
              <a:tblPr firstRow="1" firstCol="1" bandRow="1">
                <a:tableStyleId>{5C22544A-7EE6-4342-B048-85BDC9FD1C3A}</a:tableStyleId>
              </a:tblPr>
              <a:tblGrid>
                <a:gridCol w="4733463">
                  <a:extLst>
                    <a:ext uri="{9D8B030D-6E8A-4147-A177-3AD203B41FA5}">
                      <a16:colId xmlns:a16="http://schemas.microsoft.com/office/drawing/2014/main" val="2839167773"/>
                    </a:ext>
                  </a:extLst>
                </a:gridCol>
                <a:gridCol w="2942705">
                  <a:extLst>
                    <a:ext uri="{9D8B030D-6E8A-4147-A177-3AD203B41FA5}">
                      <a16:colId xmlns:a16="http://schemas.microsoft.com/office/drawing/2014/main" val="1678004660"/>
                    </a:ext>
                  </a:extLst>
                </a:gridCol>
              </a:tblGrid>
              <a:tr h="0">
                <a:tc>
                  <a:txBody>
                    <a:bodyPr/>
                    <a:lstStyle/>
                    <a:p>
                      <a:pPr algn="ctr">
                        <a:lnSpc>
                          <a:spcPct val="125000"/>
                        </a:lnSpc>
                        <a:spcAft>
                          <a:spcPts val="1200"/>
                        </a:spcAft>
                      </a:pPr>
                      <a:r>
                        <a:rPr lang="en-GB" sz="1600" kern="100" dirty="0">
                          <a:effectLst/>
                        </a:rPr>
                        <a:t>RETROFEED solution</a:t>
                      </a:r>
                      <a:endParaRPr lang="sv-SE" sz="1600" kern="1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marL="0" algn="ctr" defTabSz="914400" rtl="0" eaLnBrk="1" latinLnBrk="0" hangingPunct="1">
                        <a:lnSpc>
                          <a:spcPct val="125000"/>
                        </a:lnSpc>
                        <a:spcAft>
                          <a:spcPts val="1200"/>
                        </a:spcAft>
                      </a:pPr>
                      <a:r>
                        <a:rPr lang="en-GB" sz="1600" b="1" kern="100" dirty="0">
                          <a:solidFill>
                            <a:schemeClr val="lt1"/>
                          </a:solidFill>
                          <a:effectLst/>
                          <a:latin typeface="+mn-lt"/>
                          <a:ea typeface="+mn-ea"/>
                          <a:cs typeface="+mn-cs"/>
                        </a:rPr>
                        <a:t>Replicability</a:t>
                      </a:r>
                      <a:endParaRPr lang="sv-SE" sz="1600" b="1" kern="100" dirty="0">
                        <a:solidFill>
                          <a:schemeClr val="lt1"/>
                        </a:solidFill>
                        <a:effectLst/>
                        <a:latin typeface="+mn-lt"/>
                        <a:ea typeface="+mn-ea"/>
                        <a:cs typeface="+mn-cs"/>
                      </a:endParaRPr>
                    </a:p>
                  </a:txBody>
                  <a:tcPr marL="68580" marR="68580" marT="0" marB="0" anchor="ctr"/>
                </a:tc>
                <a:extLst>
                  <a:ext uri="{0D108BD9-81ED-4DB2-BD59-A6C34878D82A}">
                    <a16:rowId xmlns:a16="http://schemas.microsoft.com/office/drawing/2014/main" val="1506738920"/>
                  </a:ext>
                </a:extLst>
              </a:tr>
              <a:tr h="0">
                <a:tc>
                  <a:txBody>
                    <a:bodyPr/>
                    <a:lstStyle/>
                    <a:p>
                      <a:pPr algn="just">
                        <a:lnSpc>
                          <a:spcPct val="125000"/>
                        </a:lnSpc>
                        <a:spcAft>
                          <a:spcPts val="1200"/>
                        </a:spcAft>
                      </a:pPr>
                      <a:r>
                        <a:rPr lang="en-GB" sz="1600" kern="100" dirty="0">
                          <a:effectLst/>
                        </a:rPr>
                        <a:t>Injection system and new burner for alternative material</a:t>
                      </a:r>
                      <a:endParaRPr lang="sv-SE" sz="1600" kern="1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lnSpc>
                          <a:spcPct val="125000"/>
                        </a:lnSpc>
                        <a:spcAft>
                          <a:spcPts val="1200"/>
                        </a:spcAft>
                      </a:pPr>
                      <a:r>
                        <a:rPr lang="en-GB" sz="1400" kern="100" dirty="0">
                          <a:effectLst/>
                        </a:rPr>
                        <a:t>YES</a:t>
                      </a:r>
                      <a:endParaRPr lang="sv-SE" sz="1400" kern="1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tc>
                <a:extLst>
                  <a:ext uri="{0D108BD9-81ED-4DB2-BD59-A6C34878D82A}">
                    <a16:rowId xmlns:a16="http://schemas.microsoft.com/office/drawing/2014/main" val="4229432378"/>
                  </a:ext>
                </a:extLst>
              </a:tr>
            </a:tbl>
          </a:graphicData>
        </a:graphic>
      </p:graphicFrame>
      <p:graphicFrame>
        <p:nvGraphicFramePr>
          <p:cNvPr id="12" name="Tabell 11">
            <a:extLst>
              <a:ext uri="{FF2B5EF4-FFF2-40B4-BE49-F238E27FC236}">
                <a16:creationId xmlns:a16="http://schemas.microsoft.com/office/drawing/2014/main" id="{0EC3BF2C-8B89-AA80-73F4-D7AAF594AB9C}"/>
              </a:ext>
            </a:extLst>
          </p:cNvPr>
          <p:cNvGraphicFramePr>
            <a:graphicFrameLocks noGrp="1"/>
          </p:cNvGraphicFramePr>
          <p:nvPr>
            <p:extLst>
              <p:ext uri="{D42A27DB-BD31-4B8C-83A1-F6EECF244321}">
                <p14:modId xmlns:p14="http://schemas.microsoft.com/office/powerpoint/2010/main" val="3151210096"/>
              </p:ext>
            </p:extLst>
          </p:nvPr>
        </p:nvGraphicFramePr>
        <p:xfrm>
          <a:off x="541518" y="5476005"/>
          <a:ext cx="5745163" cy="1666677"/>
        </p:xfrm>
        <a:graphic>
          <a:graphicData uri="http://schemas.openxmlformats.org/drawingml/2006/table">
            <a:tbl>
              <a:tblPr firstRow="1" firstCol="1" bandRow="1">
                <a:tableStyleId>{5C22544A-7EE6-4342-B048-85BDC9FD1C3A}</a:tableStyleId>
              </a:tblPr>
              <a:tblGrid>
                <a:gridCol w="2994263">
                  <a:extLst>
                    <a:ext uri="{9D8B030D-6E8A-4147-A177-3AD203B41FA5}">
                      <a16:colId xmlns:a16="http://schemas.microsoft.com/office/drawing/2014/main" val="3166973145"/>
                    </a:ext>
                  </a:extLst>
                </a:gridCol>
                <a:gridCol w="2750900">
                  <a:extLst>
                    <a:ext uri="{9D8B030D-6E8A-4147-A177-3AD203B41FA5}">
                      <a16:colId xmlns:a16="http://schemas.microsoft.com/office/drawing/2014/main" val="2817080502"/>
                    </a:ext>
                  </a:extLst>
                </a:gridCol>
              </a:tblGrid>
              <a:tr h="331272">
                <a:tc>
                  <a:txBody>
                    <a:bodyPr/>
                    <a:lstStyle/>
                    <a:p>
                      <a:pPr algn="ctr" rtl="0" fontAlgn="ctr"/>
                      <a:r>
                        <a:rPr lang="sv-SE" sz="1600" u="none" strike="noStrike" dirty="0">
                          <a:effectLst/>
                        </a:rPr>
                        <a:t>KRI</a:t>
                      </a:r>
                      <a:endParaRPr lang="sv-SE" sz="1600" b="1" i="0" u="none" strike="noStrike" dirty="0">
                        <a:solidFill>
                          <a:srgbClr val="FFFFFF"/>
                        </a:solidFill>
                        <a:effectLst/>
                        <a:latin typeface="Arial" panose="020B0604020202020204" pitchFamily="34" charset="0"/>
                      </a:endParaRPr>
                    </a:p>
                  </a:txBody>
                  <a:tcPr marL="9525" marR="9525" marT="9525" marB="0" anchor="ctr"/>
                </a:tc>
                <a:tc>
                  <a:txBody>
                    <a:bodyPr/>
                    <a:lstStyle/>
                    <a:p>
                      <a:pPr algn="ctr" rtl="0" fontAlgn="ctr"/>
                      <a:r>
                        <a:rPr lang="sv-SE" sz="1600" u="none" strike="noStrike">
                          <a:effectLst/>
                        </a:rPr>
                        <a:t>Change in KRI</a:t>
                      </a:r>
                      <a:endParaRPr lang="sv-SE" sz="1600" b="1" i="0" u="none" strike="noStrike">
                        <a:solidFill>
                          <a:srgbClr val="FFFFFF"/>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1840366725"/>
                  </a:ext>
                </a:extLst>
              </a:tr>
              <a:tr h="365760">
                <a:tc>
                  <a:txBody>
                    <a:bodyPr/>
                    <a:lstStyle/>
                    <a:p>
                      <a:pPr algn="ctr" rtl="0" fontAlgn="ctr"/>
                      <a:r>
                        <a:rPr lang="sv-SE" sz="1600" u="none" strike="noStrike">
                          <a:effectLst/>
                        </a:rPr>
                        <a:t>Electricity consumption</a:t>
                      </a:r>
                      <a:endParaRPr lang="sv-SE" sz="1600" b="1" i="0" u="none" strike="noStrike">
                        <a:solidFill>
                          <a:srgbClr val="FFFFFF"/>
                        </a:solidFill>
                        <a:effectLst/>
                        <a:latin typeface="Arial" panose="020B0604020202020204" pitchFamily="34" charset="0"/>
                      </a:endParaRPr>
                    </a:p>
                  </a:txBody>
                  <a:tcPr marL="9525" marR="9525" marT="9525" marB="0" anchor="ctr"/>
                </a:tc>
                <a:tc>
                  <a:txBody>
                    <a:bodyPr/>
                    <a:lstStyle/>
                    <a:p>
                      <a:pPr algn="ctr" rtl="0" fontAlgn="ctr"/>
                      <a:r>
                        <a:rPr lang="sv-SE" sz="1600" u="none" strike="noStrike" dirty="0">
                          <a:effectLst/>
                        </a:rPr>
                        <a:t>0.9%</a:t>
                      </a:r>
                      <a:endParaRPr lang="sv-SE" sz="1600" b="0" i="0" u="none" strike="noStrike" dirty="0">
                        <a:solidFill>
                          <a:srgbClr val="2F2F2F"/>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3732553802"/>
                  </a:ext>
                </a:extLst>
              </a:tr>
              <a:tr h="358140">
                <a:tc>
                  <a:txBody>
                    <a:bodyPr/>
                    <a:lstStyle/>
                    <a:p>
                      <a:pPr algn="ctr" rtl="0" fontAlgn="ctr"/>
                      <a:r>
                        <a:rPr lang="sv-SE" sz="1600" u="none" strike="noStrike">
                          <a:effectLst/>
                        </a:rPr>
                        <a:t>Natural gas consumption</a:t>
                      </a:r>
                      <a:endParaRPr lang="sv-SE" sz="1600" b="1" i="0" u="none" strike="noStrike">
                        <a:solidFill>
                          <a:srgbClr val="FFFFFF"/>
                        </a:solidFill>
                        <a:effectLst/>
                        <a:latin typeface="Arial" panose="020B0604020202020204" pitchFamily="34" charset="0"/>
                      </a:endParaRPr>
                    </a:p>
                  </a:txBody>
                  <a:tcPr marL="9525" marR="9525" marT="9525" marB="0" anchor="ctr"/>
                </a:tc>
                <a:tc>
                  <a:txBody>
                    <a:bodyPr/>
                    <a:lstStyle/>
                    <a:p>
                      <a:pPr algn="ctr" rtl="0" fontAlgn="ctr"/>
                      <a:r>
                        <a:rPr lang="sv-SE" sz="1600" u="none" strike="noStrike" dirty="0">
                          <a:effectLst/>
                        </a:rPr>
                        <a:t>-13.0%</a:t>
                      </a:r>
                      <a:endParaRPr lang="sv-SE" sz="1600" b="0" i="0" u="none" strike="noStrike" dirty="0">
                        <a:solidFill>
                          <a:srgbClr val="2F2F2F"/>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2604850477"/>
                  </a:ext>
                </a:extLst>
              </a:tr>
              <a:tr h="358140">
                <a:tc>
                  <a:txBody>
                    <a:bodyPr/>
                    <a:lstStyle/>
                    <a:p>
                      <a:pPr algn="ctr" rtl="0" fontAlgn="ctr"/>
                      <a:r>
                        <a:rPr lang="sv-SE" sz="1600" u="none" strike="noStrike">
                          <a:effectLst/>
                        </a:rPr>
                        <a:t>Primary energy consumption</a:t>
                      </a:r>
                      <a:endParaRPr lang="sv-SE" sz="1600" b="1" i="0" u="none" strike="noStrike">
                        <a:solidFill>
                          <a:srgbClr val="FFFFFF"/>
                        </a:solidFill>
                        <a:effectLst/>
                        <a:latin typeface="Arial" panose="020B0604020202020204" pitchFamily="34" charset="0"/>
                      </a:endParaRPr>
                    </a:p>
                  </a:txBody>
                  <a:tcPr marL="9525" marR="9525" marT="9525" marB="0" anchor="ctr"/>
                </a:tc>
                <a:tc>
                  <a:txBody>
                    <a:bodyPr/>
                    <a:lstStyle/>
                    <a:p>
                      <a:pPr algn="ctr" rtl="0" fontAlgn="ctr"/>
                      <a:r>
                        <a:rPr lang="sv-SE" sz="1600" u="none" strike="noStrike" dirty="0">
                          <a:effectLst/>
                        </a:rPr>
                        <a:t>-1.9%</a:t>
                      </a:r>
                      <a:endParaRPr lang="sv-SE" sz="1600" b="0" i="0" u="none" strike="noStrike" dirty="0">
                        <a:solidFill>
                          <a:srgbClr val="2F2F2F"/>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3215474322"/>
                  </a:ext>
                </a:extLst>
              </a:tr>
              <a:tr h="213360">
                <a:tc>
                  <a:txBody>
                    <a:bodyPr/>
                    <a:lstStyle/>
                    <a:p>
                      <a:pPr algn="ctr" rtl="0" fontAlgn="ctr"/>
                      <a:r>
                        <a:rPr lang="sv-SE" sz="1600" u="none" strike="noStrike" dirty="0">
                          <a:effectLst/>
                        </a:rPr>
                        <a:t>CO</a:t>
                      </a:r>
                      <a:r>
                        <a:rPr lang="sv-SE" sz="1600" u="none" strike="noStrike" baseline="-25000" dirty="0">
                          <a:effectLst/>
                        </a:rPr>
                        <a:t>2</a:t>
                      </a:r>
                      <a:r>
                        <a:rPr lang="sv-SE" sz="1600" u="none" strike="noStrike" dirty="0">
                          <a:effectLst/>
                        </a:rPr>
                        <a:t> emissions</a:t>
                      </a:r>
                      <a:endParaRPr lang="sv-SE" sz="1600" b="1" i="0" u="none" strike="noStrike" dirty="0">
                        <a:solidFill>
                          <a:srgbClr val="FFFFFF"/>
                        </a:solidFill>
                        <a:effectLst/>
                        <a:latin typeface="Arial" panose="020B0604020202020204" pitchFamily="34" charset="0"/>
                      </a:endParaRPr>
                    </a:p>
                  </a:txBody>
                  <a:tcPr marL="9525" marR="9525" marT="9525" marB="0" anchor="ctr"/>
                </a:tc>
                <a:tc>
                  <a:txBody>
                    <a:bodyPr/>
                    <a:lstStyle/>
                    <a:p>
                      <a:pPr algn="ctr" rtl="0" fontAlgn="ctr"/>
                      <a:r>
                        <a:rPr lang="sv-SE" sz="1600" u="none" strike="noStrike" dirty="0">
                          <a:effectLst/>
                        </a:rPr>
                        <a:t>-3.8%</a:t>
                      </a:r>
                      <a:endParaRPr lang="sv-SE" sz="1600" b="0" i="0" u="none" strike="noStrike" dirty="0">
                        <a:solidFill>
                          <a:srgbClr val="2F2F2F"/>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3090249813"/>
                  </a:ext>
                </a:extLst>
              </a:tr>
            </a:tbl>
          </a:graphicData>
        </a:graphic>
      </p:graphicFrame>
      <p:pic>
        <p:nvPicPr>
          <p:cNvPr id="16" name="Picture 16" descr="RETROFEED PITTINI">
            <a:hlinkClick r:id="rId6" action="ppaction://hlinksldjump"/>
            <a:extLst>
              <a:ext uri="{FF2B5EF4-FFF2-40B4-BE49-F238E27FC236}">
                <a16:creationId xmlns:a16="http://schemas.microsoft.com/office/drawing/2014/main" id="{096F701B-57E8-3ECD-EFE7-946398A0565D}"/>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6033378" y="475029"/>
            <a:ext cx="1873622" cy="367936"/>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5" descr="Immagine che contiene fabbrica, edificio, luce, notte&#10;&#10;Descrizione generata automaticamente">
            <a:extLst>
              <a:ext uri="{FF2B5EF4-FFF2-40B4-BE49-F238E27FC236}">
                <a16:creationId xmlns:a16="http://schemas.microsoft.com/office/drawing/2014/main" id="{67B63A70-23DE-A738-504E-B4C01FD3828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784203" y="1894860"/>
            <a:ext cx="4938680" cy="3192074"/>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Immagine che contiene edificio, ponteggio, blu&#10;&#10;Descrizione generata automaticamente">
            <a:extLst>
              <a:ext uri="{FF2B5EF4-FFF2-40B4-BE49-F238E27FC236}">
                <a16:creationId xmlns:a16="http://schemas.microsoft.com/office/drawing/2014/main" id="{B8035FC5-8E40-1AA3-EFDD-935AD51F7EB5}"/>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1784203" y="5481583"/>
            <a:ext cx="4938681" cy="32885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13805847"/>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descr="A map of europe with green dots&#10;&#10;Description automatically generated">
            <a:extLst>
              <a:ext uri="{FF2B5EF4-FFF2-40B4-BE49-F238E27FC236}">
                <a16:creationId xmlns:a16="http://schemas.microsoft.com/office/drawing/2014/main" id="{882EBB3F-227D-398B-BA46-B8B6DB41417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905278" y="1278676"/>
            <a:ext cx="5745163" cy="6952576"/>
          </a:xfrm>
          <a:prstGeom prst="rect">
            <a:avLst/>
          </a:prstGeom>
          <a:noFill/>
          <a:extLst>
            <a:ext uri="{909E8E84-426E-40DD-AFC4-6F175D3DCCD1}">
              <a14:hiddenFill xmlns:a14="http://schemas.microsoft.com/office/drawing/2010/main">
                <a:solidFill>
                  <a:srgbClr val="FFFFFF"/>
                </a:solidFill>
              </a14:hiddenFill>
            </a:ext>
          </a:extLst>
        </p:spPr>
      </p:pic>
      <p:pic>
        <p:nvPicPr>
          <p:cNvPr id="131" name="Picture 12">
            <a:extLst>
              <a:ext uri="{FF2B5EF4-FFF2-40B4-BE49-F238E27FC236}">
                <a16:creationId xmlns:a16="http://schemas.microsoft.com/office/drawing/2014/main" id="{43802E0E-B79D-4EA7-8141-0CA3ED138B1A}"/>
              </a:ext>
            </a:extLst>
          </p:cNvPr>
          <p:cNvPicPr>
            <a:picLocks noChangeAspect="1"/>
          </p:cNvPicPr>
          <p:nvPr/>
        </p:nvPicPr>
        <p:blipFill>
          <a:blip r:embed="rId4"/>
          <a:srcRect/>
          <a:stretch>
            <a:fillRect/>
          </a:stretch>
        </p:blipFill>
        <p:spPr>
          <a:xfrm>
            <a:off x="0" y="8959889"/>
            <a:ext cx="5715000" cy="1385887"/>
          </a:xfrm>
          <a:prstGeom prst="rect">
            <a:avLst/>
          </a:prstGeom>
        </p:spPr>
      </p:pic>
      <p:grpSp>
        <p:nvGrpSpPr>
          <p:cNvPr id="132" name="Gruppo 2">
            <a:extLst>
              <a:ext uri="{FF2B5EF4-FFF2-40B4-BE49-F238E27FC236}">
                <a16:creationId xmlns:a16="http://schemas.microsoft.com/office/drawing/2014/main" id="{649928F6-6E82-4611-9715-AD3C75457C28}"/>
              </a:ext>
            </a:extLst>
          </p:cNvPr>
          <p:cNvGrpSpPr/>
          <p:nvPr/>
        </p:nvGrpSpPr>
        <p:grpSpPr>
          <a:xfrm>
            <a:off x="-12" y="138554"/>
            <a:ext cx="18288002" cy="681138"/>
            <a:chOff x="-12" y="138554"/>
            <a:chExt cx="18288002" cy="681138"/>
          </a:xfrm>
        </p:grpSpPr>
        <p:grpSp>
          <p:nvGrpSpPr>
            <p:cNvPr id="133" name="Gruppo 1">
              <a:extLst>
                <a:ext uri="{FF2B5EF4-FFF2-40B4-BE49-F238E27FC236}">
                  <a16:creationId xmlns:a16="http://schemas.microsoft.com/office/drawing/2014/main" id="{A8EB8794-E5C6-45EB-BAEC-2778E982797A}"/>
                </a:ext>
              </a:extLst>
            </p:cNvPr>
            <p:cNvGrpSpPr/>
            <p:nvPr/>
          </p:nvGrpSpPr>
          <p:grpSpPr>
            <a:xfrm>
              <a:off x="0" y="153125"/>
              <a:ext cx="17907000" cy="666567"/>
              <a:chOff x="0" y="153125"/>
              <a:chExt cx="17907000" cy="666567"/>
            </a:xfrm>
          </p:grpSpPr>
          <p:grpSp>
            <p:nvGrpSpPr>
              <p:cNvPr id="135" name="Gruppo 15">
                <a:extLst>
                  <a:ext uri="{FF2B5EF4-FFF2-40B4-BE49-F238E27FC236}">
                    <a16:creationId xmlns:a16="http://schemas.microsoft.com/office/drawing/2014/main" id="{AB129748-9FD7-458D-BD6E-304271C1814A}"/>
                  </a:ext>
                </a:extLst>
              </p:cNvPr>
              <p:cNvGrpSpPr/>
              <p:nvPr/>
            </p:nvGrpSpPr>
            <p:grpSpPr>
              <a:xfrm>
                <a:off x="0" y="153125"/>
                <a:ext cx="13958844" cy="666567"/>
                <a:chOff x="0" y="153125"/>
                <a:chExt cx="13958844" cy="666567"/>
              </a:xfrm>
            </p:grpSpPr>
            <p:pic>
              <p:nvPicPr>
                <p:cNvPr id="137" name="Picture 136">
                  <a:extLst>
                    <a:ext uri="{FF2B5EF4-FFF2-40B4-BE49-F238E27FC236}">
                      <a16:creationId xmlns:a16="http://schemas.microsoft.com/office/drawing/2014/main" id="{88E31CFD-796F-4F3F-A1EC-0E38F9D83456}"/>
                    </a:ext>
                  </a:extLst>
                </p:cNvPr>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38" name="TextBox 137">
                  <a:extLst>
                    <a:ext uri="{FF2B5EF4-FFF2-40B4-BE49-F238E27FC236}">
                      <a16:creationId xmlns:a16="http://schemas.microsoft.com/office/drawing/2014/main" id="{7694DADD-E227-40A7-A98D-244B0D207E54}"/>
                    </a:ext>
                  </a:extLst>
                </p:cNvPr>
                <p:cNvSpPr txBox="1"/>
                <p:nvPr/>
              </p:nvSpPr>
              <p:spPr>
                <a:xfrm>
                  <a:off x="228600" y="257980"/>
                  <a:ext cx="9296400" cy="456856"/>
                </a:xfrm>
                <a:prstGeom prst="rect">
                  <a:avLst/>
                </a:prstGeom>
              </p:spPr>
              <p:txBody>
                <a:bodyPr wrap="square" lIns="0" tIns="0" rIns="0" bIns="0" rtlCol="0" anchor="t">
                  <a:spAutoFit/>
                </a:bodyPr>
                <a:lstStyle/>
                <a:p>
                  <a:pPr marL="0" marR="0" lvl="0" indent="0" algn="l" defTabSz="914400" rtl="0" eaLnBrk="1" fontAlgn="auto" latinLnBrk="0" hangingPunct="1">
                    <a:lnSpc>
                      <a:spcPts val="3919"/>
                    </a:lnSpc>
                    <a:spcBef>
                      <a:spcPct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36" name="TextBox 135">
                <a:extLst>
                  <a:ext uri="{FF2B5EF4-FFF2-40B4-BE49-F238E27FC236}">
                    <a16:creationId xmlns:a16="http://schemas.microsoft.com/office/drawing/2014/main" id="{4B3CCEBB-60EF-4175-9878-F0D51FD80FF0}"/>
                  </a:ext>
                </a:extLst>
              </p:cNvPr>
              <p:cNvSpPr txBox="1"/>
              <p:nvPr/>
            </p:nvSpPr>
            <p:spPr>
              <a:xfrm>
                <a:off x="12154296" y="257980"/>
                <a:ext cx="5752704" cy="456856"/>
              </a:xfrm>
              <a:prstGeom prst="rect">
                <a:avLst/>
              </a:prstGeom>
            </p:spPr>
            <p:txBody>
              <a:bodyPr wrap="square" lIns="0" tIns="0" rIns="0" bIns="0" rtlCol="0" anchor="t">
                <a:spAutoFit/>
              </a:bodyPr>
              <a:lstStyle/>
              <a:p>
                <a:pPr marL="0" marR="0" lvl="0" indent="0" algn="r" defTabSz="914400" rtl="0" eaLnBrk="1" fontAlgn="auto" latinLnBrk="0" hangingPunct="1">
                  <a:lnSpc>
                    <a:spcPts val="3919"/>
                  </a:lnSpc>
                  <a:spcBef>
                    <a:spcPct val="0"/>
                  </a:spcBef>
                  <a:spcAft>
                    <a:spcPts val="0"/>
                  </a:spcAft>
                  <a:buClrTx/>
                  <a:buSzTx/>
                  <a:buFontTx/>
                  <a:buNone/>
                  <a:tabLst/>
                  <a:defRPr/>
                </a:pPr>
                <a:endParaRPr kumimoji="0" lang="en-US" sz="2800" b="0" i="0" u="none" strike="noStrike" kern="1200" cap="none" spc="0" normalizeH="0" baseline="0" noProof="0">
                  <a:ln>
                    <a:noFill/>
                  </a:ln>
                  <a:solidFill>
                    <a:srgbClr val="2F2F2F">
                      <a:lumMod val="75000"/>
                      <a:lumOff val="25000"/>
                    </a:srgbClr>
                  </a:solidFill>
                  <a:effectLst/>
                  <a:uLnTx/>
                  <a:uFillTx/>
                  <a:latin typeface="Arial" panose="020B0604020202020204" pitchFamily="34" charset="0"/>
                  <a:ea typeface="+mn-ea"/>
                  <a:cs typeface="Arial" panose="020B0604020202020204" pitchFamily="34" charset="0"/>
                </a:endParaRPr>
              </a:p>
            </p:txBody>
          </p:sp>
        </p:grpSp>
        <p:sp>
          <p:nvSpPr>
            <p:cNvPr id="134" name="Rettangolo 13">
              <a:extLst>
                <a:ext uri="{FF2B5EF4-FFF2-40B4-BE49-F238E27FC236}">
                  <a16:creationId xmlns:a16="http://schemas.microsoft.com/office/drawing/2014/main" id="{8F0CF2A7-592A-4287-9206-D3289F1B0C37}"/>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pic>
        <p:nvPicPr>
          <p:cNvPr id="139" name="Picture 12">
            <a:extLst>
              <a:ext uri="{FF2B5EF4-FFF2-40B4-BE49-F238E27FC236}">
                <a16:creationId xmlns:a16="http://schemas.microsoft.com/office/drawing/2014/main" id="{F047215A-40D8-4A57-BE02-5E03FCEEBB7B}"/>
              </a:ext>
            </a:extLst>
          </p:cNvPr>
          <p:cNvPicPr>
            <a:picLocks noChangeAspect="1"/>
          </p:cNvPicPr>
          <p:nvPr/>
        </p:nvPicPr>
        <p:blipFill>
          <a:blip r:embed="rId6"/>
          <a:srcRect l="134" t="91287" b="3943"/>
          <a:stretch>
            <a:fillRect/>
          </a:stretch>
        </p:blipFill>
        <p:spPr>
          <a:xfrm rot="10800000">
            <a:off x="4329146" y="9679208"/>
            <a:ext cx="13958844" cy="666567"/>
          </a:xfrm>
          <a:prstGeom prst="rect">
            <a:avLst/>
          </a:prstGeom>
        </p:spPr>
      </p:pic>
      <p:sp>
        <p:nvSpPr>
          <p:cNvPr id="140" name="TextBox 16">
            <a:extLst>
              <a:ext uri="{FF2B5EF4-FFF2-40B4-BE49-F238E27FC236}">
                <a16:creationId xmlns:a16="http://schemas.microsoft.com/office/drawing/2014/main" id="{C693B1DB-897C-4A9D-8CF3-F1423F6CB38D}"/>
              </a:ext>
            </a:extLst>
          </p:cNvPr>
          <p:cNvSpPr txBox="1"/>
          <p:nvPr/>
        </p:nvSpPr>
        <p:spPr>
          <a:xfrm>
            <a:off x="14400019" y="9762301"/>
            <a:ext cx="3636320" cy="448713"/>
          </a:xfrm>
          <a:prstGeom prst="rect">
            <a:avLst/>
          </a:prstGeom>
        </p:spPr>
        <p:txBody>
          <a:bodyPr wrap="square" lIns="0" tIns="0" rIns="0" bIns="0" rtlCol="0" anchor="t">
            <a:spAutoFit/>
          </a:bodyPr>
          <a:lstStyle/>
          <a:p>
            <a:pPr marL="0" marR="0" lvl="0" indent="0" algn="ctr" defTabSz="914400" rtl="0" eaLnBrk="1" fontAlgn="auto" latinLnBrk="0" hangingPunct="1">
              <a:lnSpc>
                <a:spcPts val="3919"/>
              </a:lnSpc>
              <a:spcBef>
                <a:spcPct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OCR A Extended" panose="02010509020102010303" pitchFamily="50" charset="0"/>
                <a:ea typeface="+mn-ea"/>
                <a:cs typeface="+mn-cs"/>
              </a:rPr>
              <a:t>www.retrofeed.eu</a:t>
            </a:r>
          </a:p>
        </p:txBody>
      </p:sp>
      <p:sp>
        <p:nvSpPr>
          <p:cNvPr id="4" name="TextBox 3">
            <a:extLst>
              <a:ext uri="{FF2B5EF4-FFF2-40B4-BE49-F238E27FC236}">
                <a16:creationId xmlns:a16="http://schemas.microsoft.com/office/drawing/2014/main" id="{E2A6C351-D084-461B-85B4-078A69C47372}"/>
              </a:ext>
            </a:extLst>
          </p:cNvPr>
          <p:cNvSpPr txBox="1"/>
          <p:nvPr/>
        </p:nvSpPr>
        <p:spPr>
          <a:xfrm>
            <a:off x="350519" y="1018656"/>
            <a:ext cx="18552623" cy="76944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400" b="1" i="0" u="none" strike="noStrike" kern="1200" cap="none" spc="0" normalizeH="0" baseline="0" noProof="0" dirty="0">
                <a:ln>
                  <a:noFill/>
                </a:ln>
                <a:solidFill>
                  <a:srgbClr val="CC0033"/>
                </a:solidFill>
                <a:effectLst/>
                <a:uLnTx/>
                <a:uFillTx/>
                <a:latin typeface="Arial"/>
                <a:ea typeface="+mn-ea"/>
                <a:cs typeface="Arial" panose="020B0604020202020204" pitchFamily="34" charset="0"/>
              </a:rPr>
              <a:t>Agrochemical Sector Situation &amp; Replicability</a:t>
            </a:r>
            <a:endParaRPr kumimoji="0" lang="sv-SE" sz="4400" b="1" i="0" u="none" strike="noStrike" kern="1200" cap="none" spc="0" normalizeH="0" baseline="0" noProof="0" dirty="0">
              <a:ln>
                <a:noFill/>
              </a:ln>
              <a:solidFill>
                <a:srgbClr val="CC0033"/>
              </a:solidFill>
              <a:effectLst/>
              <a:uLnTx/>
              <a:uFillTx/>
              <a:latin typeface="Arial"/>
              <a:ea typeface="+mn-ea"/>
              <a:cs typeface="Arial" panose="020B0604020202020204" pitchFamily="34" charset="0"/>
            </a:endParaRPr>
          </a:p>
        </p:txBody>
      </p:sp>
      <p:sp>
        <p:nvSpPr>
          <p:cNvPr id="2" name="Platshållare för innehåll 2">
            <a:extLst>
              <a:ext uri="{FF2B5EF4-FFF2-40B4-BE49-F238E27FC236}">
                <a16:creationId xmlns:a16="http://schemas.microsoft.com/office/drawing/2014/main" id="{E326ED3E-7F7B-6D67-3818-1C11AA6EFBE3}"/>
              </a:ext>
            </a:extLst>
          </p:cNvPr>
          <p:cNvSpPr txBox="1">
            <a:spLocks/>
          </p:cNvSpPr>
          <p:nvPr/>
        </p:nvSpPr>
        <p:spPr>
          <a:xfrm>
            <a:off x="510802" y="2142606"/>
            <a:ext cx="8766202" cy="3626427"/>
          </a:xfrm>
          <a:prstGeom prst="rect">
            <a:avLst/>
          </a:prstGeom>
        </p:spPr>
        <p:txBody>
          <a:bodyPr>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000" b="0" i="0" dirty="0">
                <a:solidFill>
                  <a:srgbClr val="000000"/>
                </a:solidFill>
                <a:effectLst/>
                <a:latin typeface="Arial" panose="020B0604020202020204" pitchFamily="34" charset="0"/>
              </a:rPr>
              <a:t>Total production in EU of 17.3 million tons/y (out of a worldwide value of 259.1 million tons/y), of which 72% nitrogen-based, 12% phosphorus-based and 16% potassium-based. The sector employs 76,000 persons and generates 12.3 billion €/y of revenues.</a:t>
            </a:r>
            <a:endParaRPr lang="en-US" sz="2000" dirty="0"/>
          </a:p>
          <a:p>
            <a:r>
              <a:rPr lang="en-US" sz="2000" dirty="0"/>
              <a:t>Fertilizers is responsible of GHG emissions of 1.909 tCO2e/</a:t>
            </a:r>
            <a:r>
              <a:rPr lang="en-US" sz="2000" dirty="0" err="1"/>
              <a:t>tN</a:t>
            </a:r>
            <a:r>
              <a:rPr lang="en-US" sz="2000" dirty="0"/>
              <a:t> (value referred to urea and excluding CO</a:t>
            </a:r>
            <a:r>
              <a:rPr lang="en-US" sz="2000" baseline="-25000" dirty="0"/>
              <a:t>2</a:t>
            </a:r>
            <a:r>
              <a:rPr lang="en-US" sz="2000" dirty="0"/>
              <a:t> captured in the product)</a:t>
            </a:r>
            <a:r>
              <a:rPr lang="en-US" sz="2000" dirty="0">
                <a:sym typeface="Wingdings" panose="05000000000000000000" pitchFamily="2" charset="2"/>
              </a:rPr>
              <a:t>	</a:t>
            </a:r>
          </a:p>
          <a:p>
            <a:pPr marL="0" indent="0">
              <a:buNone/>
            </a:pPr>
            <a:r>
              <a:rPr lang="en-US" sz="2000" dirty="0">
                <a:sym typeface="Wingdings" panose="05000000000000000000" pitchFamily="2" charset="2"/>
              </a:rPr>
              <a:t>	</a:t>
            </a:r>
            <a:r>
              <a:rPr lang="en-US" sz="2000" dirty="0"/>
              <a:t> Total GHG emissions for the EU production ~33 million tCO2e/y.</a:t>
            </a:r>
          </a:p>
          <a:p>
            <a:pPr marL="0" indent="0">
              <a:buNone/>
            </a:pPr>
            <a:endParaRPr lang="sv-SE" dirty="0"/>
          </a:p>
          <a:p>
            <a:pPr marL="0" indent="0">
              <a:buNone/>
            </a:pPr>
            <a:endParaRPr lang="sv-SE" dirty="0"/>
          </a:p>
        </p:txBody>
      </p:sp>
      <p:sp>
        <p:nvSpPr>
          <p:cNvPr id="6" name="textruta 5">
            <a:extLst>
              <a:ext uri="{FF2B5EF4-FFF2-40B4-BE49-F238E27FC236}">
                <a16:creationId xmlns:a16="http://schemas.microsoft.com/office/drawing/2014/main" id="{80DF19A3-1431-9C58-0EE1-E72D8BC9B22D}"/>
              </a:ext>
            </a:extLst>
          </p:cNvPr>
          <p:cNvSpPr txBox="1"/>
          <p:nvPr/>
        </p:nvSpPr>
        <p:spPr>
          <a:xfrm>
            <a:off x="10741083" y="8406035"/>
            <a:ext cx="5715000" cy="369332"/>
          </a:xfrm>
          <a:prstGeom prst="rect">
            <a:avLst/>
          </a:prstGeom>
          <a:noFill/>
        </p:spPr>
        <p:txBody>
          <a:bodyPr wrap="square">
            <a:spAutoFit/>
          </a:bodyPr>
          <a:lstStyle/>
          <a:p>
            <a:pPr>
              <a:spcBef>
                <a:spcPts val="600"/>
              </a:spcBef>
              <a:spcAft>
                <a:spcPts val="600"/>
              </a:spcAft>
            </a:pPr>
            <a:r>
              <a:rPr lang="en-US" sz="1800" b="0" i="1" dirty="0">
                <a:solidFill>
                  <a:srgbClr val="404040"/>
                </a:solidFill>
                <a:effectLst/>
                <a:latin typeface="Liberation Serif"/>
              </a:rPr>
              <a:t>Map of Main Fertilizers Production Plants in Europe </a:t>
            </a:r>
            <a:endParaRPr lang="sv-SE" i="1" kern="100" dirty="0">
              <a:solidFill>
                <a:srgbClr val="404040"/>
              </a:solidFill>
              <a:latin typeface="Liberation Serif"/>
            </a:endParaRPr>
          </a:p>
        </p:txBody>
      </p:sp>
      <p:sp>
        <p:nvSpPr>
          <p:cNvPr id="8" name="textruta 7">
            <a:extLst>
              <a:ext uri="{FF2B5EF4-FFF2-40B4-BE49-F238E27FC236}">
                <a16:creationId xmlns:a16="http://schemas.microsoft.com/office/drawing/2014/main" id="{B7306508-6EF7-50F5-83E3-36A1A4D12BFB}"/>
              </a:ext>
            </a:extLst>
          </p:cNvPr>
          <p:cNvSpPr txBox="1"/>
          <p:nvPr/>
        </p:nvSpPr>
        <p:spPr>
          <a:xfrm>
            <a:off x="504978" y="7193466"/>
            <a:ext cx="7712708" cy="666568"/>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sv-SE" sz="1800" b="0" i="1" u="none" strike="noStrike" cap="none" normalizeH="0" baseline="0" dirty="0">
                <a:ln>
                  <a:noFill/>
                </a:ln>
                <a:solidFill>
                  <a:srgbClr val="000000"/>
                </a:solidFill>
                <a:effectLst/>
                <a:latin typeface="Arial" panose="020B0604020202020204" pitchFamily="34" charset="0"/>
                <a:ea typeface="Calibri" panose="020F0502020204030204" pitchFamily="34" charset="0"/>
                <a:cs typeface="Arial" panose="020B0604020202020204" pitchFamily="34" charset="0"/>
              </a:rPr>
              <a:t>Replicability within the fertilizer sector, according to the Consortium knowledge and experience:</a:t>
            </a:r>
            <a:endParaRPr kumimoji="0" lang="sv-SE" altLang="sv-SE" sz="1800" b="0" i="1" u="none" strike="noStrike" cap="none" normalizeH="0" baseline="0" dirty="0">
              <a:ln>
                <a:noFill/>
              </a:ln>
              <a:solidFill>
                <a:schemeClr val="tx1"/>
              </a:solidFill>
              <a:effectLst/>
            </a:endParaRPr>
          </a:p>
        </p:txBody>
      </p:sp>
      <p:graphicFrame>
        <p:nvGraphicFramePr>
          <p:cNvPr id="9" name="Tabell 8">
            <a:extLst>
              <a:ext uri="{FF2B5EF4-FFF2-40B4-BE49-F238E27FC236}">
                <a16:creationId xmlns:a16="http://schemas.microsoft.com/office/drawing/2014/main" id="{D8FE9D65-0AAD-5779-7047-116E51F65631}"/>
              </a:ext>
            </a:extLst>
          </p:cNvPr>
          <p:cNvGraphicFramePr>
            <a:graphicFrameLocks noGrp="1"/>
          </p:cNvGraphicFramePr>
          <p:nvPr>
            <p:extLst>
              <p:ext uri="{D42A27DB-BD31-4B8C-83A1-F6EECF244321}">
                <p14:modId xmlns:p14="http://schemas.microsoft.com/office/powerpoint/2010/main" val="1088733628"/>
              </p:ext>
            </p:extLst>
          </p:nvPr>
        </p:nvGraphicFramePr>
        <p:xfrm>
          <a:off x="541518" y="7843113"/>
          <a:ext cx="7676168" cy="854456"/>
        </p:xfrm>
        <a:graphic>
          <a:graphicData uri="http://schemas.openxmlformats.org/drawingml/2006/table">
            <a:tbl>
              <a:tblPr firstRow="1" firstCol="1" bandRow="1">
                <a:tableStyleId>{5C22544A-7EE6-4342-B048-85BDC9FD1C3A}</a:tableStyleId>
              </a:tblPr>
              <a:tblGrid>
                <a:gridCol w="4733463">
                  <a:extLst>
                    <a:ext uri="{9D8B030D-6E8A-4147-A177-3AD203B41FA5}">
                      <a16:colId xmlns:a16="http://schemas.microsoft.com/office/drawing/2014/main" val="2839167773"/>
                    </a:ext>
                  </a:extLst>
                </a:gridCol>
                <a:gridCol w="2942705">
                  <a:extLst>
                    <a:ext uri="{9D8B030D-6E8A-4147-A177-3AD203B41FA5}">
                      <a16:colId xmlns:a16="http://schemas.microsoft.com/office/drawing/2014/main" val="1678004660"/>
                    </a:ext>
                  </a:extLst>
                </a:gridCol>
              </a:tblGrid>
              <a:tr h="0">
                <a:tc>
                  <a:txBody>
                    <a:bodyPr/>
                    <a:lstStyle/>
                    <a:p>
                      <a:pPr algn="ctr">
                        <a:lnSpc>
                          <a:spcPct val="125000"/>
                        </a:lnSpc>
                        <a:spcAft>
                          <a:spcPts val="1200"/>
                        </a:spcAft>
                      </a:pPr>
                      <a:r>
                        <a:rPr lang="en-GB" sz="1600" kern="100" dirty="0">
                          <a:effectLst/>
                        </a:rPr>
                        <a:t>RETROFEED solution</a:t>
                      </a:r>
                      <a:endParaRPr lang="sv-SE" sz="1600" kern="1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marL="0" algn="ctr" defTabSz="914400" rtl="0" eaLnBrk="1" latinLnBrk="0" hangingPunct="1">
                        <a:lnSpc>
                          <a:spcPct val="125000"/>
                        </a:lnSpc>
                        <a:spcAft>
                          <a:spcPts val="1200"/>
                        </a:spcAft>
                      </a:pPr>
                      <a:r>
                        <a:rPr lang="en-GB" sz="1600" b="1" kern="100" dirty="0">
                          <a:solidFill>
                            <a:schemeClr val="lt1"/>
                          </a:solidFill>
                          <a:effectLst/>
                          <a:latin typeface="+mn-lt"/>
                          <a:ea typeface="+mn-ea"/>
                          <a:cs typeface="+mn-cs"/>
                        </a:rPr>
                        <a:t>Replicability</a:t>
                      </a:r>
                      <a:endParaRPr lang="sv-SE" sz="1600" b="1" kern="100" dirty="0">
                        <a:solidFill>
                          <a:schemeClr val="lt1"/>
                        </a:solidFill>
                        <a:effectLst/>
                        <a:latin typeface="+mn-lt"/>
                        <a:ea typeface="+mn-ea"/>
                        <a:cs typeface="+mn-cs"/>
                      </a:endParaRPr>
                    </a:p>
                  </a:txBody>
                  <a:tcPr marL="68580" marR="68580" marT="0" marB="0" anchor="ctr"/>
                </a:tc>
                <a:extLst>
                  <a:ext uri="{0D108BD9-81ED-4DB2-BD59-A6C34878D82A}">
                    <a16:rowId xmlns:a16="http://schemas.microsoft.com/office/drawing/2014/main" val="1506738920"/>
                  </a:ext>
                </a:extLst>
              </a:tr>
              <a:tr h="0">
                <a:tc>
                  <a:txBody>
                    <a:bodyPr/>
                    <a:lstStyle/>
                    <a:p>
                      <a:pPr algn="just">
                        <a:lnSpc>
                          <a:spcPct val="125000"/>
                        </a:lnSpc>
                        <a:spcAft>
                          <a:spcPts val="1200"/>
                        </a:spcAft>
                      </a:pPr>
                      <a:r>
                        <a:rPr lang="en-US" sz="1600" b="1" kern="100" dirty="0">
                          <a:solidFill>
                            <a:schemeClr val="lt1"/>
                          </a:solidFill>
                          <a:effectLst/>
                          <a:latin typeface="+mn-lt"/>
                          <a:ea typeface="+mn-ea"/>
                          <a:cs typeface="+mn-cs"/>
                        </a:rPr>
                        <a:t>Novel reactor for ammonia reaction with concentrated </a:t>
                      </a:r>
                      <a:r>
                        <a:rPr lang="en-US" sz="1600" b="1" kern="100" dirty="0" err="1">
                          <a:solidFill>
                            <a:schemeClr val="lt1"/>
                          </a:solidFill>
                          <a:effectLst/>
                          <a:latin typeface="+mn-lt"/>
                          <a:ea typeface="+mn-ea"/>
                          <a:cs typeface="+mn-cs"/>
                        </a:rPr>
                        <a:t>sulphuric</a:t>
                      </a:r>
                      <a:r>
                        <a:rPr lang="en-US" sz="1600" b="1" kern="100" dirty="0">
                          <a:solidFill>
                            <a:schemeClr val="lt1"/>
                          </a:solidFill>
                          <a:effectLst/>
                          <a:latin typeface="+mn-lt"/>
                          <a:ea typeface="+mn-ea"/>
                          <a:cs typeface="+mn-cs"/>
                        </a:rPr>
                        <a:t> acid </a:t>
                      </a:r>
                      <a:endParaRPr lang="sv-SE" sz="1600" b="1" kern="100" dirty="0">
                        <a:solidFill>
                          <a:schemeClr val="lt1"/>
                        </a:solidFill>
                        <a:effectLst/>
                        <a:latin typeface="+mn-lt"/>
                        <a:ea typeface="+mn-ea"/>
                        <a:cs typeface="+mn-cs"/>
                      </a:endParaRPr>
                    </a:p>
                  </a:txBody>
                  <a:tcPr marL="68580" marR="68580" marT="0" marB="0" anchor="ctr"/>
                </a:tc>
                <a:tc>
                  <a:txBody>
                    <a:bodyPr/>
                    <a:lstStyle/>
                    <a:p>
                      <a:pPr algn="ctr">
                        <a:lnSpc>
                          <a:spcPct val="125000"/>
                        </a:lnSpc>
                        <a:spcAft>
                          <a:spcPts val="1200"/>
                        </a:spcAft>
                      </a:pPr>
                      <a:r>
                        <a:rPr lang="en-GB" sz="1400" kern="100" dirty="0">
                          <a:effectLst/>
                        </a:rPr>
                        <a:t>YES</a:t>
                      </a:r>
                      <a:endParaRPr lang="sv-SE" sz="1400" kern="1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tc>
                <a:extLst>
                  <a:ext uri="{0D108BD9-81ED-4DB2-BD59-A6C34878D82A}">
                    <a16:rowId xmlns:a16="http://schemas.microsoft.com/office/drawing/2014/main" val="4229432378"/>
                  </a:ext>
                </a:extLst>
              </a:tr>
            </a:tbl>
          </a:graphicData>
        </a:graphic>
      </p:graphicFrame>
      <p:graphicFrame>
        <p:nvGraphicFramePr>
          <p:cNvPr id="10" name="Tabell 9">
            <a:extLst>
              <a:ext uri="{FF2B5EF4-FFF2-40B4-BE49-F238E27FC236}">
                <a16:creationId xmlns:a16="http://schemas.microsoft.com/office/drawing/2014/main" id="{1553AD97-2161-CEF1-7B6D-A5925DDF6BE7}"/>
              </a:ext>
            </a:extLst>
          </p:cNvPr>
          <p:cNvGraphicFramePr>
            <a:graphicFrameLocks noGrp="1"/>
          </p:cNvGraphicFramePr>
          <p:nvPr>
            <p:extLst>
              <p:ext uri="{D42A27DB-BD31-4B8C-83A1-F6EECF244321}">
                <p14:modId xmlns:p14="http://schemas.microsoft.com/office/powerpoint/2010/main" val="3769366092"/>
              </p:ext>
            </p:extLst>
          </p:nvPr>
        </p:nvGraphicFramePr>
        <p:xfrm>
          <a:off x="541518" y="5010423"/>
          <a:ext cx="5745163" cy="1308537"/>
        </p:xfrm>
        <a:graphic>
          <a:graphicData uri="http://schemas.openxmlformats.org/drawingml/2006/table">
            <a:tbl>
              <a:tblPr firstRow="1" firstCol="1" bandRow="1">
                <a:tableStyleId>{5C22544A-7EE6-4342-B048-85BDC9FD1C3A}</a:tableStyleId>
              </a:tblPr>
              <a:tblGrid>
                <a:gridCol w="2994263">
                  <a:extLst>
                    <a:ext uri="{9D8B030D-6E8A-4147-A177-3AD203B41FA5}">
                      <a16:colId xmlns:a16="http://schemas.microsoft.com/office/drawing/2014/main" val="3166973145"/>
                    </a:ext>
                  </a:extLst>
                </a:gridCol>
                <a:gridCol w="2750900">
                  <a:extLst>
                    <a:ext uri="{9D8B030D-6E8A-4147-A177-3AD203B41FA5}">
                      <a16:colId xmlns:a16="http://schemas.microsoft.com/office/drawing/2014/main" val="2817080502"/>
                    </a:ext>
                  </a:extLst>
                </a:gridCol>
              </a:tblGrid>
              <a:tr h="331272">
                <a:tc>
                  <a:txBody>
                    <a:bodyPr/>
                    <a:lstStyle/>
                    <a:p>
                      <a:pPr algn="ctr" rtl="0" fontAlgn="ctr"/>
                      <a:r>
                        <a:rPr lang="sv-SE" sz="1600" u="none" strike="noStrike" dirty="0">
                          <a:effectLst/>
                        </a:rPr>
                        <a:t>KRI</a:t>
                      </a:r>
                      <a:endParaRPr lang="sv-SE" sz="1600" b="1" i="0" u="none" strike="noStrike" dirty="0">
                        <a:solidFill>
                          <a:srgbClr val="FFFFFF"/>
                        </a:solidFill>
                        <a:effectLst/>
                        <a:latin typeface="Arial" panose="020B0604020202020204" pitchFamily="34" charset="0"/>
                      </a:endParaRPr>
                    </a:p>
                  </a:txBody>
                  <a:tcPr marL="9525" marR="9525" marT="9525" marB="0" anchor="ctr"/>
                </a:tc>
                <a:tc>
                  <a:txBody>
                    <a:bodyPr/>
                    <a:lstStyle/>
                    <a:p>
                      <a:pPr algn="ctr" rtl="0" fontAlgn="ctr"/>
                      <a:r>
                        <a:rPr lang="sv-SE" sz="1600" u="none" strike="noStrike">
                          <a:effectLst/>
                        </a:rPr>
                        <a:t>Change in KRI</a:t>
                      </a:r>
                      <a:endParaRPr lang="sv-SE" sz="1600" b="1" i="0" u="none" strike="noStrike">
                        <a:solidFill>
                          <a:srgbClr val="FFFFFF"/>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1840366725"/>
                  </a:ext>
                </a:extLst>
              </a:tr>
              <a:tr h="365760">
                <a:tc>
                  <a:txBody>
                    <a:bodyPr/>
                    <a:lstStyle/>
                    <a:p>
                      <a:pPr algn="ctr" rtl="0" fontAlgn="ctr"/>
                      <a:r>
                        <a:rPr lang="sv-SE" sz="1600" u="none" strike="noStrike">
                          <a:effectLst/>
                        </a:rPr>
                        <a:t>Electricity consumption</a:t>
                      </a:r>
                      <a:endParaRPr lang="sv-SE" sz="1600" b="1" i="0" u="none" strike="noStrike">
                        <a:solidFill>
                          <a:srgbClr val="FFFFFF"/>
                        </a:solidFill>
                        <a:effectLst/>
                        <a:latin typeface="Arial" panose="020B0604020202020204" pitchFamily="34" charset="0"/>
                      </a:endParaRPr>
                    </a:p>
                  </a:txBody>
                  <a:tcPr marL="9525" marR="9525" marT="9525" marB="0" anchor="ctr"/>
                </a:tc>
                <a:tc>
                  <a:txBody>
                    <a:bodyPr/>
                    <a:lstStyle/>
                    <a:p>
                      <a:pPr algn="ctr" rtl="0" fontAlgn="ctr"/>
                      <a:r>
                        <a:rPr lang="sv-SE" sz="1600" b="0" i="0" u="none" strike="noStrike" dirty="0">
                          <a:solidFill>
                            <a:srgbClr val="2F2F2F"/>
                          </a:solidFill>
                          <a:effectLst/>
                          <a:latin typeface="Arial" panose="020B0604020202020204" pitchFamily="34" charset="0"/>
                        </a:rPr>
                        <a:t>-10%</a:t>
                      </a:r>
                    </a:p>
                  </a:txBody>
                  <a:tcPr marL="9525" marR="9525" marT="9525" marB="0" anchor="ctr"/>
                </a:tc>
                <a:extLst>
                  <a:ext uri="{0D108BD9-81ED-4DB2-BD59-A6C34878D82A}">
                    <a16:rowId xmlns:a16="http://schemas.microsoft.com/office/drawing/2014/main" val="3732553802"/>
                  </a:ext>
                </a:extLst>
              </a:tr>
              <a:tr h="358140">
                <a:tc>
                  <a:txBody>
                    <a:bodyPr/>
                    <a:lstStyle/>
                    <a:p>
                      <a:pPr algn="ctr" rtl="0" fontAlgn="ctr"/>
                      <a:r>
                        <a:rPr lang="sv-SE" sz="1600" u="none" strike="noStrike">
                          <a:effectLst/>
                        </a:rPr>
                        <a:t>Natural gas consumption</a:t>
                      </a:r>
                      <a:endParaRPr lang="sv-SE" sz="1600" b="1" i="0" u="none" strike="noStrike" dirty="0">
                        <a:solidFill>
                          <a:srgbClr val="FFFFFF"/>
                        </a:solidFill>
                        <a:effectLst/>
                        <a:latin typeface="Arial" panose="020B0604020202020204" pitchFamily="34" charset="0"/>
                      </a:endParaRPr>
                    </a:p>
                  </a:txBody>
                  <a:tcPr marL="9525" marR="9525" marT="9525" marB="0" anchor="ctr"/>
                </a:tc>
                <a:tc>
                  <a:txBody>
                    <a:bodyPr/>
                    <a:lstStyle/>
                    <a:p>
                      <a:pPr algn="ctr" rtl="0" fontAlgn="ctr"/>
                      <a:r>
                        <a:rPr lang="sv-SE" sz="1600" b="0" i="0" u="none" strike="noStrike" dirty="0">
                          <a:solidFill>
                            <a:srgbClr val="2F2F2F"/>
                          </a:solidFill>
                          <a:effectLst/>
                          <a:latin typeface="Arial" panose="020B0604020202020204" pitchFamily="34" charset="0"/>
                        </a:rPr>
                        <a:t>-43%</a:t>
                      </a:r>
                    </a:p>
                  </a:txBody>
                  <a:tcPr marL="9525" marR="9525" marT="9525" marB="0" anchor="ctr"/>
                </a:tc>
                <a:extLst>
                  <a:ext uri="{0D108BD9-81ED-4DB2-BD59-A6C34878D82A}">
                    <a16:rowId xmlns:a16="http://schemas.microsoft.com/office/drawing/2014/main" val="2604850477"/>
                  </a:ext>
                </a:extLst>
              </a:tr>
              <a:tr h="213360">
                <a:tc>
                  <a:txBody>
                    <a:bodyPr/>
                    <a:lstStyle/>
                    <a:p>
                      <a:pPr algn="ctr" rtl="0" fontAlgn="ctr"/>
                      <a:r>
                        <a:rPr lang="sv-SE" sz="1600" u="none" strike="noStrike" dirty="0">
                          <a:effectLst/>
                        </a:rPr>
                        <a:t>CO</a:t>
                      </a:r>
                      <a:r>
                        <a:rPr lang="sv-SE" sz="1600" u="none" strike="noStrike" baseline="-25000" dirty="0">
                          <a:effectLst/>
                        </a:rPr>
                        <a:t>2</a:t>
                      </a:r>
                      <a:r>
                        <a:rPr lang="sv-SE" sz="1600" u="none" strike="noStrike" dirty="0">
                          <a:effectLst/>
                        </a:rPr>
                        <a:t> emissions</a:t>
                      </a:r>
                      <a:endParaRPr lang="sv-SE" sz="1600" b="1" i="0" u="none" strike="noStrike" dirty="0">
                        <a:solidFill>
                          <a:srgbClr val="FFFFFF"/>
                        </a:solidFill>
                        <a:effectLst/>
                        <a:latin typeface="Arial" panose="020B0604020202020204" pitchFamily="34" charset="0"/>
                      </a:endParaRPr>
                    </a:p>
                  </a:txBody>
                  <a:tcPr marL="9525" marR="9525" marT="9525" marB="0" anchor="ctr"/>
                </a:tc>
                <a:tc>
                  <a:txBody>
                    <a:bodyPr/>
                    <a:lstStyle/>
                    <a:p>
                      <a:pPr algn="ctr" rtl="0" fontAlgn="ctr"/>
                      <a:r>
                        <a:rPr lang="sv-SE" sz="1600" b="0" i="0" u="none" strike="noStrike" dirty="0">
                          <a:solidFill>
                            <a:srgbClr val="2F2F2F"/>
                          </a:solidFill>
                          <a:effectLst/>
                          <a:latin typeface="Arial" panose="020B0604020202020204" pitchFamily="34" charset="0"/>
                        </a:rPr>
                        <a:t>-24.5%</a:t>
                      </a:r>
                    </a:p>
                  </a:txBody>
                  <a:tcPr marL="9525" marR="9525" marT="9525" marB="0" anchor="ctr"/>
                </a:tc>
                <a:extLst>
                  <a:ext uri="{0D108BD9-81ED-4DB2-BD59-A6C34878D82A}">
                    <a16:rowId xmlns:a16="http://schemas.microsoft.com/office/drawing/2014/main" val="3090249813"/>
                  </a:ext>
                </a:extLst>
              </a:tr>
            </a:tbl>
          </a:graphicData>
        </a:graphic>
      </p:graphicFrame>
      <p:pic>
        <p:nvPicPr>
          <p:cNvPr id="7" name="Picture 276" descr="RETROFEED FERTIBERIA">
            <a:extLst>
              <a:ext uri="{FF2B5EF4-FFF2-40B4-BE49-F238E27FC236}">
                <a16:creationId xmlns:a16="http://schemas.microsoft.com/office/drawing/2014/main" id="{382CCEF3-08D3-4A58-CEF9-34522828E14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619548" y="486408"/>
            <a:ext cx="2287452" cy="8417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13786156"/>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1" name="Picture 12">
            <a:extLst>
              <a:ext uri="{FF2B5EF4-FFF2-40B4-BE49-F238E27FC236}">
                <a16:creationId xmlns:a16="http://schemas.microsoft.com/office/drawing/2014/main" id="{43802E0E-B79D-4EA7-8141-0CA3ED138B1A}"/>
              </a:ext>
            </a:extLst>
          </p:cNvPr>
          <p:cNvPicPr>
            <a:picLocks noChangeAspect="1"/>
          </p:cNvPicPr>
          <p:nvPr/>
        </p:nvPicPr>
        <p:blipFill>
          <a:blip r:embed="rId3"/>
          <a:srcRect/>
          <a:stretch>
            <a:fillRect/>
          </a:stretch>
        </p:blipFill>
        <p:spPr>
          <a:xfrm>
            <a:off x="0" y="8959889"/>
            <a:ext cx="5715000" cy="1385887"/>
          </a:xfrm>
          <a:prstGeom prst="rect">
            <a:avLst/>
          </a:prstGeom>
        </p:spPr>
      </p:pic>
      <p:grpSp>
        <p:nvGrpSpPr>
          <p:cNvPr id="132" name="Gruppo 2">
            <a:extLst>
              <a:ext uri="{FF2B5EF4-FFF2-40B4-BE49-F238E27FC236}">
                <a16:creationId xmlns:a16="http://schemas.microsoft.com/office/drawing/2014/main" id="{649928F6-6E82-4611-9715-AD3C75457C28}"/>
              </a:ext>
            </a:extLst>
          </p:cNvPr>
          <p:cNvGrpSpPr/>
          <p:nvPr/>
        </p:nvGrpSpPr>
        <p:grpSpPr>
          <a:xfrm>
            <a:off x="-12" y="138554"/>
            <a:ext cx="18288002" cy="681138"/>
            <a:chOff x="-12" y="138554"/>
            <a:chExt cx="18288002" cy="681138"/>
          </a:xfrm>
        </p:grpSpPr>
        <p:grpSp>
          <p:nvGrpSpPr>
            <p:cNvPr id="133" name="Gruppo 1">
              <a:extLst>
                <a:ext uri="{FF2B5EF4-FFF2-40B4-BE49-F238E27FC236}">
                  <a16:creationId xmlns:a16="http://schemas.microsoft.com/office/drawing/2014/main" id="{A8EB8794-E5C6-45EB-BAEC-2778E982797A}"/>
                </a:ext>
              </a:extLst>
            </p:cNvPr>
            <p:cNvGrpSpPr/>
            <p:nvPr/>
          </p:nvGrpSpPr>
          <p:grpSpPr>
            <a:xfrm>
              <a:off x="0" y="153125"/>
              <a:ext cx="17907000" cy="666567"/>
              <a:chOff x="0" y="153125"/>
              <a:chExt cx="17907000" cy="666567"/>
            </a:xfrm>
          </p:grpSpPr>
          <p:grpSp>
            <p:nvGrpSpPr>
              <p:cNvPr id="135" name="Gruppo 15">
                <a:extLst>
                  <a:ext uri="{FF2B5EF4-FFF2-40B4-BE49-F238E27FC236}">
                    <a16:creationId xmlns:a16="http://schemas.microsoft.com/office/drawing/2014/main" id="{AB129748-9FD7-458D-BD6E-304271C1814A}"/>
                  </a:ext>
                </a:extLst>
              </p:cNvPr>
              <p:cNvGrpSpPr/>
              <p:nvPr/>
            </p:nvGrpSpPr>
            <p:grpSpPr>
              <a:xfrm>
                <a:off x="0" y="153125"/>
                <a:ext cx="13958844" cy="666567"/>
                <a:chOff x="0" y="153125"/>
                <a:chExt cx="13958844" cy="666567"/>
              </a:xfrm>
            </p:grpSpPr>
            <p:pic>
              <p:nvPicPr>
                <p:cNvPr id="137" name="Picture 136">
                  <a:extLst>
                    <a:ext uri="{FF2B5EF4-FFF2-40B4-BE49-F238E27FC236}">
                      <a16:creationId xmlns:a16="http://schemas.microsoft.com/office/drawing/2014/main" id="{88E31CFD-796F-4F3F-A1EC-0E38F9D83456}"/>
                    </a:ext>
                  </a:extLst>
                </p:cNvPr>
                <p:cNvPicPr>
                  <a:picLocks noChangeAspect="1"/>
                </p:cNvPicPr>
                <p:nvPr/>
              </p:nvPicPr>
              <p:blipFill>
                <a:blip r:embed="rId4"/>
                <a:srcRect l="134" t="91287" b="3943"/>
                <a:stretch>
                  <a:fillRect/>
                </a:stretch>
              </p:blipFill>
              <p:spPr>
                <a:xfrm>
                  <a:off x="0" y="153125"/>
                  <a:ext cx="13958844" cy="666567"/>
                </a:xfrm>
                <a:prstGeom prst="rect">
                  <a:avLst/>
                </a:prstGeom>
              </p:spPr>
            </p:pic>
            <p:sp>
              <p:nvSpPr>
                <p:cNvPr id="138" name="TextBox 137">
                  <a:extLst>
                    <a:ext uri="{FF2B5EF4-FFF2-40B4-BE49-F238E27FC236}">
                      <a16:creationId xmlns:a16="http://schemas.microsoft.com/office/drawing/2014/main" id="{7694DADD-E227-40A7-A98D-244B0D207E54}"/>
                    </a:ext>
                  </a:extLst>
                </p:cNvPr>
                <p:cNvSpPr txBox="1"/>
                <p:nvPr/>
              </p:nvSpPr>
              <p:spPr>
                <a:xfrm>
                  <a:off x="228600" y="257980"/>
                  <a:ext cx="9296400" cy="456856"/>
                </a:xfrm>
                <a:prstGeom prst="rect">
                  <a:avLst/>
                </a:prstGeom>
              </p:spPr>
              <p:txBody>
                <a:bodyPr wrap="square" lIns="0" tIns="0" rIns="0" bIns="0" rtlCol="0" anchor="t">
                  <a:spAutoFit/>
                </a:bodyPr>
                <a:lstStyle/>
                <a:p>
                  <a:pPr marL="0" marR="0" lvl="0" indent="0" algn="l" defTabSz="914400" rtl="0" eaLnBrk="1" fontAlgn="auto" latinLnBrk="0" hangingPunct="1">
                    <a:lnSpc>
                      <a:spcPts val="3919"/>
                    </a:lnSpc>
                    <a:spcBef>
                      <a:spcPct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36" name="TextBox 135">
                <a:extLst>
                  <a:ext uri="{FF2B5EF4-FFF2-40B4-BE49-F238E27FC236}">
                    <a16:creationId xmlns:a16="http://schemas.microsoft.com/office/drawing/2014/main" id="{4B3CCEBB-60EF-4175-9878-F0D51FD80FF0}"/>
                  </a:ext>
                </a:extLst>
              </p:cNvPr>
              <p:cNvSpPr txBox="1"/>
              <p:nvPr/>
            </p:nvSpPr>
            <p:spPr>
              <a:xfrm>
                <a:off x="12154296" y="257980"/>
                <a:ext cx="5752704" cy="456856"/>
              </a:xfrm>
              <a:prstGeom prst="rect">
                <a:avLst/>
              </a:prstGeom>
            </p:spPr>
            <p:txBody>
              <a:bodyPr wrap="square" lIns="0" tIns="0" rIns="0" bIns="0" rtlCol="0" anchor="t">
                <a:spAutoFit/>
              </a:bodyPr>
              <a:lstStyle/>
              <a:p>
                <a:pPr marL="0" marR="0" lvl="0" indent="0" algn="r" defTabSz="914400" rtl="0" eaLnBrk="1" fontAlgn="auto" latinLnBrk="0" hangingPunct="1">
                  <a:lnSpc>
                    <a:spcPts val="3919"/>
                  </a:lnSpc>
                  <a:spcBef>
                    <a:spcPct val="0"/>
                  </a:spcBef>
                  <a:spcAft>
                    <a:spcPts val="0"/>
                  </a:spcAft>
                  <a:buClrTx/>
                  <a:buSzTx/>
                  <a:buFontTx/>
                  <a:buNone/>
                  <a:tabLst/>
                  <a:defRPr/>
                </a:pPr>
                <a:endParaRPr kumimoji="0" lang="en-US" sz="2800" b="0" i="0" u="none" strike="noStrike" kern="1200" cap="none" spc="0" normalizeH="0" baseline="0" noProof="0">
                  <a:ln>
                    <a:noFill/>
                  </a:ln>
                  <a:solidFill>
                    <a:srgbClr val="2F2F2F">
                      <a:lumMod val="75000"/>
                      <a:lumOff val="25000"/>
                    </a:srgbClr>
                  </a:solidFill>
                  <a:effectLst/>
                  <a:uLnTx/>
                  <a:uFillTx/>
                  <a:latin typeface="Arial" panose="020B0604020202020204" pitchFamily="34" charset="0"/>
                  <a:ea typeface="+mn-ea"/>
                  <a:cs typeface="Arial" panose="020B0604020202020204" pitchFamily="34" charset="0"/>
                </a:endParaRPr>
              </a:p>
            </p:txBody>
          </p:sp>
        </p:grpSp>
        <p:sp>
          <p:nvSpPr>
            <p:cNvPr id="134" name="Rettangolo 13">
              <a:extLst>
                <a:ext uri="{FF2B5EF4-FFF2-40B4-BE49-F238E27FC236}">
                  <a16:creationId xmlns:a16="http://schemas.microsoft.com/office/drawing/2014/main" id="{8F0CF2A7-592A-4287-9206-D3289F1B0C37}"/>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pic>
        <p:nvPicPr>
          <p:cNvPr id="139" name="Picture 12">
            <a:extLst>
              <a:ext uri="{FF2B5EF4-FFF2-40B4-BE49-F238E27FC236}">
                <a16:creationId xmlns:a16="http://schemas.microsoft.com/office/drawing/2014/main" id="{F047215A-40D8-4A57-BE02-5E03FCEEBB7B}"/>
              </a:ext>
            </a:extLst>
          </p:cNvPr>
          <p:cNvPicPr>
            <a:picLocks noChangeAspect="1"/>
          </p:cNvPicPr>
          <p:nvPr/>
        </p:nvPicPr>
        <p:blipFill>
          <a:blip r:embed="rId5"/>
          <a:srcRect l="134" t="91287" b="3943"/>
          <a:stretch>
            <a:fillRect/>
          </a:stretch>
        </p:blipFill>
        <p:spPr>
          <a:xfrm rot="10800000">
            <a:off x="4329146" y="9679208"/>
            <a:ext cx="13958844" cy="666567"/>
          </a:xfrm>
          <a:prstGeom prst="rect">
            <a:avLst/>
          </a:prstGeom>
        </p:spPr>
      </p:pic>
      <p:sp>
        <p:nvSpPr>
          <p:cNvPr id="140" name="TextBox 16">
            <a:extLst>
              <a:ext uri="{FF2B5EF4-FFF2-40B4-BE49-F238E27FC236}">
                <a16:creationId xmlns:a16="http://schemas.microsoft.com/office/drawing/2014/main" id="{C693B1DB-897C-4A9D-8CF3-F1423F6CB38D}"/>
              </a:ext>
            </a:extLst>
          </p:cNvPr>
          <p:cNvSpPr txBox="1"/>
          <p:nvPr/>
        </p:nvSpPr>
        <p:spPr>
          <a:xfrm>
            <a:off x="14400019" y="9762301"/>
            <a:ext cx="3636320" cy="448713"/>
          </a:xfrm>
          <a:prstGeom prst="rect">
            <a:avLst/>
          </a:prstGeom>
        </p:spPr>
        <p:txBody>
          <a:bodyPr wrap="square" lIns="0" tIns="0" rIns="0" bIns="0" rtlCol="0" anchor="t">
            <a:spAutoFit/>
          </a:bodyPr>
          <a:lstStyle/>
          <a:p>
            <a:pPr marL="0" marR="0" lvl="0" indent="0" algn="ctr" defTabSz="914400" rtl="0" eaLnBrk="1" fontAlgn="auto" latinLnBrk="0" hangingPunct="1">
              <a:lnSpc>
                <a:spcPts val="3919"/>
              </a:lnSpc>
              <a:spcBef>
                <a:spcPct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OCR A Extended" panose="02010509020102010303" pitchFamily="50" charset="0"/>
                <a:ea typeface="+mn-ea"/>
                <a:cs typeface="+mn-cs"/>
              </a:rPr>
              <a:t>www.retrofeed.eu</a:t>
            </a:r>
          </a:p>
        </p:txBody>
      </p:sp>
      <p:sp>
        <p:nvSpPr>
          <p:cNvPr id="4" name="TextBox 3">
            <a:extLst>
              <a:ext uri="{FF2B5EF4-FFF2-40B4-BE49-F238E27FC236}">
                <a16:creationId xmlns:a16="http://schemas.microsoft.com/office/drawing/2014/main" id="{E2A6C351-D084-461B-85B4-078A69C47372}"/>
              </a:ext>
            </a:extLst>
          </p:cNvPr>
          <p:cNvSpPr txBox="1"/>
          <p:nvPr/>
        </p:nvSpPr>
        <p:spPr>
          <a:xfrm>
            <a:off x="350519" y="1018656"/>
            <a:ext cx="18552623" cy="76944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400" b="1" i="0" u="none" strike="noStrike" kern="1200" cap="none" spc="0" normalizeH="0" baseline="0" noProof="0" dirty="0">
                <a:ln>
                  <a:noFill/>
                </a:ln>
                <a:solidFill>
                  <a:srgbClr val="CC0033"/>
                </a:solidFill>
                <a:effectLst/>
                <a:uLnTx/>
                <a:uFillTx/>
                <a:latin typeface="Arial"/>
                <a:ea typeface="+mn-ea"/>
                <a:cs typeface="Arial" panose="020B0604020202020204" pitchFamily="34" charset="0"/>
              </a:rPr>
              <a:t>Cement Sector Situation &amp; Replicability</a:t>
            </a:r>
            <a:endParaRPr kumimoji="0" lang="sv-SE" sz="4400" b="1" i="0" u="none" strike="noStrike" kern="1200" cap="none" spc="0" normalizeH="0" baseline="0" noProof="0" dirty="0">
              <a:ln>
                <a:noFill/>
              </a:ln>
              <a:solidFill>
                <a:srgbClr val="CC0033"/>
              </a:solidFill>
              <a:effectLst/>
              <a:uLnTx/>
              <a:uFillTx/>
              <a:latin typeface="Arial"/>
              <a:ea typeface="+mn-ea"/>
              <a:cs typeface="Arial" panose="020B0604020202020204" pitchFamily="34" charset="0"/>
            </a:endParaRPr>
          </a:p>
        </p:txBody>
      </p:sp>
      <p:sp>
        <p:nvSpPr>
          <p:cNvPr id="2" name="Platshållare för innehåll 2">
            <a:extLst>
              <a:ext uri="{FF2B5EF4-FFF2-40B4-BE49-F238E27FC236}">
                <a16:creationId xmlns:a16="http://schemas.microsoft.com/office/drawing/2014/main" id="{E326ED3E-7F7B-6D67-3818-1C11AA6EFBE3}"/>
              </a:ext>
            </a:extLst>
          </p:cNvPr>
          <p:cNvSpPr txBox="1">
            <a:spLocks/>
          </p:cNvSpPr>
          <p:nvPr/>
        </p:nvSpPr>
        <p:spPr>
          <a:xfrm>
            <a:off x="510801" y="1776853"/>
            <a:ext cx="9996486" cy="3626427"/>
          </a:xfrm>
          <a:prstGeom prst="rect">
            <a:avLst/>
          </a:prstGeom>
        </p:spPr>
        <p:txBody>
          <a:bodyPr>
            <a:normAutofit fontScale="92500"/>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000" b="0" i="0" dirty="0">
                <a:solidFill>
                  <a:srgbClr val="000000"/>
                </a:solidFill>
                <a:effectLst/>
                <a:latin typeface="Arial" panose="020B0604020202020204" pitchFamily="34" charset="0"/>
              </a:rPr>
              <a:t>Total production in Europe of 171.5 million tons, which accounts for 6.1% of the total produced worldwide.</a:t>
            </a:r>
          </a:p>
          <a:p>
            <a:r>
              <a:rPr lang="en-US" sz="2000" b="0" i="0" dirty="0">
                <a:solidFill>
                  <a:srgbClr val="000000"/>
                </a:solidFill>
                <a:effectLst/>
                <a:latin typeface="Arial" panose="020B0604020202020204" pitchFamily="34" charset="0"/>
              </a:rPr>
              <a:t>The largest producers of cement in Europe are Germany, Spain, Italy, and France.</a:t>
            </a:r>
            <a:endParaRPr lang="en-US" sz="2000" dirty="0"/>
          </a:p>
          <a:p>
            <a:r>
              <a:rPr lang="en-US" sz="2000" b="0" i="0" dirty="0">
                <a:solidFill>
                  <a:srgbClr val="000000"/>
                </a:solidFill>
                <a:effectLst/>
                <a:latin typeface="Roboto-Regular"/>
              </a:rPr>
              <a:t>The European cement industry has reduced its net </a:t>
            </a:r>
            <a:r>
              <a:rPr lang="en-US" sz="2000" dirty="0">
                <a:sym typeface="Wingdings" panose="05000000000000000000" pitchFamily="2" charset="2"/>
              </a:rPr>
              <a:t>CO</a:t>
            </a:r>
            <a:r>
              <a:rPr lang="en-US" sz="2000" baseline="-25000" dirty="0">
                <a:sym typeface="Wingdings" panose="05000000000000000000" pitchFamily="2" charset="2"/>
              </a:rPr>
              <a:t>2</a:t>
            </a:r>
            <a:r>
              <a:rPr lang="en-US" sz="2000" b="0" i="0" dirty="0">
                <a:solidFill>
                  <a:srgbClr val="000000"/>
                </a:solidFill>
                <a:effectLst/>
                <a:latin typeface="Roboto-Regular"/>
              </a:rPr>
              <a:t> emissions per ton grey clinker by -21.2%, and net per ton cementitious by -23.2%.</a:t>
            </a:r>
            <a:r>
              <a:rPr lang="en-US" sz="2000" b="0" i="0" dirty="0">
                <a:solidFill>
                  <a:srgbClr val="000000"/>
                </a:solidFill>
                <a:effectLst/>
                <a:latin typeface="Arial" panose="020B0604020202020204" pitchFamily="34" charset="0"/>
              </a:rPr>
              <a:t> The Carbon Neutrality Roadmap aims for carbon neutrality along the cement and concrete value chain by 2050</a:t>
            </a:r>
            <a:r>
              <a:rPr lang="en-US" sz="2000" dirty="0">
                <a:sym typeface="Wingdings" panose="05000000000000000000" pitchFamily="2" charset="2"/>
              </a:rPr>
              <a:t>	. Deep CO</a:t>
            </a:r>
            <a:r>
              <a:rPr lang="en-US" sz="2000" baseline="-25000" dirty="0">
                <a:sym typeface="Wingdings" panose="05000000000000000000" pitchFamily="2" charset="2"/>
              </a:rPr>
              <a:t>2</a:t>
            </a:r>
            <a:r>
              <a:rPr lang="en-US" sz="2000" dirty="0">
                <a:sym typeface="Wingdings" panose="05000000000000000000" pitchFamily="2" charset="2"/>
              </a:rPr>
              <a:t> cuts between now and 2030 is required.</a:t>
            </a:r>
          </a:p>
          <a:p>
            <a:r>
              <a:rPr lang="en-US" sz="2000" dirty="0">
                <a:solidFill>
                  <a:srgbClr val="000000"/>
                </a:solidFill>
                <a:latin typeface="Roboto-Regular"/>
                <a:sym typeface="Wingdings" panose="05000000000000000000" pitchFamily="2" charset="2"/>
              </a:rPr>
              <a:t>Measures includes, </a:t>
            </a:r>
            <a:r>
              <a:rPr lang="en-US" sz="2000" dirty="0">
                <a:solidFill>
                  <a:srgbClr val="000000"/>
                </a:solidFill>
                <a:latin typeface="Roboto-Regular"/>
              </a:rPr>
              <a:t>the use of non-recyclable and biomass waste to replace fossil fuels; more energy-efficient kilns; the development of innovative low-clinker cements; etc. </a:t>
            </a:r>
            <a:endParaRPr lang="sv-SE" sz="2000" dirty="0">
              <a:solidFill>
                <a:srgbClr val="000000"/>
              </a:solidFill>
              <a:latin typeface="Roboto-Regular"/>
            </a:endParaRPr>
          </a:p>
          <a:p>
            <a:endParaRPr lang="en-US" sz="2000" dirty="0">
              <a:sym typeface="Wingdings" panose="05000000000000000000" pitchFamily="2" charset="2"/>
            </a:endParaRPr>
          </a:p>
          <a:p>
            <a:pPr marL="0" indent="0">
              <a:buNone/>
            </a:pPr>
            <a:r>
              <a:rPr lang="en-US" sz="2000" dirty="0">
                <a:sym typeface="Wingdings" panose="05000000000000000000" pitchFamily="2" charset="2"/>
              </a:rPr>
              <a:t>	</a:t>
            </a:r>
            <a:endParaRPr lang="sv-SE" dirty="0"/>
          </a:p>
        </p:txBody>
      </p:sp>
      <p:sp>
        <p:nvSpPr>
          <p:cNvPr id="6" name="textruta 5">
            <a:extLst>
              <a:ext uri="{FF2B5EF4-FFF2-40B4-BE49-F238E27FC236}">
                <a16:creationId xmlns:a16="http://schemas.microsoft.com/office/drawing/2014/main" id="{80DF19A3-1431-9C58-0EE1-E72D8BC9B22D}"/>
              </a:ext>
            </a:extLst>
          </p:cNvPr>
          <p:cNvSpPr txBox="1"/>
          <p:nvPr/>
        </p:nvSpPr>
        <p:spPr>
          <a:xfrm>
            <a:off x="10507287" y="8421281"/>
            <a:ext cx="7144789" cy="369332"/>
          </a:xfrm>
          <a:prstGeom prst="rect">
            <a:avLst/>
          </a:prstGeom>
          <a:noFill/>
        </p:spPr>
        <p:txBody>
          <a:bodyPr wrap="square">
            <a:spAutoFit/>
          </a:bodyPr>
          <a:lstStyle/>
          <a:p>
            <a:pPr>
              <a:spcBef>
                <a:spcPts val="600"/>
              </a:spcBef>
              <a:spcAft>
                <a:spcPts val="600"/>
              </a:spcAft>
            </a:pPr>
            <a:r>
              <a:rPr lang="en-US" sz="1800" b="0" i="1" dirty="0">
                <a:solidFill>
                  <a:srgbClr val="404040"/>
                </a:solidFill>
                <a:effectLst/>
                <a:latin typeface="Arial" panose="020B0604020202020204" pitchFamily="34" charset="0"/>
              </a:rPr>
              <a:t>Kiln and cyclone pre-heaters view at SECIL plant in </a:t>
            </a:r>
            <a:r>
              <a:rPr lang="en-US" sz="1800" b="0" i="1" dirty="0" err="1">
                <a:solidFill>
                  <a:srgbClr val="404040"/>
                </a:solidFill>
                <a:effectLst/>
                <a:latin typeface="Arial" panose="020B0604020202020204" pitchFamily="34" charset="0"/>
              </a:rPr>
              <a:t>Maceira</a:t>
            </a:r>
            <a:r>
              <a:rPr lang="en-US" sz="1800" b="0" i="1" dirty="0">
                <a:solidFill>
                  <a:srgbClr val="404040"/>
                </a:solidFill>
                <a:effectLst/>
                <a:latin typeface="Arial" panose="020B0604020202020204" pitchFamily="34" charset="0"/>
              </a:rPr>
              <a:t> Liz. </a:t>
            </a:r>
            <a:endParaRPr lang="sv-SE" i="1" kern="100" dirty="0">
              <a:solidFill>
                <a:srgbClr val="404040"/>
              </a:solidFill>
              <a:latin typeface="Liberation Serif"/>
            </a:endParaRPr>
          </a:p>
        </p:txBody>
      </p:sp>
      <p:pic>
        <p:nvPicPr>
          <p:cNvPr id="3" name="Imagen 93">
            <a:extLst>
              <a:ext uri="{FF2B5EF4-FFF2-40B4-BE49-F238E27FC236}">
                <a16:creationId xmlns:a16="http://schemas.microsoft.com/office/drawing/2014/main" id="{F47F550C-65C4-3AC5-9A3A-4AA79C13C0B6}"/>
              </a:ext>
            </a:extLst>
          </p:cNvPr>
          <p:cNvPicPr>
            <a:picLocks noChangeAspect="1"/>
          </p:cNvPicPr>
          <p:nvPr/>
        </p:nvPicPr>
        <p:blipFill rotWithShape="1">
          <a:blip r:embed="rId6"/>
          <a:srcRect l="23084" t="14316" r="9046" b="7091"/>
          <a:stretch/>
        </p:blipFill>
        <p:spPr>
          <a:xfrm>
            <a:off x="15941944" y="236682"/>
            <a:ext cx="2221797" cy="1815920"/>
          </a:xfrm>
          <a:prstGeom prst="rect">
            <a:avLst/>
          </a:prstGeom>
        </p:spPr>
      </p:pic>
      <p:pic>
        <p:nvPicPr>
          <p:cNvPr id="10242" name="Picture 2" descr="Una torre de un edificio&#10;&#10;Descripción generada automáticamente con confianza media">
            <a:extLst>
              <a:ext uri="{FF2B5EF4-FFF2-40B4-BE49-F238E27FC236}">
                <a16:creationId xmlns:a16="http://schemas.microsoft.com/office/drawing/2014/main" id="{7A33B0E4-CECC-45F7-0F55-53D95259D1B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667569" y="2251566"/>
            <a:ext cx="6373522" cy="60341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9680038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6"/>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4"/>
          <a:srcRect/>
          <a:stretch>
            <a:fillRect/>
          </a:stretch>
        </p:blipFill>
        <p:spPr>
          <a:xfrm>
            <a:off x="0" y="8901113"/>
            <a:ext cx="5715000" cy="1385887"/>
          </a:xfrm>
          <a:prstGeom prst="rect">
            <a:avLst/>
          </a:prstGeom>
        </p:spPr>
      </p:pic>
      <p:grpSp>
        <p:nvGrpSpPr>
          <p:cNvPr id="3" name="Gruppo 2">
            <a:extLst>
              <a:ext uri="{FF2B5EF4-FFF2-40B4-BE49-F238E27FC236}">
                <a16:creationId xmlns:a16="http://schemas.microsoft.com/office/drawing/2014/main" id="{1C29CBCA-BE0A-4EF6-AC69-329941E1DCFD}"/>
              </a:ext>
            </a:extLst>
          </p:cNvPr>
          <p:cNvGrpSpPr/>
          <p:nvPr/>
        </p:nvGrpSpPr>
        <p:grpSpPr>
          <a:xfrm>
            <a:off x="-12" y="138554"/>
            <a:ext cx="18288002" cy="681138"/>
            <a:chOff x="-12" y="138554"/>
            <a:chExt cx="18288002" cy="681138"/>
          </a:xfrm>
        </p:grpSpPr>
        <p:grpSp>
          <p:nvGrpSpPr>
            <p:cNvPr id="2" name="Gruppo 1">
              <a:extLst>
                <a:ext uri="{FF2B5EF4-FFF2-40B4-BE49-F238E27FC236}">
                  <a16:creationId xmlns:a16="http://schemas.microsoft.com/office/drawing/2014/main" id="{24E9C7AF-0093-476F-826C-A2702AB72892}"/>
                </a:ext>
              </a:extLst>
            </p:cNvPr>
            <p:cNvGrpSpPr/>
            <p:nvPr/>
          </p:nvGrpSpPr>
          <p:grpSpPr>
            <a:xfrm>
              <a:off x="0" y="153125"/>
              <a:ext cx="17907000" cy="666567"/>
              <a:chOff x="0" y="153125"/>
              <a:chExt cx="17907000" cy="666567"/>
            </a:xfrm>
          </p:grpSpPr>
          <p:grpSp>
            <p:nvGrpSpPr>
              <p:cNvPr id="16" name="Gruppo 15">
                <a:extLst>
                  <a:ext uri="{FF2B5EF4-FFF2-40B4-BE49-F238E27FC236}">
                    <a16:creationId xmlns:a16="http://schemas.microsoft.com/office/drawing/2014/main" id="{DAC42A46-917D-41AB-8F07-E15E54D0F7D4}"/>
                  </a:ext>
                </a:extLst>
              </p:cNvPr>
              <p:cNvGrpSpPr/>
              <p:nvPr/>
            </p:nvGrpSpPr>
            <p:grpSpPr>
              <a:xfrm>
                <a:off x="0" y="153125"/>
                <a:ext cx="13958844" cy="666567"/>
                <a:chOff x="0" y="153125"/>
                <a:chExt cx="13958844" cy="666567"/>
              </a:xfrm>
            </p:grpSpPr>
            <p:pic>
              <p:nvPicPr>
                <p:cNvPr id="10" name="Picture 10"/>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1" name="TextBox 11"/>
                <p:cNvSpPr txBox="1"/>
                <p:nvPr/>
              </p:nvSpPr>
              <p:spPr>
                <a:xfrm>
                  <a:off x="228600" y="257980"/>
                  <a:ext cx="9144000" cy="456856"/>
                </a:xfrm>
                <a:prstGeom prst="rect">
                  <a:avLst/>
                </a:prstGeom>
              </p:spPr>
              <p:txBody>
                <a:bodyPr wrap="square" lIns="0" tIns="0" rIns="0" bIns="0" rtlCol="0" anchor="t">
                  <a:spAutoFit/>
                </a:bodyPr>
                <a:lstStyle/>
                <a:p>
                  <a:pPr>
                    <a:lnSpc>
                      <a:spcPts val="3919"/>
                    </a:lnSpc>
                    <a:spcBef>
                      <a:spcPct val="0"/>
                    </a:spcBef>
                  </a:pPr>
                  <a:endParaRPr lang="en-US" sz="2800" b="1">
                    <a:solidFill>
                      <a:srgbClr val="FFFFFF"/>
                    </a:solidFill>
                    <a:latin typeface="Arial" panose="020B0604020202020204" pitchFamily="34" charset="0"/>
                    <a:cs typeface="Arial" panose="020B0604020202020204" pitchFamily="34" charset="0"/>
                  </a:endParaRPr>
                </a:p>
              </p:txBody>
            </p:sp>
          </p:grpSp>
          <p:sp>
            <p:nvSpPr>
              <p:cNvPr id="12" name="TextBox 11">
                <a:extLst>
                  <a:ext uri="{FF2B5EF4-FFF2-40B4-BE49-F238E27FC236}">
                    <a16:creationId xmlns:a16="http://schemas.microsoft.com/office/drawing/2014/main" id="{1BD9B5F4-614C-4EB6-8C5B-120A5420CE43}"/>
                  </a:ext>
                </a:extLst>
              </p:cNvPr>
              <p:cNvSpPr txBox="1"/>
              <p:nvPr/>
            </p:nvSpPr>
            <p:spPr>
              <a:xfrm>
                <a:off x="12154296" y="257980"/>
                <a:ext cx="5752704" cy="456856"/>
              </a:xfrm>
              <a:prstGeom prst="rect">
                <a:avLst/>
              </a:prstGeom>
            </p:spPr>
            <p:txBody>
              <a:bodyPr wrap="square" lIns="0" tIns="0" rIns="0" bIns="0" rtlCol="0" anchor="t">
                <a:spAutoFit/>
              </a:bodyPr>
              <a:lstStyle/>
              <a:p>
                <a:pPr algn="r">
                  <a:lnSpc>
                    <a:spcPts val="3919"/>
                  </a:lnSpc>
                  <a:spcBef>
                    <a:spcPct val="0"/>
                  </a:spcBef>
                </a:pPr>
                <a:endParaRPr lang="en-US" sz="2800">
                  <a:solidFill>
                    <a:schemeClr val="tx1">
                      <a:lumMod val="75000"/>
                      <a:lumOff val="25000"/>
                    </a:schemeClr>
                  </a:solidFill>
                  <a:latin typeface="Arial" panose="020B0604020202020204" pitchFamily="34" charset="0"/>
                  <a:cs typeface="Arial" panose="020B0604020202020204" pitchFamily="34" charset="0"/>
                </a:endParaRPr>
              </a:p>
            </p:txBody>
          </p:sp>
        </p:grpSp>
        <p:sp>
          <p:nvSpPr>
            <p:cNvPr id="14" name="Rettangolo 13">
              <a:extLst>
                <a:ext uri="{FF2B5EF4-FFF2-40B4-BE49-F238E27FC236}">
                  <a16:creationId xmlns:a16="http://schemas.microsoft.com/office/drawing/2014/main" id="{55199736-B8B6-4C9A-8BAF-233E07A0CA89}"/>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3" name="TextBox 13"/>
          <p:cNvSpPr txBox="1"/>
          <p:nvPr/>
        </p:nvSpPr>
        <p:spPr>
          <a:xfrm>
            <a:off x="1981200" y="1106375"/>
            <a:ext cx="13563599" cy="1052468"/>
          </a:xfrm>
          <a:prstGeom prst="rect">
            <a:avLst/>
          </a:prstGeom>
        </p:spPr>
        <p:txBody>
          <a:bodyPr wrap="square" lIns="0" tIns="0" rIns="0" bIns="0" rtlCol="0" anchor="t">
            <a:spAutoFit/>
          </a:bodyPr>
          <a:lstStyle/>
          <a:p>
            <a:pPr algn="ctr">
              <a:lnSpc>
                <a:spcPts val="8960"/>
              </a:lnSpc>
              <a:spcBef>
                <a:spcPct val="0"/>
              </a:spcBef>
            </a:pPr>
            <a:r>
              <a:rPr lang="en-US" sz="6400" b="1">
                <a:solidFill>
                  <a:srgbClr val="CC0033"/>
                </a:solidFill>
                <a:latin typeface="+mj-lt"/>
                <a:cs typeface="Arial" panose="020B0604020202020204" pitchFamily="34" charset="0"/>
              </a:rPr>
              <a:t>The RETROFEED project</a:t>
            </a:r>
          </a:p>
        </p:txBody>
      </p:sp>
      <p:sp>
        <p:nvSpPr>
          <p:cNvPr id="22" name="TextBox 21">
            <a:extLst>
              <a:ext uri="{FF2B5EF4-FFF2-40B4-BE49-F238E27FC236}">
                <a16:creationId xmlns:a16="http://schemas.microsoft.com/office/drawing/2014/main" id="{F21DCD0B-B68A-4D7A-9F6C-6D71442D13F2}"/>
              </a:ext>
            </a:extLst>
          </p:cNvPr>
          <p:cNvSpPr txBox="1"/>
          <p:nvPr/>
        </p:nvSpPr>
        <p:spPr>
          <a:xfrm>
            <a:off x="838200" y="2405563"/>
            <a:ext cx="16611600" cy="6014147"/>
          </a:xfrm>
          <a:prstGeom prst="rect">
            <a:avLst/>
          </a:prstGeom>
        </p:spPr>
        <p:txBody>
          <a:bodyPr wrap="square" lIns="0" tIns="0" rIns="0" bIns="0" rtlCol="0" anchor="t">
            <a:spAutoFit/>
          </a:bodyPr>
          <a:lstStyle/>
          <a:p>
            <a:r>
              <a:rPr lang="sv-SE" sz="3200" u="sng" kern="100" dirty="0">
                <a:solidFill>
                  <a:srgbClr val="404040"/>
                </a:solidFill>
                <a:effectLst/>
                <a:latin typeface="Arial (body)"/>
                <a:ea typeface="Noto Sans CJK SC"/>
                <a:cs typeface="Lohit Devanagari"/>
              </a:rPr>
              <a:t>Concrete actions</a:t>
            </a:r>
            <a:r>
              <a:rPr lang="sv-SE" sz="3200" u="sng" kern="100" dirty="0">
                <a:solidFill>
                  <a:srgbClr val="404040"/>
                </a:solidFill>
                <a:latin typeface="Arial (body)"/>
                <a:ea typeface="Noto Sans CJK SC"/>
                <a:cs typeface="Lohit Devanagari"/>
              </a:rPr>
              <a:t>:</a:t>
            </a:r>
          </a:p>
          <a:p>
            <a:endParaRPr lang="sv-SE" sz="2800" u="sng" kern="100" dirty="0">
              <a:solidFill>
                <a:srgbClr val="404040"/>
              </a:solidFill>
              <a:latin typeface="Arial (body)"/>
              <a:ea typeface="Noto Sans CJK SC"/>
              <a:cs typeface="Lohit Devanagari"/>
            </a:endParaRPr>
          </a:p>
          <a:p>
            <a:pPr marL="1028700" lvl="1" indent="-571500">
              <a:lnSpc>
                <a:spcPct val="150000"/>
              </a:lnSpc>
              <a:buFont typeface="Arial" panose="020B0604020202020204" pitchFamily="34" charset="0"/>
              <a:buChar char="•"/>
            </a:pPr>
            <a:r>
              <a:rPr lang="en-AU" sz="2800" kern="100" dirty="0">
                <a:solidFill>
                  <a:srgbClr val="404040"/>
                </a:solidFill>
                <a:effectLst/>
                <a:latin typeface="Arial (body)"/>
                <a:ea typeface="Noto Sans CJK SC"/>
                <a:cs typeface="Lohit Devanagari"/>
              </a:rPr>
              <a:t>Development</a:t>
            </a:r>
            <a:r>
              <a:rPr lang="sv-SE" sz="2800" kern="100" dirty="0">
                <a:solidFill>
                  <a:srgbClr val="404040"/>
                </a:solidFill>
                <a:effectLst/>
                <a:latin typeface="Arial (body)"/>
                <a:ea typeface="Noto Sans CJK SC"/>
                <a:cs typeface="Lohit Devanagari"/>
              </a:rPr>
              <a:t> </a:t>
            </a:r>
            <a:r>
              <a:rPr lang="sv-SE" sz="2800" kern="100" dirty="0" err="1">
                <a:solidFill>
                  <a:srgbClr val="404040"/>
                </a:solidFill>
                <a:effectLst/>
                <a:latin typeface="Arial (body)"/>
                <a:ea typeface="Noto Sans CJK SC"/>
                <a:cs typeface="Lohit Devanagari"/>
              </a:rPr>
              <a:t>of</a:t>
            </a:r>
            <a:r>
              <a:rPr lang="sv-SE" sz="2800" kern="100" dirty="0">
                <a:solidFill>
                  <a:srgbClr val="404040"/>
                </a:solidFill>
                <a:effectLst/>
                <a:latin typeface="Arial (body)"/>
                <a:ea typeface="Noto Sans CJK SC"/>
                <a:cs typeface="Lohit Devanagari"/>
              </a:rPr>
              <a:t> </a:t>
            </a:r>
            <a:r>
              <a:rPr lang="sv-SE" sz="2800" b="1" kern="100" dirty="0">
                <a:solidFill>
                  <a:srgbClr val="404040"/>
                </a:solidFill>
                <a:effectLst/>
                <a:latin typeface="Arial (body)"/>
                <a:ea typeface="Noto Sans CJK SC"/>
                <a:cs typeface="Lohit Devanagari"/>
              </a:rPr>
              <a:t>digital </a:t>
            </a:r>
            <a:r>
              <a:rPr lang="sv-SE" sz="2800" b="1" kern="100" dirty="0" err="1">
                <a:solidFill>
                  <a:srgbClr val="404040"/>
                </a:solidFill>
                <a:effectLst/>
                <a:latin typeface="Arial (body)"/>
                <a:ea typeface="Noto Sans CJK SC"/>
                <a:cs typeface="Lohit Devanagari"/>
              </a:rPr>
              <a:t>twins</a:t>
            </a:r>
            <a:r>
              <a:rPr lang="sv-SE" sz="2800" b="1" kern="100" dirty="0">
                <a:solidFill>
                  <a:srgbClr val="404040"/>
                </a:solidFill>
                <a:effectLst/>
                <a:latin typeface="Arial (body)"/>
                <a:ea typeface="Noto Sans CJK SC"/>
                <a:cs typeface="Lohit Devanagari"/>
              </a:rPr>
              <a:t> </a:t>
            </a:r>
            <a:r>
              <a:rPr lang="sv-SE" sz="2800" kern="100" dirty="0" err="1">
                <a:solidFill>
                  <a:srgbClr val="404040"/>
                </a:solidFill>
                <a:effectLst/>
                <a:latin typeface="Arial (body)"/>
                <a:ea typeface="Noto Sans CJK SC"/>
                <a:cs typeface="Lohit Devanagari"/>
              </a:rPr>
              <a:t>of</a:t>
            </a:r>
            <a:r>
              <a:rPr lang="sv-SE" sz="2800" kern="100" dirty="0">
                <a:solidFill>
                  <a:srgbClr val="404040"/>
                </a:solidFill>
                <a:effectLst/>
                <a:latin typeface="Arial (body)"/>
                <a:ea typeface="Noto Sans CJK SC"/>
                <a:cs typeface="Lohit Devanagari"/>
              </a:rPr>
              <a:t> the </a:t>
            </a:r>
            <a:r>
              <a:rPr lang="sv-SE" sz="2800" kern="100" dirty="0" err="1">
                <a:solidFill>
                  <a:srgbClr val="404040"/>
                </a:solidFill>
                <a:effectLst/>
                <a:latin typeface="Arial (body)"/>
                <a:ea typeface="Noto Sans CJK SC"/>
                <a:cs typeface="Lohit Devanagari"/>
              </a:rPr>
              <a:t>core</a:t>
            </a:r>
            <a:r>
              <a:rPr lang="sv-SE" sz="2800" kern="100" dirty="0">
                <a:solidFill>
                  <a:srgbClr val="404040"/>
                </a:solidFill>
                <a:effectLst/>
                <a:latin typeface="Arial (body)"/>
                <a:ea typeface="Noto Sans CJK SC"/>
                <a:cs typeface="Lohit Devanagari"/>
              </a:rPr>
              <a:t> process to be </a:t>
            </a:r>
            <a:r>
              <a:rPr lang="en-GB" sz="2800" kern="100" dirty="0">
                <a:solidFill>
                  <a:srgbClr val="404040"/>
                </a:solidFill>
                <a:effectLst/>
                <a:latin typeface="Arial (body)"/>
                <a:ea typeface="Noto Sans CJK SC"/>
                <a:cs typeface="Lohit Devanagari"/>
              </a:rPr>
              <a:t>retrofitted.</a:t>
            </a:r>
          </a:p>
          <a:p>
            <a:pPr marL="1028700" lvl="1" indent="-571500">
              <a:lnSpc>
                <a:spcPct val="150000"/>
              </a:lnSpc>
              <a:buFont typeface="Arial" panose="020B0604020202020204" pitchFamily="34" charset="0"/>
              <a:buChar char="•"/>
            </a:pPr>
            <a:r>
              <a:rPr lang="en-GB" sz="2800" kern="100" dirty="0">
                <a:solidFill>
                  <a:srgbClr val="404040"/>
                </a:solidFill>
                <a:latin typeface="Arial (body)"/>
                <a:ea typeface="Noto Sans CJK SC"/>
                <a:cs typeface="Lohit Devanagari"/>
              </a:rPr>
              <a:t>Implement circular economy by introducing by-products and waste streams as </a:t>
            </a:r>
            <a:r>
              <a:rPr lang="en-GB" sz="2800" b="1" kern="100" dirty="0">
                <a:solidFill>
                  <a:srgbClr val="404040"/>
                </a:solidFill>
                <a:latin typeface="Arial (body)"/>
                <a:ea typeface="Noto Sans CJK SC"/>
                <a:cs typeface="Lohit Devanagari"/>
              </a:rPr>
              <a:t>alternative feedstock.</a:t>
            </a:r>
          </a:p>
          <a:p>
            <a:pPr marL="1028700" lvl="1" indent="-571500">
              <a:lnSpc>
                <a:spcPct val="150000"/>
              </a:lnSpc>
              <a:buFont typeface="Arial" panose="020B0604020202020204" pitchFamily="34" charset="0"/>
              <a:buChar char="•"/>
            </a:pPr>
            <a:r>
              <a:rPr lang="en-US" sz="2800" b="1" kern="100" dirty="0">
                <a:solidFill>
                  <a:srgbClr val="404040"/>
                </a:solidFill>
                <a:latin typeface="Arial (body)"/>
                <a:ea typeface="Noto Sans CJK SC"/>
                <a:cs typeface="Lohit Devanagari"/>
              </a:rPr>
              <a:t>A</a:t>
            </a:r>
            <a:r>
              <a:rPr lang="en-US" sz="2800" b="1" kern="100" dirty="0">
                <a:solidFill>
                  <a:srgbClr val="404040"/>
                </a:solidFill>
                <a:effectLst/>
                <a:latin typeface="Arial (body)"/>
                <a:ea typeface="Noto Sans CJK SC"/>
                <a:cs typeface="Lohit Devanagari"/>
              </a:rPr>
              <a:t>dapt equipment </a:t>
            </a:r>
            <a:r>
              <a:rPr lang="en-US" sz="2800" kern="100" dirty="0">
                <a:solidFill>
                  <a:srgbClr val="404040"/>
                </a:solidFill>
                <a:effectLst/>
                <a:latin typeface="Arial (body)"/>
                <a:ea typeface="Noto Sans CJK SC"/>
                <a:cs typeface="Lohit Devanagari"/>
              </a:rPr>
              <a:t>for the provision and use of bio-based and recycled feedstock whether as fuel or raw material, thus replacing traditional feedstock</a:t>
            </a:r>
            <a:r>
              <a:rPr lang="sv-SE" sz="2800" kern="100" dirty="0">
                <a:solidFill>
                  <a:srgbClr val="404040"/>
                </a:solidFill>
                <a:effectLst/>
                <a:latin typeface="Arial (body)"/>
                <a:ea typeface="Noto Sans CJK SC"/>
                <a:cs typeface="Lohit Devanagari"/>
              </a:rPr>
              <a:t>.</a:t>
            </a:r>
          </a:p>
          <a:p>
            <a:pPr marL="1028700" lvl="1" indent="-571500">
              <a:lnSpc>
                <a:spcPct val="150000"/>
              </a:lnSpc>
              <a:buFont typeface="Arial" panose="020B0604020202020204" pitchFamily="34" charset="0"/>
              <a:buChar char="•"/>
            </a:pPr>
            <a:r>
              <a:rPr lang="sv-SE" sz="2800" kern="100" dirty="0" err="1">
                <a:solidFill>
                  <a:srgbClr val="404040"/>
                </a:solidFill>
                <a:latin typeface="Arial (body)"/>
                <a:ea typeface="Noto Sans CJK SC"/>
                <a:cs typeface="Lohit Devanagari"/>
              </a:rPr>
              <a:t>Improve</a:t>
            </a:r>
            <a:r>
              <a:rPr lang="sv-SE" sz="2800" kern="100" dirty="0">
                <a:solidFill>
                  <a:srgbClr val="404040"/>
                </a:solidFill>
                <a:latin typeface="Arial (body)"/>
                <a:ea typeface="Noto Sans CJK SC"/>
                <a:cs typeface="Lohit Devanagari"/>
              </a:rPr>
              <a:t> the</a:t>
            </a:r>
            <a:r>
              <a:rPr lang="sv-SE" sz="2800" b="1" kern="100" dirty="0">
                <a:solidFill>
                  <a:srgbClr val="404040"/>
                </a:solidFill>
                <a:latin typeface="Arial (body)"/>
                <a:ea typeface="Noto Sans CJK SC"/>
                <a:cs typeface="Lohit Devanagari"/>
              </a:rPr>
              <a:t> </a:t>
            </a:r>
            <a:r>
              <a:rPr lang="sv-SE" sz="2800" b="1" kern="100" dirty="0" err="1">
                <a:solidFill>
                  <a:srgbClr val="404040"/>
                </a:solidFill>
                <a:latin typeface="Arial (body)"/>
                <a:ea typeface="Noto Sans CJK SC"/>
                <a:cs typeface="Lohit Devanagari"/>
              </a:rPr>
              <a:t>control</a:t>
            </a:r>
            <a:r>
              <a:rPr lang="sv-SE" sz="2800" b="1" kern="100" dirty="0">
                <a:solidFill>
                  <a:srgbClr val="404040"/>
                </a:solidFill>
                <a:latin typeface="Arial (body)"/>
                <a:ea typeface="Noto Sans CJK SC"/>
                <a:cs typeface="Lohit Devanagari"/>
              </a:rPr>
              <a:t> system </a:t>
            </a:r>
            <a:r>
              <a:rPr lang="sv-SE" sz="2800" kern="100" dirty="0" err="1">
                <a:solidFill>
                  <a:srgbClr val="404040"/>
                </a:solidFill>
                <a:latin typeface="Arial (body)"/>
                <a:ea typeface="Noto Sans CJK SC"/>
                <a:cs typeface="Lohit Devanagari"/>
              </a:rPr>
              <a:t>of</a:t>
            </a:r>
            <a:r>
              <a:rPr lang="sv-SE" sz="2800" kern="100" dirty="0">
                <a:solidFill>
                  <a:srgbClr val="404040"/>
                </a:solidFill>
                <a:latin typeface="Arial (body)"/>
                <a:ea typeface="Noto Sans CJK SC"/>
                <a:cs typeface="Lohit Devanagari"/>
              </a:rPr>
              <a:t> the </a:t>
            </a:r>
            <a:r>
              <a:rPr lang="sv-SE" sz="2800" kern="100" dirty="0" err="1">
                <a:solidFill>
                  <a:srgbClr val="404040"/>
                </a:solidFill>
                <a:latin typeface="Arial (body)"/>
                <a:ea typeface="Noto Sans CJK SC"/>
                <a:cs typeface="Lohit Devanagari"/>
              </a:rPr>
              <a:t>retrofitted</a:t>
            </a:r>
            <a:r>
              <a:rPr lang="sv-SE" sz="2800" kern="100" dirty="0">
                <a:solidFill>
                  <a:srgbClr val="404040"/>
                </a:solidFill>
                <a:latin typeface="Arial (body)"/>
                <a:ea typeface="Noto Sans CJK SC"/>
                <a:cs typeface="Lohit Devanagari"/>
              </a:rPr>
              <a:t> </a:t>
            </a:r>
            <a:r>
              <a:rPr lang="sv-SE" sz="2800" kern="100" dirty="0" err="1">
                <a:solidFill>
                  <a:srgbClr val="404040"/>
                </a:solidFill>
                <a:latin typeface="Arial (body)"/>
                <a:ea typeface="Noto Sans CJK SC"/>
                <a:cs typeface="Lohit Devanagari"/>
              </a:rPr>
              <a:t>processess</a:t>
            </a:r>
            <a:r>
              <a:rPr lang="sv-SE" sz="2800" kern="100" dirty="0">
                <a:solidFill>
                  <a:srgbClr val="404040"/>
                </a:solidFill>
                <a:latin typeface="Arial (body)"/>
                <a:ea typeface="Noto Sans CJK SC"/>
                <a:cs typeface="Lohit Devanagari"/>
              </a:rPr>
              <a:t>.</a:t>
            </a:r>
          </a:p>
          <a:p>
            <a:pPr marL="1028700" lvl="1" indent="-571500">
              <a:lnSpc>
                <a:spcPct val="150000"/>
              </a:lnSpc>
              <a:buFont typeface="Arial" panose="020B0604020202020204" pitchFamily="34" charset="0"/>
              <a:buChar char="•"/>
            </a:pPr>
            <a:r>
              <a:rPr lang="en-US" sz="2800" kern="100" dirty="0">
                <a:solidFill>
                  <a:srgbClr val="404040"/>
                </a:solidFill>
                <a:latin typeface="Arial (body)"/>
                <a:ea typeface="Noto Sans CJK SC"/>
                <a:cs typeface="Lohit Devanagari"/>
              </a:rPr>
              <a:t>Develop a </a:t>
            </a:r>
            <a:r>
              <a:rPr lang="en-US" sz="2800" b="1" kern="100" dirty="0">
                <a:solidFill>
                  <a:srgbClr val="404040"/>
                </a:solidFill>
                <a:latin typeface="Arial (body)"/>
                <a:ea typeface="Noto Sans CJK SC"/>
                <a:cs typeface="Lohit Devanagari"/>
              </a:rPr>
              <a:t>Decision Support System</a:t>
            </a:r>
            <a:r>
              <a:rPr lang="en-US" sz="2800" kern="100" dirty="0">
                <a:solidFill>
                  <a:srgbClr val="404040"/>
                </a:solidFill>
                <a:latin typeface="Arial (body)"/>
                <a:ea typeface="Noto Sans CJK SC"/>
                <a:cs typeface="Lohit Devanagari"/>
              </a:rPr>
              <a:t> for assessing the best retrofitting options and operation plan of the improved processes. </a:t>
            </a:r>
          </a:p>
        </p:txBody>
      </p:sp>
    </p:spTree>
    <p:extLst>
      <p:ext uri="{BB962C8B-B14F-4D97-AF65-F5344CB8AC3E}">
        <p14:creationId xmlns:p14="http://schemas.microsoft.com/office/powerpoint/2010/main" val="1925503033"/>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1" name="Picture 12">
            <a:extLst>
              <a:ext uri="{FF2B5EF4-FFF2-40B4-BE49-F238E27FC236}">
                <a16:creationId xmlns:a16="http://schemas.microsoft.com/office/drawing/2014/main" id="{43802E0E-B79D-4EA7-8141-0CA3ED138B1A}"/>
              </a:ext>
            </a:extLst>
          </p:cNvPr>
          <p:cNvPicPr>
            <a:picLocks noChangeAspect="1"/>
          </p:cNvPicPr>
          <p:nvPr/>
        </p:nvPicPr>
        <p:blipFill>
          <a:blip r:embed="rId3"/>
          <a:srcRect/>
          <a:stretch>
            <a:fillRect/>
          </a:stretch>
        </p:blipFill>
        <p:spPr>
          <a:xfrm>
            <a:off x="0" y="8993140"/>
            <a:ext cx="5715000" cy="1385887"/>
          </a:xfrm>
          <a:prstGeom prst="rect">
            <a:avLst/>
          </a:prstGeom>
        </p:spPr>
      </p:pic>
      <p:grpSp>
        <p:nvGrpSpPr>
          <p:cNvPr id="132" name="Gruppo 2">
            <a:extLst>
              <a:ext uri="{FF2B5EF4-FFF2-40B4-BE49-F238E27FC236}">
                <a16:creationId xmlns:a16="http://schemas.microsoft.com/office/drawing/2014/main" id="{649928F6-6E82-4611-9715-AD3C75457C28}"/>
              </a:ext>
            </a:extLst>
          </p:cNvPr>
          <p:cNvGrpSpPr/>
          <p:nvPr/>
        </p:nvGrpSpPr>
        <p:grpSpPr>
          <a:xfrm>
            <a:off x="-12" y="138554"/>
            <a:ext cx="18288002" cy="681138"/>
            <a:chOff x="-12" y="138554"/>
            <a:chExt cx="18288002" cy="681138"/>
          </a:xfrm>
        </p:grpSpPr>
        <p:grpSp>
          <p:nvGrpSpPr>
            <p:cNvPr id="133" name="Gruppo 1">
              <a:extLst>
                <a:ext uri="{FF2B5EF4-FFF2-40B4-BE49-F238E27FC236}">
                  <a16:creationId xmlns:a16="http://schemas.microsoft.com/office/drawing/2014/main" id="{A8EB8794-E5C6-45EB-BAEC-2778E982797A}"/>
                </a:ext>
              </a:extLst>
            </p:cNvPr>
            <p:cNvGrpSpPr/>
            <p:nvPr/>
          </p:nvGrpSpPr>
          <p:grpSpPr>
            <a:xfrm>
              <a:off x="0" y="153125"/>
              <a:ext cx="17907000" cy="666567"/>
              <a:chOff x="0" y="153125"/>
              <a:chExt cx="17907000" cy="666567"/>
            </a:xfrm>
          </p:grpSpPr>
          <p:grpSp>
            <p:nvGrpSpPr>
              <p:cNvPr id="135" name="Gruppo 15">
                <a:extLst>
                  <a:ext uri="{FF2B5EF4-FFF2-40B4-BE49-F238E27FC236}">
                    <a16:creationId xmlns:a16="http://schemas.microsoft.com/office/drawing/2014/main" id="{AB129748-9FD7-458D-BD6E-304271C1814A}"/>
                  </a:ext>
                </a:extLst>
              </p:cNvPr>
              <p:cNvGrpSpPr/>
              <p:nvPr/>
            </p:nvGrpSpPr>
            <p:grpSpPr>
              <a:xfrm>
                <a:off x="0" y="153125"/>
                <a:ext cx="13958844" cy="666567"/>
                <a:chOff x="0" y="153125"/>
                <a:chExt cx="13958844" cy="666567"/>
              </a:xfrm>
            </p:grpSpPr>
            <p:pic>
              <p:nvPicPr>
                <p:cNvPr id="137" name="Picture 136">
                  <a:extLst>
                    <a:ext uri="{FF2B5EF4-FFF2-40B4-BE49-F238E27FC236}">
                      <a16:creationId xmlns:a16="http://schemas.microsoft.com/office/drawing/2014/main" id="{88E31CFD-796F-4F3F-A1EC-0E38F9D83456}"/>
                    </a:ext>
                  </a:extLst>
                </p:cNvPr>
                <p:cNvPicPr>
                  <a:picLocks noChangeAspect="1"/>
                </p:cNvPicPr>
                <p:nvPr/>
              </p:nvPicPr>
              <p:blipFill>
                <a:blip r:embed="rId4"/>
                <a:srcRect l="134" t="91287" b="3943"/>
                <a:stretch>
                  <a:fillRect/>
                </a:stretch>
              </p:blipFill>
              <p:spPr>
                <a:xfrm>
                  <a:off x="0" y="153125"/>
                  <a:ext cx="13958844" cy="666567"/>
                </a:xfrm>
                <a:prstGeom prst="rect">
                  <a:avLst/>
                </a:prstGeom>
              </p:spPr>
            </p:pic>
            <p:sp>
              <p:nvSpPr>
                <p:cNvPr id="138" name="TextBox 137">
                  <a:extLst>
                    <a:ext uri="{FF2B5EF4-FFF2-40B4-BE49-F238E27FC236}">
                      <a16:creationId xmlns:a16="http://schemas.microsoft.com/office/drawing/2014/main" id="{7694DADD-E227-40A7-A98D-244B0D207E54}"/>
                    </a:ext>
                  </a:extLst>
                </p:cNvPr>
                <p:cNvSpPr txBox="1"/>
                <p:nvPr/>
              </p:nvSpPr>
              <p:spPr>
                <a:xfrm>
                  <a:off x="228600" y="257980"/>
                  <a:ext cx="9296400" cy="456856"/>
                </a:xfrm>
                <a:prstGeom prst="rect">
                  <a:avLst/>
                </a:prstGeom>
              </p:spPr>
              <p:txBody>
                <a:bodyPr wrap="square" lIns="0" tIns="0" rIns="0" bIns="0" rtlCol="0" anchor="t">
                  <a:spAutoFit/>
                </a:bodyPr>
                <a:lstStyle/>
                <a:p>
                  <a:pPr marL="0" marR="0" lvl="0" indent="0" algn="l" defTabSz="914400" rtl="0" eaLnBrk="1" fontAlgn="auto" latinLnBrk="0" hangingPunct="1">
                    <a:lnSpc>
                      <a:spcPts val="3919"/>
                    </a:lnSpc>
                    <a:spcBef>
                      <a:spcPct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36" name="TextBox 135">
                <a:extLst>
                  <a:ext uri="{FF2B5EF4-FFF2-40B4-BE49-F238E27FC236}">
                    <a16:creationId xmlns:a16="http://schemas.microsoft.com/office/drawing/2014/main" id="{4B3CCEBB-60EF-4175-9878-F0D51FD80FF0}"/>
                  </a:ext>
                </a:extLst>
              </p:cNvPr>
              <p:cNvSpPr txBox="1"/>
              <p:nvPr/>
            </p:nvSpPr>
            <p:spPr>
              <a:xfrm>
                <a:off x="12154296" y="257980"/>
                <a:ext cx="5752704" cy="456856"/>
              </a:xfrm>
              <a:prstGeom prst="rect">
                <a:avLst/>
              </a:prstGeom>
            </p:spPr>
            <p:txBody>
              <a:bodyPr wrap="square" lIns="0" tIns="0" rIns="0" bIns="0" rtlCol="0" anchor="t">
                <a:spAutoFit/>
              </a:bodyPr>
              <a:lstStyle/>
              <a:p>
                <a:pPr marL="0" marR="0" lvl="0" indent="0" algn="r" defTabSz="914400" rtl="0" eaLnBrk="1" fontAlgn="auto" latinLnBrk="0" hangingPunct="1">
                  <a:lnSpc>
                    <a:spcPts val="3919"/>
                  </a:lnSpc>
                  <a:spcBef>
                    <a:spcPct val="0"/>
                  </a:spcBef>
                  <a:spcAft>
                    <a:spcPts val="0"/>
                  </a:spcAft>
                  <a:buClrTx/>
                  <a:buSzTx/>
                  <a:buFontTx/>
                  <a:buNone/>
                  <a:tabLst/>
                  <a:defRPr/>
                </a:pPr>
                <a:endParaRPr kumimoji="0" lang="en-US" sz="2800" b="0" i="0" u="none" strike="noStrike" kern="1200" cap="none" spc="0" normalizeH="0" baseline="0" noProof="0">
                  <a:ln>
                    <a:noFill/>
                  </a:ln>
                  <a:solidFill>
                    <a:srgbClr val="2F2F2F">
                      <a:lumMod val="75000"/>
                      <a:lumOff val="25000"/>
                    </a:srgbClr>
                  </a:solidFill>
                  <a:effectLst/>
                  <a:uLnTx/>
                  <a:uFillTx/>
                  <a:latin typeface="Arial" panose="020B0604020202020204" pitchFamily="34" charset="0"/>
                  <a:ea typeface="+mn-ea"/>
                  <a:cs typeface="Arial" panose="020B0604020202020204" pitchFamily="34" charset="0"/>
                </a:endParaRPr>
              </a:p>
            </p:txBody>
          </p:sp>
        </p:grpSp>
        <p:sp>
          <p:nvSpPr>
            <p:cNvPr id="134" name="Rettangolo 13">
              <a:extLst>
                <a:ext uri="{FF2B5EF4-FFF2-40B4-BE49-F238E27FC236}">
                  <a16:creationId xmlns:a16="http://schemas.microsoft.com/office/drawing/2014/main" id="{8F0CF2A7-592A-4287-9206-D3289F1B0C37}"/>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pic>
        <p:nvPicPr>
          <p:cNvPr id="139" name="Picture 12">
            <a:extLst>
              <a:ext uri="{FF2B5EF4-FFF2-40B4-BE49-F238E27FC236}">
                <a16:creationId xmlns:a16="http://schemas.microsoft.com/office/drawing/2014/main" id="{F047215A-40D8-4A57-BE02-5E03FCEEBB7B}"/>
              </a:ext>
            </a:extLst>
          </p:cNvPr>
          <p:cNvPicPr>
            <a:picLocks noChangeAspect="1"/>
          </p:cNvPicPr>
          <p:nvPr/>
        </p:nvPicPr>
        <p:blipFill>
          <a:blip r:embed="rId5"/>
          <a:srcRect l="134" t="91287" b="3943"/>
          <a:stretch>
            <a:fillRect/>
          </a:stretch>
        </p:blipFill>
        <p:spPr>
          <a:xfrm rot="10800000">
            <a:off x="4329146" y="9797731"/>
            <a:ext cx="13958844" cy="666567"/>
          </a:xfrm>
          <a:prstGeom prst="rect">
            <a:avLst/>
          </a:prstGeom>
        </p:spPr>
      </p:pic>
      <p:sp>
        <p:nvSpPr>
          <p:cNvPr id="140" name="TextBox 16">
            <a:extLst>
              <a:ext uri="{FF2B5EF4-FFF2-40B4-BE49-F238E27FC236}">
                <a16:creationId xmlns:a16="http://schemas.microsoft.com/office/drawing/2014/main" id="{C693B1DB-897C-4A9D-8CF3-F1423F6CB38D}"/>
              </a:ext>
            </a:extLst>
          </p:cNvPr>
          <p:cNvSpPr txBox="1"/>
          <p:nvPr/>
        </p:nvSpPr>
        <p:spPr>
          <a:xfrm>
            <a:off x="14400019" y="9762301"/>
            <a:ext cx="3636320" cy="448713"/>
          </a:xfrm>
          <a:prstGeom prst="rect">
            <a:avLst/>
          </a:prstGeom>
        </p:spPr>
        <p:txBody>
          <a:bodyPr wrap="square" lIns="0" tIns="0" rIns="0" bIns="0" rtlCol="0" anchor="t">
            <a:spAutoFit/>
          </a:bodyPr>
          <a:lstStyle/>
          <a:p>
            <a:pPr marL="0" marR="0" lvl="0" indent="0" algn="ctr" defTabSz="914400" rtl="0" eaLnBrk="1" fontAlgn="auto" latinLnBrk="0" hangingPunct="1">
              <a:lnSpc>
                <a:spcPts val="3919"/>
              </a:lnSpc>
              <a:spcBef>
                <a:spcPct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OCR A Extended" panose="02010509020102010303" pitchFamily="50" charset="0"/>
                <a:ea typeface="+mn-ea"/>
                <a:cs typeface="+mn-cs"/>
              </a:rPr>
              <a:t>www.retrofeed.eu</a:t>
            </a:r>
          </a:p>
        </p:txBody>
      </p:sp>
      <p:sp>
        <p:nvSpPr>
          <p:cNvPr id="4" name="TextBox 3">
            <a:extLst>
              <a:ext uri="{FF2B5EF4-FFF2-40B4-BE49-F238E27FC236}">
                <a16:creationId xmlns:a16="http://schemas.microsoft.com/office/drawing/2014/main" id="{E2A6C351-D084-461B-85B4-078A69C47372}"/>
              </a:ext>
            </a:extLst>
          </p:cNvPr>
          <p:cNvSpPr txBox="1"/>
          <p:nvPr/>
        </p:nvSpPr>
        <p:spPr>
          <a:xfrm>
            <a:off x="350519" y="1018656"/>
            <a:ext cx="18552623" cy="76944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400" b="1" i="0" u="none" strike="noStrike" kern="1200" cap="none" spc="0" normalizeH="0" baseline="0" noProof="0" dirty="0">
                <a:ln>
                  <a:noFill/>
                </a:ln>
                <a:solidFill>
                  <a:srgbClr val="CC0033"/>
                </a:solidFill>
                <a:effectLst/>
                <a:uLnTx/>
                <a:uFillTx/>
                <a:latin typeface="Arial"/>
                <a:ea typeface="+mn-ea"/>
                <a:cs typeface="Arial" panose="020B0604020202020204" pitchFamily="34" charset="0"/>
              </a:rPr>
              <a:t>Replicability of </a:t>
            </a:r>
            <a:r>
              <a:rPr kumimoji="0" lang="en-GB" sz="4400" b="1" i="0" u="none" strike="noStrike" kern="1200" cap="none" spc="0" normalizeH="0" baseline="0" noProof="0" dirty="0" err="1">
                <a:ln>
                  <a:noFill/>
                </a:ln>
                <a:solidFill>
                  <a:srgbClr val="CC0033"/>
                </a:solidFill>
                <a:effectLst/>
                <a:uLnTx/>
                <a:uFillTx/>
                <a:latin typeface="Arial"/>
                <a:ea typeface="+mn-ea"/>
                <a:cs typeface="Arial" panose="020B0604020202020204" pitchFamily="34" charset="0"/>
              </a:rPr>
              <a:t>Retrofeed</a:t>
            </a:r>
            <a:r>
              <a:rPr kumimoji="0" lang="en-GB" sz="4400" b="1" i="0" u="none" strike="noStrike" kern="1200" cap="none" spc="0" normalizeH="0" baseline="0" noProof="0" dirty="0">
                <a:ln>
                  <a:noFill/>
                </a:ln>
                <a:solidFill>
                  <a:srgbClr val="CC0033"/>
                </a:solidFill>
                <a:effectLst/>
                <a:uLnTx/>
                <a:uFillTx/>
                <a:latin typeface="Arial"/>
                <a:ea typeface="+mn-ea"/>
                <a:cs typeface="Arial" panose="020B0604020202020204" pitchFamily="34" charset="0"/>
              </a:rPr>
              <a:t> Solutions Between Sectors</a:t>
            </a:r>
            <a:endParaRPr kumimoji="0" lang="sv-SE" sz="4400" b="1" i="0" u="none" strike="noStrike" kern="1200" cap="none" spc="0" normalizeH="0" baseline="0" noProof="0" dirty="0">
              <a:ln>
                <a:noFill/>
              </a:ln>
              <a:solidFill>
                <a:srgbClr val="CC0033"/>
              </a:solidFill>
              <a:effectLst/>
              <a:uLnTx/>
              <a:uFillTx/>
              <a:latin typeface="Arial"/>
              <a:ea typeface="+mn-ea"/>
              <a:cs typeface="Arial" panose="020B0604020202020204" pitchFamily="34" charset="0"/>
            </a:endParaRPr>
          </a:p>
        </p:txBody>
      </p:sp>
      <p:graphicFrame>
        <p:nvGraphicFramePr>
          <p:cNvPr id="5" name="Tabell 4">
            <a:extLst>
              <a:ext uri="{FF2B5EF4-FFF2-40B4-BE49-F238E27FC236}">
                <a16:creationId xmlns:a16="http://schemas.microsoft.com/office/drawing/2014/main" id="{94C5D53D-B497-F5B0-923D-B8978F97E15D}"/>
              </a:ext>
            </a:extLst>
          </p:cNvPr>
          <p:cNvGraphicFramePr>
            <a:graphicFrameLocks noGrp="1"/>
          </p:cNvGraphicFramePr>
          <p:nvPr>
            <p:extLst>
              <p:ext uri="{D42A27DB-BD31-4B8C-83A1-F6EECF244321}">
                <p14:modId xmlns:p14="http://schemas.microsoft.com/office/powerpoint/2010/main" val="108199561"/>
              </p:ext>
            </p:extLst>
          </p:nvPr>
        </p:nvGraphicFramePr>
        <p:xfrm>
          <a:off x="588427" y="2206695"/>
          <a:ext cx="13214512" cy="5200197"/>
        </p:xfrm>
        <a:graphic>
          <a:graphicData uri="http://schemas.openxmlformats.org/drawingml/2006/table">
            <a:tbl>
              <a:tblPr>
                <a:tableStyleId>{5C22544A-7EE6-4342-B048-85BDC9FD1C3A}</a:tableStyleId>
              </a:tblPr>
              <a:tblGrid>
                <a:gridCol w="6176912">
                  <a:extLst>
                    <a:ext uri="{9D8B030D-6E8A-4147-A177-3AD203B41FA5}">
                      <a16:colId xmlns:a16="http://schemas.microsoft.com/office/drawing/2014/main" val="1416652888"/>
                    </a:ext>
                  </a:extLst>
                </a:gridCol>
                <a:gridCol w="1556386">
                  <a:extLst>
                    <a:ext uri="{9D8B030D-6E8A-4147-A177-3AD203B41FA5}">
                      <a16:colId xmlns:a16="http://schemas.microsoft.com/office/drawing/2014/main" val="4046264578"/>
                    </a:ext>
                  </a:extLst>
                </a:gridCol>
                <a:gridCol w="2368442">
                  <a:extLst>
                    <a:ext uri="{9D8B030D-6E8A-4147-A177-3AD203B41FA5}">
                      <a16:colId xmlns:a16="http://schemas.microsoft.com/office/drawing/2014/main" val="3844747471"/>
                    </a:ext>
                  </a:extLst>
                </a:gridCol>
                <a:gridCol w="1556386">
                  <a:extLst>
                    <a:ext uri="{9D8B030D-6E8A-4147-A177-3AD203B41FA5}">
                      <a16:colId xmlns:a16="http://schemas.microsoft.com/office/drawing/2014/main" val="982165346"/>
                    </a:ext>
                  </a:extLst>
                </a:gridCol>
                <a:gridCol w="1556386">
                  <a:extLst>
                    <a:ext uri="{9D8B030D-6E8A-4147-A177-3AD203B41FA5}">
                      <a16:colId xmlns:a16="http://schemas.microsoft.com/office/drawing/2014/main" val="1322144960"/>
                    </a:ext>
                  </a:extLst>
                </a:gridCol>
              </a:tblGrid>
              <a:tr h="0">
                <a:tc>
                  <a:txBody>
                    <a:bodyPr/>
                    <a:lstStyle/>
                    <a:p>
                      <a:pPr algn="l" fontAlgn="b"/>
                      <a:r>
                        <a:rPr lang="sv-SE" sz="2800" b="1" i="0" u="sng" strike="noStrike" cap="none" spc="0" dirty="0">
                          <a:ln>
                            <a:noFill/>
                          </a:ln>
                          <a:solidFill>
                            <a:schemeClr val="bg1"/>
                          </a:solidFill>
                          <a:effectLst/>
                          <a:latin typeface="Calibri" panose="020F0502020204030204" pitchFamily="34" charset="0"/>
                        </a:rPr>
                        <a:t>RETROFEED Solutions</a:t>
                      </a:r>
                    </a:p>
                  </a:txBody>
                  <a:tcPr marL="0" marR="0" marT="0" marB="0" anchor="b">
                    <a:solidFill>
                      <a:schemeClr val="accent1"/>
                    </a:solidFill>
                  </a:tcPr>
                </a:tc>
                <a:tc>
                  <a:txBody>
                    <a:bodyPr/>
                    <a:lstStyle/>
                    <a:p>
                      <a:pPr algn="l" fontAlgn="b"/>
                      <a:r>
                        <a:rPr lang="sv-SE" sz="2000" b="1" u="none" strike="noStrike" dirty="0">
                          <a:solidFill>
                            <a:schemeClr val="bg1"/>
                          </a:solidFill>
                          <a:effectLst/>
                        </a:rPr>
                        <a:t>SECIL</a:t>
                      </a:r>
                    </a:p>
                    <a:p>
                      <a:pPr algn="l" fontAlgn="b"/>
                      <a:r>
                        <a:rPr lang="sv-SE" sz="2000" b="1" i="0" u="none" strike="noStrike" dirty="0">
                          <a:solidFill>
                            <a:schemeClr val="bg1"/>
                          </a:solidFill>
                          <a:effectLst/>
                          <a:latin typeface="Calibri" panose="020F0502020204030204" pitchFamily="34" charset="0"/>
                        </a:rPr>
                        <a:t>(cement)</a:t>
                      </a:r>
                    </a:p>
                  </a:txBody>
                  <a:tcPr marL="0" marR="0" marT="0" marB="0" anchor="b">
                    <a:solidFill>
                      <a:schemeClr val="accent1"/>
                    </a:solidFill>
                  </a:tcPr>
                </a:tc>
                <a:tc>
                  <a:txBody>
                    <a:bodyPr/>
                    <a:lstStyle/>
                    <a:p>
                      <a:pPr algn="l" fontAlgn="b"/>
                      <a:r>
                        <a:rPr lang="sv-SE" sz="2000" b="1" u="none" strike="noStrike" dirty="0">
                          <a:solidFill>
                            <a:schemeClr val="bg1"/>
                          </a:solidFill>
                          <a:effectLst/>
                        </a:rPr>
                        <a:t>FENO/SILCOTUB</a:t>
                      </a:r>
                    </a:p>
                    <a:p>
                      <a:pPr algn="l" fontAlgn="b"/>
                      <a:r>
                        <a:rPr lang="sv-SE" sz="2000" b="1" i="0" u="none" strike="noStrike" dirty="0">
                          <a:solidFill>
                            <a:schemeClr val="bg1"/>
                          </a:solidFill>
                          <a:effectLst/>
                          <a:latin typeface="Calibri" panose="020F0502020204030204" pitchFamily="34" charset="0"/>
                        </a:rPr>
                        <a:t>(</a:t>
                      </a:r>
                      <a:r>
                        <a:rPr lang="sv-SE" sz="2000" b="1" i="0" u="none" strike="noStrike" dirty="0" err="1">
                          <a:solidFill>
                            <a:schemeClr val="bg1"/>
                          </a:solidFill>
                          <a:effectLst/>
                          <a:latin typeface="Calibri" panose="020F0502020204030204" pitchFamily="34" charset="0"/>
                        </a:rPr>
                        <a:t>steel</a:t>
                      </a:r>
                      <a:r>
                        <a:rPr lang="sv-SE" sz="2000" b="1" i="0" u="none" strike="noStrike" dirty="0">
                          <a:solidFill>
                            <a:schemeClr val="bg1"/>
                          </a:solidFill>
                          <a:effectLst/>
                          <a:latin typeface="Calibri" panose="020F0502020204030204" pitchFamily="34" charset="0"/>
                        </a:rPr>
                        <a:t>)</a:t>
                      </a:r>
                    </a:p>
                  </a:txBody>
                  <a:tcPr marL="0" marR="0" marT="0" marB="0" anchor="b">
                    <a:solidFill>
                      <a:schemeClr val="accent1"/>
                    </a:solidFill>
                  </a:tcPr>
                </a:tc>
                <a:tc>
                  <a:txBody>
                    <a:bodyPr/>
                    <a:lstStyle/>
                    <a:p>
                      <a:pPr algn="l" fontAlgn="b"/>
                      <a:r>
                        <a:rPr lang="sv-SE" sz="2000" b="1" u="none" strike="noStrike" dirty="0">
                          <a:solidFill>
                            <a:schemeClr val="bg1"/>
                          </a:solidFill>
                          <a:effectLst/>
                        </a:rPr>
                        <a:t>ASAS</a:t>
                      </a:r>
                    </a:p>
                    <a:p>
                      <a:pPr algn="l" fontAlgn="b"/>
                      <a:r>
                        <a:rPr lang="sv-SE" sz="2000" b="1" i="0" u="none" strike="noStrike" dirty="0">
                          <a:solidFill>
                            <a:schemeClr val="bg1"/>
                          </a:solidFill>
                          <a:effectLst/>
                          <a:latin typeface="Calibri" panose="020F0502020204030204" pitchFamily="34" charset="0"/>
                        </a:rPr>
                        <a:t>(</a:t>
                      </a:r>
                      <a:r>
                        <a:rPr lang="sv-SE" sz="2000" b="1" i="0" u="none" strike="noStrike" dirty="0" err="1">
                          <a:solidFill>
                            <a:schemeClr val="bg1"/>
                          </a:solidFill>
                          <a:effectLst/>
                          <a:latin typeface="Calibri" panose="020F0502020204030204" pitchFamily="34" charset="0"/>
                        </a:rPr>
                        <a:t>aluminum</a:t>
                      </a:r>
                      <a:r>
                        <a:rPr lang="sv-SE" sz="2000" b="1" i="0" u="none" strike="noStrike" dirty="0">
                          <a:solidFill>
                            <a:schemeClr val="bg1"/>
                          </a:solidFill>
                          <a:effectLst/>
                          <a:latin typeface="Calibri" panose="020F0502020204030204" pitchFamily="34" charset="0"/>
                        </a:rPr>
                        <a:t>)</a:t>
                      </a:r>
                    </a:p>
                  </a:txBody>
                  <a:tcPr marL="0" marR="0" marT="0" marB="0" anchor="b">
                    <a:solidFill>
                      <a:schemeClr val="accent1"/>
                    </a:solidFill>
                  </a:tcPr>
                </a:tc>
                <a:tc>
                  <a:txBody>
                    <a:bodyPr/>
                    <a:lstStyle/>
                    <a:p>
                      <a:pPr algn="l" fontAlgn="b"/>
                      <a:r>
                        <a:rPr lang="sv-SE" sz="2000" b="1" u="none" strike="noStrike" dirty="0" err="1">
                          <a:solidFill>
                            <a:schemeClr val="bg1"/>
                          </a:solidFill>
                          <a:effectLst/>
                        </a:rPr>
                        <a:t>Fertiberia</a:t>
                      </a:r>
                      <a:endParaRPr lang="sv-SE" sz="2000" b="1" u="none" strike="noStrike" dirty="0">
                        <a:solidFill>
                          <a:schemeClr val="bg1"/>
                        </a:solidFill>
                        <a:effectLst/>
                      </a:endParaRPr>
                    </a:p>
                    <a:p>
                      <a:pPr algn="l" fontAlgn="b"/>
                      <a:r>
                        <a:rPr lang="sv-SE" sz="2000" b="1" i="0" u="none" strike="noStrike" dirty="0">
                          <a:solidFill>
                            <a:schemeClr val="bg1"/>
                          </a:solidFill>
                          <a:effectLst/>
                          <a:latin typeface="Calibri" panose="020F0502020204030204" pitchFamily="34" charset="0"/>
                        </a:rPr>
                        <a:t>(</a:t>
                      </a:r>
                      <a:r>
                        <a:rPr lang="sv-SE" sz="2000" b="1" i="0" u="none" strike="noStrike" dirty="0" err="1">
                          <a:solidFill>
                            <a:schemeClr val="bg1"/>
                          </a:solidFill>
                          <a:effectLst/>
                          <a:latin typeface="Calibri" panose="020F0502020204030204" pitchFamily="34" charset="0"/>
                        </a:rPr>
                        <a:t>fertilizer</a:t>
                      </a:r>
                      <a:r>
                        <a:rPr lang="sv-SE" sz="2000" b="1" i="0" u="none" strike="noStrike" dirty="0">
                          <a:solidFill>
                            <a:schemeClr val="bg1"/>
                          </a:solidFill>
                          <a:effectLst/>
                          <a:latin typeface="Calibri" panose="020F0502020204030204" pitchFamily="34" charset="0"/>
                        </a:rPr>
                        <a:t>)</a:t>
                      </a:r>
                    </a:p>
                  </a:txBody>
                  <a:tcPr marL="0" marR="0" marT="0" marB="0" anchor="b">
                    <a:solidFill>
                      <a:schemeClr val="accent1"/>
                    </a:solidFill>
                  </a:tcPr>
                </a:tc>
                <a:extLst>
                  <a:ext uri="{0D108BD9-81ED-4DB2-BD59-A6C34878D82A}">
                    <a16:rowId xmlns:a16="http://schemas.microsoft.com/office/drawing/2014/main" val="2987970424"/>
                  </a:ext>
                </a:extLst>
              </a:tr>
              <a:tr h="215382">
                <a:tc>
                  <a:txBody>
                    <a:bodyPr/>
                    <a:lstStyle/>
                    <a:p>
                      <a:pPr algn="l" fontAlgn="b"/>
                      <a:r>
                        <a:rPr lang="en-US" sz="2000" b="1" u="none" strike="noStrike" cap="none" spc="0" dirty="0">
                          <a:ln>
                            <a:noFill/>
                          </a:ln>
                          <a:solidFill>
                            <a:schemeClr val="bg1"/>
                          </a:solidFill>
                          <a:effectLst/>
                        </a:rPr>
                        <a:t>Flame monitoring system (visual): </a:t>
                      </a:r>
                      <a:endParaRPr lang="en-US" sz="2000" b="1" i="0" u="none" strike="noStrike" cap="none" spc="0" dirty="0">
                        <a:ln>
                          <a:noFill/>
                        </a:ln>
                        <a:solidFill>
                          <a:schemeClr val="bg1"/>
                        </a:solidFill>
                        <a:effectLst/>
                        <a:latin typeface="Arial" panose="020B0604020202020204" pitchFamily="34" charset="0"/>
                      </a:endParaRPr>
                    </a:p>
                  </a:txBody>
                  <a:tcPr marL="0" marR="0" marT="0" marB="0" anchor="b">
                    <a:solidFill>
                      <a:schemeClr val="accent1"/>
                    </a:solidFill>
                  </a:tcPr>
                </a:tc>
                <a:tc>
                  <a:txBody>
                    <a:bodyPr/>
                    <a:lstStyle/>
                    <a:p>
                      <a:pPr algn="ctr" fontAlgn="b"/>
                      <a:r>
                        <a:rPr lang="sv-SE" sz="2000" u="none" strike="noStrike" dirty="0">
                          <a:solidFill>
                            <a:srgbClr val="00B0F0"/>
                          </a:solidFill>
                          <a:effectLst/>
                        </a:rPr>
                        <a:t>X</a:t>
                      </a:r>
                      <a:endParaRPr lang="sv-SE" sz="2000" b="0" i="0" u="none" strike="noStrike" dirty="0">
                        <a:solidFill>
                          <a:srgbClr val="00B0F0"/>
                        </a:solidFill>
                        <a:effectLst/>
                        <a:latin typeface="Calibri" panose="020F0502020204030204" pitchFamily="34" charset="0"/>
                      </a:endParaRPr>
                    </a:p>
                  </a:txBody>
                  <a:tcPr marL="0" marR="0" marT="0" marB="0" anchor="b"/>
                </a:tc>
                <a:tc>
                  <a:txBody>
                    <a:bodyPr/>
                    <a:lstStyle/>
                    <a:p>
                      <a:pPr algn="ctr" fontAlgn="b"/>
                      <a:r>
                        <a:rPr lang="sv-SE" sz="2000" u="none" strike="noStrike" dirty="0">
                          <a:effectLst/>
                        </a:rPr>
                        <a:t>(X)</a:t>
                      </a:r>
                      <a:endParaRPr lang="sv-SE" sz="2000" b="0" i="0" u="none" strike="noStrike" dirty="0">
                        <a:solidFill>
                          <a:srgbClr val="000000"/>
                        </a:solidFill>
                        <a:effectLst/>
                        <a:latin typeface="Calibri" panose="020F0502020204030204" pitchFamily="34" charset="0"/>
                      </a:endParaRPr>
                    </a:p>
                  </a:txBody>
                  <a:tcPr marL="0" marR="0" marT="0" marB="0" anchor="b"/>
                </a:tc>
                <a:tc>
                  <a:txBody>
                    <a:bodyPr/>
                    <a:lstStyle/>
                    <a:p>
                      <a:pPr algn="ctr" fontAlgn="b"/>
                      <a:endParaRPr lang="sv-SE" sz="20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sv-SE" sz="2000" u="none" strike="noStrike" dirty="0">
                          <a:effectLst/>
                        </a:rPr>
                        <a:t>(X)</a:t>
                      </a:r>
                      <a:endParaRPr lang="sv-SE" sz="2000" b="0"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168122168"/>
                  </a:ext>
                </a:extLst>
              </a:tr>
              <a:tr h="215382">
                <a:tc>
                  <a:txBody>
                    <a:bodyPr/>
                    <a:lstStyle/>
                    <a:p>
                      <a:pPr algn="l" fontAlgn="b"/>
                      <a:r>
                        <a:rPr lang="en-US" sz="2000" b="1" u="none" strike="noStrike" cap="none" spc="0" dirty="0">
                          <a:ln>
                            <a:noFill/>
                          </a:ln>
                          <a:solidFill>
                            <a:schemeClr val="bg1"/>
                          </a:solidFill>
                          <a:effectLst/>
                        </a:rPr>
                        <a:t>Outlet material monitoring system: </a:t>
                      </a:r>
                      <a:endParaRPr lang="en-US" sz="2000" b="1" i="0" u="none" strike="noStrike" cap="none" spc="0" dirty="0">
                        <a:ln>
                          <a:noFill/>
                        </a:ln>
                        <a:solidFill>
                          <a:schemeClr val="bg1"/>
                        </a:solidFill>
                        <a:effectLst/>
                        <a:latin typeface="Arial" panose="020B0604020202020204" pitchFamily="34" charset="0"/>
                      </a:endParaRPr>
                    </a:p>
                  </a:txBody>
                  <a:tcPr marL="0" marR="0" marT="0" marB="0" anchor="b">
                    <a:solidFill>
                      <a:schemeClr val="accent1"/>
                    </a:solidFill>
                  </a:tcPr>
                </a:tc>
                <a:tc>
                  <a:txBody>
                    <a:bodyPr/>
                    <a:lstStyle/>
                    <a:p>
                      <a:pPr algn="ctr" fontAlgn="b"/>
                      <a:r>
                        <a:rPr lang="sv-SE" sz="2000" u="none" strike="noStrike" dirty="0">
                          <a:solidFill>
                            <a:srgbClr val="00B0F0"/>
                          </a:solidFill>
                          <a:effectLst/>
                        </a:rPr>
                        <a:t>X</a:t>
                      </a:r>
                      <a:endParaRPr lang="sv-SE" sz="2000" b="0" i="0" u="none" strike="noStrike" dirty="0">
                        <a:solidFill>
                          <a:srgbClr val="00B0F0"/>
                        </a:solidFill>
                        <a:effectLst/>
                        <a:latin typeface="Calibri" panose="020F0502020204030204" pitchFamily="34" charset="0"/>
                      </a:endParaRPr>
                    </a:p>
                  </a:txBody>
                  <a:tcPr marL="0" marR="0" marT="0" marB="0" anchor="b"/>
                </a:tc>
                <a:tc>
                  <a:txBody>
                    <a:bodyPr/>
                    <a:lstStyle/>
                    <a:p>
                      <a:pPr algn="ctr" fontAlgn="b"/>
                      <a:endParaRPr lang="sv-SE" sz="20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sv-SE" sz="2000" u="none" strike="noStrike" dirty="0">
                          <a:effectLst/>
                        </a:rPr>
                        <a:t>(X)</a:t>
                      </a:r>
                      <a:endParaRPr lang="sv-SE" sz="2000" b="0" i="0" u="none" strike="noStrike" dirty="0">
                        <a:solidFill>
                          <a:srgbClr val="000000"/>
                        </a:solidFill>
                        <a:effectLst/>
                        <a:latin typeface="Calibri" panose="020F0502020204030204" pitchFamily="34" charset="0"/>
                      </a:endParaRPr>
                    </a:p>
                  </a:txBody>
                  <a:tcPr marL="0" marR="0" marT="0" marB="0" anchor="b"/>
                </a:tc>
                <a:tc>
                  <a:txBody>
                    <a:bodyPr/>
                    <a:lstStyle/>
                    <a:p>
                      <a:pPr algn="ctr" fontAlgn="b"/>
                      <a:r>
                        <a:rPr lang="sv-SE" sz="2000" u="none" strike="noStrike">
                          <a:effectLst/>
                        </a:rPr>
                        <a:t>(X)</a:t>
                      </a:r>
                      <a:endParaRPr lang="sv-SE" sz="20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2983379975"/>
                  </a:ext>
                </a:extLst>
              </a:tr>
              <a:tr h="421789">
                <a:tc>
                  <a:txBody>
                    <a:bodyPr/>
                    <a:lstStyle/>
                    <a:p>
                      <a:pPr algn="l" fontAlgn="b"/>
                      <a:r>
                        <a:rPr lang="en-US" sz="2000" b="1" u="none" strike="noStrike" cap="none" spc="0" dirty="0">
                          <a:ln>
                            <a:noFill/>
                          </a:ln>
                          <a:solidFill>
                            <a:schemeClr val="bg1"/>
                          </a:solidFill>
                          <a:effectLst/>
                        </a:rPr>
                        <a:t>Satellite burner to increase share of alternative material to be burned:</a:t>
                      </a:r>
                      <a:endParaRPr lang="en-US" sz="2000" b="1" i="0" u="none" strike="noStrike" cap="none" spc="0" dirty="0">
                        <a:ln>
                          <a:noFill/>
                        </a:ln>
                        <a:solidFill>
                          <a:schemeClr val="bg1"/>
                        </a:solidFill>
                        <a:effectLst/>
                        <a:latin typeface="Arial" panose="020B0604020202020204" pitchFamily="34" charset="0"/>
                      </a:endParaRPr>
                    </a:p>
                  </a:txBody>
                  <a:tcPr marL="0" marR="0" marT="0" marB="0" anchor="b">
                    <a:solidFill>
                      <a:schemeClr val="accent1"/>
                    </a:solidFill>
                  </a:tcPr>
                </a:tc>
                <a:tc>
                  <a:txBody>
                    <a:bodyPr/>
                    <a:lstStyle/>
                    <a:p>
                      <a:pPr algn="ctr" fontAlgn="b"/>
                      <a:r>
                        <a:rPr lang="sv-SE" sz="2000" u="none" strike="noStrike" dirty="0">
                          <a:solidFill>
                            <a:srgbClr val="00B0F0"/>
                          </a:solidFill>
                          <a:effectLst/>
                        </a:rPr>
                        <a:t>X</a:t>
                      </a:r>
                      <a:endParaRPr lang="sv-SE" sz="2000" b="0" i="0" u="none" strike="noStrike" dirty="0">
                        <a:solidFill>
                          <a:srgbClr val="00B0F0"/>
                        </a:solidFill>
                        <a:effectLst/>
                        <a:latin typeface="Calibri" panose="020F0502020204030204" pitchFamily="34" charset="0"/>
                      </a:endParaRPr>
                    </a:p>
                  </a:txBody>
                  <a:tcPr marL="0" marR="0" marT="0" marB="0" anchor="b"/>
                </a:tc>
                <a:tc>
                  <a:txBody>
                    <a:bodyPr/>
                    <a:lstStyle/>
                    <a:p>
                      <a:pPr algn="ctr" fontAlgn="b"/>
                      <a:r>
                        <a:rPr lang="sv-SE" sz="2000" u="none" strike="noStrike" dirty="0">
                          <a:effectLst/>
                        </a:rPr>
                        <a:t>(X)</a:t>
                      </a:r>
                      <a:endParaRPr lang="sv-SE" sz="2000" b="0" i="0" u="none" strike="noStrike" dirty="0">
                        <a:solidFill>
                          <a:srgbClr val="000000"/>
                        </a:solidFill>
                        <a:effectLst/>
                        <a:latin typeface="Calibri" panose="020F0502020204030204" pitchFamily="34" charset="0"/>
                      </a:endParaRPr>
                    </a:p>
                  </a:txBody>
                  <a:tcPr marL="0" marR="0" marT="0" marB="0" anchor="b"/>
                </a:tc>
                <a:tc>
                  <a:txBody>
                    <a:bodyPr/>
                    <a:lstStyle/>
                    <a:p>
                      <a:pPr algn="ctr" fontAlgn="b"/>
                      <a:r>
                        <a:rPr lang="sv-SE" sz="2000" u="none" strike="noStrike">
                          <a:effectLst/>
                        </a:rPr>
                        <a:t>(X)</a:t>
                      </a:r>
                      <a:endParaRPr lang="sv-SE" sz="20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sv-SE" sz="2000" u="none" strike="noStrike">
                          <a:effectLst/>
                        </a:rPr>
                        <a:t>(X)</a:t>
                      </a:r>
                      <a:endParaRPr lang="sv-SE" sz="20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535144747"/>
                  </a:ext>
                </a:extLst>
              </a:tr>
              <a:tr h="834605">
                <a:tc>
                  <a:txBody>
                    <a:bodyPr/>
                    <a:lstStyle/>
                    <a:p>
                      <a:pPr algn="l" fontAlgn="b"/>
                      <a:r>
                        <a:rPr lang="en-US" sz="2000" b="1" u="none" strike="noStrike" cap="none" spc="0" dirty="0">
                          <a:ln>
                            <a:noFill/>
                          </a:ln>
                          <a:solidFill>
                            <a:schemeClr val="bg1"/>
                          </a:solidFill>
                          <a:effectLst/>
                        </a:rPr>
                        <a:t>Novel sensors installed (for fuel feeding process control, kiln process control and output material quality control):</a:t>
                      </a:r>
                      <a:endParaRPr lang="en-US" sz="2000" b="1" i="0" u="none" strike="noStrike" cap="none" spc="0" dirty="0">
                        <a:ln>
                          <a:noFill/>
                        </a:ln>
                        <a:solidFill>
                          <a:schemeClr val="bg1"/>
                        </a:solidFill>
                        <a:effectLst/>
                        <a:latin typeface="Arial" panose="020B0604020202020204" pitchFamily="34" charset="0"/>
                      </a:endParaRPr>
                    </a:p>
                  </a:txBody>
                  <a:tcPr marL="0" marR="0" marT="0" marB="0" anchor="b">
                    <a:solidFill>
                      <a:schemeClr val="accent1"/>
                    </a:solidFill>
                  </a:tcPr>
                </a:tc>
                <a:tc>
                  <a:txBody>
                    <a:bodyPr/>
                    <a:lstStyle/>
                    <a:p>
                      <a:pPr algn="ctr" fontAlgn="b"/>
                      <a:r>
                        <a:rPr lang="sv-SE" sz="2000" u="none" strike="noStrike" dirty="0">
                          <a:solidFill>
                            <a:srgbClr val="00B0F0"/>
                          </a:solidFill>
                          <a:effectLst/>
                        </a:rPr>
                        <a:t>X</a:t>
                      </a:r>
                      <a:endParaRPr lang="sv-SE" sz="2000" b="0" i="0" u="none" strike="noStrike" dirty="0">
                        <a:solidFill>
                          <a:srgbClr val="00B0F0"/>
                        </a:solidFill>
                        <a:effectLst/>
                        <a:latin typeface="Calibri" panose="020F0502020204030204" pitchFamily="34" charset="0"/>
                      </a:endParaRPr>
                    </a:p>
                  </a:txBody>
                  <a:tcPr marL="0" marR="0" marT="0" marB="0" anchor="b"/>
                </a:tc>
                <a:tc>
                  <a:txBody>
                    <a:bodyPr/>
                    <a:lstStyle/>
                    <a:p>
                      <a:pPr algn="ctr" fontAlgn="b"/>
                      <a:endParaRPr lang="sv-SE" sz="2000" b="0" i="0" u="none" strike="noStrike" dirty="0">
                        <a:solidFill>
                          <a:srgbClr val="000000"/>
                        </a:solidFill>
                        <a:effectLst/>
                        <a:latin typeface="Calibri" panose="020F0502020204030204" pitchFamily="34" charset="0"/>
                      </a:endParaRPr>
                    </a:p>
                  </a:txBody>
                  <a:tcPr marL="0" marR="0" marT="0" marB="0" anchor="b"/>
                </a:tc>
                <a:tc>
                  <a:txBody>
                    <a:bodyPr/>
                    <a:lstStyle/>
                    <a:p>
                      <a:pPr algn="ctr" fontAlgn="b"/>
                      <a:endParaRPr lang="sv-SE" sz="20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sv-SE" sz="2000" u="none" strike="noStrike">
                          <a:effectLst/>
                        </a:rPr>
                        <a:t>(X)</a:t>
                      </a:r>
                      <a:endParaRPr lang="sv-SE" sz="20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728760783"/>
                  </a:ext>
                </a:extLst>
              </a:tr>
              <a:tr h="628197">
                <a:tc>
                  <a:txBody>
                    <a:bodyPr/>
                    <a:lstStyle/>
                    <a:p>
                      <a:pPr algn="l" fontAlgn="b"/>
                      <a:r>
                        <a:rPr lang="en-US" sz="2000" b="1" u="none" strike="noStrike" cap="none" spc="0" dirty="0">
                          <a:ln>
                            <a:noFill/>
                          </a:ln>
                          <a:solidFill>
                            <a:schemeClr val="bg1"/>
                          </a:solidFill>
                          <a:effectLst/>
                        </a:rPr>
                        <a:t>Integrated retrofitting of furnace: replacement of burner and refractory material:</a:t>
                      </a:r>
                      <a:endParaRPr lang="en-US" sz="2000" b="1" i="0" u="none" strike="noStrike" cap="none" spc="0" dirty="0">
                        <a:ln>
                          <a:noFill/>
                        </a:ln>
                        <a:solidFill>
                          <a:schemeClr val="bg1"/>
                        </a:solidFill>
                        <a:effectLst/>
                        <a:latin typeface="Arial" panose="020B0604020202020204" pitchFamily="34" charset="0"/>
                      </a:endParaRPr>
                    </a:p>
                  </a:txBody>
                  <a:tcPr marL="0" marR="0" marT="0" marB="0" anchor="b">
                    <a:solidFill>
                      <a:schemeClr val="accent1"/>
                    </a:solidFill>
                  </a:tcPr>
                </a:tc>
                <a:tc>
                  <a:txBody>
                    <a:bodyPr/>
                    <a:lstStyle/>
                    <a:p>
                      <a:pPr algn="ctr" fontAlgn="b"/>
                      <a:endParaRPr lang="sv-SE" sz="20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sv-SE" sz="2000" u="none" strike="noStrike">
                          <a:effectLst/>
                        </a:rPr>
                        <a:t>X</a:t>
                      </a:r>
                      <a:endParaRPr lang="sv-SE" sz="20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sv-SE" sz="2000" u="none" strike="noStrike" dirty="0">
                          <a:solidFill>
                            <a:srgbClr val="00B0F0"/>
                          </a:solidFill>
                          <a:effectLst/>
                        </a:rPr>
                        <a:t>X</a:t>
                      </a:r>
                      <a:endParaRPr lang="sv-SE" sz="2000" b="0" i="0" u="none" strike="noStrike" dirty="0">
                        <a:solidFill>
                          <a:srgbClr val="00B0F0"/>
                        </a:solidFill>
                        <a:effectLst/>
                        <a:latin typeface="Calibri" panose="020F0502020204030204" pitchFamily="34" charset="0"/>
                      </a:endParaRPr>
                    </a:p>
                  </a:txBody>
                  <a:tcPr marL="0" marR="0" marT="0" marB="0" anchor="b"/>
                </a:tc>
                <a:tc>
                  <a:txBody>
                    <a:bodyPr/>
                    <a:lstStyle/>
                    <a:p>
                      <a:pPr algn="ctr" fontAlgn="b"/>
                      <a:endParaRPr lang="sv-SE" sz="20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108459471"/>
                  </a:ext>
                </a:extLst>
              </a:tr>
              <a:tr h="421789">
                <a:tc>
                  <a:txBody>
                    <a:bodyPr/>
                    <a:lstStyle/>
                    <a:p>
                      <a:pPr algn="l" fontAlgn="b"/>
                      <a:r>
                        <a:rPr lang="en-US" sz="2000" b="1" u="none" strike="noStrike" cap="none" spc="0" dirty="0">
                          <a:ln>
                            <a:noFill/>
                          </a:ln>
                          <a:solidFill>
                            <a:schemeClr val="bg1"/>
                          </a:solidFill>
                          <a:effectLst/>
                        </a:rPr>
                        <a:t>Installation of </a:t>
                      </a:r>
                      <a:r>
                        <a:rPr lang="en-US" sz="2000" b="1" u="none" strike="noStrike" cap="none" spc="0" dirty="0" err="1">
                          <a:ln>
                            <a:noFill/>
                          </a:ln>
                          <a:solidFill>
                            <a:schemeClr val="bg1"/>
                          </a:solidFill>
                          <a:effectLst/>
                        </a:rPr>
                        <a:t>delacquering</a:t>
                      </a:r>
                      <a:r>
                        <a:rPr lang="en-US" sz="2000" b="1" u="none" strike="noStrike" cap="none" spc="0" dirty="0">
                          <a:ln>
                            <a:noFill/>
                          </a:ln>
                          <a:solidFill>
                            <a:schemeClr val="bg1"/>
                          </a:solidFill>
                          <a:effectLst/>
                        </a:rPr>
                        <a:t> system to allow use of alternative feedstocks:</a:t>
                      </a:r>
                      <a:endParaRPr lang="en-US" sz="2000" b="1" i="0" u="none" strike="noStrike" cap="none" spc="0" dirty="0">
                        <a:ln>
                          <a:noFill/>
                        </a:ln>
                        <a:solidFill>
                          <a:schemeClr val="bg1"/>
                        </a:solidFill>
                        <a:effectLst/>
                        <a:latin typeface="Arial" panose="020B0604020202020204" pitchFamily="34" charset="0"/>
                      </a:endParaRPr>
                    </a:p>
                  </a:txBody>
                  <a:tcPr marL="0" marR="0" marT="0" marB="0" anchor="b">
                    <a:solidFill>
                      <a:schemeClr val="accent1"/>
                    </a:solidFill>
                  </a:tcPr>
                </a:tc>
                <a:tc>
                  <a:txBody>
                    <a:bodyPr/>
                    <a:lstStyle/>
                    <a:p>
                      <a:pPr algn="ctr" fontAlgn="b"/>
                      <a:r>
                        <a:rPr lang="sv-SE" sz="2000" u="none" strike="noStrike" dirty="0">
                          <a:effectLst/>
                        </a:rPr>
                        <a:t>X</a:t>
                      </a:r>
                      <a:endParaRPr lang="sv-SE" sz="2000" b="0" i="0" u="none" strike="noStrike" dirty="0">
                        <a:solidFill>
                          <a:srgbClr val="92D050"/>
                        </a:solidFill>
                        <a:effectLst/>
                        <a:latin typeface="Calibri" panose="020F0502020204030204" pitchFamily="34" charset="0"/>
                      </a:endParaRPr>
                    </a:p>
                  </a:txBody>
                  <a:tcPr marL="0" marR="0" marT="0" marB="0" anchor="b"/>
                </a:tc>
                <a:tc>
                  <a:txBody>
                    <a:bodyPr/>
                    <a:lstStyle/>
                    <a:p>
                      <a:pPr algn="ctr" fontAlgn="b"/>
                      <a:r>
                        <a:rPr lang="sv-SE" sz="2000" u="none" strike="noStrike" dirty="0">
                          <a:effectLst/>
                        </a:rPr>
                        <a:t>X</a:t>
                      </a:r>
                      <a:endParaRPr lang="sv-SE" sz="2000" b="0" i="0" u="none" strike="noStrike" dirty="0">
                        <a:solidFill>
                          <a:srgbClr val="000000"/>
                        </a:solidFill>
                        <a:effectLst/>
                        <a:latin typeface="Calibri" panose="020F0502020204030204" pitchFamily="34" charset="0"/>
                      </a:endParaRPr>
                    </a:p>
                  </a:txBody>
                  <a:tcPr marL="0" marR="0" marT="0" marB="0" anchor="b"/>
                </a:tc>
                <a:tc>
                  <a:txBody>
                    <a:bodyPr/>
                    <a:lstStyle/>
                    <a:p>
                      <a:pPr algn="ctr" fontAlgn="b"/>
                      <a:r>
                        <a:rPr lang="sv-SE" sz="2000" u="none" strike="noStrike" dirty="0">
                          <a:solidFill>
                            <a:srgbClr val="00B0F0"/>
                          </a:solidFill>
                          <a:effectLst/>
                        </a:rPr>
                        <a:t>X</a:t>
                      </a:r>
                      <a:endParaRPr lang="sv-SE" sz="2000" b="0" i="0" u="none" strike="noStrike" dirty="0">
                        <a:solidFill>
                          <a:srgbClr val="00B0F0"/>
                        </a:solidFill>
                        <a:effectLst/>
                        <a:latin typeface="Calibri" panose="020F0502020204030204" pitchFamily="34" charset="0"/>
                      </a:endParaRPr>
                    </a:p>
                  </a:txBody>
                  <a:tcPr marL="0" marR="0" marT="0" marB="0" anchor="b"/>
                </a:tc>
                <a:tc>
                  <a:txBody>
                    <a:bodyPr/>
                    <a:lstStyle/>
                    <a:p>
                      <a:pPr algn="ctr" fontAlgn="b"/>
                      <a:endParaRPr lang="sv-SE" sz="20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1154230504"/>
                  </a:ext>
                </a:extLst>
              </a:tr>
              <a:tr h="421789">
                <a:tc>
                  <a:txBody>
                    <a:bodyPr/>
                    <a:lstStyle/>
                    <a:p>
                      <a:pPr algn="l" fontAlgn="b"/>
                      <a:r>
                        <a:rPr lang="en-US" sz="2000" b="1" u="none" strike="noStrike" cap="none" spc="0" dirty="0">
                          <a:ln>
                            <a:noFill/>
                          </a:ln>
                          <a:solidFill>
                            <a:schemeClr val="bg1"/>
                          </a:solidFill>
                          <a:effectLst/>
                        </a:rPr>
                        <a:t>Injection system and new burner for alternative material:</a:t>
                      </a:r>
                      <a:endParaRPr lang="en-US" sz="2000" b="1" i="0" u="none" strike="noStrike" cap="none" spc="0" dirty="0">
                        <a:ln>
                          <a:noFill/>
                        </a:ln>
                        <a:solidFill>
                          <a:schemeClr val="bg1"/>
                        </a:solidFill>
                        <a:effectLst/>
                        <a:latin typeface="Arial" panose="020B0604020202020204" pitchFamily="34" charset="0"/>
                      </a:endParaRPr>
                    </a:p>
                  </a:txBody>
                  <a:tcPr marL="0" marR="0" marT="0" marB="0" anchor="b">
                    <a:solidFill>
                      <a:schemeClr val="accent1"/>
                    </a:solidFill>
                  </a:tcPr>
                </a:tc>
                <a:tc>
                  <a:txBody>
                    <a:bodyPr/>
                    <a:lstStyle/>
                    <a:p>
                      <a:pPr algn="ctr" fontAlgn="b"/>
                      <a:r>
                        <a:rPr lang="sv-SE" sz="2000" u="none" strike="noStrike">
                          <a:effectLst/>
                        </a:rPr>
                        <a:t>X</a:t>
                      </a:r>
                      <a:endParaRPr lang="sv-SE" sz="2000" b="0" i="0" u="none" strike="noStrike">
                        <a:solidFill>
                          <a:srgbClr val="000000"/>
                        </a:solidFill>
                        <a:effectLst/>
                        <a:latin typeface="Calibri" panose="020F0502020204030204" pitchFamily="34" charset="0"/>
                      </a:endParaRPr>
                    </a:p>
                  </a:txBody>
                  <a:tcPr marL="0" marR="0" marT="0" marB="0" anchor="b"/>
                </a:tc>
                <a:tc>
                  <a:txBody>
                    <a:bodyPr/>
                    <a:lstStyle/>
                    <a:p>
                      <a:pPr algn="ctr" fontAlgn="b"/>
                      <a:r>
                        <a:rPr lang="sv-SE" sz="2000" u="none" strike="noStrike" dirty="0">
                          <a:solidFill>
                            <a:srgbClr val="00B0F0"/>
                          </a:solidFill>
                          <a:effectLst/>
                        </a:rPr>
                        <a:t>X</a:t>
                      </a:r>
                      <a:endParaRPr lang="sv-SE" sz="2000" b="0" i="0" u="none" strike="noStrike" dirty="0">
                        <a:solidFill>
                          <a:srgbClr val="00B0F0"/>
                        </a:solidFill>
                        <a:effectLst/>
                        <a:latin typeface="Calibri" panose="020F0502020204030204" pitchFamily="34" charset="0"/>
                      </a:endParaRPr>
                    </a:p>
                  </a:txBody>
                  <a:tcPr marL="0" marR="0" marT="0" marB="0" anchor="b"/>
                </a:tc>
                <a:tc>
                  <a:txBody>
                    <a:bodyPr/>
                    <a:lstStyle/>
                    <a:p>
                      <a:pPr algn="ctr" fontAlgn="b"/>
                      <a:r>
                        <a:rPr lang="sv-SE" sz="2000" u="none" strike="noStrike" dirty="0">
                          <a:effectLst/>
                        </a:rPr>
                        <a:t>X</a:t>
                      </a:r>
                      <a:endParaRPr lang="sv-SE" sz="2000" b="0" i="0" u="none" strike="noStrike" dirty="0">
                        <a:solidFill>
                          <a:srgbClr val="000000"/>
                        </a:solidFill>
                        <a:effectLst/>
                        <a:latin typeface="Calibri" panose="020F0502020204030204" pitchFamily="34" charset="0"/>
                      </a:endParaRPr>
                    </a:p>
                  </a:txBody>
                  <a:tcPr marL="0" marR="0" marT="0" marB="0" anchor="b"/>
                </a:tc>
                <a:tc>
                  <a:txBody>
                    <a:bodyPr/>
                    <a:lstStyle/>
                    <a:p>
                      <a:pPr algn="ctr" fontAlgn="b"/>
                      <a:endParaRPr lang="sv-SE" sz="2000" b="0"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3051879346"/>
                  </a:ext>
                </a:extLst>
              </a:tr>
              <a:tr h="421789">
                <a:tc>
                  <a:txBody>
                    <a:bodyPr/>
                    <a:lstStyle/>
                    <a:p>
                      <a:pPr algn="l" fontAlgn="b"/>
                      <a:r>
                        <a:rPr lang="en-US" sz="2000" b="1" u="none" strike="noStrike" cap="none" spc="0" dirty="0">
                          <a:ln>
                            <a:noFill/>
                          </a:ln>
                          <a:solidFill>
                            <a:schemeClr val="bg1"/>
                          </a:solidFill>
                          <a:effectLst/>
                        </a:rPr>
                        <a:t>Novel reactor for ammonia reaction with concentrated </a:t>
                      </a:r>
                      <a:r>
                        <a:rPr lang="en-US" sz="2000" b="1" u="none" strike="noStrike" cap="none" spc="0" dirty="0" err="1">
                          <a:ln>
                            <a:noFill/>
                          </a:ln>
                          <a:solidFill>
                            <a:schemeClr val="bg1"/>
                          </a:solidFill>
                          <a:effectLst/>
                        </a:rPr>
                        <a:t>sulphuric</a:t>
                      </a:r>
                      <a:r>
                        <a:rPr lang="en-US" sz="2000" b="1" u="none" strike="noStrike" cap="none" spc="0" dirty="0">
                          <a:ln>
                            <a:noFill/>
                          </a:ln>
                          <a:solidFill>
                            <a:schemeClr val="bg1"/>
                          </a:solidFill>
                          <a:effectLst/>
                        </a:rPr>
                        <a:t> acid:</a:t>
                      </a:r>
                      <a:endParaRPr lang="en-US" sz="2000" b="1" i="0" u="none" strike="noStrike" cap="none" spc="0" dirty="0">
                        <a:ln>
                          <a:noFill/>
                        </a:ln>
                        <a:solidFill>
                          <a:schemeClr val="bg1"/>
                        </a:solidFill>
                        <a:effectLst/>
                        <a:latin typeface="Arial" panose="020B0604020202020204" pitchFamily="34" charset="0"/>
                      </a:endParaRPr>
                    </a:p>
                  </a:txBody>
                  <a:tcPr marL="0" marR="0" marT="0" marB="0" anchor="b">
                    <a:solidFill>
                      <a:schemeClr val="accent1"/>
                    </a:solidFill>
                  </a:tcPr>
                </a:tc>
                <a:tc>
                  <a:txBody>
                    <a:bodyPr/>
                    <a:lstStyle/>
                    <a:p>
                      <a:pPr algn="ctr" fontAlgn="b"/>
                      <a:endParaRPr lang="sv-SE" sz="2000" b="0" i="0" u="none" strike="noStrike" dirty="0">
                        <a:solidFill>
                          <a:srgbClr val="000000"/>
                        </a:solidFill>
                        <a:effectLst/>
                        <a:latin typeface="Calibri" panose="020F0502020204030204" pitchFamily="34" charset="0"/>
                      </a:endParaRPr>
                    </a:p>
                  </a:txBody>
                  <a:tcPr marL="0" marR="0" marT="0" marB="0" anchor="b"/>
                </a:tc>
                <a:tc>
                  <a:txBody>
                    <a:bodyPr/>
                    <a:lstStyle/>
                    <a:p>
                      <a:pPr algn="ctr" fontAlgn="b"/>
                      <a:endParaRPr lang="sv-SE" sz="2000" b="0" i="0" u="none" strike="noStrike" dirty="0">
                        <a:solidFill>
                          <a:srgbClr val="000000"/>
                        </a:solidFill>
                        <a:effectLst/>
                        <a:latin typeface="Calibri" panose="020F0502020204030204" pitchFamily="34" charset="0"/>
                      </a:endParaRPr>
                    </a:p>
                  </a:txBody>
                  <a:tcPr marL="0" marR="0" marT="0" marB="0" anchor="b"/>
                </a:tc>
                <a:tc>
                  <a:txBody>
                    <a:bodyPr/>
                    <a:lstStyle/>
                    <a:p>
                      <a:pPr algn="ctr" fontAlgn="b"/>
                      <a:endParaRPr lang="sv-SE" sz="2000" b="0" i="0" u="none" strike="noStrike" dirty="0">
                        <a:solidFill>
                          <a:srgbClr val="000000"/>
                        </a:solidFill>
                        <a:effectLst/>
                        <a:latin typeface="Calibri" panose="020F0502020204030204" pitchFamily="34" charset="0"/>
                      </a:endParaRPr>
                    </a:p>
                  </a:txBody>
                  <a:tcPr marL="0" marR="0" marT="0" marB="0" anchor="b"/>
                </a:tc>
                <a:tc>
                  <a:txBody>
                    <a:bodyPr/>
                    <a:lstStyle/>
                    <a:p>
                      <a:pPr algn="ctr" fontAlgn="b"/>
                      <a:r>
                        <a:rPr lang="sv-SE" sz="2000" u="none" strike="noStrike" dirty="0">
                          <a:solidFill>
                            <a:srgbClr val="00B0F0"/>
                          </a:solidFill>
                          <a:effectLst/>
                        </a:rPr>
                        <a:t>X</a:t>
                      </a:r>
                      <a:endParaRPr lang="sv-SE" sz="2000" b="0" i="0" u="none" strike="noStrike" dirty="0">
                        <a:solidFill>
                          <a:srgbClr val="00B0F0"/>
                        </a:solidFill>
                        <a:effectLst/>
                        <a:latin typeface="Calibri" panose="020F0502020204030204" pitchFamily="34" charset="0"/>
                      </a:endParaRPr>
                    </a:p>
                  </a:txBody>
                  <a:tcPr marL="0" marR="0" marT="0" marB="0" anchor="b"/>
                </a:tc>
                <a:extLst>
                  <a:ext uri="{0D108BD9-81ED-4DB2-BD59-A6C34878D82A}">
                    <a16:rowId xmlns:a16="http://schemas.microsoft.com/office/drawing/2014/main" val="4218146348"/>
                  </a:ext>
                </a:extLst>
              </a:tr>
            </a:tbl>
          </a:graphicData>
        </a:graphic>
      </p:graphicFrame>
      <p:sp>
        <p:nvSpPr>
          <p:cNvPr id="11" name="textruta 10">
            <a:extLst>
              <a:ext uri="{FF2B5EF4-FFF2-40B4-BE49-F238E27FC236}">
                <a16:creationId xmlns:a16="http://schemas.microsoft.com/office/drawing/2014/main" id="{33091BE3-8D98-5A14-A374-7CA963604378}"/>
              </a:ext>
            </a:extLst>
          </p:cNvPr>
          <p:cNvSpPr txBox="1"/>
          <p:nvPr/>
        </p:nvSpPr>
        <p:spPr>
          <a:xfrm>
            <a:off x="588427" y="7599851"/>
            <a:ext cx="14806744" cy="923330"/>
          </a:xfrm>
          <a:prstGeom prst="rect">
            <a:avLst/>
          </a:prstGeom>
          <a:noFill/>
        </p:spPr>
        <p:txBody>
          <a:bodyPr wrap="square">
            <a:spAutoFit/>
          </a:bodyPr>
          <a:lstStyle/>
          <a:p>
            <a:pPr fontAlgn="b"/>
            <a:r>
              <a:rPr lang="sv-SE" sz="1800" u="none" strike="noStrike" dirty="0">
                <a:solidFill>
                  <a:srgbClr val="00B0F0"/>
                </a:solidFill>
                <a:effectLst/>
              </a:rPr>
              <a:t>X </a:t>
            </a:r>
            <a:r>
              <a:rPr lang="sv-SE" sz="1800" u="none" strike="noStrike" dirty="0">
                <a:effectLst/>
              </a:rPr>
              <a:t>= RF solutions taken for the demo-site </a:t>
            </a:r>
            <a:r>
              <a:rPr lang="sv-SE" sz="1800" u="none" strike="noStrike" dirty="0" err="1">
                <a:effectLst/>
              </a:rPr>
              <a:t>within</a:t>
            </a:r>
            <a:r>
              <a:rPr lang="sv-SE" sz="1800" u="none" strike="noStrike" dirty="0">
                <a:effectLst/>
              </a:rPr>
              <a:t> </a:t>
            </a:r>
            <a:r>
              <a:rPr lang="sv-SE" sz="1800" u="none" strike="noStrike" dirty="0" err="1">
                <a:effectLst/>
              </a:rPr>
              <a:t>Retrofeed</a:t>
            </a:r>
            <a:r>
              <a:rPr lang="sv-SE" sz="1800" u="none" strike="noStrike" dirty="0">
                <a:effectLst/>
              </a:rPr>
              <a:t> </a:t>
            </a:r>
            <a:r>
              <a:rPr lang="sv-SE" sz="1800" u="none" strike="noStrike" dirty="0" err="1">
                <a:effectLst/>
              </a:rPr>
              <a:t>project</a:t>
            </a:r>
            <a:r>
              <a:rPr lang="sv-SE" sz="1800" u="none" strike="noStrike" dirty="0">
                <a:effectLst/>
              </a:rPr>
              <a:t>.</a:t>
            </a:r>
          </a:p>
          <a:p>
            <a:pPr fontAlgn="b"/>
            <a:r>
              <a:rPr lang="sv-SE" dirty="0"/>
              <a:t>X = RF solutions </a:t>
            </a:r>
            <a:r>
              <a:rPr lang="sv-SE" dirty="0" err="1"/>
              <a:t>already</a:t>
            </a:r>
            <a:r>
              <a:rPr lang="sv-SE" dirty="0"/>
              <a:t> </a:t>
            </a:r>
            <a:r>
              <a:rPr lang="sv-SE" dirty="0" err="1"/>
              <a:t>implemented</a:t>
            </a:r>
            <a:r>
              <a:rPr lang="sv-SE" dirty="0"/>
              <a:t> in the </a:t>
            </a:r>
            <a:r>
              <a:rPr lang="sv-SE" dirty="0" err="1"/>
              <a:t>context</a:t>
            </a:r>
            <a:r>
              <a:rPr lang="sv-SE" dirty="0"/>
              <a:t> </a:t>
            </a:r>
            <a:r>
              <a:rPr lang="sv-SE" dirty="0" err="1"/>
              <a:t>of</a:t>
            </a:r>
            <a:r>
              <a:rPr lang="sv-SE" dirty="0"/>
              <a:t> </a:t>
            </a:r>
            <a:r>
              <a:rPr lang="sv-SE" dirty="0" err="1"/>
              <a:t>Retrofeed</a:t>
            </a:r>
            <a:r>
              <a:rPr lang="sv-SE" dirty="0"/>
              <a:t> </a:t>
            </a:r>
            <a:r>
              <a:rPr lang="sv-SE" dirty="0" err="1"/>
              <a:t>project</a:t>
            </a:r>
            <a:r>
              <a:rPr lang="sv-SE" dirty="0"/>
              <a:t>. Ex. </a:t>
            </a:r>
            <a:r>
              <a:rPr lang="sv-SE" dirty="0" err="1"/>
              <a:t>Secil</a:t>
            </a:r>
            <a:r>
              <a:rPr lang="sv-SE" dirty="0"/>
              <a:t> has </a:t>
            </a:r>
            <a:r>
              <a:rPr lang="sv-SE" dirty="0" err="1"/>
              <a:t>already</a:t>
            </a:r>
            <a:r>
              <a:rPr lang="sv-SE" dirty="0"/>
              <a:t> </a:t>
            </a:r>
            <a:r>
              <a:rPr lang="sv-SE" dirty="0" err="1"/>
              <a:t>allow</a:t>
            </a:r>
            <a:r>
              <a:rPr lang="sv-SE" dirty="0"/>
              <a:t> </a:t>
            </a:r>
            <a:r>
              <a:rPr lang="sv-SE" dirty="0" err="1"/>
              <a:t>use</a:t>
            </a:r>
            <a:r>
              <a:rPr lang="sv-SE" dirty="0"/>
              <a:t> </a:t>
            </a:r>
            <a:r>
              <a:rPr lang="sv-SE" dirty="0" err="1"/>
              <a:t>of</a:t>
            </a:r>
            <a:r>
              <a:rPr lang="sv-SE" dirty="0"/>
              <a:t> alternative </a:t>
            </a:r>
            <a:r>
              <a:rPr lang="sv-SE" dirty="0" err="1"/>
              <a:t>feedstocks</a:t>
            </a:r>
            <a:r>
              <a:rPr lang="sv-SE" dirty="0"/>
              <a:t>. </a:t>
            </a:r>
          </a:p>
          <a:p>
            <a:pPr fontAlgn="b"/>
            <a:r>
              <a:rPr lang="sv-SE" dirty="0"/>
              <a:t>(X) = RF solutions </a:t>
            </a:r>
            <a:r>
              <a:rPr lang="sv-SE" dirty="0" err="1"/>
              <a:t>that</a:t>
            </a:r>
            <a:r>
              <a:rPr lang="sv-SE" dirty="0"/>
              <a:t> </a:t>
            </a:r>
            <a:r>
              <a:rPr lang="sv-SE" dirty="0" err="1"/>
              <a:t>could</a:t>
            </a:r>
            <a:r>
              <a:rPr lang="sv-SE" dirty="0"/>
              <a:t> be </a:t>
            </a:r>
            <a:r>
              <a:rPr lang="sv-SE" dirty="0" err="1"/>
              <a:t>implemented</a:t>
            </a:r>
            <a:r>
              <a:rPr lang="sv-SE" dirty="0"/>
              <a:t> </a:t>
            </a:r>
            <a:r>
              <a:rPr lang="sv-SE" dirty="0" err="1"/>
              <a:t>but</a:t>
            </a:r>
            <a:r>
              <a:rPr lang="sv-SE" dirty="0"/>
              <a:t> </a:t>
            </a:r>
            <a:r>
              <a:rPr lang="sv-SE" dirty="0" err="1"/>
              <a:t>further</a:t>
            </a:r>
            <a:r>
              <a:rPr lang="sv-SE" dirty="0"/>
              <a:t> studies </a:t>
            </a:r>
            <a:r>
              <a:rPr lang="sv-SE" dirty="0" err="1"/>
              <a:t>are</a:t>
            </a:r>
            <a:r>
              <a:rPr lang="sv-SE" dirty="0"/>
              <a:t> </a:t>
            </a:r>
            <a:r>
              <a:rPr lang="sv-SE" dirty="0" err="1"/>
              <a:t>needed</a:t>
            </a:r>
            <a:r>
              <a:rPr lang="sv-SE" dirty="0"/>
              <a:t>. </a:t>
            </a:r>
            <a:endParaRPr lang="sv-SE" sz="1800" u="none" strike="noStrike" dirty="0">
              <a:effectLst/>
            </a:endParaRPr>
          </a:p>
        </p:txBody>
      </p:sp>
    </p:spTree>
    <p:extLst>
      <p:ext uri="{BB962C8B-B14F-4D97-AF65-F5344CB8AC3E}">
        <p14:creationId xmlns:p14="http://schemas.microsoft.com/office/powerpoint/2010/main" val="3535262702"/>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58" name="Rectangle 57">
            <a:extLst>
              <a:ext uri="{FF2B5EF4-FFF2-40B4-BE49-F238E27FC236}">
                <a16:creationId xmlns:a16="http://schemas.microsoft.com/office/drawing/2014/main" id="{289ED1AA-8684-4D37-B208-8777E1A7780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8283428" cy="10287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0" name="Graphic 33">
            <a:extLst>
              <a:ext uri="{FF2B5EF4-FFF2-40B4-BE49-F238E27FC236}">
                <a16:creationId xmlns:a16="http://schemas.microsoft.com/office/drawing/2014/main" id="{4180E01B-B1F4-437C-807D-1C930718EE6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966176" y="0"/>
            <a:ext cx="14355646" cy="10287000"/>
          </a:xfrm>
          <a:custGeom>
            <a:avLst/>
            <a:gdLst>
              <a:gd name="connsiteX0" fmla="*/ 7178288 w 7187261"/>
              <a:gd name="connsiteY0" fmla="*/ 2604802 h 5150263"/>
              <a:gd name="connsiteX1" fmla="*/ 7169335 w 7187261"/>
              <a:gd name="connsiteY1" fmla="*/ 2328577 h 5150263"/>
              <a:gd name="connsiteX2" fmla="*/ 7060845 w 7187261"/>
              <a:gd name="connsiteY2" fmla="*/ 1661160 h 5150263"/>
              <a:gd name="connsiteX3" fmla="*/ 6212263 w 7187261"/>
              <a:gd name="connsiteY3" fmla="*/ 243840 h 5150263"/>
              <a:gd name="connsiteX4" fmla="*/ 5953564 w 7187261"/>
              <a:gd name="connsiteY4" fmla="*/ 0 h 5150263"/>
              <a:gd name="connsiteX5" fmla="*/ 1408615 w 7187261"/>
              <a:gd name="connsiteY5" fmla="*/ 0 h 5150263"/>
              <a:gd name="connsiteX6" fmla="*/ 805111 w 7187261"/>
              <a:gd name="connsiteY6" fmla="*/ 676275 h 5150263"/>
              <a:gd name="connsiteX7" fmla="*/ 104928 w 7187261"/>
              <a:gd name="connsiteY7" fmla="*/ 2183035 h 5150263"/>
              <a:gd name="connsiteX8" fmla="*/ 51588 w 7187261"/>
              <a:gd name="connsiteY8" fmla="*/ 2400014 h 5150263"/>
              <a:gd name="connsiteX9" fmla="*/ 41301 w 7187261"/>
              <a:gd name="connsiteY9" fmla="*/ 2424208 h 5150263"/>
              <a:gd name="connsiteX10" fmla="*/ 119692 w 7187261"/>
              <a:gd name="connsiteY10" fmla="*/ 1834801 h 5150263"/>
              <a:gd name="connsiteX11" fmla="*/ 870071 w 7187261"/>
              <a:gd name="connsiteY11" fmla="*/ 462248 h 5150263"/>
              <a:gd name="connsiteX12" fmla="*/ 1389279 w 7187261"/>
              <a:gd name="connsiteY12" fmla="*/ 476 h 5150263"/>
              <a:gd name="connsiteX13" fmla="*/ 1320223 w 7187261"/>
              <a:gd name="connsiteY13" fmla="*/ 476 h 5150263"/>
              <a:gd name="connsiteX14" fmla="*/ 423158 w 7187261"/>
              <a:gd name="connsiteY14" fmla="*/ 989743 h 5150263"/>
              <a:gd name="connsiteX15" fmla="*/ 25585 w 7187261"/>
              <a:gd name="connsiteY15" fmla="*/ 2113693 h 5150263"/>
              <a:gd name="connsiteX16" fmla="*/ 2344 w 7187261"/>
              <a:gd name="connsiteY16" fmla="*/ 2725865 h 5150263"/>
              <a:gd name="connsiteX17" fmla="*/ 447256 w 7187261"/>
              <a:gd name="connsiteY17" fmla="*/ 4210717 h 5150263"/>
              <a:gd name="connsiteX18" fmla="*/ 1138962 w 7187261"/>
              <a:gd name="connsiteY18" fmla="*/ 4988910 h 5150263"/>
              <a:gd name="connsiteX19" fmla="*/ 1348512 w 7187261"/>
              <a:gd name="connsiteY19" fmla="*/ 5146834 h 5150263"/>
              <a:gd name="connsiteX20" fmla="*/ 1422712 w 7187261"/>
              <a:gd name="connsiteY20" fmla="*/ 5146834 h 5150263"/>
              <a:gd name="connsiteX21" fmla="*/ 480594 w 7187261"/>
              <a:gd name="connsiteY21" fmla="*/ 4187952 h 5150263"/>
              <a:gd name="connsiteX22" fmla="*/ 398679 w 7187261"/>
              <a:gd name="connsiteY22" fmla="*/ 4046125 h 5150263"/>
              <a:gd name="connsiteX23" fmla="*/ 411823 w 7187261"/>
              <a:gd name="connsiteY23" fmla="*/ 4053078 h 5150263"/>
              <a:gd name="connsiteX24" fmla="*/ 1439380 w 7187261"/>
              <a:gd name="connsiteY24" fmla="*/ 5147405 h 5150263"/>
              <a:gd name="connsiteX25" fmla="*/ 5710010 w 7187261"/>
              <a:gd name="connsiteY25" fmla="*/ 5150263 h 5150263"/>
              <a:gd name="connsiteX26" fmla="*/ 5999665 w 7187261"/>
              <a:gd name="connsiteY26" fmla="*/ 4910900 h 5150263"/>
              <a:gd name="connsiteX27" fmla="*/ 6954165 w 7187261"/>
              <a:gd name="connsiteY27" fmla="*/ 3545777 h 5150263"/>
              <a:gd name="connsiteX28" fmla="*/ 7137712 w 7187261"/>
              <a:gd name="connsiteY28" fmla="*/ 2799207 h 5150263"/>
              <a:gd name="connsiteX29" fmla="*/ 7142951 w 7187261"/>
              <a:gd name="connsiteY29" fmla="*/ 2754535 h 5150263"/>
              <a:gd name="connsiteX30" fmla="*/ 7149428 w 7187261"/>
              <a:gd name="connsiteY30" fmla="*/ 2774823 h 5150263"/>
              <a:gd name="connsiteX31" fmla="*/ 7066465 w 7187261"/>
              <a:gd name="connsiteY31" fmla="*/ 3465672 h 5150263"/>
              <a:gd name="connsiteX32" fmla="*/ 6452578 w 7187261"/>
              <a:gd name="connsiteY32" fmla="*/ 4552760 h 5150263"/>
              <a:gd name="connsiteX33" fmla="*/ 5752110 w 7187261"/>
              <a:gd name="connsiteY33" fmla="*/ 5150263 h 5150263"/>
              <a:gd name="connsiteX34" fmla="*/ 5827643 w 7187261"/>
              <a:gd name="connsiteY34" fmla="*/ 5150263 h 5150263"/>
              <a:gd name="connsiteX35" fmla="*/ 6642793 w 7187261"/>
              <a:gd name="connsiteY35" fmla="*/ 4389406 h 5150263"/>
              <a:gd name="connsiteX36" fmla="*/ 7102469 w 7187261"/>
              <a:gd name="connsiteY36" fmla="*/ 3490817 h 5150263"/>
              <a:gd name="connsiteX37" fmla="*/ 7187242 w 7187261"/>
              <a:gd name="connsiteY37" fmla="*/ 2990183 h 5150263"/>
              <a:gd name="connsiteX38" fmla="*/ 7178288 w 7187261"/>
              <a:gd name="connsiteY38" fmla="*/ 2604802 h 5150263"/>
              <a:gd name="connsiteX39" fmla="*/ 6342565 w 7187261"/>
              <a:gd name="connsiteY39" fmla="*/ 441389 h 5150263"/>
              <a:gd name="connsiteX40" fmla="*/ 7126567 w 7187261"/>
              <a:gd name="connsiteY40" fmla="*/ 2355056 h 5150263"/>
              <a:gd name="connsiteX41" fmla="*/ 6342565 w 7187261"/>
              <a:gd name="connsiteY41" fmla="*/ 441389 h 5150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187261" h="5150263">
                <a:moveTo>
                  <a:pt x="7178288" y="2604802"/>
                </a:moveTo>
                <a:cubicBezTo>
                  <a:pt x="7168763" y="2513076"/>
                  <a:pt x="7174478" y="2420684"/>
                  <a:pt x="7169335" y="2328577"/>
                </a:cubicBezTo>
                <a:cubicBezTo>
                  <a:pt x="7156952" y="2102882"/>
                  <a:pt x="7120586" y="1879149"/>
                  <a:pt x="7060845" y="1661160"/>
                </a:cubicBezTo>
                <a:cubicBezTo>
                  <a:pt x="6910588" y="1121007"/>
                  <a:pt x="6617428" y="631374"/>
                  <a:pt x="6212263" y="243840"/>
                </a:cubicBezTo>
                <a:cubicBezTo>
                  <a:pt x="6126538" y="162496"/>
                  <a:pt x="6040813" y="80201"/>
                  <a:pt x="5953564" y="0"/>
                </a:cubicBezTo>
                <a:lnTo>
                  <a:pt x="1408615" y="0"/>
                </a:lnTo>
                <a:cubicBezTo>
                  <a:pt x="1180967" y="200316"/>
                  <a:pt x="978332" y="427387"/>
                  <a:pt x="805111" y="676275"/>
                </a:cubicBezTo>
                <a:cubicBezTo>
                  <a:pt x="481261" y="1136523"/>
                  <a:pt x="252089" y="1640872"/>
                  <a:pt x="104928" y="2183035"/>
                </a:cubicBezTo>
                <a:cubicBezTo>
                  <a:pt x="85878" y="2254853"/>
                  <a:pt x="69495" y="2327720"/>
                  <a:pt x="51588" y="2400014"/>
                </a:cubicBezTo>
                <a:cubicBezTo>
                  <a:pt x="49683" y="2407634"/>
                  <a:pt x="51588" y="2416969"/>
                  <a:pt x="41301" y="2424208"/>
                </a:cubicBezTo>
                <a:cubicBezTo>
                  <a:pt x="45900" y="2225469"/>
                  <a:pt x="72186" y="2027834"/>
                  <a:pt x="119692" y="1834801"/>
                </a:cubicBezTo>
                <a:cubicBezTo>
                  <a:pt x="247993" y="1310926"/>
                  <a:pt x="506121" y="857726"/>
                  <a:pt x="870071" y="462248"/>
                </a:cubicBezTo>
                <a:cubicBezTo>
                  <a:pt x="1027729" y="291823"/>
                  <a:pt x="1201617" y="137169"/>
                  <a:pt x="1389279" y="476"/>
                </a:cubicBezTo>
                <a:lnTo>
                  <a:pt x="1320223" y="476"/>
                </a:lnTo>
                <a:cubicBezTo>
                  <a:pt x="960844" y="274320"/>
                  <a:pt x="656330" y="599123"/>
                  <a:pt x="423158" y="989743"/>
                </a:cubicBezTo>
                <a:cubicBezTo>
                  <a:pt x="215608" y="1337596"/>
                  <a:pt x="80258" y="1711357"/>
                  <a:pt x="25585" y="2113693"/>
                </a:cubicBezTo>
                <a:cubicBezTo>
                  <a:pt x="-2705" y="2316480"/>
                  <a:pt x="-2228" y="2521077"/>
                  <a:pt x="2344" y="2725865"/>
                </a:cubicBezTo>
                <a:cubicBezTo>
                  <a:pt x="14155" y="3261932"/>
                  <a:pt x="170650" y="3754565"/>
                  <a:pt x="447256" y="4210717"/>
                </a:cubicBezTo>
                <a:cubicBezTo>
                  <a:pt x="629851" y="4511612"/>
                  <a:pt x="866356" y="4767167"/>
                  <a:pt x="1138962" y="4988910"/>
                </a:cubicBezTo>
                <a:cubicBezTo>
                  <a:pt x="1207161" y="5044345"/>
                  <a:pt x="1277008" y="5096990"/>
                  <a:pt x="1348512" y="5146834"/>
                </a:cubicBezTo>
                <a:lnTo>
                  <a:pt x="1422712" y="5146834"/>
                </a:lnTo>
                <a:cubicBezTo>
                  <a:pt x="1043426" y="4892802"/>
                  <a:pt x="724720" y="4577334"/>
                  <a:pt x="480594" y="4187952"/>
                </a:cubicBezTo>
                <a:cubicBezTo>
                  <a:pt x="452019" y="4141851"/>
                  <a:pt x="423444" y="4095179"/>
                  <a:pt x="398679" y="4046125"/>
                </a:cubicBezTo>
                <a:cubicBezTo>
                  <a:pt x="407442" y="4043267"/>
                  <a:pt x="409156" y="4048982"/>
                  <a:pt x="411823" y="4053078"/>
                </a:cubicBezTo>
                <a:cubicBezTo>
                  <a:pt x="683572" y="4484656"/>
                  <a:pt x="1033139" y="4842701"/>
                  <a:pt x="1439380" y="5147405"/>
                </a:cubicBezTo>
                <a:lnTo>
                  <a:pt x="5710010" y="5150263"/>
                </a:lnTo>
                <a:cubicBezTo>
                  <a:pt x="5810594" y="5075482"/>
                  <a:pt x="5907272" y="4995587"/>
                  <a:pt x="5999665" y="4910900"/>
                </a:cubicBezTo>
                <a:cubicBezTo>
                  <a:pt x="6418765" y="4526661"/>
                  <a:pt x="6746901" y="4078129"/>
                  <a:pt x="6954165" y="3545777"/>
                </a:cubicBezTo>
                <a:cubicBezTo>
                  <a:pt x="7048234" y="3306175"/>
                  <a:pt x="7109956" y="3055115"/>
                  <a:pt x="7137712" y="2799207"/>
                </a:cubicBezTo>
                <a:cubicBezTo>
                  <a:pt x="7139236" y="2784920"/>
                  <a:pt x="7141046" y="2770632"/>
                  <a:pt x="7142951" y="2754535"/>
                </a:cubicBezTo>
                <a:cubicBezTo>
                  <a:pt x="7151714" y="2760440"/>
                  <a:pt x="7149237" y="2768441"/>
                  <a:pt x="7149428" y="2774823"/>
                </a:cubicBezTo>
                <a:cubicBezTo>
                  <a:pt x="7156743" y="3007967"/>
                  <a:pt x="7128777" y="3240881"/>
                  <a:pt x="7066465" y="3465672"/>
                </a:cubicBezTo>
                <a:cubicBezTo>
                  <a:pt x="6952165" y="3878580"/>
                  <a:pt x="6737948" y="4235863"/>
                  <a:pt x="6452578" y="4552760"/>
                </a:cubicBezTo>
                <a:cubicBezTo>
                  <a:pt x="6244553" y="4783836"/>
                  <a:pt x="6008809" y="4980242"/>
                  <a:pt x="5752110" y="5150263"/>
                </a:cubicBezTo>
                <a:lnTo>
                  <a:pt x="5827643" y="5150263"/>
                </a:lnTo>
                <a:cubicBezTo>
                  <a:pt x="6136539" y="4938904"/>
                  <a:pt x="6412192" y="4689348"/>
                  <a:pt x="6642793" y="4389406"/>
                </a:cubicBezTo>
                <a:cubicBezTo>
                  <a:pt x="6851295" y="4118324"/>
                  <a:pt x="7009125" y="3820859"/>
                  <a:pt x="7102469" y="3490817"/>
                </a:cubicBezTo>
                <a:cubicBezTo>
                  <a:pt x="7148646" y="3327473"/>
                  <a:pt x="7177069" y="3159624"/>
                  <a:pt x="7187242" y="2990183"/>
                </a:cubicBezTo>
                <a:cubicBezTo>
                  <a:pt x="7187623" y="2984087"/>
                  <a:pt x="7182384" y="2642330"/>
                  <a:pt x="7178288" y="2604802"/>
                </a:cubicBezTo>
                <a:close/>
                <a:moveTo>
                  <a:pt x="6342565" y="441389"/>
                </a:moveTo>
                <a:cubicBezTo>
                  <a:pt x="6829797" y="986533"/>
                  <a:pt x="7091135" y="1624422"/>
                  <a:pt x="7126567" y="2355056"/>
                </a:cubicBezTo>
                <a:cubicBezTo>
                  <a:pt x="7001123" y="1661827"/>
                  <a:pt x="6756426" y="1017365"/>
                  <a:pt x="6342565" y="441389"/>
                </a:cubicBez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Arial"/>
              <a:ea typeface="+mn-ea"/>
              <a:cs typeface="+mn-cs"/>
            </a:endParaRPr>
          </a:p>
        </p:txBody>
      </p:sp>
      <p:sp>
        <p:nvSpPr>
          <p:cNvPr id="4" name="Title 3">
            <a:extLst>
              <a:ext uri="{FF2B5EF4-FFF2-40B4-BE49-F238E27FC236}">
                <a16:creationId xmlns:a16="http://schemas.microsoft.com/office/drawing/2014/main" id="{B009CD84-DA40-4CAA-8A89-DD6DAA862368}"/>
              </a:ext>
            </a:extLst>
          </p:cNvPr>
          <p:cNvSpPr>
            <a:spLocks noGrp="1"/>
          </p:cNvSpPr>
          <p:nvPr>
            <p:ph type="title"/>
          </p:nvPr>
        </p:nvSpPr>
        <p:spPr>
          <a:xfrm>
            <a:off x="2390503" y="1852521"/>
            <a:ext cx="13502422" cy="4348463"/>
          </a:xfrm>
        </p:spPr>
        <p:txBody>
          <a:bodyPr vert="horz" lIns="91440" tIns="45720" rIns="91440" bIns="45720" rtlCol="0" anchor="b">
            <a:normAutofit/>
          </a:bodyPr>
          <a:lstStyle/>
          <a:p>
            <a:pPr indent="457200">
              <a:lnSpc>
                <a:spcPct val="90000"/>
              </a:lnSpc>
              <a:spcAft>
                <a:spcPts val="600"/>
              </a:spcAft>
            </a:pPr>
            <a:r>
              <a:rPr lang="en-GB" sz="8000" b="1" noProof="0" dirty="0">
                <a:solidFill>
                  <a:schemeClr val="bg1"/>
                </a:solidFill>
                <a:ea typeface="+mn-ea"/>
                <a:cs typeface="Arial" panose="020B0604020202020204" pitchFamily="34" charset="0"/>
              </a:rPr>
              <a:t>Business models for retrofitting actions</a:t>
            </a:r>
          </a:p>
        </p:txBody>
      </p:sp>
      <p:sp>
        <p:nvSpPr>
          <p:cNvPr id="62" name="sketch line">
            <a:extLst>
              <a:ext uri="{FF2B5EF4-FFF2-40B4-BE49-F238E27FC236}">
                <a16:creationId xmlns:a16="http://schemas.microsoft.com/office/drawing/2014/main" id="{41F77738-2AF0-4750-A0C7-F97C2C17590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961309" y="6260247"/>
            <a:ext cx="6365383" cy="27432"/>
          </a:xfrm>
          <a:custGeom>
            <a:avLst/>
            <a:gdLst>
              <a:gd name="connsiteX0" fmla="*/ 0 w 6365383"/>
              <a:gd name="connsiteY0" fmla="*/ 0 h 27432"/>
              <a:gd name="connsiteX1" fmla="*/ 636538 w 6365383"/>
              <a:gd name="connsiteY1" fmla="*/ 0 h 27432"/>
              <a:gd name="connsiteX2" fmla="*/ 1273077 w 6365383"/>
              <a:gd name="connsiteY2" fmla="*/ 0 h 27432"/>
              <a:gd name="connsiteX3" fmla="*/ 1909615 w 6365383"/>
              <a:gd name="connsiteY3" fmla="*/ 0 h 27432"/>
              <a:gd name="connsiteX4" fmla="*/ 2673461 w 6365383"/>
              <a:gd name="connsiteY4" fmla="*/ 0 h 27432"/>
              <a:gd name="connsiteX5" fmla="*/ 3373653 w 6365383"/>
              <a:gd name="connsiteY5" fmla="*/ 0 h 27432"/>
              <a:gd name="connsiteX6" fmla="*/ 3819230 w 6365383"/>
              <a:gd name="connsiteY6" fmla="*/ 0 h 27432"/>
              <a:gd name="connsiteX7" fmla="*/ 4392114 w 6365383"/>
              <a:gd name="connsiteY7" fmla="*/ 0 h 27432"/>
              <a:gd name="connsiteX8" fmla="*/ 5155960 w 6365383"/>
              <a:gd name="connsiteY8" fmla="*/ 0 h 27432"/>
              <a:gd name="connsiteX9" fmla="*/ 5792499 w 6365383"/>
              <a:gd name="connsiteY9" fmla="*/ 0 h 27432"/>
              <a:gd name="connsiteX10" fmla="*/ 6365383 w 6365383"/>
              <a:gd name="connsiteY10" fmla="*/ 0 h 27432"/>
              <a:gd name="connsiteX11" fmla="*/ 6365383 w 6365383"/>
              <a:gd name="connsiteY11" fmla="*/ 27432 h 27432"/>
              <a:gd name="connsiteX12" fmla="*/ 5856152 w 6365383"/>
              <a:gd name="connsiteY12" fmla="*/ 27432 h 27432"/>
              <a:gd name="connsiteX13" fmla="*/ 5092306 w 6365383"/>
              <a:gd name="connsiteY13" fmla="*/ 27432 h 27432"/>
              <a:gd name="connsiteX14" fmla="*/ 4583076 w 6365383"/>
              <a:gd name="connsiteY14" fmla="*/ 27432 h 27432"/>
              <a:gd name="connsiteX15" fmla="*/ 4137499 w 6365383"/>
              <a:gd name="connsiteY15" fmla="*/ 27432 h 27432"/>
              <a:gd name="connsiteX16" fmla="*/ 3691922 w 6365383"/>
              <a:gd name="connsiteY16" fmla="*/ 27432 h 27432"/>
              <a:gd name="connsiteX17" fmla="*/ 2991730 w 6365383"/>
              <a:gd name="connsiteY17" fmla="*/ 27432 h 27432"/>
              <a:gd name="connsiteX18" fmla="*/ 2546153 w 6365383"/>
              <a:gd name="connsiteY18" fmla="*/ 27432 h 27432"/>
              <a:gd name="connsiteX19" fmla="*/ 1909615 w 6365383"/>
              <a:gd name="connsiteY19" fmla="*/ 27432 h 27432"/>
              <a:gd name="connsiteX20" fmla="*/ 1400384 w 6365383"/>
              <a:gd name="connsiteY20" fmla="*/ 27432 h 27432"/>
              <a:gd name="connsiteX21" fmla="*/ 763846 w 6365383"/>
              <a:gd name="connsiteY21" fmla="*/ 27432 h 27432"/>
              <a:gd name="connsiteX22" fmla="*/ 0 w 6365383"/>
              <a:gd name="connsiteY22" fmla="*/ 27432 h 27432"/>
              <a:gd name="connsiteX23" fmla="*/ 0 w 6365383"/>
              <a:gd name="connsiteY23" fmla="*/ 0 h 27432"/>
              <a:gd name="connsiteX0" fmla="*/ 0 w 6365383"/>
              <a:gd name="connsiteY0" fmla="*/ 0 h 27432"/>
              <a:gd name="connsiteX1" fmla="*/ 572884 w 6365383"/>
              <a:gd name="connsiteY1" fmla="*/ 0 h 27432"/>
              <a:gd name="connsiteX2" fmla="*/ 1018461 w 6365383"/>
              <a:gd name="connsiteY2" fmla="*/ 0 h 27432"/>
              <a:gd name="connsiteX3" fmla="*/ 1782307 w 6365383"/>
              <a:gd name="connsiteY3" fmla="*/ 0 h 27432"/>
              <a:gd name="connsiteX4" fmla="*/ 2355192 w 6365383"/>
              <a:gd name="connsiteY4" fmla="*/ 0 h 27432"/>
              <a:gd name="connsiteX5" fmla="*/ 2928076 w 6365383"/>
              <a:gd name="connsiteY5" fmla="*/ 0 h 27432"/>
              <a:gd name="connsiteX6" fmla="*/ 3691922 w 6365383"/>
              <a:gd name="connsiteY6" fmla="*/ 0 h 27432"/>
              <a:gd name="connsiteX7" fmla="*/ 4201153 w 6365383"/>
              <a:gd name="connsiteY7" fmla="*/ 0 h 27432"/>
              <a:gd name="connsiteX8" fmla="*/ 4964999 w 6365383"/>
              <a:gd name="connsiteY8" fmla="*/ 0 h 27432"/>
              <a:gd name="connsiteX9" fmla="*/ 5728845 w 6365383"/>
              <a:gd name="connsiteY9" fmla="*/ 0 h 27432"/>
              <a:gd name="connsiteX10" fmla="*/ 6365383 w 6365383"/>
              <a:gd name="connsiteY10" fmla="*/ 0 h 27432"/>
              <a:gd name="connsiteX11" fmla="*/ 6365383 w 6365383"/>
              <a:gd name="connsiteY11" fmla="*/ 27432 h 27432"/>
              <a:gd name="connsiteX12" fmla="*/ 5665191 w 6365383"/>
              <a:gd name="connsiteY12" fmla="*/ 27432 h 27432"/>
              <a:gd name="connsiteX13" fmla="*/ 4901345 w 6365383"/>
              <a:gd name="connsiteY13" fmla="*/ 27432 h 27432"/>
              <a:gd name="connsiteX14" fmla="*/ 4137499 w 6365383"/>
              <a:gd name="connsiteY14" fmla="*/ 27432 h 27432"/>
              <a:gd name="connsiteX15" fmla="*/ 3628268 w 6365383"/>
              <a:gd name="connsiteY15" fmla="*/ 27432 h 27432"/>
              <a:gd name="connsiteX16" fmla="*/ 2991730 w 6365383"/>
              <a:gd name="connsiteY16" fmla="*/ 27432 h 27432"/>
              <a:gd name="connsiteX17" fmla="*/ 2227884 w 6365383"/>
              <a:gd name="connsiteY17" fmla="*/ 27432 h 27432"/>
              <a:gd name="connsiteX18" fmla="*/ 1591346 w 6365383"/>
              <a:gd name="connsiteY18" fmla="*/ 27432 h 27432"/>
              <a:gd name="connsiteX19" fmla="*/ 1145769 w 6365383"/>
              <a:gd name="connsiteY19" fmla="*/ 27432 h 27432"/>
              <a:gd name="connsiteX20" fmla="*/ 636538 w 6365383"/>
              <a:gd name="connsiteY20" fmla="*/ 27432 h 27432"/>
              <a:gd name="connsiteX21" fmla="*/ 0 w 6365383"/>
              <a:gd name="connsiteY21" fmla="*/ 27432 h 27432"/>
              <a:gd name="connsiteX22" fmla="*/ 0 w 6365383"/>
              <a:gd name="connsiteY22"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365383" h="27432" fill="none" extrusionOk="0">
                <a:moveTo>
                  <a:pt x="0" y="0"/>
                </a:moveTo>
                <a:cubicBezTo>
                  <a:pt x="311910" y="25756"/>
                  <a:pt x="328854" y="-22977"/>
                  <a:pt x="636538" y="0"/>
                </a:cubicBezTo>
                <a:cubicBezTo>
                  <a:pt x="929901" y="50670"/>
                  <a:pt x="1067253" y="-1993"/>
                  <a:pt x="1273077" y="0"/>
                </a:cubicBezTo>
                <a:cubicBezTo>
                  <a:pt x="1507620" y="-24857"/>
                  <a:pt x="1747799" y="-10413"/>
                  <a:pt x="1909615" y="0"/>
                </a:cubicBezTo>
                <a:cubicBezTo>
                  <a:pt x="2041097" y="-21585"/>
                  <a:pt x="2422417" y="-28022"/>
                  <a:pt x="2673461" y="0"/>
                </a:cubicBezTo>
                <a:cubicBezTo>
                  <a:pt x="2948394" y="-4560"/>
                  <a:pt x="3134893" y="36981"/>
                  <a:pt x="3373653" y="0"/>
                </a:cubicBezTo>
                <a:cubicBezTo>
                  <a:pt x="3634761" y="-15887"/>
                  <a:pt x="3700843" y="23167"/>
                  <a:pt x="3819230" y="0"/>
                </a:cubicBezTo>
                <a:cubicBezTo>
                  <a:pt x="3977295" y="2943"/>
                  <a:pt x="4128910" y="-53150"/>
                  <a:pt x="4392114" y="0"/>
                </a:cubicBezTo>
                <a:cubicBezTo>
                  <a:pt x="4672763" y="9214"/>
                  <a:pt x="4999833" y="38501"/>
                  <a:pt x="5155960" y="0"/>
                </a:cubicBezTo>
                <a:cubicBezTo>
                  <a:pt x="5343367" y="-6557"/>
                  <a:pt x="5597661" y="6622"/>
                  <a:pt x="5792499" y="0"/>
                </a:cubicBezTo>
                <a:cubicBezTo>
                  <a:pt x="6020774" y="43813"/>
                  <a:pt x="6148830" y="-13954"/>
                  <a:pt x="6365383" y="0"/>
                </a:cubicBezTo>
                <a:cubicBezTo>
                  <a:pt x="6364517" y="8091"/>
                  <a:pt x="6365728" y="20268"/>
                  <a:pt x="6365383" y="27432"/>
                </a:cubicBezTo>
                <a:cubicBezTo>
                  <a:pt x="6144545" y="15144"/>
                  <a:pt x="6006673" y="-7419"/>
                  <a:pt x="5856152" y="27432"/>
                </a:cubicBezTo>
                <a:cubicBezTo>
                  <a:pt x="5638446" y="81548"/>
                  <a:pt x="5413846" y="52067"/>
                  <a:pt x="5092306" y="27432"/>
                </a:cubicBezTo>
                <a:cubicBezTo>
                  <a:pt x="4768499" y="43350"/>
                  <a:pt x="4708569" y="3163"/>
                  <a:pt x="4583076" y="27432"/>
                </a:cubicBezTo>
                <a:cubicBezTo>
                  <a:pt x="4475482" y="66269"/>
                  <a:pt x="4242792" y="42702"/>
                  <a:pt x="4137499" y="27432"/>
                </a:cubicBezTo>
                <a:cubicBezTo>
                  <a:pt x="4003968" y="24039"/>
                  <a:pt x="3882646" y="-3026"/>
                  <a:pt x="3691922" y="27432"/>
                </a:cubicBezTo>
                <a:cubicBezTo>
                  <a:pt x="3501639" y="8096"/>
                  <a:pt x="3270842" y="-14942"/>
                  <a:pt x="2991730" y="27432"/>
                </a:cubicBezTo>
                <a:cubicBezTo>
                  <a:pt x="2712135" y="55419"/>
                  <a:pt x="2758697" y="31955"/>
                  <a:pt x="2546153" y="27432"/>
                </a:cubicBezTo>
                <a:cubicBezTo>
                  <a:pt x="2362220" y="-818"/>
                  <a:pt x="2130397" y="57099"/>
                  <a:pt x="1909615" y="27432"/>
                </a:cubicBezTo>
                <a:cubicBezTo>
                  <a:pt x="1714835" y="-15389"/>
                  <a:pt x="1636770" y="40318"/>
                  <a:pt x="1400384" y="27432"/>
                </a:cubicBezTo>
                <a:cubicBezTo>
                  <a:pt x="1161504" y="29515"/>
                  <a:pt x="1060819" y="7773"/>
                  <a:pt x="763846" y="27432"/>
                </a:cubicBezTo>
                <a:cubicBezTo>
                  <a:pt x="465096" y="43671"/>
                  <a:pt x="165309" y="15831"/>
                  <a:pt x="0" y="27432"/>
                </a:cubicBezTo>
                <a:cubicBezTo>
                  <a:pt x="-2013" y="18874"/>
                  <a:pt x="-525" y="8614"/>
                  <a:pt x="0" y="0"/>
                </a:cubicBezTo>
                <a:close/>
              </a:path>
              <a:path w="6365383" h="27432" stroke="0" extrusionOk="0">
                <a:moveTo>
                  <a:pt x="0" y="0"/>
                </a:moveTo>
                <a:cubicBezTo>
                  <a:pt x="84020" y="9133"/>
                  <a:pt x="339524" y="24523"/>
                  <a:pt x="572884" y="0"/>
                </a:cubicBezTo>
                <a:cubicBezTo>
                  <a:pt x="803790" y="-14011"/>
                  <a:pt x="837492" y="-10007"/>
                  <a:pt x="1018461" y="0"/>
                </a:cubicBezTo>
                <a:cubicBezTo>
                  <a:pt x="1188530" y="8943"/>
                  <a:pt x="1571061" y="17361"/>
                  <a:pt x="1782307" y="0"/>
                </a:cubicBezTo>
                <a:cubicBezTo>
                  <a:pt x="1967448" y="-16010"/>
                  <a:pt x="2153334" y="-25629"/>
                  <a:pt x="2355192" y="0"/>
                </a:cubicBezTo>
                <a:cubicBezTo>
                  <a:pt x="2541804" y="20205"/>
                  <a:pt x="2779440" y="53811"/>
                  <a:pt x="2928076" y="0"/>
                </a:cubicBezTo>
                <a:cubicBezTo>
                  <a:pt x="3024078" y="-16903"/>
                  <a:pt x="3337092" y="43483"/>
                  <a:pt x="3691922" y="0"/>
                </a:cubicBezTo>
                <a:cubicBezTo>
                  <a:pt x="4060895" y="-1064"/>
                  <a:pt x="4072166" y="-17195"/>
                  <a:pt x="4201153" y="0"/>
                </a:cubicBezTo>
                <a:cubicBezTo>
                  <a:pt x="4349835" y="-22516"/>
                  <a:pt x="4800106" y="-64797"/>
                  <a:pt x="4964999" y="0"/>
                </a:cubicBezTo>
                <a:cubicBezTo>
                  <a:pt x="5186764" y="15779"/>
                  <a:pt x="5564421" y="-10544"/>
                  <a:pt x="5728845" y="0"/>
                </a:cubicBezTo>
                <a:cubicBezTo>
                  <a:pt x="5915953" y="5493"/>
                  <a:pt x="6171384" y="-48026"/>
                  <a:pt x="6365383" y="0"/>
                </a:cubicBezTo>
                <a:cubicBezTo>
                  <a:pt x="6366596" y="6455"/>
                  <a:pt x="6365588" y="14391"/>
                  <a:pt x="6365383" y="27432"/>
                </a:cubicBezTo>
                <a:cubicBezTo>
                  <a:pt x="6172514" y="805"/>
                  <a:pt x="6006523" y="20734"/>
                  <a:pt x="5665191" y="27432"/>
                </a:cubicBezTo>
                <a:cubicBezTo>
                  <a:pt x="5322179" y="66687"/>
                  <a:pt x="5219376" y="21111"/>
                  <a:pt x="4901345" y="27432"/>
                </a:cubicBezTo>
                <a:cubicBezTo>
                  <a:pt x="4621310" y="-13654"/>
                  <a:pt x="4455192" y="54857"/>
                  <a:pt x="4137499" y="27432"/>
                </a:cubicBezTo>
                <a:cubicBezTo>
                  <a:pt x="3853317" y="12285"/>
                  <a:pt x="3862894" y="26263"/>
                  <a:pt x="3628268" y="27432"/>
                </a:cubicBezTo>
                <a:cubicBezTo>
                  <a:pt x="3418779" y="32610"/>
                  <a:pt x="3174456" y="83656"/>
                  <a:pt x="2991730" y="27432"/>
                </a:cubicBezTo>
                <a:cubicBezTo>
                  <a:pt x="2801278" y="6667"/>
                  <a:pt x="2497351" y="22891"/>
                  <a:pt x="2227884" y="27432"/>
                </a:cubicBezTo>
                <a:cubicBezTo>
                  <a:pt x="1986101" y="16297"/>
                  <a:pt x="1767219" y="-7535"/>
                  <a:pt x="1591346" y="27432"/>
                </a:cubicBezTo>
                <a:cubicBezTo>
                  <a:pt x="1447183" y="73731"/>
                  <a:pt x="1315973" y="39477"/>
                  <a:pt x="1145769" y="27432"/>
                </a:cubicBezTo>
                <a:cubicBezTo>
                  <a:pt x="990245" y="8882"/>
                  <a:pt x="810845" y="16910"/>
                  <a:pt x="636538" y="27432"/>
                </a:cubicBezTo>
                <a:cubicBezTo>
                  <a:pt x="482916" y="17795"/>
                  <a:pt x="183027" y="-17710"/>
                  <a:pt x="0" y="27432"/>
                </a:cubicBezTo>
                <a:cubicBezTo>
                  <a:pt x="491" y="19542"/>
                  <a:pt x="-1038" y="8534"/>
                  <a:pt x="0" y="0"/>
                </a:cubicBezTo>
                <a:close/>
              </a:path>
              <a:path w="6365383" h="27432" fill="none" stroke="0" extrusionOk="0">
                <a:moveTo>
                  <a:pt x="0" y="0"/>
                </a:moveTo>
                <a:cubicBezTo>
                  <a:pt x="296223" y="15991"/>
                  <a:pt x="333462" y="-23795"/>
                  <a:pt x="636538" y="0"/>
                </a:cubicBezTo>
                <a:cubicBezTo>
                  <a:pt x="970197" y="30961"/>
                  <a:pt x="1039864" y="3183"/>
                  <a:pt x="1273077" y="0"/>
                </a:cubicBezTo>
                <a:cubicBezTo>
                  <a:pt x="1449809" y="24819"/>
                  <a:pt x="1735152" y="23060"/>
                  <a:pt x="1909615" y="0"/>
                </a:cubicBezTo>
                <a:cubicBezTo>
                  <a:pt x="2016351" y="-41665"/>
                  <a:pt x="2415001" y="34773"/>
                  <a:pt x="2673461" y="0"/>
                </a:cubicBezTo>
                <a:cubicBezTo>
                  <a:pt x="2996983" y="-13411"/>
                  <a:pt x="3130707" y="3741"/>
                  <a:pt x="3373653" y="0"/>
                </a:cubicBezTo>
                <a:cubicBezTo>
                  <a:pt x="3601951" y="-16140"/>
                  <a:pt x="3689909" y="23222"/>
                  <a:pt x="3819230" y="0"/>
                </a:cubicBezTo>
                <a:cubicBezTo>
                  <a:pt x="3931872" y="-29406"/>
                  <a:pt x="4119438" y="24094"/>
                  <a:pt x="4392114" y="0"/>
                </a:cubicBezTo>
                <a:cubicBezTo>
                  <a:pt x="4665359" y="21557"/>
                  <a:pt x="4978709" y="13267"/>
                  <a:pt x="5155960" y="0"/>
                </a:cubicBezTo>
                <a:cubicBezTo>
                  <a:pt x="5299518" y="-18386"/>
                  <a:pt x="5605020" y="-6762"/>
                  <a:pt x="5792499" y="0"/>
                </a:cubicBezTo>
                <a:cubicBezTo>
                  <a:pt x="6013281" y="43398"/>
                  <a:pt x="6167567" y="36727"/>
                  <a:pt x="6365383" y="0"/>
                </a:cubicBezTo>
                <a:cubicBezTo>
                  <a:pt x="6365697" y="8368"/>
                  <a:pt x="6365332" y="21050"/>
                  <a:pt x="6365383" y="27432"/>
                </a:cubicBezTo>
                <a:cubicBezTo>
                  <a:pt x="6154893" y="8454"/>
                  <a:pt x="6014206" y="-8372"/>
                  <a:pt x="5856152" y="27432"/>
                </a:cubicBezTo>
                <a:cubicBezTo>
                  <a:pt x="5659455" y="59503"/>
                  <a:pt x="5350806" y="-35991"/>
                  <a:pt x="5092306" y="27432"/>
                </a:cubicBezTo>
                <a:cubicBezTo>
                  <a:pt x="4756309" y="48260"/>
                  <a:pt x="4699746" y="-4780"/>
                  <a:pt x="4583076" y="27432"/>
                </a:cubicBezTo>
                <a:cubicBezTo>
                  <a:pt x="4462137" y="30142"/>
                  <a:pt x="4226168" y="50236"/>
                  <a:pt x="4137499" y="27432"/>
                </a:cubicBezTo>
                <a:cubicBezTo>
                  <a:pt x="4018570" y="42181"/>
                  <a:pt x="3887179" y="34623"/>
                  <a:pt x="3691922" y="27432"/>
                </a:cubicBezTo>
                <a:cubicBezTo>
                  <a:pt x="3499755" y="32935"/>
                  <a:pt x="3281056" y="-9158"/>
                  <a:pt x="2991730" y="27432"/>
                </a:cubicBezTo>
                <a:cubicBezTo>
                  <a:pt x="2716073" y="57462"/>
                  <a:pt x="2755481" y="34494"/>
                  <a:pt x="2546153" y="27432"/>
                </a:cubicBezTo>
                <a:cubicBezTo>
                  <a:pt x="2356479" y="62622"/>
                  <a:pt x="2079190" y="73729"/>
                  <a:pt x="1909615" y="27432"/>
                </a:cubicBezTo>
                <a:cubicBezTo>
                  <a:pt x="1715819" y="-26444"/>
                  <a:pt x="1631368" y="48131"/>
                  <a:pt x="1400384" y="27432"/>
                </a:cubicBezTo>
                <a:cubicBezTo>
                  <a:pt x="1177327" y="16190"/>
                  <a:pt x="1065236" y="24992"/>
                  <a:pt x="763846" y="27432"/>
                </a:cubicBezTo>
                <a:cubicBezTo>
                  <a:pt x="448643" y="60691"/>
                  <a:pt x="160833" y="2330"/>
                  <a:pt x="0" y="27432"/>
                </a:cubicBezTo>
                <a:cubicBezTo>
                  <a:pt x="1559" y="18666"/>
                  <a:pt x="-585" y="7580"/>
                  <a:pt x="0" y="0"/>
                </a:cubicBezTo>
                <a:close/>
              </a:path>
            </a:pathLst>
          </a:custGeom>
          <a:solidFill>
            <a:srgbClr val="FFFFFF"/>
          </a:solidFill>
          <a:ln w="41275" cap="rnd">
            <a:solidFill>
              <a:srgbClr val="FFFFFF"/>
            </a:solidFill>
            <a:round/>
            <a:extLst>
              <a:ext uri="{C807C97D-BFC1-408E-A445-0C87EB9F89A2}">
                <ask:lineSketchStyleProps xmlns:ask="http://schemas.microsoft.com/office/drawing/2018/sketchyshapes" sd="1219033472">
                  <a:custGeom>
                    <a:avLst/>
                    <a:gdLst>
                      <a:gd name="connsiteX0" fmla="*/ 0 w 6365383"/>
                      <a:gd name="connsiteY0" fmla="*/ 0 h 27432"/>
                      <a:gd name="connsiteX1" fmla="*/ 636538 w 6365383"/>
                      <a:gd name="connsiteY1" fmla="*/ 0 h 27432"/>
                      <a:gd name="connsiteX2" fmla="*/ 1273077 w 6365383"/>
                      <a:gd name="connsiteY2" fmla="*/ 0 h 27432"/>
                      <a:gd name="connsiteX3" fmla="*/ 1909615 w 6365383"/>
                      <a:gd name="connsiteY3" fmla="*/ 0 h 27432"/>
                      <a:gd name="connsiteX4" fmla="*/ 2673461 w 6365383"/>
                      <a:gd name="connsiteY4" fmla="*/ 0 h 27432"/>
                      <a:gd name="connsiteX5" fmla="*/ 3373653 w 6365383"/>
                      <a:gd name="connsiteY5" fmla="*/ 0 h 27432"/>
                      <a:gd name="connsiteX6" fmla="*/ 3819230 w 6365383"/>
                      <a:gd name="connsiteY6" fmla="*/ 0 h 27432"/>
                      <a:gd name="connsiteX7" fmla="*/ 4392114 w 6365383"/>
                      <a:gd name="connsiteY7" fmla="*/ 0 h 27432"/>
                      <a:gd name="connsiteX8" fmla="*/ 5155960 w 6365383"/>
                      <a:gd name="connsiteY8" fmla="*/ 0 h 27432"/>
                      <a:gd name="connsiteX9" fmla="*/ 5792499 w 6365383"/>
                      <a:gd name="connsiteY9" fmla="*/ 0 h 27432"/>
                      <a:gd name="connsiteX10" fmla="*/ 6365383 w 6365383"/>
                      <a:gd name="connsiteY10" fmla="*/ 0 h 27432"/>
                      <a:gd name="connsiteX11" fmla="*/ 6365383 w 6365383"/>
                      <a:gd name="connsiteY11" fmla="*/ 27432 h 27432"/>
                      <a:gd name="connsiteX12" fmla="*/ 5856152 w 6365383"/>
                      <a:gd name="connsiteY12" fmla="*/ 27432 h 27432"/>
                      <a:gd name="connsiteX13" fmla="*/ 5092306 w 6365383"/>
                      <a:gd name="connsiteY13" fmla="*/ 27432 h 27432"/>
                      <a:gd name="connsiteX14" fmla="*/ 4583076 w 6365383"/>
                      <a:gd name="connsiteY14" fmla="*/ 27432 h 27432"/>
                      <a:gd name="connsiteX15" fmla="*/ 4137499 w 6365383"/>
                      <a:gd name="connsiteY15" fmla="*/ 27432 h 27432"/>
                      <a:gd name="connsiteX16" fmla="*/ 3691922 w 6365383"/>
                      <a:gd name="connsiteY16" fmla="*/ 27432 h 27432"/>
                      <a:gd name="connsiteX17" fmla="*/ 2991730 w 6365383"/>
                      <a:gd name="connsiteY17" fmla="*/ 27432 h 27432"/>
                      <a:gd name="connsiteX18" fmla="*/ 2546153 w 6365383"/>
                      <a:gd name="connsiteY18" fmla="*/ 27432 h 27432"/>
                      <a:gd name="connsiteX19" fmla="*/ 1909615 w 6365383"/>
                      <a:gd name="connsiteY19" fmla="*/ 27432 h 27432"/>
                      <a:gd name="connsiteX20" fmla="*/ 1400384 w 6365383"/>
                      <a:gd name="connsiteY20" fmla="*/ 27432 h 27432"/>
                      <a:gd name="connsiteX21" fmla="*/ 763846 w 6365383"/>
                      <a:gd name="connsiteY21" fmla="*/ 27432 h 27432"/>
                      <a:gd name="connsiteX22" fmla="*/ 0 w 6365383"/>
                      <a:gd name="connsiteY22" fmla="*/ 27432 h 27432"/>
                      <a:gd name="connsiteX23" fmla="*/ 0 w 6365383"/>
                      <a:gd name="connsiteY23"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365383" h="27432" fill="none" extrusionOk="0">
                        <a:moveTo>
                          <a:pt x="0" y="0"/>
                        </a:moveTo>
                        <a:cubicBezTo>
                          <a:pt x="305169" y="21509"/>
                          <a:pt x="334704" y="-24261"/>
                          <a:pt x="636538" y="0"/>
                        </a:cubicBezTo>
                        <a:cubicBezTo>
                          <a:pt x="938372" y="24261"/>
                          <a:pt x="1068606" y="2269"/>
                          <a:pt x="1273077" y="0"/>
                        </a:cubicBezTo>
                        <a:cubicBezTo>
                          <a:pt x="1477548" y="-2269"/>
                          <a:pt x="1738189" y="6272"/>
                          <a:pt x="1909615" y="0"/>
                        </a:cubicBezTo>
                        <a:cubicBezTo>
                          <a:pt x="2081041" y="-6272"/>
                          <a:pt x="2377015" y="16623"/>
                          <a:pt x="2673461" y="0"/>
                        </a:cubicBezTo>
                        <a:cubicBezTo>
                          <a:pt x="2969907" y="-16623"/>
                          <a:pt x="3126114" y="13194"/>
                          <a:pt x="3373653" y="0"/>
                        </a:cubicBezTo>
                        <a:cubicBezTo>
                          <a:pt x="3621192" y="-13194"/>
                          <a:pt x="3704499" y="9486"/>
                          <a:pt x="3819230" y="0"/>
                        </a:cubicBezTo>
                        <a:cubicBezTo>
                          <a:pt x="3933961" y="-9486"/>
                          <a:pt x="4142691" y="-8221"/>
                          <a:pt x="4392114" y="0"/>
                        </a:cubicBezTo>
                        <a:cubicBezTo>
                          <a:pt x="4641537" y="8221"/>
                          <a:pt x="4974506" y="12257"/>
                          <a:pt x="5155960" y="0"/>
                        </a:cubicBezTo>
                        <a:cubicBezTo>
                          <a:pt x="5337414" y="-12257"/>
                          <a:pt x="5585731" y="-22537"/>
                          <a:pt x="5792499" y="0"/>
                        </a:cubicBezTo>
                        <a:cubicBezTo>
                          <a:pt x="5999267" y="22537"/>
                          <a:pt x="6164726" y="7303"/>
                          <a:pt x="6365383" y="0"/>
                        </a:cubicBezTo>
                        <a:cubicBezTo>
                          <a:pt x="6365125" y="7487"/>
                          <a:pt x="6364462" y="19984"/>
                          <a:pt x="6365383" y="27432"/>
                        </a:cubicBezTo>
                        <a:cubicBezTo>
                          <a:pt x="6132222" y="28304"/>
                          <a:pt x="6011986" y="2071"/>
                          <a:pt x="5856152" y="27432"/>
                        </a:cubicBezTo>
                        <a:cubicBezTo>
                          <a:pt x="5700318" y="52793"/>
                          <a:pt x="5410732" y="5357"/>
                          <a:pt x="5092306" y="27432"/>
                        </a:cubicBezTo>
                        <a:cubicBezTo>
                          <a:pt x="4773880" y="49507"/>
                          <a:pt x="4705351" y="6645"/>
                          <a:pt x="4583076" y="27432"/>
                        </a:cubicBezTo>
                        <a:cubicBezTo>
                          <a:pt x="4460801" y="48220"/>
                          <a:pt x="4239915" y="42209"/>
                          <a:pt x="4137499" y="27432"/>
                        </a:cubicBezTo>
                        <a:cubicBezTo>
                          <a:pt x="4035083" y="12655"/>
                          <a:pt x="3883665" y="32012"/>
                          <a:pt x="3691922" y="27432"/>
                        </a:cubicBezTo>
                        <a:cubicBezTo>
                          <a:pt x="3500179" y="22852"/>
                          <a:pt x="3265830" y="-126"/>
                          <a:pt x="2991730" y="27432"/>
                        </a:cubicBezTo>
                        <a:cubicBezTo>
                          <a:pt x="2717630" y="54990"/>
                          <a:pt x="2757122" y="34407"/>
                          <a:pt x="2546153" y="27432"/>
                        </a:cubicBezTo>
                        <a:cubicBezTo>
                          <a:pt x="2335184" y="20457"/>
                          <a:pt x="2107331" y="58889"/>
                          <a:pt x="1909615" y="27432"/>
                        </a:cubicBezTo>
                        <a:cubicBezTo>
                          <a:pt x="1711899" y="-4025"/>
                          <a:pt x="1634641" y="48316"/>
                          <a:pt x="1400384" y="27432"/>
                        </a:cubicBezTo>
                        <a:cubicBezTo>
                          <a:pt x="1166127" y="6548"/>
                          <a:pt x="1068288" y="15776"/>
                          <a:pt x="763846" y="27432"/>
                        </a:cubicBezTo>
                        <a:cubicBezTo>
                          <a:pt x="459404" y="39088"/>
                          <a:pt x="170017" y="14515"/>
                          <a:pt x="0" y="27432"/>
                        </a:cubicBezTo>
                        <a:cubicBezTo>
                          <a:pt x="-14" y="18173"/>
                          <a:pt x="-517" y="8990"/>
                          <a:pt x="0" y="0"/>
                        </a:cubicBezTo>
                        <a:close/>
                      </a:path>
                      <a:path w="6365383" h="27432" stroke="0" extrusionOk="0">
                        <a:moveTo>
                          <a:pt x="0" y="0"/>
                        </a:moveTo>
                        <a:cubicBezTo>
                          <a:pt x="114610" y="-2215"/>
                          <a:pt x="340315" y="12554"/>
                          <a:pt x="572884" y="0"/>
                        </a:cubicBezTo>
                        <a:cubicBezTo>
                          <a:pt x="805453" y="-12554"/>
                          <a:pt x="832891" y="-10424"/>
                          <a:pt x="1018461" y="0"/>
                        </a:cubicBezTo>
                        <a:cubicBezTo>
                          <a:pt x="1204031" y="10424"/>
                          <a:pt x="1590875" y="8682"/>
                          <a:pt x="1782307" y="0"/>
                        </a:cubicBezTo>
                        <a:cubicBezTo>
                          <a:pt x="1973739" y="-8682"/>
                          <a:pt x="2150876" y="5508"/>
                          <a:pt x="2355192" y="0"/>
                        </a:cubicBezTo>
                        <a:cubicBezTo>
                          <a:pt x="2559508" y="-5508"/>
                          <a:pt x="2790194" y="26965"/>
                          <a:pt x="2928076" y="0"/>
                        </a:cubicBezTo>
                        <a:cubicBezTo>
                          <a:pt x="3065958" y="-26965"/>
                          <a:pt x="3321537" y="819"/>
                          <a:pt x="3691922" y="0"/>
                        </a:cubicBezTo>
                        <a:cubicBezTo>
                          <a:pt x="4062307" y="-819"/>
                          <a:pt x="4072238" y="-15327"/>
                          <a:pt x="4201153" y="0"/>
                        </a:cubicBezTo>
                        <a:cubicBezTo>
                          <a:pt x="4330068" y="15327"/>
                          <a:pt x="4772079" y="-35646"/>
                          <a:pt x="4964999" y="0"/>
                        </a:cubicBezTo>
                        <a:cubicBezTo>
                          <a:pt x="5157919" y="35646"/>
                          <a:pt x="5543915" y="6802"/>
                          <a:pt x="5728845" y="0"/>
                        </a:cubicBezTo>
                        <a:cubicBezTo>
                          <a:pt x="5913775" y="-6802"/>
                          <a:pt x="6142952" y="-21408"/>
                          <a:pt x="6365383" y="0"/>
                        </a:cubicBezTo>
                        <a:cubicBezTo>
                          <a:pt x="6364552" y="6329"/>
                          <a:pt x="6365787" y="16858"/>
                          <a:pt x="6365383" y="27432"/>
                        </a:cubicBezTo>
                        <a:cubicBezTo>
                          <a:pt x="6176931" y="320"/>
                          <a:pt x="5998736" y="11244"/>
                          <a:pt x="5665191" y="27432"/>
                        </a:cubicBezTo>
                        <a:cubicBezTo>
                          <a:pt x="5331646" y="43620"/>
                          <a:pt x="5198011" y="28615"/>
                          <a:pt x="4901345" y="27432"/>
                        </a:cubicBezTo>
                        <a:cubicBezTo>
                          <a:pt x="4604679" y="26249"/>
                          <a:pt x="4422931" y="40617"/>
                          <a:pt x="4137499" y="27432"/>
                        </a:cubicBezTo>
                        <a:cubicBezTo>
                          <a:pt x="3852067" y="14247"/>
                          <a:pt x="3861939" y="26581"/>
                          <a:pt x="3628268" y="27432"/>
                        </a:cubicBezTo>
                        <a:cubicBezTo>
                          <a:pt x="3394597" y="28283"/>
                          <a:pt x="3171361" y="44132"/>
                          <a:pt x="2991730" y="27432"/>
                        </a:cubicBezTo>
                        <a:cubicBezTo>
                          <a:pt x="2812099" y="10732"/>
                          <a:pt x="2469344" y="24737"/>
                          <a:pt x="2227884" y="27432"/>
                        </a:cubicBezTo>
                        <a:cubicBezTo>
                          <a:pt x="1986424" y="30127"/>
                          <a:pt x="1748067" y="6359"/>
                          <a:pt x="1591346" y="27432"/>
                        </a:cubicBezTo>
                        <a:cubicBezTo>
                          <a:pt x="1434625" y="48505"/>
                          <a:pt x="1307456" y="39663"/>
                          <a:pt x="1145769" y="27432"/>
                        </a:cubicBezTo>
                        <a:cubicBezTo>
                          <a:pt x="984082" y="15201"/>
                          <a:pt x="800279" y="41647"/>
                          <a:pt x="636538" y="27432"/>
                        </a:cubicBezTo>
                        <a:cubicBezTo>
                          <a:pt x="472797" y="13217"/>
                          <a:pt x="160022" y="2213"/>
                          <a:pt x="0" y="27432"/>
                        </a:cubicBezTo>
                        <a:cubicBezTo>
                          <a:pt x="-177" y="19307"/>
                          <a:pt x="-1145" y="9170"/>
                          <a:pt x="0" y="0"/>
                        </a:cubicBezTo>
                        <a:close/>
                      </a:path>
                    </a:pathLst>
                  </a:cu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489851779"/>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1" name="Picture 12">
            <a:extLst>
              <a:ext uri="{FF2B5EF4-FFF2-40B4-BE49-F238E27FC236}">
                <a16:creationId xmlns:a16="http://schemas.microsoft.com/office/drawing/2014/main" id="{43802E0E-B79D-4EA7-8141-0CA3ED138B1A}"/>
              </a:ext>
            </a:extLst>
          </p:cNvPr>
          <p:cNvPicPr>
            <a:picLocks noChangeAspect="1"/>
          </p:cNvPicPr>
          <p:nvPr/>
        </p:nvPicPr>
        <p:blipFill>
          <a:blip r:embed="rId3"/>
          <a:srcRect/>
          <a:stretch>
            <a:fillRect/>
          </a:stretch>
        </p:blipFill>
        <p:spPr>
          <a:xfrm>
            <a:off x="0" y="8993140"/>
            <a:ext cx="5715000" cy="1385887"/>
          </a:xfrm>
          <a:prstGeom prst="rect">
            <a:avLst/>
          </a:prstGeom>
        </p:spPr>
      </p:pic>
      <p:grpSp>
        <p:nvGrpSpPr>
          <p:cNvPr id="132" name="Gruppo 2">
            <a:extLst>
              <a:ext uri="{FF2B5EF4-FFF2-40B4-BE49-F238E27FC236}">
                <a16:creationId xmlns:a16="http://schemas.microsoft.com/office/drawing/2014/main" id="{649928F6-6E82-4611-9715-AD3C75457C28}"/>
              </a:ext>
            </a:extLst>
          </p:cNvPr>
          <p:cNvGrpSpPr/>
          <p:nvPr/>
        </p:nvGrpSpPr>
        <p:grpSpPr>
          <a:xfrm>
            <a:off x="-12" y="138554"/>
            <a:ext cx="18288002" cy="681138"/>
            <a:chOff x="-12" y="138554"/>
            <a:chExt cx="18288002" cy="681138"/>
          </a:xfrm>
        </p:grpSpPr>
        <p:grpSp>
          <p:nvGrpSpPr>
            <p:cNvPr id="133" name="Gruppo 1">
              <a:extLst>
                <a:ext uri="{FF2B5EF4-FFF2-40B4-BE49-F238E27FC236}">
                  <a16:creationId xmlns:a16="http://schemas.microsoft.com/office/drawing/2014/main" id="{A8EB8794-E5C6-45EB-BAEC-2778E982797A}"/>
                </a:ext>
              </a:extLst>
            </p:cNvPr>
            <p:cNvGrpSpPr/>
            <p:nvPr/>
          </p:nvGrpSpPr>
          <p:grpSpPr>
            <a:xfrm>
              <a:off x="0" y="153125"/>
              <a:ext cx="17907000" cy="666567"/>
              <a:chOff x="0" y="153125"/>
              <a:chExt cx="17907000" cy="666567"/>
            </a:xfrm>
          </p:grpSpPr>
          <p:grpSp>
            <p:nvGrpSpPr>
              <p:cNvPr id="135" name="Gruppo 15">
                <a:extLst>
                  <a:ext uri="{FF2B5EF4-FFF2-40B4-BE49-F238E27FC236}">
                    <a16:creationId xmlns:a16="http://schemas.microsoft.com/office/drawing/2014/main" id="{AB129748-9FD7-458D-BD6E-304271C1814A}"/>
                  </a:ext>
                </a:extLst>
              </p:cNvPr>
              <p:cNvGrpSpPr/>
              <p:nvPr/>
            </p:nvGrpSpPr>
            <p:grpSpPr>
              <a:xfrm>
                <a:off x="0" y="153125"/>
                <a:ext cx="13958844" cy="666567"/>
                <a:chOff x="0" y="153125"/>
                <a:chExt cx="13958844" cy="666567"/>
              </a:xfrm>
            </p:grpSpPr>
            <p:pic>
              <p:nvPicPr>
                <p:cNvPr id="137" name="Picture 136">
                  <a:extLst>
                    <a:ext uri="{FF2B5EF4-FFF2-40B4-BE49-F238E27FC236}">
                      <a16:creationId xmlns:a16="http://schemas.microsoft.com/office/drawing/2014/main" id="{88E31CFD-796F-4F3F-A1EC-0E38F9D83456}"/>
                    </a:ext>
                  </a:extLst>
                </p:cNvPr>
                <p:cNvPicPr>
                  <a:picLocks noChangeAspect="1"/>
                </p:cNvPicPr>
                <p:nvPr/>
              </p:nvPicPr>
              <p:blipFill>
                <a:blip r:embed="rId4"/>
                <a:srcRect l="134" t="91287" b="3943"/>
                <a:stretch>
                  <a:fillRect/>
                </a:stretch>
              </p:blipFill>
              <p:spPr>
                <a:xfrm>
                  <a:off x="0" y="153125"/>
                  <a:ext cx="13958844" cy="666567"/>
                </a:xfrm>
                <a:prstGeom prst="rect">
                  <a:avLst/>
                </a:prstGeom>
              </p:spPr>
            </p:pic>
            <p:sp>
              <p:nvSpPr>
                <p:cNvPr id="138" name="TextBox 137">
                  <a:extLst>
                    <a:ext uri="{FF2B5EF4-FFF2-40B4-BE49-F238E27FC236}">
                      <a16:creationId xmlns:a16="http://schemas.microsoft.com/office/drawing/2014/main" id="{7694DADD-E227-40A7-A98D-244B0D207E54}"/>
                    </a:ext>
                  </a:extLst>
                </p:cNvPr>
                <p:cNvSpPr txBox="1"/>
                <p:nvPr/>
              </p:nvSpPr>
              <p:spPr>
                <a:xfrm>
                  <a:off x="228600" y="257980"/>
                  <a:ext cx="9296400" cy="456856"/>
                </a:xfrm>
                <a:prstGeom prst="rect">
                  <a:avLst/>
                </a:prstGeom>
              </p:spPr>
              <p:txBody>
                <a:bodyPr wrap="square" lIns="0" tIns="0" rIns="0" bIns="0" rtlCol="0" anchor="t">
                  <a:spAutoFit/>
                </a:bodyPr>
                <a:lstStyle/>
                <a:p>
                  <a:pPr marL="0" marR="0" lvl="0" indent="0" algn="l" defTabSz="914400" rtl="0" eaLnBrk="1" fontAlgn="auto" latinLnBrk="0" hangingPunct="1">
                    <a:lnSpc>
                      <a:spcPts val="3919"/>
                    </a:lnSpc>
                    <a:spcBef>
                      <a:spcPct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36" name="TextBox 135">
                <a:extLst>
                  <a:ext uri="{FF2B5EF4-FFF2-40B4-BE49-F238E27FC236}">
                    <a16:creationId xmlns:a16="http://schemas.microsoft.com/office/drawing/2014/main" id="{4B3CCEBB-60EF-4175-9878-F0D51FD80FF0}"/>
                  </a:ext>
                </a:extLst>
              </p:cNvPr>
              <p:cNvSpPr txBox="1"/>
              <p:nvPr/>
            </p:nvSpPr>
            <p:spPr>
              <a:xfrm>
                <a:off x="12154296" y="257980"/>
                <a:ext cx="5752704" cy="456856"/>
              </a:xfrm>
              <a:prstGeom prst="rect">
                <a:avLst/>
              </a:prstGeom>
            </p:spPr>
            <p:txBody>
              <a:bodyPr wrap="square" lIns="0" tIns="0" rIns="0" bIns="0" rtlCol="0" anchor="t">
                <a:spAutoFit/>
              </a:bodyPr>
              <a:lstStyle/>
              <a:p>
                <a:pPr marL="0" marR="0" lvl="0" indent="0" algn="r" defTabSz="914400" rtl="0" eaLnBrk="1" fontAlgn="auto" latinLnBrk="0" hangingPunct="1">
                  <a:lnSpc>
                    <a:spcPts val="3919"/>
                  </a:lnSpc>
                  <a:spcBef>
                    <a:spcPct val="0"/>
                  </a:spcBef>
                  <a:spcAft>
                    <a:spcPts val="0"/>
                  </a:spcAft>
                  <a:buClrTx/>
                  <a:buSzTx/>
                  <a:buFontTx/>
                  <a:buNone/>
                  <a:tabLst/>
                  <a:defRPr/>
                </a:pPr>
                <a:endParaRPr kumimoji="0" lang="en-US" sz="2800" b="0" i="0" u="none" strike="noStrike" kern="1200" cap="none" spc="0" normalizeH="0" baseline="0" noProof="0">
                  <a:ln>
                    <a:noFill/>
                  </a:ln>
                  <a:solidFill>
                    <a:srgbClr val="2F2F2F">
                      <a:lumMod val="75000"/>
                      <a:lumOff val="25000"/>
                    </a:srgbClr>
                  </a:solidFill>
                  <a:effectLst/>
                  <a:uLnTx/>
                  <a:uFillTx/>
                  <a:latin typeface="Arial" panose="020B0604020202020204" pitchFamily="34" charset="0"/>
                  <a:ea typeface="+mn-ea"/>
                  <a:cs typeface="Arial" panose="020B0604020202020204" pitchFamily="34" charset="0"/>
                </a:endParaRPr>
              </a:p>
            </p:txBody>
          </p:sp>
        </p:grpSp>
        <p:sp>
          <p:nvSpPr>
            <p:cNvPr id="134" name="Rettangolo 13">
              <a:extLst>
                <a:ext uri="{FF2B5EF4-FFF2-40B4-BE49-F238E27FC236}">
                  <a16:creationId xmlns:a16="http://schemas.microsoft.com/office/drawing/2014/main" id="{8F0CF2A7-592A-4287-9206-D3289F1B0C37}"/>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pic>
        <p:nvPicPr>
          <p:cNvPr id="139" name="Picture 12">
            <a:extLst>
              <a:ext uri="{FF2B5EF4-FFF2-40B4-BE49-F238E27FC236}">
                <a16:creationId xmlns:a16="http://schemas.microsoft.com/office/drawing/2014/main" id="{F047215A-40D8-4A57-BE02-5E03FCEEBB7B}"/>
              </a:ext>
            </a:extLst>
          </p:cNvPr>
          <p:cNvPicPr>
            <a:picLocks noChangeAspect="1"/>
          </p:cNvPicPr>
          <p:nvPr/>
        </p:nvPicPr>
        <p:blipFill>
          <a:blip r:embed="rId5"/>
          <a:srcRect l="134" t="91287" b="3943"/>
          <a:stretch>
            <a:fillRect/>
          </a:stretch>
        </p:blipFill>
        <p:spPr>
          <a:xfrm rot="10800000">
            <a:off x="4329146" y="9797731"/>
            <a:ext cx="13958844" cy="666567"/>
          </a:xfrm>
          <a:prstGeom prst="rect">
            <a:avLst/>
          </a:prstGeom>
        </p:spPr>
      </p:pic>
      <p:sp>
        <p:nvSpPr>
          <p:cNvPr id="140" name="TextBox 16">
            <a:extLst>
              <a:ext uri="{FF2B5EF4-FFF2-40B4-BE49-F238E27FC236}">
                <a16:creationId xmlns:a16="http://schemas.microsoft.com/office/drawing/2014/main" id="{C693B1DB-897C-4A9D-8CF3-F1423F6CB38D}"/>
              </a:ext>
            </a:extLst>
          </p:cNvPr>
          <p:cNvSpPr txBox="1"/>
          <p:nvPr/>
        </p:nvSpPr>
        <p:spPr>
          <a:xfrm>
            <a:off x="14400019" y="9762301"/>
            <a:ext cx="3636320" cy="448713"/>
          </a:xfrm>
          <a:prstGeom prst="rect">
            <a:avLst/>
          </a:prstGeom>
        </p:spPr>
        <p:txBody>
          <a:bodyPr wrap="square" lIns="0" tIns="0" rIns="0" bIns="0" rtlCol="0" anchor="t">
            <a:spAutoFit/>
          </a:bodyPr>
          <a:lstStyle/>
          <a:p>
            <a:pPr marL="0" marR="0" lvl="0" indent="0" algn="ctr" defTabSz="914400" rtl="0" eaLnBrk="1" fontAlgn="auto" latinLnBrk="0" hangingPunct="1">
              <a:lnSpc>
                <a:spcPts val="3919"/>
              </a:lnSpc>
              <a:spcBef>
                <a:spcPct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OCR A Extended" panose="02010509020102010303" pitchFamily="50" charset="0"/>
                <a:ea typeface="+mn-ea"/>
                <a:cs typeface="+mn-cs"/>
              </a:rPr>
              <a:t>www.retrofeed.eu</a:t>
            </a:r>
          </a:p>
        </p:txBody>
      </p:sp>
      <p:sp>
        <p:nvSpPr>
          <p:cNvPr id="4" name="TextBox 3">
            <a:extLst>
              <a:ext uri="{FF2B5EF4-FFF2-40B4-BE49-F238E27FC236}">
                <a16:creationId xmlns:a16="http://schemas.microsoft.com/office/drawing/2014/main" id="{E2A6C351-D084-461B-85B4-078A69C47372}"/>
              </a:ext>
            </a:extLst>
          </p:cNvPr>
          <p:cNvSpPr txBox="1"/>
          <p:nvPr/>
        </p:nvSpPr>
        <p:spPr>
          <a:xfrm>
            <a:off x="1073179" y="1087343"/>
            <a:ext cx="18552623" cy="76944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400" b="1" i="0" u="none" strike="noStrike" kern="1200" cap="none" spc="0" normalizeH="0" baseline="0" noProof="0" dirty="0">
                <a:ln>
                  <a:noFill/>
                </a:ln>
                <a:solidFill>
                  <a:srgbClr val="CC0033"/>
                </a:solidFill>
                <a:effectLst/>
                <a:uLnTx/>
                <a:uFillTx/>
                <a:latin typeface="Arial"/>
                <a:ea typeface="+mn-ea"/>
                <a:cs typeface="Arial" panose="020B0604020202020204" pitchFamily="34" charset="0"/>
              </a:rPr>
              <a:t>Business </a:t>
            </a:r>
            <a:r>
              <a:rPr lang="en-GB" sz="4400" b="1" dirty="0">
                <a:solidFill>
                  <a:srgbClr val="CC0033"/>
                </a:solidFill>
                <a:latin typeface="Arial"/>
                <a:cs typeface="Arial" panose="020B0604020202020204" pitchFamily="34" charset="0"/>
              </a:rPr>
              <a:t>M</a:t>
            </a:r>
            <a:r>
              <a:rPr kumimoji="0" lang="en-GB" sz="4400" b="1" i="0" u="none" strike="noStrike" kern="1200" cap="none" spc="0" normalizeH="0" baseline="0" noProof="0" dirty="0" err="1">
                <a:ln>
                  <a:noFill/>
                </a:ln>
                <a:solidFill>
                  <a:srgbClr val="CC0033"/>
                </a:solidFill>
                <a:effectLst/>
                <a:uLnTx/>
                <a:uFillTx/>
                <a:latin typeface="Arial"/>
                <a:ea typeface="+mn-ea"/>
                <a:cs typeface="Arial" panose="020B0604020202020204" pitchFamily="34" charset="0"/>
              </a:rPr>
              <a:t>odel</a:t>
            </a:r>
            <a:r>
              <a:rPr kumimoji="0" lang="en-GB" sz="4400" b="1" i="0" u="none" strike="noStrike" kern="1200" cap="none" spc="0" normalizeH="0" baseline="0" noProof="0" dirty="0">
                <a:ln>
                  <a:noFill/>
                </a:ln>
                <a:solidFill>
                  <a:srgbClr val="CC0033"/>
                </a:solidFill>
                <a:effectLst/>
                <a:uLnTx/>
                <a:uFillTx/>
                <a:latin typeface="Arial"/>
                <a:ea typeface="+mn-ea"/>
                <a:cs typeface="Arial" panose="020B0604020202020204" pitchFamily="34" charset="0"/>
              </a:rPr>
              <a:t> Canvas (BMC) as tool</a:t>
            </a:r>
            <a:endParaRPr kumimoji="0" lang="sv-SE" sz="4400" b="1" i="0" u="none" strike="noStrike" kern="1200" cap="none" spc="0" normalizeH="0" baseline="0" noProof="0" dirty="0">
              <a:ln>
                <a:noFill/>
              </a:ln>
              <a:solidFill>
                <a:srgbClr val="CC0033"/>
              </a:solidFill>
              <a:effectLst/>
              <a:uLnTx/>
              <a:uFillTx/>
              <a:latin typeface="Arial"/>
              <a:ea typeface="+mn-ea"/>
              <a:cs typeface="Arial" panose="020B0604020202020204" pitchFamily="34" charset="0"/>
            </a:endParaRPr>
          </a:p>
        </p:txBody>
      </p:sp>
      <p:graphicFrame>
        <p:nvGraphicFramePr>
          <p:cNvPr id="6" name="Tabell 5">
            <a:extLst>
              <a:ext uri="{FF2B5EF4-FFF2-40B4-BE49-F238E27FC236}">
                <a16:creationId xmlns:a16="http://schemas.microsoft.com/office/drawing/2014/main" id="{2B61A2CD-6F9E-7FF3-0C7D-1DDBDC135144}"/>
              </a:ext>
            </a:extLst>
          </p:cNvPr>
          <p:cNvGraphicFramePr>
            <a:graphicFrameLocks noGrp="1"/>
          </p:cNvGraphicFramePr>
          <p:nvPr/>
        </p:nvGraphicFramePr>
        <p:xfrm>
          <a:off x="1198276" y="2473163"/>
          <a:ext cx="15865838" cy="6215877"/>
        </p:xfrm>
        <a:graphic>
          <a:graphicData uri="http://schemas.openxmlformats.org/drawingml/2006/table">
            <a:tbl>
              <a:tblPr firstRow="1" firstCol="1" bandRow="1">
                <a:tableStyleId>{5C22544A-7EE6-4342-B048-85BDC9FD1C3A}</a:tableStyleId>
              </a:tblPr>
              <a:tblGrid>
                <a:gridCol w="2853223">
                  <a:extLst>
                    <a:ext uri="{9D8B030D-6E8A-4147-A177-3AD203B41FA5}">
                      <a16:colId xmlns:a16="http://schemas.microsoft.com/office/drawing/2014/main" val="382711882"/>
                    </a:ext>
                  </a:extLst>
                </a:gridCol>
                <a:gridCol w="3502856">
                  <a:extLst>
                    <a:ext uri="{9D8B030D-6E8A-4147-A177-3AD203B41FA5}">
                      <a16:colId xmlns:a16="http://schemas.microsoft.com/office/drawing/2014/main" val="3047001043"/>
                    </a:ext>
                  </a:extLst>
                </a:gridCol>
                <a:gridCol w="1248672">
                  <a:extLst>
                    <a:ext uri="{9D8B030D-6E8A-4147-A177-3AD203B41FA5}">
                      <a16:colId xmlns:a16="http://schemas.microsoft.com/office/drawing/2014/main" val="860800738"/>
                    </a:ext>
                  </a:extLst>
                </a:gridCol>
                <a:gridCol w="1916559">
                  <a:extLst>
                    <a:ext uri="{9D8B030D-6E8A-4147-A177-3AD203B41FA5}">
                      <a16:colId xmlns:a16="http://schemas.microsoft.com/office/drawing/2014/main" val="3890161635"/>
                    </a:ext>
                  </a:extLst>
                </a:gridCol>
                <a:gridCol w="3502855">
                  <a:extLst>
                    <a:ext uri="{9D8B030D-6E8A-4147-A177-3AD203B41FA5}">
                      <a16:colId xmlns:a16="http://schemas.microsoft.com/office/drawing/2014/main" val="2658826809"/>
                    </a:ext>
                  </a:extLst>
                </a:gridCol>
                <a:gridCol w="2841673">
                  <a:extLst>
                    <a:ext uri="{9D8B030D-6E8A-4147-A177-3AD203B41FA5}">
                      <a16:colId xmlns:a16="http://schemas.microsoft.com/office/drawing/2014/main" val="1264386408"/>
                    </a:ext>
                  </a:extLst>
                </a:gridCol>
              </a:tblGrid>
              <a:tr h="645703">
                <a:tc>
                  <a:txBody>
                    <a:bodyPr/>
                    <a:lstStyle/>
                    <a:p>
                      <a:pPr fontAlgn="base"/>
                      <a:r>
                        <a:rPr lang="en-GB" sz="1600" kern="0" dirty="0">
                          <a:effectLst/>
                        </a:rPr>
                        <a:t>Key Partners </a:t>
                      </a:r>
                      <a:endParaRPr lang="sv-SE" sz="1600" kern="100" dirty="0">
                        <a:solidFill>
                          <a:srgbClr val="404040"/>
                        </a:solidFill>
                        <a:effectLst/>
                        <a:latin typeface="Liberation Serif"/>
                        <a:ea typeface="Noto Sans CJK SC"/>
                        <a:cs typeface="Lohit Devanagari"/>
                      </a:endParaRPr>
                    </a:p>
                  </a:txBody>
                  <a:tcPr marL="1114" marR="1114" marT="1114" marB="1114"/>
                </a:tc>
                <a:tc>
                  <a:txBody>
                    <a:bodyPr/>
                    <a:lstStyle/>
                    <a:p>
                      <a:pPr fontAlgn="base"/>
                      <a:r>
                        <a:rPr lang="en-GB" sz="1600" b="1" kern="0" dirty="0">
                          <a:solidFill>
                            <a:schemeClr val="bg1"/>
                          </a:solidFill>
                          <a:effectLst/>
                        </a:rPr>
                        <a:t>Key Activities </a:t>
                      </a:r>
                      <a:endParaRPr lang="sv-SE" sz="1600" b="1" kern="100" dirty="0">
                        <a:solidFill>
                          <a:schemeClr val="bg1"/>
                        </a:solidFill>
                        <a:effectLst/>
                        <a:latin typeface="Liberation Serif"/>
                        <a:ea typeface="Noto Sans CJK SC"/>
                        <a:cs typeface="Lohit Devanagari"/>
                      </a:endParaRPr>
                    </a:p>
                  </a:txBody>
                  <a:tcPr marL="1114" marR="1114" marT="1114" marB="1114">
                    <a:solidFill>
                      <a:schemeClr val="accent1"/>
                    </a:solidFill>
                  </a:tcPr>
                </a:tc>
                <a:tc gridSpan="2">
                  <a:txBody>
                    <a:bodyPr/>
                    <a:lstStyle/>
                    <a:p>
                      <a:pPr fontAlgn="base"/>
                      <a:r>
                        <a:rPr lang="en-GB" sz="1600" b="1" kern="0" dirty="0">
                          <a:solidFill>
                            <a:schemeClr val="bg1"/>
                          </a:solidFill>
                          <a:effectLst/>
                        </a:rPr>
                        <a:t>Value Proposition </a:t>
                      </a:r>
                      <a:endParaRPr lang="sv-SE" sz="1600" b="1" kern="100" dirty="0">
                        <a:solidFill>
                          <a:schemeClr val="bg1"/>
                        </a:solidFill>
                        <a:effectLst/>
                      </a:endParaRPr>
                    </a:p>
                    <a:p>
                      <a:pPr fontAlgn="base"/>
                      <a:r>
                        <a:rPr lang="en-GB" sz="1600" b="1" kern="0" dirty="0">
                          <a:solidFill>
                            <a:schemeClr val="bg1"/>
                          </a:solidFill>
                          <a:effectLst/>
                        </a:rPr>
                        <a:t> </a:t>
                      </a:r>
                      <a:endParaRPr lang="sv-SE" sz="1600" b="1" kern="100" dirty="0">
                        <a:solidFill>
                          <a:schemeClr val="bg1"/>
                        </a:solidFill>
                        <a:effectLst/>
                        <a:latin typeface="Liberation Serif"/>
                        <a:ea typeface="Noto Sans CJK SC"/>
                        <a:cs typeface="Lohit Devanagari"/>
                      </a:endParaRPr>
                    </a:p>
                  </a:txBody>
                  <a:tcPr marL="1114" marR="1114" marT="1114" marB="1114">
                    <a:solidFill>
                      <a:schemeClr val="accent1"/>
                    </a:solidFill>
                  </a:tcPr>
                </a:tc>
                <a:tc hMerge="1">
                  <a:txBody>
                    <a:bodyPr/>
                    <a:lstStyle/>
                    <a:p>
                      <a:endParaRPr lang="en-GB"/>
                    </a:p>
                  </a:txBody>
                  <a:tcPr/>
                </a:tc>
                <a:tc>
                  <a:txBody>
                    <a:bodyPr/>
                    <a:lstStyle/>
                    <a:p>
                      <a:r>
                        <a:rPr lang="en-GB" sz="1600" b="1" kern="0" dirty="0">
                          <a:solidFill>
                            <a:schemeClr val="bg1"/>
                          </a:solidFill>
                          <a:effectLst/>
                        </a:rPr>
                        <a:t>Customer Relationships </a:t>
                      </a:r>
                      <a:endParaRPr lang="en-GB" b="1" dirty="0">
                        <a:solidFill>
                          <a:schemeClr val="bg1"/>
                        </a:solidFill>
                      </a:endParaRPr>
                    </a:p>
                  </a:txBody>
                  <a:tcPr marL="1114" marR="1114" marT="1114" marB="1114">
                    <a:solidFill>
                      <a:schemeClr val="accent1"/>
                    </a:solidFill>
                  </a:tcPr>
                </a:tc>
                <a:tc>
                  <a:txBody>
                    <a:bodyPr/>
                    <a:lstStyle/>
                    <a:p>
                      <a:pPr fontAlgn="base"/>
                      <a:r>
                        <a:rPr lang="en-GB" sz="1600" b="1" kern="0" dirty="0">
                          <a:solidFill>
                            <a:schemeClr val="bg1"/>
                          </a:solidFill>
                          <a:effectLst/>
                        </a:rPr>
                        <a:t>Customer Segments </a:t>
                      </a:r>
                      <a:endParaRPr lang="sv-SE" sz="1600" b="1" kern="100" dirty="0">
                        <a:solidFill>
                          <a:schemeClr val="bg1"/>
                        </a:solidFill>
                        <a:effectLst/>
                        <a:latin typeface="Liberation Serif"/>
                        <a:ea typeface="Noto Sans CJK SC"/>
                        <a:cs typeface="Lohit Devanagari"/>
                      </a:endParaRPr>
                    </a:p>
                  </a:txBody>
                  <a:tcPr marL="1114" marR="1114" marT="1114" marB="1114">
                    <a:solidFill>
                      <a:schemeClr val="accent1"/>
                    </a:solidFill>
                  </a:tcPr>
                </a:tc>
                <a:extLst>
                  <a:ext uri="{0D108BD9-81ED-4DB2-BD59-A6C34878D82A}">
                    <a16:rowId xmlns:a16="http://schemas.microsoft.com/office/drawing/2014/main" val="4072493817"/>
                  </a:ext>
                </a:extLst>
              </a:tr>
              <a:tr h="1074865">
                <a:tc rowSpan="3">
                  <a: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GB" sz="1600" b="0" i="1" kern="1200" dirty="0">
                          <a:solidFill>
                            <a:schemeClr val="dk1"/>
                          </a:solidFill>
                          <a:effectLst/>
                          <a:latin typeface="+mn-lt"/>
                          <a:ea typeface="+mn-ea"/>
                          <a:cs typeface="+mn-cs"/>
                        </a:rPr>
                        <a:t>Partners that the organisation can’t do business without. This includes partnerships such as joint ventures and non-equity strategic alliances as well as typical relationships with buyers, suppliers, and strategic partners.</a:t>
                      </a:r>
                      <a:endParaRPr lang="sv-SE" sz="1600" b="0" i="1" kern="1200" dirty="0">
                        <a:solidFill>
                          <a:schemeClr val="dk1"/>
                        </a:solidFill>
                        <a:effectLst/>
                        <a:latin typeface="+mn-lt"/>
                        <a:ea typeface="+mn-ea"/>
                        <a:cs typeface="+mn-cs"/>
                      </a:endParaRPr>
                    </a:p>
                  </a:txBody>
                  <a:tcPr marL="1114" marR="1114" marT="1114" marB="1114">
                    <a:solidFill>
                      <a:schemeClr val="accent3">
                        <a:lumMod val="20000"/>
                        <a:lumOff val="80000"/>
                      </a:schemeClr>
                    </a:solidFill>
                  </a:tcPr>
                </a:tc>
                <a:tc>
                  <a:txBody>
                    <a:bodyPr/>
                    <a:lstStyle/>
                    <a:p>
                      <a:pPr fontAlgn="base"/>
                      <a:r>
                        <a:rPr lang="en-US" sz="1600" i="1" kern="1200" dirty="0">
                          <a:solidFill>
                            <a:schemeClr val="dk1"/>
                          </a:solidFill>
                          <a:effectLst/>
                          <a:latin typeface="+mn-lt"/>
                          <a:ea typeface="+mn-ea"/>
                          <a:cs typeface="+mn-cs"/>
                        </a:rPr>
                        <a:t>What does the </a:t>
                      </a:r>
                      <a:r>
                        <a:rPr lang="en-US" sz="1600" i="1" kern="1200" dirty="0" err="1">
                          <a:solidFill>
                            <a:schemeClr val="dk1"/>
                          </a:solidFill>
                          <a:effectLst/>
                          <a:latin typeface="+mn-lt"/>
                          <a:ea typeface="+mn-ea"/>
                          <a:cs typeface="+mn-cs"/>
                        </a:rPr>
                        <a:t>organisation</a:t>
                      </a:r>
                      <a:r>
                        <a:rPr lang="en-US" sz="1600" i="1" kern="1200" dirty="0">
                          <a:solidFill>
                            <a:schemeClr val="dk1"/>
                          </a:solidFill>
                          <a:effectLst/>
                          <a:latin typeface="+mn-lt"/>
                          <a:ea typeface="+mn-ea"/>
                          <a:cs typeface="+mn-cs"/>
                        </a:rPr>
                        <a:t> do every day to run its business? The areas that the </a:t>
                      </a:r>
                      <a:r>
                        <a:rPr lang="en-US" sz="1600" i="1" kern="1200" dirty="0" err="1">
                          <a:solidFill>
                            <a:schemeClr val="dk1"/>
                          </a:solidFill>
                          <a:effectLst/>
                          <a:latin typeface="+mn-lt"/>
                          <a:ea typeface="+mn-ea"/>
                          <a:cs typeface="+mn-cs"/>
                        </a:rPr>
                        <a:t>organisation</a:t>
                      </a:r>
                      <a:r>
                        <a:rPr lang="en-US" sz="1600" i="1" kern="1200" dirty="0">
                          <a:solidFill>
                            <a:schemeClr val="dk1"/>
                          </a:solidFill>
                          <a:effectLst/>
                          <a:latin typeface="+mn-lt"/>
                          <a:ea typeface="+mn-ea"/>
                          <a:cs typeface="+mn-cs"/>
                        </a:rPr>
                        <a:t> excels to create value for its customers.</a:t>
                      </a:r>
                      <a:endParaRPr lang="sv-SE" sz="1400" i="1" kern="100" dirty="0">
                        <a:solidFill>
                          <a:srgbClr val="404040"/>
                        </a:solidFill>
                        <a:effectLst/>
                        <a:latin typeface="Liberation Serif"/>
                        <a:ea typeface="Noto Sans CJK SC"/>
                        <a:cs typeface="Lohit Devanagari"/>
                      </a:endParaRPr>
                    </a:p>
                  </a:txBody>
                  <a:tcPr marL="1114" marR="1114" marT="1114" marB="1114">
                    <a:solidFill>
                      <a:schemeClr val="accent3">
                        <a:lumMod val="20000"/>
                        <a:lumOff val="80000"/>
                      </a:schemeClr>
                    </a:solidFill>
                  </a:tcPr>
                </a:tc>
                <a:tc rowSpan="3" gridSpan="2">
                  <a: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GB" sz="1600" i="1" kern="1200" dirty="0">
                          <a:solidFill>
                            <a:schemeClr val="dk1"/>
                          </a:solidFill>
                          <a:effectLst/>
                          <a:latin typeface="+mn-lt"/>
                          <a:ea typeface="+mn-ea"/>
                          <a:cs typeface="+mn-cs"/>
                        </a:rPr>
                        <a:t>What are the values the business provides to its customers and partners?</a:t>
                      </a:r>
                      <a:endParaRPr lang="sv-SE" sz="1600" i="1" kern="1200" dirty="0">
                        <a:solidFill>
                          <a:schemeClr val="dk1"/>
                        </a:solidFill>
                        <a:effectLst/>
                        <a:latin typeface="+mn-lt"/>
                        <a:ea typeface="+mn-ea"/>
                        <a:cs typeface="+mn-cs"/>
                      </a:endParaRPr>
                    </a:p>
                  </a:txBody>
                  <a:tcPr marL="1114" marR="1114" marT="1114" marB="1114">
                    <a:solidFill>
                      <a:schemeClr val="accent3">
                        <a:lumMod val="20000"/>
                        <a:lumOff val="80000"/>
                      </a:schemeClr>
                    </a:solidFill>
                  </a:tcPr>
                </a:tc>
                <a:tc rowSpan="3" hMerge="1">
                  <a:txBody>
                    <a:bodyPr/>
                    <a:lstStyle/>
                    <a:p>
                      <a:endParaRPr lang="en-GB"/>
                    </a:p>
                  </a:txBody>
                  <a:tcPr/>
                </a:tc>
                <a:tc>
                  <a: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GB" sz="1600" i="1" kern="1200" dirty="0">
                          <a:solidFill>
                            <a:schemeClr val="dk1"/>
                          </a:solidFill>
                          <a:effectLst/>
                          <a:latin typeface="+mn-lt"/>
                          <a:ea typeface="+mn-ea"/>
                          <a:cs typeface="+mn-cs"/>
                        </a:rPr>
                        <a:t>How does the organisation maintain customer relationship?</a:t>
                      </a:r>
                      <a:endParaRPr lang="sv-SE" sz="1600" i="1" kern="1200" dirty="0">
                        <a:solidFill>
                          <a:schemeClr val="dk1"/>
                        </a:solidFill>
                        <a:effectLst/>
                        <a:latin typeface="+mn-lt"/>
                        <a:ea typeface="+mn-ea"/>
                        <a:cs typeface="+mn-cs"/>
                      </a:endParaRPr>
                    </a:p>
                    <a:p>
                      <a:pPr fontAlgn="base"/>
                      <a:endParaRPr lang="sv-SE" sz="1600" kern="100" dirty="0">
                        <a:solidFill>
                          <a:srgbClr val="404040"/>
                        </a:solidFill>
                        <a:effectLst/>
                        <a:latin typeface="Liberation Serif"/>
                        <a:ea typeface="Noto Sans CJK SC"/>
                        <a:cs typeface="Lohit Devanagari"/>
                      </a:endParaRPr>
                    </a:p>
                  </a:txBody>
                  <a:tcPr marL="1114" marR="1114" marT="1114" marB="1114">
                    <a:solidFill>
                      <a:schemeClr val="accent3">
                        <a:lumMod val="20000"/>
                        <a:lumOff val="80000"/>
                      </a:schemeClr>
                    </a:solidFill>
                  </a:tcPr>
                </a:tc>
                <a:tc rowSpan="3">
                  <a: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GB" sz="1600" i="1" kern="1200" dirty="0">
                          <a:solidFill>
                            <a:schemeClr val="dk1"/>
                          </a:solidFill>
                          <a:effectLst/>
                          <a:latin typeface="+mn-lt"/>
                          <a:ea typeface="+mn-ea"/>
                          <a:cs typeface="+mn-cs"/>
                        </a:rPr>
                        <a:t>Who are the customers? Who are the people the business is aiming at?</a:t>
                      </a:r>
                      <a:endParaRPr lang="sv-SE" sz="1600" i="1" kern="1200" dirty="0">
                        <a:solidFill>
                          <a:schemeClr val="dk1"/>
                        </a:solidFill>
                        <a:effectLst/>
                        <a:latin typeface="+mn-lt"/>
                        <a:ea typeface="+mn-ea"/>
                        <a:cs typeface="+mn-cs"/>
                      </a:endParaRPr>
                    </a:p>
                  </a:txBody>
                  <a:tcPr marL="1114" marR="1114" marT="1114" marB="1114">
                    <a:solidFill>
                      <a:schemeClr val="accent3">
                        <a:lumMod val="20000"/>
                        <a:lumOff val="80000"/>
                      </a:schemeClr>
                    </a:solidFill>
                  </a:tcPr>
                </a:tc>
                <a:extLst>
                  <a:ext uri="{0D108BD9-81ED-4DB2-BD59-A6C34878D82A}">
                    <a16:rowId xmlns:a16="http://schemas.microsoft.com/office/drawing/2014/main" val="3334709605"/>
                  </a:ext>
                </a:extLst>
              </a:tr>
              <a:tr h="216542">
                <a:tc vMerge="1">
                  <a:txBody>
                    <a:bodyPr/>
                    <a:lstStyle/>
                    <a:p>
                      <a:endParaRPr lang="en-GB"/>
                    </a:p>
                  </a:txBody>
                  <a:tcPr/>
                </a:tc>
                <a:tc>
                  <a:txBody>
                    <a:bodyPr/>
                    <a:lstStyle/>
                    <a:p>
                      <a:pPr fontAlgn="base"/>
                      <a:r>
                        <a:rPr lang="en-GB" sz="1600" b="1" kern="0" dirty="0">
                          <a:solidFill>
                            <a:schemeClr val="bg1"/>
                          </a:solidFill>
                          <a:effectLst/>
                        </a:rPr>
                        <a:t>Key Resources </a:t>
                      </a:r>
                      <a:endParaRPr lang="sv-SE" sz="1600" b="1" kern="100" dirty="0">
                        <a:solidFill>
                          <a:schemeClr val="bg1"/>
                        </a:solidFill>
                        <a:effectLst/>
                        <a:latin typeface="Liberation Serif"/>
                        <a:ea typeface="Noto Sans CJK SC"/>
                        <a:cs typeface="Lohit Devanagari"/>
                      </a:endParaRPr>
                    </a:p>
                  </a:txBody>
                  <a:tcPr marL="1114" marR="1114" marT="1114" marB="1114">
                    <a:solidFill>
                      <a:schemeClr val="accent1"/>
                    </a:solidFill>
                  </a:tcPr>
                </a:tc>
                <a:tc gridSpan="2" vMerge="1">
                  <a:txBody>
                    <a:bodyPr/>
                    <a:lstStyle/>
                    <a:p>
                      <a:endParaRPr lang="en-GB"/>
                    </a:p>
                  </a:txBody>
                  <a:tcPr/>
                </a:tc>
                <a:tc hMerge="1" vMerge="1">
                  <a:txBody>
                    <a:bodyPr/>
                    <a:lstStyle/>
                    <a:p>
                      <a:endParaRPr lang="en-GB"/>
                    </a:p>
                  </a:txBody>
                  <a:tcPr/>
                </a:tc>
                <a:tc>
                  <a:txBody>
                    <a:bodyPr/>
                    <a:lstStyle/>
                    <a:p>
                      <a:pPr fontAlgn="base"/>
                      <a:r>
                        <a:rPr lang="en-GB" sz="1600" b="1" kern="0" dirty="0">
                          <a:solidFill>
                            <a:schemeClr val="bg1"/>
                          </a:solidFill>
                          <a:effectLst/>
                        </a:rPr>
                        <a:t>Channels </a:t>
                      </a:r>
                    </a:p>
                    <a:p>
                      <a:pPr fontAlgn="base"/>
                      <a:endParaRPr lang="en-GB" sz="1600" b="1" kern="0" dirty="0">
                        <a:solidFill>
                          <a:schemeClr val="bg1"/>
                        </a:solidFill>
                        <a:effectLst/>
                        <a:latin typeface="Liberation Serif"/>
                        <a:ea typeface="Noto Sans CJK SC"/>
                        <a:cs typeface="Lohit Devanagari"/>
                      </a:endParaRPr>
                    </a:p>
                    <a:p>
                      <a:pPr fontAlgn="base"/>
                      <a:endParaRPr lang="sv-SE" sz="1600" b="1" kern="100" dirty="0">
                        <a:solidFill>
                          <a:schemeClr val="bg1"/>
                        </a:solidFill>
                        <a:effectLst/>
                        <a:latin typeface="Liberation Serif"/>
                        <a:ea typeface="Noto Sans CJK SC"/>
                        <a:cs typeface="Lohit Devanagari"/>
                      </a:endParaRPr>
                    </a:p>
                  </a:txBody>
                  <a:tcPr marL="1114" marR="1114" marT="1114" marB="1114">
                    <a:solidFill>
                      <a:schemeClr val="accent1"/>
                    </a:solidFill>
                  </a:tcPr>
                </a:tc>
                <a:tc vMerge="1">
                  <a:txBody>
                    <a:bodyPr/>
                    <a:lstStyle/>
                    <a:p>
                      <a:endParaRPr lang="en-GB"/>
                    </a:p>
                  </a:txBody>
                  <a:tcPr/>
                </a:tc>
                <a:extLst>
                  <a:ext uri="{0D108BD9-81ED-4DB2-BD59-A6C34878D82A}">
                    <a16:rowId xmlns:a16="http://schemas.microsoft.com/office/drawing/2014/main" val="2587219525"/>
                  </a:ext>
                </a:extLst>
              </a:tr>
              <a:tr h="779038">
                <a:tc vMerge="1">
                  <a:txBody>
                    <a:bodyPr/>
                    <a:lstStyle/>
                    <a:p>
                      <a:endParaRPr lang="en-GB"/>
                    </a:p>
                  </a:txBody>
                  <a:tcPr/>
                </a:tc>
                <a:tc>
                  <a: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GB" sz="1600" i="1" kern="1200" dirty="0">
                          <a:solidFill>
                            <a:schemeClr val="dk1"/>
                          </a:solidFill>
                          <a:effectLst/>
                          <a:latin typeface="+mn-lt"/>
                          <a:ea typeface="+mn-ea"/>
                          <a:cs typeface="+mn-cs"/>
                        </a:rPr>
                        <a:t>What unique strategic assets must the business have to compete? The people, knowledge, means, and money that the organisation needs to run its business, they can be: physical resources, intellectual resources, human resources, financial resources or other type of resources.</a:t>
                      </a:r>
                      <a:endParaRPr lang="sv-SE" sz="1600" i="1" kern="1200" dirty="0">
                        <a:solidFill>
                          <a:schemeClr val="dk1"/>
                        </a:solidFill>
                        <a:effectLst/>
                        <a:latin typeface="+mn-lt"/>
                        <a:ea typeface="+mn-ea"/>
                        <a:cs typeface="+mn-cs"/>
                      </a:endParaRPr>
                    </a:p>
                  </a:txBody>
                  <a:tcPr marL="1114" marR="1114" marT="1114" marB="1114">
                    <a:solidFill>
                      <a:schemeClr val="accent3">
                        <a:lumMod val="20000"/>
                        <a:lumOff val="80000"/>
                      </a:schemeClr>
                    </a:solidFill>
                  </a:tcPr>
                </a:tc>
                <a:tc gridSpan="2" vMerge="1">
                  <a:txBody>
                    <a:bodyPr/>
                    <a:lstStyle/>
                    <a:p>
                      <a:endParaRPr lang="en-GB"/>
                    </a:p>
                  </a:txBody>
                  <a:tcPr/>
                </a:tc>
                <a:tc hMerge="1" vMerge="1">
                  <a:txBody>
                    <a:bodyPr/>
                    <a:lstStyle/>
                    <a:p>
                      <a:endParaRPr lang="en-GB"/>
                    </a:p>
                  </a:txBody>
                  <a:tcPr/>
                </a:tc>
                <a:tc>
                  <a: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GB" sz="1600" i="1" kern="1200" dirty="0">
                          <a:solidFill>
                            <a:schemeClr val="dk1"/>
                          </a:solidFill>
                          <a:effectLst/>
                          <a:latin typeface="+mn-lt"/>
                          <a:ea typeface="+mn-ea"/>
                          <a:cs typeface="+mn-cs"/>
                        </a:rPr>
                        <a:t>How are values promoted, sold and delivered? What are the communication channels with the customers (partners)?  This includes both the channels that customers want to communicate with the organisation as well as how they receive the products and/or services.</a:t>
                      </a:r>
                    </a:p>
                  </a:txBody>
                  <a:tcPr marL="1114" marR="1114" marT="1114" marB="1114">
                    <a:solidFill>
                      <a:schemeClr val="accent3">
                        <a:lumMod val="20000"/>
                        <a:lumOff val="80000"/>
                      </a:schemeClr>
                    </a:solidFill>
                  </a:tcPr>
                </a:tc>
                <a:tc vMerge="1">
                  <a:txBody>
                    <a:bodyPr/>
                    <a:lstStyle/>
                    <a:p>
                      <a:endParaRPr lang="en-GB"/>
                    </a:p>
                  </a:txBody>
                  <a:tcPr/>
                </a:tc>
                <a:extLst>
                  <a:ext uri="{0D108BD9-81ED-4DB2-BD59-A6C34878D82A}">
                    <a16:rowId xmlns:a16="http://schemas.microsoft.com/office/drawing/2014/main" val="1673436252"/>
                  </a:ext>
                </a:extLst>
              </a:tr>
              <a:tr h="629200">
                <a:tc gridSpan="3">
                  <a:txBody>
                    <a:bodyPr/>
                    <a:lstStyle/>
                    <a:p>
                      <a:pPr fontAlgn="base"/>
                      <a:r>
                        <a:rPr lang="en-GB" sz="1600" b="1" kern="0" dirty="0">
                          <a:solidFill>
                            <a:schemeClr val="bg1"/>
                          </a:solidFill>
                          <a:effectLst/>
                        </a:rPr>
                        <a:t>Cost Structure </a:t>
                      </a:r>
                    </a:p>
                    <a:p>
                      <a:pPr fontAlgn="base"/>
                      <a:endParaRPr lang="sv-SE" sz="1600" b="1" kern="100" dirty="0">
                        <a:solidFill>
                          <a:schemeClr val="bg1"/>
                        </a:solidFill>
                        <a:effectLst/>
                      </a:endParaRPr>
                    </a:p>
                  </a:txBody>
                  <a:tcPr marL="1114" marR="1114" marT="1114" marB="1114"/>
                </a:tc>
                <a:tc hMerge="1">
                  <a:txBody>
                    <a:bodyPr/>
                    <a:lstStyle/>
                    <a:p>
                      <a:endParaRPr lang="en-GB"/>
                    </a:p>
                  </a:txBody>
                  <a:tcPr/>
                </a:tc>
                <a:tc hMerge="1">
                  <a:txBody>
                    <a:bodyPr/>
                    <a:lstStyle/>
                    <a:p>
                      <a:endParaRPr lang="en-GB"/>
                    </a:p>
                  </a:txBody>
                  <a:tcPr/>
                </a:tc>
                <a:tc gridSpan="3">
                  <a:txBody>
                    <a:bodyPr/>
                    <a:lstStyle/>
                    <a:p>
                      <a:pPr fontAlgn="base"/>
                      <a:r>
                        <a:rPr lang="en-GB" sz="1600" b="1" kern="0" dirty="0">
                          <a:solidFill>
                            <a:schemeClr val="bg1"/>
                          </a:solidFill>
                          <a:effectLst/>
                        </a:rPr>
                        <a:t>Revenue Streams </a:t>
                      </a:r>
                    </a:p>
                    <a:p>
                      <a:pPr fontAlgn="base"/>
                      <a:endParaRPr lang="en-GB" sz="1600" b="1" kern="0" dirty="0">
                        <a:solidFill>
                          <a:schemeClr val="bg1"/>
                        </a:solidFill>
                        <a:effectLst/>
                      </a:endParaRPr>
                    </a:p>
                    <a:p>
                      <a:pPr fontAlgn="base"/>
                      <a:endParaRPr lang="sv-SE" sz="1600" b="1" kern="100" dirty="0">
                        <a:solidFill>
                          <a:schemeClr val="bg1"/>
                        </a:solidFill>
                        <a:effectLst/>
                      </a:endParaRPr>
                    </a:p>
                  </a:txBody>
                  <a:tcPr marL="1114" marR="1114" marT="1114" marB="1114">
                    <a:solidFill>
                      <a:schemeClr val="accent1"/>
                    </a:solidFill>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2457363146"/>
                  </a:ext>
                </a:extLst>
              </a:tr>
              <a:tr h="1074865">
                <a:tc gridSpan="3">
                  <a:txBody>
                    <a:bodyPr/>
                    <a:lstStyle/>
                    <a:p>
                      <a:pPr fontAlgn="base"/>
                      <a:r>
                        <a:rPr lang="en-US" sz="1600" b="0" i="1" kern="1200" dirty="0">
                          <a:solidFill>
                            <a:schemeClr val="tx1"/>
                          </a:solidFill>
                          <a:effectLst/>
                          <a:latin typeface="+mn-lt"/>
                          <a:ea typeface="+mn-ea"/>
                          <a:cs typeface="+mn-cs"/>
                        </a:rPr>
                        <a:t>What are the major costs of the </a:t>
                      </a:r>
                      <a:r>
                        <a:rPr lang="en-US" sz="1600" b="0" i="1" kern="1200" dirty="0" err="1">
                          <a:solidFill>
                            <a:schemeClr val="tx1"/>
                          </a:solidFill>
                          <a:effectLst/>
                          <a:latin typeface="+mn-lt"/>
                          <a:ea typeface="+mn-ea"/>
                          <a:cs typeface="+mn-cs"/>
                        </a:rPr>
                        <a:t>organisation's</a:t>
                      </a:r>
                      <a:r>
                        <a:rPr lang="en-US" sz="1600" b="0" i="1" kern="1200" dirty="0">
                          <a:solidFill>
                            <a:schemeClr val="tx1"/>
                          </a:solidFill>
                          <a:effectLst/>
                          <a:latin typeface="+mn-lt"/>
                          <a:ea typeface="+mn-ea"/>
                          <a:cs typeface="+mn-cs"/>
                        </a:rPr>
                        <a:t> activities and resources?</a:t>
                      </a:r>
                      <a:endParaRPr lang="sv-SE" sz="1400" b="0" i="1" kern="100" dirty="0">
                        <a:solidFill>
                          <a:schemeClr val="tx1"/>
                        </a:solidFill>
                        <a:effectLst/>
                        <a:latin typeface="Liberation Serif"/>
                        <a:ea typeface="Noto Sans CJK SC"/>
                        <a:cs typeface="Lohit Devanagari"/>
                      </a:endParaRPr>
                    </a:p>
                  </a:txBody>
                  <a:tcPr marL="1114" marR="1114" marT="1114" marB="1114">
                    <a:solidFill>
                      <a:schemeClr val="accent3">
                        <a:lumMod val="20000"/>
                        <a:lumOff val="80000"/>
                      </a:schemeClr>
                    </a:solidFill>
                  </a:tcPr>
                </a:tc>
                <a:tc hMerge="1">
                  <a:txBody>
                    <a:bodyPr/>
                    <a:lstStyle/>
                    <a:p>
                      <a:endParaRPr lang="en-GB"/>
                    </a:p>
                  </a:txBody>
                  <a:tcPr/>
                </a:tc>
                <a:tc hMerge="1">
                  <a:txBody>
                    <a:bodyPr/>
                    <a:lstStyle/>
                    <a:p>
                      <a:endParaRPr lang="en-GB"/>
                    </a:p>
                  </a:txBody>
                  <a:tcPr/>
                </a:tc>
                <a:tc gridSpan="3">
                  <a: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GB" sz="1600" i="1" kern="1200" dirty="0">
                          <a:solidFill>
                            <a:schemeClr val="dk1"/>
                          </a:solidFill>
                          <a:effectLst/>
                          <a:latin typeface="+mn-lt"/>
                          <a:ea typeface="+mn-ea"/>
                          <a:cs typeface="+mn-cs"/>
                        </a:rPr>
                        <a:t>How does the business earn revenue from the value propositions?</a:t>
                      </a:r>
                      <a:endParaRPr lang="sv-SE" sz="1600" i="1" kern="1200" dirty="0">
                        <a:solidFill>
                          <a:schemeClr val="dk1"/>
                        </a:solidFill>
                        <a:effectLst/>
                        <a:latin typeface="+mn-lt"/>
                        <a:ea typeface="+mn-ea"/>
                        <a:cs typeface="+mn-cs"/>
                      </a:endParaRPr>
                    </a:p>
                    <a:p>
                      <a:pPr fontAlgn="base"/>
                      <a:endParaRPr lang="sv-SE" sz="1400" i="1" kern="100" dirty="0">
                        <a:solidFill>
                          <a:srgbClr val="404040"/>
                        </a:solidFill>
                        <a:effectLst/>
                        <a:latin typeface="Liberation Serif"/>
                        <a:ea typeface="Noto Sans CJK SC"/>
                        <a:cs typeface="Lohit Devanagari"/>
                      </a:endParaRPr>
                    </a:p>
                  </a:txBody>
                  <a:tcPr marL="1114" marR="1114" marT="1114" marB="1114">
                    <a:solidFill>
                      <a:schemeClr val="accent3">
                        <a:lumMod val="20000"/>
                        <a:lumOff val="80000"/>
                      </a:schemeClr>
                    </a:solidFill>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431393471"/>
                  </a:ext>
                </a:extLst>
              </a:tr>
            </a:tbl>
          </a:graphicData>
        </a:graphic>
      </p:graphicFrame>
      <p:grpSp>
        <p:nvGrpSpPr>
          <p:cNvPr id="7" name="Bild 18" descr="Fabrik kontur">
            <a:extLst>
              <a:ext uri="{FF2B5EF4-FFF2-40B4-BE49-F238E27FC236}">
                <a16:creationId xmlns:a16="http://schemas.microsoft.com/office/drawing/2014/main" id="{D3CDAB3B-6B33-37A9-E930-BDB49F85C0FB}"/>
              </a:ext>
            </a:extLst>
          </p:cNvPr>
          <p:cNvGrpSpPr/>
          <p:nvPr/>
        </p:nvGrpSpPr>
        <p:grpSpPr>
          <a:xfrm>
            <a:off x="6549529" y="4275832"/>
            <a:ext cx="500675" cy="500675"/>
            <a:chOff x="5846141" y="4275832"/>
            <a:chExt cx="500675" cy="500675"/>
          </a:xfrm>
          <a:solidFill>
            <a:schemeClr val="bg1"/>
          </a:solidFill>
        </p:grpSpPr>
        <p:sp>
          <p:nvSpPr>
            <p:cNvPr id="8" name="Frihandsfigur: Form 7">
              <a:extLst>
                <a:ext uri="{FF2B5EF4-FFF2-40B4-BE49-F238E27FC236}">
                  <a16:creationId xmlns:a16="http://schemas.microsoft.com/office/drawing/2014/main" id="{013CCFC9-8AE2-CA0A-7E46-767939482E9F}"/>
                </a:ext>
              </a:extLst>
            </p:cNvPr>
            <p:cNvSpPr/>
            <p:nvPr/>
          </p:nvSpPr>
          <p:spPr>
            <a:xfrm>
              <a:off x="5846141" y="4275832"/>
              <a:ext cx="500675" cy="500675"/>
            </a:xfrm>
            <a:custGeom>
              <a:avLst/>
              <a:gdLst>
                <a:gd name="connsiteX0" fmla="*/ 307558 w 500675"/>
                <a:gd name="connsiteY0" fmla="*/ 288639 h 500675"/>
                <a:gd name="connsiteX1" fmla="*/ 307558 w 500675"/>
                <a:gd name="connsiteY1" fmla="*/ 188504 h 500675"/>
                <a:gd name="connsiteX2" fmla="*/ 113632 w 500675"/>
                <a:gd name="connsiteY2" fmla="*/ 289061 h 500675"/>
                <a:gd name="connsiteX3" fmla="*/ 92482 w 500675"/>
                <a:gd name="connsiteY3" fmla="*/ 0 h 500675"/>
                <a:gd name="connsiteX4" fmla="*/ 21958 w 500675"/>
                <a:gd name="connsiteY4" fmla="*/ 0 h 500675"/>
                <a:gd name="connsiteX5" fmla="*/ 0 w 500675"/>
                <a:gd name="connsiteY5" fmla="*/ 300405 h 500675"/>
                <a:gd name="connsiteX6" fmla="*/ 0 w 500675"/>
                <a:gd name="connsiteY6" fmla="*/ 500675 h 500675"/>
                <a:gd name="connsiteX7" fmla="*/ 500675 w 500675"/>
                <a:gd name="connsiteY7" fmla="*/ 500675 h 500675"/>
                <a:gd name="connsiteX8" fmla="*/ 500675 w 500675"/>
                <a:gd name="connsiteY8" fmla="*/ 188504 h 500675"/>
                <a:gd name="connsiteX9" fmla="*/ 79178 w 500675"/>
                <a:gd name="connsiteY9" fmla="*/ 14305 h 500675"/>
                <a:gd name="connsiteX10" fmla="*/ 81796 w 500675"/>
                <a:gd name="connsiteY10" fmla="*/ 50068 h 500675"/>
                <a:gd name="connsiteX11" fmla="*/ 32644 w 500675"/>
                <a:gd name="connsiteY11" fmla="*/ 50068 h 500675"/>
                <a:gd name="connsiteX12" fmla="*/ 35262 w 500675"/>
                <a:gd name="connsiteY12" fmla="*/ 14305 h 500675"/>
                <a:gd name="connsiteX13" fmla="*/ 31593 w 500675"/>
                <a:gd name="connsiteY13" fmla="*/ 64373 h 500675"/>
                <a:gd name="connsiteX14" fmla="*/ 82847 w 500675"/>
                <a:gd name="connsiteY14" fmla="*/ 64373 h 500675"/>
                <a:gd name="connsiteX15" fmla="*/ 99591 w 500675"/>
                <a:gd name="connsiteY15" fmla="*/ 293253 h 500675"/>
                <a:gd name="connsiteX16" fmla="*/ 14849 w 500675"/>
                <a:gd name="connsiteY16" fmla="*/ 293253 h 500675"/>
                <a:gd name="connsiteX17" fmla="*/ 109433 w 500675"/>
                <a:gd name="connsiteY17" fmla="*/ 307336 h 500675"/>
                <a:gd name="connsiteX18" fmla="*/ 293253 w 500675"/>
                <a:gd name="connsiteY18" fmla="*/ 212036 h 500675"/>
                <a:gd name="connsiteX19" fmla="*/ 293253 w 500675"/>
                <a:gd name="connsiteY19" fmla="*/ 312171 h 500675"/>
                <a:gd name="connsiteX20" fmla="*/ 486370 w 500675"/>
                <a:gd name="connsiteY20" fmla="*/ 212036 h 500675"/>
                <a:gd name="connsiteX21" fmla="*/ 486370 w 500675"/>
                <a:gd name="connsiteY21" fmla="*/ 486370 h 500675"/>
                <a:gd name="connsiteX22" fmla="*/ 14305 w 500675"/>
                <a:gd name="connsiteY22" fmla="*/ 486370 h 500675"/>
                <a:gd name="connsiteX23" fmla="*/ 14305 w 500675"/>
                <a:gd name="connsiteY23" fmla="*/ 307558 h 500675"/>
                <a:gd name="connsiteX24" fmla="*/ 100636 w 500675"/>
                <a:gd name="connsiteY24" fmla="*/ 307558 h 500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00675" h="500675">
                  <a:moveTo>
                    <a:pt x="307558" y="288639"/>
                  </a:moveTo>
                  <a:lnTo>
                    <a:pt x="307558" y="188504"/>
                  </a:lnTo>
                  <a:lnTo>
                    <a:pt x="113632" y="289061"/>
                  </a:lnTo>
                  <a:lnTo>
                    <a:pt x="92482" y="0"/>
                  </a:lnTo>
                  <a:lnTo>
                    <a:pt x="21958" y="0"/>
                  </a:lnTo>
                  <a:lnTo>
                    <a:pt x="0" y="300405"/>
                  </a:lnTo>
                  <a:lnTo>
                    <a:pt x="0" y="500675"/>
                  </a:lnTo>
                  <a:lnTo>
                    <a:pt x="500675" y="500675"/>
                  </a:lnTo>
                  <a:lnTo>
                    <a:pt x="500675" y="188504"/>
                  </a:lnTo>
                  <a:close/>
                  <a:moveTo>
                    <a:pt x="79178" y="14305"/>
                  </a:moveTo>
                  <a:lnTo>
                    <a:pt x="81796" y="50068"/>
                  </a:lnTo>
                  <a:lnTo>
                    <a:pt x="32644" y="50068"/>
                  </a:lnTo>
                  <a:lnTo>
                    <a:pt x="35262" y="14305"/>
                  </a:lnTo>
                  <a:close/>
                  <a:moveTo>
                    <a:pt x="31593" y="64373"/>
                  </a:moveTo>
                  <a:lnTo>
                    <a:pt x="82847" y="64373"/>
                  </a:lnTo>
                  <a:lnTo>
                    <a:pt x="99591" y="293253"/>
                  </a:lnTo>
                  <a:lnTo>
                    <a:pt x="14849" y="293253"/>
                  </a:lnTo>
                  <a:close/>
                  <a:moveTo>
                    <a:pt x="109433" y="307336"/>
                  </a:moveTo>
                  <a:lnTo>
                    <a:pt x="293253" y="212036"/>
                  </a:lnTo>
                  <a:lnTo>
                    <a:pt x="293253" y="312171"/>
                  </a:lnTo>
                  <a:lnTo>
                    <a:pt x="486370" y="212036"/>
                  </a:lnTo>
                  <a:lnTo>
                    <a:pt x="486370" y="486370"/>
                  </a:lnTo>
                  <a:lnTo>
                    <a:pt x="14305" y="486370"/>
                  </a:lnTo>
                  <a:lnTo>
                    <a:pt x="14305" y="307558"/>
                  </a:lnTo>
                  <a:lnTo>
                    <a:pt x="100636" y="307558"/>
                  </a:lnTo>
                  <a:close/>
                </a:path>
              </a:pathLst>
            </a:custGeom>
            <a:solidFill>
              <a:schemeClr val="bg1"/>
            </a:solidFill>
            <a:ln w="7144" cap="flat">
              <a:solidFill>
                <a:schemeClr val="bg1"/>
              </a:solidFill>
              <a:prstDash val="solid"/>
              <a:miter/>
            </a:ln>
          </p:spPr>
          <p:txBody>
            <a:bodyPr rtlCol="0" anchor="ctr"/>
            <a:lstStyle/>
            <a:p>
              <a:endParaRPr lang="en-GB"/>
            </a:p>
          </p:txBody>
        </p:sp>
        <p:sp>
          <p:nvSpPr>
            <p:cNvPr id="9" name="Frihandsfigur: Form 8">
              <a:extLst>
                <a:ext uri="{FF2B5EF4-FFF2-40B4-BE49-F238E27FC236}">
                  <a16:creationId xmlns:a16="http://schemas.microsoft.com/office/drawing/2014/main" id="{C9C88383-F492-2648-7F7A-ADE70631DB0E}"/>
                </a:ext>
              </a:extLst>
            </p:cNvPr>
            <p:cNvSpPr/>
            <p:nvPr/>
          </p:nvSpPr>
          <p:spPr>
            <a:xfrm>
              <a:off x="5896209" y="4647762"/>
              <a:ext cx="114440" cy="71525"/>
            </a:xfrm>
            <a:custGeom>
              <a:avLst/>
              <a:gdLst>
                <a:gd name="connsiteX0" fmla="*/ 0 w 114440"/>
                <a:gd name="connsiteY0" fmla="*/ 71525 h 71525"/>
                <a:gd name="connsiteX1" fmla="*/ 114440 w 114440"/>
                <a:gd name="connsiteY1" fmla="*/ 71525 h 71525"/>
                <a:gd name="connsiteX2" fmla="*/ 114440 w 114440"/>
                <a:gd name="connsiteY2" fmla="*/ 0 h 71525"/>
                <a:gd name="connsiteX3" fmla="*/ 0 w 114440"/>
                <a:gd name="connsiteY3" fmla="*/ 0 h 71525"/>
                <a:gd name="connsiteX4" fmla="*/ 100135 w 114440"/>
                <a:gd name="connsiteY4" fmla="*/ 57220 h 71525"/>
                <a:gd name="connsiteX5" fmla="*/ 64373 w 114440"/>
                <a:gd name="connsiteY5" fmla="*/ 57220 h 71525"/>
                <a:gd name="connsiteX6" fmla="*/ 64373 w 114440"/>
                <a:gd name="connsiteY6" fmla="*/ 14305 h 71525"/>
                <a:gd name="connsiteX7" fmla="*/ 100135 w 114440"/>
                <a:gd name="connsiteY7" fmla="*/ 14305 h 71525"/>
                <a:gd name="connsiteX8" fmla="*/ 14305 w 114440"/>
                <a:gd name="connsiteY8" fmla="*/ 14305 h 71525"/>
                <a:gd name="connsiteX9" fmla="*/ 50068 w 114440"/>
                <a:gd name="connsiteY9" fmla="*/ 14305 h 71525"/>
                <a:gd name="connsiteX10" fmla="*/ 50068 w 114440"/>
                <a:gd name="connsiteY10" fmla="*/ 57220 h 71525"/>
                <a:gd name="connsiteX11" fmla="*/ 14305 w 114440"/>
                <a:gd name="connsiteY11" fmla="*/ 57220 h 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4440" h="71525">
                  <a:moveTo>
                    <a:pt x="0" y="71525"/>
                  </a:moveTo>
                  <a:lnTo>
                    <a:pt x="114440" y="71525"/>
                  </a:lnTo>
                  <a:lnTo>
                    <a:pt x="114440" y="0"/>
                  </a:lnTo>
                  <a:lnTo>
                    <a:pt x="0" y="0"/>
                  </a:lnTo>
                  <a:close/>
                  <a:moveTo>
                    <a:pt x="100135" y="57220"/>
                  </a:moveTo>
                  <a:lnTo>
                    <a:pt x="64373" y="57220"/>
                  </a:lnTo>
                  <a:lnTo>
                    <a:pt x="64373" y="14305"/>
                  </a:lnTo>
                  <a:lnTo>
                    <a:pt x="100135" y="14305"/>
                  </a:lnTo>
                  <a:close/>
                  <a:moveTo>
                    <a:pt x="14305" y="14305"/>
                  </a:moveTo>
                  <a:lnTo>
                    <a:pt x="50068" y="14305"/>
                  </a:lnTo>
                  <a:lnTo>
                    <a:pt x="50068" y="57220"/>
                  </a:lnTo>
                  <a:lnTo>
                    <a:pt x="14305" y="57220"/>
                  </a:lnTo>
                  <a:close/>
                </a:path>
              </a:pathLst>
            </a:custGeom>
            <a:solidFill>
              <a:schemeClr val="bg1"/>
            </a:solidFill>
            <a:ln w="7144" cap="flat">
              <a:solidFill>
                <a:schemeClr val="bg1"/>
              </a:solidFill>
              <a:prstDash val="solid"/>
              <a:miter/>
            </a:ln>
          </p:spPr>
          <p:txBody>
            <a:bodyPr rtlCol="0" anchor="ctr"/>
            <a:lstStyle/>
            <a:p>
              <a:endParaRPr lang="en-GB"/>
            </a:p>
          </p:txBody>
        </p:sp>
        <p:sp>
          <p:nvSpPr>
            <p:cNvPr id="10" name="Frihandsfigur: Form 9">
              <a:extLst>
                <a:ext uri="{FF2B5EF4-FFF2-40B4-BE49-F238E27FC236}">
                  <a16:creationId xmlns:a16="http://schemas.microsoft.com/office/drawing/2014/main" id="{8B7CE92C-7365-578D-4B6C-672C025CDEA9}"/>
                </a:ext>
              </a:extLst>
            </p:cNvPr>
            <p:cNvSpPr/>
            <p:nvPr/>
          </p:nvSpPr>
          <p:spPr>
            <a:xfrm>
              <a:off x="6039259" y="4647762"/>
              <a:ext cx="114440" cy="71525"/>
            </a:xfrm>
            <a:custGeom>
              <a:avLst/>
              <a:gdLst>
                <a:gd name="connsiteX0" fmla="*/ 0 w 114440"/>
                <a:gd name="connsiteY0" fmla="*/ 71525 h 71525"/>
                <a:gd name="connsiteX1" fmla="*/ 114440 w 114440"/>
                <a:gd name="connsiteY1" fmla="*/ 71525 h 71525"/>
                <a:gd name="connsiteX2" fmla="*/ 114440 w 114440"/>
                <a:gd name="connsiteY2" fmla="*/ 0 h 71525"/>
                <a:gd name="connsiteX3" fmla="*/ 0 w 114440"/>
                <a:gd name="connsiteY3" fmla="*/ 0 h 71525"/>
                <a:gd name="connsiteX4" fmla="*/ 100135 w 114440"/>
                <a:gd name="connsiteY4" fmla="*/ 57220 h 71525"/>
                <a:gd name="connsiteX5" fmla="*/ 64373 w 114440"/>
                <a:gd name="connsiteY5" fmla="*/ 57220 h 71525"/>
                <a:gd name="connsiteX6" fmla="*/ 64373 w 114440"/>
                <a:gd name="connsiteY6" fmla="*/ 14305 h 71525"/>
                <a:gd name="connsiteX7" fmla="*/ 100135 w 114440"/>
                <a:gd name="connsiteY7" fmla="*/ 14305 h 71525"/>
                <a:gd name="connsiteX8" fmla="*/ 14305 w 114440"/>
                <a:gd name="connsiteY8" fmla="*/ 14305 h 71525"/>
                <a:gd name="connsiteX9" fmla="*/ 50068 w 114440"/>
                <a:gd name="connsiteY9" fmla="*/ 14305 h 71525"/>
                <a:gd name="connsiteX10" fmla="*/ 50068 w 114440"/>
                <a:gd name="connsiteY10" fmla="*/ 57220 h 71525"/>
                <a:gd name="connsiteX11" fmla="*/ 14305 w 114440"/>
                <a:gd name="connsiteY11" fmla="*/ 57220 h 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4440" h="71525">
                  <a:moveTo>
                    <a:pt x="0" y="71525"/>
                  </a:moveTo>
                  <a:lnTo>
                    <a:pt x="114440" y="71525"/>
                  </a:lnTo>
                  <a:lnTo>
                    <a:pt x="114440" y="0"/>
                  </a:lnTo>
                  <a:lnTo>
                    <a:pt x="0" y="0"/>
                  </a:lnTo>
                  <a:close/>
                  <a:moveTo>
                    <a:pt x="100135" y="57220"/>
                  </a:moveTo>
                  <a:lnTo>
                    <a:pt x="64373" y="57220"/>
                  </a:lnTo>
                  <a:lnTo>
                    <a:pt x="64373" y="14305"/>
                  </a:lnTo>
                  <a:lnTo>
                    <a:pt x="100135" y="14305"/>
                  </a:lnTo>
                  <a:close/>
                  <a:moveTo>
                    <a:pt x="14305" y="14305"/>
                  </a:moveTo>
                  <a:lnTo>
                    <a:pt x="50068" y="14305"/>
                  </a:lnTo>
                  <a:lnTo>
                    <a:pt x="50068" y="57220"/>
                  </a:lnTo>
                  <a:lnTo>
                    <a:pt x="14305" y="57220"/>
                  </a:lnTo>
                  <a:close/>
                </a:path>
              </a:pathLst>
            </a:custGeom>
            <a:solidFill>
              <a:schemeClr val="bg1"/>
            </a:solidFill>
            <a:ln w="7144" cap="flat">
              <a:solidFill>
                <a:schemeClr val="bg1"/>
              </a:solidFill>
              <a:prstDash val="solid"/>
              <a:miter/>
            </a:ln>
          </p:spPr>
          <p:txBody>
            <a:bodyPr rtlCol="0" anchor="ctr"/>
            <a:lstStyle/>
            <a:p>
              <a:endParaRPr lang="en-GB"/>
            </a:p>
          </p:txBody>
        </p:sp>
        <p:sp>
          <p:nvSpPr>
            <p:cNvPr id="11" name="Frihandsfigur: Form 10">
              <a:extLst>
                <a:ext uri="{FF2B5EF4-FFF2-40B4-BE49-F238E27FC236}">
                  <a16:creationId xmlns:a16="http://schemas.microsoft.com/office/drawing/2014/main" id="{CE79BCD6-DDD2-64E7-9D3A-57F9616825A7}"/>
                </a:ext>
              </a:extLst>
            </p:cNvPr>
            <p:cNvSpPr/>
            <p:nvPr/>
          </p:nvSpPr>
          <p:spPr>
            <a:xfrm>
              <a:off x="6182309" y="4647762"/>
              <a:ext cx="114440" cy="71525"/>
            </a:xfrm>
            <a:custGeom>
              <a:avLst/>
              <a:gdLst>
                <a:gd name="connsiteX0" fmla="*/ 114440 w 114440"/>
                <a:gd name="connsiteY0" fmla="*/ 0 h 71525"/>
                <a:gd name="connsiteX1" fmla="*/ 0 w 114440"/>
                <a:gd name="connsiteY1" fmla="*/ 0 h 71525"/>
                <a:gd name="connsiteX2" fmla="*/ 0 w 114440"/>
                <a:gd name="connsiteY2" fmla="*/ 71525 h 71525"/>
                <a:gd name="connsiteX3" fmla="*/ 114440 w 114440"/>
                <a:gd name="connsiteY3" fmla="*/ 71525 h 71525"/>
                <a:gd name="connsiteX4" fmla="*/ 14305 w 114440"/>
                <a:gd name="connsiteY4" fmla="*/ 14305 h 71525"/>
                <a:gd name="connsiteX5" fmla="*/ 50068 w 114440"/>
                <a:gd name="connsiteY5" fmla="*/ 14305 h 71525"/>
                <a:gd name="connsiteX6" fmla="*/ 50068 w 114440"/>
                <a:gd name="connsiteY6" fmla="*/ 57220 h 71525"/>
                <a:gd name="connsiteX7" fmla="*/ 14305 w 114440"/>
                <a:gd name="connsiteY7" fmla="*/ 57220 h 71525"/>
                <a:gd name="connsiteX8" fmla="*/ 100135 w 114440"/>
                <a:gd name="connsiteY8" fmla="*/ 57220 h 71525"/>
                <a:gd name="connsiteX9" fmla="*/ 64373 w 114440"/>
                <a:gd name="connsiteY9" fmla="*/ 57220 h 71525"/>
                <a:gd name="connsiteX10" fmla="*/ 64373 w 114440"/>
                <a:gd name="connsiteY10" fmla="*/ 14305 h 71525"/>
                <a:gd name="connsiteX11" fmla="*/ 100135 w 114440"/>
                <a:gd name="connsiteY11" fmla="*/ 14305 h 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4440" h="71525">
                  <a:moveTo>
                    <a:pt x="114440" y="0"/>
                  </a:moveTo>
                  <a:lnTo>
                    <a:pt x="0" y="0"/>
                  </a:lnTo>
                  <a:lnTo>
                    <a:pt x="0" y="71525"/>
                  </a:lnTo>
                  <a:lnTo>
                    <a:pt x="114440" y="71525"/>
                  </a:lnTo>
                  <a:close/>
                  <a:moveTo>
                    <a:pt x="14305" y="14305"/>
                  </a:moveTo>
                  <a:lnTo>
                    <a:pt x="50068" y="14305"/>
                  </a:lnTo>
                  <a:lnTo>
                    <a:pt x="50068" y="57220"/>
                  </a:lnTo>
                  <a:lnTo>
                    <a:pt x="14305" y="57220"/>
                  </a:lnTo>
                  <a:close/>
                  <a:moveTo>
                    <a:pt x="100135" y="57220"/>
                  </a:moveTo>
                  <a:lnTo>
                    <a:pt x="64373" y="57220"/>
                  </a:lnTo>
                  <a:lnTo>
                    <a:pt x="64373" y="14305"/>
                  </a:lnTo>
                  <a:lnTo>
                    <a:pt x="100135" y="14305"/>
                  </a:lnTo>
                  <a:close/>
                </a:path>
              </a:pathLst>
            </a:custGeom>
            <a:solidFill>
              <a:schemeClr val="bg1"/>
            </a:solidFill>
            <a:ln w="7144" cap="flat">
              <a:solidFill>
                <a:schemeClr val="bg1"/>
              </a:solidFill>
              <a:prstDash val="solid"/>
              <a:miter/>
            </a:ln>
          </p:spPr>
          <p:txBody>
            <a:bodyPr rtlCol="0" anchor="ctr"/>
            <a:lstStyle/>
            <a:p>
              <a:endParaRPr lang="en-GB"/>
            </a:p>
          </p:txBody>
        </p:sp>
      </p:grpSp>
      <p:grpSp>
        <p:nvGrpSpPr>
          <p:cNvPr id="12" name="Bild 22" descr="Användare kontur">
            <a:extLst>
              <a:ext uri="{FF2B5EF4-FFF2-40B4-BE49-F238E27FC236}">
                <a16:creationId xmlns:a16="http://schemas.microsoft.com/office/drawing/2014/main" id="{7D9D3EB5-47E2-845E-69AF-35E6F5F7306E}"/>
              </a:ext>
            </a:extLst>
          </p:cNvPr>
          <p:cNvGrpSpPr/>
          <p:nvPr/>
        </p:nvGrpSpPr>
        <p:grpSpPr>
          <a:xfrm>
            <a:off x="6880942" y="4258972"/>
            <a:ext cx="524545" cy="318468"/>
            <a:chOff x="6177554" y="4258972"/>
            <a:chExt cx="524545" cy="318468"/>
          </a:xfrm>
          <a:solidFill>
            <a:schemeClr val="bg1"/>
          </a:solidFill>
        </p:grpSpPr>
        <p:sp>
          <p:nvSpPr>
            <p:cNvPr id="14" name="Frihandsfigur: Form 13">
              <a:extLst>
                <a:ext uri="{FF2B5EF4-FFF2-40B4-BE49-F238E27FC236}">
                  <a16:creationId xmlns:a16="http://schemas.microsoft.com/office/drawing/2014/main" id="{CF1E8E4B-DE17-467D-3F33-F1A5FD659284}"/>
                </a:ext>
              </a:extLst>
            </p:cNvPr>
            <p:cNvSpPr/>
            <p:nvPr/>
          </p:nvSpPr>
          <p:spPr>
            <a:xfrm>
              <a:off x="6233710" y="4258972"/>
              <a:ext cx="112411" cy="112411"/>
            </a:xfrm>
            <a:custGeom>
              <a:avLst/>
              <a:gdLst>
                <a:gd name="connsiteX0" fmla="*/ 56206 w 112411"/>
                <a:gd name="connsiteY0" fmla="*/ 112412 h 112411"/>
                <a:gd name="connsiteX1" fmla="*/ 112412 w 112411"/>
                <a:gd name="connsiteY1" fmla="*/ 56206 h 112411"/>
                <a:gd name="connsiteX2" fmla="*/ 56206 w 112411"/>
                <a:gd name="connsiteY2" fmla="*/ 0 h 112411"/>
                <a:gd name="connsiteX3" fmla="*/ 0 w 112411"/>
                <a:gd name="connsiteY3" fmla="*/ 56206 h 112411"/>
                <a:gd name="connsiteX4" fmla="*/ 56206 w 112411"/>
                <a:gd name="connsiteY4" fmla="*/ 112412 h 112411"/>
                <a:gd name="connsiteX5" fmla="*/ 56206 w 112411"/>
                <a:gd name="connsiteY5" fmla="*/ 12459 h 112411"/>
                <a:gd name="connsiteX6" fmla="*/ 99922 w 112411"/>
                <a:gd name="connsiteY6" fmla="*/ 56175 h 112411"/>
                <a:gd name="connsiteX7" fmla="*/ 56206 w 112411"/>
                <a:gd name="connsiteY7" fmla="*/ 99890 h 112411"/>
                <a:gd name="connsiteX8" fmla="*/ 12490 w 112411"/>
                <a:gd name="connsiteY8" fmla="*/ 56175 h 112411"/>
                <a:gd name="connsiteX9" fmla="*/ 56206 w 112411"/>
                <a:gd name="connsiteY9" fmla="*/ 12459 h 112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2411" h="112411">
                  <a:moveTo>
                    <a:pt x="56206" y="112412"/>
                  </a:moveTo>
                  <a:cubicBezTo>
                    <a:pt x="87248" y="112412"/>
                    <a:pt x="112412" y="87248"/>
                    <a:pt x="112412" y="56206"/>
                  </a:cubicBezTo>
                  <a:cubicBezTo>
                    <a:pt x="112412" y="25164"/>
                    <a:pt x="87248" y="0"/>
                    <a:pt x="56206" y="0"/>
                  </a:cubicBezTo>
                  <a:cubicBezTo>
                    <a:pt x="25164" y="0"/>
                    <a:pt x="0" y="25164"/>
                    <a:pt x="0" y="56206"/>
                  </a:cubicBezTo>
                  <a:cubicBezTo>
                    <a:pt x="0" y="87248"/>
                    <a:pt x="25164" y="112412"/>
                    <a:pt x="56206" y="112412"/>
                  </a:cubicBezTo>
                  <a:close/>
                  <a:moveTo>
                    <a:pt x="56206" y="12459"/>
                  </a:moveTo>
                  <a:cubicBezTo>
                    <a:pt x="80349" y="12459"/>
                    <a:pt x="99922" y="32031"/>
                    <a:pt x="99922" y="56175"/>
                  </a:cubicBezTo>
                  <a:cubicBezTo>
                    <a:pt x="99922" y="80318"/>
                    <a:pt x="80349" y="99890"/>
                    <a:pt x="56206" y="99890"/>
                  </a:cubicBezTo>
                  <a:cubicBezTo>
                    <a:pt x="32062" y="99890"/>
                    <a:pt x="12490" y="80318"/>
                    <a:pt x="12490" y="56175"/>
                  </a:cubicBezTo>
                  <a:cubicBezTo>
                    <a:pt x="12521" y="32044"/>
                    <a:pt x="32075" y="12490"/>
                    <a:pt x="56206" y="12459"/>
                  </a:cubicBezTo>
                  <a:close/>
                </a:path>
              </a:pathLst>
            </a:custGeom>
            <a:solidFill>
              <a:schemeClr val="bg1"/>
            </a:solidFill>
            <a:ln w="6152" cap="flat">
              <a:noFill/>
              <a:prstDash val="solid"/>
              <a:miter/>
            </a:ln>
          </p:spPr>
          <p:txBody>
            <a:bodyPr rtlCol="0" anchor="ctr"/>
            <a:lstStyle/>
            <a:p>
              <a:endParaRPr lang="en-GB"/>
            </a:p>
          </p:txBody>
        </p:sp>
        <p:sp>
          <p:nvSpPr>
            <p:cNvPr id="16" name="Frihandsfigur: Form 15">
              <a:extLst>
                <a:ext uri="{FF2B5EF4-FFF2-40B4-BE49-F238E27FC236}">
                  <a16:creationId xmlns:a16="http://schemas.microsoft.com/office/drawing/2014/main" id="{D12D5A32-F746-FF88-703E-6EF29404F1B1}"/>
                </a:ext>
              </a:extLst>
            </p:cNvPr>
            <p:cNvSpPr/>
            <p:nvPr/>
          </p:nvSpPr>
          <p:spPr>
            <a:xfrm>
              <a:off x="6533474" y="4258972"/>
              <a:ext cx="112411" cy="112411"/>
            </a:xfrm>
            <a:custGeom>
              <a:avLst/>
              <a:gdLst>
                <a:gd name="connsiteX0" fmla="*/ 56206 w 112411"/>
                <a:gd name="connsiteY0" fmla="*/ 112412 h 112411"/>
                <a:gd name="connsiteX1" fmla="*/ 112412 w 112411"/>
                <a:gd name="connsiteY1" fmla="*/ 56206 h 112411"/>
                <a:gd name="connsiteX2" fmla="*/ 56206 w 112411"/>
                <a:gd name="connsiteY2" fmla="*/ 0 h 112411"/>
                <a:gd name="connsiteX3" fmla="*/ 0 w 112411"/>
                <a:gd name="connsiteY3" fmla="*/ 56206 h 112411"/>
                <a:gd name="connsiteX4" fmla="*/ 56206 w 112411"/>
                <a:gd name="connsiteY4" fmla="*/ 112412 h 112411"/>
                <a:gd name="connsiteX5" fmla="*/ 56206 w 112411"/>
                <a:gd name="connsiteY5" fmla="*/ 12459 h 112411"/>
                <a:gd name="connsiteX6" fmla="*/ 99922 w 112411"/>
                <a:gd name="connsiteY6" fmla="*/ 56175 h 112411"/>
                <a:gd name="connsiteX7" fmla="*/ 56206 w 112411"/>
                <a:gd name="connsiteY7" fmla="*/ 99890 h 112411"/>
                <a:gd name="connsiteX8" fmla="*/ 12490 w 112411"/>
                <a:gd name="connsiteY8" fmla="*/ 56175 h 112411"/>
                <a:gd name="connsiteX9" fmla="*/ 56206 w 112411"/>
                <a:gd name="connsiteY9" fmla="*/ 12459 h 112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2411" h="112411">
                  <a:moveTo>
                    <a:pt x="56206" y="112412"/>
                  </a:moveTo>
                  <a:cubicBezTo>
                    <a:pt x="87248" y="112412"/>
                    <a:pt x="112412" y="87248"/>
                    <a:pt x="112412" y="56206"/>
                  </a:cubicBezTo>
                  <a:cubicBezTo>
                    <a:pt x="112412" y="25164"/>
                    <a:pt x="87248" y="0"/>
                    <a:pt x="56206" y="0"/>
                  </a:cubicBezTo>
                  <a:cubicBezTo>
                    <a:pt x="25164" y="0"/>
                    <a:pt x="0" y="25164"/>
                    <a:pt x="0" y="56206"/>
                  </a:cubicBezTo>
                  <a:cubicBezTo>
                    <a:pt x="0" y="87248"/>
                    <a:pt x="25164" y="112412"/>
                    <a:pt x="56206" y="112412"/>
                  </a:cubicBezTo>
                  <a:close/>
                  <a:moveTo>
                    <a:pt x="56206" y="12459"/>
                  </a:moveTo>
                  <a:cubicBezTo>
                    <a:pt x="80349" y="12459"/>
                    <a:pt x="99922" y="32031"/>
                    <a:pt x="99922" y="56175"/>
                  </a:cubicBezTo>
                  <a:cubicBezTo>
                    <a:pt x="99922" y="80318"/>
                    <a:pt x="80349" y="99890"/>
                    <a:pt x="56206" y="99890"/>
                  </a:cubicBezTo>
                  <a:cubicBezTo>
                    <a:pt x="32062" y="99890"/>
                    <a:pt x="12490" y="80318"/>
                    <a:pt x="12490" y="56175"/>
                  </a:cubicBezTo>
                  <a:cubicBezTo>
                    <a:pt x="12521" y="32044"/>
                    <a:pt x="32075" y="12490"/>
                    <a:pt x="56206" y="12459"/>
                  </a:cubicBezTo>
                  <a:close/>
                </a:path>
              </a:pathLst>
            </a:custGeom>
            <a:solidFill>
              <a:schemeClr val="bg1"/>
            </a:solidFill>
            <a:ln w="6152" cap="flat">
              <a:noFill/>
              <a:prstDash val="solid"/>
              <a:miter/>
            </a:ln>
          </p:spPr>
          <p:txBody>
            <a:bodyPr rtlCol="0" anchor="ctr"/>
            <a:lstStyle/>
            <a:p>
              <a:endParaRPr lang="en-GB"/>
            </a:p>
          </p:txBody>
        </p:sp>
        <p:sp>
          <p:nvSpPr>
            <p:cNvPr id="17" name="Frihandsfigur: Form 16">
              <a:extLst>
                <a:ext uri="{FF2B5EF4-FFF2-40B4-BE49-F238E27FC236}">
                  <a16:creationId xmlns:a16="http://schemas.microsoft.com/office/drawing/2014/main" id="{47AFBAEE-0CC1-E5CE-19AC-FC8070A6C8F9}"/>
                </a:ext>
              </a:extLst>
            </p:cNvPr>
            <p:cNvSpPr/>
            <p:nvPr/>
          </p:nvSpPr>
          <p:spPr>
            <a:xfrm>
              <a:off x="6512560" y="4385029"/>
              <a:ext cx="189539" cy="106166"/>
            </a:xfrm>
            <a:custGeom>
              <a:avLst/>
              <a:gdLst>
                <a:gd name="connsiteX0" fmla="*/ 176418 w 189539"/>
                <a:gd name="connsiteY0" fmla="*/ 33093 h 106166"/>
                <a:gd name="connsiteX1" fmla="*/ 122416 w 189539"/>
                <a:gd name="connsiteY1" fmla="*/ 7294 h 106166"/>
                <a:gd name="connsiteX2" fmla="*/ 77121 w 189539"/>
                <a:gd name="connsiteY2" fmla="*/ 0 h 106166"/>
                <a:gd name="connsiteX3" fmla="*/ 31962 w 189539"/>
                <a:gd name="connsiteY3" fmla="*/ 7263 h 106166"/>
                <a:gd name="connsiteX4" fmla="*/ 2048 w 189539"/>
                <a:gd name="connsiteY4" fmla="*/ 18660 h 106166"/>
                <a:gd name="connsiteX5" fmla="*/ 0 w 189539"/>
                <a:gd name="connsiteY5" fmla="*/ 33898 h 106166"/>
                <a:gd name="connsiteX6" fmla="*/ 35460 w 189539"/>
                <a:gd name="connsiteY6" fmla="*/ 19247 h 106166"/>
                <a:gd name="connsiteX7" fmla="*/ 77121 w 189539"/>
                <a:gd name="connsiteY7" fmla="*/ 12490 h 106166"/>
                <a:gd name="connsiteX8" fmla="*/ 119238 w 189539"/>
                <a:gd name="connsiteY8" fmla="*/ 19360 h 106166"/>
                <a:gd name="connsiteX9" fmla="*/ 168649 w 189539"/>
                <a:gd name="connsiteY9" fmla="*/ 42873 h 106166"/>
                <a:gd name="connsiteX10" fmla="*/ 169186 w 189539"/>
                <a:gd name="connsiteY10" fmla="*/ 43272 h 106166"/>
                <a:gd name="connsiteX11" fmla="*/ 177042 w 189539"/>
                <a:gd name="connsiteY11" fmla="*/ 59328 h 106166"/>
                <a:gd name="connsiteX12" fmla="*/ 177042 w 189539"/>
                <a:gd name="connsiteY12" fmla="*/ 106167 h 106166"/>
                <a:gd name="connsiteX13" fmla="*/ 189532 w 189539"/>
                <a:gd name="connsiteY13" fmla="*/ 106167 h 106166"/>
                <a:gd name="connsiteX14" fmla="*/ 189532 w 189539"/>
                <a:gd name="connsiteY14" fmla="*/ 59328 h 106166"/>
                <a:gd name="connsiteX15" fmla="*/ 176418 w 189539"/>
                <a:gd name="connsiteY15" fmla="*/ 33093 h 106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9539" h="106166">
                  <a:moveTo>
                    <a:pt x="176418" y="33093"/>
                  </a:moveTo>
                  <a:cubicBezTo>
                    <a:pt x="160500" y="20680"/>
                    <a:pt x="142074" y="11877"/>
                    <a:pt x="122416" y="7294"/>
                  </a:cubicBezTo>
                  <a:cubicBezTo>
                    <a:pt x="107700" y="2900"/>
                    <a:pt x="92472" y="447"/>
                    <a:pt x="77121" y="0"/>
                  </a:cubicBezTo>
                  <a:cubicBezTo>
                    <a:pt x="61778" y="16"/>
                    <a:pt x="46536" y="2467"/>
                    <a:pt x="31962" y="7263"/>
                  </a:cubicBezTo>
                  <a:cubicBezTo>
                    <a:pt x="21601" y="9945"/>
                    <a:pt x="11568" y="13768"/>
                    <a:pt x="2048" y="18660"/>
                  </a:cubicBezTo>
                  <a:cubicBezTo>
                    <a:pt x="1895" y="23797"/>
                    <a:pt x="1209" y="28904"/>
                    <a:pt x="0" y="33898"/>
                  </a:cubicBezTo>
                  <a:cubicBezTo>
                    <a:pt x="11106" y="27440"/>
                    <a:pt x="23034" y="22512"/>
                    <a:pt x="35460" y="19247"/>
                  </a:cubicBezTo>
                  <a:cubicBezTo>
                    <a:pt x="48907" y="14829"/>
                    <a:pt x="62966" y="12549"/>
                    <a:pt x="77121" y="12490"/>
                  </a:cubicBezTo>
                  <a:cubicBezTo>
                    <a:pt x="91398" y="12950"/>
                    <a:pt x="105555" y="15259"/>
                    <a:pt x="119238" y="19360"/>
                  </a:cubicBezTo>
                  <a:cubicBezTo>
                    <a:pt x="137227" y="23496"/>
                    <a:pt x="154092" y="31521"/>
                    <a:pt x="168649" y="42873"/>
                  </a:cubicBezTo>
                  <a:lnTo>
                    <a:pt x="169186" y="43272"/>
                  </a:lnTo>
                  <a:cubicBezTo>
                    <a:pt x="174322" y="46976"/>
                    <a:pt x="177270" y="53000"/>
                    <a:pt x="177042" y="59328"/>
                  </a:cubicBezTo>
                  <a:lnTo>
                    <a:pt x="177042" y="106167"/>
                  </a:lnTo>
                  <a:lnTo>
                    <a:pt x="189532" y="106167"/>
                  </a:lnTo>
                  <a:lnTo>
                    <a:pt x="189532" y="59328"/>
                  </a:lnTo>
                  <a:cubicBezTo>
                    <a:pt x="189760" y="48954"/>
                    <a:pt x="184852" y="39136"/>
                    <a:pt x="176418" y="33093"/>
                  </a:cubicBezTo>
                  <a:close/>
                </a:path>
              </a:pathLst>
            </a:custGeom>
            <a:solidFill>
              <a:schemeClr val="bg1"/>
            </a:solidFill>
            <a:ln w="6152" cap="flat">
              <a:noFill/>
              <a:prstDash val="solid"/>
              <a:miter/>
            </a:ln>
          </p:spPr>
          <p:txBody>
            <a:bodyPr rtlCol="0" anchor="ctr"/>
            <a:lstStyle/>
            <a:p>
              <a:endParaRPr lang="en-GB"/>
            </a:p>
          </p:txBody>
        </p:sp>
        <p:sp>
          <p:nvSpPr>
            <p:cNvPr id="18" name="Frihandsfigur: Form 17">
              <a:extLst>
                <a:ext uri="{FF2B5EF4-FFF2-40B4-BE49-F238E27FC236}">
                  <a16:creationId xmlns:a16="http://schemas.microsoft.com/office/drawing/2014/main" id="{903491FD-5F16-5260-5ECF-9091D3FF1990}"/>
                </a:ext>
              </a:extLst>
            </p:cNvPr>
            <p:cNvSpPr/>
            <p:nvPr/>
          </p:nvSpPr>
          <p:spPr>
            <a:xfrm>
              <a:off x="6177554" y="4385029"/>
              <a:ext cx="189220" cy="106166"/>
            </a:xfrm>
            <a:custGeom>
              <a:avLst/>
              <a:gdLst>
                <a:gd name="connsiteX0" fmla="*/ 189220 w 189220"/>
                <a:gd name="connsiteY0" fmla="*/ 32930 h 106166"/>
                <a:gd name="connsiteX1" fmla="*/ 187347 w 189220"/>
                <a:gd name="connsiteY1" fmla="*/ 17892 h 106166"/>
                <a:gd name="connsiteX2" fmla="*/ 157645 w 189220"/>
                <a:gd name="connsiteY2" fmla="*/ 7276 h 106166"/>
                <a:gd name="connsiteX3" fmla="*/ 112362 w 189220"/>
                <a:gd name="connsiteY3" fmla="*/ 0 h 106166"/>
                <a:gd name="connsiteX4" fmla="*/ 67203 w 189220"/>
                <a:gd name="connsiteY4" fmla="*/ 7263 h 106166"/>
                <a:gd name="connsiteX5" fmla="*/ 12827 w 189220"/>
                <a:gd name="connsiteY5" fmla="*/ 33299 h 106166"/>
                <a:gd name="connsiteX6" fmla="*/ 0 w 189220"/>
                <a:gd name="connsiteY6" fmla="*/ 59328 h 106166"/>
                <a:gd name="connsiteX7" fmla="*/ 0 w 189220"/>
                <a:gd name="connsiteY7" fmla="*/ 106167 h 106166"/>
                <a:gd name="connsiteX8" fmla="*/ 12490 w 189220"/>
                <a:gd name="connsiteY8" fmla="*/ 106167 h 106166"/>
                <a:gd name="connsiteX9" fmla="*/ 12490 w 189220"/>
                <a:gd name="connsiteY9" fmla="*/ 59328 h 106166"/>
                <a:gd name="connsiteX10" fmla="*/ 20409 w 189220"/>
                <a:gd name="connsiteY10" fmla="*/ 43229 h 106166"/>
                <a:gd name="connsiteX11" fmla="*/ 70726 w 189220"/>
                <a:gd name="connsiteY11" fmla="*/ 19247 h 106166"/>
                <a:gd name="connsiteX12" fmla="*/ 112362 w 189220"/>
                <a:gd name="connsiteY12" fmla="*/ 12490 h 106166"/>
                <a:gd name="connsiteX13" fmla="*/ 154479 w 189220"/>
                <a:gd name="connsiteY13" fmla="*/ 19360 h 106166"/>
                <a:gd name="connsiteX14" fmla="*/ 189220 w 189220"/>
                <a:gd name="connsiteY14" fmla="*/ 32930 h 106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9220" h="106166">
                  <a:moveTo>
                    <a:pt x="189220" y="32930"/>
                  </a:moveTo>
                  <a:cubicBezTo>
                    <a:pt x="188083" y="27995"/>
                    <a:pt x="187455" y="22956"/>
                    <a:pt x="187347" y="17892"/>
                  </a:cubicBezTo>
                  <a:cubicBezTo>
                    <a:pt x="177817" y="13393"/>
                    <a:pt x="167868" y="9837"/>
                    <a:pt x="157645" y="7276"/>
                  </a:cubicBezTo>
                  <a:cubicBezTo>
                    <a:pt x="142932" y="2888"/>
                    <a:pt x="127708" y="442"/>
                    <a:pt x="112362" y="0"/>
                  </a:cubicBezTo>
                  <a:cubicBezTo>
                    <a:pt x="97019" y="16"/>
                    <a:pt x="81777" y="2467"/>
                    <a:pt x="67203" y="7263"/>
                  </a:cubicBezTo>
                  <a:cubicBezTo>
                    <a:pt x="47657" y="12593"/>
                    <a:pt x="29235" y="21413"/>
                    <a:pt x="12827" y="33299"/>
                  </a:cubicBezTo>
                  <a:cubicBezTo>
                    <a:pt x="4748" y="39518"/>
                    <a:pt x="10" y="49133"/>
                    <a:pt x="0" y="59328"/>
                  </a:cubicBezTo>
                  <a:lnTo>
                    <a:pt x="0" y="106167"/>
                  </a:lnTo>
                  <a:lnTo>
                    <a:pt x="12490" y="106167"/>
                  </a:lnTo>
                  <a:lnTo>
                    <a:pt x="12490" y="59328"/>
                  </a:lnTo>
                  <a:cubicBezTo>
                    <a:pt x="12502" y="53027"/>
                    <a:pt x="15425" y="47084"/>
                    <a:pt x="20409" y="43229"/>
                  </a:cubicBezTo>
                  <a:cubicBezTo>
                    <a:pt x="35606" y="32280"/>
                    <a:pt x="52650" y="24156"/>
                    <a:pt x="70726" y="19247"/>
                  </a:cubicBezTo>
                  <a:cubicBezTo>
                    <a:pt x="84166" y="14831"/>
                    <a:pt x="98215" y="12551"/>
                    <a:pt x="112362" y="12490"/>
                  </a:cubicBezTo>
                  <a:cubicBezTo>
                    <a:pt x="126639" y="12950"/>
                    <a:pt x="140796" y="15260"/>
                    <a:pt x="154479" y="19360"/>
                  </a:cubicBezTo>
                  <a:cubicBezTo>
                    <a:pt x="166607" y="22332"/>
                    <a:pt x="178288" y="26896"/>
                    <a:pt x="189220" y="32930"/>
                  </a:cubicBezTo>
                  <a:close/>
                </a:path>
              </a:pathLst>
            </a:custGeom>
            <a:solidFill>
              <a:schemeClr val="bg1"/>
            </a:solidFill>
            <a:ln w="6152" cap="flat">
              <a:noFill/>
              <a:prstDash val="solid"/>
              <a:miter/>
            </a:ln>
          </p:spPr>
          <p:txBody>
            <a:bodyPr rtlCol="0" anchor="ctr"/>
            <a:lstStyle/>
            <a:p>
              <a:endParaRPr lang="en-GB"/>
            </a:p>
          </p:txBody>
        </p:sp>
        <p:sp>
          <p:nvSpPr>
            <p:cNvPr id="20" name="Frihandsfigur: Form 19">
              <a:extLst>
                <a:ext uri="{FF2B5EF4-FFF2-40B4-BE49-F238E27FC236}">
                  <a16:creationId xmlns:a16="http://schemas.microsoft.com/office/drawing/2014/main" id="{68786163-753C-E601-86BE-094BD111990C}"/>
                </a:ext>
              </a:extLst>
            </p:cNvPr>
            <p:cNvSpPr/>
            <p:nvPr/>
          </p:nvSpPr>
          <p:spPr>
            <a:xfrm>
              <a:off x="6327386" y="4471274"/>
              <a:ext cx="224830" cy="106166"/>
            </a:xfrm>
            <a:custGeom>
              <a:avLst/>
              <a:gdLst>
                <a:gd name="connsiteX0" fmla="*/ 211709 w 224830"/>
                <a:gd name="connsiteY0" fmla="*/ 33099 h 106166"/>
                <a:gd name="connsiteX1" fmla="*/ 157707 w 224830"/>
                <a:gd name="connsiteY1" fmla="*/ 7301 h 106166"/>
                <a:gd name="connsiteX2" fmla="*/ 112412 w 224830"/>
                <a:gd name="connsiteY2" fmla="*/ 0 h 106166"/>
                <a:gd name="connsiteX3" fmla="*/ 67266 w 224830"/>
                <a:gd name="connsiteY3" fmla="*/ 7263 h 106166"/>
                <a:gd name="connsiteX4" fmla="*/ 12890 w 224830"/>
                <a:gd name="connsiteY4" fmla="*/ 33299 h 106166"/>
                <a:gd name="connsiteX5" fmla="*/ 0 w 224830"/>
                <a:gd name="connsiteY5" fmla="*/ 59328 h 106166"/>
                <a:gd name="connsiteX6" fmla="*/ 0 w 224830"/>
                <a:gd name="connsiteY6" fmla="*/ 106167 h 106166"/>
                <a:gd name="connsiteX7" fmla="*/ 12490 w 224830"/>
                <a:gd name="connsiteY7" fmla="*/ 106167 h 106166"/>
                <a:gd name="connsiteX8" fmla="*/ 12490 w 224830"/>
                <a:gd name="connsiteY8" fmla="*/ 59328 h 106166"/>
                <a:gd name="connsiteX9" fmla="*/ 20415 w 224830"/>
                <a:gd name="connsiteY9" fmla="*/ 43229 h 106166"/>
                <a:gd name="connsiteX10" fmla="*/ 70726 w 224830"/>
                <a:gd name="connsiteY10" fmla="*/ 19247 h 106166"/>
                <a:gd name="connsiteX11" fmla="*/ 112412 w 224830"/>
                <a:gd name="connsiteY11" fmla="*/ 12490 h 106166"/>
                <a:gd name="connsiteX12" fmla="*/ 154535 w 224830"/>
                <a:gd name="connsiteY12" fmla="*/ 19360 h 106166"/>
                <a:gd name="connsiteX13" fmla="*/ 203940 w 224830"/>
                <a:gd name="connsiteY13" fmla="*/ 42866 h 106166"/>
                <a:gd name="connsiteX14" fmla="*/ 204477 w 224830"/>
                <a:gd name="connsiteY14" fmla="*/ 43266 h 106166"/>
                <a:gd name="connsiteX15" fmla="*/ 212333 w 224830"/>
                <a:gd name="connsiteY15" fmla="*/ 59328 h 106166"/>
                <a:gd name="connsiteX16" fmla="*/ 212333 w 224830"/>
                <a:gd name="connsiteY16" fmla="*/ 106167 h 106166"/>
                <a:gd name="connsiteX17" fmla="*/ 224823 w 224830"/>
                <a:gd name="connsiteY17" fmla="*/ 106167 h 106166"/>
                <a:gd name="connsiteX18" fmla="*/ 224823 w 224830"/>
                <a:gd name="connsiteY18" fmla="*/ 59328 h 106166"/>
                <a:gd name="connsiteX19" fmla="*/ 211709 w 224830"/>
                <a:gd name="connsiteY19" fmla="*/ 33099 h 106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24830" h="106166">
                  <a:moveTo>
                    <a:pt x="211709" y="33099"/>
                  </a:moveTo>
                  <a:cubicBezTo>
                    <a:pt x="195792" y="20684"/>
                    <a:pt x="177366" y="11881"/>
                    <a:pt x="157707" y="7301"/>
                  </a:cubicBezTo>
                  <a:cubicBezTo>
                    <a:pt x="142991" y="2906"/>
                    <a:pt x="127763" y="453"/>
                    <a:pt x="112412" y="0"/>
                  </a:cubicBezTo>
                  <a:cubicBezTo>
                    <a:pt x="97074" y="15"/>
                    <a:pt x="81835" y="2467"/>
                    <a:pt x="67266" y="7263"/>
                  </a:cubicBezTo>
                  <a:cubicBezTo>
                    <a:pt x="47718" y="12589"/>
                    <a:pt x="29295" y="21409"/>
                    <a:pt x="12890" y="33299"/>
                  </a:cubicBezTo>
                  <a:cubicBezTo>
                    <a:pt x="4784" y="39503"/>
                    <a:pt x="22" y="49121"/>
                    <a:pt x="0" y="59328"/>
                  </a:cubicBezTo>
                  <a:lnTo>
                    <a:pt x="0" y="106167"/>
                  </a:lnTo>
                  <a:lnTo>
                    <a:pt x="12490" y="106167"/>
                  </a:lnTo>
                  <a:lnTo>
                    <a:pt x="12490" y="59328"/>
                  </a:lnTo>
                  <a:cubicBezTo>
                    <a:pt x="12501" y="53025"/>
                    <a:pt x="15427" y="47082"/>
                    <a:pt x="20415" y="43229"/>
                  </a:cubicBezTo>
                  <a:cubicBezTo>
                    <a:pt x="35608" y="32277"/>
                    <a:pt x="52651" y="24154"/>
                    <a:pt x="70726" y="19247"/>
                  </a:cubicBezTo>
                  <a:cubicBezTo>
                    <a:pt x="84181" y="14826"/>
                    <a:pt x="98248" y="12546"/>
                    <a:pt x="112412" y="12490"/>
                  </a:cubicBezTo>
                  <a:cubicBezTo>
                    <a:pt x="126691" y="12948"/>
                    <a:pt x="140850" y="15257"/>
                    <a:pt x="154535" y="19360"/>
                  </a:cubicBezTo>
                  <a:cubicBezTo>
                    <a:pt x="172523" y="23490"/>
                    <a:pt x="189387" y="31514"/>
                    <a:pt x="203940" y="42866"/>
                  </a:cubicBezTo>
                  <a:lnTo>
                    <a:pt x="204477" y="43266"/>
                  </a:lnTo>
                  <a:cubicBezTo>
                    <a:pt x="209615" y="46972"/>
                    <a:pt x="212562" y="52998"/>
                    <a:pt x="212333" y="59328"/>
                  </a:cubicBezTo>
                  <a:lnTo>
                    <a:pt x="212333" y="106167"/>
                  </a:lnTo>
                  <a:lnTo>
                    <a:pt x="224823" y="106167"/>
                  </a:lnTo>
                  <a:lnTo>
                    <a:pt x="224823" y="59328"/>
                  </a:lnTo>
                  <a:cubicBezTo>
                    <a:pt x="225049" y="48957"/>
                    <a:pt x="220142" y="39141"/>
                    <a:pt x="211709" y="33099"/>
                  </a:cubicBezTo>
                  <a:close/>
                </a:path>
              </a:pathLst>
            </a:custGeom>
            <a:solidFill>
              <a:schemeClr val="bg1"/>
            </a:solidFill>
            <a:ln w="6152" cap="flat">
              <a:noFill/>
              <a:prstDash val="solid"/>
              <a:miter/>
            </a:ln>
          </p:spPr>
          <p:txBody>
            <a:bodyPr rtlCol="0" anchor="ctr"/>
            <a:lstStyle/>
            <a:p>
              <a:endParaRPr lang="en-GB"/>
            </a:p>
          </p:txBody>
        </p:sp>
        <p:sp>
          <p:nvSpPr>
            <p:cNvPr id="21" name="Frihandsfigur: Form 20">
              <a:extLst>
                <a:ext uri="{FF2B5EF4-FFF2-40B4-BE49-F238E27FC236}">
                  <a16:creationId xmlns:a16="http://schemas.microsoft.com/office/drawing/2014/main" id="{90E1BC5F-02A1-88AC-8C1F-5407253585B0}"/>
                </a:ext>
              </a:extLst>
            </p:cNvPr>
            <p:cNvSpPr/>
            <p:nvPr/>
          </p:nvSpPr>
          <p:spPr>
            <a:xfrm>
              <a:off x="6383592" y="4345217"/>
              <a:ext cx="112411" cy="112411"/>
            </a:xfrm>
            <a:custGeom>
              <a:avLst/>
              <a:gdLst>
                <a:gd name="connsiteX0" fmla="*/ 56206 w 112411"/>
                <a:gd name="connsiteY0" fmla="*/ 112412 h 112411"/>
                <a:gd name="connsiteX1" fmla="*/ 112412 w 112411"/>
                <a:gd name="connsiteY1" fmla="*/ 56206 h 112411"/>
                <a:gd name="connsiteX2" fmla="*/ 56206 w 112411"/>
                <a:gd name="connsiteY2" fmla="*/ 0 h 112411"/>
                <a:gd name="connsiteX3" fmla="*/ 0 w 112411"/>
                <a:gd name="connsiteY3" fmla="*/ 56206 h 112411"/>
                <a:gd name="connsiteX4" fmla="*/ 56206 w 112411"/>
                <a:gd name="connsiteY4" fmla="*/ 112412 h 112411"/>
                <a:gd name="connsiteX5" fmla="*/ 56206 w 112411"/>
                <a:gd name="connsiteY5" fmla="*/ 12490 h 112411"/>
                <a:gd name="connsiteX6" fmla="*/ 99922 w 112411"/>
                <a:gd name="connsiteY6" fmla="*/ 56206 h 112411"/>
                <a:gd name="connsiteX7" fmla="*/ 56206 w 112411"/>
                <a:gd name="connsiteY7" fmla="*/ 99922 h 112411"/>
                <a:gd name="connsiteX8" fmla="*/ 12490 w 112411"/>
                <a:gd name="connsiteY8" fmla="*/ 56206 h 112411"/>
                <a:gd name="connsiteX9" fmla="*/ 56206 w 112411"/>
                <a:gd name="connsiteY9" fmla="*/ 12459 h 112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2411" h="112411">
                  <a:moveTo>
                    <a:pt x="56206" y="112412"/>
                  </a:moveTo>
                  <a:cubicBezTo>
                    <a:pt x="87248" y="112412"/>
                    <a:pt x="112412" y="87248"/>
                    <a:pt x="112412" y="56206"/>
                  </a:cubicBezTo>
                  <a:cubicBezTo>
                    <a:pt x="112412" y="25164"/>
                    <a:pt x="87248" y="0"/>
                    <a:pt x="56206" y="0"/>
                  </a:cubicBezTo>
                  <a:cubicBezTo>
                    <a:pt x="25164" y="0"/>
                    <a:pt x="0" y="25164"/>
                    <a:pt x="0" y="56206"/>
                  </a:cubicBezTo>
                  <a:cubicBezTo>
                    <a:pt x="0" y="87248"/>
                    <a:pt x="25164" y="112412"/>
                    <a:pt x="56206" y="112412"/>
                  </a:cubicBezTo>
                  <a:close/>
                  <a:moveTo>
                    <a:pt x="56206" y="12490"/>
                  </a:moveTo>
                  <a:cubicBezTo>
                    <a:pt x="80349" y="12490"/>
                    <a:pt x="99922" y="32062"/>
                    <a:pt x="99922" y="56206"/>
                  </a:cubicBezTo>
                  <a:cubicBezTo>
                    <a:pt x="99922" y="80349"/>
                    <a:pt x="80349" y="99922"/>
                    <a:pt x="56206" y="99922"/>
                  </a:cubicBezTo>
                  <a:cubicBezTo>
                    <a:pt x="32062" y="99922"/>
                    <a:pt x="12490" y="80349"/>
                    <a:pt x="12490" y="56206"/>
                  </a:cubicBezTo>
                  <a:cubicBezTo>
                    <a:pt x="12508" y="32064"/>
                    <a:pt x="32064" y="12493"/>
                    <a:pt x="56206" y="12459"/>
                  </a:cubicBezTo>
                  <a:close/>
                </a:path>
              </a:pathLst>
            </a:custGeom>
            <a:solidFill>
              <a:schemeClr val="bg1"/>
            </a:solidFill>
            <a:ln w="6152" cap="flat">
              <a:noFill/>
              <a:prstDash val="solid"/>
              <a:miter/>
            </a:ln>
          </p:spPr>
          <p:txBody>
            <a:bodyPr rtlCol="0" anchor="ctr"/>
            <a:lstStyle/>
            <a:p>
              <a:endParaRPr lang="en-GB"/>
            </a:p>
          </p:txBody>
        </p:sp>
      </p:grpSp>
      <p:grpSp>
        <p:nvGrpSpPr>
          <p:cNvPr id="26" name="Bild 30" descr="Användare kontur">
            <a:extLst>
              <a:ext uri="{FF2B5EF4-FFF2-40B4-BE49-F238E27FC236}">
                <a16:creationId xmlns:a16="http://schemas.microsoft.com/office/drawing/2014/main" id="{15F151AF-C350-35F1-76E9-9485C13CCE74}"/>
              </a:ext>
            </a:extLst>
          </p:cNvPr>
          <p:cNvGrpSpPr/>
          <p:nvPr/>
        </p:nvGrpSpPr>
        <p:grpSpPr>
          <a:xfrm>
            <a:off x="16359558" y="2577865"/>
            <a:ext cx="524545" cy="318468"/>
            <a:chOff x="15656170" y="2577865"/>
            <a:chExt cx="524545" cy="318468"/>
          </a:xfrm>
          <a:solidFill>
            <a:schemeClr val="lt1"/>
          </a:solidFill>
        </p:grpSpPr>
        <p:sp>
          <p:nvSpPr>
            <p:cNvPr id="28" name="Frihandsfigur: Form 27">
              <a:extLst>
                <a:ext uri="{FF2B5EF4-FFF2-40B4-BE49-F238E27FC236}">
                  <a16:creationId xmlns:a16="http://schemas.microsoft.com/office/drawing/2014/main" id="{7D650F77-AFDA-31A6-8AC2-EA38A0676252}"/>
                </a:ext>
              </a:extLst>
            </p:cNvPr>
            <p:cNvSpPr/>
            <p:nvPr/>
          </p:nvSpPr>
          <p:spPr>
            <a:xfrm>
              <a:off x="15712326" y="2577865"/>
              <a:ext cx="112411" cy="112411"/>
            </a:xfrm>
            <a:custGeom>
              <a:avLst/>
              <a:gdLst>
                <a:gd name="connsiteX0" fmla="*/ 56206 w 112411"/>
                <a:gd name="connsiteY0" fmla="*/ 112412 h 112411"/>
                <a:gd name="connsiteX1" fmla="*/ 112412 w 112411"/>
                <a:gd name="connsiteY1" fmla="*/ 56206 h 112411"/>
                <a:gd name="connsiteX2" fmla="*/ 56206 w 112411"/>
                <a:gd name="connsiteY2" fmla="*/ 0 h 112411"/>
                <a:gd name="connsiteX3" fmla="*/ 0 w 112411"/>
                <a:gd name="connsiteY3" fmla="*/ 56206 h 112411"/>
                <a:gd name="connsiteX4" fmla="*/ 56206 w 112411"/>
                <a:gd name="connsiteY4" fmla="*/ 112412 h 112411"/>
                <a:gd name="connsiteX5" fmla="*/ 56206 w 112411"/>
                <a:gd name="connsiteY5" fmla="*/ 12459 h 112411"/>
                <a:gd name="connsiteX6" fmla="*/ 99922 w 112411"/>
                <a:gd name="connsiteY6" fmla="*/ 56175 h 112411"/>
                <a:gd name="connsiteX7" fmla="*/ 56206 w 112411"/>
                <a:gd name="connsiteY7" fmla="*/ 99890 h 112411"/>
                <a:gd name="connsiteX8" fmla="*/ 12490 w 112411"/>
                <a:gd name="connsiteY8" fmla="*/ 56175 h 112411"/>
                <a:gd name="connsiteX9" fmla="*/ 56206 w 112411"/>
                <a:gd name="connsiteY9" fmla="*/ 12459 h 112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2411" h="112411">
                  <a:moveTo>
                    <a:pt x="56206" y="112412"/>
                  </a:moveTo>
                  <a:cubicBezTo>
                    <a:pt x="87248" y="112412"/>
                    <a:pt x="112412" y="87248"/>
                    <a:pt x="112412" y="56206"/>
                  </a:cubicBezTo>
                  <a:cubicBezTo>
                    <a:pt x="112412" y="25164"/>
                    <a:pt x="87248" y="0"/>
                    <a:pt x="56206" y="0"/>
                  </a:cubicBezTo>
                  <a:cubicBezTo>
                    <a:pt x="25164" y="0"/>
                    <a:pt x="0" y="25164"/>
                    <a:pt x="0" y="56206"/>
                  </a:cubicBezTo>
                  <a:cubicBezTo>
                    <a:pt x="0" y="87248"/>
                    <a:pt x="25164" y="112412"/>
                    <a:pt x="56206" y="112412"/>
                  </a:cubicBezTo>
                  <a:close/>
                  <a:moveTo>
                    <a:pt x="56206" y="12459"/>
                  </a:moveTo>
                  <a:cubicBezTo>
                    <a:pt x="80349" y="12459"/>
                    <a:pt x="99922" y="32031"/>
                    <a:pt x="99922" y="56175"/>
                  </a:cubicBezTo>
                  <a:cubicBezTo>
                    <a:pt x="99922" y="80318"/>
                    <a:pt x="80349" y="99890"/>
                    <a:pt x="56206" y="99890"/>
                  </a:cubicBezTo>
                  <a:cubicBezTo>
                    <a:pt x="32062" y="99890"/>
                    <a:pt x="12490" y="80318"/>
                    <a:pt x="12490" y="56175"/>
                  </a:cubicBezTo>
                  <a:cubicBezTo>
                    <a:pt x="12521" y="32044"/>
                    <a:pt x="32075" y="12490"/>
                    <a:pt x="56206" y="12459"/>
                  </a:cubicBezTo>
                  <a:close/>
                </a:path>
              </a:pathLst>
            </a:custGeom>
            <a:solidFill>
              <a:schemeClr val="lt1"/>
            </a:solidFill>
            <a:ln w="8202" cap="flat">
              <a:solidFill>
                <a:schemeClr val="accent5"/>
              </a:solidFill>
              <a:prstDash val="solid"/>
              <a:miter/>
            </a:ln>
          </p:spPr>
          <p:txBody>
            <a:bodyPr rtlCol="0" anchor="ctr"/>
            <a:lstStyle/>
            <a:p>
              <a:endParaRPr lang="en-GB"/>
            </a:p>
          </p:txBody>
        </p:sp>
        <p:sp>
          <p:nvSpPr>
            <p:cNvPr id="29" name="Frihandsfigur: Form 28">
              <a:extLst>
                <a:ext uri="{FF2B5EF4-FFF2-40B4-BE49-F238E27FC236}">
                  <a16:creationId xmlns:a16="http://schemas.microsoft.com/office/drawing/2014/main" id="{4B99B03B-13CD-924C-966D-3205B0CD8460}"/>
                </a:ext>
              </a:extLst>
            </p:cNvPr>
            <p:cNvSpPr/>
            <p:nvPr/>
          </p:nvSpPr>
          <p:spPr>
            <a:xfrm>
              <a:off x="16012090" y="2577865"/>
              <a:ext cx="112411" cy="112411"/>
            </a:xfrm>
            <a:custGeom>
              <a:avLst/>
              <a:gdLst>
                <a:gd name="connsiteX0" fmla="*/ 56206 w 112411"/>
                <a:gd name="connsiteY0" fmla="*/ 112412 h 112411"/>
                <a:gd name="connsiteX1" fmla="*/ 112412 w 112411"/>
                <a:gd name="connsiteY1" fmla="*/ 56206 h 112411"/>
                <a:gd name="connsiteX2" fmla="*/ 56206 w 112411"/>
                <a:gd name="connsiteY2" fmla="*/ 0 h 112411"/>
                <a:gd name="connsiteX3" fmla="*/ 0 w 112411"/>
                <a:gd name="connsiteY3" fmla="*/ 56206 h 112411"/>
                <a:gd name="connsiteX4" fmla="*/ 56206 w 112411"/>
                <a:gd name="connsiteY4" fmla="*/ 112412 h 112411"/>
                <a:gd name="connsiteX5" fmla="*/ 56206 w 112411"/>
                <a:gd name="connsiteY5" fmla="*/ 12459 h 112411"/>
                <a:gd name="connsiteX6" fmla="*/ 99922 w 112411"/>
                <a:gd name="connsiteY6" fmla="*/ 56175 h 112411"/>
                <a:gd name="connsiteX7" fmla="*/ 56206 w 112411"/>
                <a:gd name="connsiteY7" fmla="*/ 99890 h 112411"/>
                <a:gd name="connsiteX8" fmla="*/ 12490 w 112411"/>
                <a:gd name="connsiteY8" fmla="*/ 56175 h 112411"/>
                <a:gd name="connsiteX9" fmla="*/ 56206 w 112411"/>
                <a:gd name="connsiteY9" fmla="*/ 12459 h 112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2411" h="112411">
                  <a:moveTo>
                    <a:pt x="56206" y="112412"/>
                  </a:moveTo>
                  <a:cubicBezTo>
                    <a:pt x="87248" y="112412"/>
                    <a:pt x="112412" y="87248"/>
                    <a:pt x="112412" y="56206"/>
                  </a:cubicBezTo>
                  <a:cubicBezTo>
                    <a:pt x="112412" y="25164"/>
                    <a:pt x="87248" y="0"/>
                    <a:pt x="56206" y="0"/>
                  </a:cubicBezTo>
                  <a:cubicBezTo>
                    <a:pt x="25164" y="0"/>
                    <a:pt x="0" y="25164"/>
                    <a:pt x="0" y="56206"/>
                  </a:cubicBezTo>
                  <a:cubicBezTo>
                    <a:pt x="0" y="87248"/>
                    <a:pt x="25164" y="112412"/>
                    <a:pt x="56206" y="112412"/>
                  </a:cubicBezTo>
                  <a:close/>
                  <a:moveTo>
                    <a:pt x="56206" y="12459"/>
                  </a:moveTo>
                  <a:cubicBezTo>
                    <a:pt x="80349" y="12459"/>
                    <a:pt x="99922" y="32031"/>
                    <a:pt x="99922" y="56175"/>
                  </a:cubicBezTo>
                  <a:cubicBezTo>
                    <a:pt x="99922" y="80318"/>
                    <a:pt x="80349" y="99890"/>
                    <a:pt x="56206" y="99890"/>
                  </a:cubicBezTo>
                  <a:cubicBezTo>
                    <a:pt x="32062" y="99890"/>
                    <a:pt x="12490" y="80318"/>
                    <a:pt x="12490" y="56175"/>
                  </a:cubicBezTo>
                  <a:cubicBezTo>
                    <a:pt x="12521" y="32044"/>
                    <a:pt x="32075" y="12490"/>
                    <a:pt x="56206" y="12459"/>
                  </a:cubicBezTo>
                  <a:close/>
                </a:path>
              </a:pathLst>
            </a:custGeom>
            <a:solidFill>
              <a:schemeClr val="lt1"/>
            </a:solidFill>
            <a:ln w="8202" cap="flat">
              <a:solidFill>
                <a:schemeClr val="accent5"/>
              </a:solidFill>
              <a:prstDash val="solid"/>
              <a:miter/>
            </a:ln>
          </p:spPr>
          <p:txBody>
            <a:bodyPr rtlCol="0" anchor="ctr"/>
            <a:lstStyle/>
            <a:p>
              <a:endParaRPr lang="en-GB"/>
            </a:p>
          </p:txBody>
        </p:sp>
        <p:sp>
          <p:nvSpPr>
            <p:cNvPr id="30" name="Frihandsfigur: Form 29">
              <a:extLst>
                <a:ext uri="{FF2B5EF4-FFF2-40B4-BE49-F238E27FC236}">
                  <a16:creationId xmlns:a16="http://schemas.microsoft.com/office/drawing/2014/main" id="{472C9CF1-AABD-DA28-61FF-C06ABA2CC6DA}"/>
                </a:ext>
              </a:extLst>
            </p:cNvPr>
            <p:cNvSpPr/>
            <p:nvPr/>
          </p:nvSpPr>
          <p:spPr>
            <a:xfrm>
              <a:off x="15991176" y="2703922"/>
              <a:ext cx="189539" cy="106166"/>
            </a:xfrm>
            <a:custGeom>
              <a:avLst/>
              <a:gdLst>
                <a:gd name="connsiteX0" fmla="*/ 176418 w 189539"/>
                <a:gd name="connsiteY0" fmla="*/ 33093 h 106166"/>
                <a:gd name="connsiteX1" fmla="*/ 122416 w 189539"/>
                <a:gd name="connsiteY1" fmla="*/ 7294 h 106166"/>
                <a:gd name="connsiteX2" fmla="*/ 77121 w 189539"/>
                <a:gd name="connsiteY2" fmla="*/ 0 h 106166"/>
                <a:gd name="connsiteX3" fmla="*/ 31962 w 189539"/>
                <a:gd name="connsiteY3" fmla="*/ 7263 h 106166"/>
                <a:gd name="connsiteX4" fmla="*/ 2048 w 189539"/>
                <a:gd name="connsiteY4" fmla="*/ 18660 h 106166"/>
                <a:gd name="connsiteX5" fmla="*/ 0 w 189539"/>
                <a:gd name="connsiteY5" fmla="*/ 33898 h 106166"/>
                <a:gd name="connsiteX6" fmla="*/ 35460 w 189539"/>
                <a:gd name="connsiteY6" fmla="*/ 19247 h 106166"/>
                <a:gd name="connsiteX7" fmla="*/ 77121 w 189539"/>
                <a:gd name="connsiteY7" fmla="*/ 12490 h 106166"/>
                <a:gd name="connsiteX8" fmla="*/ 119238 w 189539"/>
                <a:gd name="connsiteY8" fmla="*/ 19360 h 106166"/>
                <a:gd name="connsiteX9" fmla="*/ 168649 w 189539"/>
                <a:gd name="connsiteY9" fmla="*/ 42873 h 106166"/>
                <a:gd name="connsiteX10" fmla="*/ 169186 w 189539"/>
                <a:gd name="connsiteY10" fmla="*/ 43272 h 106166"/>
                <a:gd name="connsiteX11" fmla="*/ 177042 w 189539"/>
                <a:gd name="connsiteY11" fmla="*/ 59328 h 106166"/>
                <a:gd name="connsiteX12" fmla="*/ 177042 w 189539"/>
                <a:gd name="connsiteY12" fmla="*/ 106167 h 106166"/>
                <a:gd name="connsiteX13" fmla="*/ 189532 w 189539"/>
                <a:gd name="connsiteY13" fmla="*/ 106167 h 106166"/>
                <a:gd name="connsiteX14" fmla="*/ 189532 w 189539"/>
                <a:gd name="connsiteY14" fmla="*/ 59328 h 106166"/>
                <a:gd name="connsiteX15" fmla="*/ 176418 w 189539"/>
                <a:gd name="connsiteY15" fmla="*/ 33093 h 106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9539" h="106166">
                  <a:moveTo>
                    <a:pt x="176418" y="33093"/>
                  </a:moveTo>
                  <a:cubicBezTo>
                    <a:pt x="160500" y="20680"/>
                    <a:pt x="142074" y="11877"/>
                    <a:pt x="122416" y="7294"/>
                  </a:cubicBezTo>
                  <a:cubicBezTo>
                    <a:pt x="107700" y="2900"/>
                    <a:pt x="92472" y="447"/>
                    <a:pt x="77121" y="0"/>
                  </a:cubicBezTo>
                  <a:cubicBezTo>
                    <a:pt x="61778" y="16"/>
                    <a:pt x="46536" y="2467"/>
                    <a:pt x="31962" y="7263"/>
                  </a:cubicBezTo>
                  <a:cubicBezTo>
                    <a:pt x="21601" y="9945"/>
                    <a:pt x="11568" y="13768"/>
                    <a:pt x="2048" y="18660"/>
                  </a:cubicBezTo>
                  <a:cubicBezTo>
                    <a:pt x="1895" y="23797"/>
                    <a:pt x="1209" y="28904"/>
                    <a:pt x="0" y="33898"/>
                  </a:cubicBezTo>
                  <a:cubicBezTo>
                    <a:pt x="11106" y="27440"/>
                    <a:pt x="23034" y="22512"/>
                    <a:pt x="35460" y="19247"/>
                  </a:cubicBezTo>
                  <a:cubicBezTo>
                    <a:pt x="48907" y="14829"/>
                    <a:pt x="62966" y="12549"/>
                    <a:pt x="77121" y="12490"/>
                  </a:cubicBezTo>
                  <a:cubicBezTo>
                    <a:pt x="91398" y="12950"/>
                    <a:pt x="105555" y="15259"/>
                    <a:pt x="119238" y="19360"/>
                  </a:cubicBezTo>
                  <a:cubicBezTo>
                    <a:pt x="137227" y="23496"/>
                    <a:pt x="154092" y="31521"/>
                    <a:pt x="168649" y="42873"/>
                  </a:cubicBezTo>
                  <a:lnTo>
                    <a:pt x="169186" y="43272"/>
                  </a:lnTo>
                  <a:cubicBezTo>
                    <a:pt x="174322" y="46976"/>
                    <a:pt x="177270" y="53000"/>
                    <a:pt x="177042" y="59328"/>
                  </a:cubicBezTo>
                  <a:lnTo>
                    <a:pt x="177042" y="106167"/>
                  </a:lnTo>
                  <a:lnTo>
                    <a:pt x="189532" y="106167"/>
                  </a:lnTo>
                  <a:lnTo>
                    <a:pt x="189532" y="59328"/>
                  </a:lnTo>
                  <a:cubicBezTo>
                    <a:pt x="189760" y="48954"/>
                    <a:pt x="184852" y="39136"/>
                    <a:pt x="176418" y="33093"/>
                  </a:cubicBezTo>
                  <a:close/>
                </a:path>
              </a:pathLst>
            </a:custGeom>
            <a:solidFill>
              <a:schemeClr val="lt1"/>
            </a:solidFill>
            <a:ln w="8202" cap="flat">
              <a:solidFill>
                <a:schemeClr val="accent5"/>
              </a:solidFill>
              <a:prstDash val="solid"/>
              <a:miter/>
            </a:ln>
          </p:spPr>
          <p:txBody>
            <a:bodyPr rtlCol="0" anchor="ctr"/>
            <a:lstStyle/>
            <a:p>
              <a:endParaRPr lang="en-GB"/>
            </a:p>
          </p:txBody>
        </p:sp>
        <p:sp>
          <p:nvSpPr>
            <p:cNvPr id="128" name="Frihandsfigur: Form 127">
              <a:extLst>
                <a:ext uri="{FF2B5EF4-FFF2-40B4-BE49-F238E27FC236}">
                  <a16:creationId xmlns:a16="http://schemas.microsoft.com/office/drawing/2014/main" id="{1B4F580E-026C-061C-713B-BBD74BBB53B0}"/>
                </a:ext>
              </a:extLst>
            </p:cNvPr>
            <p:cNvSpPr/>
            <p:nvPr/>
          </p:nvSpPr>
          <p:spPr>
            <a:xfrm>
              <a:off x="15656170" y="2703922"/>
              <a:ext cx="189220" cy="106166"/>
            </a:xfrm>
            <a:custGeom>
              <a:avLst/>
              <a:gdLst>
                <a:gd name="connsiteX0" fmla="*/ 189220 w 189220"/>
                <a:gd name="connsiteY0" fmla="*/ 32930 h 106166"/>
                <a:gd name="connsiteX1" fmla="*/ 187347 w 189220"/>
                <a:gd name="connsiteY1" fmla="*/ 17892 h 106166"/>
                <a:gd name="connsiteX2" fmla="*/ 157645 w 189220"/>
                <a:gd name="connsiteY2" fmla="*/ 7276 h 106166"/>
                <a:gd name="connsiteX3" fmla="*/ 112362 w 189220"/>
                <a:gd name="connsiteY3" fmla="*/ 0 h 106166"/>
                <a:gd name="connsiteX4" fmla="*/ 67203 w 189220"/>
                <a:gd name="connsiteY4" fmla="*/ 7263 h 106166"/>
                <a:gd name="connsiteX5" fmla="*/ 12827 w 189220"/>
                <a:gd name="connsiteY5" fmla="*/ 33299 h 106166"/>
                <a:gd name="connsiteX6" fmla="*/ 0 w 189220"/>
                <a:gd name="connsiteY6" fmla="*/ 59328 h 106166"/>
                <a:gd name="connsiteX7" fmla="*/ 0 w 189220"/>
                <a:gd name="connsiteY7" fmla="*/ 106167 h 106166"/>
                <a:gd name="connsiteX8" fmla="*/ 12490 w 189220"/>
                <a:gd name="connsiteY8" fmla="*/ 106167 h 106166"/>
                <a:gd name="connsiteX9" fmla="*/ 12490 w 189220"/>
                <a:gd name="connsiteY9" fmla="*/ 59328 h 106166"/>
                <a:gd name="connsiteX10" fmla="*/ 20409 w 189220"/>
                <a:gd name="connsiteY10" fmla="*/ 43229 h 106166"/>
                <a:gd name="connsiteX11" fmla="*/ 70726 w 189220"/>
                <a:gd name="connsiteY11" fmla="*/ 19247 h 106166"/>
                <a:gd name="connsiteX12" fmla="*/ 112362 w 189220"/>
                <a:gd name="connsiteY12" fmla="*/ 12490 h 106166"/>
                <a:gd name="connsiteX13" fmla="*/ 154479 w 189220"/>
                <a:gd name="connsiteY13" fmla="*/ 19360 h 106166"/>
                <a:gd name="connsiteX14" fmla="*/ 189220 w 189220"/>
                <a:gd name="connsiteY14" fmla="*/ 32930 h 106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9220" h="106166">
                  <a:moveTo>
                    <a:pt x="189220" y="32930"/>
                  </a:moveTo>
                  <a:cubicBezTo>
                    <a:pt x="188083" y="27995"/>
                    <a:pt x="187455" y="22956"/>
                    <a:pt x="187347" y="17892"/>
                  </a:cubicBezTo>
                  <a:cubicBezTo>
                    <a:pt x="177817" y="13393"/>
                    <a:pt x="167868" y="9837"/>
                    <a:pt x="157645" y="7276"/>
                  </a:cubicBezTo>
                  <a:cubicBezTo>
                    <a:pt x="142932" y="2888"/>
                    <a:pt x="127708" y="442"/>
                    <a:pt x="112362" y="0"/>
                  </a:cubicBezTo>
                  <a:cubicBezTo>
                    <a:pt x="97019" y="16"/>
                    <a:pt x="81777" y="2467"/>
                    <a:pt x="67203" y="7263"/>
                  </a:cubicBezTo>
                  <a:cubicBezTo>
                    <a:pt x="47657" y="12593"/>
                    <a:pt x="29235" y="21413"/>
                    <a:pt x="12827" y="33299"/>
                  </a:cubicBezTo>
                  <a:cubicBezTo>
                    <a:pt x="4748" y="39518"/>
                    <a:pt x="10" y="49133"/>
                    <a:pt x="0" y="59328"/>
                  </a:cubicBezTo>
                  <a:lnTo>
                    <a:pt x="0" y="106167"/>
                  </a:lnTo>
                  <a:lnTo>
                    <a:pt x="12490" y="106167"/>
                  </a:lnTo>
                  <a:lnTo>
                    <a:pt x="12490" y="59328"/>
                  </a:lnTo>
                  <a:cubicBezTo>
                    <a:pt x="12502" y="53027"/>
                    <a:pt x="15425" y="47084"/>
                    <a:pt x="20409" y="43229"/>
                  </a:cubicBezTo>
                  <a:cubicBezTo>
                    <a:pt x="35606" y="32280"/>
                    <a:pt x="52650" y="24156"/>
                    <a:pt x="70726" y="19247"/>
                  </a:cubicBezTo>
                  <a:cubicBezTo>
                    <a:pt x="84166" y="14831"/>
                    <a:pt x="98215" y="12551"/>
                    <a:pt x="112362" y="12490"/>
                  </a:cubicBezTo>
                  <a:cubicBezTo>
                    <a:pt x="126639" y="12950"/>
                    <a:pt x="140796" y="15260"/>
                    <a:pt x="154479" y="19360"/>
                  </a:cubicBezTo>
                  <a:cubicBezTo>
                    <a:pt x="166607" y="22332"/>
                    <a:pt x="178288" y="26896"/>
                    <a:pt x="189220" y="32930"/>
                  </a:cubicBezTo>
                  <a:close/>
                </a:path>
              </a:pathLst>
            </a:custGeom>
            <a:solidFill>
              <a:schemeClr val="lt1"/>
            </a:solidFill>
            <a:ln w="8202" cap="flat">
              <a:solidFill>
                <a:schemeClr val="accent5"/>
              </a:solidFill>
              <a:prstDash val="solid"/>
              <a:miter/>
            </a:ln>
          </p:spPr>
          <p:txBody>
            <a:bodyPr rtlCol="0" anchor="ctr"/>
            <a:lstStyle/>
            <a:p>
              <a:endParaRPr lang="en-GB"/>
            </a:p>
          </p:txBody>
        </p:sp>
        <p:sp>
          <p:nvSpPr>
            <p:cNvPr id="130" name="Frihandsfigur: Form 129">
              <a:extLst>
                <a:ext uri="{FF2B5EF4-FFF2-40B4-BE49-F238E27FC236}">
                  <a16:creationId xmlns:a16="http://schemas.microsoft.com/office/drawing/2014/main" id="{1862E28E-2733-C802-F69F-271B853CBF67}"/>
                </a:ext>
              </a:extLst>
            </p:cNvPr>
            <p:cNvSpPr/>
            <p:nvPr/>
          </p:nvSpPr>
          <p:spPr>
            <a:xfrm>
              <a:off x="15806002" y="2790167"/>
              <a:ext cx="224830" cy="106166"/>
            </a:xfrm>
            <a:custGeom>
              <a:avLst/>
              <a:gdLst>
                <a:gd name="connsiteX0" fmla="*/ 211709 w 224830"/>
                <a:gd name="connsiteY0" fmla="*/ 33099 h 106166"/>
                <a:gd name="connsiteX1" fmla="*/ 157707 w 224830"/>
                <a:gd name="connsiteY1" fmla="*/ 7301 h 106166"/>
                <a:gd name="connsiteX2" fmla="*/ 112412 w 224830"/>
                <a:gd name="connsiteY2" fmla="*/ 0 h 106166"/>
                <a:gd name="connsiteX3" fmla="*/ 67266 w 224830"/>
                <a:gd name="connsiteY3" fmla="*/ 7263 h 106166"/>
                <a:gd name="connsiteX4" fmla="*/ 12890 w 224830"/>
                <a:gd name="connsiteY4" fmla="*/ 33299 h 106166"/>
                <a:gd name="connsiteX5" fmla="*/ 0 w 224830"/>
                <a:gd name="connsiteY5" fmla="*/ 59328 h 106166"/>
                <a:gd name="connsiteX6" fmla="*/ 0 w 224830"/>
                <a:gd name="connsiteY6" fmla="*/ 106167 h 106166"/>
                <a:gd name="connsiteX7" fmla="*/ 12490 w 224830"/>
                <a:gd name="connsiteY7" fmla="*/ 106167 h 106166"/>
                <a:gd name="connsiteX8" fmla="*/ 12490 w 224830"/>
                <a:gd name="connsiteY8" fmla="*/ 59328 h 106166"/>
                <a:gd name="connsiteX9" fmla="*/ 20415 w 224830"/>
                <a:gd name="connsiteY9" fmla="*/ 43229 h 106166"/>
                <a:gd name="connsiteX10" fmla="*/ 70726 w 224830"/>
                <a:gd name="connsiteY10" fmla="*/ 19247 h 106166"/>
                <a:gd name="connsiteX11" fmla="*/ 112412 w 224830"/>
                <a:gd name="connsiteY11" fmla="*/ 12490 h 106166"/>
                <a:gd name="connsiteX12" fmla="*/ 154535 w 224830"/>
                <a:gd name="connsiteY12" fmla="*/ 19360 h 106166"/>
                <a:gd name="connsiteX13" fmla="*/ 203940 w 224830"/>
                <a:gd name="connsiteY13" fmla="*/ 42866 h 106166"/>
                <a:gd name="connsiteX14" fmla="*/ 204477 w 224830"/>
                <a:gd name="connsiteY14" fmla="*/ 43266 h 106166"/>
                <a:gd name="connsiteX15" fmla="*/ 212333 w 224830"/>
                <a:gd name="connsiteY15" fmla="*/ 59328 h 106166"/>
                <a:gd name="connsiteX16" fmla="*/ 212333 w 224830"/>
                <a:gd name="connsiteY16" fmla="*/ 106167 h 106166"/>
                <a:gd name="connsiteX17" fmla="*/ 224823 w 224830"/>
                <a:gd name="connsiteY17" fmla="*/ 106167 h 106166"/>
                <a:gd name="connsiteX18" fmla="*/ 224823 w 224830"/>
                <a:gd name="connsiteY18" fmla="*/ 59328 h 106166"/>
                <a:gd name="connsiteX19" fmla="*/ 211709 w 224830"/>
                <a:gd name="connsiteY19" fmla="*/ 33099 h 106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24830" h="106166">
                  <a:moveTo>
                    <a:pt x="211709" y="33099"/>
                  </a:moveTo>
                  <a:cubicBezTo>
                    <a:pt x="195792" y="20684"/>
                    <a:pt x="177366" y="11881"/>
                    <a:pt x="157707" y="7301"/>
                  </a:cubicBezTo>
                  <a:cubicBezTo>
                    <a:pt x="142991" y="2906"/>
                    <a:pt x="127763" y="453"/>
                    <a:pt x="112412" y="0"/>
                  </a:cubicBezTo>
                  <a:cubicBezTo>
                    <a:pt x="97074" y="15"/>
                    <a:pt x="81835" y="2467"/>
                    <a:pt x="67266" y="7263"/>
                  </a:cubicBezTo>
                  <a:cubicBezTo>
                    <a:pt x="47718" y="12589"/>
                    <a:pt x="29295" y="21409"/>
                    <a:pt x="12890" y="33299"/>
                  </a:cubicBezTo>
                  <a:cubicBezTo>
                    <a:pt x="4784" y="39503"/>
                    <a:pt x="22" y="49121"/>
                    <a:pt x="0" y="59328"/>
                  </a:cubicBezTo>
                  <a:lnTo>
                    <a:pt x="0" y="106167"/>
                  </a:lnTo>
                  <a:lnTo>
                    <a:pt x="12490" y="106167"/>
                  </a:lnTo>
                  <a:lnTo>
                    <a:pt x="12490" y="59328"/>
                  </a:lnTo>
                  <a:cubicBezTo>
                    <a:pt x="12501" y="53025"/>
                    <a:pt x="15427" y="47082"/>
                    <a:pt x="20415" y="43229"/>
                  </a:cubicBezTo>
                  <a:cubicBezTo>
                    <a:pt x="35608" y="32277"/>
                    <a:pt x="52651" y="24154"/>
                    <a:pt x="70726" y="19247"/>
                  </a:cubicBezTo>
                  <a:cubicBezTo>
                    <a:pt x="84181" y="14826"/>
                    <a:pt x="98248" y="12546"/>
                    <a:pt x="112412" y="12490"/>
                  </a:cubicBezTo>
                  <a:cubicBezTo>
                    <a:pt x="126691" y="12948"/>
                    <a:pt x="140850" y="15257"/>
                    <a:pt x="154535" y="19360"/>
                  </a:cubicBezTo>
                  <a:cubicBezTo>
                    <a:pt x="172523" y="23490"/>
                    <a:pt x="189387" y="31514"/>
                    <a:pt x="203940" y="42866"/>
                  </a:cubicBezTo>
                  <a:lnTo>
                    <a:pt x="204477" y="43266"/>
                  </a:lnTo>
                  <a:cubicBezTo>
                    <a:pt x="209615" y="46972"/>
                    <a:pt x="212562" y="52998"/>
                    <a:pt x="212333" y="59328"/>
                  </a:cubicBezTo>
                  <a:lnTo>
                    <a:pt x="212333" y="106167"/>
                  </a:lnTo>
                  <a:lnTo>
                    <a:pt x="224823" y="106167"/>
                  </a:lnTo>
                  <a:lnTo>
                    <a:pt x="224823" y="59328"/>
                  </a:lnTo>
                  <a:cubicBezTo>
                    <a:pt x="225049" y="48957"/>
                    <a:pt x="220142" y="39141"/>
                    <a:pt x="211709" y="33099"/>
                  </a:cubicBezTo>
                  <a:close/>
                </a:path>
              </a:pathLst>
            </a:custGeom>
            <a:solidFill>
              <a:schemeClr val="lt1"/>
            </a:solidFill>
            <a:ln w="8202" cap="flat">
              <a:solidFill>
                <a:schemeClr val="accent5"/>
              </a:solidFill>
              <a:prstDash val="solid"/>
              <a:miter/>
            </a:ln>
          </p:spPr>
          <p:txBody>
            <a:bodyPr rtlCol="0" anchor="ctr"/>
            <a:lstStyle/>
            <a:p>
              <a:endParaRPr lang="en-GB"/>
            </a:p>
          </p:txBody>
        </p:sp>
        <p:sp>
          <p:nvSpPr>
            <p:cNvPr id="142" name="Frihandsfigur: Form 141">
              <a:extLst>
                <a:ext uri="{FF2B5EF4-FFF2-40B4-BE49-F238E27FC236}">
                  <a16:creationId xmlns:a16="http://schemas.microsoft.com/office/drawing/2014/main" id="{804D1714-488B-AE78-AA90-BDF9658689A4}"/>
                </a:ext>
              </a:extLst>
            </p:cNvPr>
            <p:cNvSpPr/>
            <p:nvPr/>
          </p:nvSpPr>
          <p:spPr>
            <a:xfrm>
              <a:off x="15862208" y="2664110"/>
              <a:ext cx="112411" cy="112411"/>
            </a:xfrm>
            <a:custGeom>
              <a:avLst/>
              <a:gdLst>
                <a:gd name="connsiteX0" fmla="*/ 56206 w 112411"/>
                <a:gd name="connsiteY0" fmla="*/ 112412 h 112411"/>
                <a:gd name="connsiteX1" fmla="*/ 112412 w 112411"/>
                <a:gd name="connsiteY1" fmla="*/ 56206 h 112411"/>
                <a:gd name="connsiteX2" fmla="*/ 56206 w 112411"/>
                <a:gd name="connsiteY2" fmla="*/ 0 h 112411"/>
                <a:gd name="connsiteX3" fmla="*/ 0 w 112411"/>
                <a:gd name="connsiteY3" fmla="*/ 56206 h 112411"/>
                <a:gd name="connsiteX4" fmla="*/ 56206 w 112411"/>
                <a:gd name="connsiteY4" fmla="*/ 112412 h 112411"/>
                <a:gd name="connsiteX5" fmla="*/ 56206 w 112411"/>
                <a:gd name="connsiteY5" fmla="*/ 12490 h 112411"/>
                <a:gd name="connsiteX6" fmla="*/ 99922 w 112411"/>
                <a:gd name="connsiteY6" fmla="*/ 56206 h 112411"/>
                <a:gd name="connsiteX7" fmla="*/ 56206 w 112411"/>
                <a:gd name="connsiteY7" fmla="*/ 99922 h 112411"/>
                <a:gd name="connsiteX8" fmla="*/ 12490 w 112411"/>
                <a:gd name="connsiteY8" fmla="*/ 56206 h 112411"/>
                <a:gd name="connsiteX9" fmla="*/ 56206 w 112411"/>
                <a:gd name="connsiteY9" fmla="*/ 12459 h 112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2411" h="112411">
                  <a:moveTo>
                    <a:pt x="56206" y="112412"/>
                  </a:moveTo>
                  <a:cubicBezTo>
                    <a:pt x="87248" y="112412"/>
                    <a:pt x="112412" y="87248"/>
                    <a:pt x="112412" y="56206"/>
                  </a:cubicBezTo>
                  <a:cubicBezTo>
                    <a:pt x="112412" y="25164"/>
                    <a:pt x="87248" y="0"/>
                    <a:pt x="56206" y="0"/>
                  </a:cubicBezTo>
                  <a:cubicBezTo>
                    <a:pt x="25164" y="0"/>
                    <a:pt x="0" y="25164"/>
                    <a:pt x="0" y="56206"/>
                  </a:cubicBezTo>
                  <a:cubicBezTo>
                    <a:pt x="0" y="87248"/>
                    <a:pt x="25164" y="112412"/>
                    <a:pt x="56206" y="112412"/>
                  </a:cubicBezTo>
                  <a:close/>
                  <a:moveTo>
                    <a:pt x="56206" y="12490"/>
                  </a:moveTo>
                  <a:cubicBezTo>
                    <a:pt x="80349" y="12490"/>
                    <a:pt x="99922" y="32062"/>
                    <a:pt x="99922" y="56206"/>
                  </a:cubicBezTo>
                  <a:cubicBezTo>
                    <a:pt x="99922" y="80349"/>
                    <a:pt x="80349" y="99922"/>
                    <a:pt x="56206" y="99922"/>
                  </a:cubicBezTo>
                  <a:cubicBezTo>
                    <a:pt x="32062" y="99922"/>
                    <a:pt x="12490" y="80349"/>
                    <a:pt x="12490" y="56206"/>
                  </a:cubicBezTo>
                  <a:cubicBezTo>
                    <a:pt x="12508" y="32064"/>
                    <a:pt x="32064" y="12493"/>
                    <a:pt x="56206" y="12459"/>
                  </a:cubicBezTo>
                  <a:close/>
                </a:path>
              </a:pathLst>
            </a:custGeom>
            <a:solidFill>
              <a:schemeClr val="lt1"/>
            </a:solidFill>
            <a:ln w="8202" cap="flat">
              <a:solidFill>
                <a:schemeClr val="accent5"/>
              </a:solidFill>
              <a:prstDash val="solid"/>
              <a:miter/>
            </a:ln>
          </p:spPr>
          <p:txBody>
            <a:bodyPr rtlCol="0" anchor="ctr"/>
            <a:lstStyle/>
            <a:p>
              <a:endParaRPr lang="en-GB"/>
            </a:p>
          </p:txBody>
        </p:sp>
      </p:grpSp>
      <p:grpSp>
        <p:nvGrpSpPr>
          <p:cNvPr id="146" name="Bild 140" descr="Frysbox för kassör kontur">
            <a:extLst>
              <a:ext uri="{FF2B5EF4-FFF2-40B4-BE49-F238E27FC236}">
                <a16:creationId xmlns:a16="http://schemas.microsoft.com/office/drawing/2014/main" id="{7FD52C25-4203-A4C1-6FE4-F53C720B20B3}"/>
              </a:ext>
            </a:extLst>
          </p:cNvPr>
          <p:cNvGrpSpPr/>
          <p:nvPr/>
        </p:nvGrpSpPr>
        <p:grpSpPr>
          <a:xfrm>
            <a:off x="16339831" y="6959755"/>
            <a:ext cx="571911" cy="505852"/>
            <a:chOff x="15636443" y="6959755"/>
            <a:chExt cx="571911" cy="505852"/>
          </a:xfrm>
          <a:solidFill>
            <a:schemeClr val="lt1"/>
          </a:solidFill>
        </p:grpSpPr>
        <p:sp>
          <p:nvSpPr>
            <p:cNvPr id="147" name="Frihandsfigur: Form 146">
              <a:extLst>
                <a:ext uri="{FF2B5EF4-FFF2-40B4-BE49-F238E27FC236}">
                  <a16:creationId xmlns:a16="http://schemas.microsoft.com/office/drawing/2014/main" id="{FEC7DFA2-7679-BB8B-C02D-77BC22B05978}"/>
                </a:ext>
              </a:extLst>
            </p:cNvPr>
            <p:cNvSpPr/>
            <p:nvPr/>
          </p:nvSpPr>
          <p:spPr>
            <a:xfrm>
              <a:off x="15636443" y="7128372"/>
              <a:ext cx="47468" cy="56205"/>
            </a:xfrm>
            <a:custGeom>
              <a:avLst/>
              <a:gdLst>
                <a:gd name="connsiteX0" fmla="*/ 23734 w 47468"/>
                <a:gd name="connsiteY0" fmla="*/ 0 h 56205"/>
                <a:gd name="connsiteX1" fmla="*/ 0 w 47468"/>
                <a:gd name="connsiteY1" fmla="*/ 28103 h 56205"/>
                <a:gd name="connsiteX2" fmla="*/ 23734 w 47468"/>
                <a:gd name="connsiteY2" fmla="*/ 56206 h 56205"/>
                <a:gd name="connsiteX3" fmla="*/ 47469 w 47468"/>
                <a:gd name="connsiteY3" fmla="*/ 28103 h 56205"/>
                <a:gd name="connsiteX4" fmla="*/ 23734 w 47468"/>
                <a:gd name="connsiteY4" fmla="*/ 0 h 56205"/>
                <a:gd name="connsiteX5" fmla="*/ 23734 w 47468"/>
                <a:gd name="connsiteY5" fmla="*/ 30711 h 56205"/>
                <a:gd name="connsiteX6" fmla="*/ 21354 w 47468"/>
                <a:gd name="connsiteY6" fmla="*/ 28103 h 56205"/>
                <a:gd name="connsiteX7" fmla="*/ 23734 w 47468"/>
                <a:gd name="connsiteY7" fmla="*/ 25495 h 56205"/>
                <a:gd name="connsiteX8" fmla="*/ 26114 w 47468"/>
                <a:gd name="connsiteY8" fmla="*/ 28103 h 56205"/>
                <a:gd name="connsiteX9" fmla="*/ 23734 w 47468"/>
                <a:gd name="connsiteY9" fmla="*/ 30711 h 56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468" h="56205">
                  <a:moveTo>
                    <a:pt x="23734" y="0"/>
                  </a:moveTo>
                  <a:cubicBezTo>
                    <a:pt x="20231" y="12344"/>
                    <a:pt x="11584" y="22583"/>
                    <a:pt x="0" y="28103"/>
                  </a:cubicBezTo>
                  <a:cubicBezTo>
                    <a:pt x="11584" y="33623"/>
                    <a:pt x="20231" y="43862"/>
                    <a:pt x="23734" y="56206"/>
                  </a:cubicBezTo>
                  <a:cubicBezTo>
                    <a:pt x="27238" y="43862"/>
                    <a:pt x="35885" y="33623"/>
                    <a:pt x="47469" y="28103"/>
                  </a:cubicBezTo>
                  <a:cubicBezTo>
                    <a:pt x="35885" y="22583"/>
                    <a:pt x="27238" y="12344"/>
                    <a:pt x="23734" y="0"/>
                  </a:cubicBezTo>
                  <a:close/>
                  <a:moveTo>
                    <a:pt x="23734" y="30711"/>
                  </a:moveTo>
                  <a:cubicBezTo>
                    <a:pt x="22965" y="29813"/>
                    <a:pt x="22172" y="28944"/>
                    <a:pt x="21354" y="28103"/>
                  </a:cubicBezTo>
                  <a:cubicBezTo>
                    <a:pt x="22172" y="27262"/>
                    <a:pt x="22965" y="26392"/>
                    <a:pt x="23734" y="25495"/>
                  </a:cubicBezTo>
                  <a:cubicBezTo>
                    <a:pt x="24504" y="26392"/>
                    <a:pt x="25297" y="27262"/>
                    <a:pt x="26114" y="28103"/>
                  </a:cubicBezTo>
                  <a:cubicBezTo>
                    <a:pt x="25297" y="28944"/>
                    <a:pt x="24504" y="29813"/>
                    <a:pt x="23734" y="30711"/>
                  </a:cubicBezTo>
                  <a:close/>
                </a:path>
              </a:pathLst>
            </a:custGeom>
            <a:solidFill>
              <a:schemeClr val="lt1"/>
            </a:solidFill>
            <a:ln w="8202" cap="flat">
              <a:solidFill>
                <a:schemeClr val="accent5"/>
              </a:solidFill>
              <a:prstDash val="solid"/>
              <a:miter/>
            </a:ln>
          </p:spPr>
          <p:txBody>
            <a:bodyPr rtlCol="0" anchor="ctr"/>
            <a:lstStyle/>
            <a:p>
              <a:endParaRPr lang="en-GB"/>
            </a:p>
          </p:txBody>
        </p:sp>
        <p:sp>
          <p:nvSpPr>
            <p:cNvPr id="148" name="Frihandsfigur: Form 147">
              <a:extLst>
                <a:ext uri="{FF2B5EF4-FFF2-40B4-BE49-F238E27FC236}">
                  <a16:creationId xmlns:a16="http://schemas.microsoft.com/office/drawing/2014/main" id="{C42105D3-8FC0-A393-E8CF-92424F0D2541}"/>
                </a:ext>
              </a:extLst>
            </p:cNvPr>
            <p:cNvSpPr/>
            <p:nvPr/>
          </p:nvSpPr>
          <p:spPr>
            <a:xfrm>
              <a:off x="16150338" y="7159598"/>
              <a:ext cx="58016" cy="68696"/>
            </a:xfrm>
            <a:custGeom>
              <a:avLst/>
              <a:gdLst>
                <a:gd name="connsiteX0" fmla="*/ 29008 w 58016"/>
                <a:gd name="connsiteY0" fmla="*/ 0 h 68696"/>
                <a:gd name="connsiteX1" fmla="*/ 0 w 58016"/>
                <a:gd name="connsiteY1" fmla="*/ 34348 h 68696"/>
                <a:gd name="connsiteX2" fmla="*/ 29008 w 58016"/>
                <a:gd name="connsiteY2" fmla="*/ 68696 h 68696"/>
                <a:gd name="connsiteX3" fmla="*/ 58017 w 58016"/>
                <a:gd name="connsiteY3" fmla="*/ 34348 h 68696"/>
                <a:gd name="connsiteX4" fmla="*/ 29008 w 58016"/>
                <a:gd name="connsiteY4" fmla="*/ 0 h 68696"/>
                <a:gd name="connsiteX5" fmla="*/ 29008 w 58016"/>
                <a:gd name="connsiteY5" fmla="*/ 41926 h 68696"/>
                <a:gd name="connsiteX6" fmla="*/ 22148 w 58016"/>
                <a:gd name="connsiteY6" fmla="*/ 34348 h 68696"/>
                <a:gd name="connsiteX7" fmla="*/ 29008 w 58016"/>
                <a:gd name="connsiteY7" fmla="*/ 26769 h 68696"/>
                <a:gd name="connsiteX8" fmla="*/ 35869 w 58016"/>
                <a:gd name="connsiteY8" fmla="*/ 34348 h 68696"/>
                <a:gd name="connsiteX9" fmla="*/ 29008 w 58016"/>
                <a:gd name="connsiteY9" fmla="*/ 41926 h 68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016" h="68696">
                  <a:moveTo>
                    <a:pt x="29008" y="0"/>
                  </a:moveTo>
                  <a:cubicBezTo>
                    <a:pt x="24726" y="15088"/>
                    <a:pt x="14158" y="27601"/>
                    <a:pt x="0" y="34348"/>
                  </a:cubicBezTo>
                  <a:cubicBezTo>
                    <a:pt x="14158" y="41095"/>
                    <a:pt x="24726" y="53609"/>
                    <a:pt x="29008" y="68696"/>
                  </a:cubicBezTo>
                  <a:cubicBezTo>
                    <a:pt x="33290" y="53609"/>
                    <a:pt x="43859" y="41095"/>
                    <a:pt x="58017" y="34348"/>
                  </a:cubicBezTo>
                  <a:cubicBezTo>
                    <a:pt x="43859" y="27601"/>
                    <a:pt x="33290" y="15088"/>
                    <a:pt x="29008" y="0"/>
                  </a:cubicBezTo>
                  <a:close/>
                  <a:moveTo>
                    <a:pt x="29008" y="41926"/>
                  </a:moveTo>
                  <a:cubicBezTo>
                    <a:pt x="26920" y="39227"/>
                    <a:pt x="24627" y="36694"/>
                    <a:pt x="22148" y="34348"/>
                  </a:cubicBezTo>
                  <a:cubicBezTo>
                    <a:pt x="24627" y="32002"/>
                    <a:pt x="26920" y="29469"/>
                    <a:pt x="29008" y="26769"/>
                  </a:cubicBezTo>
                  <a:cubicBezTo>
                    <a:pt x="31096" y="29469"/>
                    <a:pt x="33390" y="32002"/>
                    <a:pt x="35869" y="34348"/>
                  </a:cubicBezTo>
                  <a:cubicBezTo>
                    <a:pt x="33390" y="36694"/>
                    <a:pt x="31096" y="39227"/>
                    <a:pt x="29008" y="41926"/>
                  </a:cubicBezTo>
                  <a:close/>
                </a:path>
              </a:pathLst>
            </a:custGeom>
            <a:solidFill>
              <a:schemeClr val="lt1"/>
            </a:solidFill>
            <a:ln w="8202" cap="flat">
              <a:solidFill>
                <a:schemeClr val="accent5"/>
              </a:solidFill>
              <a:prstDash val="solid"/>
              <a:miter/>
            </a:ln>
          </p:spPr>
          <p:txBody>
            <a:bodyPr rtlCol="0" anchor="ctr"/>
            <a:lstStyle/>
            <a:p>
              <a:endParaRPr lang="en-GB"/>
            </a:p>
          </p:txBody>
        </p:sp>
        <p:sp>
          <p:nvSpPr>
            <p:cNvPr id="149" name="Frihandsfigur: Form 148">
              <a:extLst>
                <a:ext uri="{FF2B5EF4-FFF2-40B4-BE49-F238E27FC236}">
                  <a16:creationId xmlns:a16="http://schemas.microsoft.com/office/drawing/2014/main" id="{84031186-D3F3-852F-4B44-284B6F6A6D7A}"/>
                </a:ext>
              </a:extLst>
            </p:cNvPr>
            <p:cNvSpPr/>
            <p:nvPr/>
          </p:nvSpPr>
          <p:spPr>
            <a:xfrm>
              <a:off x="15943423" y="7103392"/>
              <a:ext cx="42194" cy="49960"/>
            </a:xfrm>
            <a:custGeom>
              <a:avLst/>
              <a:gdLst>
                <a:gd name="connsiteX0" fmla="*/ 21097 w 42194"/>
                <a:gd name="connsiteY0" fmla="*/ 49961 h 49960"/>
                <a:gd name="connsiteX1" fmla="*/ 42194 w 42194"/>
                <a:gd name="connsiteY1" fmla="*/ 24980 h 49960"/>
                <a:gd name="connsiteX2" fmla="*/ 21097 w 42194"/>
                <a:gd name="connsiteY2" fmla="*/ 0 h 49960"/>
                <a:gd name="connsiteX3" fmla="*/ 0 w 42194"/>
                <a:gd name="connsiteY3" fmla="*/ 24980 h 49960"/>
                <a:gd name="connsiteX4" fmla="*/ 21097 w 42194"/>
                <a:gd name="connsiteY4" fmla="*/ 49961 h 499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94" h="49960">
                  <a:moveTo>
                    <a:pt x="21097" y="49961"/>
                  </a:moveTo>
                  <a:cubicBezTo>
                    <a:pt x="24212" y="38988"/>
                    <a:pt x="31898" y="29887"/>
                    <a:pt x="42194" y="24980"/>
                  </a:cubicBezTo>
                  <a:cubicBezTo>
                    <a:pt x="31898" y="20074"/>
                    <a:pt x="24212" y="10973"/>
                    <a:pt x="21097" y="0"/>
                  </a:cubicBezTo>
                  <a:cubicBezTo>
                    <a:pt x="17983" y="10973"/>
                    <a:pt x="10297" y="20074"/>
                    <a:pt x="0" y="24980"/>
                  </a:cubicBezTo>
                  <a:cubicBezTo>
                    <a:pt x="10297" y="29887"/>
                    <a:pt x="17983" y="38988"/>
                    <a:pt x="21097" y="49961"/>
                  </a:cubicBezTo>
                  <a:close/>
                </a:path>
              </a:pathLst>
            </a:custGeom>
            <a:solidFill>
              <a:schemeClr val="lt1"/>
            </a:solidFill>
            <a:ln w="8202" cap="flat">
              <a:solidFill>
                <a:schemeClr val="accent5"/>
              </a:solidFill>
              <a:prstDash val="solid"/>
              <a:miter/>
            </a:ln>
          </p:spPr>
          <p:txBody>
            <a:bodyPr rtlCol="0" anchor="ctr"/>
            <a:lstStyle/>
            <a:p>
              <a:endParaRPr lang="en-GB"/>
            </a:p>
          </p:txBody>
        </p:sp>
        <p:sp>
          <p:nvSpPr>
            <p:cNvPr id="150" name="Frihandsfigur: Form 149">
              <a:extLst>
                <a:ext uri="{FF2B5EF4-FFF2-40B4-BE49-F238E27FC236}">
                  <a16:creationId xmlns:a16="http://schemas.microsoft.com/office/drawing/2014/main" id="{5EBBCDB4-0A94-1FA3-2725-2C3FE21A3E7B}"/>
                </a:ext>
              </a:extLst>
            </p:cNvPr>
            <p:cNvSpPr/>
            <p:nvPr/>
          </p:nvSpPr>
          <p:spPr>
            <a:xfrm>
              <a:off x="15803250" y="6959755"/>
              <a:ext cx="52742" cy="62450"/>
            </a:xfrm>
            <a:custGeom>
              <a:avLst/>
              <a:gdLst>
                <a:gd name="connsiteX0" fmla="*/ 26371 w 52742"/>
                <a:gd name="connsiteY0" fmla="*/ 62451 h 62450"/>
                <a:gd name="connsiteX1" fmla="*/ 52742 w 52742"/>
                <a:gd name="connsiteY1" fmla="*/ 31225 h 62450"/>
                <a:gd name="connsiteX2" fmla="*/ 26371 w 52742"/>
                <a:gd name="connsiteY2" fmla="*/ 0 h 62450"/>
                <a:gd name="connsiteX3" fmla="*/ 0 w 52742"/>
                <a:gd name="connsiteY3" fmla="*/ 31225 h 62450"/>
                <a:gd name="connsiteX4" fmla="*/ 26371 w 52742"/>
                <a:gd name="connsiteY4" fmla="*/ 62451 h 62450"/>
                <a:gd name="connsiteX5" fmla="*/ 26371 w 52742"/>
                <a:gd name="connsiteY5" fmla="*/ 26162 h 62450"/>
                <a:gd name="connsiteX6" fmla="*/ 30972 w 52742"/>
                <a:gd name="connsiteY6" fmla="*/ 31225 h 62450"/>
                <a:gd name="connsiteX7" fmla="*/ 26371 w 52742"/>
                <a:gd name="connsiteY7" fmla="*/ 36289 h 62450"/>
                <a:gd name="connsiteX8" fmla="*/ 21770 w 52742"/>
                <a:gd name="connsiteY8" fmla="*/ 31225 h 62450"/>
                <a:gd name="connsiteX9" fmla="*/ 26371 w 52742"/>
                <a:gd name="connsiteY9" fmla="*/ 26162 h 62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742" h="62450">
                  <a:moveTo>
                    <a:pt x="26371" y="62451"/>
                  </a:moveTo>
                  <a:cubicBezTo>
                    <a:pt x="30264" y="48735"/>
                    <a:pt x="39872" y="37359"/>
                    <a:pt x="52742" y="31225"/>
                  </a:cubicBezTo>
                  <a:cubicBezTo>
                    <a:pt x="39872" y="25092"/>
                    <a:pt x="30264" y="13716"/>
                    <a:pt x="26371" y="0"/>
                  </a:cubicBezTo>
                  <a:cubicBezTo>
                    <a:pt x="22478" y="13716"/>
                    <a:pt x="12871" y="25092"/>
                    <a:pt x="0" y="31225"/>
                  </a:cubicBezTo>
                  <a:cubicBezTo>
                    <a:pt x="12871" y="37359"/>
                    <a:pt x="22479" y="48735"/>
                    <a:pt x="26371" y="62451"/>
                  </a:cubicBezTo>
                  <a:close/>
                  <a:moveTo>
                    <a:pt x="26371" y="26162"/>
                  </a:moveTo>
                  <a:cubicBezTo>
                    <a:pt x="27809" y="27934"/>
                    <a:pt x="29346" y="29625"/>
                    <a:pt x="30972" y="31225"/>
                  </a:cubicBezTo>
                  <a:cubicBezTo>
                    <a:pt x="29346" y="32826"/>
                    <a:pt x="27809" y="34517"/>
                    <a:pt x="26371" y="36289"/>
                  </a:cubicBezTo>
                  <a:cubicBezTo>
                    <a:pt x="24933" y="34517"/>
                    <a:pt x="23397" y="32826"/>
                    <a:pt x="21770" y="31225"/>
                  </a:cubicBezTo>
                  <a:cubicBezTo>
                    <a:pt x="23397" y="29625"/>
                    <a:pt x="24933" y="27934"/>
                    <a:pt x="26371" y="26162"/>
                  </a:cubicBezTo>
                  <a:close/>
                </a:path>
              </a:pathLst>
            </a:custGeom>
            <a:solidFill>
              <a:schemeClr val="lt1"/>
            </a:solidFill>
            <a:ln w="8202" cap="flat">
              <a:solidFill>
                <a:schemeClr val="accent5"/>
              </a:solidFill>
              <a:prstDash val="solid"/>
              <a:miter/>
            </a:ln>
          </p:spPr>
          <p:txBody>
            <a:bodyPr rtlCol="0" anchor="ctr"/>
            <a:lstStyle/>
            <a:p>
              <a:endParaRPr lang="en-GB"/>
            </a:p>
          </p:txBody>
        </p:sp>
        <p:sp>
          <p:nvSpPr>
            <p:cNvPr id="151" name="Frihandsfigur: Form 150">
              <a:extLst>
                <a:ext uri="{FF2B5EF4-FFF2-40B4-BE49-F238E27FC236}">
                  <a16:creationId xmlns:a16="http://schemas.microsoft.com/office/drawing/2014/main" id="{36308BEA-F035-05D3-B877-B20A54DCFEF9}"/>
                </a:ext>
              </a:extLst>
            </p:cNvPr>
            <p:cNvSpPr/>
            <p:nvPr/>
          </p:nvSpPr>
          <p:spPr>
            <a:xfrm>
              <a:off x="15681142" y="7028451"/>
              <a:ext cx="474627" cy="437156"/>
            </a:xfrm>
            <a:custGeom>
              <a:avLst/>
              <a:gdLst>
                <a:gd name="connsiteX0" fmla="*/ 467897 w 474627"/>
                <a:gd name="connsiteY0" fmla="*/ 67371 h 437156"/>
                <a:gd name="connsiteX1" fmla="*/ 468370 w 474627"/>
                <a:gd name="connsiteY1" fmla="*/ 66268 h 437156"/>
                <a:gd name="connsiteX2" fmla="*/ 468370 w 474627"/>
                <a:gd name="connsiteY2" fmla="*/ 46809 h 437156"/>
                <a:gd name="connsiteX3" fmla="*/ 462208 w 474627"/>
                <a:gd name="connsiteY3" fmla="*/ 31405 h 437156"/>
                <a:gd name="connsiteX4" fmla="*/ 415821 w 474627"/>
                <a:gd name="connsiteY4" fmla="*/ 0 h 437156"/>
                <a:gd name="connsiteX5" fmla="*/ 58805 w 474627"/>
                <a:gd name="connsiteY5" fmla="*/ 0 h 437156"/>
                <a:gd name="connsiteX6" fmla="*/ 12418 w 474627"/>
                <a:gd name="connsiteY6" fmla="*/ 31405 h 437156"/>
                <a:gd name="connsiteX7" fmla="*/ 6233 w 474627"/>
                <a:gd name="connsiteY7" fmla="*/ 46868 h 437156"/>
                <a:gd name="connsiteX8" fmla="*/ 6233 w 474627"/>
                <a:gd name="connsiteY8" fmla="*/ 63762 h 437156"/>
                <a:gd name="connsiteX9" fmla="*/ 7780 w 474627"/>
                <a:gd name="connsiteY9" fmla="*/ 67371 h 437156"/>
                <a:gd name="connsiteX10" fmla="*/ 43608 w 474627"/>
                <a:gd name="connsiteY10" fmla="*/ 150968 h 437156"/>
                <a:gd name="connsiteX11" fmla="*/ 0 w 474627"/>
                <a:gd name="connsiteY11" fmla="*/ 235801 h 437156"/>
                <a:gd name="connsiteX12" fmla="*/ 0 w 474627"/>
                <a:gd name="connsiteY12" fmla="*/ 437157 h 437156"/>
                <a:gd name="connsiteX13" fmla="*/ 474627 w 474627"/>
                <a:gd name="connsiteY13" fmla="*/ 437157 h 437156"/>
                <a:gd name="connsiteX14" fmla="*/ 474627 w 474627"/>
                <a:gd name="connsiteY14" fmla="*/ 235801 h 437156"/>
                <a:gd name="connsiteX15" fmla="*/ 431582 w 474627"/>
                <a:gd name="connsiteY15" fmla="*/ 152106 h 437156"/>
                <a:gd name="connsiteX16" fmla="*/ 24014 w 474627"/>
                <a:gd name="connsiteY16" fmla="*/ 36044 h 437156"/>
                <a:gd name="connsiteX17" fmla="*/ 58805 w 474627"/>
                <a:gd name="connsiteY17" fmla="*/ 12490 h 437156"/>
                <a:gd name="connsiteX18" fmla="*/ 415821 w 474627"/>
                <a:gd name="connsiteY18" fmla="*/ 12490 h 437156"/>
                <a:gd name="connsiteX19" fmla="*/ 450612 w 474627"/>
                <a:gd name="connsiteY19" fmla="*/ 36044 h 437156"/>
                <a:gd name="connsiteX20" fmla="*/ 456178 w 474627"/>
                <a:gd name="connsiteY20" fmla="*/ 49961 h 437156"/>
                <a:gd name="connsiteX21" fmla="*/ 18448 w 474627"/>
                <a:gd name="connsiteY21" fmla="*/ 49961 h 437156"/>
                <a:gd name="connsiteX22" fmla="*/ 19259 w 474627"/>
                <a:gd name="connsiteY22" fmla="*/ 62452 h 437156"/>
                <a:gd name="connsiteX23" fmla="*/ 456416 w 474627"/>
                <a:gd name="connsiteY23" fmla="*/ 62452 h 437156"/>
                <a:gd name="connsiteX24" fmla="*/ 418945 w 474627"/>
                <a:gd name="connsiteY24" fmla="*/ 149883 h 437156"/>
                <a:gd name="connsiteX25" fmla="*/ 346521 w 474627"/>
                <a:gd name="connsiteY25" fmla="*/ 149883 h 437156"/>
                <a:gd name="connsiteX26" fmla="*/ 319724 w 474627"/>
                <a:gd name="connsiteY26" fmla="*/ 138586 h 437156"/>
                <a:gd name="connsiteX27" fmla="*/ 280232 w 474627"/>
                <a:gd name="connsiteY27" fmla="*/ 134641 h 437156"/>
                <a:gd name="connsiteX28" fmla="*/ 240076 w 474627"/>
                <a:gd name="connsiteY28" fmla="*/ 132918 h 437156"/>
                <a:gd name="connsiteX29" fmla="*/ 224718 w 474627"/>
                <a:gd name="connsiteY29" fmla="*/ 136031 h 437156"/>
                <a:gd name="connsiteX30" fmla="*/ 218954 w 474627"/>
                <a:gd name="connsiteY30" fmla="*/ 125853 h 437156"/>
                <a:gd name="connsiteX31" fmla="*/ 167581 w 474627"/>
                <a:gd name="connsiteY31" fmla="*/ 131547 h 437156"/>
                <a:gd name="connsiteX32" fmla="*/ 140282 w 474627"/>
                <a:gd name="connsiteY32" fmla="*/ 152776 h 437156"/>
                <a:gd name="connsiteX33" fmla="*/ 96078 w 474627"/>
                <a:gd name="connsiteY33" fmla="*/ 149883 h 437156"/>
                <a:gd name="connsiteX34" fmla="*/ 56730 w 474627"/>
                <a:gd name="connsiteY34" fmla="*/ 149883 h 437156"/>
                <a:gd name="connsiteX35" fmla="*/ 386914 w 474627"/>
                <a:gd name="connsiteY35" fmla="*/ 195259 h 437156"/>
                <a:gd name="connsiteX36" fmla="*/ 423016 w 474627"/>
                <a:gd name="connsiteY36" fmla="*/ 201811 h 437156"/>
                <a:gd name="connsiteX37" fmla="*/ 386902 w 474627"/>
                <a:gd name="connsiteY37" fmla="*/ 215696 h 437156"/>
                <a:gd name="connsiteX38" fmla="*/ 376283 w 474627"/>
                <a:gd name="connsiteY38" fmla="*/ 216305 h 437156"/>
                <a:gd name="connsiteX39" fmla="*/ 386914 w 474627"/>
                <a:gd name="connsiteY39" fmla="*/ 195259 h 437156"/>
                <a:gd name="connsiteX40" fmla="*/ 424423 w 474627"/>
                <a:gd name="connsiteY40" fmla="*/ 215722 h 437156"/>
                <a:gd name="connsiteX41" fmla="*/ 424724 w 474627"/>
                <a:gd name="connsiteY41" fmla="*/ 218692 h 437156"/>
                <a:gd name="connsiteX42" fmla="*/ 399239 w 474627"/>
                <a:gd name="connsiteY42" fmla="*/ 231068 h 437156"/>
                <a:gd name="connsiteX43" fmla="*/ 356995 w 474627"/>
                <a:gd name="connsiteY43" fmla="*/ 231068 h 437156"/>
                <a:gd name="connsiteX44" fmla="*/ 356211 w 474627"/>
                <a:gd name="connsiteY44" fmla="*/ 230845 h 437156"/>
                <a:gd name="connsiteX45" fmla="*/ 363753 w 474627"/>
                <a:gd name="connsiteY45" fmla="*/ 226105 h 437156"/>
                <a:gd name="connsiteX46" fmla="*/ 387927 w 474627"/>
                <a:gd name="connsiteY46" fmla="*/ 225825 h 437156"/>
                <a:gd name="connsiteX47" fmla="*/ 424423 w 474627"/>
                <a:gd name="connsiteY47" fmla="*/ 215722 h 437156"/>
                <a:gd name="connsiteX48" fmla="*/ 349103 w 474627"/>
                <a:gd name="connsiteY48" fmla="*/ 223196 h 437156"/>
                <a:gd name="connsiteX49" fmla="*/ 332415 w 474627"/>
                <a:gd name="connsiteY49" fmla="*/ 231068 h 437156"/>
                <a:gd name="connsiteX50" fmla="*/ 310663 w 474627"/>
                <a:gd name="connsiteY50" fmla="*/ 231068 h 437156"/>
                <a:gd name="connsiteX51" fmla="*/ 310135 w 474627"/>
                <a:gd name="connsiteY51" fmla="*/ 230134 h 437156"/>
                <a:gd name="connsiteX52" fmla="*/ 345759 w 474627"/>
                <a:gd name="connsiteY52" fmla="*/ 217291 h 437156"/>
                <a:gd name="connsiteX53" fmla="*/ 375098 w 474627"/>
                <a:gd name="connsiteY53" fmla="*/ 193347 h 437156"/>
                <a:gd name="connsiteX54" fmla="*/ 376569 w 474627"/>
                <a:gd name="connsiteY54" fmla="*/ 195944 h 437156"/>
                <a:gd name="connsiteX55" fmla="*/ 349103 w 474627"/>
                <a:gd name="connsiteY55" fmla="*/ 223196 h 437156"/>
                <a:gd name="connsiteX56" fmla="*/ 121715 w 474627"/>
                <a:gd name="connsiteY56" fmla="*/ 228406 h 437156"/>
                <a:gd name="connsiteX57" fmla="*/ 110553 w 474627"/>
                <a:gd name="connsiteY57" fmla="*/ 231068 h 437156"/>
                <a:gd name="connsiteX58" fmla="*/ 68315 w 474627"/>
                <a:gd name="connsiteY58" fmla="*/ 231068 h 437156"/>
                <a:gd name="connsiteX59" fmla="*/ 61878 w 474627"/>
                <a:gd name="connsiteY59" fmla="*/ 226206 h 437156"/>
                <a:gd name="connsiteX60" fmla="*/ 61577 w 474627"/>
                <a:gd name="connsiteY60" fmla="*/ 223236 h 437156"/>
                <a:gd name="connsiteX61" fmla="*/ 99358 w 474627"/>
                <a:gd name="connsiteY61" fmla="*/ 225825 h 437156"/>
                <a:gd name="connsiteX62" fmla="*/ 122404 w 474627"/>
                <a:gd name="connsiteY62" fmla="*/ 221507 h 437156"/>
                <a:gd name="connsiteX63" fmla="*/ 121715 w 474627"/>
                <a:gd name="connsiteY63" fmla="*/ 228406 h 437156"/>
                <a:gd name="connsiteX64" fmla="*/ 98333 w 474627"/>
                <a:gd name="connsiteY64" fmla="*/ 215696 h 437156"/>
                <a:gd name="connsiteX65" fmla="*/ 60170 w 474627"/>
                <a:gd name="connsiteY65" fmla="*/ 209325 h 437156"/>
                <a:gd name="connsiteX66" fmla="*/ 96284 w 474627"/>
                <a:gd name="connsiteY66" fmla="*/ 195439 h 437156"/>
                <a:gd name="connsiteX67" fmla="*/ 97548 w 474627"/>
                <a:gd name="connsiteY67" fmla="*/ 195337 h 437156"/>
                <a:gd name="connsiteX68" fmla="*/ 122748 w 474627"/>
                <a:gd name="connsiteY68" fmla="*/ 207767 h 437156"/>
                <a:gd name="connsiteX69" fmla="*/ 126605 w 474627"/>
                <a:gd name="connsiteY69" fmla="*/ 209117 h 437156"/>
                <a:gd name="connsiteX70" fmla="*/ 98333 w 474627"/>
                <a:gd name="connsiteY70" fmla="*/ 215696 h 437156"/>
                <a:gd name="connsiteX71" fmla="*/ 126250 w 474627"/>
                <a:gd name="connsiteY71" fmla="*/ 198208 h 437156"/>
                <a:gd name="connsiteX72" fmla="*/ 94702 w 474627"/>
                <a:gd name="connsiteY72" fmla="*/ 175807 h 437156"/>
                <a:gd name="connsiteX73" fmla="*/ 95730 w 474627"/>
                <a:gd name="connsiteY73" fmla="*/ 173005 h 437156"/>
                <a:gd name="connsiteX74" fmla="*/ 128585 w 474627"/>
                <a:gd name="connsiteY74" fmla="*/ 191835 h 437156"/>
                <a:gd name="connsiteX75" fmla="*/ 146210 w 474627"/>
                <a:gd name="connsiteY75" fmla="*/ 197032 h 437156"/>
                <a:gd name="connsiteX76" fmla="*/ 138997 w 474627"/>
                <a:gd name="connsiteY76" fmla="*/ 202136 h 437156"/>
                <a:gd name="connsiteX77" fmla="*/ 126250 w 474627"/>
                <a:gd name="connsiteY77" fmla="*/ 198208 h 437156"/>
                <a:gd name="connsiteX78" fmla="*/ 136274 w 474627"/>
                <a:gd name="connsiteY78" fmla="*/ 172674 h 437156"/>
                <a:gd name="connsiteX79" fmla="*/ 143795 w 474627"/>
                <a:gd name="connsiteY79" fmla="*/ 185955 h 437156"/>
                <a:gd name="connsiteX80" fmla="*/ 132087 w 474627"/>
                <a:gd name="connsiteY80" fmla="*/ 182276 h 437156"/>
                <a:gd name="connsiteX81" fmla="*/ 100540 w 474627"/>
                <a:gd name="connsiteY81" fmla="*/ 159876 h 437156"/>
                <a:gd name="connsiteX82" fmla="*/ 135225 w 474627"/>
                <a:gd name="connsiteY82" fmla="*/ 161810 h 437156"/>
                <a:gd name="connsiteX83" fmla="*/ 136274 w 474627"/>
                <a:gd name="connsiteY83" fmla="*/ 172674 h 437156"/>
                <a:gd name="connsiteX84" fmla="*/ 208602 w 474627"/>
                <a:gd name="connsiteY84" fmla="*/ 175299 h 437156"/>
                <a:gd name="connsiteX85" fmla="*/ 208166 w 474627"/>
                <a:gd name="connsiteY85" fmla="*/ 172346 h 437156"/>
                <a:gd name="connsiteX86" fmla="*/ 246025 w 474627"/>
                <a:gd name="connsiteY86" fmla="*/ 173203 h 437156"/>
                <a:gd name="connsiteX87" fmla="*/ 282022 w 474627"/>
                <a:gd name="connsiteY87" fmla="*/ 161440 h 437156"/>
                <a:gd name="connsiteX88" fmla="*/ 282457 w 474627"/>
                <a:gd name="connsiteY88" fmla="*/ 164393 h 437156"/>
                <a:gd name="connsiteX89" fmla="*/ 247017 w 474627"/>
                <a:gd name="connsiteY89" fmla="*/ 179917 h 437156"/>
                <a:gd name="connsiteX90" fmla="*/ 208602 w 474627"/>
                <a:gd name="connsiteY90" fmla="*/ 175299 h 437156"/>
                <a:gd name="connsiteX91" fmla="*/ 247590 w 474627"/>
                <a:gd name="connsiteY91" fmla="*/ 205209 h 437156"/>
                <a:gd name="connsiteX92" fmla="*/ 209269 w 474627"/>
                <a:gd name="connsiteY92" fmla="*/ 210546 h 437156"/>
                <a:gd name="connsiteX93" fmla="*/ 173543 w 474627"/>
                <a:gd name="connsiteY93" fmla="*/ 195690 h 437156"/>
                <a:gd name="connsiteX94" fmla="*/ 211865 w 474627"/>
                <a:gd name="connsiteY94" fmla="*/ 190352 h 437156"/>
                <a:gd name="connsiteX95" fmla="*/ 247590 w 474627"/>
                <a:gd name="connsiteY95" fmla="*/ 205209 h 437156"/>
                <a:gd name="connsiteX96" fmla="*/ 244539 w 474627"/>
                <a:gd name="connsiteY96" fmla="*/ 163132 h 437156"/>
                <a:gd name="connsiteX97" fmla="*/ 206124 w 474627"/>
                <a:gd name="connsiteY97" fmla="*/ 158514 h 437156"/>
                <a:gd name="connsiteX98" fmla="*/ 241564 w 474627"/>
                <a:gd name="connsiteY98" fmla="*/ 142989 h 437156"/>
                <a:gd name="connsiteX99" fmla="*/ 279979 w 474627"/>
                <a:gd name="connsiteY99" fmla="*/ 147607 h 437156"/>
                <a:gd name="connsiteX100" fmla="*/ 244539 w 474627"/>
                <a:gd name="connsiteY100" fmla="*/ 163132 h 437156"/>
                <a:gd name="connsiteX101" fmla="*/ 182630 w 474627"/>
                <a:gd name="connsiteY101" fmla="*/ 158122 h 437156"/>
                <a:gd name="connsiteX102" fmla="*/ 145132 w 474627"/>
                <a:gd name="connsiteY102" fmla="*/ 167657 h 437156"/>
                <a:gd name="connsiteX103" fmla="*/ 172598 w 474627"/>
                <a:gd name="connsiteY103" fmla="*/ 140405 h 437156"/>
                <a:gd name="connsiteX104" fmla="*/ 210096 w 474627"/>
                <a:gd name="connsiteY104" fmla="*/ 130870 h 437156"/>
                <a:gd name="connsiteX105" fmla="*/ 182630 w 474627"/>
                <a:gd name="connsiteY105" fmla="*/ 158122 h 437156"/>
                <a:gd name="connsiteX106" fmla="*/ 159579 w 474627"/>
                <a:gd name="connsiteY106" fmla="*/ 200804 h 437156"/>
                <a:gd name="connsiteX107" fmla="*/ 162844 w 474627"/>
                <a:gd name="connsiteY107" fmla="*/ 199076 h 437156"/>
                <a:gd name="connsiteX108" fmla="*/ 161283 w 474627"/>
                <a:gd name="connsiteY108" fmla="*/ 211221 h 437156"/>
                <a:gd name="connsiteX109" fmla="*/ 164196 w 474627"/>
                <a:gd name="connsiteY109" fmla="*/ 221394 h 437156"/>
                <a:gd name="connsiteX110" fmla="*/ 132114 w 474627"/>
                <a:gd name="connsiteY110" fmla="*/ 228056 h 437156"/>
                <a:gd name="connsiteX111" fmla="*/ 159579 w 474627"/>
                <a:gd name="connsiteY111" fmla="*/ 200804 h 437156"/>
                <a:gd name="connsiteX112" fmla="*/ 153493 w 474627"/>
                <a:gd name="connsiteY112" fmla="*/ 182422 h 437156"/>
                <a:gd name="connsiteX113" fmla="*/ 152022 w 474627"/>
                <a:gd name="connsiteY113" fmla="*/ 179825 h 437156"/>
                <a:gd name="connsiteX114" fmla="*/ 187647 w 474627"/>
                <a:gd name="connsiteY114" fmla="*/ 166981 h 437156"/>
                <a:gd name="connsiteX115" fmla="*/ 196299 w 474627"/>
                <a:gd name="connsiteY115" fmla="*/ 161672 h 437156"/>
                <a:gd name="connsiteX116" fmla="*/ 197374 w 474627"/>
                <a:gd name="connsiteY116" fmla="*/ 168952 h 437156"/>
                <a:gd name="connsiteX117" fmla="*/ 190991 w 474627"/>
                <a:gd name="connsiteY117" fmla="*/ 172887 h 437156"/>
                <a:gd name="connsiteX118" fmla="*/ 153493 w 474627"/>
                <a:gd name="connsiteY118" fmla="*/ 182422 h 437156"/>
                <a:gd name="connsiteX119" fmla="*/ 171760 w 474627"/>
                <a:gd name="connsiteY119" fmla="*/ 209558 h 437156"/>
                <a:gd name="connsiteX120" fmla="*/ 207970 w 474627"/>
                <a:gd name="connsiteY120" fmla="*/ 220644 h 437156"/>
                <a:gd name="connsiteX121" fmla="*/ 245807 w 474627"/>
                <a:gd name="connsiteY121" fmla="*/ 219077 h 437156"/>
                <a:gd name="connsiteX122" fmla="*/ 245427 w 474627"/>
                <a:gd name="connsiteY122" fmla="*/ 222037 h 437156"/>
                <a:gd name="connsiteX123" fmla="*/ 207105 w 474627"/>
                <a:gd name="connsiteY123" fmla="*/ 227376 h 437156"/>
                <a:gd name="connsiteX124" fmla="*/ 171380 w 474627"/>
                <a:gd name="connsiteY124" fmla="*/ 212519 h 437156"/>
                <a:gd name="connsiteX125" fmla="*/ 206087 w 474627"/>
                <a:gd name="connsiteY125" fmla="*/ 243559 h 437156"/>
                <a:gd name="connsiteX126" fmla="*/ 268538 w 474627"/>
                <a:gd name="connsiteY126" fmla="*/ 243559 h 437156"/>
                <a:gd name="connsiteX127" fmla="*/ 268538 w 474627"/>
                <a:gd name="connsiteY127" fmla="*/ 306010 h 437156"/>
                <a:gd name="connsiteX128" fmla="*/ 237313 w 474627"/>
                <a:gd name="connsiteY128" fmla="*/ 337235 h 437156"/>
                <a:gd name="connsiteX129" fmla="*/ 206087 w 474627"/>
                <a:gd name="connsiteY129" fmla="*/ 306010 h 437156"/>
                <a:gd name="connsiteX130" fmla="*/ 265948 w 474627"/>
                <a:gd name="connsiteY130" fmla="*/ 223231 h 437156"/>
                <a:gd name="connsiteX131" fmla="*/ 255758 w 474627"/>
                <a:gd name="connsiteY131" fmla="*/ 221517 h 437156"/>
                <a:gd name="connsiteX132" fmla="*/ 256622 w 474627"/>
                <a:gd name="connsiteY132" fmla="*/ 214801 h 437156"/>
                <a:gd name="connsiteX133" fmla="*/ 266814 w 474627"/>
                <a:gd name="connsiteY133" fmla="*/ 216500 h 437156"/>
                <a:gd name="connsiteX134" fmla="*/ 304650 w 474627"/>
                <a:gd name="connsiteY134" fmla="*/ 214933 h 437156"/>
                <a:gd name="connsiteX135" fmla="*/ 304269 w 474627"/>
                <a:gd name="connsiteY135" fmla="*/ 217893 h 437156"/>
                <a:gd name="connsiteX136" fmla="*/ 265948 w 474627"/>
                <a:gd name="connsiteY136" fmla="*/ 223231 h 437156"/>
                <a:gd name="connsiteX137" fmla="*/ 268111 w 474627"/>
                <a:gd name="connsiteY137" fmla="*/ 206403 h 437156"/>
                <a:gd name="connsiteX138" fmla="*/ 257711 w 474627"/>
                <a:gd name="connsiteY138" fmla="*/ 204635 h 437156"/>
                <a:gd name="connsiteX139" fmla="*/ 247419 w 474627"/>
                <a:gd name="connsiteY139" fmla="*/ 190138 h 437156"/>
                <a:gd name="connsiteX140" fmla="*/ 248505 w 474627"/>
                <a:gd name="connsiteY140" fmla="*/ 189988 h 437156"/>
                <a:gd name="connsiteX141" fmla="*/ 267523 w 474627"/>
                <a:gd name="connsiteY141" fmla="*/ 185843 h 437156"/>
                <a:gd name="connsiteX142" fmla="*/ 270707 w 474627"/>
                <a:gd name="connsiteY142" fmla="*/ 186208 h 437156"/>
                <a:gd name="connsiteX143" fmla="*/ 306433 w 474627"/>
                <a:gd name="connsiteY143" fmla="*/ 201065 h 437156"/>
                <a:gd name="connsiteX144" fmla="*/ 268111 w 474627"/>
                <a:gd name="connsiteY144" fmla="*/ 206403 h 437156"/>
                <a:gd name="connsiteX145" fmla="*/ 306334 w 474627"/>
                <a:gd name="connsiteY145" fmla="*/ 184168 h 437156"/>
                <a:gd name="connsiteX146" fmla="*/ 286657 w 474627"/>
                <a:gd name="connsiteY146" fmla="*/ 176533 h 437156"/>
                <a:gd name="connsiteX147" fmla="*/ 290975 w 474627"/>
                <a:gd name="connsiteY147" fmla="*/ 171343 h 437156"/>
                <a:gd name="connsiteX148" fmla="*/ 308247 w 474627"/>
                <a:gd name="connsiteY148" fmla="*/ 177657 h 437156"/>
                <a:gd name="connsiteX149" fmla="*/ 345859 w 474627"/>
                <a:gd name="connsiteY149" fmla="*/ 182058 h 437156"/>
                <a:gd name="connsiteX150" fmla="*/ 345018 w 474627"/>
                <a:gd name="connsiteY150" fmla="*/ 184921 h 437156"/>
                <a:gd name="connsiteX151" fmla="*/ 306334 w 474627"/>
                <a:gd name="connsiteY151" fmla="*/ 184168 h 437156"/>
                <a:gd name="connsiteX152" fmla="*/ 289423 w 474627"/>
                <a:gd name="connsiteY152" fmla="*/ 143779 h 437156"/>
                <a:gd name="connsiteX153" fmla="*/ 316855 w 474627"/>
                <a:gd name="connsiteY153" fmla="*/ 148353 h 437156"/>
                <a:gd name="connsiteX154" fmla="*/ 349800 w 474627"/>
                <a:gd name="connsiteY154" fmla="*/ 168642 h 437156"/>
                <a:gd name="connsiteX155" fmla="*/ 311116 w 474627"/>
                <a:gd name="connsiteY155" fmla="*/ 167889 h 437156"/>
                <a:gd name="connsiteX156" fmla="*/ 292190 w 474627"/>
                <a:gd name="connsiteY156" fmla="*/ 160608 h 437156"/>
                <a:gd name="connsiteX157" fmla="*/ 290050 w 474627"/>
                <a:gd name="connsiteY157" fmla="*/ 146121 h 437156"/>
                <a:gd name="connsiteX158" fmla="*/ 289423 w 474627"/>
                <a:gd name="connsiteY158" fmla="*/ 143778 h 437156"/>
                <a:gd name="connsiteX159" fmla="*/ 340743 w 474627"/>
                <a:gd name="connsiteY159" fmla="*/ 208432 h 437156"/>
                <a:gd name="connsiteX160" fmla="*/ 314345 w 474627"/>
                <a:gd name="connsiteY160" fmla="*/ 219281 h 437156"/>
                <a:gd name="connsiteX161" fmla="*/ 314367 w 474627"/>
                <a:gd name="connsiteY161" fmla="*/ 219191 h 437156"/>
                <a:gd name="connsiteX162" fmla="*/ 316530 w 474627"/>
                <a:gd name="connsiteY162" fmla="*/ 202363 h 437156"/>
                <a:gd name="connsiteX163" fmla="*/ 316561 w 474627"/>
                <a:gd name="connsiteY163" fmla="*/ 200010 h 437156"/>
                <a:gd name="connsiteX164" fmla="*/ 319669 w 474627"/>
                <a:gd name="connsiteY164" fmla="*/ 197715 h 437156"/>
                <a:gd name="connsiteX165" fmla="*/ 354786 w 474627"/>
                <a:gd name="connsiteY165" fmla="*/ 187791 h 437156"/>
                <a:gd name="connsiteX166" fmla="*/ 357100 w 474627"/>
                <a:gd name="connsiteY166" fmla="*/ 179914 h 437156"/>
                <a:gd name="connsiteX167" fmla="*/ 368208 w 474627"/>
                <a:gd name="connsiteY167" fmla="*/ 181180 h 437156"/>
                <a:gd name="connsiteX168" fmla="*/ 340743 w 474627"/>
                <a:gd name="connsiteY168" fmla="*/ 208432 h 437156"/>
                <a:gd name="connsiteX169" fmla="*/ 51785 w 474627"/>
                <a:gd name="connsiteY169" fmla="*/ 162373 h 437156"/>
                <a:gd name="connsiteX170" fmla="*/ 88783 w 474627"/>
                <a:gd name="connsiteY170" fmla="*/ 162373 h 437156"/>
                <a:gd name="connsiteX171" fmla="*/ 85144 w 474627"/>
                <a:gd name="connsiteY171" fmla="*/ 172305 h 437156"/>
                <a:gd name="connsiteX172" fmla="*/ 87730 w 474627"/>
                <a:gd name="connsiteY172" fmla="*/ 186269 h 437156"/>
                <a:gd name="connsiteX173" fmla="*/ 50041 w 474627"/>
                <a:gd name="connsiteY173" fmla="*/ 210350 h 437156"/>
                <a:gd name="connsiteX174" fmla="*/ 51749 w 474627"/>
                <a:gd name="connsiteY174" fmla="*/ 227231 h 437156"/>
                <a:gd name="connsiteX175" fmla="*/ 52777 w 474627"/>
                <a:gd name="connsiteY175" fmla="*/ 231068 h 437156"/>
                <a:gd name="connsiteX176" fmla="*/ 16477 w 474627"/>
                <a:gd name="connsiteY176" fmla="*/ 231068 h 437156"/>
                <a:gd name="connsiteX177" fmla="*/ 12490 w 474627"/>
                <a:gd name="connsiteY177" fmla="*/ 424666 h 437156"/>
                <a:gd name="connsiteX178" fmla="*/ 12490 w 474627"/>
                <a:gd name="connsiteY178" fmla="*/ 368777 h 437156"/>
                <a:gd name="connsiteX179" fmla="*/ 68379 w 474627"/>
                <a:gd name="connsiteY179" fmla="*/ 424666 h 437156"/>
                <a:gd name="connsiteX180" fmla="*/ 462137 w 474627"/>
                <a:gd name="connsiteY180" fmla="*/ 424666 h 437156"/>
                <a:gd name="connsiteX181" fmla="*/ 406247 w 474627"/>
                <a:gd name="connsiteY181" fmla="*/ 424666 h 437156"/>
                <a:gd name="connsiteX182" fmla="*/ 462137 w 474627"/>
                <a:gd name="connsiteY182" fmla="*/ 368777 h 437156"/>
                <a:gd name="connsiteX183" fmla="*/ 462137 w 474627"/>
                <a:gd name="connsiteY183" fmla="*/ 356287 h 437156"/>
                <a:gd name="connsiteX184" fmla="*/ 393757 w 474627"/>
                <a:gd name="connsiteY184" fmla="*/ 424666 h 437156"/>
                <a:gd name="connsiteX185" fmla="*/ 80870 w 474627"/>
                <a:gd name="connsiteY185" fmla="*/ 424666 h 437156"/>
                <a:gd name="connsiteX186" fmla="*/ 12490 w 474627"/>
                <a:gd name="connsiteY186" fmla="*/ 356287 h 437156"/>
                <a:gd name="connsiteX187" fmla="*/ 12490 w 474627"/>
                <a:gd name="connsiteY187" fmla="*/ 243559 h 437156"/>
                <a:gd name="connsiteX188" fmla="*/ 193597 w 474627"/>
                <a:gd name="connsiteY188" fmla="*/ 243559 h 437156"/>
                <a:gd name="connsiteX189" fmla="*/ 193597 w 474627"/>
                <a:gd name="connsiteY189" fmla="*/ 306010 h 437156"/>
                <a:gd name="connsiteX190" fmla="*/ 237313 w 474627"/>
                <a:gd name="connsiteY190" fmla="*/ 349725 h 437156"/>
                <a:gd name="connsiteX191" fmla="*/ 281029 w 474627"/>
                <a:gd name="connsiteY191" fmla="*/ 306010 h 437156"/>
                <a:gd name="connsiteX192" fmla="*/ 281029 w 474627"/>
                <a:gd name="connsiteY192" fmla="*/ 243559 h 437156"/>
                <a:gd name="connsiteX193" fmla="*/ 462137 w 474627"/>
                <a:gd name="connsiteY193" fmla="*/ 243559 h 437156"/>
                <a:gd name="connsiteX194" fmla="*/ 458147 w 474627"/>
                <a:gd name="connsiteY194" fmla="*/ 231068 h 437156"/>
                <a:gd name="connsiteX195" fmla="*/ 428199 w 474627"/>
                <a:gd name="connsiteY195" fmla="*/ 231068 h 437156"/>
                <a:gd name="connsiteX196" fmla="*/ 434853 w 474627"/>
                <a:gd name="connsiteY196" fmla="*/ 217667 h 437156"/>
                <a:gd name="connsiteX197" fmla="*/ 433145 w 474627"/>
                <a:gd name="connsiteY197" fmla="*/ 200786 h 437156"/>
                <a:gd name="connsiteX198" fmla="*/ 383828 w 474627"/>
                <a:gd name="connsiteY198" fmla="*/ 185311 h 437156"/>
                <a:gd name="connsiteX199" fmla="*/ 382347 w 474627"/>
                <a:gd name="connsiteY199" fmla="*/ 185488 h 437156"/>
                <a:gd name="connsiteX200" fmla="*/ 377066 w 474627"/>
                <a:gd name="connsiteY200" fmla="*/ 176163 h 437156"/>
                <a:gd name="connsiteX201" fmla="*/ 359972 w 474627"/>
                <a:gd name="connsiteY201" fmla="*/ 169166 h 437156"/>
                <a:gd name="connsiteX202" fmla="*/ 358746 w 474627"/>
                <a:gd name="connsiteY202" fmla="*/ 162081 h 437156"/>
                <a:gd name="connsiteX203" fmla="*/ 359380 w 474627"/>
                <a:gd name="connsiteY203" fmla="*/ 162373 h 437156"/>
                <a:gd name="connsiteX204" fmla="*/ 422817 w 474627"/>
                <a:gd name="connsiteY204" fmla="*/ 162373 h 437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Lst>
              <a:rect l="l" t="t" r="r" b="b"/>
              <a:pathLst>
                <a:path w="474627" h="437156">
                  <a:moveTo>
                    <a:pt x="467897" y="67371"/>
                  </a:moveTo>
                  <a:lnTo>
                    <a:pt x="468370" y="66268"/>
                  </a:lnTo>
                  <a:lnTo>
                    <a:pt x="468370" y="46809"/>
                  </a:lnTo>
                  <a:lnTo>
                    <a:pt x="462208" y="31405"/>
                  </a:lnTo>
                  <a:cubicBezTo>
                    <a:pt x="454621" y="12438"/>
                    <a:pt x="436250" y="0"/>
                    <a:pt x="415821" y="0"/>
                  </a:cubicBezTo>
                  <a:lnTo>
                    <a:pt x="58805" y="0"/>
                  </a:lnTo>
                  <a:cubicBezTo>
                    <a:pt x="38376" y="0"/>
                    <a:pt x="20005" y="12438"/>
                    <a:pt x="12418" y="31405"/>
                  </a:cubicBezTo>
                  <a:lnTo>
                    <a:pt x="6233" y="46868"/>
                  </a:lnTo>
                  <a:lnTo>
                    <a:pt x="6233" y="63762"/>
                  </a:lnTo>
                  <a:lnTo>
                    <a:pt x="7780" y="67371"/>
                  </a:lnTo>
                  <a:lnTo>
                    <a:pt x="43608" y="150968"/>
                  </a:lnTo>
                  <a:lnTo>
                    <a:pt x="0" y="235801"/>
                  </a:lnTo>
                  <a:lnTo>
                    <a:pt x="0" y="437157"/>
                  </a:lnTo>
                  <a:lnTo>
                    <a:pt x="474627" y="437157"/>
                  </a:lnTo>
                  <a:lnTo>
                    <a:pt x="474627" y="235801"/>
                  </a:lnTo>
                  <a:lnTo>
                    <a:pt x="431582" y="152106"/>
                  </a:lnTo>
                  <a:close/>
                  <a:moveTo>
                    <a:pt x="24014" y="36044"/>
                  </a:moveTo>
                  <a:cubicBezTo>
                    <a:pt x="29664" y="21785"/>
                    <a:pt x="43468" y="12440"/>
                    <a:pt x="58805" y="12490"/>
                  </a:cubicBezTo>
                  <a:lnTo>
                    <a:pt x="415821" y="12490"/>
                  </a:lnTo>
                  <a:cubicBezTo>
                    <a:pt x="431158" y="12440"/>
                    <a:pt x="444962" y="21785"/>
                    <a:pt x="450612" y="36044"/>
                  </a:cubicBezTo>
                  <a:lnTo>
                    <a:pt x="456178" y="49961"/>
                  </a:lnTo>
                  <a:lnTo>
                    <a:pt x="18448" y="49961"/>
                  </a:lnTo>
                  <a:close/>
                  <a:moveTo>
                    <a:pt x="19259" y="62452"/>
                  </a:moveTo>
                  <a:lnTo>
                    <a:pt x="456416" y="62452"/>
                  </a:lnTo>
                  <a:lnTo>
                    <a:pt x="418945" y="149883"/>
                  </a:lnTo>
                  <a:lnTo>
                    <a:pt x="346521" y="149883"/>
                  </a:lnTo>
                  <a:cubicBezTo>
                    <a:pt x="338096" y="145012"/>
                    <a:pt x="329093" y="141216"/>
                    <a:pt x="319724" y="138586"/>
                  </a:cubicBezTo>
                  <a:cubicBezTo>
                    <a:pt x="310391" y="135844"/>
                    <a:pt x="292410" y="131554"/>
                    <a:pt x="280232" y="134641"/>
                  </a:cubicBezTo>
                  <a:cubicBezTo>
                    <a:pt x="268626" y="129663"/>
                    <a:pt x="249826" y="131479"/>
                    <a:pt x="240076" y="132918"/>
                  </a:cubicBezTo>
                  <a:cubicBezTo>
                    <a:pt x="234905" y="133680"/>
                    <a:pt x="229778" y="134719"/>
                    <a:pt x="224718" y="136031"/>
                  </a:cubicBezTo>
                  <a:lnTo>
                    <a:pt x="218954" y="125853"/>
                  </a:lnTo>
                  <a:cubicBezTo>
                    <a:pt x="209899" y="109862"/>
                    <a:pt x="180011" y="124508"/>
                    <a:pt x="167581" y="131547"/>
                  </a:cubicBezTo>
                  <a:cubicBezTo>
                    <a:pt x="157345" y="137027"/>
                    <a:pt x="148114" y="144205"/>
                    <a:pt x="140282" y="152776"/>
                  </a:cubicBezTo>
                  <a:cubicBezTo>
                    <a:pt x="128377" y="148623"/>
                    <a:pt x="106690" y="142693"/>
                    <a:pt x="96078" y="149883"/>
                  </a:cubicBezTo>
                  <a:lnTo>
                    <a:pt x="56730" y="149883"/>
                  </a:lnTo>
                  <a:close/>
                  <a:moveTo>
                    <a:pt x="386914" y="195259"/>
                  </a:moveTo>
                  <a:cubicBezTo>
                    <a:pt x="406491" y="193575"/>
                    <a:pt x="422469" y="196406"/>
                    <a:pt x="423016" y="201811"/>
                  </a:cubicBezTo>
                  <a:cubicBezTo>
                    <a:pt x="423582" y="207405"/>
                    <a:pt x="407413" y="213622"/>
                    <a:pt x="386902" y="215696"/>
                  </a:cubicBezTo>
                  <a:cubicBezTo>
                    <a:pt x="383205" y="216070"/>
                    <a:pt x="379677" y="216240"/>
                    <a:pt x="376283" y="216305"/>
                  </a:cubicBezTo>
                  <a:cubicBezTo>
                    <a:pt x="383153" y="209870"/>
                    <a:pt x="388186" y="202481"/>
                    <a:pt x="386914" y="195259"/>
                  </a:cubicBezTo>
                  <a:close/>
                  <a:moveTo>
                    <a:pt x="424423" y="215722"/>
                  </a:moveTo>
                  <a:lnTo>
                    <a:pt x="424724" y="218692"/>
                  </a:lnTo>
                  <a:cubicBezTo>
                    <a:pt x="425187" y="223273"/>
                    <a:pt x="414418" y="228269"/>
                    <a:pt x="399239" y="231068"/>
                  </a:cubicBezTo>
                  <a:lnTo>
                    <a:pt x="356995" y="231068"/>
                  </a:lnTo>
                  <a:cubicBezTo>
                    <a:pt x="356744" y="230991"/>
                    <a:pt x="356451" y="230926"/>
                    <a:pt x="356211" y="230845"/>
                  </a:cubicBezTo>
                  <a:cubicBezTo>
                    <a:pt x="358468" y="229522"/>
                    <a:pt x="361049" y="227918"/>
                    <a:pt x="363753" y="226105"/>
                  </a:cubicBezTo>
                  <a:cubicBezTo>
                    <a:pt x="371802" y="226772"/>
                    <a:pt x="379896" y="226679"/>
                    <a:pt x="387927" y="225825"/>
                  </a:cubicBezTo>
                  <a:cubicBezTo>
                    <a:pt x="400656" y="224991"/>
                    <a:pt x="413078" y="221552"/>
                    <a:pt x="424423" y="215722"/>
                  </a:cubicBezTo>
                  <a:close/>
                  <a:moveTo>
                    <a:pt x="349103" y="223196"/>
                  </a:moveTo>
                  <a:cubicBezTo>
                    <a:pt x="343750" y="226244"/>
                    <a:pt x="338171" y="228875"/>
                    <a:pt x="332415" y="231068"/>
                  </a:cubicBezTo>
                  <a:lnTo>
                    <a:pt x="310663" y="231068"/>
                  </a:lnTo>
                  <a:lnTo>
                    <a:pt x="310135" y="230134"/>
                  </a:lnTo>
                  <a:cubicBezTo>
                    <a:pt x="322763" y="228336"/>
                    <a:pt x="334888" y="223965"/>
                    <a:pt x="345759" y="217291"/>
                  </a:cubicBezTo>
                  <a:cubicBezTo>
                    <a:pt x="357075" y="211402"/>
                    <a:pt x="367060" y="203252"/>
                    <a:pt x="375098" y="193347"/>
                  </a:cubicBezTo>
                  <a:lnTo>
                    <a:pt x="376569" y="195944"/>
                  </a:lnTo>
                  <a:cubicBezTo>
                    <a:pt x="379339" y="200837"/>
                    <a:pt x="367042" y="213038"/>
                    <a:pt x="349103" y="223196"/>
                  </a:cubicBezTo>
                  <a:close/>
                  <a:moveTo>
                    <a:pt x="121715" y="228406"/>
                  </a:moveTo>
                  <a:cubicBezTo>
                    <a:pt x="118048" y="229505"/>
                    <a:pt x="114321" y="230394"/>
                    <a:pt x="110553" y="231068"/>
                  </a:cubicBezTo>
                  <a:lnTo>
                    <a:pt x="68315" y="231068"/>
                  </a:lnTo>
                  <a:cubicBezTo>
                    <a:pt x="64447" y="229868"/>
                    <a:pt x="62081" y="228218"/>
                    <a:pt x="61878" y="226206"/>
                  </a:cubicBezTo>
                  <a:lnTo>
                    <a:pt x="61577" y="223236"/>
                  </a:lnTo>
                  <a:cubicBezTo>
                    <a:pt x="73861" y="226676"/>
                    <a:pt x="86720" y="227557"/>
                    <a:pt x="99358" y="225825"/>
                  </a:cubicBezTo>
                  <a:cubicBezTo>
                    <a:pt x="107155" y="225082"/>
                    <a:pt x="114868" y="223637"/>
                    <a:pt x="122404" y="221507"/>
                  </a:cubicBezTo>
                  <a:cubicBezTo>
                    <a:pt x="121621" y="223717"/>
                    <a:pt x="121385" y="226084"/>
                    <a:pt x="121715" y="228406"/>
                  </a:cubicBezTo>
                  <a:close/>
                  <a:moveTo>
                    <a:pt x="98333" y="215696"/>
                  </a:moveTo>
                  <a:cubicBezTo>
                    <a:pt x="77823" y="217771"/>
                    <a:pt x="60736" y="214919"/>
                    <a:pt x="60170" y="209325"/>
                  </a:cubicBezTo>
                  <a:cubicBezTo>
                    <a:pt x="59604" y="203731"/>
                    <a:pt x="75773" y="197514"/>
                    <a:pt x="96284" y="195439"/>
                  </a:cubicBezTo>
                  <a:cubicBezTo>
                    <a:pt x="96713" y="195395"/>
                    <a:pt x="97122" y="195375"/>
                    <a:pt x="97548" y="195337"/>
                  </a:cubicBezTo>
                  <a:cubicBezTo>
                    <a:pt x="105430" y="200455"/>
                    <a:pt x="113889" y="204627"/>
                    <a:pt x="122748" y="207767"/>
                  </a:cubicBezTo>
                  <a:cubicBezTo>
                    <a:pt x="123902" y="208190"/>
                    <a:pt x="125204" y="208647"/>
                    <a:pt x="126605" y="209117"/>
                  </a:cubicBezTo>
                  <a:cubicBezTo>
                    <a:pt x="117560" y="212702"/>
                    <a:pt x="108031" y="214919"/>
                    <a:pt x="98333" y="215696"/>
                  </a:cubicBezTo>
                  <a:close/>
                  <a:moveTo>
                    <a:pt x="126250" y="198208"/>
                  </a:moveTo>
                  <a:cubicBezTo>
                    <a:pt x="106894" y="191115"/>
                    <a:pt x="92769" y="181087"/>
                    <a:pt x="94702" y="175807"/>
                  </a:cubicBezTo>
                  <a:lnTo>
                    <a:pt x="95730" y="173005"/>
                  </a:lnTo>
                  <a:cubicBezTo>
                    <a:pt x="105277" y="181464"/>
                    <a:pt x="116460" y="187873"/>
                    <a:pt x="128585" y="191835"/>
                  </a:cubicBezTo>
                  <a:cubicBezTo>
                    <a:pt x="134340" y="193950"/>
                    <a:pt x="140228" y="195686"/>
                    <a:pt x="146210" y="197032"/>
                  </a:cubicBezTo>
                  <a:cubicBezTo>
                    <a:pt x="143866" y="198567"/>
                    <a:pt x="141416" y="200290"/>
                    <a:pt x="138997" y="202136"/>
                  </a:cubicBezTo>
                  <a:cubicBezTo>
                    <a:pt x="134683" y="201049"/>
                    <a:pt x="130428" y="199737"/>
                    <a:pt x="126250" y="198208"/>
                  </a:cubicBezTo>
                  <a:close/>
                  <a:moveTo>
                    <a:pt x="136274" y="172674"/>
                  </a:moveTo>
                  <a:lnTo>
                    <a:pt x="143795" y="185955"/>
                  </a:lnTo>
                  <a:cubicBezTo>
                    <a:pt x="140059" y="184975"/>
                    <a:pt x="136126" y="183756"/>
                    <a:pt x="132087" y="182276"/>
                  </a:cubicBezTo>
                  <a:cubicBezTo>
                    <a:pt x="112730" y="175184"/>
                    <a:pt x="98606" y="165155"/>
                    <a:pt x="100540" y="159876"/>
                  </a:cubicBezTo>
                  <a:cubicBezTo>
                    <a:pt x="102344" y="154951"/>
                    <a:pt x="117486" y="155904"/>
                    <a:pt x="135225" y="161810"/>
                  </a:cubicBezTo>
                  <a:cubicBezTo>
                    <a:pt x="134022" y="165416"/>
                    <a:pt x="134403" y="169364"/>
                    <a:pt x="136274" y="172674"/>
                  </a:cubicBezTo>
                  <a:close/>
                  <a:moveTo>
                    <a:pt x="208602" y="175299"/>
                  </a:moveTo>
                  <a:lnTo>
                    <a:pt x="208166" y="172346"/>
                  </a:lnTo>
                  <a:cubicBezTo>
                    <a:pt x="220594" y="175220"/>
                    <a:pt x="233480" y="175512"/>
                    <a:pt x="246025" y="173203"/>
                  </a:cubicBezTo>
                  <a:cubicBezTo>
                    <a:pt x="258703" y="171787"/>
                    <a:pt x="270954" y="167783"/>
                    <a:pt x="282022" y="161440"/>
                  </a:cubicBezTo>
                  <a:lnTo>
                    <a:pt x="282457" y="164393"/>
                  </a:lnTo>
                  <a:cubicBezTo>
                    <a:pt x="283279" y="169955"/>
                    <a:pt x="267411" y="176905"/>
                    <a:pt x="247017" y="179917"/>
                  </a:cubicBezTo>
                  <a:cubicBezTo>
                    <a:pt x="226623" y="182929"/>
                    <a:pt x="209424" y="180861"/>
                    <a:pt x="208602" y="175299"/>
                  </a:cubicBezTo>
                  <a:close/>
                  <a:moveTo>
                    <a:pt x="247590" y="205209"/>
                  </a:moveTo>
                  <a:cubicBezTo>
                    <a:pt x="246874" y="210785"/>
                    <a:pt x="229716" y="213175"/>
                    <a:pt x="209269" y="210546"/>
                  </a:cubicBezTo>
                  <a:cubicBezTo>
                    <a:pt x="188821" y="207918"/>
                    <a:pt x="172826" y="201266"/>
                    <a:pt x="173543" y="195690"/>
                  </a:cubicBezTo>
                  <a:cubicBezTo>
                    <a:pt x="174259" y="190114"/>
                    <a:pt x="191417" y="187724"/>
                    <a:pt x="211865" y="190352"/>
                  </a:cubicBezTo>
                  <a:cubicBezTo>
                    <a:pt x="232313" y="192981"/>
                    <a:pt x="248307" y="199632"/>
                    <a:pt x="247590" y="205209"/>
                  </a:cubicBezTo>
                  <a:close/>
                  <a:moveTo>
                    <a:pt x="244539" y="163132"/>
                  </a:moveTo>
                  <a:cubicBezTo>
                    <a:pt x="224144" y="166143"/>
                    <a:pt x="206945" y="164075"/>
                    <a:pt x="206124" y="158514"/>
                  </a:cubicBezTo>
                  <a:cubicBezTo>
                    <a:pt x="205302" y="152952"/>
                    <a:pt x="221169" y="146001"/>
                    <a:pt x="241564" y="142989"/>
                  </a:cubicBezTo>
                  <a:cubicBezTo>
                    <a:pt x="261959" y="139978"/>
                    <a:pt x="279158" y="142045"/>
                    <a:pt x="279979" y="147607"/>
                  </a:cubicBezTo>
                  <a:cubicBezTo>
                    <a:pt x="280800" y="153170"/>
                    <a:pt x="264933" y="160120"/>
                    <a:pt x="244539" y="163132"/>
                  </a:cubicBezTo>
                  <a:close/>
                  <a:moveTo>
                    <a:pt x="182630" y="158122"/>
                  </a:moveTo>
                  <a:cubicBezTo>
                    <a:pt x="164692" y="168280"/>
                    <a:pt x="147903" y="172549"/>
                    <a:pt x="145132" y="167657"/>
                  </a:cubicBezTo>
                  <a:cubicBezTo>
                    <a:pt x="142361" y="162765"/>
                    <a:pt x="154659" y="150564"/>
                    <a:pt x="172598" y="140405"/>
                  </a:cubicBezTo>
                  <a:cubicBezTo>
                    <a:pt x="190537" y="130246"/>
                    <a:pt x="207325" y="125977"/>
                    <a:pt x="210096" y="130870"/>
                  </a:cubicBezTo>
                  <a:cubicBezTo>
                    <a:pt x="212866" y="135763"/>
                    <a:pt x="200569" y="147964"/>
                    <a:pt x="182630" y="158122"/>
                  </a:cubicBezTo>
                  <a:close/>
                  <a:moveTo>
                    <a:pt x="159579" y="200804"/>
                  </a:moveTo>
                  <a:cubicBezTo>
                    <a:pt x="160681" y="200179"/>
                    <a:pt x="161754" y="199654"/>
                    <a:pt x="162844" y="199076"/>
                  </a:cubicBezTo>
                  <a:lnTo>
                    <a:pt x="161283" y="211221"/>
                  </a:lnTo>
                  <a:cubicBezTo>
                    <a:pt x="160813" y="214869"/>
                    <a:pt x="161867" y="218548"/>
                    <a:pt x="164196" y="221394"/>
                  </a:cubicBezTo>
                  <a:cubicBezTo>
                    <a:pt x="148414" y="229410"/>
                    <a:pt x="134602" y="232451"/>
                    <a:pt x="132114" y="228056"/>
                  </a:cubicBezTo>
                  <a:cubicBezTo>
                    <a:pt x="129343" y="223163"/>
                    <a:pt x="141640" y="210962"/>
                    <a:pt x="159579" y="200804"/>
                  </a:cubicBezTo>
                  <a:close/>
                  <a:moveTo>
                    <a:pt x="153493" y="182422"/>
                  </a:moveTo>
                  <a:lnTo>
                    <a:pt x="152022" y="179825"/>
                  </a:lnTo>
                  <a:cubicBezTo>
                    <a:pt x="164651" y="178027"/>
                    <a:pt x="176776" y="173655"/>
                    <a:pt x="187647" y="166981"/>
                  </a:cubicBezTo>
                  <a:cubicBezTo>
                    <a:pt x="190066" y="165611"/>
                    <a:pt x="193094" y="163783"/>
                    <a:pt x="196299" y="161672"/>
                  </a:cubicBezTo>
                  <a:lnTo>
                    <a:pt x="197374" y="168952"/>
                  </a:lnTo>
                  <a:cubicBezTo>
                    <a:pt x="195328" y="170279"/>
                    <a:pt x="193254" y="171605"/>
                    <a:pt x="190991" y="172887"/>
                  </a:cubicBezTo>
                  <a:cubicBezTo>
                    <a:pt x="173052" y="183045"/>
                    <a:pt x="156263" y="187314"/>
                    <a:pt x="153493" y="182422"/>
                  </a:cubicBezTo>
                  <a:close/>
                  <a:moveTo>
                    <a:pt x="171760" y="209558"/>
                  </a:moveTo>
                  <a:cubicBezTo>
                    <a:pt x="182944" y="215693"/>
                    <a:pt x="195269" y="219466"/>
                    <a:pt x="207970" y="220644"/>
                  </a:cubicBezTo>
                  <a:cubicBezTo>
                    <a:pt x="220557" y="222717"/>
                    <a:pt x="233435" y="222184"/>
                    <a:pt x="245807" y="219077"/>
                  </a:cubicBezTo>
                  <a:lnTo>
                    <a:pt x="245427" y="222037"/>
                  </a:lnTo>
                  <a:cubicBezTo>
                    <a:pt x="244710" y="227614"/>
                    <a:pt x="227553" y="230004"/>
                    <a:pt x="207105" y="227376"/>
                  </a:cubicBezTo>
                  <a:cubicBezTo>
                    <a:pt x="186658" y="224748"/>
                    <a:pt x="170663" y="218096"/>
                    <a:pt x="171380" y="212519"/>
                  </a:cubicBezTo>
                  <a:close/>
                  <a:moveTo>
                    <a:pt x="206087" y="243559"/>
                  </a:moveTo>
                  <a:lnTo>
                    <a:pt x="268538" y="243559"/>
                  </a:lnTo>
                  <a:lnTo>
                    <a:pt x="268538" y="306010"/>
                  </a:lnTo>
                  <a:cubicBezTo>
                    <a:pt x="268538" y="323255"/>
                    <a:pt x="254559" y="337235"/>
                    <a:pt x="237313" y="337235"/>
                  </a:cubicBezTo>
                  <a:cubicBezTo>
                    <a:pt x="220068" y="337235"/>
                    <a:pt x="206087" y="323255"/>
                    <a:pt x="206087" y="306010"/>
                  </a:cubicBezTo>
                  <a:close/>
                  <a:moveTo>
                    <a:pt x="265948" y="223231"/>
                  </a:moveTo>
                  <a:cubicBezTo>
                    <a:pt x="262390" y="222774"/>
                    <a:pt x="258975" y="222192"/>
                    <a:pt x="255758" y="221517"/>
                  </a:cubicBezTo>
                  <a:lnTo>
                    <a:pt x="256622" y="214801"/>
                  </a:lnTo>
                  <a:cubicBezTo>
                    <a:pt x="260456" y="215572"/>
                    <a:pt x="264012" y="216140"/>
                    <a:pt x="266814" y="216500"/>
                  </a:cubicBezTo>
                  <a:cubicBezTo>
                    <a:pt x="279400" y="218573"/>
                    <a:pt x="292279" y="218040"/>
                    <a:pt x="304650" y="214933"/>
                  </a:cubicBezTo>
                  <a:lnTo>
                    <a:pt x="304269" y="217893"/>
                  </a:lnTo>
                  <a:cubicBezTo>
                    <a:pt x="303553" y="223470"/>
                    <a:pt x="286396" y="225860"/>
                    <a:pt x="265948" y="223231"/>
                  </a:cubicBezTo>
                  <a:close/>
                  <a:moveTo>
                    <a:pt x="268111" y="206403"/>
                  </a:moveTo>
                  <a:cubicBezTo>
                    <a:pt x="264473" y="205935"/>
                    <a:pt x="260997" y="205329"/>
                    <a:pt x="257711" y="204635"/>
                  </a:cubicBezTo>
                  <a:cubicBezTo>
                    <a:pt x="257172" y="198290"/>
                    <a:pt x="253231" y="192739"/>
                    <a:pt x="247419" y="190138"/>
                  </a:cubicBezTo>
                  <a:cubicBezTo>
                    <a:pt x="247775" y="190088"/>
                    <a:pt x="248169" y="190038"/>
                    <a:pt x="248505" y="189988"/>
                  </a:cubicBezTo>
                  <a:cubicBezTo>
                    <a:pt x="254933" y="189053"/>
                    <a:pt x="261288" y="187668"/>
                    <a:pt x="267523" y="185843"/>
                  </a:cubicBezTo>
                  <a:cubicBezTo>
                    <a:pt x="268576" y="185954"/>
                    <a:pt x="269634" y="186070"/>
                    <a:pt x="270707" y="186208"/>
                  </a:cubicBezTo>
                  <a:cubicBezTo>
                    <a:pt x="291154" y="188836"/>
                    <a:pt x="307149" y="195488"/>
                    <a:pt x="306433" y="201065"/>
                  </a:cubicBezTo>
                  <a:cubicBezTo>
                    <a:pt x="305716" y="206641"/>
                    <a:pt x="288558" y="209031"/>
                    <a:pt x="268111" y="206403"/>
                  </a:cubicBezTo>
                  <a:close/>
                  <a:moveTo>
                    <a:pt x="306334" y="184168"/>
                  </a:moveTo>
                  <a:cubicBezTo>
                    <a:pt x="299558" y="182222"/>
                    <a:pt x="292972" y="179666"/>
                    <a:pt x="286657" y="176533"/>
                  </a:cubicBezTo>
                  <a:cubicBezTo>
                    <a:pt x="288397" y="175077"/>
                    <a:pt x="289859" y="173318"/>
                    <a:pt x="290975" y="171343"/>
                  </a:cubicBezTo>
                  <a:cubicBezTo>
                    <a:pt x="296587" y="173824"/>
                    <a:pt x="302357" y="175933"/>
                    <a:pt x="308247" y="177657"/>
                  </a:cubicBezTo>
                  <a:cubicBezTo>
                    <a:pt x="320351" y="181682"/>
                    <a:pt x="333153" y="183180"/>
                    <a:pt x="345859" y="182058"/>
                  </a:cubicBezTo>
                  <a:lnTo>
                    <a:pt x="345018" y="184921"/>
                  </a:lnTo>
                  <a:cubicBezTo>
                    <a:pt x="343433" y="190315"/>
                    <a:pt x="326114" y="189978"/>
                    <a:pt x="306334" y="184168"/>
                  </a:cubicBezTo>
                  <a:close/>
                  <a:moveTo>
                    <a:pt x="289423" y="143779"/>
                  </a:moveTo>
                  <a:cubicBezTo>
                    <a:pt x="298734" y="144032"/>
                    <a:pt x="307965" y="145572"/>
                    <a:pt x="316855" y="148353"/>
                  </a:cubicBezTo>
                  <a:cubicBezTo>
                    <a:pt x="336634" y="154164"/>
                    <a:pt x="351385" y="163247"/>
                    <a:pt x="349800" y="168642"/>
                  </a:cubicBezTo>
                  <a:cubicBezTo>
                    <a:pt x="348215" y="174036"/>
                    <a:pt x="330896" y="173699"/>
                    <a:pt x="311116" y="167889"/>
                  </a:cubicBezTo>
                  <a:cubicBezTo>
                    <a:pt x="304609" y="166011"/>
                    <a:pt x="298277" y="163576"/>
                    <a:pt x="292190" y="160608"/>
                  </a:cubicBezTo>
                  <a:lnTo>
                    <a:pt x="290050" y="146121"/>
                  </a:lnTo>
                  <a:cubicBezTo>
                    <a:pt x="289910" y="145323"/>
                    <a:pt x="289701" y="144539"/>
                    <a:pt x="289423" y="143778"/>
                  </a:cubicBezTo>
                  <a:close/>
                  <a:moveTo>
                    <a:pt x="340743" y="208432"/>
                  </a:moveTo>
                  <a:cubicBezTo>
                    <a:pt x="332515" y="213307"/>
                    <a:pt x="323623" y="216961"/>
                    <a:pt x="314345" y="219281"/>
                  </a:cubicBezTo>
                  <a:lnTo>
                    <a:pt x="314367" y="219191"/>
                  </a:lnTo>
                  <a:lnTo>
                    <a:pt x="316530" y="202363"/>
                  </a:lnTo>
                  <a:cubicBezTo>
                    <a:pt x="316608" y="201581"/>
                    <a:pt x="316618" y="200794"/>
                    <a:pt x="316561" y="200010"/>
                  </a:cubicBezTo>
                  <a:cubicBezTo>
                    <a:pt x="317556" y="199247"/>
                    <a:pt x="318588" y="198482"/>
                    <a:pt x="319669" y="197715"/>
                  </a:cubicBezTo>
                  <a:cubicBezTo>
                    <a:pt x="334222" y="200171"/>
                    <a:pt x="351164" y="200120"/>
                    <a:pt x="354786" y="187791"/>
                  </a:cubicBezTo>
                  <a:lnTo>
                    <a:pt x="357100" y="179914"/>
                  </a:lnTo>
                  <a:cubicBezTo>
                    <a:pt x="362846" y="178691"/>
                    <a:pt x="366964" y="178984"/>
                    <a:pt x="368208" y="181180"/>
                  </a:cubicBezTo>
                  <a:cubicBezTo>
                    <a:pt x="370979" y="186072"/>
                    <a:pt x="358681" y="198274"/>
                    <a:pt x="340743" y="208432"/>
                  </a:cubicBezTo>
                  <a:close/>
                  <a:moveTo>
                    <a:pt x="51785" y="162373"/>
                  </a:moveTo>
                  <a:lnTo>
                    <a:pt x="88783" y="162373"/>
                  </a:lnTo>
                  <a:lnTo>
                    <a:pt x="85144" y="172305"/>
                  </a:lnTo>
                  <a:cubicBezTo>
                    <a:pt x="83493" y="177091"/>
                    <a:pt x="84475" y="182392"/>
                    <a:pt x="87730" y="186269"/>
                  </a:cubicBezTo>
                  <a:cubicBezTo>
                    <a:pt x="71917" y="188657"/>
                    <a:pt x="48469" y="194817"/>
                    <a:pt x="50041" y="210350"/>
                  </a:cubicBezTo>
                  <a:lnTo>
                    <a:pt x="51749" y="227231"/>
                  </a:lnTo>
                  <a:cubicBezTo>
                    <a:pt x="51897" y="228555"/>
                    <a:pt x="52243" y="229848"/>
                    <a:pt x="52777" y="231068"/>
                  </a:cubicBezTo>
                  <a:lnTo>
                    <a:pt x="16477" y="231068"/>
                  </a:lnTo>
                  <a:close/>
                  <a:moveTo>
                    <a:pt x="12490" y="424666"/>
                  </a:moveTo>
                  <a:lnTo>
                    <a:pt x="12490" y="368777"/>
                  </a:lnTo>
                  <a:cubicBezTo>
                    <a:pt x="42021" y="371787"/>
                    <a:pt x="65370" y="395136"/>
                    <a:pt x="68379" y="424666"/>
                  </a:cubicBezTo>
                  <a:close/>
                  <a:moveTo>
                    <a:pt x="462137" y="424666"/>
                  </a:moveTo>
                  <a:lnTo>
                    <a:pt x="406247" y="424666"/>
                  </a:lnTo>
                  <a:cubicBezTo>
                    <a:pt x="409257" y="395136"/>
                    <a:pt x="432606" y="371787"/>
                    <a:pt x="462137" y="368777"/>
                  </a:cubicBezTo>
                  <a:close/>
                  <a:moveTo>
                    <a:pt x="462137" y="356287"/>
                  </a:moveTo>
                  <a:cubicBezTo>
                    <a:pt x="425727" y="359375"/>
                    <a:pt x="396846" y="388257"/>
                    <a:pt x="393757" y="424666"/>
                  </a:cubicBezTo>
                  <a:lnTo>
                    <a:pt x="80870" y="424666"/>
                  </a:lnTo>
                  <a:cubicBezTo>
                    <a:pt x="77781" y="388257"/>
                    <a:pt x="48899" y="359375"/>
                    <a:pt x="12490" y="356287"/>
                  </a:cubicBezTo>
                  <a:lnTo>
                    <a:pt x="12490" y="243559"/>
                  </a:lnTo>
                  <a:lnTo>
                    <a:pt x="193597" y="243559"/>
                  </a:lnTo>
                  <a:lnTo>
                    <a:pt x="193597" y="306010"/>
                  </a:lnTo>
                  <a:cubicBezTo>
                    <a:pt x="193597" y="330153"/>
                    <a:pt x="213170" y="349725"/>
                    <a:pt x="237313" y="349725"/>
                  </a:cubicBezTo>
                  <a:cubicBezTo>
                    <a:pt x="261456" y="349725"/>
                    <a:pt x="281029" y="330153"/>
                    <a:pt x="281029" y="306010"/>
                  </a:cubicBezTo>
                  <a:lnTo>
                    <a:pt x="281029" y="243559"/>
                  </a:lnTo>
                  <a:lnTo>
                    <a:pt x="462137" y="243559"/>
                  </a:lnTo>
                  <a:close/>
                  <a:moveTo>
                    <a:pt x="458147" y="231068"/>
                  </a:moveTo>
                  <a:lnTo>
                    <a:pt x="428199" y="231068"/>
                  </a:lnTo>
                  <a:cubicBezTo>
                    <a:pt x="432698" y="228152"/>
                    <a:pt x="435249" y="223015"/>
                    <a:pt x="434853" y="217667"/>
                  </a:cubicBezTo>
                  <a:lnTo>
                    <a:pt x="433145" y="200786"/>
                  </a:lnTo>
                  <a:cubicBezTo>
                    <a:pt x="431296" y="182502"/>
                    <a:pt x="398040" y="183872"/>
                    <a:pt x="383828" y="185311"/>
                  </a:cubicBezTo>
                  <a:cubicBezTo>
                    <a:pt x="383391" y="185355"/>
                    <a:pt x="382818" y="185436"/>
                    <a:pt x="382347" y="185488"/>
                  </a:cubicBezTo>
                  <a:lnTo>
                    <a:pt x="377066" y="176163"/>
                  </a:lnTo>
                  <a:cubicBezTo>
                    <a:pt x="373366" y="170517"/>
                    <a:pt x="366569" y="167734"/>
                    <a:pt x="359972" y="169166"/>
                  </a:cubicBezTo>
                  <a:cubicBezTo>
                    <a:pt x="360224" y="166737"/>
                    <a:pt x="359800" y="164285"/>
                    <a:pt x="358746" y="162081"/>
                  </a:cubicBezTo>
                  <a:lnTo>
                    <a:pt x="359380" y="162373"/>
                  </a:lnTo>
                  <a:lnTo>
                    <a:pt x="422817" y="162373"/>
                  </a:lnTo>
                  <a:close/>
                </a:path>
              </a:pathLst>
            </a:custGeom>
            <a:solidFill>
              <a:schemeClr val="lt1"/>
            </a:solidFill>
            <a:ln w="8202" cap="flat">
              <a:solidFill>
                <a:schemeClr val="accent5"/>
              </a:solidFill>
              <a:prstDash val="solid"/>
              <a:miter/>
            </a:ln>
          </p:spPr>
          <p:txBody>
            <a:bodyPr rtlCol="0" anchor="ctr"/>
            <a:lstStyle/>
            <a:p>
              <a:endParaRPr lang="en-GB"/>
            </a:p>
          </p:txBody>
        </p:sp>
        <p:sp>
          <p:nvSpPr>
            <p:cNvPr id="152" name="Frihandsfigur: Form 151">
              <a:extLst>
                <a:ext uri="{FF2B5EF4-FFF2-40B4-BE49-F238E27FC236}">
                  <a16:creationId xmlns:a16="http://schemas.microsoft.com/office/drawing/2014/main" id="{2A005AD6-8FC1-1E80-243E-8EEACBA8D1D5}"/>
                </a:ext>
              </a:extLst>
            </p:cNvPr>
            <p:cNvSpPr/>
            <p:nvPr/>
          </p:nvSpPr>
          <p:spPr>
            <a:xfrm>
              <a:off x="15899720" y="7309480"/>
              <a:ext cx="37470" cy="37470"/>
            </a:xfrm>
            <a:custGeom>
              <a:avLst/>
              <a:gdLst>
                <a:gd name="connsiteX0" fmla="*/ 18735 w 37470"/>
                <a:gd name="connsiteY0" fmla="*/ 37471 h 37470"/>
                <a:gd name="connsiteX1" fmla="*/ 37471 w 37470"/>
                <a:gd name="connsiteY1" fmla="*/ 18735 h 37470"/>
                <a:gd name="connsiteX2" fmla="*/ 18735 w 37470"/>
                <a:gd name="connsiteY2" fmla="*/ 0 h 37470"/>
                <a:gd name="connsiteX3" fmla="*/ 0 w 37470"/>
                <a:gd name="connsiteY3" fmla="*/ 18735 h 37470"/>
                <a:gd name="connsiteX4" fmla="*/ 18735 w 37470"/>
                <a:gd name="connsiteY4" fmla="*/ 37471 h 37470"/>
                <a:gd name="connsiteX5" fmla="*/ 18735 w 37470"/>
                <a:gd name="connsiteY5" fmla="*/ 12490 h 37470"/>
                <a:gd name="connsiteX6" fmla="*/ 24980 w 37470"/>
                <a:gd name="connsiteY6" fmla="*/ 18735 h 37470"/>
                <a:gd name="connsiteX7" fmla="*/ 18735 w 37470"/>
                <a:gd name="connsiteY7" fmla="*/ 24980 h 37470"/>
                <a:gd name="connsiteX8" fmla="*/ 12490 w 37470"/>
                <a:gd name="connsiteY8" fmla="*/ 18735 h 37470"/>
                <a:gd name="connsiteX9" fmla="*/ 18735 w 37470"/>
                <a:gd name="connsiteY9" fmla="*/ 12490 h 37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470" h="37470">
                  <a:moveTo>
                    <a:pt x="18735" y="37471"/>
                  </a:moveTo>
                  <a:cubicBezTo>
                    <a:pt x="29082" y="37471"/>
                    <a:pt x="37471" y="29083"/>
                    <a:pt x="37471" y="18735"/>
                  </a:cubicBezTo>
                  <a:cubicBezTo>
                    <a:pt x="37471" y="8388"/>
                    <a:pt x="29082" y="0"/>
                    <a:pt x="18735" y="0"/>
                  </a:cubicBezTo>
                  <a:cubicBezTo>
                    <a:pt x="8388" y="0"/>
                    <a:pt x="0" y="8388"/>
                    <a:pt x="0" y="18735"/>
                  </a:cubicBezTo>
                  <a:cubicBezTo>
                    <a:pt x="0" y="29083"/>
                    <a:pt x="8388" y="37471"/>
                    <a:pt x="18735" y="37471"/>
                  </a:cubicBezTo>
                  <a:close/>
                  <a:moveTo>
                    <a:pt x="18735" y="12490"/>
                  </a:moveTo>
                  <a:cubicBezTo>
                    <a:pt x="22184" y="12490"/>
                    <a:pt x="24980" y="15286"/>
                    <a:pt x="24980" y="18735"/>
                  </a:cubicBezTo>
                  <a:cubicBezTo>
                    <a:pt x="24980" y="22184"/>
                    <a:pt x="22184" y="24980"/>
                    <a:pt x="18735" y="24980"/>
                  </a:cubicBezTo>
                  <a:cubicBezTo>
                    <a:pt x="15286" y="24980"/>
                    <a:pt x="12490" y="22184"/>
                    <a:pt x="12490" y="18735"/>
                  </a:cubicBezTo>
                  <a:cubicBezTo>
                    <a:pt x="12494" y="15288"/>
                    <a:pt x="15288" y="12494"/>
                    <a:pt x="18735" y="12490"/>
                  </a:cubicBezTo>
                  <a:close/>
                </a:path>
              </a:pathLst>
            </a:custGeom>
            <a:solidFill>
              <a:schemeClr val="lt1"/>
            </a:solidFill>
            <a:ln w="8202" cap="flat">
              <a:solidFill>
                <a:schemeClr val="accent5"/>
              </a:solidFill>
              <a:prstDash val="solid"/>
              <a:miter/>
            </a:ln>
          </p:spPr>
          <p:txBody>
            <a:bodyPr rtlCol="0" anchor="ctr"/>
            <a:lstStyle/>
            <a:p>
              <a:endParaRPr lang="en-GB"/>
            </a:p>
          </p:txBody>
        </p:sp>
      </p:grpSp>
      <p:sp>
        <p:nvSpPr>
          <p:cNvPr id="154" name="Bild 144" descr="Euro med hel fyllning">
            <a:extLst>
              <a:ext uri="{FF2B5EF4-FFF2-40B4-BE49-F238E27FC236}">
                <a16:creationId xmlns:a16="http://schemas.microsoft.com/office/drawing/2014/main" id="{309838D4-4813-4E05-1460-54E48D9F9266}"/>
              </a:ext>
            </a:extLst>
          </p:cNvPr>
          <p:cNvSpPr/>
          <p:nvPr/>
        </p:nvSpPr>
        <p:spPr>
          <a:xfrm rot="18205641">
            <a:off x="8295704" y="7170429"/>
            <a:ext cx="206621" cy="278254"/>
          </a:xfrm>
          <a:custGeom>
            <a:avLst/>
            <a:gdLst>
              <a:gd name="connsiteX0" fmla="*/ 194885 w 206621"/>
              <a:gd name="connsiteY0" fmla="*/ 237586 h 278254"/>
              <a:gd name="connsiteX1" fmla="*/ 133776 w 206621"/>
              <a:gd name="connsiteY1" fmla="*/ 256850 h 278254"/>
              <a:gd name="connsiteX2" fmla="*/ 49051 w 206621"/>
              <a:gd name="connsiteY2" fmla="*/ 171234 h 278254"/>
              <a:gd name="connsiteX3" fmla="*/ 149829 w 206621"/>
              <a:gd name="connsiteY3" fmla="*/ 171234 h 278254"/>
              <a:gd name="connsiteX4" fmla="*/ 149829 w 206621"/>
              <a:gd name="connsiteY4" fmla="*/ 149829 h 278254"/>
              <a:gd name="connsiteX5" fmla="*/ 46590 w 206621"/>
              <a:gd name="connsiteY5" fmla="*/ 149829 h 278254"/>
              <a:gd name="connsiteX6" fmla="*/ 46376 w 206621"/>
              <a:gd name="connsiteY6" fmla="*/ 139127 h 278254"/>
              <a:gd name="connsiteX7" fmla="*/ 46661 w 206621"/>
              <a:gd name="connsiteY7" fmla="*/ 128425 h 278254"/>
              <a:gd name="connsiteX8" fmla="*/ 149829 w 206621"/>
              <a:gd name="connsiteY8" fmla="*/ 128425 h 278254"/>
              <a:gd name="connsiteX9" fmla="*/ 149829 w 206621"/>
              <a:gd name="connsiteY9" fmla="*/ 107021 h 278254"/>
              <a:gd name="connsiteX10" fmla="*/ 49051 w 206621"/>
              <a:gd name="connsiteY10" fmla="*/ 107021 h 278254"/>
              <a:gd name="connsiteX11" fmla="*/ 133776 w 206621"/>
              <a:gd name="connsiteY11" fmla="*/ 21404 h 278254"/>
              <a:gd name="connsiteX12" fmla="*/ 194885 w 206621"/>
              <a:gd name="connsiteY12" fmla="*/ 40668 h 278254"/>
              <a:gd name="connsiteX13" fmla="*/ 206622 w 206621"/>
              <a:gd name="connsiteY13" fmla="*/ 22831 h 278254"/>
              <a:gd name="connsiteX14" fmla="*/ 133776 w 206621"/>
              <a:gd name="connsiteY14" fmla="*/ 0 h 278254"/>
              <a:gd name="connsiteX15" fmla="*/ 27397 w 206621"/>
              <a:gd name="connsiteY15" fmla="*/ 107021 h 278254"/>
              <a:gd name="connsiteX16" fmla="*/ 0 w 206621"/>
              <a:gd name="connsiteY16" fmla="*/ 107021 h 278254"/>
              <a:gd name="connsiteX17" fmla="*/ 0 w 206621"/>
              <a:gd name="connsiteY17" fmla="*/ 128425 h 278254"/>
              <a:gd name="connsiteX18" fmla="*/ 25328 w 206621"/>
              <a:gd name="connsiteY18" fmla="*/ 128425 h 278254"/>
              <a:gd name="connsiteX19" fmla="*/ 25043 w 206621"/>
              <a:gd name="connsiteY19" fmla="*/ 139127 h 278254"/>
              <a:gd name="connsiteX20" fmla="*/ 25328 w 206621"/>
              <a:gd name="connsiteY20" fmla="*/ 149829 h 278254"/>
              <a:gd name="connsiteX21" fmla="*/ 0 w 206621"/>
              <a:gd name="connsiteY21" fmla="*/ 149829 h 278254"/>
              <a:gd name="connsiteX22" fmla="*/ 0 w 206621"/>
              <a:gd name="connsiteY22" fmla="*/ 171234 h 278254"/>
              <a:gd name="connsiteX23" fmla="*/ 27397 w 206621"/>
              <a:gd name="connsiteY23" fmla="*/ 171234 h 278254"/>
              <a:gd name="connsiteX24" fmla="*/ 133776 w 206621"/>
              <a:gd name="connsiteY24" fmla="*/ 278254 h 278254"/>
              <a:gd name="connsiteX25" fmla="*/ 206622 w 206621"/>
              <a:gd name="connsiteY25" fmla="*/ 255352 h 278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06621" h="278254">
                <a:moveTo>
                  <a:pt x="194885" y="237586"/>
                </a:moveTo>
                <a:cubicBezTo>
                  <a:pt x="176863" y="249897"/>
                  <a:pt x="155601" y="256600"/>
                  <a:pt x="133776" y="256850"/>
                </a:cubicBezTo>
                <a:cubicBezTo>
                  <a:pt x="81728" y="256850"/>
                  <a:pt x="56757" y="215683"/>
                  <a:pt x="49051" y="171234"/>
                </a:cubicBezTo>
                <a:lnTo>
                  <a:pt x="149829" y="171234"/>
                </a:lnTo>
                <a:lnTo>
                  <a:pt x="149829" y="149829"/>
                </a:lnTo>
                <a:lnTo>
                  <a:pt x="46590" y="149829"/>
                </a:lnTo>
                <a:cubicBezTo>
                  <a:pt x="46376" y="146262"/>
                  <a:pt x="46376" y="142695"/>
                  <a:pt x="46376" y="139127"/>
                </a:cubicBezTo>
                <a:cubicBezTo>
                  <a:pt x="46376" y="135560"/>
                  <a:pt x="46376" y="131992"/>
                  <a:pt x="46661" y="128425"/>
                </a:cubicBezTo>
                <a:lnTo>
                  <a:pt x="149829" y="128425"/>
                </a:lnTo>
                <a:lnTo>
                  <a:pt x="149829" y="107021"/>
                </a:lnTo>
                <a:lnTo>
                  <a:pt x="49051" y="107021"/>
                </a:lnTo>
                <a:cubicBezTo>
                  <a:pt x="56757" y="62572"/>
                  <a:pt x="81728" y="21404"/>
                  <a:pt x="133776" y="21404"/>
                </a:cubicBezTo>
                <a:cubicBezTo>
                  <a:pt x="155598" y="21667"/>
                  <a:pt x="176857" y="28369"/>
                  <a:pt x="194885" y="40668"/>
                </a:cubicBezTo>
                <a:lnTo>
                  <a:pt x="206622" y="22831"/>
                </a:lnTo>
                <a:cubicBezTo>
                  <a:pt x="185119" y="8212"/>
                  <a:pt x="159777" y="269"/>
                  <a:pt x="133776" y="0"/>
                </a:cubicBezTo>
                <a:cubicBezTo>
                  <a:pt x="77519" y="0"/>
                  <a:pt x="37243" y="41917"/>
                  <a:pt x="27397" y="107021"/>
                </a:cubicBezTo>
                <a:lnTo>
                  <a:pt x="0" y="107021"/>
                </a:lnTo>
                <a:lnTo>
                  <a:pt x="0" y="128425"/>
                </a:lnTo>
                <a:lnTo>
                  <a:pt x="25328" y="128425"/>
                </a:lnTo>
                <a:cubicBezTo>
                  <a:pt x="25150" y="131992"/>
                  <a:pt x="25043" y="135560"/>
                  <a:pt x="25043" y="139127"/>
                </a:cubicBezTo>
                <a:cubicBezTo>
                  <a:pt x="25043" y="142695"/>
                  <a:pt x="25043" y="146262"/>
                  <a:pt x="25328" y="149829"/>
                </a:cubicBezTo>
                <a:lnTo>
                  <a:pt x="0" y="149829"/>
                </a:lnTo>
                <a:lnTo>
                  <a:pt x="0" y="171234"/>
                </a:lnTo>
                <a:lnTo>
                  <a:pt x="27397" y="171234"/>
                </a:lnTo>
                <a:cubicBezTo>
                  <a:pt x="37243" y="236338"/>
                  <a:pt x="77340" y="278254"/>
                  <a:pt x="133776" y="278254"/>
                </a:cubicBezTo>
                <a:cubicBezTo>
                  <a:pt x="159784" y="277964"/>
                  <a:pt x="185127" y="269997"/>
                  <a:pt x="206622" y="255352"/>
                </a:cubicBezTo>
                <a:close/>
              </a:path>
            </a:pathLst>
          </a:custGeom>
          <a:solidFill>
            <a:schemeClr val="lt1"/>
          </a:solidFill>
          <a:ln w="4630" cap="flat">
            <a:solidFill>
              <a:schemeClr val="accent5"/>
            </a:solidFill>
            <a:prstDash val="solid"/>
            <a:miter/>
          </a:ln>
        </p:spPr>
        <p:txBody>
          <a:bodyPr rtlCol="0" anchor="ctr"/>
          <a:lstStyle/>
          <a:p>
            <a:endParaRPr lang="en-GB"/>
          </a:p>
        </p:txBody>
      </p:sp>
      <p:grpSp>
        <p:nvGrpSpPr>
          <p:cNvPr id="155" name="Bild 2" descr="Lastbil kontur">
            <a:extLst>
              <a:ext uri="{FF2B5EF4-FFF2-40B4-BE49-F238E27FC236}">
                <a16:creationId xmlns:a16="http://schemas.microsoft.com/office/drawing/2014/main" id="{E171C55C-A435-9747-D73F-283CCEFCB682}"/>
              </a:ext>
            </a:extLst>
          </p:cNvPr>
          <p:cNvGrpSpPr/>
          <p:nvPr/>
        </p:nvGrpSpPr>
        <p:grpSpPr>
          <a:xfrm>
            <a:off x="13253493" y="4329639"/>
            <a:ext cx="838200" cy="476345"/>
            <a:chOff x="12550105" y="4329639"/>
            <a:chExt cx="838200" cy="476345"/>
          </a:xfrm>
          <a:solidFill>
            <a:schemeClr val="lt1"/>
          </a:solidFill>
        </p:grpSpPr>
        <p:sp>
          <p:nvSpPr>
            <p:cNvPr id="156" name="Frihandsfigur: Form 155">
              <a:extLst>
                <a:ext uri="{FF2B5EF4-FFF2-40B4-BE49-F238E27FC236}">
                  <a16:creationId xmlns:a16="http://schemas.microsoft.com/office/drawing/2014/main" id="{9725CDBB-A822-789C-FEAC-D9888AB4204C}"/>
                </a:ext>
              </a:extLst>
            </p:cNvPr>
            <p:cNvSpPr/>
            <p:nvPr/>
          </p:nvSpPr>
          <p:spPr>
            <a:xfrm>
              <a:off x="12645355" y="4653584"/>
              <a:ext cx="152400" cy="152400"/>
            </a:xfrm>
            <a:custGeom>
              <a:avLst/>
              <a:gdLst>
                <a:gd name="connsiteX0" fmla="*/ 76200 w 152400"/>
                <a:gd name="connsiteY0" fmla="*/ 0 h 152400"/>
                <a:gd name="connsiteX1" fmla="*/ 0 w 152400"/>
                <a:gd name="connsiteY1" fmla="*/ 76200 h 152400"/>
                <a:gd name="connsiteX2" fmla="*/ 76200 w 152400"/>
                <a:gd name="connsiteY2" fmla="*/ 152400 h 152400"/>
                <a:gd name="connsiteX3" fmla="*/ 152400 w 152400"/>
                <a:gd name="connsiteY3" fmla="*/ 76200 h 152400"/>
                <a:gd name="connsiteX4" fmla="*/ 76200 w 152400"/>
                <a:gd name="connsiteY4" fmla="*/ 0 h 152400"/>
                <a:gd name="connsiteX5" fmla="*/ 76200 w 152400"/>
                <a:gd name="connsiteY5" fmla="*/ 133350 h 152400"/>
                <a:gd name="connsiteX6" fmla="*/ 19050 w 152400"/>
                <a:gd name="connsiteY6" fmla="*/ 76200 h 152400"/>
                <a:gd name="connsiteX7" fmla="*/ 76200 w 152400"/>
                <a:gd name="connsiteY7" fmla="*/ 19050 h 152400"/>
                <a:gd name="connsiteX8" fmla="*/ 133350 w 152400"/>
                <a:gd name="connsiteY8" fmla="*/ 76200 h 152400"/>
                <a:gd name="connsiteX9" fmla="*/ 76200 w 152400"/>
                <a:gd name="connsiteY9" fmla="*/ 133388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2400" h="152400">
                  <a:moveTo>
                    <a:pt x="76200" y="0"/>
                  </a:moveTo>
                  <a:cubicBezTo>
                    <a:pt x="34116" y="0"/>
                    <a:pt x="0" y="34116"/>
                    <a:pt x="0" y="76200"/>
                  </a:cubicBezTo>
                  <a:cubicBezTo>
                    <a:pt x="0" y="118284"/>
                    <a:pt x="34116" y="152400"/>
                    <a:pt x="76200" y="152400"/>
                  </a:cubicBezTo>
                  <a:cubicBezTo>
                    <a:pt x="118284" y="152400"/>
                    <a:pt x="152400" y="118284"/>
                    <a:pt x="152400" y="76200"/>
                  </a:cubicBezTo>
                  <a:cubicBezTo>
                    <a:pt x="152348" y="34138"/>
                    <a:pt x="118262" y="52"/>
                    <a:pt x="76200" y="0"/>
                  </a:cubicBezTo>
                  <a:close/>
                  <a:moveTo>
                    <a:pt x="76200" y="133350"/>
                  </a:moveTo>
                  <a:cubicBezTo>
                    <a:pt x="44637" y="133350"/>
                    <a:pt x="19050" y="107763"/>
                    <a:pt x="19050" y="76200"/>
                  </a:cubicBezTo>
                  <a:cubicBezTo>
                    <a:pt x="19050" y="44637"/>
                    <a:pt x="44637" y="19050"/>
                    <a:pt x="76200" y="19050"/>
                  </a:cubicBezTo>
                  <a:cubicBezTo>
                    <a:pt x="107763" y="19050"/>
                    <a:pt x="133350" y="44637"/>
                    <a:pt x="133350" y="76200"/>
                  </a:cubicBezTo>
                  <a:cubicBezTo>
                    <a:pt x="133329" y="107760"/>
                    <a:pt x="107760" y="133346"/>
                    <a:pt x="76200" y="133388"/>
                  </a:cubicBezTo>
                  <a:close/>
                </a:path>
              </a:pathLst>
            </a:custGeom>
            <a:solidFill>
              <a:schemeClr val="lt1"/>
            </a:solidFill>
            <a:ln w="12700" cap="flat">
              <a:solidFill>
                <a:schemeClr val="accent5"/>
              </a:solidFill>
              <a:prstDash val="solid"/>
              <a:miter/>
            </a:ln>
          </p:spPr>
          <p:txBody>
            <a:bodyPr rtlCol="0" anchor="ctr"/>
            <a:lstStyle/>
            <a:p>
              <a:endParaRPr lang="en-GB"/>
            </a:p>
          </p:txBody>
        </p:sp>
        <p:sp>
          <p:nvSpPr>
            <p:cNvPr id="157" name="Frihandsfigur: Form 156">
              <a:extLst>
                <a:ext uri="{FF2B5EF4-FFF2-40B4-BE49-F238E27FC236}">
                  <a16:creationId xmlns:a16="http://schemas.microsoft.com/office/drawing/2014/main" id="{CE87BD0E-B866-5032-6AFB-4860BACB3209}"/>
                </a:ext>
              </a:extLst>
            </p:cNvPr>
            <p:cNvSpPr/>
            <p:nvPr/>
          </p:nvSpPr>
          <p:spPr>
            <a:xfrm>
              <a:off x="12550105" y="4329639"/>
              <a:ext cx="838200" cy="400164"/>
            </a:xfrm>
            <a:custGeom>
              <a:avLst/>
              <a:gdLst>
                <a:gd name="connsiteX0" fmla="*/ 822960 w 838200"/>
                <a:gd name="connsiteY0" fmla="*/ 236287 h 400164"/>
                <a:gd name="connsiteX1" fmla="*/ 772478 w 838200"/>
                <a:gd name="connsiteY1" fmla="*/ 198187 h 400164"/>
                <a:gd name="connsiteX2" fmla="*/ 759143 w 838200"/>
                <a:gd name="connsiteY2" fmla="*/ 178184 h 400164"/>
                <a:gd name="connsiteX3" fmla="*/ 740093 w 838200"/>
                <a:gd name="connsiteY3" fmla="*/ 112462 h 400164"/>
                <a:gd name="connsiteX4" fmla="*/ 666750 w 838200"/>
                <a:gd name="connsiteY4" fmla="*/ 57150 h 400164"/>
                <a:gd name="connsiteX5" fmla="*/ 571500 w 838200"/>
                <a:gd name="connsiteY5" fmla="*/ 57150 h 400164"/>
                <a:gd name="connsiteX6" fmla="*/ 571500 w 838200"/>
                <a:gd name="connsiteY6" fmla="*/ 0 h 400164"/>
                <a:gd name="connsiteX7" fmla="*/ 0 w 838200"/>
                <a:gd name="connsiteY7" fmla="*/ 0 h 400164"/>
                <a:gd name="connsiteX8" fmla="*/ 0 w 838200"/>
                <a:gd name="connsiteY8" fmla="*/ 400164 h 400164"/>
                <a:gd name="connsiteX9" fmla="*/ 76200 w 838200"/>
                <a:gd name="connsiteY9" fmla="*/ 400164 h 400164"/>
                <a:gd name="connsiteX10" fmla="*/ 78105 w 838200"/>
                <a:gd name="connsiteY10" fmla="*/ 381114 h 400164"/>
                <a:gd name="connsiteX11" fmla="*/ 19050 w 838200"/>
                <a:gd name="connsiteY11" fmla="*/ 381114 h 400164"/>
                <a:gd name="connsiteX12" fmla="*/ 19050 w 838200"/>
                <a:gd name="connsiteY12" fmla="*/ 256670 h 400164"/>
                <a:gd name="connsiteX13" fmla="*/ 552450 w 838200"/>
                <a:gd name="connsiteY13" fmla="*/ 256670 h 400164"/>
                <a:gd name="connsiteX14" fmla="*/ 552450 w 838200"/>
                <a:gd name="connsiteY14" fmla="*/ 381114 h 400164"/>
                <a:gd name="connsiteX15" fmla="*/ 264795 w 838200"/>
                <a:gd name="connsiteY15" fmla="*/ 381114 h 400164"/>
                <a:gd name="connsiteX16" fmla="*/ 266700 w 838200"/>
                <a:gd name="connsiteY16" fmla="*/ 400164 h 400164"/>
                <a:gd name="connsiteX17" fmla="*/ 581025 w 838200"/>
                <a:gd name="connsiteY17" fmla="*/ 400164 h 400164"/>
                <a:gd name="connsiteX18" fmla="*/ 582930 w 838200"/>
                <a:gd name="connsiteY18" fmla="*/ 381114 h 400164"/>
                <a:gd name="connsiteX19" fmla="*/ 571500 w 838200"/>
                <a:gd name="connsiteY19" fmla="*/ 381114 h 400164"/>
                <a:gd name="connsiteX20" fmla="*/ 571500 w 838200"/>
                <a:gd name="connsiteY20" fmla="*/ 76200 h 400164"/>
                <a:gd name="connsiteX21" fmla="*/ 609600 w 838200"/>
                <a:gd name="connsiteY21" fmla="*/ 76200 h 400164"/>
                <a:gd name="connsiteX22" fmla="*/ 609600 w 838200"/>
                <a:gd name="connsiteY22" fmla="*/ 209045 h 400164"/>
                <a:gd name="connsiteX23" fmla="*/ 756095 w 838200"/>
                <a:gd name="connsiteY23" fmla="*/ 209045 h 400164"/>
                <a:gd name="connsiteX24" fmla="*/ 761209 w 838200"/>
                <a:gd name="connsiteY24" fmla="*/ 213512 h 400164"/>
                <a:gd name="connsiteX25" fmla="*/ 811282 w 838200"/>
                <a:gd name="connsiteY25" fmla="*/ 251317 h 400164"/>
                <a:gd name="connsiteX26" fmla="*/ 819150 w 838200"/>
                <a:gd name="connsiteY26" fmla="*/ 266776 h 400164"/>
                <a:gd name="connsiteX27" fmla="*/ 819150 w 838200"/>
                <a:gd name="connsiteY27" fmla="*/ 362026 h 400164"/>
                <a:gd name="connsiteX28" fmla="*/ 800100 w 838200"/>
                <a:gd name="connsiteY28" fmla="*/ 381076 h 400164"/>
                <a:gd name="connsiteX29" fmla="*/ 769620 w 838200"/>
                <a:gd name="connsiteY29" fmla="*/ 381076 h 400164"/>
                <a:gd name="connsiteX30" fmla="*/ 771525 w 838200"/>
                <a:gd name="connsiteY30" fmla="*/ 400126 h 400164"/>
                <a:gd name="connsiteX31" fmla="*/ 800100 w 838200"/>
                <a:gd name="connsiteY31" fmla="*/ 400126 h 400164"/>
                <a:gd name="connsiteX32" fmla="*/ 838200 w 838200"/>
                <a:gd name="connsiteY32" fmla="*/ 362026 h 400164"/>
                <a:gd name="connsiteX33" fmla="*/ 838200 w 838200"/>
                <a:gd name="connsiteY33" fmla="*/ 266776 h 400164"/>
                <a:gd name="connsiteX34" fmla="*/ 822960 w 838200"/>
                <a:gd name="connsiteY34" fmla="*/ 236287 h 400164"/>
                <a:gd name="connsiteX35" fmla="*/ 552450 w 838200"/>
                <a:gd name="connsiteY35" fmla="*/ 237620 h 400164"/>
                <a:gd name="connsiteX36" fmla="*/ 19050 w 838200"/>
                <a:gd name="connsiteY36" fmla="*/ 237620 h 400164"/>
                <a:gd name="connsiteX37" fmla="*/ 19050 w 838200"/>
                <a:gd name="connsiteY37" fmla="*/ 19050 h 400164"/>
                <a:gd name="connsiteX38" fmla="*/ 552450 w 838200"/>
                <a:gd name="connsiteY38" fmla="*/ 19050 h 400164"/>
                <a:gd name="connsiteX39" fmla="*/ 628650 w 838200"/>
                <a:gd name="connsiteY39" fmla="*/ 76200 h 400164"/>
                <a:gd name="connsiteX40" fmla="*/ 666750 w 838200"/>
                <a:gd name="connsiteY40" fmla="*/ 76200 h 400164"/>
                <a:gd name="connsiteX41" fmla="*/ 721805 w 838200"/>
                <a:gd name="connsiteY41" fmla="*/ 117710 h 400164"/>
                <a:gd name="connsiteX42" fmla="*/ 740769 w 838200"/>
                <a:gd name="connsiteY42" fmla="*/ 183147 h 400164"/>
                <a:gd name="connsiteX43" fmla="*/ 743169 w 838200"/>
                <a:gd name="connsiteY43" fmla="*/ 189976 h 400164"/>
                <a:gd name="connsiteX44" fmla="*/ 628650 w 838200"/>
                <a:gd name="connsiteY44" fmla="*/ 189976 h 400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838200" h="400164">
                  <a:moveTo>
                    <a:pt x="822960" y="236287"/>
                  </a:moveTo>
                  <a:lnTo>
                    <a:pt x="772478" y="198187"/>
                  </a:lnTo>
                  <a:cubicBezTo>
                    <a:pt x="765858" y="193258"/>
                    <a:pt x="761146" y="186191"/>
                    <a:pt x="759143" y="178184"/>
                  </a:cubicBezTo>
                  <a:lnTo>
                    <a:pt x="740093" y="112462"/>
                  </a:lnTo>
                  <a:cubicBezTo>
                    <a:pt x="730395" y="79953"/>
                    <a:pt x="700672" y="57537"/>
                    <a:pt x="666750" y="57150"/>
                  </a:cubicBezTo>
                  <a:lnTo>
                    <a:pt x="571500" y="57150"/>
                  </a:lnTo>
                  <a:lnTo>
                    <a:pt x="571500" y="0"/>
                  </a:lnTo>
                  <a:lnTo>
                    <a:pt x="0" y="0"/>
                  </a:lnTo>
                  <a:lnTo>
                    <a:pt x="0" y="400164"/>
                  </a:lnTo>
                  <a:lnTo>
                    <a:pt x="76200" y="400164"/>
                  </a:lnTo>
                  <a:cubicBezTo>
                    <a:pt x="76197" y="393766"/>
                    <a:pt x="76835" y="387385"/>
                    <a:pt x="78105" y="381114"/>
                  </a:cubicBezTo>
                  <a:lnTo>
                    <a:pt x="19050" y="381114"/>
                  </a:lnTo>
                  <a:lnTo>
                    <a:pt x="19050" y="256670"/>
                  </a:lnTo>
                  <a:lnTo>
                    <a:pt x="552450" y="256670"/>
                  </a:lnTo>
                  <a:lnTo>
                    <a:pt x="552450" y="381114"/>
                  </a:lnTo>
                  <a:lnTo>
                    <a:pt x="264795" y="381114"/>
                  </a:lnTo>
                  <a:cubicBezTo>
                    <a:pt x="266069" y="387384"/>
                    <a:pt x="266708" y="393766"/>
                    <a:pt x="266700" y="400164"/>
                  </a:cubicBezTo>
                  <a:lnTo>
                    <a:pt x="581025" y="400164"/>
                  </a:lnTo>
                  <a:cubicBezTo>
                    <a:pt x="581022" y="393766"/>
                    <a:pt x="581660" y="387385"/>
                    <a:pt x="582930" y="381114"/>
                  </a:cubicBezTo>
                  <a:lnTo>
                    <a:pt x="571500" y="381114"/>
                  </a:lnTo>
                  <a:lnTo>
                    <a:pt x="571500" y="76200"/>
                  </a:lnTo>
                  <a:lnTo>
                    <a:pt x="609600" y="76200"/>
                  </a:lnTo>
                  <a:lnTo>
                    <a:pt x="609600" y="209045"/>
                  </a:lnTo>
                  <a:lnTo>
                    <a:pt x="756095" y="209045"/>
                  </a:lnTo>
                  <a:cubicBezTo>
                    <a:pt x="757699" y="210645"/>
                    <a:pt x="759408" y="212138"/>
                    <a:pt x="761209" y="213512"/>
                  </a:cubicBezTo>
                  <a:lnTo>
                    <a:pt x="811282" y="251317"/>
                  </a:lnTo>
                  <a:cubicBezTo>
                    <a:pt x="816190" y="254947"/>
                    <a:pt x="819103" y="260673"/>
                    <a:pt x="819150" y="266776"/>
                  </a:cubicBezTo>
                  <a:lnTo>
                    <a:pt x="819150" y="362026"/>
                  </a:lnTo>
                  <a:cubicBezTo>
                    <a:pt x="819150" y="372548"/>
                    <a:pt x="810621" y="381076"/>
                    <a:pt x="800100" y="381076"/>
                  </a:cubicBezTo>
                  <a:lnTo>
                    <a:pt x="769620" y="381076"/>
                  </a:lnTo>
                  <a:cubicBezTo>
                    <a:pt x="770894" y="387346"/>
                    <a:pt x="771533" y="393728"/>
                    <a:pt x="771525" y="400126"/>
                  </a:cubicBezTo>
                  <a:lnTo>
                    <a:pt x="800100" y="400126"/>
                  </a:lnTo>
                  <a:cubicBezTo>
                    <a:pt x="821114" y="400059"/>
                    <a:pt x="838132" y="383040"/>
                    <a:pt x="838200" y="362026"/>
                  </a:cubicBezTo>
                  <a:lnTo>
                    <a:pt x="838200" y="266776"/>
                  </a:lnTo>
                  <a:cubicBezTo>
                    <a:pt x="838161" y="254791"/>
                    <a:pt x="832524" y="243511"/>
                    <a:pt x="822960" y="236287"/>
                  </a:cubicBezTo>
                  <a:close/>
                  <a:moveTo>
                    <a:pt x="552450" y="237620"/>
                  </a:moveTo>
                  <a:lnTo>
                    <a:pt x="19050" y="237620"/>
                  </a:lnTo>
                  <a:lnTo>
                    <a:pt x="19050" y="19050"/>
                  </a:lnTo>
                  <a:lnTo>
                    <a:pt x="552450" y="19050"/>
                  </a:lnTo>
                  <a:close/>
                  <a:moveTo>
                    <a:pt x="628650" y="76200"/>
                  </a:moveTo>
                  <a:lnTo>
                    <a:pt x="666750" y="76200"/>
                  </a:lnTo>
                  <a:cubicBezTo>
                    <a:pt x="692156" y="76649"/>
                    <a:pt x="714384" y="93407"/>
                    <a:pt x="721805" y="117710"/>
                  </a:cubicBezTo>
                  <a:lnTo>
                    <a:pt x="740769" y="183147"/>
                  </a:lnTo>
                  <a:cubicBezTo>
                    <a:pt x="741416" y="185474"/>
                    <a:pt x="742218" y="187756"/>
                    <a:pt x="743169" y="189976"/>
                  </a:cubicBezTo>
                  <a:lnTo>
                    <a:pt x="628650" y="189976"/>
                  </a:lnTo>
                  <a:close/>
                </a:path>
              </a:pathLst>
            </a:custGeom>
            <a:solidFill>
              <a:schemeClr val="lt1"/>
            </a:solidFill>
            <a:ln w="12700" cap="flat">
              <a:solidFill>
                <a:schemeClr val="accent5"/>
              </a:solidFill>
              <a:prstDash val="solid"/>
              <a:miter/>
            </a:ln>
          </p:spPr>
          <p:txBody>
            <a:bodyPr rtlCol="0" anchor="ctr"/>
            <a:lstStyle/>
            <a:p>
              <a:endParaRPr lang="en-GB"/>
            </a:p>
          </p:txBody>
        </p:sp>
        <p:sp>
          <p:nvSpPr>
            <p:cNvPr id="158" name="Frihandsfigur: Form 157">
              <a:extLst>
                <a:ext uri="{FF2B5EF4-FFF2-40B4-BE49-F238E27FC236}">
                  <a16:creationId xmlns:a16="http://schemas.microsoft.com/office/drawing/2014/main" id="{4C2E8776-EDB0-14FC-2861-F68861841265}"/>
                </a:ext>
              </a:extLst>
            </p:cNvPr>
            <p:cNvSpPr/>
            <p:nvPr/>
          </p:nvSpPr>
          <p:spPr>
            <a:xfrm>
              <a:off x="13150180" y="4653584"/>
              <a:ext cx="152400" cy="152400"/>
            </a:xfrm>
            <a:custGeom>
              <a:avLst/>
              <a:gdLst>
                <a:gd name="connsiteX0" fmla="*/ 76200 w 152400"/>
                <a:gd name="connsiteY0" fmla="*/ 0 h 152400"/>
                <a:gd name="connsiteX1" fmla="*/ 0 w 152400"/>
                <a:gd name="connsiteY1" fmla="*/ 76200 h 152400"/>
                <a:gd name="connsiteX2" fmla="*/ 76200 w 152400"/>
                <a:gd name="connsiteY2" fmla="*/ 152400 h 152400"/>
                <a:gd name="connsiteX3" fmla="*/ 152400 w 152400"/>
                <a:gd name="connsiteY3" fmla="*/ 76200 h 152400"/>
                <a:gd name="connsiteX4" fmla="*/ 76200 w 152400"/>
                <a:gd name="connsiteY4" fmla="*/ 0 h 152400"/>
                <a:gd name="connsiteX5" fmla="*/ 76200 w 152400"/>
                <a:gd name="connsiteY5" fmla="*/ 133350 h 152400"/>
                <a:gd name="connsiteX6" fmla="*/ 19050 w 152400"/>
                <a:gd name="connsiteY6" fmla="*/ 76200 h 152400"/>
                <a:gd name="connsiteX7" fmla="*/ 76200 w 152400"/>
                <a:gd name="connsiteY7" fmla="*/ 19050 h 152400"/>
                <a:gd name="connsiteX8" fmla="*/ 133350 w 152400"/>
                <a:gd name="connsiteY8" fmla="*/ 76200 h 152400"/>
                <a:gd name="connsiteX9" fmla="*/ 76200 w 152400"/>
                <a:gd name="connsiteY9" fmla="*/ 133388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2400" h="152400">
                  <a:moveTo>
                    <a:pt x="76200" y="0"/>
                  </a:moveTo>
                  <a:cubicBezTo>
                    <a:pt x="34116" y="0"/>
                    <a:pt x="0" y="34116"/>
                    <a:pt x="0" y="76200"/>
                  </a:cubicBezTo>
                  <a:cubicBezTo>
                    <a:pt x="0" y="118284"/>
                    <a:pt x="34116" y="152400"/>
                    <a:pt x="76200" y="152400"/>
                  </a:cubicBezTo>
                  <a:cubicBezTo>
                    <a:pt x="118284" y="152400"/>
                    <a:pt x="152400" y="118284"/>
                    <a:pt x="152400" y="76200"/>
                  </a:cubicBezTo>
                  <a:cubicBezTo>
                    <a:pt x="152348" y="34138"/>
                    <a:pt x="118262" y="52"/>
                    <a:pt x="76200" y="0"/>
                  </a:cubicBezTo>
                  <a:close/>
                  <a:moveTo>
                    <a:pt x="76200" y="133350"/>
                  </a:moveTo>
                  <a:cubicBezTo>
                    <a:pt x="44637" y="133350"/>
                    <a:pt x="19050" y="107763"/>
                    <a:pt x="19050" y="76200"/>
                  </a:cubicBezTo>
                  <a:cubicBezTo>
                    <a:pt x="19050" y="44637"/>
                    <a:pt x="44637" y="19050"/>
                    <a:pt x="76200" y="19050"/>
                  </a:cubicBezTo>
                  <a:cubicBezTo>
                    <a:pt x="107763" y="19050"/>
                    <a:pt x="133350" y="44637"/>
                    <a:pt x="133350" y="76200"/>
                  </a:cubicBezTo>
                  <a:cubicBezTo>
                    <a:pt x="133329" y="107760"/>
                    <a:pt x="107760" y="133346"/>
                    <a:pt x="76200" y="133388"/>
                  </a:cubicBezTo>
                  <a:close/>
                </a:path>
              </a:pathLst>
            </a:custGeom>
            <a:solidFill>
              <a:schemeClr val="lt1"/>
            </a:solidFill>
            <a:ln w="12700" cap="flat">
              <a:solidFill>
                <a:schemeClr val="accent5"/>
              </a:solidFill>
              <a:prstDash val="solid"/>
              <a:miter/>
            </a:ln>
          </p:spPr>
          <p:txBody>
            <a:bodyPr rtlCol="0" anchor="ctr"/>
            <a:lstStyle/>
            <a:p>
              <a:endParaRPr lang="en-GB"/>
            </a:p>
          </p:txBody>
        </p:sp>
      </p:grpSp>
      <p:sp>
        <p:nvSpPr>
          <p:cNvPr id="5" name="Bild 12" descr="Present kontur">
            <a:extLst>
              <a:ext uri="{FF2B5EF4-FFF2-40B4-BE49-F238E27FC236}">
                <a16:creationId xmlns:a16="http://schemas.microsoft.com/office/drawing/2014/main" id="{5C2503EA-64D6-0655-7807-8CEB19A9FAC5}"/>
              </a:ext>
            </a:extLst>
          </p:cNvPr>
          <p:cNvSpPr/>
          <p:nvPr/>
        </p:nvSpPr>
        <p:spPr>
          <a:xfrm>
            <a:off x="10092760" y="2501675"/>
            <a:ext cx="513463" cy="566320"/>
          </a:xfrm>
          <a:custGeom>
            <a:avLst/>
            <a:gdLst>
              <a:gd name="connsiteX0" fmla="*/ 390164 w 513463"/>
              <a:gd name="connsiteY0" fmla="*/ 128367 h 566320"/>
              <a:gd name="connsiteX1" fmla="*/ 400735 w 513463"/>
              <a:gd name="connsiteY1" fmla="*/ 71478 h 566320"/>
              <a:gd name="connsiteX2" fmla="*/ 399723 w 513463"/>
              <a:gd name="connsiteY2" fmla="*/ 69213 h 566320"/>
              <a:gd name="connsiteX3" fmla="*/ 331672 w 513463"/>
              <a:gd name="connsiteY3" fmla="*/ 42649 h 566320"/>
              <a:gd name="connsiteX4" fmla="*/ 315221 w 513463"/>
              <a:gd name="connsiteY4" fmla="*/ 54111 h 566320"/>
              <a:gd name="connsiteX5" fmla="*/ 308531 w 513463"/>
              <a:gd name="connsiteY5" fmla="*/ 61058 h 566320"/>
              <a:gd name="connsiteX6" fmla="*/ 267406 w 513463"/>
              <a:gd name="connsiteY6" fmla="*/ 888 h 566320"/>
              <a:gd name="connsiteX7" fmla="*/ 258068 w 513463"/>
              <a:gd name="connsiteY7" fmla="*/ 1 h 566320"/>
              <a:gd name="connsiteX8" fmla="*/ 255546 w 513463"/>
              <a:gd name="connsiteY8" fmla="*/ 1 h 566320"/>
              <a:gd name="connsiteX9" fmla="*/ 203678 w 513463"/>
              <a:gd name="connsiteY9" fmla="*/ 51247 h 566320"/>
              <a:gd name="connsiteX10" fmla="*/ 205967 w 513463"/>
              <a:gd name="connsiteY10" fmla="*/ 66751 h 566320"/>
              <a:gd name="connsiteX11" fmla="*/ 193779 w 513463"/>
              <a:gd name="connsiteY11" fmla="*/ 54096 h 566320"/>
              <a:gd name="connsiteX12" fmla="*/ 120739 w 513463"/>
              <a:gd name="connsiteY12" fmla="*/ 52746 h 566320"/>
              <a:gd name="connsiteX13" fmla="*/ 109277 w 513463"/>
              <a:gd name="connsiteY13" fmla="*/ 69198 h 566320"/>
              <a:gd name="connsiteX14" fmla="*/ 108265 w 513463"/>
              <a:gd name="connsiteY14" fmla="*/ 71463 h 566320"/>
              <a:gd name="connsiteX15" fmla="*/ 118746 w 513463"/>
              <a:gd name="connsiteY15" fmla="*/ 128367 h 566320"/>
              <a:gd name="connsiteX16" fmla="*/ 0 w 513463"/>
              <a:gd name="connsiteY16" fmla="*/ 128367 h 566320"/>
              <a:gd name="connsiteX17" fmla="*/ 0 w 513463"/>
              <a:gd name="connsiteY17" fmla="*/ 566321 h 566320"/>
              <a:gd name="connsiteX18" fmla="*/ 513463 w 513463"/>
              <a:gd name="connsiteY18" fmla="*/ 566321 h 566320"/>
              <a:gd name="connsiteX19" fmla="*/ 513463 w 513463"/>
              <a:gd name="connsiteY19" fmla="*/ 128367 h 566320"/>
              <a:gd name="connsiteX20" fmla="*/ 498361 w 513463"/>
              <a:gd name="connsiteY20" fmla="*/ 286936 h 566320"/>
              <a:gd name="connsiteX21" fmla="*/ 286935 w 513463"/>
              <a:gd name="connsiteY21" fmla="*/ 286936 h 566320"/>
              <a:gd name="connsiteX22" fmla="*/ 286935 w 513463"/>
              <a:gd name="connsiteY22" fmla="*/ 143469 h 566320"/>
              <a:gd name="connsiteX23" fmla="*/ 498361 w 513463"/>
              <a:gd name="connsiteY23" fmla="*/ 143469 h 566320"/>
              <a:gd name="connsiteX24" fmla="*/ 226528 w 513463"/>
              <a:gd name="connsiteY24" fmla="*/ 332242 h 566320"/>
              <a:gd name="connsiteX25" fmla="*/ 15102 w 513463"/>
              <a:gd name="connsiteY25" fmla="*/ 332242 h 566320"/>
              <a:gd name="connsiteX26" fmla="*/ 15102 w 513463"/>
              <a:gd name="connsiteY26" fmla="*/ 302038 h 566320"/>
              <a:gd name="connsiteX27" fmla="*/ 226528 w 513463"/>
              <a:gd name="connsiteY27" fmla="*/ 302038 h 566320"/>
              <a:gd name="connsiteX28" fmla="*/ 241630 w 513463"/>
              <a:gd name="connsiteY28" fmla="*/ 143469 h 566320"/>
              <a:gd name="connsiteX29" fmla="*/ 271833 w 513463"/>
              <a:gd name="connsiteY29" fmla="*/ 143469 h 566320"/>
              <a:gd name="connsiteX30" fmla="*/ 271833 w 513463"/>
              <a:gd name="connsiteY30" fmla="*/ 551219 h 566320"/>
              <a:gd name="connsiteX31" fmla="*/ 241630 w 513463"/>
              <a:gd name="connsiteY31" fmla="*/ 551219 h 566320"/>
              <a:gd name="connsiteX32" fmla="*/ 286935 w 513463"/>
              <a:gd name="connsiteY32" fmla="*/ 302038 h 566320"/>
              <a:gd name="connsiteX33" fmla="*/ 498361 w 513463"/>
              <a:gd name="connsiteY33" fmla="*/ 302038 h 566320"/>
              <a:gd name="connsiteX34" fmla="*/ 498361 w 513463"/>
              <a:gd name="connsiteY34" fmla="*/ 332242 h 566320"/>
              <a:gd name="connsiteX35" fmla="*/ 286935 w 513463"/>
              <a:gd name="connsiteY35" fmla="*/ 332242 h 566320"/>
              <a:gd name="connsiteX36" fmla="*/ 326094 w 513463"/>
              <a:gd name="connsiteY36" fmla="*/ 64576 h 566320"/>
              <a:gd name="connsiteX37" fmla="*/ 352190 w 513463"/>
              <a:gd name="connsiteY37" fmla="*/ 53356 h 566320"/>
              <a:gd name="connsiteX38" fmla="*/ 358843 w 513463"/>
              <a:gd name="connsiteY38" fmla="*/ 53952 h 566320"/>
              <a:gd name="connsiteX39" fmla="*/ 385890 w 513463"/>
              <a:gd name="connsiteY39" fmla="*/ 75246 h 566320"/>
              <a:gd name="connsiteX40" fmla="*/ 386902 w 513463"/>
              <a:gd name="connsiteY40" fmla="*/ 77511 h 566320"/>
              <a:gd name="connsiteX41" fmla="*/ 368096 w 513463"/>
              <a:gd name="connsiteY41" fmla="*/ 125676 h 566320"/>
              <a:gd name="connsiteX42" fmla="*/ 358964 w 513463"/>
              <a:gd name="connsiteY42" fmla="*/ 128329 h 566320"/>
              <a:gd name="connsiteX43" fmla="*/ 264970 w 513463"/>
              <a:gd name="connsiteY43" fmla="*/ 127974 h 566320"/>
              <a:gd name="connsiteX44" fmla="*/ 221416 w 513463"/>
              <a:gd name="connsiteY44" fmla="*/ 65400 h 566320"/>
              <a:gd name="connsiteX45" fmla="*/ 241527 w 513463"/>
              <a:gd name="connsiteY45" fmla="*/ 17788 h 566320"/>
              <a:gd name="connsiteX46" fmla="*/ 255267 w 513463"/>
              <a:gd name="connsiteY46" fmla="*/ 15103 h 566320"/>
              <a:gd name="connsiteX47" fmla="*/ 255463 w 513463"/>
              <a:gd name="connsiteY47" fmla="*/ 15103 h 566320"/>
              <a:gd name="connsiteX48" fmla="*/ 257993 w 513463"/>
              <a:gd name="connsiteY48" fmla="*/ 15103 h 566320"/>
              <a:gd name="connsiteX49" fmla="*/ 294351 w 513463"/>
              <a:gd name="connsiteY49" fmla="*/ 51836 h 566320"/>
              <a:gd name="connsiteX50" fmla="*/ 291526 w 513463"/>
              <a:gd name="connsiteY50" fmla="*/ 65739 h 566320"/>
              <a:gd name="connsiteX51" fmla="*/ 281982 w 513463"/>
              <a:gd name="connsiteY51" fmla="*/ 88581 h 566320"/>
              <a:gd name="connsiteX52" fmla="*/ 254466 w 513463"/>
              <a:gd name="connsiteY52" fmla="*/ 117131 h 566320"/>
              <a:gd name="connsiteX53" fmla="*/ 233611 w 513463"/>
              <a:gd name="connsiteY53" fmla="*/ 95445 h 566320"/>
              <a:gd name="connsiteX54" fmla="*/ 124764 w 513463"/>
              <a:gd name="connsiteY54" fmla="*/ 111868 h 566320"/>
              <a:gd name="connsiteX55" fmla="*/ 122114 w 513463"/>
              <a:gd name="connsiteY55" fmla="*/ 77549 h 566320"/>
              <a:gd name="connsiteX56" fmla="*/ 123125 w 513463"/>
              <a:gd name="connsiteY56" fmla="*/ 75284 h 566320"/>
              <a:gd name="connsiteX57" fmla="*/ 150173 w 513463"/>
              <a:gd name="connsiteY57" fmla="*/ 53990 h 566320"/>
              <a:gd name="connsiteX58" fmla="*/ 156825 w 513463"/>
              <a:gd name="connsiteY58" fmla="*/ 53394 h 566320"/>
              <a:gd name="connsiteX59" fmla="*/ 182929 w 513463"/>
              <a:gd name="connsiteY59" fmla="*/ 64614 h 566320"/>
              <a:gd name="connsiteX60" fmla="*/ 244038 w 513463"/>
              <a:gd name="connsiteY60" fmla="*/ 128042 h 566320"/>
              <a:gd name="connsiteX61" fmla="*/ 150014 w 513463"/>
              <a:gd name="connsiteY61" fmla="*/ 128367 h 566320"/>
              <a:gd name="connsiteX62" fmla="*/ 124741 w 513463"/>
              <a:gd name="connsiteY62" fmla="*/ 111868 h 566320"/>
              <a:gd name="connsiteX63" fmla="*/ 226528 w 513463"/>
              <a:gd name="connsiteY63" fmla="*/ 143469 h 566320"/>
              <a:gd name="connsiteX64" fmla="*/ 226528 w 513463"/>
              <a:gd name="connsiteY64" fmla="*/ 286936 h 566320"/>
              <a:gd name="connsiteX65" fmla="*/ 15102 w 513463"/>
              <a:gd name="connsiteY65" fmla="*/ 286936 h 566320"/>
              <a:gd name="connsiteX66" fmla="*/ 15102 w 513463"/>
              <a:gd name="connsiteY66" fmla="*/ 143469 h 566320"/>
              <a:gd name="connsiteX67" fmla="*/ 15102 w 513463"/>
              <a:gd name="connsiteY67" fmla="*/ 347344 h 566320"/>
              <a:gd name="connsiteX68" fmla="*/ 226528 w 513463"/>
              <a:gd name="connsiteY68" fmla="*/ 347344 h 566320"/>
              <a:gd name="connsiteX69" fmla="*/ 226528 w 513463"/>
              <a:gd name="connsiteY69" fmla="*/ 551219 h 566320"/>
              <a:gd name="connsiteX70" fmla="*/ 15102 w 513463"/>
              <a:gd name="connsiteY70" fmla="*/ 551219 h 566320"/>
              <a:gd name="connsiteX71" fmla="*/ 286935 w 513463"/>
              <a:gd name="connsiteY71" fmla="*/ 551219 h 566320"/>
              <a:gd name="connsiteX72" fmla="*/ 286935 w 513463"/>
              <a:gd name="connsiteY72" fmla="*/ 347344 h 566320"/>
              <a:gd name="connsiteX73" fmla="*/ 498361 w 513463"/>
              <a:gd name="connsiteY73" fmla="*/ 347344 h 566320"/>
              <a:gd name="connsiteX74" fmla="*/ 498361 w 513463"/>
              <a:gd name="connsiteY74" fmla="*/ 551219 h 566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513463" h="566320">
                <a:moveTo>
                  <a:pt x="390164" y="128367"/>
                </a:moveTo>
                <a:cubicBezTo>
                  <a:pt x="405211" y="113466"/>
                  <a:pt x="409426" y="90790"/>
                  <a:pt x="400735" y="71478"/>
                </a:cubicBezTo>
                <a:lnTo>
                  <a:pt x="399723" y="69213"/>
                </a:lnTo>
                <a:cubicBezTo>
                  <a:pt x="388267" y="43085"/>
                  <a:pt x="357799" y="31192"/>
                  <a:pt x="331672" y="42649"/>
                </a:cubicBezTo>
                <a:cubicBezTo>
                  <a:pt x="325493" y="45358"/>
                  <a:pt x="319903" y="49253"/>
                  <a:pt x="315221" y="54111"/>
                </a:cubicBezTo>
                <a:lnTo>
                  <a:pt x="308531" y="61058"/>
                </a:lnTo>
                <a:cubicBezTo>
                  <a:pt x="313790" y="33086"/>
                  <a:pt x="295377" y="6147"/>
                  <a:pt x="267406" y="888"/>
                </a:cubicBezTo>
                <a:cubicBezTo>
                  <a:pt x="264326" y="309"/>
                  <a:pt x="261201" y="12"/>
                  <a:pt x="258068" y="1"/>
                </a:cubicBezTo>
                <a:lnTo>
                  <a:pt x="255546" y="1"/>
                </a:lnTo>
                <a:cubicBezTo>
                  <a:pt x="227072" y="-171"/>
                  <a:pt x="203850" y="22772"/>
                  <a:pt x="203678" y="51247"/>
                </a:cubicBezTo>
                <a:cubicBezTo>
                  <a:pt x="203646" y="56502"/>
                  <a:pt x="204418" y="61730"/>
                  <a:pt x="205967" y="66751"/>
                </a:cubicBezTo>
                <a:lnTo>
                  <a:pt x="193779" y="54096"/>
                </a:lnTo>
                <a:cubicBezTo>
                  <a:pt x="173982" y="33554"/>
                  <a:pt x="141282" y="32949"/>
                  <a:pt x="120739" y="52746"/>
                </a:cubicBezTo>
                <a:cubicBezTo>
                  <a:pt x="115881" y="57429"/>
                  <a:pt x="111987" y="63018"/>
                  <a:pt x="109277" y="69198"/>
                </a:cubicBezTo>
                <a:lnTo>
                  <a:pt x="108265" y="71463"/>
                </a:lnTo>
                <a:cubicBezTo>
                  <a:pt x="99673" y="90775"/>
                  <a:pt x="103837" y="113383"/>
                  <a:pt x="118746" y="128367"/>
                </a:cubicBezTo>
                <a:lnTo>
                  <a:pt x="0" y="128367"/>
                </a:lnTo>
                <a:lnTo>
                  <a:pt x="0" y="566321"/>
                </a:lnTo>
                <a:lnTo>
                  <a:pt x="513463" y="566321"/>
                </a:lnTo>
                <a:lnTo>
                  <a:pt x="513463" y="128367"/>
                </a:lnTo>
                <a:close/>
                <a:moveTo>
                  <a:pt x="498361" y="286936"/>
                </a:moveTo>
                <a:lnTo>
                  <a:pt x="286935" y="286936"/>
                </a:lnTo>
                <a:lnTo>
                  <a:pt x="286935" y="143469"/>
                </a:lnTo>
                <a:lnTo>
                  <a:pt x="498361" y="143469"/>
                </a:lnTo>
                <a:close/>
                <a:moveTo>
                  <a:pt x="226528" y="332242"/>
                </a:moveTo>
                <a:lnTo>
                  <a:pt x="15102" y="332242"/>
                </a:lnTo>
                <a:lnTo>
                  <a:pt x="15102" y="302038"/>
                </a:lnTo>
                <a:lnTo>
                  <a:pt x="226528" y="302038"/>
                </a:lnTo>
                <a:close/>
                <a:moveTo>
                  <a:pt x="241630" y="143469"/>
                </a:moveTo>
                <a:lnTo>
                  <a:pt x="271833" y="143469"/>
                </a:lnTo>
                <a:lnTo>
                  <a:pt x="271833" y="551219"/>
                </a:lnTo>
                <a:lnTo>
                  <a:pt x="241630" y="551219"/>
                </a:lnTo>
                <a:close/>
                <a:moveTo>
                  <a:pt x="286935" y="302038"/>
                </a:moveTo>
                <a:lnTo>
                  <a:pt x="498361" y="302038"/>
                </a:lnTo>
                <a:lnTo>
                  <a:pt x="498361" y="332242"/>
                </a:lnTo>
                <a:lnTo>
                  <a:pt x="286935" y="332242"/>
                </a:lnTo>
                <a:close/>
                <a:moveTo>
                  <a:pt x="326094" y="64576"/>
                </a:moveTo>
                <a:cubicBezTo>
                  <a:pt x="332882" y="57409"/>
                  <a:pt x="342320" y="53351"/>
                  <a:pt x="352190" y="53356"/>
                </a:cubicBezTo>
                <a:cubicBezTo>
                  <a:pt x="354421" y="53357"/>
                  <a:pt x="356648" y="53557"/>
                  <a:pt x="358843" y="53952"/>
                </a:cubicBezTo>
                <a:cubicBezTo>
                  <a:pt x="370887" y="56002"/>
                  <a:pt x="381070" y="64019"/>
                  <a:pt x="385890" y="75246"/>
                </a:cubicBezTo>
                <a:lnTo>
                  <a:pt x="386902" y="77511"/>
                </a:lnTo>
                <a:cubicBezTo>
                  <a:pt x="395009" y="96005"/>
                  <a:pt x="386589" y="117569"/>
                  <a:pt x="368096" y="125676"/>
                </a:cubicBezTo>
                <a:cubicBezTo>
                  <a:pt x="365180" y="126954"/>
                  <a:pt x="362110" y="127846"/>
                  <a:pt x="358964" y="128329"/>
                </a:cubicBezTo>
                <a:lnTo>
                  <a:pt x="264970" y="127974"/>
                </a:lnTo>
                <a:close/>
                <a:moveTo>
                  <a:pt x="221416" y="65400"/>
                </a:moveTo>
                <a:cubicBezTo>
                  <a:pt x="213822" y="46699"/>
                  <a:pt x="222826" y="25382"/>
                  <a:pt x="241527" y="17788"/>
                </a:cubicBezTo>
                <a:cubicBezTo>
                  <a:pt x="245891" y="16016"/>
                  <a:pt x="250556" y="15104"/>
                  <a:pt x="255267" y="15103"/>
                </a:cubicBezTo>
                <a:lnTo>
                  <a:pt x="255463" y="15103"/>
                </a:lnTo>
                <a:lnTo>
                  <a:pt x="257993" y="15103"/>
                </a:lnTo>
                <a:cubicBezTo>
                  <a:pt x="278176" y="15206"/>
                  <a:pt x="294454" y="31652"/>
                  <a:pt x="294351" y="51836"/>
                </a:cubicBezTo>
                <a:cubicBezTo>
                  <a:pt x="294327" y="56610"/>
                  <a:pt x="293367" y="61334"/>
                  <a:pt x="291526" y="65739"/>
                </a:cubicBezTo>
                <a:lnTo>
                  <a:pt x="281982" y="88581"/>
                </a:lnTo>
                <a:lnTo>
                  <a:pt x="254466" y="117131"/>
                </a:lnTo>
                <a:lnTo>
                  <a:pt x="233611" y="95445"/>
                </a:lnTo>
                <a:close/>
                <a:moveTo>
                  <a:pt x="124764" y="111868"/>
                </a:moveTo>
                <a:cubicBezTo>
                  <a:pt x="118116" y="101618"/>
                  <a:pt x="117119" y="88698"/>
                  <a:pt x="122114" y="77549"/>
                </a:cubicBezTo>
                <a:lnTo>
                  <a:pt x="123125" y="75284"/>
                </a:lnTo>
                <a:cubicBezTo>
                  <a:pt x="127945" y="64057"/>
                  <a:pt x="138128" y="56040"/>
                  <a:pt x="150173" y="53990"/>
                </a:cubicBezTo>
                <a:cubicBezTo>
                  <a:pt x="152369" y="53594"/>
                  <a:pt x="154595" y="53395"/>
                  <a:pt x="156825" y="53394"/>
                </a:cubicBezTo>
                <a:cubicBezTo>
                  <a:pt x="166698" y="53389"/>
                  <a:pt x="176138" y="57447"/>
                  <a:pt x="182929" y="64614"/>
                </a:cubicBezTo>
                <a:lnTo>
                  <a:pt x="244038" y="128042"/>
                </a:lnTo>
                <a:lnTo>
                  <a:pt x="150014" y="128367"/>
                </a:lnTo>
                <a:cubicBezTo>
                  <a:pt x="139576" y="126846"/>
                  <a:pt x="130334" y="120813"/>
                  <a:pt x="124741" y="111868"/>
                </a:cubicBezTo>
                <a:close/>
                <a:moveTo>
                  <a:pt x="226528" y="143469"/>
                </a:moveTo>
                <a:lnTo>
                  <a:pt x="226528" y="286936"/>
                </a:lnTo>
                <a:lnTo>
                  <a:pt x="15102" y="286936"/>
                </a:lnTo>
                <a:lnTo>
                  <a:pt x="15102" y="143469"/>
                </a:lnTo>
                <a:close/>
                <a:moveTo>
                  <a:pt x="15102" y="347344"/>
                </a:moveTo>
                <a:lnTo>
                  <a:pt x="226528" y="347344"/>
                </a:lnTo>
                <a:lnTo>
                  <a:pt x="226528" y="551219"/>
                </a:lnTo>
                <a:lnTo>
                  <a:pt x="15102" y="551219"/>
                </a:lnTo>
                <a:close/>
                <a:moveTo>
                  <a:pt x="286935" y="551219"/>
                </a:moveTo>
                <a:lnTo>
                  <a:pt x="286935" y="347344"/>
                </a:lnTo>
                <a:lnTo>
                  <a:pt x="498361" y="347344"/>
                </a:lnTo>
                <a:lnTo>
                  <a:pt x="498361" y="551219"/>
                </a:lnTo>
                <a:close/>
              </a:path>
            </a:pathLst>
          </a:custGeom>
          <a:solidFill>
            <a:schemeClr val="bg1"/>
          </a:solidFill>
          <a:ln w="7541" cap="flat">
            <a:solidFill>
              <a:schemeClr val="bg1"/>
            </a:solidFill>
            <a:prstDash val="solid"/>
            <a:miter/>
          </a:ln>
        </p:spPr>
        <p:txBody>
          <a:bodyPr rtlCol="0" anchor="ctr"/>
          <a:lstStyle/>
          <a:p>
            <a:endParaRPr lang="en-GB"/>
          </a:p>
        </p:txBody>
      </p:sp>
      <p:sp>
        <p:nvSpPr>
          <p:cNvPr id="22" name="Bild 24" descr="Blixt kontur">
            <a:extLst>
              <a:ext uri="{FF2B5EF4-FFF2-40B4-BE49-F238E27FC236}">
                <a16:creationId xmlns:a16="http://schemas.microsoft.com/office/drawing/2014/main" id="{FF6582AA-7F85-BEF0-E43C-CE590DA38273}"/>
              </a:ext>
            </a:extLst>
          </p:cNvPr>
          <p:cNvSpPr/>
          <p:nvPr/>
        </p:nvSpPr>
        <p:spPr>
          <a:xfrm>
            <a:off x="7219901" y="2572386"/>
            <a:ext cx="270589" cy="552764"/>
          </a:xfrm>
          <a:custGeom>
            <a:avLst/>
            <a:gdLst>
              <a:gd name="connsiteX0" fmla="*/ 40709 w 270589"/>
              <a:gd name="connsiteY0" fmla="*/ 552678 h 552764"/>
              <a:gd name="connsiteX1" fmla="*/ 40755 w 270589"/>
              <a:gd name="connsiteY1" fmla="*/ 552762 h 552764"/>
              <a:gd name="connsiteX2" fmla="*/ 40776 w 270589"/>
              <a:gd name="connsiteY2" fmla="*/ 552765 h 552764"/>
              <a:gd name="connsiteX3" fmla="*/ 40831 w 270589"/>
              <a:gd name="connsiteY3" fmla="*/ 552736 h 552764"/>
              <a:gd name="connsiteX4" fmla="*/ 270589 w 270589"/>
              <a:gd name="connsiteY4" fmla="*/ 221613 h 552764"/>
              <a:gd name="connsiteX5" fmla="*/ 155589 w 270589"/>
              <a:gd name="connsiteY5" fmla="*/ 221613 h 552764"/>
              <a:gd name="connsiteX6" fmla="*/ 227160 w 270589"/>
              <a:gd name="connsiteY6" fmla="*/ 0 h 552764"/>
              <a:gd name="connsiteX7" fmla="*/ 56959 w 270589"/>
              <a:gd name="connsiteY7" fmla="*/ 0 h 552764"/>
              <a:gd name="connsiteX8" fmla="*/ 0 w 270589"/>
              <a:gd name="connsiteY8" fmla="*/ 302789 h 552764"/>
              <a:gd name="connsiteX9" fmla="*/ 115000 w 270589"/>
              <a:gd name="connsiteY9" fmla="*/ 302789 h 552764"/>
              <a:gd name="connsiteX10" fmla="*/ 16312 w 270589"/>
              <a:gd name="connsiteY10" fmla="*/ 289260 h 552764"/>
              <a:gd name="connsiteX11" fmla="*/ 68181 w 270589"/>
              <a:gd name="connsiteY11" fmla="*/ 13529 h 552764"/>
              <a:gd name="connsiteX12" fmla="*/ 208573 w 270589"/>
              <a:gd name="connsiteY12" fmla="*/ 13529 h 552764"/>
              <a:gd name="connsiteX13" fmla="*/ 142714 w 270589"/>
              <a:gd name="connsiteY13" fmla="*/ 217455 h 552764"/>
              <a:gd name="connsiteX14" fmla="*/ 137002 w 270589"/>
              <a:gd name="connsiteY14" fmla="*/ 235142 h 552764"/>
              <a:gd name="connsiteX15" fmla="*/ 244734 w 270589"/>
              <a:gd name="connsiteY15" fmla="*/ 235142 h 552764"/>
              <a:gd name="connsiteX16" fmla="*/ 77869 w 270589"/>
              <a:gd name="connsiteY16" fmla="*/ 475623 h 552764"/>
              <a:gd name="connsiteX17" fmla="*/ 77749 w 270589"/>
              <a:gd name="connsiteY17" fmla="*/ 475565 h 552764"/>
              <a:gd name="connsiteX18" fmla="*/ 127969 w 270589"/>
              <a:gd name="connsiteY18" fmla="*/ 306645 h 552764"/>
              <a:gd name="connsiteX19" fmla="*/ 133138 w 270589"/>
              <a:gd name="connsiteY19" fmla="*/ 289260 h 552764"/>
              <a:gd name="connsiteX20" fmla="*/ 16311 w 270589"/>
              <a:gd name="connsiteY20" fmla="*/ 289260 h 552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70589" h="552764">
                <a:moveTo>
                  <a:pt x="40709" y="552678"/>
                </a:moveTo>
                <a:cubicBezTo>
                  <a:pt x="40698" y="552714"/>
                  <a:pt x="40719" y="552752"/>
                  <a:pt x="40755" y="552762"/>
                </a:cubicBezTo>
                <a:cubicBezTo>
                  <a:pt x="40762" y="552764"/>
                  <a:pt x="40769" y="552765"/>
                  <a:pt x="40776" y="552765"/>
                </a:cubicBezTo>
                <a:lnTo>
                  <a:pt x="40831" y="552736"/>
                </a:lnTo>
                <a:lnTo>
                  <a:pt x="270589" y="221613"/>
                </a:lnTo>
                <a:lnTo>
                  <a:pt x="155589" y="221613"/>
                </a:lnTo>
                <a:lnTo>
                  <a:pt x="227160" y="0"/>
                </a:lnTo>
                <a:lnTo>
                  <a:pt x="56959" y="0"/>
                </a:lnTo>
                <a:lnTo>
                  <a:pt x="0" y="302789"/>
                </a:lnTo>
                <a:lnTo>
                  <a:pt x="115000" y="302789"/>
                </a:lnTo>
                <a:close/>
                <a:moveTo>
                  <a:pt x="16312" y="289260"/>
                </a:moveTo>
                <a:lnTo>
                  <a:pt x="68181" y="13529"/>
                </a:lnTo>
                <a:lnTo>
                  <a:pt x="208573" y="13529"/>
                </a:lnTo>
                <a:lnTo>
                  <a:pt x="142714" y="217455"/>
                </a:lnTo>
                <a:lnTo>
                  <a:pt x="137002" y="235142"/>
                </a:lnTo>
                <a:lnTo>
                  <a:pt x="244734" y="235142"/>
                </a:lnTo>
                <a:lnTo>
                  <a:pt x="77869" y="475623"/>
                </a:lnTo>
                <a:cubicBezTo>
                  <a:pt x="77734" y="475814"/>
                  <a:pt x="77683" y="475788"/>
                  <a:pt x="77749" y="475565"/>
                </a:cubicBezTo>
                <a:lnTo>
                  <a:pt x="127969" y="306645"/>
                </a:lnTo>
                <a:lnTo>
                  <a:pt x="133138" y="289260"/>
                </a:lnTo>
                <a:lnTo>
                  <a:pt x="16311" y="289260"/>
                </a:lnTo>
                <a:close/>
              </a:path>
            </a:pathLst>
          </a:custGeom>
          <a:solidFill>
            <a:schemeClr val="bg1"/>
          </a:solidFill>
          <a:ln w="6747" cap="flat">
            <a:solidFill>
              <a:schemeClr val="bg1"/>
            </a:solidFill>
            <a:prstDash val="solid"/>
            <a:miter/>
          </a:ln>
        </p:spPr>
        <p:txBody>
          <a:bodyPr rtlCol="0" anchor="ctr"/>
          <a:lstStyle/>
          <a:p>
            <a:endParaRPr lang="en-GB"/>
          </a:p>
        </p:txBody>
      </p:sp>
      <p:sp>
        <p:nvSpPr>
          <p:cNvPr id="24" name="Bild 26" descr="Socialt nätverk kontur">
            <a:extLst>
              <a:ext uri="{FF2B5EF4-FFF2-40B4-BE49-F238E27FC236}">
                <a16:creationId xmlns:a16="http://schemas.microsoft.com/office/drawing/2014/main" id="{FBFD27F1-6239-8930-4232-6BE88DD9D00E}"/>
              </a:ext>
            </a:extLst>
          </p:cNvPr>
          <p:cNvSpPr/>
          <p:nvPr/>
        </p:nvSpPr>
        <p:spPr>
          <a:xfrm>
            <a:off x="3318184" y="2486543"/>
            <a:ext cx="589749" cy="560223"/>
          </a:xfrm>
          <a:custGeom>
            <a:avLst/>
            <a:gdLst>
              <a:gd name="connsiteX0" fmla="*/ 521596 w 589749"/>
              <a:gd name="connsiteY0" fmla="*/ 286966 h 560223"/>
              <a:gd name="connsiteX1" fmla="*/ 589750 w 589749"/>
              <a:gd name="connsiteY1" fmla="*/ 219007 h 560223"/>
              <a:gd name="connsiteX2" fmla="*/ 521790 w 589749"/>
              <a:gd name="connsiteY2" fmla="*/ 150853 h 560223"/>
              <a:gd name="connsiteX3" fmla="*/ 453637 w 589749"/>
              <a:gd name="connsiteY3" fmla="*/ 218812 h 560223"/>
              <a:gd name="connsiteX4" fmla="*/ 456560 w 589749"/>
              <a:gd name="connsiteY4" fmla="*/ 238640 h 560223"/>
              <a:gd name="connsiteX5" fmla="*/ 379540 w 589749"/>
              <a:gd name="connsiteY5" fmla="*/ 271456 h 560223"/>
              <a:gd name="connsiteX6" fmla="*/ 302619 w 589749"/>
              <a:gd name="connsiteY6" fmla="*/ 219392 h 560223"/>
              <a:gd name="connsiteX7" fmla="*/ 302619 w 589749"/>
              <a:gd name="connsiteY7" fmla="*/ 135502 h 560223"/>
              <a:gd name="connsiteX8" fmla="*/ 362606 w 589749"/>
              <a:gd name="connsiteY8" fmla="*/ 60413 h 560223"/>
              <a:gd name="connsiteX9" fmla="*/ 287517 w 589749"/>
              <a:gd name="connsiteY9" fmla="*/ 427 h 560223"/>
              <a:gd name="connsiteX10" fmla="*/ 227530 w 589749"/>
              <a:gd name="connsiteY10" fmla="*/ 75515 h 560223"/>
              <a:gd name="connsiteX11" fmla="*/ 287517 w 589749"/>
              <a:gd name="connsiteY11" fmla="*/ 135502 h 560223"/>
              <a:gd name="connsiteX12" fmla="*/ 287517 w 589749"/>
              <a:gd name="connsiteY12" fmla="*/ 219392 h 560223"/>
              <a:gd name="connsiteX13" fmla="*/ 210633 w 589749"/>
              <a:gd name="connsiteY13" fmla="*/ 271456 h 560223"/>
              <a:gd name="connsiteX14" fmla="*/ 133576 w 589749"/>
              <a:gd name="connsiteY14" fmla="*/ 238640 h 560223"/>
              <a:gd name="connsiteX15" fmla="*/ 88229 w 589749"/>
              <a:gd name="connsiteY15" fmla="*/ 153407 h 560223"/>
              <a:gd name="connsiteX16" fmla="*/ 2996 w 589749"/>
              <a:gd name="connsiteY16" fmla="*/ 198754 h 560223"/>
              <a:gd name="connsiteX17" fmla="*/ 48344 w 589749"/>
              <a:gd name="connsiteY17" fmla="*/ 283987 h 560223"/>
              <a:gd name="connsiteX18" fmla="*/ 127596 w 589749"/>
              <a:gd name="connsiteY18" fmla="*/ 252503 h 560223"/>
              <a:gd name="connsiteX19" fmla="*/ 204910 w 589749"/>
              <a:gd name="connsiteY19" fmla="*/ 285456 h 560223"/>
              <a:gd name="connsiteX20" fmla="*/ 221522 w 589749"/>
              <a:gd name="connsiteY20" fmla="*/ 372480 h 560223"/>
              <a:gd name="connsiteX21" fmla="*/ 159415 w 589749"/>
              <a:gd name="connsiteY21" fmla="*/ 434586 h 560223"/>
              <a:gd name="connsiteX22" fmla="*/ 63697 w 589749"/>
              <a:gd name="connsiteY22" fmla="*/ 452430 h 560223"/>
              <a:gd name="connsiteX23" fmla="*/ 81540 w 589749"/>
              <a:gd name="connsiteY23" fmla="*/ 548149 h 560223"/>
              <a:gd name="connsiteX24" fmla="*/ 177259 w 589749"/>
              <a:gd name="connsiteY24" fmla="*/ 530305 h 560223"/>
              <a:gd name="connsiteX25" fmla="*/ 170885 w 589749"/>
              <a:gd name="connsiteY25" fmla="*/ 444470 h 560223"/>
              <a:gd name="connsiteX26" fmla="*/ 231942 w 589749"/>
              <a:gd name="connsiteY26" fmla="*/ 383414 h 560223"/>
              <a:gd name="connsiteX27" fmla="*/ 358133 w 589749"/>
              <a:gd name="connsiteY27" fmla="*/ 383414 h 560223"/>
              <a:gd name="connsiteX28" fmla="*/ 419190 w 589749"/>
              <a:gd name="connsiteY28" fmla="*/ 444470 h 560223"/>
              <a:gd name="connsiteX29" fmla="*/ 422874 w 589749"/>
              <a:gd name="connsiteY29" fmla="*/ 539438 h 560223"/>
              <a:gd name="connsiteX30" fmla="*/ 517842 w 589749"/>
              <a:gd name="connsiteY30" fmla="*/ 535755 h 560223"/>
              <a:gd name="connsiteX31" fmla="*/ 514158 w 589749"/>
              <a:gd name="connsiteY31" fmla="*/ 440786 h 560223"/>
              <a:gd name="connsiteX32" fmla="*/ 430660 w 589749"/>
              <a:gd name="connsiteY32" fmla="*/ 434586 h 560223"/>
              <a:gd name="connsiteX33" fmla="*/ 368553 w 589749"/>
              <a:gd name="connsiteY33" fmla="*/ 372480 h 560223"/>
              <a:gd name="connsiteX34" fmla="*/ 385226 w 589749"/>
              <a:gd name="connsiteY34" fmla="*/ 285456 h 560223"/>
              <a:gd name="connsiteX35" fmla="*/ 462540 w 589749"/>
              <a:gd name="connsiteY35" fmla="*/ 252526 h 560223"/>
              <a:gd name="connsiteX36" fmla="*/ 521596 w 589749"/>
              <a:gd name="connsiteY36" fmla="*/ 286966 h 560223"/>
              <a:gd name="connsiteX37" fmla="*/ 38525 w 589749"/>
              <a:gd name="connsiteY37" fmla="*/ 262463 h 560223"/>
              <a:gd name="connsiteX38" fmla="*/ 70190 w 589749"/>
              <a:gd name="connsiteY38" fmla="*/ 234098 h 560223"/>
              <a:gd name="connsiteX39" fmla="*/ 98555 w 589749"/>
              <a:gd name="connsiteY39" fmla="*/ 262463 h 560223"/>
              <a:gd name="connsiteX40" fmla="*/ 38525 w 589749"/>
              <a:gd name="connsiteY40" fmla="*/ 262463 h 560223"/>
              <a:gd name="connsiteX41" fmla="*/ 57214 w 589749"/>
              <a:gd name="connsiteY41" fmla="*/ 207681 h 560223"/>
              <a:gd name="connsiteX42" fmla="*/ 68540 w 589749"/>
              <a:gd name="connsiteY42" fmla="*/ 196355 h 560223"/>
              <a:gd name="connsiteX43" fmla="*/ 79866 w 589749"/>
              <a:gd name="connsiteY43" fmla="*/ 207681 h 560223"/>
              <a:gd name="connsiteX44" fmla="*/ 68540 w 589749"/>
              <a:gd name="connsiteY44" fmla="*/ 219007 h 560223"/>
              <a:gd name="connsiteX45" fmla="*/ 57214 w 589749"/>
              <a:gd name="connsiteY45" fmla="*/ 207681 h 560223"/>
              <a:gd name="connsiteX46" fmla="*/ 111414 w 589749"/>
              <a:gd name="connsiteY46" fmla="*/ 249800 h 560223"/>
              <a:gd name="connsiteX47" fmla="*/ 89154 w 589749"/>
              <a:gd name="connsiteY47" fmla="*/ 224014 h 560223"/>
              <a:gd name="connsiteX48" fmla="*/ 94968 w 589749"/>
              <a:gd name="connsiteY48" fmla="*/ 207681 h 560223"/>
              <a:gd name="connsiteX49" fmla="*/ 68540 w 589749"/>
              <a:gd name="connsiteY49" fmla="*/ 181253 h 560223"/>
              <a:gd name="connsiteX50" fmla="*/ 42112 w 589749"/>
              <a:gd name="connsiteY50" fmla="*/ 207681 h 560223"/>
              <a:gd name="connsiteX51" fmla="*/ 47926 w 589749"/>
              <a:gd name="connsiteY51" fmla="*/ 224014 h 560223"/>
              <a:gd name="connsiteX52" fmla="*/ 25666 w 589749"/>
              <a:gd name="connsiteY52" fmla="*/ 249800 h 560223"/>
              <a:gd name="connsiteX53" fmla="*/ 37627 w 589749"/>
              <a:gd name="connsiteY53" fmla="*/ 176013 h 560223"/>
              <a:gd name="connsiteX54" fmla="*/ 111414 w 589749"/>
              <a:gd name="connsiteY54" fmla="*/ 187974 h 560223"/>
              <a:gd name="connsiteX55" fmla="*/ 111414 w 589749"/>
              <a:gd name="connsiteY55" fmla="*/ 249800 h 560223"/>
              <a:gd name="connsiteX56" fmla="*/ 283741 w 589749"/>
              <a:gd name="connsiteY56" fmla="*/ 56662 h 560223"/>
              <a:gd name="connsiteX57" fmla="*/ 295068 w 589749"/>
              <a:gd name="connsiteY57" fmla="*/ 45336 h 560223"/>
              <a:gd name="connsiteX58" fmla="*/ 306394 w 589749"/>
              <a:gd name="connsiteY58" fmla="*/ 56662 h 560223"/>
              <a:gd name="connsiteX59" fmla="*/ 295068 w 589749"/>
              <a:gd name="connsiteY59" fmla="*/ 67989 h 560223"/>
              <a:gd name="connsiteX60" fmla="*/ 283741 w 589749"/>
              <a:gd name="connsiteY60" fmla="*/ 56662 h 560223"/>
              <a:gd name="connsiteX61" fmla="*/ 295068 w 589749"/>
              <a:gd name="connsiteY61" fmla="*/ 83091 h 560223"/>
              <a:gd name="connsiteX62" fmla="*/ 325083 w 589749"/>
              <a:gd name="connsiteY62" fmla="*/ 111444 h 560223"/>
              <a:gd name="connsiteX63" fmla="*/ 265053 w 589749"/>
              <a:gd name="connsiteY63" fmla="*/ 111444 h 560223"/>
              <a:gd name="connsiteX64" fmla="*/ 295068 w 589749"/>
              <a:gd name="connsiteY64" fmla="*/ 83091 h 560223"/>
              <a:gd name="connsiteX65" fmla="*/ 242211 w 589749"/>
              <a:gd name="connsiteY65" fmla="*/ 67989 h 560223"/>
              <a:gd name="connsiteX66" fmla="*/ 294948 w 589749"/>
              <a:gd name="connsiteY66" fmla="*/ 15012 h 560223"/>
              <a:gd name="connsiteX67" fmla="*/ 347924 w 589749"/>
              <a:gd name="connsiteY67" fmla="*/ 67749 h 560223"/>
              <a:gd name="connsiteX68" fmla="*/ 337942 w 589749"/>
              <a:gd name="connsiteY68" fmla="*/ 98781 h 560223"/>
              <a:gd name="connsiteX69" fmla="*/ 315682 w 589749"/>
              <a:gd name="connsiteY69" fmla="*/ 72995 h 560223"/>
              <a:gd name="connsiteX70" fmla="*/ 321496 w 589749"/>
              <a:gd name="connsiteY70" fmla="*/ 56662 h 560223"/>
              <a:gd name="connsiteX71" fmla="*/ 295068 w 589749"/>
              <a:gd name="connsiteY71" fmla="*/ 30234 h 560223"/>
              <a:gd name="connsiteX72" fmla="*/ 268640 w 589749"/>
              <a:gd name="connsiteY72" fmla="*/ 56662 h 560223"/>
              <a:gd name="connsiteX73" fmla="*/ 274454 w 589749"/>
              <a:gd name="connsiteY73" fmla="*/ 72995 h 560223"/>
              <a:gd name="connsiteX74" fmla="*/ 252194 w 589749"/>
              <a:gd name="connsiteY74" fmla="*/ 98781 h 560223"/>
              <a:gd name="connsiteX75" fmla="*/ 242211 w 589749"/>
              <a:gd name="connsiteY75" fmla="*/ 67989 h 560223"/>
              <a:gd name="connsiteX76" fmla="*/ 91382 w 589749"/>
              <a:gd name="connsiteY76" fmla="*/ 534296 h 560223"/>
              <a:gd name="connsiteX77" fmla="*/ 123046 w 589749"/>
              <a:gd name="connsiteY77" fmla="*/ 505931 h 560223"/>
              <a:gd name="connsiteX78" fmla="*/ 151411 w 589749"/>
              <a:gd name="connsiteY78" fmla="*/ 534296 h 560223"/>
              <a:gd name="connsiteX79" fmla="*/ 91382 w 589749"/>
              <a:gd name="connsiteY79" fmla="*/ 534296 h 560223"/>
              <a:gd name="connsiteX80" fmla="*/ 110070 w 589749"/>
              <a:gd name="connsiteY80" fmla="*/ 479514 h 560223"/>
              <a:gd name="connsiteX81" fmla="*/ 121397 w 589749"/>
              <a:gd name="connsiteY81" fmla="*/ 468188 h 560223"/>
              <a:gd name="connsiteX82" fmla="*/ 132723 w 589749"/>
              <a:gd name="connsiteY82" fmla="*/ 479514 h 560223"/>
              <a:gd name="connsiteX83" fmla="*/ 121397 w 589749"/>
              <a:gd name="connsiteY83" fmla="*/ 490841 h 560223"/>
              <a:gd name="connsiteX84" fmla="*/ 110070 w 589749"/>
              <a:gd name="connsiteY84" fmla="*/ 479514 h 560223"/>
              <a:gd name="connsiteX85" fmla="*/ 164271 w 589749"/>
              <a:gd name="connsiteY85" fmla="*/ 521633 h 560223"/>
              <a:gd name="connsiteX86" fmla="*/ 142011 w 589749"/>
              <a:gd name="connsiteY86" fmla="*/ 495847 h 560223"/>
              <a:gd name="connsiteX87" fmla="*/ 147825 w 589749"/>
              <a:gd name="connsiteY87" fmla="*/ 479514 h 560223"/>
              <a:gd name="connsiteX88" fmla="*/ 121397 w 589749"/>
              <a:gd name="connsiteY88" fmla="*/ 453086 h 560223"/>
              <a:gd name="connsiteX89" fmla="*/ 94968 w 589749"/>
              <a:gd name="connsiteY89" fmla="*/ 479514 h 560223"/>
              <a:gd name="connsiteX90" fmla="*/ 100782 w 589749"/>
              <a:gd name="connsiteY90" fmla="*/ 495847 h 560223"/>
              <a:gd name="connsiteX91" fmla="*/ 78522 w 589749"/>
              <a:gd name="connsiteY91" fmla="*/ 521633 h 560223"/>
              <a:gd name="connsiteX92" fmla="*/ 90484 w 589749"/>
              <a:gd name="connsiteY92" fmla="*/ 447847 h 560223"/>
              <a:gd name="connsiteX93" fmla="*/ 164271 w 589749"/>
              <a:gd name="connsiteY93" fmla="*/ 459807 h 560223"/>
              <a:gd name="connsiteX94" fmla="*/ 164271 w 589749"/>
              <a:gd name="connsiteY94" fmla="*/ 521633 h 560223"/>
              <a:gd name="connsiteX95" fmla="*/ 249407 w 589749"/>
              <a:gd name="connsiteY95" fmla="*/ 378098 h 560223"/>
              <a:gd name="connsiteX96" fmla="*/ 299388 w 589749"/>
              <a:gd name="connsiteY96" fmla="*/ 336757 h 560223"/>
              <a:gd name="connsiteX97" fmla="*/ 340728 w 589749"/>
              <a:gd name="connsiteY97" fmla="*/ 378098 h 560223"/>
              <a:gd name="connsiteX98" fmla="*/ 249407 w 589749"/>
              <a:gd name="connsiteY98" fmla="*/ 378098 h 560223"/>
              <a:gd name="connsiteX99" fmla="*/ 274069 w 589749"/>
              <a:gd name="connsiteY99" fmla="*/ 300414 h 560223"/>
              <a:gd name="connsiteX100" fmla="*/ 295075 w 589749"/>
              <a:gd name="connsiteY100" fmla="*/ 279422 h 560223"/>
              <a:gd name="connsiteX101" fmla="*/ 316067 w 589749"/>
              <a:gd name="connsiteY101" fmla="*/ 300429 h 560223"/>
              <a:gd name="connsiteX102" fmla="*/ 295068 w 589749"/>
              <a:gd name="connsiteY102" fmla="*/ 321421 h 560223"/>
              <a:gd name="connsiteX103" fmla="*/ 274069 w 589749"/>
              <a:gd name="connsiteY103" fmla="*/ 300414 h 560223"/>
              <a:gd name="connsiteX104" fmla="*/ 438724 w 589749"/>
              <a:gd name="connsiteY104" fmla="*/ 534296 h 560223"/>
              <a:gd name="connsiteX105" fmla="*/ 470389 w 589749"/>
              <a:gd name="connsiteY105" fmla="*/ 505931 h 560223"/>
              <a:gd name="connsiteX106" fmla="*/ 498754 w 589749"/>
              <a:gd name="connsiteY106" fmla="*/ 534296 h 560223"/>
              <a:gd name="connsiteX107" fmla="*/ 438724 w 589749"/>
              <a:gd name="connsiteY107" fmla="*/ 534296 h 560223"/>
              <a:gd name="connsiteX108" fmla="*/ 457413 w 589749"/>
              <a:gd name="connsiteY108" fmla="*/ 479514 h 560223"/>
              <a:gd name="connsiteX109" fmla="*/ 468739 w 589749"/>
              <a:gd name="connsiteY109" fmla="*/ 468188 h 560223"/>
              <a:gd name="connsiteX110" fmla="*/ 480066 w 589749"/>
              <a:gd name="connsiteY110" fmla="*/ 479514 h 560223"/>
              <a:gd name="connsiteX111" fmla="*/ 468739 w 589749"/>
              <a:gd name="connsiteY111" fmla="*/ 490841 h 560223"/>
              <a:gd name="connsiteX112" fmla="*/ 457413 w 589749"/>
              <a:gd name="connsiteY112" fmla="*/ 479514 h 560223"/>
              <a:gd name="connsiteX113" fmla="*/ 521596 w 589749"/>
              <a:gd name="connsiteY113" fmla="*/ 490841 h 560223"/>
              <a:gd name="connsiteX114" fmla="*/ 511613 w 589749"/>
              <a:gd name="connsiteY114" fmla="*/ 521633 h 560223"/>
              <a:gd name="connsiteX115" fmla="*/ 489353 w 589749"/>
              <a:gd name="connsiteY115" fmla="*/ 495847 h 560223"/>
              <a:gd name="connsiteX116" fmla="*/ 495167 w 589749"/>
              <a:gd name="connsiteY116" fmla="*/ 479514 h 560223"/>
              <a:gd name="connsiteX117" fmla="*/ 468739 w 589749"/>
              <a:gd name="connsiteY117" fmla="*/ 453086 h 560223"/>
              <a:gd name="connsiteX118" fmla="*/ 442311 w 589749"/>
              <a:gd name="connsiteY118" fmla="*/ 479514 h 560223"/>
              <a:gd name="connsiteX119" fmla="*/ 448125 w 589749"/>
              <a:gd name="connsiteY119" fmla="*/ 495847 h 560223"/>
              <a:gd name="connsiteX120" fmla="*/ 425865 w 589749"/>
              <a:gd name="connsiteY120" fmla="*/ 521633 h 560223"/>
              <a:gd name="connsiteX121" fmla="*/ 437826 w 589749"/>
              <a:gd name="connsiteY121" fmla="*/ 447847 h 560223"/>
              <a:gd name="connsiteX122" fmla="*/ 511613 w 589749"/>
              <a:gd name="connsiteY122" fmla="*/ 459808 h 560223"/>
              <a:gd name="connsiteX123" fmla="*/ 521596 w 589749"/>
              <a:gd name="connsiteY123" fmla="*/ 490841 h 560223"/>
              <a:gd name="connsiteX124" fmla="*/ 353852 w 589749"/>
              <a:gd name="connsiteY124" fmla="*/ 366409 h 560223"/>
              <a:gd name="connsiteX125" fmla="*/ 319699 w 589749"/>
              <a:gd name="connsiteY125" fmla="*/ 326661 h 560223"/>
              <a:gd name="connsiteX126" fmla="*/ 321461 w 589749"/>
              <a:gd name="connsiteY126" fmla="*/ 275637 h 560223"/>
              <a:gd name="connsiteX127" fmla="*/ 270437 w 589749"/>
              <a:gd name="connsiteY127" fmla="*/ 273875 h 560223"/>
              <a:gd name="connsiteX128" fmla="*/ 268675 w 589749"/>
              <a:gd name="connsiteY128" fmla="*/ 324899 h 560223"/>
              <a:gd name="connsiteX129" fmla="*/ 270437 w 589749"/>
              <a:gd name="connsiteY129" fmla="*/ 326661 h 560223"/>
              <a:gd name="connsiteX130" fmla="*/ 236284 w 589749"/>
              <a:gd name="connsiteY130" fmla="*/ 366409 h 560223"/>
              <a:gd name="connsiteX131" fmla="*/ 241866 w 589749"/>
              <a:gd name="connsiteY131" fmla="*/ 254423 h 560223"/>
              <a:gd name="connsiteX132" fmla="*/ 353852 w 589749"/>
              <a:gd name="connsiteY132" fmla="*/ 260004 h 560223"/>
              <a:gd name="connsiteX133" fmla="*/ 353852 w 589749"/>
              <a:gd name="connsiteY133" fmla="*/ 366409 h 560223"/>
              <a:gd name="connsiteX134" fmla="*/ 491581 w 589749"/>
              <a:gd name="connsiteY134" fmla="*/ 262463 h 560223"/>
              <a:gd name="connsiteX135" fmla="*/ 523246 w 589749"/>
              <a:gd name="connsiteY135" fmla="*/ 234098 h 560223"/>
              <a:gd name="connsiteX136" fmla="*/ 551611 w 589749"/>
              <a:gd name="connsiteY136" fmla="*/ 262463 h 560223"/>
              <a:gd name="connsiteX137" fmla="*/ 491581 w 589749"/>
              <a:gd name="connsiteY137" fmla="*/ 262463 h 560223"/>
              <a:gd name="connsiteX138" fmla="*/ 510269 w 589749"/>
              <a:gd name="connsiteY138" fmla="*/ 207681 h 560223"/>
              <a:gd name="connsiteX139" fmla="*/ 521596 w 589749"/>
              <a:gd name="connsiteY139" fmla="*/ 196355 h 560223"/>
              <a:gd name="connsiteX140" fmla="*/ 532922 w 589749"/>
              <a:gd name="connsiteY140" fmla="*/ 207681 h 560223"/>
              <a:gd name="connsiteX141" fmla="*/ 521596 w 589749"/>
              <a:gd name="connsiteY141" fmla="*/ 219007 h 560223"/>
              <a:gd name="connsiteX142" fmla="*/ 510269 w 589749"/>
              <a:gd name="connsiteY142" fmla="*/ 207681 h 560223"/>
              <a:gd name="connsiteX143" fmla="*/ 521596 w 589749"/>
              <a:gd name="connsiteY143" fmla="*/ 166151 h 560223"/>
              <a:gd name="connsiteX144" fmla="*/ 574452 w 589749"/>
              <a:gd name="connsiteY144" fmla="*/ 218826 h 560223"/>
              <a:gd name="connsiteX145" fmla="*/ 564470 w 589749"/>
              <a:gd name="connsiteY145" fmla="*/ 249800 h 560223"/>
              <a:gd name="connsiteX146" fmla="*/ 542210 w 589749"/>
              <a:gd name="connsiteY146" fmla="*/ 224014 h 560223"/>
              <a:gd name="connsiteX147" fmla="*/ 548024 w 589749"/>
              <a:gd name="connsiteY147" fmla="*/ 207681 h 560223"/>
              <a:gd name="connsiteX148" fmla="*/ 521596 w 589749"/>
              <a:gd name="connsiteY148" fmla="*/ 181253 h 560223"/>
              <a:gd name="connsiteX149" fmla="*/ 495167 w 589749"/>
              <a:gd name="connsiteY149" fmla="*/ 207681 h 560223"/>
              <a:gd name="connsiteX150" fmla="*/ 500982 w 589749"/>
              <a:gd name="connsiteY150" fmla="*/ 224014 h 560223"/>
              <a:gd name="connsiteX151" fmla="*/ 478721 w 589749"/>
              <a:gd name="connsiteY151" fmla="*/ 249800 h 560223"/>
              <a:gd name="connsiteX152" fmla="*/ 490622 w 589749"/>
              <a:gd name="connsiteY152" fmla="*/ 176133 h 560223"/>
              <a:gd name="connsiteX153" fmla="*/ 521596 w 589749"/>
              <a:gd name="connsiteY153" fmla="*/ 166151 h 560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589749" h="560223">
                <a:moveTo>
                  <a:pt x="521596" y="286966"/>
                </a:moveTo>
                <a:cubicBezTo>
                  <a:pt x="559182" y="287019"/>
                  <a:pt x="589696" y="256594"/>
                  <a:pt x="589750" y="219007"/>
                </a:cubicBezTo>
                <a:cubicBezTo>
                  <a:pt x="589803" y="181420"/>
                  <a:pt x="559377" y="150907"/>
                  <a:pt x="521790" y="150853"/>
                </a:cubicBezTo>
                <a:cubicBezTo>
                  <a:pt x="484204" y="150799"/>
                  <a:pt x="453691" y="181226"/>
                  <a:pt x="453637" y="218812"/>
                </a:cubicBezTo>
                <a:cubicBezTo>
                  <a:pt x="453627" y="225529"/>
                  <a:pt x="454612" y="232211"/>
                  <a:pt x="456560" y="238640"/>
                </a:cubicBezTo>
                <a:lnTo>
                  <a:pt x="379540" y="271456"/>
                </a:lnTo>
                <a:cubicBezTo>
                  <a:pt x="364798" y="241818"/>
                  <a:pt x="335613" y="222065"/>
                  <a:pt x="302619" y="219392"/>
                </a:cubicBezTo>
                <a:lnTo>
                  <a:pt x="302619" y="135502"/>
                </a:lnTo>
                <a:cubicBezTo>
                  <a:pt x="339919" y="131331"/>
                  <a:pt x="366776" y="97713"/>
                  <a:pt x="362606" y="60413"/>
                </a:cubicBezTo>
                <a:cubicBezTo>
                  <a:pt x="358435" y="23113"/>
                  <a:pt x="324817" y="-3743"/>
                  <a:pt x="287517" y="427"/>
                </a:cubicBezTo>
                <a:cubicBezTo>
                  <a:pt x="250217" y="4597"/>
                  <a:pt x="223360" y="38215"/>
                  <a:pt x="227530" y="75515"/>
                </a:cubicBezTo>
                <a:cubicBezTo>
                  <a:pt x="231058" y="107069"/>
                  <a:pt x="255964" y="131974"/>
                  <a:pt x="287517" y="135502"/>
                </a:cubicBezTo>
                <a:lnTo>
                  <a:pt x="287517" y="219392"/>
                </a:lnTo>
                <a:cubicBezTo>
                  <a:pt x="254537" y="222077"/>
                  <a:pt x="225369" y="241829"/>
                  <a:pt x="210633" y="271456"/>
                </a:cubicBezTo>
                <a:lnTo>
                  <a:pt x="133576" y="238640"/>
                </a:lnTo>
                <a:cubicBezTo>
                  <a:pt x="144590" y="202581"/>
                  <a:pt x="124288" y="164421"/>
                  <a:pt x="88229" y="153407"/>
                </a:cubicBezTo>
                <a:cubicBezTo>
                  <a:pt x="52170" y="142393"/>
                  <a:pt x="14010" y="162696"/>
                  <a:pt x="2996" y="198754"/>
                </a:cubicBezTo>
                <a:cubicBezTo>
                  <a:pt x="-8018" y="234813"/>
                  <a:pt x="12285" y="272973"/>
                  <a:pt x="48344" y="283987"/>
                </a:cubicBezTo>
                <a:cubicBezTo>
                  <a:pt x="78873" y="293312"/>
                  <a:pt x="111788" y="280236"/>
                  <a:pt x="127596" y="252503"/>
                </a:cubicBezTo>
                <a:lnTo>
                  <a:pt x="204910" y="285456"/>
                </a:lnTo>
                <a:cubicBezTo>
                  <a:pt x="195605" y="315420"/>
                  <a:pt x="201834" y="348050"/>
                  <a:pt x="221522" y="372480"/>
                </a:cubicBezTo>
                <a:lnTo>
                  <a:pt x="159415" y="434586"/>
                </a:lnTo>
                <a:cubicBezTo>
                  <a:pt x="128056" y="413082"/>
                  <a:pt x="85201" y="421071"/>
                  <a:pt x="63697" y="452430"/>
                </a:cubicBezTo>
                <a:cubicBezTo>
                  <a:pt x="42192" y="483790"/>
                  <a:pt x="50181" y="526644"/>
                  <a:pt x="81540" y="548149"/>
                </a:cubicBezTo>
                <a:cubicBezTo>
                  <a:pt x="112900" y="569654"/>
                  <a:pt x="155755" y="561665"/>
                  <a:pt x="177259" y="530305"/>
                </a:cubicBezTo>
                <a:cubicBezTo>
                  <a:pt x="195485" y="503728"/>
                  <a:pt x="192836" y="468064"/>
                  <a:pt x="170885" y="444470"/>
                </a:cubicBezTo>
                <a:lnTo>
                  <a:pt x="231942" y="383414"/>
                </a:lnTo>
                <a:cubicBezTo>
                  <a:pt x="267720" y="415935"/>
                  <a:pt x="322355" y="415935"/>
                  <a:pt x="358133" y="383414"/>
                </a:cubicBezTo>
                <a:lnTo>
                  <a:pt x="419190" y="444470"/>
                </a:lnTo>
                <a:cubicBezTo>
                  <a:pt x="393983" y="471713"/>
                  <a:pt x="395632" y="514231"/>
                  <a:pt x="422874" y="539438"/>
                </a:cubicBezTo>
                <a:cubicBezTo>
                  <a:pt x="450116" y="564647"/>
                  <a:pt x="492635" y="562997"/>
                  <a:pt x="517842" y="535755"/>
                </a:cubicBezTo>
                <a:cubicBezTo>
                  <a:pt x="543049" y="508513"/>
                  <a:pt x="541400" y="465994"/>
                  <a:pt x="514158" y="440786"/>
                </a:cubicBezTo>
                <a:cubicBezTo>
                  <a:pt x="491171" y="419515"/>
                  <a:pt x="456537" y="416944"/>
                  <a:pt x="430660" y="434586"/>
                </a:cubicBezTo>
                <a:lnTo>
                  <a:pt x="368553" y="372480"/>
                </a:lnTo>
                <a:cubicBezTo>
                  <a:pt x="388263" y="348061"/>
                  <a:pt x="394514" y="315430"/>
                  <a:pt x="385226" y="285456"/>
                </a:cubicBezTo>
                <a:lnTo>
                  <a:pt x="462540" y="252526"/>
                </a:lnTo>
                <a:cubicBezTo>
                  <a:pt x="474598" y="273792"/>
                  <a:pt x="497149" y="286944"/>
                  <a:pt x="521596" y="286966"/>
                </a:cubicBezTo>
                <a:close/>
                <a:moveTo>
                  <a:pt x="38525" y="262463"/>
                </a:moveTo>
                <a:cubicBezTo>
                  <a:pt x="39436" y="245886"/>
                  <a:pt x="53613" y="233186"/>
                  <a:pt x="70190" y="234098"/>
                </a:cubicBezTo>
                <a:cubicBezTo>
                  <a:pt x="85493" y="234939"/>
                  <a:pt x="97714" y="247159"/>
                  <a:pt x="98555" y="262463"/>
                </a:cubicBezTo>
                <a:cubicBezTo>
                  <a:pt x="80508" y="274997"/>
                  <a:pt x="56572" y="274997"/>
                  <a:pt x="38525" y="262463"/>
                </a:cubicBezTo>
                <a:close/>
                <a:moveTo>
                  <a:pt x="57214" y="207681"/>
                </a:moveTo>
                <a:cubicBezTo>
                  <a:pt x="57214" y="201426"/>
                  <a:pt x="62285" y="196355"/>
                  <a:pt x="68540" y="196355"/>
                </a:cubicBezTo>
                <a:cubicBezTo>
                  <a:pt x="74795" y="196355"/>
                  <a:pt x="79866" y="201426"/>
                  <a:pt x="79866" y="207681"/>
                </a:cubicBezTo>
                <a:cubicBezTo>
                  <a:pt x="79866" y="213936"/>
                  <a:pt x="74795" y="219007"/>
                  <a:pt x="68540" y="219007"/>
                </a:cubicBezTo>
                <a:cubicBezTo>
                  <a:pt x="62285" y="219007"/>
                  <a:pt x="57214" y="213936"/>
                  <a:pt x="57214" y="207681"/>
                </a:cubicBezTo>
                <a:close/>
                <a:moveTo>
                  <a:pt x="111414" y="249800"/>
                </a:moveTo>
                <a:cubicBezTo>
                  <a:pt x="107612" y="238647"/>
                  <a:pt x="99632" y="229403"/>
                  <a:pt x="89154" y="224014"/>
                </a:cubicBezTo>
                <a:cubicBezTo>
                  <a:pt x="92891" y="219388"/>
                  <a:pt x="94941" y="213627"/>
                  <a:pt x="94968" y="207681"/>
                </a:cubicBezTo>
                <a:cubicBezTo>
                  <a:pt x="94968" y="193085"/>
                  <a:pt x="83136" y="181253"/>
                  <a:pt x="68540" y="181253"/>
                </a:cubicBezTo>
                <a:cubicBezTo>
                  <a:pt x="53944" y="181253"/>
                  <a:pt x="42112" y="193085"/>
                  <a:pt x="42112" y="207681"/>
                </a:cubicBezTo>
                <a:cubicBezTo>
                  <a:pt x="42139" y="213627"/>
                  <a:pt x="44189" y="219388"/>
                  <a:pt x="47926" y="224014"/>
                </a:cubicBezTo>
                <a:cubicBezTo>
                  <a:pt x="37448" y="229403"/>
                  <a:pt x="29468" y="238647"/>
                  <a:pt x="25666" y="249800"/>
                </a:cubicBezTo>
                <a:cubicBezTo>
                  <a:pt x="8593" y="226121"/>
                  <a:pt x="13948" y="193086"/>
                  <a:pt x="37627" y="176013"/>
                </a:cubicBezTo>
                <a:cubicBezTo>
                  <a:pt x="61305" y="158940"/>
                  <a:pt x="94342" y="164296"/>
                  <a:pt x="111414" y="187974"/>
                </a:cubicBezTo>
                <a:cubicBezTo>
                  <a:pt x="124724" y="206434"/>
                  <a:pt x="124724" y="231340"/>
                  <a:pt x="111414" y="249800"/>
                </a:cubicBezTo>
                <a:close/>
                <a:moveTo>
                  <a:pt x="283741" y="56662"/>
                </a:moveTo>
                <a:cubicBezTo>
                  <a:pt x="283741" y="50407"/>
                  <a:pt x="288813" y="45336"/>
                  <a:pt x="295068" y="45336"/>
                </a:cubicBezTo>
                <a:cubicBezTo>
                  <a:pt x="301323" y="45336"/>
                  <a:pt x="306394" y="50407"/>
                  <a:pt x="306394" y="56662"/>
                </a:cubicBezTo>
                <a:cubicBezTo>
                  <a:pt x="306394" y="62918"/>
                  <a:pt x="301323" y="67989"/>
                  <a:pt x="295068" y="67989"/>
                </a:cubicBezTo>
                <a:cubicBezTo>
                  <a:pt x="288813" y="67989"/>
                  <a:pt x="283741" y="62918"/>
                  <a:pt x="283741" y="56662"/>
                </a:cubicBezTo>
                <a:close/>
                <a:moveTo>
                  <a:pt x="295068" y="83091"/>
                </a:moveTo>
                <a:cubicBezTo>
                  <a:pt x="310990" y="83134"/>
                  <a:pt x="324134" y="95550"/>
                  <a:pt x="325083" y="111444"/>
                </a:cubicBezTo>
                <a:cubicBezTo>
                  <a:pt x="307036" y="123979"/>
                  <a:pt x="283100" y="123979"/>
                  <a:pt x="265053" y="111444"/>
                </a:cubicBezTo>
                <a:cubicBezTo>
                  <a:pt x="266002" y="95550"/>
                  <a:pt x="279146" y="83134"/>
                  <a:pt x="295068" y="83091"/>
                </a:cubicBezTo>
                <a:close/>
                <a:moveTo>
                  <a:pt x="242211" y="67989"/>
                </a:moveTo>
                <a:cubicBezTo>
                  <a:pt x="242145" y="38797"/>
                  <a:pt x="265756" y="15079"/>
                  <a:pt x="294948" y="15012"/>
                </a:cubicBezTo>
                <a:cubicBezTo>
                  <a:pt x="324140" y="14946"/>
                  <a:pt x="347858" y="38557"/>
                  <a:pt x="347924" y="67749"/>
                </a:cubicBezTo>
                <a:cubicBezTo>
                  <a:pt x="347949" y="78886"/>
                  <a:pt x="344455" y="89748"/>
                  <a:pt x="337942" y="98781"/>
                </a:cubicBezTo>
                <a:cubicBezTo>
                  <a:pt x="334139" y="87629"/>
                  <a:pt x="326160" y="78385"/>
                  <a:pt x="315682" y="72995"/>
                </a:cubicBezTo>
                <a:cubicBezTo>
                  <a:pt x="319419" y="68369"/>
                  <a:pt x="321469" y="62609"/>
                  <a:pt x="321496" y="56662"/>
                </a:cubicBezTo>
                <a:cubicBezTo>
                  <a:pt x="321496" y="42066"/>
                  <a:pt x="309664" y="30234"/>
                  <a:pt x="295068" y="30234"/>
                </a:cubicBezTo>
                <a:cubicBezTo>
                  <a:pt x="280472" y="30234"/>
                  <a:pt x="268640" y="42066"/>
                  <a:pt x="268640" y="56662"/>
                </a:cubicBezTo>
                <a:cubicBezTo>
                  <a:pt x="268666" y="62609"/>
                  <a:pt x="270717" y="68369"/>
                  <a:pt x="274454" y="72995"/>
                </a:cubicBezTo>
                <a:cubicBezTo>
                  <a:pt x="263975" y="78385"/>
                  <a:pt x="255996" y="87629"/>
                  <a:pt x="252194" y="98781"/>
                </a:cubicBezTo>
                <a:cubicBezTo>
                  <a:pt x="245707" y="89824"/>
                  <a:pt x="242214" y="79048"/>
                  <a:pt x="242211" y="67989"/>
                </a:cubicBezTo>
                <a:close/>
                <a:moveTo>
                  <a:pt x="91382" y="534296"/>
                </a:moveTo>
                <a:cubicBezTo>
                  <a:pt x="92293" y="517720"/>
                  <a:pt x="106470" y="505020"/>
                  <a:pt x="123046" y="505931"/>
                </a:cubicBezTo>
                <a:cubicBezTo>
                  <a:pt x="138350" y="506772"/>
                  <a:pt x="150570" y="518993"/>
                  <a:pt x="151411" y="534296"/>
                </a:cubicBezTo>
                <a:cubicBezTo>
                  <a:pt x="133365" y="546831"/>
                  <a:pt x="109428" y="546831"/>
                  <a:pt x="91382" y="534296"/>
                </a:cubicBezTo>
                <a:close/>
                <a:moveTo>
                  <a:pt x="110070" y="479514"/>
                </a:moveTo>
                <a:cubicBezTo>
                  <a:pt x="110070" y="473259"/>
                  <a:pt x="115141" y="468188"/>
                  <a:pt x="121397" y="468188"/>
                </a:cubicBezTo>
                <a:cubicBezTo>
                  <a:pt x="127652" y="468188"/>
                  <a:pt x="132723" y="473259"/>
                  <a:pt x="132723" y="479514"/>
                </a:cubicBezTo>
                <a:cubicBezTo>
                  <a:pt x="132723" y="485770"/>
                  <a:pt x="127652" y="490841"/>
                  <a:pt x="121397" y="490841"/>
                </a:cubicBezTo>
                <a:cubicBezTo>
                  <a:pt x="115141" y="490841"/>
                  <a:pt x="110070" y="485770"/>
                  <a:pt x="110070" y="479514"/>
                </a:cubicBezTo>
                <a:close/>
                <a:moveTo>
                  <a:pt x="164271" y="521633"/>
                </a:moveTo>
                <a:cubicBezTo>
                  <a:pt x="160468" y="510481"/>
                  <a:pt x="152489" y="501237"/>
                  <a:pt x="142011" y="495847"/>
                </a:cubicBezTo>
                <a:cubicBezTo>
                  <a:pt x="145747" y="491221"/>
                  <a:pt x="147798" y="485461"/>
                  <a:pt x="147825" y="479514"/>
                </a:cubicBezTo>
                <a:cubicBezTo>
                  <a:pt x="147825" y="464918"/>
                  <a:pt x="135992" y="453086"/>
                  <a:pt x="121397" y="453086"/>
                </a:cubicBezTo>
                <a:cubicBezTo>
                  <a:pt x="106801" y="453086"/>
                  <a:pt x="94968" y="464918"/>
                  <a:pt x="94968" y="479514"/>
                </a:cubicBezTo>
                <a:cubicBezTo>
                  <a:pt x="94995" y="485461"/>
                  <a:pt x="97046" y="491221"/>
                  <a:pt x="100782" y="495847"/>
                </a:cubicBezTo>
                <a:cubicBezTo>
                  <a:pt x="90304" y="501237"/>
                  <a:pt x="82325" y="510481"/>
                  <a:pt x="78522" y="521633"/>
                </a:cubicBezTo>
                <a:cubicBezTo>
                  <a:pt x="61450" y="497954"/>
                  <a:pt x="66805" y="464919"/>
                  <a:pt x="90484" y="447847"/>
                </a:cubicBezTo>
                <a:cubicBezTo>
                  <a:pt x="114162" y="430774"/>
                  <a:pt x="147198" y="436129"/>
                  <a:pt x="164271" y="459807"/>
                </a:cubicBezTo>
                <a:cubicBezTo>
                  <a:pt x="177581" y="478267"/>
                  <a:pt x="177581" y="503174"/>
                  <a:pt x="164271" y="521633"/>
                </a:cubicBezTo>
                <a:close/>
                <a:moveTo>
                  <a:pt x="249407" y="378098"/>
                </a:moveTo>
                <a:cubicBezTo>
                  <a:pt x="251793" y="352880"/>
                  <a:pt x="274170" y="334371"/>
                  <a:pt x="299388" y="336757"/>
                </a:cubicBezTo>
                <a:cubicBezTo>
                  <a:pt x="321304" y="338831"/>
                  <a:pt x="338655" y="356182"/>
                  <a:pt x="340728" y="378098"/>
                </a:cubicBezTo>
                <a:cubicBezTo>
                  <a:pt x="313392" y="397538"/>
                  <a:pt x="276744" y="397538"/>
                  <a:pt x="249407" y="378098"/>
                </a:cubicBezTo>
                <a:close/>
                <a:moveTo>
                  <a:pt x="274069" y="300414"/>
                </a:moveTo>
                <a:cubicBezTo>
                  <a:pt x="274073" y="288816"/>
                  <a:pt x="283478" y="279418"/>
                  <a:pt x="295075" y="279422"/>
                </a:cubicBezTo>
                <a:cubicBezTo>
                  <a:pt x="306673" y="279427"/>
                  <a:pt x="316072" y="288832"/>
                  <a:pt x="316067" y="300429"/>
                </a:cubicBezTo>
                <a:cubicBezTo>
                  <a:pt x="316062" y="312023"/>
                  <a:pt x="306662" y="321421"/>
                  <a:pt x="295068" y="321421"/>
                </a:cubicBezTo>
                <a:cubicBezTo>
                  <a:pt x="283473" y="321408"/>
                  <a:pt x="274077" y="312009"/>
                  <a:pt x="274069" y="300414"/>
                </a:cubicBezTo>
                <a:close/>
                <a:moveTo>
                  <a:pt x="438724" y="534296"/>
                </a:moveTo>
                <a:cubicBezTo>
                  <a:pt x="439636" y="517720"/>
                  <a:pt x="453812" y="505020"/>
                  <a:pt x="470389" y="505931"/>
                </a:cubicBezTo>
                <a:cubicBezTo>
                  <a:pt x="485693" y="506772"/>
                  <a:pt x="497913" y="518993"/>
                  <a:pt x="498754" y="534296"/>
                </a:cubicBezTo>
                <a:cubicBezTo>
                  <a:pt x="480707" y="546831"/>
                  <a:pt x="456771" y="546831"/>
                  <a:pt x="438724" y="534296"/>
                </a:cubicBezTo>
                <a:close/>
                <a:moveTo>
                  <a:pt x="457413" y="479514"/>
                </a:moveTo>
                <a:cubicBezTo>
                  <a:pt x="457413" y="473259"/>
                  <a:pt x="462484" y="468188"/>
                  <a:pt x="468739" y="468188"/>
                </a:cubicBezTo>
                <a:cubicBezTo>
                  <a:pt x="474994" y="468188"/>
                  <a:pt x="480066" y="473259"/>
                  <a:pt x="480066" y="479514"/>
                </a:cubicBezTo>
                <a:cubicBezTo>
                  <a:pt x="480066" y="485770"/>
                  <a:pt x="474994" y="490841"/>
                  <a:pt x="468739" y="490841"/>
                </a:cubicBezTo>
                <a:cubicBezTo>
                  <a:pt x="462484" y="490841"/>
                  <a:pt x="457413" y="485770"/>
                  <a:pt x="457413" y="479514"/>
                </a:cubicBezTo>
                <a:close/>
                <a:moveTo>
                  <a:pt x="521596" y="490841"/>
                </a:moveTo>
                <a:cubicBezTo>
                  <a:pt x="521593" y="501900"/>
                  <a:pt x="518100" y="512676"/>
                  <a:pt x="511613" y="521633"/>
                </a:cubicBezTo>
                <a:cubicBezTo>
                  <a:pt x="507811" y="510481"/>
                  <a:pt x="499832" y="501237"/>
                  <a:pt x="489353" y="495847"/>
                </a:cubicBezTo>
                <a:cubicBezTo>
                  <a:pt x="493090" y="491221"/>
                  <a:pt x="495141" y="485461"/>
                  <a:pt x="495167" y="479514"/>
                </a:cubicBezTo>
                <a:cubicBezTo>
                  <a:pt x="495167" y="464918"/>
                  <a:pt x="483335" y="453086"/>
                  <a:pt x="468739" y="453086"/>
                </a:cubicBezTo>
                <a:cubicBezTo>
                  <a:pt x="454143" y="453086"/>
                  <a:pt x="442311" y="464918"/>
                  <a:pt x="442311" y="479514"/>
                </a:cubicBezTo>
                <a:cubicBezTo>
                  <a:pt x="442338" y="485461"/>
                  <a:pt x="444388" y="491221"/>
                  <a:pt x="448125" y="495847"/>
                </a:cubicBezTo>
                <a:cubicBezTo>
                  <a:pt x="437647" y="501237"/>
                  <a:pt x="429668" y="510481"/>
                  <a:pt x="425865" y="521633"/>
                </a:cubicBezTo>
                <a:cubicBezTo>
                  <a:pt x="408792" y="497954"/>
                  <a:pt x="414147" y="464919"/>
                  <a:pt x="437826" y="447847"/>
                </a:cubicBezTo>
                <a:cubicBezTo>
                  <a:pt x="461505" y="430774"/>
                  <a:pt x="494541" y="436129"/>
                  <a:pt x="511613" y="459808"/>
                </a:cubicBezTo>
                <a:cubicBezTo>
                  <a:pt x="518128" y="468842"/>
                  <a:pt x="521621" y="479703"/>
                  <a:pt x="521596" y="490841"/>
                </a:cubicBezTo>
                <a:close/>
                <a:moveTo>
                  <a:pt x="353852" y="366409"/>
                </a:moveTo>
                <a:cubicBezTo>
                  <a:pt x="349008" y="348707"/>
                  <a:pt x="336470" y="334115"/>
                  <a:pt x="319699" y="326661"/>
                </a:cubicBezTo>
                <a:cubicBezTo>
                  <a:pt x="334275" y="313057"/>
                  <a:pt x="335064" y="290213"/>
                  <a:pt x="321461" y="275637"/>
                </a:cubicBezTo>
                <a:cubicBezTo>
                  <a:pt x="307858" y="261061"/>
                  <a:pt x="285013" y="260272"/>
                  <a:pt x="270437" y="273875"/>
                </a:cubicBezTo>
                <a:cubicBezTo>
                  <a:pt x="255860" y="287478"/>
                  <a:pt x="255071" y="310323"/>
                  <a:pt x="268675" y="324899"/>
                </a:cubicBezTo>
                <a:cubicBezTo>
                  <a:pt x="269241" y="325506"/>
                  <a:pt x="269830" y="326094"/>
                  <a:pt x="270437" y="326661"/>
                </a:cubicBezTo>
                <a:cubicBezTo>
                  <a:pt x="253665" y="334115"/>
                  <a:pt x="241128" y="348707"/>
                  <a:pt x="236284" y="366409"/>
                </a:cubicBezTo>
                <a:cubicBezTo>
                  <a:pt x="206901" y="333944"/>
                  <a:pt x="209400" y="283806"/>
                  <a:pt x="241866" y="254423"/>
                </a:cubicBezTo>
                <a:cubicBezTo>
                  <a:pt x="274331" y="225040"/>
                  <a:pt x="324469" y="227538"/>
                  <a:pt x="353852" y="260004"/>
                </a:cubicBezTo>
                <a:cubicBezTo>
                  <a:pt x="381186" y="290206"/>
                  <a:pt x="381186" y="336207"/>
                  <a:pt x="353852" y="366409"/>
                </a:cubicBezTo>
                <a:close/>
                <a:moveTo>
                  <a:pt x="491581" y="262463"/>
                </a:moveTo>
                <a:cubicBezTo>
                  <a:pt x="492492" y="245886"/>
                  <a:pt x="506669" y="233186"/>
                  <a:pt x="523246" y="234098"/>
                </a:cubicBezTo>
                <a:cubicBezTo>
                  <a:pt x="538549" y="234939"/>
                  <a:pt x="550769" y="247159"/>
                  <a:pt x="551611" y="262463"/>
                </a:cubicBezTo>
                <a:cubicBezTo>
                  <a:pt x="533564" y="274997"/>
                  <a:pt x="509627" y="274997"/>
                  <a:pt x="491581" y="262463"/>
                </a:cubicBezTo>
                <a:close/>
                <a:moveTo>
                  <a:pt x="510269" y="207681"/>
                </a:moveTo>
                <a:cubicBezTo>
                  <a:pt x="510269" y="201426"/>
                  <a:pt x="515340" y="196355"/>
                  <a:pt x="521596" y="196355"/>
                </a:cubicBezTo>
                <a:cubicBezTo>
                  <a:pt x="527851" y="196355"/>
                  <a:pt x="532922" y="201426"/>
                  <a:pt x="532922" y="207681"/>
                </a:cubicBezTo>
                <a:cubicBezTo>
                  <a:pt x="532922" y="213936"/>
                  <a:pt x="527851" y="219007"/>
                  <a:pt x="521596" y="219007"/>
                </a:cubicBezTo>
                <a:cubicBezTo>
                  <a:pt x="515340" y="219007"/>
                  <a:pt x="510269" y="213936"/>
                  <a:pt x="510269" y="207681"/>
                </a:cubicBezTo>
                <a:close/>
                <a:moveTo>
                  <a:pt x="521596" y="166151"/>
                </a:moveTo>
                <a:cubicBezTo>
                  <a:pt x="550738" y="166101"/>
                  <a:pt x="574402" y="189685"/>
                  <a:pt x="574452" y="218826"/>
                </a:cubicBezTo>
                <a:cubicBezTo>
                  <a:pt x="574471" y="229945"/>
                  <a:pt x="570977" y="240785"/>
                  <a:pt x="564470" y="249800"/>
                </a:cubicBezTo>
                <a:cubicBezTo>
                  <a:pt x="560667" y="238647"/>
                  <a:pt x="552688" y="229403"/>
                  <a:pt x="542210" y="224014"/>
                </a:cubicBezTo>
                <a:cubicBezTo>
                  <a:pt x="545947" y="219388"/>
                  <a:pt x="547997" y="213627"/>
                  <a:pt x="548024" y="207681"/>
                </a:cubicBezTo>
                <a:cubicBezTo>
                  <a:pt x="548024" y="193085"/>
                  <a:pt x="536192" y="181253"/>
                  <a:pt x="521596" y="181253"/>
                </a:cubicBezTo>
                <a:cubicBezTo>
                  <a:pt x="507000" y="181253"/>
                  <a:pt x="495167" y="193085"/>
                  <a:pt x="495167" y="207681"/>
                </a:cubicBezTo>
                <a:cubicBezTo>
                  <a:pt x="495195" y="213627"/>
                  <a:pt x="497245" y="219388"/>
                  <a:pt x="500982" y="224014"/>
                </a:cubicBezTo>
                <a:cubicBezTo>
                  <a:pt x="490503" y="229403"/>
                  <a:pt x="482524" y="238647"/>
                  <a:pt x="478721" y="249800"/>
                </a:cubicBezTo>
                <a:cubicBezTo>
                  <a:pt x="461665" y="226171"/>
                  <a:pt x="466993" y="193189"/>
                  <a:pt x="490622" y="176133"/>
                </a:cubicBezTo>
                <a:cubicBezTo>
                  <a:pt x="499637" y="169625"/>
                  <a:pt x="510477" y="166132"/>
                  <a:pt x="521596" y="166151"/>
                </a:cubicBezTo>
                <a:close/>
              </a:path>
            </a:pathLst>
          </a:custGeom>
          <a:solidFill>
            <a:schemeClr val="lt1"/>
          </a:solidFill>
          <a:ln w="10054" cap="flat">
            <a:solidFill>
              <a:schemeClr val="accent5"/>
            </a:solidFill>
            <a:prstDash val="solid"/>
            <a:miter/>
          </a:ln>
        </p:spPr>
        <p:txBody>
          <a:bodyPr rtlCol="0" anchor="ctr"/>
          <a:lstStyle/>
          <a:p>
            <a:endParaRPr lang="en-GB"/>
          </a:p>
        </p:txBody>
      </p:sp>
      <p:sp>
        <p:nvSpPr>
          <p:cNvPr id="144" name="Bild 128" descr="Hjärta kontur">
            <a:extLst>
              <a:ext uri="{FF2B5EF4-FFF2-40B4-BE49-F238E27FC236}">
                <a16:creationId xmlns:a16="http://schemas.microsoft.com/office/drawing/2014/main" id="{60805634-3D74-5216-CE7E-0E4E01A86621}"/>
              </a:ext>
            </a:extLst>
          </p:cNvPr>
          <p:cNvSpPr/>
          <p:nvPr/>
        </p:nvSpPr>
        <p:spPr>
          <a:xfrm>
            <a:off x="13488034" y="2580944"/>
            <a:ext cx="486370" cy="460835"/>
          </a:xfrm>
          <a:custGeom>
            <a:avLst/>
            <a:gdLst>
              <a:gd name="connsiteX0" fmla="*/ 364778 w 486370"/>
              <a:gd name="connsiteY0" fmla="*/ 0 h 460835"/>
              <a:gd name="connsiteX1" fmla="*/ 243185 w 486370"/>
              <a:gd name="connsiteY1" fmla="*/ 96058 h 460835"/>
              <a:gd name="connsiteX2" fmla="*/ 121593 w 486370"/>
              <a:gd name="connsiteY2" fmla="*/ 0 h 460835"/>
              <a:gd name="connsiteX3" fmla="*/ 0 w 486370"/>
              <a:gd name="connsiteY3" fmla="*/ 124668 h 460835"/>
              <a:gd name="connsiteX4" fmla="*/ 243185 w 486370"/>
              <a:gd name="connsiteY4" fmla="*/ 460836 h 460835"/>
              <a:gd name="connsiteX5" fmla="*/ 486370 w 486370"/>
              <a:gd name="connsiteY5" fmla="*/ 124668 h 460835"/>
              <a:gd name="connsiteX6" fmla="*/ 364778 w 486370"/>
              <a:gd name="connsiteY6" fmla="*/ 0 h 460835"/>
              <a:gd name="connsiteX7" fmla="*/ 243185 w 486370"/>
              <a:gd name="connsiteY7" fmla="*/ 442575 h 460835"/>
              <a:gd name="connsiteX8" fmla="*/ 14305 w 486370"/>
              <a:gd name="connsiteY8" fmla="*/ 124668 h 460835"/>
              <a:gd name="connsiteX9" fmla="*/ 46892 w 486370"/>
              <a:gd name="connsiteY9" fmla="*/ 49295 h 460835"/>
              <a:gd name="connsiteX10" fmla="*/ 121593 w 486370"/>
              <a:gd name="connsiteY10" fmla="*/ 14305 h 460835"/>
              <a:gd name="connsiteX11" fmla="*/ 230411 w 486370"/>
              <a:gd name="connsiteY11" fmla="*/ 102495 h 460835"/>
              <a:gd name="connsiteX12" fmla="*/ 243185 w 486370"/>
              <a:gd name="connsiteY12" fmla="*/ 127844 h 460835"/>
              <a:gd name="connsiteX13" fmla="*/ 255959 w 486370"/>
              <a:gd name="connsiteY13" fmla="*/ 102495 h 460835"/>
              <a:gd name="connsiteX14" fmla="*/ 364778 w 486370"/>
              <a:gd name="connsiteY14" fmla="*/ 14305 h 460835"/>
              <a:gd name="connsiteX15" fmla="*/ 472065 w 486370"/>
              <a:gd name="connsiteY15" fmla="*/ 124668 h 460835"/>
              <a:gd name="connsiteX16" fmla="*/ 243185 w 486370"/>
              <a:gd name="connsiteY16" fmla="*/ 442575 h 460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86370" h="460835">
                <a:moveTo>
                  <a:pt x="364778" y="0"/>
                </a:moveTo>
                <a:cubicBezTo>
                  <a:pt x="323221" y="0"/>
                  <a:pt x="278404" y="26178"/>
                  <a:pt x="243185" y="96058"/>
                </a:cubicBezTo>
                <a:cubicBezTo>
                  <a:pt x="207973" y="26192"/>
                  <a:pt x="163141" y="0"/>
                  <a:pt x="121593" y="0"/>
                </a:cubicBezTo>
                <a:cubicBezTo>
                  <a:pt x="56812" y="0"/>
                  <a:pt x="0" y="63657"/>
                  <a:pt x="0" y="124668"/>
                </a:cubicBezTo>
                <a:cubicBezTo>
                  <a:pt x="0" y="274871"/>
                  <a:pt x="243185" y="460836"/>
                  <a:pt x="243185" y="460836"/>
                </a:cubicBezTo>
                <a:cubicBezTo>
                  <a:pt x="243185" y="460836"/>
                  <a:pt x="486370" y="274871"/>
                  <a:pt x="486370" y="124668"/>
                </a:cubicBezTo>
                <a:cubicBezTo>
                  <a:pt x="486370" y="63664"/>
                  <a:pt x="429551" y="0"/>
                  <a:pt x="364778" y="0"/>
                </a:cubicBezTo>
                <a:close/>
                <a:moveTo>
                  <a:pt x="243185" y="442575"/>
                </a:moveTo>
                <a:cubicBezTo>
                  <a:pt x="200377" y="408000"/>
                  <a:pt x="14305" y="250430"/>
                  <a:pt x="14305" y="124668"/>
                </a:cubicBezTo>
                <a:cubicBezTo>
                  <a:pt x="15429" y="96368"/>
                  <a:pt x="27046" y="69501"/>
                  <a:pt x="46892" y="49295"/>
                </a:cubicBezTo>
                <a:cubicBezTo>
                  <a:pt x="65996" y="27956"/>
                  <a:pt x="92970" y="15321"/>
                  <a:pt x="121593" y="14305"/>
                </a:cubicBezTo>
                <a:cubicBezTo>
                  <a:pt x="163706" y="14305"/>
                  <a:pt x="201336" y="44803"/>
                  <a:pt x="230411" y="102495"/>
                </a:cubicBezTo>
                <a:lnTo>
                  <a:pt x="243185" y="127844"/>
                </a:lnTo>
                <a:lnTo>
                  <a:pt x="255959" y="102495"/>
                </a:lnTo>
                <a:cubicBezTo>
                  <a:pt x="285034" y="44803"/>
                  <a:pt x="322664" y="14305"/>
                  <a:pt x="364778" y="14305"/>
                </a:cubicBezTo>
                <a:cubicBezTo>
                  <a:pt x="418922" y="14305"/>
                  <a:pt x="472065" y="68972"/>
                  <a:pt x="472065" y="124668"/>
                </a:cubicBezTo>
                <a:cubicBezTo>
                  <a:pt x="472065" y="250430"/>
                  <a:pt x="285993" y="408000"/>
                  <a:pt x="243185" y="442575"/>
                </a:cubicBezTo>
                <a:close/>
              </a:path>
            </a:pathLst>
          </a:custGeom>
          <a:solidFill>
            <a:schemeClr val="lt1"/>
          </a:solidFill>
          <a:ln w="9525" cap="flat">
            <a:solidFill>
              <a:schemeClr val="accent5"/>
            </a:solidFill>
            <a:prstDash val="solid"/>
            <a:miter/>
          </a:ln>
        </p:spPr>
        <p:txBody>
          <a:bodyPr rtlCol="0" anchor="ctr"/>
          <a:lstStyle/>
          <a:p>
            <a:endParaRPr lang="en-GB"/>
          </a:p>
        </p:txBody>
      </p:sp>
      <p:sp>
        <p:nvSpPr>
          <p:cNvPr id="153" name="Bild 142" descr="Märke kontur">
            <a:extLst>
              <a:ext uri="{FF2B5EF4-FFF2-40B4-BE49-F238E27FC236}">
                <a16:creationId xmlns:a16="http://schemas.microsoft.com/office/drawing/2014/main" id="{ADF2A171-7FD3-F32A-AB7A-0B02282E73BB}"/>
              </a:ext>
            </a:extLst>
          </p:cNvPr>
          <p:cNvSpPr/>
          <p:nvPr/>
        </p:nvSpPr>
        <p:spPr>
          <a:xfrm>
            <a:off x="8087156" y="6943957"/>
            <a:ext cx="578685" cy="614286"/>
          </a:xfrm>
          <a:custGeom>
            <a:avLst/>
            <a:gdLst>
              <a:gd name="connsiteX0" fmla="*/ 569275 w 578685"/>
              <a:gd name="connsiteY0" fmla="*/ 370947 h 614286"/>
              <a:gd name="connsiteX1" fmla="*/ 335079 w 578685"/>
              <a:gd name="connsiteY1" fmla="*/ 136817 h 614286"/>
              <a:gd name="connsiteX2" fmla="*/ 311663 w 578685"/>
              <a:gd name="connsiteY2" fmla="*/ 126783 h 614286"/>
              <a:gd name="connsiteX3" fmla="*/ 157783 w 578685"/>
              <a:gd name="connsiteY3" fmla="*/ 126783 h 614286"/>
              <a:gd name="connsiteX4" fmla="*/ 151567 w 578685"/>
              <a:gd name="connsiteY4" fmla="*/ 127097 h 614286"/>
              <a:gd name="connsiteX5" fmla="*/ 109710 w 578685"/>
              <a:gd name="connsiteY5" fmla="*/ 92853 h 614286"/>
              <a:gd name="connsiteX6" fmla="*/ 53802 w 578685"/>
              <a:gd name="connsiteY6" fmla="*/ 81678 h 614286"/>
              <a:gd name="connsiteX7" fmla="*/ 20740 w 578685"/>
              <a:gd name="connsiteY7" fmla="*/ 45648 h 614286"/>
              <a:gd name="connsiteX8" fmla="*/ 16483 w 578685"/>
              <a:gd name="connsiteY8" fmla="*/ 7354 h 614286"/>
              <a:gd name="connsiteX9" fmla="*/ 7354 w 578685"/>
              <a:gd name="connsiteY9" fmla="*/ 51 h 614286"/>
              <a:gd name="connsiteX10" fmla="*/ 51 w 578685"/>
              <a:gd name="connsiteY10" fmla="*/ 9181 h 614286"/>
              <a:gd name="connsiteX11" fmla="*/ 4308 w 578685"/>
              <a:gd name="connsiteY11" fmla="*/ 47475 h 614286"/>
              <a:gd name="connsiteX12" fmla="*/ 50529 w 578685"/>
              <a:gd name="connsiteY12" fmla="*/ 97895 h 614286"/>
              <a:gd name="connsiteX13" fmla="*/ 106429 w 578685"/>
              <a:gd name="connsiteY13" fmla="*/ 109070 h 614286"/>
              <a:gd name="connsiteX14" fmla="*/ 135127 w 578685"/>
              <a:gd name="connsiteY14" fmla="*/ 130825 h 614286"/>
              <a:gd name="connsiteX15" fmla="*/ 90832 w 578685"/>
              <a:gd name="connsiteY15" fmla="*/ 193684 h 614286"/>
              <a:gd name="connsiteX16" fmla="*/ 90832 w 578685"/>
              <a:gd name="connsiteY16" fmla="*/ 346696 h 614286"/>
              <a:gd name="connsiteX17" fmla="*/ 100866 w 578685"/>
              <a:gd name="connsiteY17" fmla="*/ 370112 h 614286"/>
              <a:gd name="connsiteX18" fmla="*/ 335029 w 578685"/>
              <a:gd name="connsiteY18" fmla="*/ 604251 h 614286"/>
              <a:gd name="connsiteX19" fmla="*/ 382145 w 578685"/>
              <a:gd name="connsiteY19" fmla="*/ 604802 h 614286"/>
              <a:gd name="connsiteX20" fmla="*/ 382697 w 578685"/>
              <a:gd name="connsiteY20" fmla="*/ 604251 h 614286"/>
              <a:gd name="connsiteX21" fmla="*/ 569275 w 578685"/>
              <a:gd name="connsiteY21" fmla="*/ 417780 h 614286"/>
              <a:gd name="connsiteX22" fmla="*/ 569275 w 578685"/>
              <a:gd name="connsiteY22" fmla="*/ 370947 h 614286"/>
              <a:gd name="connsiteX23" fmla="*/ 557588 w 578685"/>
              <a:gd name="connsiteY23" fmla="*/ 406084 h 614286"/>
              <a:gd name="connsiteX24" fmla="*/ 371059 w 578685"/>
              <a:gd name="connsiteY24" fmla="*/ 592555 h 614286"/>
              <a:gd name="connsiteX25" fmla="*/ 347313 w 578685"/>
              <a:gd name="connsiteY25" fmla="*/ 593101 h 614286"/>
              <a:gd name="connsiteX26" fmla="*/ 346766 w 578685"/>
              <a:gd name="connsiteY26" fmla="*/ 592555 h 614286"/>
              <a:gd name="connsiteX27" fmla="*/ 112603 w 578685"/>
              <a:gd name="connsiteY27" fmla="*/ 358450 h 614286"/>
              <a:gd name="connsiteX28" fmla="*/ 112190 w 578685"/>
              <a:gd name="connsiteY28" fmla="*/ 358037 h 614286"/>
              <a:gd name="connsiteX29" fmla="*/ 111777 w 578685"/>
              <a:gd name="connsiteY29" fmla="*/ 357673 h 614286"/>
              <a:gd name="connsiteX30" fmla="*/ 107388 w 578685"/>
              <a:gd name="connsiteY30" fmla="*/ 346696 h 614286"/>
              <a:gd name="connsiteX31" fmla="*/ 107388 w 578685"/>
              <a:gd name="connsiteY31" fmla="*/ 193676 h 614286"/>
              <a:gd name="connsiteX32" fmla="*/ 139946 w 578685"/>
              <a:gd name="connsiteY32" fmla="*/ 146628 h 614286"/>
              <a:gd name="connsiteX33" fmla="*/ 144012 w 578685"/>
              <a:gd name="connsiteY33" fmla="*/ 166937 h 614286"/>
              <a:gd name="connsiteX34" fmla="*/ 136739 w 578685"/>
              <a:gd name="connsiteY34" fmla="*/ 172268 h 614286"/>
              <a:gd name="connsiteX35" fmla="*/ 136796 w 578685"/>
              <a:gd name="connsiteY35" fmla="*/ 219025 h 614286"/>
              <a:gd name="connsiteX36" fmla="*/ 183552 w 578685"/>
              <a:gd name="connsiteY36" fmla="*/ 218969 h 614286"/>
              <a:gd name="connsiteX37" fmla="*/ 183495 w 578685"/>
              <a:gd name="connsiteY37" fmla="*/ 172211 h 614286"/>
              <a:gd name="connsiteX38" fmla="*/ 160130 w 578685"/>
              <a:gd name="connsiteY38" fmla="*/ 162556 h 614286"/>
              <a:gd name="connsiteX39" fmla="*/ 160006 w 578685"/>
              <a:gd name="connsiteY39" fmla="*/ 162556 h 614286"/>
              <a:gd name="connsiteX40" fmla="*/ 156163 w 578685"/>
              <a:gd name="connsiteY40" fmla="*/ 143347 h 614286"/>
              <a:gd name="connsiteX41" fmla="*/ 157766 w 578685"/>
              <a:gd name="connsiteY41" fmla="*/ 143273 h 614286"/>
              <a:gd name="connsiteX42" fmla="*/ 311663 w 578685"/>
              <a:gd name="connsiteY42" fmla="*/ 143273 h 614286"/>
              <a:gd name="connsiteX43" fmla="*/ 323383 w 578685"/>
              <a:gd name="connsiteY43" fmla="*/ 148463 h 614286"/>
              <a:gd name="connsiteX44" fmla="*/ 557546 w 578685"/>
              <a:gd name="connsiteY44" fmla="*/ 382602 h 614286"/>
              <a:gd name="connsiteX45" fmla="*/ 557546 w 578685"/>
              <a:gd name="connsiteY45" fmla="*/ 406043 h 614286"/>
              <a:gd name="connsiteX46" fmla="*/ 163395 w 578685"/>
              <a:gd name="connsiteY46" fmla="*/ 179434 h 614286"/>
              <a:gd name="connsiteX47" fmla="*/ 176664 w 578685"/>
              <a:gd name="connsiteY47" fmla="*/ 198923 h 614286"/>
              <a:gd name="connsiteX48" fmla="*/ 157175 w 578685"/>
              <a:gd name="connsiteY48" fmla="*/ 212192 h 614286"/>
              <a:gd name="connsiteX49" fmla="*/ 143906 w 578685"/>
              <a:gd name="connsiteY49" fmla="*/ 192703 h 614286"/>
              <a:gd name="connsiteX50" fmla="*/ 147641 w 578685"/>
              <a:gd name="connsiteY50" fmla="*/ 184948 h 614286"/>
              <a:gd name="connsiteX51" fmla="*/ 148997 w 578685"/>
              <a:gd name="connsiteY51" fmla="*/ 191734 h 614286"/>
              <a:gd name="connsiteX52" fmla="*/ 157089 w 578685"/>
              <a:gd name="connsiteY52" fmla="*/ 198346 h 614286"/>
              <a:gd name="connsiteX53" fmla="*/ 158742 w 578685"/>
              <a:gd name="connsiteY53" fmla="*/ 198189 h 614286"/>
              <a:gd name="connsiteX54" fmla="*/ 165222 w 578685"/>
              <a:gd name="connsiteY54" fmla="*/ 188460 h 614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578685" h="614286">
                <a:moveTo>
                  <a:pt x="569275" y="370947"/>
                </a:moveTo>
                <a:lnTo>
                  <a:pt x="335079" y="136817"/>
                </a:lnTo>
                <a:cubicBezTo>
                  <a:pt x="328931" y="130473"/>
                  <a:pt x="320496" y="126859"/>
                  <a:pt x="311663" y="126783"/>
                </a:cubicBezTo>
                <a:lnTo>
                  <a:pt x="157783" y="126783"/>
                </a:lnTo>
                <a:cubicBezTo>
                  <a:pt x="155683" y="126783"/>
                  <a:pt x="153650" y="126907"/>
                  <a:pt x="151567" y="127097"/>
                </a:cubicBezTo>
                <a:cubicBezTo>
                  <a:pt x="144167" y="109439"/>
                  <a:pt x="128484" y="96609"/>
                  <a:pt x="109710" y="92853"/>
                </a:cubicBezTo>
                <a:lnTo>
                  <a:pt x="53802" y="81678"/>
                </a:lnTo>
                <a:cubicBezTo>
                  <a:pt x="36085" y="78195"/>
                  <a:pt x="22691" y="63599"/>
                  <a:pt x="20740" y="45648"/>
                </a:cubicBezTo>
                <a:lnTo>
                  <a:pt x="16483" y="7354"/>
                </a:lnTo>
                <a:cubicBezTo>
                  <a:pt x="15979" y="2816"/>
                  <a:pt x="11892" y="-453"/>
                  <a:pt x="7354" y="51"/>
                </a:cubicBezTo>
                <a:cubicBezTo>
                  <a:pt x="2816" y="556"/>
                  <a:pt x="-453" y="4643"/>
                  <a:pt x="51" y="9181"/>
                </a:cubicBezTo>
                <a:lnTo>
                  <a:pt x="4308" y="47475"/>
                </a:lnTo>
                <a:cubicBezTo>
                  <a:pt x="7030" y="72582"/>
                  <a:pt x="25753" y="93006"/>
                  <a:pt x="50529" y="97895"/>
                </a:cubicBezTo>
                <a:lnTo>
                  <a:pt x="106429" y="109070"/>
                </a:lnTo>
                <a:cubicBezTo>
                  <a:pt x="118823" y="111540"/>
                  <a:pt x="129400" y="119559"/>
                  <a:pt x="135127" y="130825"/>
                </a:cubicBezTo>
                <a:cubicBezTo>
                  <a:pt x="108629" y="140400"/>
                  <a:pt x="90935" y="165509"/>
                  <a:pt x="90832" y="193684"/>
                </a:cubicBezTo>
                <a:lnTo>
                  <a:pt x="90832" y="346696"/>
                </a:lnTo>
                <a:cubicBezTo>
                  <a:pt x="90584" y="355595"/>
                  <a:pt x="94252" y="364155"/>
                  <a:pt x="100866" y="370112"/>
                </a:cubicBezTo>
                <a:lnTo>
                  <a:pt x="335029" y="604251"/>
                </a:lnTo>
                <a:cubicBezTo>
                  <a:pt x="347888" y="617414"/>
                  <a:pt x="368983" y="617661"/>
                  <a:pt x="382145" y="604802"/>
                </a:cubicBezTo>
                <a:cubicBezTo>
                  <a:pt x="382331" y="604620"/>
                  <a:pt x="382515" y="604437"/>
                  <a:pt x="382697" y="604251"/>
                </a:cubicBezTo>
                <a:lnTo>
                  <a:pt x="569275" y="417780"/>
                </a:lnTo>
                <a:cubicBezTo>
                  <a:pt x="581822" y="404691"/>
                  <a:pt x="581822" y="384037"/>
                  <a:pt x="569275" y="370947"/>
                </a:cubicBezTo>
                <a:close/>
                <a:moveTo>
                  <a:pt x="557588" y="406084"/>
                </a:moveTo>
                <a:lnTo>
                  <a:pt x="371059" y="592555"/>
                </a:lnTo>
                <a:cubicBezTo>
                  <a:pt x="364652" y="599263"/>
                  <a:pt x="354021" y="599508"/>
                  <a:pt x="347313" y="593101"/>
                </a:cubicBezTo>
                <a:cubicBezTo>
                  <a:pt x="347126" y="592924"/>
                  <a:pt x="346944" y="592741"/>
                  <a:pt x="346766" y="592555"/>
                </a:cubicBezTo>
                <a:lnTo>
                  <a:pt x="112603" y="358450"/>
                </a:lnTo>
                <a:lnTo>
                  <a:pt x="112190" y="358037"/>
                </a:lnTo>
                <a:lnTo>
                  <a:pt x="111777" y="357673"/>
                </a:lnTo>
                <a:cubicBezTo>
                  <a:pt x="108795" y="354821"/>
                  <a:pt x="107194" y="350817"/>
                  <a:pt x="107388" y="346696"/>
                </a:cubicBezTo>
                <a:lnTo>
                  <a:pt x="107388" y="193676"/>
                </a:lnTo>
                <a:cubicBezTo>
                  <a:pt x="107468" y="172770"/>
                  <a:pt x="120408" y="154070"/>
                  <a:pt x="139946" y="146628"/>
                </a:cubicBezTo>
                <a:lnTo>
                  <a:pt x="144012" y="166937"/>
                </a:lnTo>
                <a:cubicBezTo>
                  <a:pt x="141353" y="168368"/>
                  <a:pt x="138904" y="170162"/>
                  <a:pt x="136739" y="172268"/>
                </a:cubicBezTo>
                <a:cubicBezTo>
                  <a:pt x="123843" y="185196"/>
                  <a:pt x="123868" y="206129"/>
                  <a:pt x="136796" y="219025"/>
                </a:cubicBezTo>
                <a:cubicBezTo>
                  <a:pt x="149722" y="231922"/>
                  <a:pt x="170656" y="231896"/>
                  <a:pt x="183552" y="218969"/>
                </a:cubicBezTo>
                <a:cubicBezTo>
                  <a:pt x="196448" y="206041"/>
                  <a:pt x="196423" y="185108"/>
                  <a:pt x="183495" y="172211"/>
                </a:cubicBezTo>
                <a:cubicBezTo>
                  <a:pt x="177294" y="166024"/>
                  <a:pt x="168890" y="162552"/>
                  <a:pt x="160130" y="162556"/>
                </a:cubicBezTo>
                <a:lnTo>
                  <a:pt x="160006" y="162556"/>
                </a:lnTo>
                <a:lnTo>
                  <a:pt x="156163" y="143347"/>
                </a:lnTo>
                <a:cubicBezTo>
                  <a:pt x="156700" y="143347"/>
                  <a:pt x="157229" y="143273"/>
                  <a:pt x="157766" y="143273"/>
                </a:cubicBezTo>
                <a:lnTo>
                  <a:pt x="311663" y="143273"/>
                </a:lnTo>
                <a:cubicBezTo>
                  <a:pt x="316110" y="143348"/>
                  <a:pt x="320338" y="145220"/>
                  <a:pt x="323383" y="148463"/>
                </a:cubicBezTo>
                <a:lnTo>
                  <a:pt x="557546" y="382602"/>
                </a:lnTo>
                <a:cubicBezTo>
                  <a:pt x="563619" y="389236"/>
                  <a:pt x="563619" y="399409"/>
                  <a:pt x="557546" y="406043"/>
                </a:cubicBezTo>
                <a:close/>
                <a:moveTo>
                  <a:pt x="163395" y="179434"/>
                </a:moveTo>
                <a:cubicBezTo>
                  <a:pt x="172441" y="181152"/>
                  <a:pt x="178381" y="189877"/>
                  <a:pt x="176664" y="198923"/>
                </a:cubicBezTo>
                <a:cubicBezTo>
                  <a:pt x="174946" y="207970"/>
                  <a:pt x="166221" y="213910"/>
                  <a:pt x="157175" y="212192"/>
                </a:cubicBezTo>
                <a:cubicBezTo>
                  <a:pt x="148130" y="210475"/>
                  <a:pt x="142188" y="201749"/>
                  <a:pt x="143906" y="192703"/>
                </a:cubicBezTo>
                <a:cubicBezTo>
                  <a:pt x="144451" y="189836"/>
                  <a:pt x="145738" y="187161"/>
                  <a:pt x="147641" y="184948"/>
                </a:cubicBezTo>
                <a:lnTo>
                  <a:pt x="148997" y="191734"/>
                </a:lnTo>
                <a:cubicBezTo>
                  <a:pt x="149782" y="195580"/>
                  <a:pt x="153163" y="198343"/>
                  <a:pt x="157089" y="198346"/>
                </a:cubicBezTo>
                <a:cubicBezTo>
                  <a:pt x="157643" y="198348"/>
                  <a:pt x="158197" y="198295"/>
                  <a:pt x="158742" y="198189"/>
                </a:cubicBezTo>
                <a:cubicBezTo>
                  <a:pt x="163217" y="197292"/>
                  <a:pt x="166119" y="192936"/>
                  <a:pt x="165222" y="188460"/>
                </a:cubicBezTo>
                <a:close/>
              </a:path>
            </a:pathLst>
          </a:custGeom>
          <a:solidFill>
            <a:schemeClr val="lt1"/>
          </a:solidFill>
          <a:ln w="10980" cap="flat">
            <a:solidFill>
              <a:schemeClr val="accent5"/>
            </a:solidFill>
            <a:prstDash val="solid"/>
            <a:miter/>
          </a:ln>
        </p:spPr>
        <p:txBody>
          <a:bodyPr rtlCol="0" anchor="ctr"/>
          <a:lstStyle/>
          <a:p>
            <a:endParaRPr lang="en-GB"/>
          </a:p>
        </p:txBody>
      </p:sp>
    </p:spTree>
    <p:extLst>
      <p:ext uri="{BB962C8B-B14F-4D97-AF65-F5344CB8AC3E}">
        <p14:creationId xmlns:p14="http://schemas.microsoft.com/office/powerpoint/2010/main" val="60891071"/>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1" name="Picture 12">
            <a:extLst>
              <a:ext uri="{FF2B5EF4-FFF2-40B4-BE49-F238E27FC236}">
                <a16:creationId xmlns:a16="http://schemas.microsoft.com/office/drawing/2014/main" id="{43802E0E-B79D-4EA7-8141-0CA3ED138B1A}"/>
              </a:ext>
            </a:extLst>
          </p:cNvPr>
          <p:cNvPicPr>
            <a:picLocks noChangeAspect="1"/>
          </p:cNvPicPr>
          <p:nvPr/>
        </p:nvPicPr>
        <p:blipFill>
          <a:blip r:embed="rId3"/>
          <a:srcRect/>
          <a:stretch>
            <a:fillRect/>
          </a:stretch>
        </p:blipFill>
        <p:spPr>
          <a:xfrm>
            <a:off x="0" y="8993140"/>
            <a:ext cx="5715000" cy="1385887"/>
          </a:xfrm>
          <a:prstGeom prst="rect">
            <a:avLst/>
          </a:prstGeom>
        </p:spPr>
      </p:pic>
      <p:grpSp>
        <p:nvGrpSpPr>
          <p:cNvPr id="132" name="Gruppo 2">
            <a:extLst>
              <a:ext uri="{FF2B5EF4-FFF2-40B4-BE49-F238E27FC236}">
                <a16:creationId xmlns:a16="http://schemas.microsoft.com/office/drawing/2014/main" id="{649928F6-6E82-4611-9715-AD3C75457C28}"/>
              </a:ext>
            </a:extLst>
          </p:cNvPr>
          <p:cNvGrpSpPr/>
          <p:nvPr/>
        </p:nvGrpSpPr>
        <p:grpSpPr>
          <a:xfrm>
            <a:off x="-12" y="138554"/>
            <a:ext cx="18288002" cy="681138"/>
            <a:chOff x="-12" y="138554"/>
            <a:chExt cx="18288002" cy="681138"/>
          </a:xfrm>
        </p:grpSpPr>
        <p:grpSp>
          <p:nvGrpSpPr>
            <p:cNvPr id="133" name="Gruppo 1">
              <a:extLst>
                <a:ext uri="{FF2B5EF4-FFF2-40B4-BE49-F238E27FC236}">
                  <a16:creationId xmlns:a16="http://schemas.microsoft.com/office/drawing/2014/main" id="{A8EB8794-E5C6-45EB-BAEC-2778E982797A}"/>
                </a:ext>
              </a:extLst>
            </p:cNvPr>
            <p:cNvGrpSpPr/>
            <p:nvPr/>
          </p:nvGrpSpPr>
          <p:grpSpPr>
            <a:xfrm>
              <a:off x="0" y="153125"/>
              <a:ext cx="17907000" cy="666567"/>
              <a:chOff x="0" y="153125"/>
              <a:chExt cx="17907000" cy="666567"/>
            </a:xfrm>
          </p:grpSpPr>
          <p:grpSp>
            <p:nvGrpSpPr>
              <p:cNvPr id="135" name="Gruppo 15">
                <a:extLst>
                  <a:ext uri="{FF2B5EF4-FFF2-40B4-BE49-F238E27FC236}">
                    <a16:creationId xmlns:a16="http://schemas.microsoft.com/office/drawing/2014/main" id="{AB129748-9FD7-458D-BD6E-304271C1814A}"/>
                  </a:ext>
                </a:extLst>
              </p:cNvPr>
              <p:cNvGrpSpPr/>
              <p:nvPr/>
            </p:nvGrpSpPr>
            <p:grpSpPr>
              <a:xfrm>
                <a:off x="0" y="153125"/>
                <a:ext cx="13958844" cy="666567"/>
                <a:chOff x="0" y="153125"/>
                <a:chExt cx="13958844" cy="666567"/>
              </a:xfrm>
            </p:grpSpPr>
            <p:pic>
              <p:nvPicPr>
                <p:cNvPr id="137" name="Picture 136">
                  <a:extLst>
                    <a:ext uri="{FF2B5EF4-FFF2-40B4-BE49-F238E27FC236}">
                      <a16:creationId xmlns:a16="http://schemas.microsoft.com/office/drawing/2014/main" id="{88E31CFD-796F-4F3F-A1EC-0E38F9D83456}"/>
                    </a:ext>
                  </a:extLst>
                </p:cNvPr>
                <p:cNvPicPr>
                  <a:picLocks noChangeAspect="1"/>
                </p:cNvPicPr>
                <p:nvPr/>
              </p:nvPicPr>
              <p:blipFill>
                <a:blip r:embed="rId4"/>
                <a:srcRect l="134" t="91287" b="3943"/>
                <a:stretch>
                  <a:fillRect/>
                </a:stretch>
              </p:blipFill>
              <p:spPr>
                <a:xfrm>
                  <a:off x="0" y="153125"/>
                  <a:ext cx="13958844" cy="666567"/>
                </a:xfrm>
                <a:prstGeom prst="rect">
                  <a:avLst/>
                </a:prstGeom>
              </p:spPr>
            </p:pic>
            <p:sp>
              <p:nvSpPr>
                <p:cNvPr id="138" name="TextBox 137">
                  <a:extLst>
                    <a:ext uri="{FF2B5EF4-FFF2-40B4-BE49-F238E27FC236}">
                      <a16:creationId xmlns:a16="http://schemas.microsoft.com/office/drawing/2014/main" id="{7694DADD-E227-40A7-A98D-244B0D207E54}"/>
                    </a:ext>
                  </a:extLst>
                </p:cNvPr>
                <p:cNvSpPr txBox="1"/>
                <p:nvPr/>
              </p:nvSpPr>
              <p:spPr>
                <a:xfrm>
                  <a:off x="228600" y="257980"/>
                  <a:ext cx="9296400" cy="456856"/>
                </a:xfrm>
                <a:prstGeom prst="rect">
                  <a:avLst/>
                </a:prstGeom>
              </p:spPr>
              <p:txBody>
                <a:bodyPr wrap="square" lIns="0" tIns="0" rIns="0" bIns="0" rtlCol="0" anchor="t">
                  <a:spAutoFit/>
                </a:bodyPr>
                <a:lstStyle/>
                <a:p>
                  <a:pPr marL="0" marR="0" lvl="0" indent="0" algn="l" defTabSz="914400" rtl="0" eaLnBrk="1" fontAlgn="auto" latinLnBrk="0" hangingPunct="1">
                    <a:lnSpc>
                      <a:spcPts val="3919"/>
                    </a:lnSpc>
                    <a:spcBef>
                      <a:spcPct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36" name="TextBox 135">
                <a:extLst>
                  <a:ext uri="{FF2B5EF4-FFF2-40B4-BE49-F238E27FC236}">
                    <a16:creationId xmlns:a16="http://schemas.microsoft.com/office/drawing/2014/main" id="{4B3CCEBB-60EF-4175-9878-F0D51FD80FF0}"/>
                  </a:ext>
                </a:extLst>
              </p:cNvPr>
              <p:cNvSpPr txBox="1"/>
              <p:nvPr/>
            </p:nvSpPr>
            <p:spPr>
              <a:xfrm>
                <a:off x="12154296" y="257980"/>
                <a:ext cx="5752704" cy="456856"/>
              </a:xfrm>
              <a:prstGeom prst="rect">
                <a:avLst/>
              </a:prstGeom>
            </p:spPr>
            <p:txBody>
              <a:bodyPr wrap="square" lIns="0" tIns="0" rIns="0" bIns="0" rtlCol="0" anchor="t">
                <a:spAutoFit/>
              </a:bodyPr>
              <a:lstStyle/>
              <a:p>
                <a:pPr marL="0" marR="0" lvl="0" indent="0" algn="r" defTabSz="914400" rtl="0" eaLnBrk="1" fontAlgn="auto" latinLnBrk="0" hangingPunct="1">
                  <a:lnSpc>
                    <a:spcPts val="3919"/>
                  </a:lnSpc>
                  <a:spcBef>
                    <a:spcPct val="0"/>
                  </a:spcBef>
                  <a:spcAft>
                    <a:spcPts val="0"/>
                  </a:spcAft>
                  <a:buClrTx/>
                  <a:buSzTx/>
                  <a:buFontTx/>
                  <a:buNone/>
                  <a:tabLst/>
                  <a:defRPr/>
                </a:pPr>
                <a:endParaRPr kumimoji="0" lang="en-US" sz="2800" b="0" i="0" u="none" strike="noStrike" kern="1200" cap="none" spc="0" normalizeH="0" baseline="0" noProof="0">
                  <a:ln>
                    <a:noFill/>
                  </a:ln>
                  <a:solidFill>
                    <a:srgbClr val="2F2F2F">
                      <a:lumMod val="75000"/>
                      <a:lumOff val="25000"/>
                    </a:srgbClr>
                  </a:solidFill>
                  <a:effectLst/>
                  <a:uLnTx/>
                  <a:uFillTx/>
                  <a:latin typeface="Arial" panose="020B0604020202020204" pitchFamily="34" charset="0"/>
                  <a:ea typeface="+mn-ea"/>
                  <a:cs typeface="Arial" panose="020B0604020202020204" pitchFamily="34" charset="0"/>
                </a:endParaRPr>
              </a:p>
            </p:txBody>
          </p:sp>
        </p:grpSp>
        <p:sp>
          <p:nvSpPr>
            <p:cNvPr id="134" name="Rettangolo 13">
              <a:extLst>
                <a:ext uri="{FF2B5EF4-FFF2-40B4-BE49-F238E27FC236}">
                  <a16:creationId xmlns:a16="http://schemas.microsoft.com/office/drawing/2014/main" id="{8F0CF2A7-592A-4287-9206-D3289F1B0C37}"/>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pic>
        <p:nvPicPr>
          <p:cNvPr id="139" name="Picture 12">
            <a:extLst>
              <a:ext uri="{FF2B5EF4-FFF2-40B4-BE49-F238E27FC236}">
                <a16:creationId xmlns:a16="http://schemas.microsoft.com/office/drawing/2014/main" id="{F047215A-40D8-4A57-BE02-5E03FCEEBB7B}"/>
              </a:ext>
            </a:extLst>
          </p:cNvPr>
          <p:cNvPicPr>
            <a:picLocks noChangeAspect="1"/>
          </p:cNvPicPr>
          <p:nvPr/>
        </p:nvPicPr>
        <p:blipFill>
          <a:blip r:embed="rId5"/>
          <a:srcRect l="134" t="91287" b="3943"/>
          <a:stretch>
            <a:fillRect/>
          </a:stretch>
        </p:blipFill>
        <p:spPr>
          <a:xfrm rot="10800000">
            <a:off x="4329146" y="9797731"/>
            <a:ext cx="13958844" cy="666567"/>
          </a:xfrm>
          <a:prstGeom prst="rect">
            <a:avLst/>
          </a:prstGeom>
        </p:spPr>
      </p:pic>
      <p:sp>
        <p:nvSpPr>
          <p:cNvPr id="4" name="TextBox 3">
            <a:extLst>
              <a:ext uri="{FF2B5EF4-FFF2-40B4-BE49-F238E27FC236}">
                <a16:creationId xmlns:a16="http://schemas.microsoft.com/office/drawing/2014/main" id="{E2A6C351-D084-461B-85B4-078A69C47372}"/>
              </a:ext>
            </a:extLst>
          </p:cNvPr>
          <p:cNvSpPr txBox="1"/>
          <p:nvPr/>
        </p:nvSpPr>
        <p:spPr>
          <a:xfrm>
            <a:off x="1073179" y="1087343"/>
            <a:ext cx="18552623" cy="76944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400" b="1" i="0" u="none" strike="noStrike" kern="1200" cap="none" spc="0" normalizeH="0" baseline="0" noProof="0" dirty="0">
                <a:ln>
                  <a:noFill/>
                </a:ln>
                <a:solidFill>
                  <a:srgbClr val="CC0033"/>
                </a:solidFill>
                <a:effectLst/>
                <a:uLnTx/>
                <a:uFillTx/>
                <a:latin typeface="Arial"/>
                <a:ea typeface="+mn-ea"/>
                <a:cs typeface="Arial" panose="020B0604020202020204" pitchFamily="34" charset="0"/>
              </a:rPr>
              <a:t>Why using Business </a:t>
            </a:r>
            <a:r>
              <a:rPr lang="en-GB" sz="4400" b="1" dirty="0">
                <a:solidFill>
                  <a:srgbClr val="CC0033"/>
                </a:solidFill>
                <a:latin typeface="Arial"/>
                <a:cs typeface="Arial" panose="020B0604020202020204" pitchFamily="34" charset="0"/>
              </a:rPr>
              <a:t>M</a:t>
            </a:r>
            <a:r>
              <a:rPr kumimoji="0" lang="en-GB" sz="4400" b="1" i="0" u="none" strike="noStrike" kern="1200" cap="none" spc="0" normalizeH="0" baseline="0" noProof="0" dirty="0" err="1">
                <a:ln>
                  <a:noFill/>
                </a:ln>
                <a:solidFill>
                  <a:srgbClr val="CC0033"/>
                </a:solidFill>
                <a:effectLst/>
                <a:uLnTx/>
                <a:uFillTx/>
                <a:latin typeface="Arial"/>
                <a:ea typeface="+mn-ea"/>
                <a:cs typeface="Arial" panose="020B0604020202020204" pitchFamily="34" charset="0"/>
              </a:rPr>
              <a:t>odel</a:t>
            </a:r>
            <a:r>
              <a:rPr kumimoji="0" lang="en-GB" sz="4400" b="1" i="0" u="none" strike="noStrike" kern="1200" cap="none" spc="0" normalizeH="0" baseline="0" noProof="0" dirty="0">
                <a:ln>
                  <a:noFill/>
                </a:ln>
                <a:solidFill>
                  <a:srgbClr val="CC0033"/>
                </a:solidFill>
                <a:effectLst/>
                <a:uLnTx/>
                <a:uFillTx/>
                <a:latin typeface="Arial"/>
                <a:ea typeface="+mn-ea"/>
                <a:cs typeface="Arial" panose="020B0604020202020204" pitchFamily="34" charset="0"/>
              </a:rPr>
              <a:t> Canvas (BMC)?</a:t>
            </a:r>
            <a:endParaRPr kumimoji="0" lang="sv-SE" sz="4400" b="1" i="0" u="none" strike="noStrike" kern="1200" cap="none" spc="0" normalizeH="0" baseline="0" noProof="0" dirty="0">
              <a:ln>
                <a:noFill/>
              </a:ln>
              <a:solidFill>
                <a:srgbClr val="CC0033"/>
              </a:solidFill>
              <a:effectLst/>
              <a:uLnTx/>
              <a:uFillTx/>
              <a:latin typeface="Arial"/>
              <a:ea typeface="+mn-ea"/>
              <a:cs typeface="Arial" panose="020B0604020202020204" pitchFamily="34" charset="0"/>
            </a:endParaRPr>
          </a:p>
        </p:txBody>
      </p:sp>
      <p:grpSp>
        <p:nvGrpSpPr>
          <p:cNvPr id="26" name="Bild 30" descr="Användare kontur">
            <a:extLst>
              <a:ext uri="{FF2B5EF4-FFF2-40B4-BE49-F238E27FC236}">
                <a16:creationId xmlns:a16="http://schemas.microsoft.com/office/drawing/2014/main" id="{15F151AF-C350-35F1-76E9-9485C13CCE74}"/>
              </a:ext>
            </a:extLst>
          </p:cNvPr>
          <p:cNvGrpSpPr/>
          <p:nvPr/>
        </p:nvGrpSpPr>
        <p:grpSpPr>
          <a:xfrm>
            <a:off x="16359558" y="2577865"/>
            <a:ext cx="524545" cy="318468"/>
            <a:chOff x="15656170" y="2577865"/>
            <a:chExt cx="524545" cy="318468"/>
          </a:xfrm>
          <a:solidFill>
            <a:schemeClr val="lt1"/>
          </a:solidFill>
        </p:grpSpPr>
        <p:sp>
          <p:nvSpPr>
            <p:cNvPr id="28" name="Frihandsfigur: Form 27">
              <a:extLst>
                <a:ext uri="{FF2B5EF4-FFF2-40B4-BE49-F238E27FC236}">
                  <a16:creationId xmlns:a16="http://schemas.microsoft.com/office/drawing/2014/main" id="{7D650F77-AFDA-31A6-8AC2-EA38A0676252}"/>
                </a:ext>
              </a:extLst>
            </p:cNvPr>
            <p:cNvSpPr/>
            <p:nvPr/>
          </p:nvSpPr>
          <p:spPr>
            <a:xfrm>
              <a:off x="15712326" y="2577865"/>
              <a:ext cx="112411" cy="112411"/>
            </a:xfrm>
            <a:custGeom>
              <a:avLst/>
              <a:gdLst>
                <a:gd name="connsiteX0" fmla="*/ 56206 w 112411"/>
                <a:gd name="connsiteY0" fmla="*/ 112412 h 112411"/>
                <a:gd name="connsiteX1" fmla="*/ 112412 w 112411"/>
                <a:gd name="connsiteY1" fmla="*/ 56206 h 112411"/>
                <a:gd name="connsiteX2" fmla="*/ 56206 w 112411"/>
                <a:gd name="connsiteY2" fmla="*/ 0 h 112411"/>
                <a:gd name="connsiteX3" fmla="*/ 0 w 112411"/>
                <a:gd name="connsiteY3" fmla="*/ 56206 h 112411"/>
                <a:gd name="connsiteX4" fmla="*/ 56206 w 112411"/>
                <a:gd name="connsiteY4" fmla="*/ 112412 h 112411"/>
                <a:gd name="connsiteX5" fmla="*/ 56206 w 112411"/>
                <a:gd name="connsiteY5" fmla="*/ 12459 h 112411"/>
                <a:gd name="connsiteX6" fmla="*/ 99922 w 112411"/>
                <a:gd name="connsiteY6" fmla="*/ 56175 h 112411"/>
                <a:gd name="connsiteX7" fmla="*/ 56206 w 112411"/>
                <a:gd name="connsiteY7" fmla="*/ 99890 h 112411"/>
                <a:gd name="connsiteX8" fmla="*/ 12490 w 112411"/>
                <a:gd name="connsiteY8" fmla="*/ 56175 h 112411"/>
                <a:gd name="connsiteX9" fmla="*/ 56206 w 112411"/>
                <a:gd name="connsiteY9" fmla="*/ 12459 h 112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2411" h="112411">
                  <a:moveTo>
                    <a:pt x="56206" y="112412"/>
                  </a:moveTo>
                  <a:cubicBezTo>
                    <a:pt x="87248" y="112412"/>
                    <a:pt x="112412" y="87248"/>
                    <a:pt x="112412" y="56206"/>
                  </a:cubicBezTo>
                  <a:cubicBezTo>
                    <a:pt x="112412" y="25164"/>
                    <a:pt x="87248" y="0"/>
                    <a:pt x="56206" y="0"/>
                  </a:cubicBezTo>
                  <a:cubicBezTo>
                    <a:pt x="25164" y="0"/>
                    <a:pt x="0" y="25164"/>
                    <a:pt x="0" y="56206"/>
                  </a:cubicBezTo>
                  <a:cubicBezTo>
                    <a:pt x="0" y="87248"/>
                    <a:pt x="25164" y="112412"/>
                    <a:pt x="56206" y="112412"/>
                  </a:cubicBezTo>
                  <a:close/>
                  <a:moveTo>
                    <a:pt x="56206" y="12459"/>
                  </a:moveTo>
                  <a:cubicBezTo>
                    <a:pt x="80349" y="12459"/>
                    <a:pt x="99922" y="32031"/>
                    <a:pt x="99922" y="56175"/>
                  </a:cubicBezTo>
                  <a:cubicBezTo>
                    <a:pt x="99922" y="80318"/>
                    <a:pt x="80349" y="99890"/>
                    <a:pt x="56206" y="99890"/>
                  </a:cubicBezTo>
                  <a:cubicBezTo>
                    <a:pt x="32062" y="99890"/>
                    <a:pt x="12490" y="80318"/>
                    <a:pt x="12490" y="56175"/>
                  </a:cubicBezTo>
                  <a:cubicBezTo>
                    <a:pt x="12521" y="32044"/>
                    <a:pt x="32075" y="12490"/>
                    <a:pt x="56206" y="12459"/>
                  </a:cubicBezTo>
                  <a:close/>
                </a:path>
              </a:pathLst>
            </a:custGeom>
            <a:solidFill>
              <a:schemeClr val="lt1"/>
            </a:solidFill>
            <a:ln w="8202" cap="flat">
              <a:solidFill>
                <a:schemeClr val="accent5"/>
              </a:solidFill>
              <a:prstDash val="solid"/>
              <a:miter/>
            </a:ln>
          </p:spPr>
          <p:txBody>
            <a:bodyPr rtlCol="0" anchor="ctr"/>
            <a:lstStyle/>
            <a:p>
              <a:endParaRPr lang="en-GB"/>
            </a:p>
          </p:txBody>
        </p:sp>
        <p:sp>
          <p:nvSpPr>
            <p:cNvPr id="29" name="Frihandsfigur: Form 28">
              <a:extLst>
                <a:ext uri="{FF2B5EF4-FFF2-40B4-BE49-F238E27FC236}">
                  <a16:creationId xmlns:a16="http://schemas.microsoft.com/office/drawing/2014/main" id="{4B99B03B-13CD-924C-966D-3205B0CD8460}"/>
                </a:ext>
              </a:extLst>
            </p:cNvPr>
            <p:cNvSpPr/>
            <p:nvPr/>
          </p:nvSpPr>
          <p:spPr>
            <a:xfrm>
              <a:off x="16012090" y="2577865"/>
              <a:ext cx="112411" cy="112411"/>
            </a:xfrm>
            <a:custGeom>
              <a:avLst/>
              <a:gdLst>
                <a:gd name="connsiteX0" fmla="*/ 56206 w 112411"/>
                <a:gd name="connsiteY0" fmla="*/ 112412 h 112411"/>
                <a:gd name="connsiteX1" fmla="*/ 112412 w 112411"/>
                <a:gd name="connsiteY1" fmla="*/ 56206 h 112411"/>
                <a:gd name="connsiteX2" fmla="*/ 56206 w 112411"/>
                <a:gd name="connsiteY2" fmla="*/ 0 h 112411"/>
                <a:gd name="connsiteX3" fmla="*/ 0 w 112411"/>
                <a:gd name="connsiteY3" fmla="*/ 56206 h 112411"/>
                <a:gd name="connsiteX4" fmla="*/ 56206 w 112411"/>
                <a:gd name="connsiteY4" fmla="*/ 112412 h 112411"/>
                <a:gd name="connsiteX5" fmla="*/ 56206 w 112411"/>
                <a:gd name="connsiteY5" fmla="*/ 12459 h 112411"/>
                <a:gd name="connsiteX6" fmla="*/ 99922 w 112411"/>
                <a:gd name="connsiteY6" fmla="*/ 56175 h 112411"/>
                <a:gd name="connsiteX7" fmla="*/ 56206 w 112411"/>
                <a:gd name="connsiteY7" fmla="*/ 99890 h 112411"/>
                <a:gd name="connsiteX8" fmla="*/ 12490 w 112411"/>
                <a:gd name="connsiteY8" fmla="*/ 56175 h 112411"/>
                <a:gd name="connsiteX9" fmla="*/ 56206 w 112411"/>
                <a:gd name="connsiteY9" fmla="*/ 12459 h 112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2411" h="112411">
                  <a:moveTo>
                    <a:pt x="56206" y="112412"/>
                  </a:moveTo>
                  <a:cubicBezTo>
                    <a:pt x="87248" y="112412"/>
                    <a:pt x="112412" y="87248"/>
                    <a:pt x="112412" y="56206"/>
                  </a:cubicBezTo>
                  <a:cubicBezTo>
                    <a:pt x="112412" y="25164"/>
                    <a:pt x="87248" y="0"/>
                    <a:pt x="56206" y="0"/>
                  </a:cubicBezTo>
                  <a:cubicBezTo>
                    <a:pt x="25164" y="0"/>
                    <a:pt x="0" y="25164"/>
                    <a:pt x="0" y="56206"/>
                  </a:cubicBezTo>
                  <a:cubicBezTo>
                    <a:pt x="0" y="87248"/>
                    <a:pt x="25164" y="112412"/>
                    <a:pt x="56206" y="112412"/>
                  </a:cubicBezTo>
                  <a:close/>
                  <a:moveTo>
                    <a:pt x="56206" y="12459"/>
                  </a:moveTo>
                  <a:cubicBezTo>
                    <a:pt x="80349" y="12459"/>
                    <a:pt x="99922" y="32031"/>
                    <a:pt x="99922" y="56175"/>
                  </a:cubicBezTo>
                  <a:cubicBezTo>
                    <a:pt x="99922" y="80318"/>
                    <a:pt x="80349" y="99890"/>
                    <a:pt x="56206" y="99890"/>
                  </a:cubicBezTo>
                  <a:cubicBezTo>
                    <a:pt x="32062" y="99890"/>
                    <a:pt x="12490" y="80318"/>
                    <a:pt x="12490" y="56175"/>
                  </a:cubicBezTo>
                  <a:cubicBezTo>
                    <a:pt x="12521" y="32044"/>
                    <a:pt x="32075" y="12490"/>
                    <a:pt x="56206" y="12459"/>
                  </a:cubicBezTo>
                  <a:close/>
                </a:path>
              </a:pathLst>
            </a:custGeom>
            <a:solidFill>
              <a:schemeClr val="lt1"/>
            </a:solidFill>
            <a:ln w="8202" cap="flat">
              <a:solidFill>
                <a:schemeClr val="accent5"/>
              </a:solidFill>
              <a:prstDash val="solid"/>
              <a:miter/>
            </a:ln>
          </p:spPr>
          <p:txBody>
            <a:bodyPr rtlCol="0" anchor="ctr"/>
            <a:lstStyle/>
            <a:p>
              <a:endParaRPr lang="en-GB"/>
            </a:p>
          </p:txBody>
        </p:sp>
        <p:sp>
          <p:nvSpPr>
            <p:cNvPr id="30" name="Frihandsfigur: Form 29">
              <a:extLst>
                <a:ext uri="{FF2B5EF4-FFF2-40B4-BE49-F238E27FC236}">
                  <a16:creationId xmlns:a16="http://schemas.microsoft.com/office/drawing/2014/main" id="{472C9CF1-AABD-DA28-61FF-C06ABA2CC6DA}"/>
                </a:ext>
              </a:extLst>
            </p:cNvPr>
            <p:cNvSpPr/>
            <p:nvPr/>
          </p:nvSpPr>
          <p:spPr>
            <a:xfrm>
              <a:off x="15991176" y="2703922"/>
              <a:ext cx="189539" cy="106166"/>
            </a:xfrm>
            <a:custGeom>
              <a:avLst/>
              <a:gdLst>
                <a:gd name="connsiteX0" fmla="*/ 176418 w 189539"/>
                <a:gd name="connsiteY0" fmla="*/ 33093 h 106166"/>
                <a:gd name="connsiteX1" fmla="*/ 122416 w 189539"/>
                <a:gd name="connsiteY1" fmla="*/ 7294 h 106166"/>
                <a:gd name="connsiteX2" fmla="*/ 77121 w 189539"/>
                <a:gd name="connsiteY2" fmla="*/ 0 h 106166"/>
                <a:gd name="connsiteX3" fmla="*/ 31962 w 189539"/>
                <a:gd name="connsiteY3" fmla="*/ 7263 h 106166"/>
                <a:gd name="connsiteX4" fmla="*/ 2048 w 189539"/>
                <a:gd name="connsiteY4" fmla="*/ 18660 h 106166"/>
                <a:gd name="connsiteX5" fmla="*/ 0 w 189539"/>
                <a:gd name="connsiteY5" fmla="*/ 33898 h 106166"/>
                <a:gd name="connsiteX6" fmla="*/ 35460 w 189539"/>
                <a:gd name="connsiteY6" fmla="*/ 19247 h 106166"/>
                <a:gd name="connsiteX7" fmla="*/ 77121 w 189539"/>
                <a:gd name="connsiteY7" fmla="*/ 12490 h 106166"/>
                <a:gd name="connsiteX8" fmla="*/ 119238 w 189539"/>
                <a:gd name="connsiteY8" fmla="*/ 19360 h 106166"/>
                <a:gd name="connsiteX9" fmla="*/ 168649 w 189539"/>
                <a:gd name="connsiteY9" fmla="*/ 42873 h 106166"/>
                <a:gd name="connsiteX10" fmla="*/ 169186 w 189539"/>
                <a:gd name="connsiteY10" fmla="*/ 43272 h 106166"/>
                <a:gd name="connsiteX11" fmla="*/ 177042 w 189539"/>
                <a:gd name="connsiteY11" fmla="*/ 59328 h 106166"/>
                <a:gd name="connsiteX12" fmla="*/ 177042 w 189539"/>
                <a:gd name="connsiteY12" fmla="*/ 106167 h 106166"/>
                <a:gd name="connsiteX13" fmla="*/ 189532 w 189539"/>
                <a:gd name="connsiteY13" fmla="*/ 106167 h 106166"/>
                <a:gd name="connsiteX14" fmla="*/ 189532 w 189539"/>
                <a:gd name="connsiteY14" fmla="*/ 59328 h 106166"/>
                <a:gd name="connsiteX15" fmla="*/ 176418 w 189539"/>
                <a:gd name="connsiteY15" fmla="*/ 33093 h 106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9539" h="106166">
                  <a:moveTo>
                    <a:pt x="176418" y="33093"/>
                  </a:moveTo>
                  <a:cubicBezTo>
                    <a:pt x="160500" y="20680"/>
                    <a:pt x="142074" y="11877"/>
                    <a:pt x="122416" y="7294"/>
                  </a:cubicBezTo>
                  <a:cubicBezTo>
                    <a:pt x="107700" y="2900"/>
                    <a:pt x="92472" y="447"/>
                    <a:pt x="77121" y="0"/>
                  </a:cubicBezTo>
                  <a:cubicBezTo>
                    <a:pt x="61778" y="16"/>
                    <a:pt x="46536" y="2467"/>
                    <a:pt x="31962" y="7263"/>
                  </a:cubicBezTo>
                  <a:cubicBezTo>
                    <a:pt x="21601" y="9945"/>
                    <a:pt x="11568" y="13768"/>
                    <a:pt x="2048" y="18660"/>
                  </a:cubicBezTo>
                  <a:cubicBezTo>
                    <a:pt x="1895" y="23797"/>
                    <a:pt x="1209" y="28904"/>
                    <a:pt x="0" y="33898"/>
                  </a:cubicBezTo>
                  <a:cubicBezTo>
                    <a:pt x="11106" y="27440"/>
                    <a:pt x="23034" y="22512"/>
                    <a:pt x="35460" y="19247"/>
                  </a:cubicBezTo>
                  <a:cubicBezTo>
                    <a:pt x="48907" y="14829"/>
                    <a:pt x="62966" y="12549"/>
                    <a:pt x="77121" y="12490"/>
                  </a:cubicBezTo>
                  <a:cubicBezTo>
                    <a:pt x="91398" y="12950"/>
                    <a:pt x="105555" y="15259"/>
                    <a:pt x="119238" y="19360"/>
                  </a:cubicBezTo>
                  <a:cubicBezTo>
                    <a:pt x="137227" y="23496"/>
                    <a:pt x="154092" y="31521"/>
                    <a:pt x="168649" y="42873"/>
                  </a:cubicBezTo>
                  <a:lnTo>
                    <a:pt x="169186" y="43272"/>
                  </a:lnTo>
                  <a:cubicBezTo>
                    <a:pt x="174322" y="46976"/>
                    <a:pt x="177270" y="53000"/>
                    <a:pt x="177042" y="59328"/>
                  </a:cubicBezTo>
                  <a:lnTo>
                    <a:pt x="177042" y="106167"/>
                  </a:lnTo>
                  <a:lnTo>
                    <a:pt x="189532" y="106167"/>
                  </a:lnTo>
                  <a:lnTo>
                    <a:pt x="189532" y="59328"/>
                  </a:lnTo>
                  <a:cubicBezTo>
                    <a:pt x="189760" y="48954"/>
                    <a:pt x="184852" y="39136"/>
                    <a:pt x="176418" y="33093"/>
                  </a:cubicBezTo>
                  <a:close/>
                </a:path>
              </a:pathLst>
            </a:custGeom>
            <a:solidFill>
              <a:schemeClr val="lt1"/>
            </a:solidFill>
            <a:ln w="8202" cap="flat">
              <a:solidFill>
                <a:schemeClr val="accent5"/>
              </a:solidFill>
              <a:prstDash val="solid"/>
              <a:miter/>
            </a:ln>
          </p:spPr>
          <p:txBody>
            <a:bodyPr rtlCol="0" anchor="ctr"/>
            <a:lstStyle/>
            <a:p>
              <a:endParaRPr lang="en-GB"/>
            </a:p>
          </p:txBody>
        </p:sp>
        <p:sp>
          <p:nvSpPr>
            <p:cNvPr id="128" name="Frihandsfigur: Form 127">
              <a:extLst>
                <a:ext uri="{FF2B5EF4-FFF2-40B4-BE49-F238E27FC236}">
                  <a16:creationId xmlns:a16="http://schemas.microsoft.com/office/drawing/2014/main" id="{1B4F580E-026C-061C-713B-BBD74BBB53B0}"/>
                </a:ext>
              </a:extLst>
            </p:cNvPr>
            <p:cNvSpPr/>
            <p:nvPr/>
          </p:nvSpPr>
          <p:spPr>
            <a:xfrm>
              <a:off x="15656170" y="2703922"/>
              <a:ext cx="189220" cy="106166"/>
            </a:xfrm>
            <a:custGeom>
              <a:avLst/>
              <a:gdLst>
                <a:gd name="connsiteX0" fmla="*/ 189220 w 189220"/>
                <a:gd name="connsiteY0" fmla="*/ 32930 h 106166"/>
                <a:gd name="connsiteX1" fmla="*/ 187347 w 189220"/>
                <a:gd name="connsiteY1" fmla="*/ 17892 h 106166"/>
                <a:gd name="connsiteX2" fmla="*/ 157645 w 189220"/>
                <a:gd name="connsiteY2" fmla="*/ 7276 h 106166"/>
                <a:gd name="connsiteX3" fmla="*/ 112362 w 189220"/>
                <a:gd name="connsiteY3" fmla="*/ 0 h 106166"/>
                <a:gd name="connsiteX4" fmla="*/ 67203 w 189220"/>
                <a:gd name="connsiteY4" fmla="*/ 7263 h 106166"/>
                <a:gd name="connsiteX5" fmla="*/ 12827 w 189220"/>
                <a:gd name="connsiteY5" fmla="*/ 33299 h 106166"/>
                <a:gd name="connsiteX6" fmla="*/ 0 w 189220"/>
                <a:gd name="connsiteY6" fmla="*/ 59328 h 106166"/>
                <a:gd name="connsiteX7" fmla="*/ 0 w 189220"/>
                <a:gd name="connsiteY7" fmla="*/ 106167 h 106166"/>
                <a:gd name="connsiteX8" fmla="*/ 12490 w 189220"/>
                <a:gd name="connsiteY8" fmla="*/ 106167 h 106166"/>
                <a:gd name="connsiteX9" fmla="*/ 12490 w 189220"/>
                <a:gd name="connsiteY9" fmla="*/ 59328 h 106166"/>
                <a:gd name="connsiteX10" fmla="*/ 20409 w 189220"/>
                <a:gd name="connsiteY10" fmla="*/ 43229 h 106166"/>
                <a:gd name="connsiteX11" fmla="*/ 70726 w 189220"/>
                <a:gd name="connsiteY11" fmla="*/ 19247 h 106166"/>
                <a:gd name="connsiteX12" fmla="*/ 112362 w 189220"/>
                <a:gd name="connsiteY12" fmla="*/ 12490 h 106166"/>
                <a:gd name="connsiteX13" fmla="*/ 154479 w 189220"/>
                <a:gd name="connsiteY13" fmla="*/ 19360 h 106166"/>
                <a:gd name="connsiteX14" fmla="*/ 189220 w 189220"/>
                <a:gd name="connsiteY14" fmla="*/ 32930 h 106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9220" h="106166">
                  <a:moveTo>
                    <a:pt x="189220" y="32930"/>
                  </a:moveTo>
                  <a:cubicBezTo>
                    <a:pt x="188083" y="27995"/>
                    <a:pt x="187455" y="22956"/>
                    <a:pt x="187347" y="17892"/>
                  </a:cubicBezTo>
                  <a:cubicBezTo>
                    <a:pt x="177817" y="13393"/>
                    <a:pt x="167868" y="9837"/>
                    <a:pt x="157645" y="7276"/>
                  </a:cubicBezTo>
                  <a:cubicBezTo>
                    <a:pt x="142932" y="2888"/>
                    <a:pt x="127708" y="442"/>
                    <a:pt x="112362" y="0"/>
                  </a:cubicBezTo>
                  <a:cubicBezTo>
                    <a:pt x="97019" y="16"/>
                    <a:pt x="81777" y="2467"/>
                    <a:pt x="67203" y="7263"/>
                  </a:cubicBezTo>
                  <a:cubicBezTo>
                    <a:pt x="47657" y="12593"/>
                    <a:pt x="29235" y="21413"/>
                    <a:pt x="12827" y="33299"/>
                  </a:cubicBezTo>
                  <a:cubicBezTo>
                    <a:pt x="4748" y="39518"/>
                    <a:pt x="10" y="49133"/>
                    <a:pt x="0" y="59328"/>
                  </a:cubicBezTo>
                  <a:lnTo>
                    <a:pt x="0" y="106167"/>
                  </a:lnTo>
                  <a:lnTo>
                    <a:pt x="12490" y="106167"/>
                  </a:lnTo>
                  <a:lnTo>
                    <a:pt x="12490" y="59328"/>
                  </a:lnTo>
                  <a:cubicBezTo>
                    <a:pt x="12502" y="53027"/>
                    <a:pt x="15425" y="47084"/>
                    <a:pt x="20409" y="43229"/>
                  </a:cubicBezTo>
                  <a:cubicBezTo>
                    <a:pt x="35606" y="32280"/>
                    <a:pt x="52650" y="24156"/>
                    <a:pt x="70726" y="19247"/>
                  </a:cubicBezTo>
                  <a:cubicBezTo>
                    <a:pt x="84166" y="14831"/>
                    <a:pt x="98215" y="12551"/>
                    <a:pt x="112362" y="12490"/>
                  </a:cubicBezTo>
                  <a:cubicBezTo>
                    <a:pt x="126639" y="12950"/>
                    <a:pt x="140796" y="15260"/>
                    <a:pt x="154479" y="19360"/>
                  </a:cubicBezTo>
                  <a:cubicBezTo>
                    <a:pt x="166607" y="22332"/>
                    <a:pt x="178288" y="26896"/>
                    <a:pt x="189220" y="32930"/>
                  </a:cubicBezTo>
                  <a:close/>
                </a:path>
              </a:pathLst>
            </a:custGeom>
            <a:solidFill>
              <a:schemeClr val="lt1"/>
            </a:solidFill>
            <a:ln w="8202" cap="flat">
              <a:solidFill>
                <a:schemeClr val="accent5"/>
              </a:solidFill>
              <a:prstDash val="solid"/>
              <a:miter/>
            </a:ln>
          </p:spPr>
          <p:txBody>
            <a:bodyPr rtlCol="0" anchor="ctr"/>
            <a:lstStyle/>
            <a:p>
              <a:endParaRPr lang="en-GB"/>
            </a:p>
          </p:txBody>
        </p:sp>
        <p:sp>
          <p:nvSpPr>
            <p:cNvPr id="130" name="Frihandsfigur: Form 129">
              <a:extLst>
                <a:ext uri="{FF2B5EF4-FFF2-40B4-BE49-F238E27FC236}">
                  <a16:creationId xmlns:a16="http://schemas.microsoft.com/office/drawing/2014/main" id="{1862E28E-2733-C802-F69F-271B853CBF67}"/>
                </a:ext>
              </a:extLst>
            </p:cNvPr>
            <p:cNvSpPr/>
            <p:nvPr/>
          </p:nvSpPr>
          <p:spPr>
            <a:xfrm>
              <a:off x="15806002" y="2790167"/>
              <a:ext cx="224830" cy="106166"/>
            </a:xfrm>
            <a:custGeom>
              <a:avLst/>
              <a:gdLst>
                <a:gd name="connsiteX0" fmla="*/ 211709 w 224830"/>
                <a:gd name="connsiteY0" fmla="*/ 33099 h 106166"/>
                <a:gd name="connsiteX1" fmla="*/ 157707 w 224830"/>
                <a:gd name="connsiteY1" fmla="*/ 7301 h 106166"/>
                <a:gd name="connsiteX2" fmla="*/ 112412 w 224830"/>
                <a:gd name="connsiteY2" fmla="*/ 0 h 106166"/>
                <a:gd name="connsiteX3" fmla="*/ 67266 w 224830"/>
                <a:gd name="connsiteY3" fmla="*/ 7263 h 106166"/>
                <a:gd name="connsiteX4" fmla="*/ 12890 w 224830"/>
                <a:gd name="connsiteY4" fmla="*/ 33299 h 106166"/>
                <a:gd name="connsiteX5" fmla="*/ 0 w 224830"/>
                <a:gd name="connsiteY5" fmla="*/ 59328 h 106166"/>
                <a:gd name="connsiteX6" fmla="*/ 0 w 224830"/>
                <a:gd name="connsiteY6" fmla="*/ 106167 h 106166"/>
                <a:gd name="connsiteX7" fmla="*/ 12490 w 224830"/>
                <a:gd name="connsiteY7" fmla="*/ 106167 h 106166"/>
                <a:gd name="connsiteX8" fmla="*/ 12490 w 224830"/>
                <a:gd name="connsiteY8" fmla="*/ 59328 h 106166"/>
                <a:gd name="connsiteX9" fmla="*/ 20415 w 224830"/>
                <a:gd name="connsiteY9" fmla="*/ 43229 h 106166"/>
                <a:gd name="connsiteX10" fmla="*/ 70726 w 224830"/>
                <a:gd name="connsiteY10" fmla="*/ 19247 h 106166"/>
                <a:gd name="connsiteX11" fmla="*/ 112412 w 224830"/>
                <a:gd name="connsiteY11" fmla="*/ 12490 h 106166"/>
                <a:gd name="connsiteX12" fmla="*/ 154535 w 224830"/>
                <a:gd name="connsiteY12" fmla="*/ 19360 h 106166"/>
                <a:gd name="connsiteX13" fmla="*/ 203940 w 224830"/>
                <a:gd name="connsiteY13" fmla="*/ 42866 h 106166"/>
                <a:gd name="connsiteX14" fmla="*/ 204477 w 224830"/>
                <a:gd name="connsiteY14" fmla="*/ 43266 h 106166"/>
                <a:gd name="connsiteX15" fmla="*/ 212333 w 224830"/>
                <a:gd name="connsiteY15" fmla="*/ 59328 h 106166"/>
                <a:gd name="connsiteX16" fmla="*/ 212333 w 224830"/>
                <a:gd name="connsiteY16" fmla="*/ 106167 h 106166"/>
                <a:gd name="connsiteX17" fmla="*/ 224823 w 224830"/>
                <a:gd name="connsiteY17" fmla="*/ 106167 h 106166"/>
                <a:gd name="connsiteX18" fmla="*/ 224823 w 224830"/>
                <a:gd name="connsiteY18" fmla="*/ 59328 h 106166"/>
                <a:gd name="connsiteX19" fmla="*/ 211709 w 224830"/>
                <a:gd name="connsiteY19" fmla="*/ 33099 h 106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24830" h="106166">
                  <a:moveTo>
                    <a:pt x="211709" y="33099"/>
                  </a:moveTo>
                  <a:cubicBezTo>
                    <a:pt x="195792" y="20684"/>
                    <a:pt x="177366" y="11881"/>
                    <a:pt x="157707" y="7301"/>
                  </a:cubicBezTo>
                  <a:cubicBezTo>
                    <a:pt x="142991" y="2906"/>
                    <a:pt x="127763" y="453"/>
                    <a:pt x="112412" y="0"/>
                  </a:cubicBezTo>
                  <a:cubicBezTo>
                    <a:pt x="97074" y="15"/>
                    <a:pt x="81835" y="2467"/>
                    <a:pt x="67266" y="7263"/>
                  </a:cubicBezTo>
                  <a:cubicBezTo>
                    <a:pt x="47718" y="12589"/>
                    <a:pt x="29295" y="21409"/>
                    <a:pt x="12890" y="33299"/>
                  </a:cubicBezTo>
                  <a:cubicBezTo>
                    <a:pt x="4784" y="39503"/>
                    <a:pt x="22" y="49121"/>
                    <a:pt x="0" y="59328"/>
                  </a:cubicBezTo>
                  <a:lnTo>
                    <a:pt x="0" y="106167"/>
                  </a:lnTo>
                  <a:lnTo>
                    <a:pt x="12490" y="106167"/>
                  </a:lnTo>
                  <a:lnTo>
                    <a:pt x="12490" y="59328"/>
                  </a:lnTo>
                  <a:cubicBezTo>
                    <a:pt x="12501" y="53025"/>
                    <a:pt x="15427" y="47082"/>
                    <a:pt x="20415" y="43229"/>
                  </a:cubicBezTo>
                  <a:cubicBezTo>
                    <a:pt x="35608" y="32277"/>
                    <a:pt x="52651" y="24154"/>
                    <a:pt x="70726" y="19247"/>
                  </a:cubicBezTo>
                  <a:cubicBezTo>
                    <a:pt x="84181" y="14826"/>
                    <a:pt x="98248" y="12546"/>
                    <a:pt x="112412" y="12490"/>
                  </a:cubicBezTo>
                  <a:cubicBezTo>
                    <a:pt x="126691" y="12948"/>
                    <a:pt x="140850" y="15257"/>
                    <a:pt x="154535" y="19360"/>
                  </a:cubicBezTo>
                  <a:cubicBezTo>
                    <a:pt x="172523" y="23490"/>
                    <a:pt x="189387" y="31514"/>
                    <a:pt x="203940" y="42866"/>
                  </a:cubicBezTo>
                  <a:lnTo>
                    <a:pt x="204477" y="43266"/>
                  </a:lnTo>
                  <a:cubicBezTo>
                    <a:pt x="209615" y="46972"/>
                    <a:pt x="212562" y="52998"/>
                    <a:pt x="212333" y="59328"/>
                  </a:cubicBezTo>
                  <a:lnTo>
                    <a:pt x="212333" y="106167"/>
                  </a:lnTo>
                  <a:lnTo>
                    <a:pt x="224823" y="106167"/>
                  </a:lnTo>
                  <a:lnTo>
                    <a:pt x="224823" y="59328"/>
                  </a:lnTo>
                  <a:cubicBezTo>
                    <a:pt x="225049" y="48957"/>
                    <a:pt x="220142" y="39141"/>
                    <a:pt x="211709" y="33099"/>
                  </a:cubicBezTo>
                  <a:close/>
                </a:path>
              </a:pathLst>
            </a:custGeom>
            <a:solidFill>
              <a:schemeClr val="lt1"/>
            </a:solidFill>
            <a:ln w="8202" cap="flat">
              <a:solidFill>
                <a:schemeClr val="accent5"/>
              </a:solidFill>
              <a:prstDash val="solid"/>
              <a:miter/>
            </a:ln>
          </p:spPr>
          <p:txBody>
            <a:bodyPr rtlCol="0" anchor="ctr"/>
            <a:lstStyle/>
            <a:p>
              <a:endParaRPr lang="en-GB"/>
            </a:p>
          </p:txBody>
        </p:sp>
        <p:sp>
          <p:nvSpPr>
            <p:cNvPr id="142" name="Frihandsfigur: Form 141">
              <a:extLst>
                <a:ext uri="{FF2B5EF4-FFF2-40B4-BE49-F238E27FC236}">
                  <a16:creationId xmlns:a16="http://schemas.microsoft.com/office/drawing/2014/main" id="{804D1714-488B-AE78-AA90-BDF9658689A4}"/>
                </a:ext>
              </a:extLst>
            </p:cNvPr>
            <p:cNvSpPr/>
            <p:nvPr/>
          </p:nvSpPr>
          <p:spPr>
            <a:xfrm>
              <a:off x="15862208" y="2664110"/>
              <a:ext cx="112411" cy="112411"/>
            </a:xfrm>
            <a:custGeom>
              <a:avLst/>
              <a:gdLst>
                <a:gd name="connsiteX0" fmla="*/ 56206 w 112411"/>
                <a:gd name="connsiteY0" fmla="*/ 112412 h 112411"/>
                <a:gd name="connsiteX1" fmla="*/ 112412 w 112411"/>
                <a:gd name="connsiteY1" fmla="*/ 56206 h 112411"/>
                <a:gd name="connsiteX2" fmla="*/ 56206 w 112411"/>
                <a:gd name="connsiteY2" fmla="*/ 0 h 112411"/>
                <a:gd name="connsiteX3" fmla="*/ 0 w 112411"/>
                <a:gd name="connsiteY3" fmla="*/ 56206 h 112411"/>
                <a:gd name="connsiteX4" fmla="*/ 56206 w 112411"/>
                <a:gd name="connsiteY4" fmla="*/ 112412 h 112411"/>
                <a:gd name="connsiteX5" fmla="*/ 56206 w 112411"/>
                <a:gd name="connsiteY5" fmla="*/ 12490 h 112411"/>
                <a:gd name="connsiteX6" fmla="*/ 99922 w 112411"/>
                <a:gd name="connsiteY6" fmla="*/ 56206 h 112411"/>
                <a:gd name="connsiteX7" fmla="*/ 56206 w 112411"/>
                <a:gd name="connsiteY7" fmla="*/ 99922 h 112411"/>
                <a:gd name="connsiteX8" fmla="*/ 12490 w 112411"/>
                <a:gd name="connsiteY8" fmla="*/ 56206 h 112411"/>
                <a:gd name="connsiteX9" fmla="*/ 56206 w 112411"/>
                <a:gd name="connsiteY9" fmla="*/ 12459 h 112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2411" h="112411">
                  <a:moveTo>
                    <a:pt x="56206" y="112412"/>
                  </a:moveTo>
                  <a:cubicBezTo>
                    <a:pt x="87248" y="112412"/>
                    <a:pt x="112412" y="87248"/>
                    <a:pt x="112412" y="56206"/>
                  </a:cubicBezTo>
                  <a:cubicBezTo>
                    <a:pt x="112412" y="25164"/>
                    <a:pt x="87248" y="0"/>
                    <a:pt x="56206" y="0"/>
                  </a:cubicBezTo>
                  <a:cubicBezTo>
                    <a:pt x="25164" y="0"/>
                    <a:pt x="0" y="25164"/>
                    <a:pt x="0" y="56206"/>
                  </a:cubicBezTo>
                  <a:cubicBezTo>
                    <a:pt x="0" y="87248"/>
                    <a:pt x="25164" y="112412"/>
                    <a:pt x="56206" y="112412"/>
                  </a:cubicBezTo>
                  <a:close/>
                  <a:moveTo>
                    <a:pt x="56206" y="12490"/>
                  </a:moveTo>
                  <a:cubicBezTo>
                    <a:pt x="80349" y="12490"/>
                    <a:pt x="99922" y="32062"/>
                    <a:pt x="99922" y="56206"/>
                  </a:cubicBezTo>
                  <a:cubicBezTo>
                    <a:pt x="99922" y="80349"/>
                    <a:pt x="80349" y="99922"/>
                    <a:pt x="56206" y="99922"/>
                  </a:cubicBezTo>
                  <a:cubicBezTo>
                    <a:pt x="32062" y="99922"/>
                    <a:pt x="12490" y="80349"/>
                    <a:pt x="12490" y="56206"/>
                  </a:cubicBezTo>
                  <a:cubicBezTo>
                    <a:pt x="12508" y="32064"/>
                    <a:pt x="32064" y="12493"/>
                    <a:pt x="56206" y="12459"/>
                  </a:cubicBezTo>
                  <a:close/>
                </a:path>
              </a:pathLst>
            </a:custGeom>
            <a:solidFill>
              <a:schemeClr val="lt1"/>
            </a:solidFill>
            <a:ln w="8202" cap="flat">
              <a:solidFill>
                <a:schemeClr val="accent5"/>
              </a:solidFill>
              <a:prstDash val="solid"/>
              <a:miter/>
            </a:ln>
          </p:spPr>
          <p:txBody>
            <a:bodyPr rtlCol="0" anchor="ctr"/>
            <a:lstStyle/>
            <a:p>
              <a:endParaRPr lang="en-GB"/>
            </a:p>
          </p:txBody>
        </p:sp>
      </p:grpSp>
      <p:sp>
        <p:nvSpPr>
          <p:cNvPr id="161" name="TextBox 14">
            <a:extLst>
              <a:ext uri="{FF2B5EF4-FFF2-40B4-BE49-F238E27FC236}">
                <a16:creationId xmlns:a16="http://schemas.microsoft.com/office/drawing/2014/main" id="{61EBB1DE-FEAC-C032-8697-EAF39F289510}"/>
              </a:ext>
            </a:extLst>
          </p:cNvPr>
          <p:cNvSpPr txBox="1"/>
          <p:nvPr/>
        </p:nvSpPr>
        <p:spPr>
          <a:xfrm>
            <a:off x="1553780" y="2896333"/>
            <a:ext cx="13958844" cy="5818068"/>
          </a:xfrm>
          <a:prstGeom prst="rect">
            <a:avLst/>
          </a:prstGeom>
        </p:spPr>
        <p:txBody>
          <a:bodyPr wrap="square" lIns="0" tIns="0" rIns="0" bIns="0" rtlCol="0" anchor="t">
            <a:spAutoFit/>
          </a:bodyPr>
          <a:lstStyle/>
          <a:p>
            <a:pPr marL="342917" indent="-342917">
              <a:lnSpc>
                <a:spcPct val="150000"/>
              </a:lnSpc>
              <a:buClr>
                <a:schemeClr val="accent1"/>
              </a:buClr>
              <a:buFont typeface="Arial" panose="020B0604020202020204" pitchFamily="34" charset="0"/>
              <a:buChar char="•"/>
              <a:defRPr/>
            </a:pPr>
            <a:r>
              <a:rPr lang="en-US" altLang="fr-FR" sz="3200" dirty="0">
                <a:sym typeface="+mn-ea"/>
              </a:rPr>
              <a:t>To ensure the exploitation and commercialization of the knowledge and technical results from the RETROFEED project. </a:t>
            </a:r>
          </a:p>
          <a:p>
            <a:pPr marL="914400" lvl="1" indent="-457200">
              <a:lnSpc>
                <a:spcPct val="150000"/>
              </a:lnSpc>
              <a:buClr>
                <a:schemeClr val="accent1"/>
              </a:buClr>
              <a:buFont typeface="Wingdings" panose="05000000000000000000" pitchFamily="2" charset="2"/>
              <a:buChar char="à"/>
              <a:defRPr/>
            </a:pPr>
            <a:r>
              <a:rPr lang="en-US" altLang="fr-FR" sz="3200" dirty="0">
                <a:sym typeface="+mn-ea"/>
              </a:rPr>
              <a:t>Successful market uptake of RETROFEED in industrial environment. </a:t>
            </a:r>
          </a:p>
          <a:p>
            <a:pPr marL="914400" lvl="1" indent="-457200">
              <a:lnSpc>
                <a:spcPct val="150000"/>
              </a:lnSpc>
              <a:buClr>
                <a:schemeClr val="accent1"/>
              </a:buClr>
              <a:buFont typeface="Wingdings" panose="05000000000000000000" pitchFamily="2" charset="2"/>
              <a:buChar char="à"/>
              <a:defRPr/>
            </a:pPr>
            <a:endParaRPr lang="en-US" altLang="fr-FR" sz="3200" dirty="0">
              <a:sym typeface="+mn-ea"/>
            </a:endParaRPr>
          </a:p>
          <a:p>
            <a:pPr lvl="1">
              <a:lnSpc>
                <a:spcPct val="150000"/>
              </a:lnSpc>
              <a:buClr>
                <a:schemeClr val="accent1"/>
              </a:buClr>
              <a:defRPr/>
            </a:pPr>
            <a:r>
              <a:rPr lang="en-GB" sz="3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A BMC was conducted for the </a:t>
            </a:r>
            <a:r>
              <a:rPr lang="en-GB" sz="3200" dirty="0" err="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Retrofeed</a:t>
            </a:r>
            <a:r>
              <a:rPr lang="en-GB" sz="3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results, in this material four BMC for different actions has been selected and will be presented in the following slides. </a:t>
            </a:r>
            <a:endParaRPr lang="sv-SE" sz="3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endParaRPr>
          </a:p>
          <a:p>
            <a:pPr lvl="1">
              <a:lnSpc>
                <a:spcPct val="150000"/>
              </a:lnSpc>
              <a:buClr>
                <a:schemeClr val="accent1"/>
              </a:buClr>
              <a:defRPr/>
            </a:pPr>
            <a:endParaRPr lang="en-US" altLang="fr-FR" sz="3200" dirty="0">
              <a:sym typeface="+mn-ea"/>
            </a:endParaRPr>
          </a:p>
        </p:txBody>
      </p:sp>
    </p:spTree>
    <p:extLst>
      <p:ext uri="{BB962C8B-B14F-4D97-AF65-F5344CB8AC3E}">
        <p14:creationId xmlns:p14="http://schemas.microsoft.com/office/powerpoint/2010/main" val="1521494606"/>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1" name="Picture 12">
            <a:extLst>
              <a:ext uri="{FF2B5EF4-FFF2-40B4-BE49-F238E27FC236}">
                <a16:creationId xmlns:a16="http://schemas.microsoft.com/office/drawing/2014/main" id="{43802E0E-B79D-4EA7-8141-0CA3ED138B1A}"/>
              </a:ext>
            </a:extLst>
          </p:cNvPr>
          <p:cNvPicPr>
            <a:picLocks noChangeAspect="1"/>
          </p:cNvPicPr>
          <p:nvPr/>
        </p:nvPicPr>
        <p:blipFill>
          <a:blip r:embed="rId3"/>
          <a:srcRect/>
          <a:stretch>
            <a:fillRect/>
          </a:stretch>
        </p:blipFill>
        <p:spPr>
          <a:xfrm>
            <a:off x="0" y="8993140"/>
            <a:ext cx="5715000" cy="1385887"/>
          </a:xfrm>
          <a:prstGeom prst="rect">
            <a:avLst/>
          </a:prstGeom>
        </p:spPr>
      </p:pic>
      <p:grpSp>
        <p:nvGrpSpPr>
          <p:cNvPr id="132" name="Gruppo 2">
            <a:extLst>
              <a:ext uri="{FF2B5EF4-FFF2-40B4-BE49-F238E27FC236}">
                <a16:creationId xmlns:a16="http://schemas.microsoft.com/office/drawing/2014/main" id="{649928F6-6E82-4611-9715-AD3C75457C28}"/>
              </a:ext>
            </a:extLst>
          </p:cNvPr>
          <p:cNvGrpSpPr/>
          <p:nvPr/>
        </p:nvGrpSpPr>
        <p:grpSpPr>
          <a:xfrm>
            <a:off x="-12" y="138554"/>
            <a:ext cx="18288002" cy="681138"/>
            <a:chOff x="-12" y="138554"/>
            <a:chExt cx="18288002" cy="681138"/>
          </a:xfrm>
        </p:grpSpPr>
        <p:grpSp>
          <p:nvGrpSpPr>
            <p:cNvPr id="133" name="Gruppo 1">
              <a:extLst>
                <a:ext uri="{FF2B5EF4-FFF2-40B4-BE49-F238E27FC236}">
                  <a16:creationId xmlns:a16="http://schemas.microsoft.com/office/drawing/2014/main" id="{A8EB8794-E5C6-45EB-BAEC-2778E982797A}"/>
                </a:ext>
              </a:extLst>
            </p:cNvPr>
            <p:cNvGrpSpPr/>
            <p:nvPr/>
          </p:nvGrpSpPr>
          <p:grpSpPr>
            <a:xfrm>
              <a:off x="0" y="153125"/>
              <a:ext cx="17907000" cy="666567"/>
              <a:chOff x="0" y="153125"/>
              <a:chExt cx="17907000" cy="666567"/>
            </a:xfrm>
          </p:grpSpPr>
          <p:grpSp>
            <p:nvGrpSpPr>
              <p:cNvPr id="135" name="Gruppo 15">
                <a:extLst>
                  <a:ext uri="{FF2B5EF4-FFF2-40B4-BE49-F238E27FC236}">
                    <a16:creationId xmlns:a16="http://schemas.microsoft.com/office/drawing/2014/main" id="{AB129748-9FD7-458D-BD6E-304271C1814A}"/>
                  </a:ext>
                </a:extLst>
              </p:cNvPr>
              <p:cNvGrpSpPr/>
              <p:nvPr/>
            </p:nvGrpSpPr>
            <p:grpSpPr>
              <a:xfrm>
                <a:off x="0" y="153125"/>
                <a:ext cx="13958844" cy="666567"/>
                <a:chOff x="0" y="153125"/>
                <a:chExt cx="13958844" cy="666567"/>
              </a:xfrm>
            </p:grpSpPr>
            <p:pic>
              <p:nvPicPr>
                <p:cNvPr id="137" name="Picture 136">
                  <a:extLst>
                    <a:ext uri="{FF2B5EF4-FFF2-40B4-BE49-F238E27FC236}">
                      <a16:creationId xmlns:a16="http://schemas.microsoft.com/office/drawing/2014/main" id="{88E31CFD-796F-4F3F-A1EC-0E38F9D83456}"/>
                    </a:ext>
                  </a:extLst>
                </p:cNvPr>
                <p:cNvPicPr>
                  <a:picLocks noChangeAspect="1"/>
                </p:cNvPicPr>
                <p:nvPr/>
              </p:nvPicPr>
              <p:blipFill>
                <a:blip r:embed="rId4"/>
                <a:srcRect l="134" t="91287" b="3943"/>
                <a:stretch>
                  <a:fillRect/>
                </a:stretch>
              </p:blipFill>
              <p:spPr>
                <a:xfrm>
                  <a:off x="0" y="153125"/>
                  <a:ext cx="13958844" cy="666567"/>
                </a:xfrm>
                <a:prstGeom prst="rect">
                  <a:avLst/>
                </a:prstGeom>
              </p:spPr>
            </p:pic>
            <p:sp>
              <p:nvSpPr>
                <p:cNvPr id="138" name="TextBox 137">
                  <a:extLst>
                    <a:ext uri="{FF2B5EF4-FFF2-40B4-BE49-F238E27FC236}">
                      <a16:creationId xmlns:a16="http://schemas.microsoft.com/office/drawing/2014/main" id="{7694DADD-E227-40A7-A98D-244B0D207E54}"/>
                    </a:ext>
                  </a:extLst>
                </p:cNvPr>
                <p:cNvSpPr txBox="1"/>
                <p:nvPr/>
              </p:nvSpPr>
              <p:spPr>
                <a:xfrm>
                  <a:off x="228600" y="257980"/>
                  <a:ext cx="9296400" cy="456856"/>
                </a:xfrm>
                <a:prstGeom prst="rect">
                  <a:avLst/>
                </a:prstGeom>
              </p:spPr>
              <p:txBody>
                <a:bodyPr wrap="square" lIns="0" tIns="0" rIns="0" bIns="0" rtlCol="0" anchor="t">
                  <a:spAutoFit/>
                </a:bodyPr>
                <a:lstStyle/>
                <a:p>
                  <a:pPr marL="0" marR="0" lvl="0" indent="0" algn="l" defTabSz="914400" rtl="0" eaLnBrk="1" fontAlgn="auto" latinLnBrk="0" hangingPunct="1">
                    <a:lnSpc>
                      <a:spcPts val="3919"/>
                    </a:lnSpc>
                    <a:spcBef>
                      <a:spcPct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36" name="TextBox 135">
                <a:extLst>
                  <a:ext uri="{FF2B5EF4-FFF2-40B4-BE49-F238E27FC236}">
                    <a16:creationId xmlns:a16="http://schemas.microsoft.com/office/drawing/2014/main" id="{4B3CCEBB-60EF-4175-9878-F0D51FD80FF0}"/>
                  </a:ext>
                </a:extLst>
              </p:cNvPr>
              <p:cNvSpPr txBox="1"/>
              <p:nvPr/>
            </p:nvSpPr>
            <p:spPr>
              <a:xfrm>
                <a:off x="12154296" y="257980"/>
                <a:ext cx="5752704" cy="456856"/>
              </a:xfrm>
              <a:prstGeom prst="rect">
                <a:avLst/>
              </a:prstGeom>
            </p:spPr>
            <p:txBody>
              <a:bodyPr wrap="square" lIns="0" tIns="0" rIns="0" bIns="0" rtlCol="0" anchor="t">
                <a:spAutoFit/>
              </a:bodyPr>
              <a:lstStyle/>
              <a:p>
                <a:pPr marL="0" marR="0" lvl="0" indent="0" algn="r" defTabSz="914400" rtl="0" eaLnBrk="1" fontAlgn="auto" latinLnBrk="0" hangingPunct="1">
                  <a:lnSpc>
                    <a:spcPts val="3919"/>
                  </a:lnSpc>
                  <a:spcBef>
                    <a:spcPct val="0"/>
                  </a:spcBef>
                  <a:spcAft>
                    <a:spcPts val="0"/>
                  </a:spcAft>
                  <a:buClrTx/>
                  <a:buSzTx/>
                  <a:buFontTx/>
                  <a:buNone/>
                  <a:tabLst/>
                  <a:defRPr/>
                </a:pPr>
                <a:endParaRPr kumimoji="0" lang="en-US" sz="2800" b="0" i="0" u="none" strike="noStrike" kern="1200" cap="none" spc="0" normalizeH="0" baseline="0" noProof="0">
                  <a:ln>
                    <a:noFill/>
                  </a:ln>
                  <a:solidFill>
                    <a:srgbClr val="2F2F2F">
                      <a:lumMod val="75000"/>
                      <a:lumOff val="25000"/>
                    </a:srgbClr>
                  </a:solidFill>
                  <a:effectLst/>
                  <a:uLnTx/>
                  <a:uFillTx/>
                  <a:latin typeface="Arial" panose="020B0604020202020204" pitchFamily="34" charset="0"/>
                  <a:ea typeface="+mn-ea"/>
                  <a:cs typeface="Arial" panose="020B0604020202020204" pitchFamily="34" charset="0"/>
                </a:endParaRPr>
              </a:p>
            </p:txBody>
          </p:sp>
        </p:grpSp>
        <p:sp>
          <p:nvSpPr>
            <p:cNvPr id="134" name="Rettangolo 13">
              <a:extLst>
                <a:ext uri="{FF2B5EF4-FFF2-40B4-BE49-F238E27FC236}">
                  <a16:creationId xmlns:a16="http://schemas.microsoft.com/office/drawing/2014/main" id="{8F0CF2A7-592A-4287-9206-D3289F1B0C37}"/>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pic>
        <p:nvPicPr>
          <p:cNvPr id="139" name="Picture 12">
            <a:extLst>
              <a:ext uri="{FF2B5EF4-FFF2-40B4-BE49-F238E27FC236}">
                <a16:creationId xmlns:a16="http://schemas.microsoft.com/office/drawing/2014/main" id="{F047215A-40D8-4A57-BE02-5E03FCEEBB7B}"/>
              </a:ext>
            </a:extLst>
          </p:cNvPr>
          <p:cNvPicPr>
            <a:picLocks noChangeAspect="1"/>
          </p:cNvPicPr>
          <p:nvPr/>
        </p:nvPicPr>
        <p:blipFill>
          <a:blip r:embed="rId5"/>
          <a:srcRect l="134" t="91287" b="3943"/>
          <a:stretch>
            <a:fillRect/>
          </a:stretch>
        </p:blipFill>
        <p:spPr>
          <a:xfrm rot="10800000">
            <a:off x="4329146" y="9797731"/>
            <a:ext cx="13958844" cy="666567"/>
          </a:xfrm>
          <a:prstGeom prst="rect">
            <a:avLst/>
          </a:prstGeom>
        </p:spPr>
      </p:pic>
      <p:sp>
        <p:nvSpPr>
          <p:cNvPr id="140" name="TextBox 16">
            <a:extLst>
              <a:ext uri="{FF2B5EF4-FFF2-40B4-BE49-F238E27FC236}">
                <a16:creationId xmlns:a16="http://schemas.microsoft.com/office/drawing/2014/main" id="{C693B1DB-897C-4A9D-8CF3-F1423F6CB38D}"/>
              </a:ext>
            </a:extLst>
          </p:cNvPr>
          <p:cNvSpPr txBox="1"/>
          <p:nvPr/>
        </p:nvSpPr>
        <p:spPr>
          <a:xfrm>
            <a:off x="14400019" y="9762301"/>
            <a:ext cx="3636320" cy="448713"/>
          </a:xfrm>
          <a:prstGeom prst="rect">
            <a:avLst/>
          </a:prstGeom>
        </p:spPr>
        <p:txBody>
          <a:bodyPr wrap="square" lIns="0" tIns="0" rIns="0" bIns="0" rtlCol="0" anchor="t">
            <a:spAutoFit/>
          </a:bodyPr>
          <a:lstStyle/>
          <a:p>
            <a:pPr marL="0" marR="0" lvl="0" indent="0" algn="ctr" defTabSz="914400" rtl="0" eaLnBrk="1" fontAlgn="auto" latinLnBrk="0" hangingPunct="1">
              <a:lnSpc>
                <a:spcPts val="3919"/>
              </a:lnSpc>
              <a:spcBef>
                <a:spcPct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OCR A Extended" panose="02010509020102010303" pitchFamily="50" charset="0"/>
                <a:ea typeface="+mn-ea"/>
                <a:cs typeface="+mn-cs"/>
              </a:rPr>
              <a:t>www.retrofeed.eu</a:t>
            </a:r>
          </a:p>
        </p:txBody>
      </p:sp>
      <p:sp>
        <p:nvSpPr>
          <p:cNvPr id="4" name="TextBox 3">
            <a:extLst>
              <a:ext uri="{FF2B5EF4-FFF2-40B4-BE49-F238E27FC236}">
                <a16:creationId xmlns:a16="http://schemas.microsoft.com/office/drawing/2014/main" id="{E2A6C351-D084-461B-85B4-078A69C47372}"/>
              </a:ext>
            </a:extLst>
          </p:cNvPr>
          <p:cNvSpPr txBox="1"/>
          <p:nvPr/>
        </p:nvSpPr>
        <p:spPr>
          <a:xfrm>
            <a:off x="1073179" y="1087343"/>
            <a:ext cx="18552623" cy="76944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400" b="1" i="0" u="none" strike="noStrike" kern="1200" cap="none" spc="0" normalizeH="0" baseline="0" noProof="0" dirty="0">
                <a:ln>
                  <a:noFill/>
                </a:ln>
                <a:solidFill>
                  <a:srgbClr val="CC0033"/>
                </a:solidFill>
                <a:effectLst/>
                <a:uLnTx/>
                <a:uFillTx/>
                <a:latin typeface="Arial"/>
                <a:ea typeface="+mn-ea"/>
                <a:cs typeface="Arial" panose="020B0604020202020204" pitchFamily="34" charset="0"/>
              </a:rPr>
              <a:t>BMC of the Valorisation of Bio-based Phosphorus</a:t>
            </a:r>
            <a:endParaRPr kumimoji="0" lang="sv-SE" sz="4400" b="1" i="0" u="none" strike="noStrike" kern="1200" cap="none" spc="0" normalizeH="0" baseline="0" noProof="0" dirty="0">
              <a:ln>
                <a:noFill/>
              </a:ln>
              <a:solidFill>
                <a:srgbClr val="CC0033"/>
              </a:solidFill>
              <a:effectLst/>
              <a:uLnTx/>
              <a:uFillTx/>
              <a:latin typeface="Arial"/>
              <a:ea typeface="+mn-ea"/>
              <a:cs typeface="Arial" panose="020B0604020202020204" pitchFamily="34" charset="0"/>
            </a:endParaRPr>
          </a:p>
        </p:txBody>
      </p:sp>
      <p:graphicFrame>
        <p:nvGraphicFramePr>
          <p:cNvPr id="6" name="Tabell 5">
            <a:extLst>
              <a:ext uri="{FF2B5EF4-FFF2-40B4-BE49-F238E27FC236}">
                <a16:creationId xmlns:a16="http://schemas.microsoft.com/office/drawing/2014/main" id="{2B61A2CD-6F9E-7FF3-0C7D-1DDBDC135144}"/>
              </a:ext>
            </a:extLst>
          </p:cNvPr>
          <p:cNvGraphicFramePr>
            <a:graphicFrameLocks noGrp="1"/>
          </p:cNvGraphicFramePr>
          <p:nvPr>
            <p:extLst>
              <p:ext uri="{D42A27DB-BD31-4B8C-83A1-F6EECF244321}">
                <p14:modId xmlns:p14="http://schemas.microsoft.com/office/powerpoint/2010/main" val="3170711958"/>
              </p:ext>
            </p:extLst>
          </p:nvPr>
        </p:nvGraphicFramePr>
        <p:xfrm>
          <a:off x="1198276" y="1896388"/>
          <a:ext cx="15865838" cy="7348785"/>
        </p:xfrm>
        <a:graphic>
          <a:graphicData uri="http://schemas.openxmlformats.org/drawingml/2006/table">
            <a:tbl>
              <a:tblPr firstRow="1" firstCol="1" bandRow="1">
                <a:tableStyleId>{5C22544A-7EE6-4342-B048-85BDC9FD1C3A}</a:tableStyleId>
              </a:tblPr>
              <a:tblGrid>
                <a:gridCol w="2853223">
                  <a:extLst>
                    <a:ext uri="{9D8B030D-6E8A-4147-A177-3AD203B41FA5}">
                      <a16:colId xmlns:a16="http://schemas.microsoft.com/office/drawing/2014/main" val="382711882"/>
                    </a:ext>
                  </a:extLst>
                </a:gridCol>
                <a:gridCol w="3502856">
                  <a:extLst>
                    <a:ext uri="{9D8B030D-6E8A-4147-A177-3AD203B41FA5}">
                      <a16:colId xmlns:a16="http://schemas.microsoft.com/office/drawing/2014/main" val="3047001043"/>
                    </a:ext>
                  </a:extLst>
                </a:gridCol>
                <a:gridCol w="1248672">
                  <a:extLst>
                    <a:ext uri="{9D8B030D-6E8A-4147-A177-3AD203B41FA5}">
                      <a16:colId xmlns:a16="http://schemas.microsoft.com/office/drawing/2014/main" val="860800738"/>
                    </a:ext>
                  </a:extLst>
                </a:gridCol>
                <a:gridCol w="1916559">
                  <a:extLst>
                    <a:ext uri="{9D8B030D-6E8A-4147-A177-3AD203B41FA5}">
                      <a16:colId xmlns:a16="http://schemas.microsoft.com/office/drawing/2014/main" val="3890161635"/>
                    </a:ext>
                  </a:extLst>
                </a:gridCol>
                <a:gridCol w="3502855">
                  <a:extLst>
                    <a:ext uri="{9D8B030D-6E8A-4147-A177-3AD203B41FA5}">
                      <a16:colId xmlns:a16="http://schemas.microsoft.com/office/drawing/2014/main" val="2658826809"/>
                    </a:ext>
                  </a:extLst>
                </a:gridCol>
                <a:gridCol w="2841673">
                  <a:extLst>
                    <a:ext uri="{9D8B030D-6E8A-4147-A177-3AD203B41FA5}">
                      <a16:colId xmlns:a16="http://schemas.microsoft.com/office/drawing/2014/main" val="1264386408"/>
                    </a:ext>
                  </a:extLst>
                </a:gridCol>
              </a:tblGrid>
              <a:tr h="645703">
                <a:tc>
                  <a:txBody>
                    <a:bodyPr/>
                    <a:lstStyle/>
                    <a:p>
                      <a:pPr fontAlgn="base"/>
                      <a:r>
                        <a:rPr lang="en-GB" sz="1800" kern="0" dirty="0">
                          <a:effectLst/>
                        </a:rPr>
                        <a:t>Key Partners </a:t>
                      </a:r>
                      <a:endParaRPr lang="sv-SE" sz="1800" kern="100" dirty="0">
                        <a:solidFill>
                          <a:srgbClr val="404040"/>
                        </a:solidFill>
                        <a:effectLst/>
                        <a:latin typeface="Liberation Serif"/>
                        <a:ea typeface="Noto Sans CJK SC"/>
                        <a:cs typeface="Lohit Devanagari"/>
                      </a:endParaRPr>
                    </a:p>
                  </a:txBody>
                  <a:tcPr marL="1114" marR="1114" marT="1114" marB="1114"/>
                </a:tc>
                <a:tc>
                  <a:txBody>
                    <a:bodyPr/>
                    <a:lstStyle/>
                    <a:p>
                      <a:pPr fontAlgn="base"/>
                      <a:r>
                        <a:rPr lang="en-GB" sz="1800" b="1" kern="0" dirty="0">
                          <a:solidFill>
                            <a:schemeClr val="bg1"/>
                          </a:solidFill>
                          <a:effectLst/>
                        </a:rPr>
                        <a:t>Key Activities </a:t>
                      </a:r>
                      <a:endParaRPr lang="sv-SE" sz="1800" b="1" kern="100" dirty="0">
                        <a:solidFill>
                          <a:schemeClr val="bg1"/>
                        </a:solidFill>
                        <a:effectLst/>
                        <a:latin typeface="Liberation Serif"/>
                        <a:ea typeface="Noto Sans CJK SC"/>
                        <a:cs typeface="Lohit Devanagari"/>
                      </a:endParaRPr>
                    </a:p>
                  </a:txBody>
                  <a:tcPr marL="1114" marR="1114" marT="1114" marB="1114">
                    <a:solidFill>
                      <a:schemeClr val="accent1"/>
                    </a:solidFill>
                  </a:tcPr>
                </a:tc>
                <a:tc gridSpan="2">
                  <a:txBody>
                    <a:bodyPr/>
                    <a:lstStyle/>
                    <a:p>
                      <a:pPr fontAlgn="base"/>
                      <a:r>
                        <a:rPr lang="en-GB" sz="1800" b="1" kern="0" dirty="0">
                          <a:solidFill>
                            <a:schemeClr val="bg1"/>
                          </a:solidFill>
                          <a:effectLst/>
                        </a:rPr>
                        <a:t>Value Proposition </a:t>
                      </a:r>
                      <a:endParaRPr lang="sv-SE" sz="1800" b="1" kern="100" dirty="0">
                        <a:solidFill>
                          <a:schemeClr val="bg1"/>
                        </a:solidFill>
                        <a:effectLst/>
                      </a:endParaRPr>
                    </a:p>
                    <a:p>
                      <a:pPr fontAlgn="base"/>
                      <a:r>
                        <a:rPr lang="en-GB" sz="1800" b="1" kern="0" dirty="0">
                          <a:solidFill>
                            <a:schemeClr val="bg1"/>
                          </a:solidFill>
                          <a:effectLst/>
                        </a:rPr>
                        <a:t> </a:t>
                      </a:r>
                      <a:endParaRPr lang="sv-SE" sz="1800" b="1" kern="100" dirty="0">
                        <a:solidFill>
                          <a:schemeClr val="bg1"/>
                        </a:solidFill>
                        <a:effectLst/>
                        <a:latin typeface="Liberation Serif"/>
                        <a:ea typeface="Noto Sans CJK SC"/>
                        <a:cs typeface="Lohit Devanagari"/>
                      </a:endParaRPr>
                    </a:p>
                  </a:txBody>
                  <a:tcPr marL="1114" marR="1114" marT="1114" marB="1114">
                    <a:solidFill>
                      <a:schemeClr val="accent1"/>
                    </a:solidFill>
                  </a:tcPr>
                </a:tc>
                <a:tc hMerge="1">
                  <a:txBody>
                    <a:bodyPr/>
                    <a:lstStyle/>
                    <a:p>
                      <a:endParaRPr lang="en-GB"/>
                    </a:p>
                  </a:txBody>
                  <a:tcPr/>
                </a:tc>
                <a:tc>
                  <a:txBody>
                    <a:bodyPr/>
                    <a:lstStyle/>
                    <a:p>
                      <a:r>
                        <a:rPr lang="en-GB" sz="1800" b="1" kern="0" dirty="0">
                          <a:solidFill>
                            <a:schemeClr val="bg1"/>
                          </a:solidFill>
                          <a:effectLst/>
                        </a:rPr>
                        <a:t>Customer Relationships </a:t>
                      </a:r>
                      <a:endParaRPr lang="en-GB" sz="2000" b="1" dirty="0">
                        <a:solidFill>
                          <a:schemeClr val="bg1"/>
                        </a:solidFill>
                      </a:endParaRPr>
                    </a:p>
                  </a:txBody>
                  <a:tcPr marL="1114" marR="1114" marT="1114" marB="1114">
                    <a:solidFill>
                      <a:schemeClr val="accent1"/>
                    </a:solidFill>
                  </a:tcPr>
                </a:tc>
                <a:tc>
                  <a:txBody>
                    <a:bodyPr/>
                    <a:lstStyle/>
                    <a:p>
                      <a:pPr fontAlgn="base"/>
                      <a:r>
                        <a:rPr lang="en-GB" sz="1800" b="1" kern="0" dirty="0">
                          <a:solidFill>
                            <a:schemeClr val="bg1"/>
                          </a:solidFill>
                          <a:effectLst/>
                        </a:rPr>
                        <a:t>Customer Segments </a:t>
                      </a:r>
                      <a:endParaRPr lang="sv-SE" sz="1800" b="1" kern="100" dirty="0">
                        <a:solidFill>
                          <a:schemeClr val="bg1"/>
                        </a:solidFill>
                        <a:effectLst/>
                        <a:latin typeface="Liberation Serif"/>
                        <a:ea typeface="Noto Sans CJK SC"/>
                        <a:cs typeface="Lohit Devanagari"/>
                      </a:endParaRPr>
                    </a:p>
                  </a:txBody>
                  <a:tcPr marL="1114" marR="1114" marT="1114" marB="1114">
                    <a:solidFill>
                      <a:schemeClr val="accent1"/>
                    </a:solidFill>
                  </a:tcPr>
                </a:tc>
                <a:extLst>
                  <a:ext uri="{0D108BD9-81ED-4DB2-BD59-A6C34878D82A}">
                    <a16:rowId xmlns:a16="http://schemas.microsoft.com/office/drawing/2014/main" val="4072493817"/>
                  </a:ext>
                </a:extLst>
              </a:tr>
              <a:tr h="1074865">
                <a:tc rowSpan="3">
                  <a:txBody>
                    <a:bodyPr/>
                    <a:lstStyle/>
                    <a:p>
                      <a:pPr marL="285750" indent="-285750" fontAlgn="base">
                        <a:buFont typeface="Arial" panose="020B0604020202020204" pitchFamily="34" charset="0"/>
                        <a:buChar char="•"/>
                      </a:pPr>
                      <a:r>
                        <a:rPr lang="en-GB" sz="1400" b="0" kern="1200" dirty="0">
                          <a:solidFill>
                            <a:schemeClr val="dk1"/>
                          </a:solidFill>
                          <a:effectLst/>
                          <a:latin typeface="+mn-lt"/>
                          <a:ea typeface="+mn-ea"/>
                          <a:cs typeface="+mn-cs"/>
                        </a:rPr>
                        <a:t>RTOs  </a:t>
                      </a:r>
                      <a:endParaRPr lang="sv-SE" sz="1400" b="0" kern="1200" dirty="0">
                        <a:solidFill>
                          <a:schemeClr val="dk1"/>
                        </a:solidFill>
                        <a:effectLst/>
                        <a:latin typeface="+mn-lt"/>
                        <a:ea typeface="+mn-ea"/>
                        <a:cs typeface="+mn-cs"/>
                      </a:endParaRPr>
                    </a:p>
                    <a:p>
                      <a:pPr marL="285750" indent="-285750" fontAlgn="base">
                        <a:buFont typeface="Arial" panose="020B0604020202020204" pitchFamily="34" charset="0"/>
                        <a:buChar char="•"/>
                      </a:pPr>
                      <a:r>
                        <a:rPr lang="en-GB" sz="1400" b="0" kern="1200" dirty="0">
                          <a:solidFill>
                            <a:schemeClr val="dk1"/>
                          </a:solidFill>
                          <a:effectLst/>
                          <a:latin typeface="+mn-lt"/>
                          <a:ea typeface="+mn-ea"/>
                          <a:cs typeface="+mn-cs"/>
                        </a:rPr>
                        <a:t>Financial bodies </a:t>
                      </a:r>
                      <a:endParaRPr lang="sv-SE" sz="1400" b="0" kern="1200" dirty="0">
                        <a:solidFill>
                          <a:schemeClr val="dk1"/>
                        </a:solidFill>
                        <a:effectLst/>
                        <a:latin typeface="+mn-lt"/>
                        <a:ea typeface="+mn-ea"/>
                        <a:cs typeface="+mn-cs"/>
                      </a:endParaRPr>
                    </a:p>
                    <a:p>
                      <a:pPr marL="285750" indent="-285750" fontAlgn="base">
                        <a:buFont typeface="Arial" panose="020B0604020202020204" pitchFamily="34" charset="0"/>
                        <a:buChar char="•"/>
                      </a:pPr>
                      <a:r>
                        <a:rPr lang="en-GB" sz="1400" b="0" kern="1200" dirty="0">
                          <a:solidFill>
                            <a:schemeClr val="dk1"/>
                          </a:solidFill>
                          <a:effectLst/>
                          <a:latin typeface="+mn-lt"/>
                          <a:ea typeface="+mn-ea"/>
                          <a:cs typeface="+mn-cs"/>
                        </a:rPr>
                        <a:t>Engineering and equipment manufacturers </a:t>
                      </a:r>
                      <a:endParaRPr lang="sv-SE" sz="1400" b="0" kern="1200" dirty="0">
                        <a:solidFill>
                          <a:schemeClr val="dk1"/>
                        </a:solidFill>
                        <a:effectLst/>
                        <a:latin typeface="+mn-lt"/>
                        <a:ea typeface="+mn-ea"/>
                        <a:cs typeface="+mn-cs"/>
                      </a:endParaRPr>
                    </a:p>
                    <a:p>
                      <a:pPr marL="285750" indent="-285750" fontAlgn="base">
                        <a:buFont typeface="Arial" panose="020B0604020202020204" pitchFamily="34" charset="0"/>
                        <a:buChar char="•"/>
                      </a:pPr>
                      <a:r>
                        <a:rPr lang="en-GB" sz="1400" b="0" kern="1200" dirty="0">
                          <a:solidFill>
                            <a:schemeClr val="dk1"/>
                          </a:solidFill>
                          <a:effectLst/>
                          <a:latin typeface="+mn-lt"/>
                          <a:ea typeface="+mn-ea"/>
                          <a:cs typeface="+mn-cs"/>
                        </a:rPr>
                        <a:t>End users of chemical reactors </a:t>
                      </a:r>
                      <a:endParaRPr lang="sv-SE" sz="1400" b="0" kern="1200" dirty="0">
                        <a:solidFill>
                          <a:schemeClr val="dk1"/>
                        </a:solidFill>
                        <a:effectLst/>
                        <a:latin typeface="+mn-lt"/>
                        <a:ea typeface="+mn-ea"/>
                        <a:cs typeface="+mn-cs"/>
                      </a:endParaRPr>
                    </a:p>
                    <a:p>
                      <a:pPr marL="285750" indent="-285750" fontAlgn="base">
                        <a:buFont typeface="Arial" panose="020B0604020202020204" pitchFamily="34" charset="0"/>
                        <a:buChar char="•"/>
                      </a:pPr>
                      <a:r>
                        <a:rPr lang="en-GB" sz="1400" b="0" kern="1200" dirty="0">
                          <a:solidFill>
                            <a:schemeClr val="dk1"/>
                          </a:solidFill>
                          <a:effectLst/>
                          <a:latin typeface="+mn-lt"/>
                          <a:ea typeface="+mn-ea"/>
                          <a:cs typeface="+mn-cs"/>
                        </a:rPr>
                        <a:t>New material suppliers, not easy to pick a good one /bones, meat, etc. to ashes that are riches in nutrients/ </a:t>
                      </a:r>
                      <a:endParaRPr lang="sv-SE" sz="1400" b="0" kern="1200" dirty="0">
                        <a:solidFill>
                          <a:schemeClr val="dk1"/>
                        </a:solidFill>
                        <a:effectLst/>
                        <a:latin typeface="+mn-lt"/>
                        <a:ea typeface="+mn-ea"/>
                        <a:cs typeface="+mn-cs"/>
                      </a:endParaRPr>
                    </a:p>
                  </a:txBody>
                  <a:tcPr marL="1114" marR="1114" marT="1114" marB="1114">
                    <a:solidFill>
                      <a:schemeClr val="accent3">
                        <a:lumMod val="20000"/>
                        <a:lumOff val="80000"/>
                      </a:schemeClr>
                    </a:solidFill>
                  </a:tcPr>
                </a:tc>
                <a:tc>
                  <a:txBody>
                    <a:bodyPr/>
                    <a:lstStyle/>
                    <a:p>
                      <a:pPr marL="285750" indent="-285750" fontAlgn="base">
                        <a:buFont typeface="Arial" panose="020B0604020202020204" pitchFamily="34" charset="0"/>
                        <a:buChar char="•"/>
                      </a:pPr>
                      <a:r>
                        <a:rPr lang="en-GB" sz="1400" kern="1200" dirty="0">
                          <a:solidFill>
                            <a:schemeClr val="dk1"/>
                          </a:solidFill>
                          <a:effectLst/>
                          <a:latin typeface="+mn-lt"/>
                          <a:ea typeface="+mn-ea"/>
                          <a:cs typeface="+mn-cs"/>
                        </a:rPr>
                        <a:t>Further R&amp;D to improve the solutions </a:t>
                      </a:r>
                      <a:endParaRPr lang="sv-SE" sz="1400" kern="1200" dirty="0">
                        <a:solidFill>
                          <a:schemeClr val="dk1"/>
                        </a:solidFill>
                        <a:effectLst/>
                        <a:latin typeface="+mn-lt"/>
                        <a:ea typeface="+mn-ea"/>
                        <a:cs typeface="+mn-cs"/>
                      </a:endParaRPr>
                    </a:p>
                    <a:p>
                      <a:pPr marL="285750" indent="-285750" fontAlgn="base">
                        <a:buFont typeface="Arial" panose="020B0604020202020204" pitchFamily="34" charset="0"/>
                        <a:buChar char="•"/>
                      </a:pPr>
                      <a:r>
                        <a:rPr lang="en-GB" sz="1400" kern="1200" dirty="0">
                          <a:solidFill>
                            <a:schemeClr val="dk1"/>
                          </a:solidFill>
                          <a:effectLst/>
                          <a:latin typeface="+mn-lt"/>
                          <a:ea typeface="+mn-ea"/>
                          <a:cs typeface="+mn-cs"/>
                        </a:rPr>
                        <a:t>Pilot-plant development based on laboratory tests </a:t>
                      </a:r>
                      <a:endParaRPr lang="sv-SE" sz="1400" kern="1200" dirty="0">
                        <a:solidFill>
                          <a:schemeClr val="dk1"/>
                        </a:solidFill>
                        <a:effectLst/>
                        <a:latin typeface="+mn-lt"/>
                        <a:ea typeface="+mn-ea"/>
                        <a:cs typeface="+mn-cs"/>
                      </a:endParaRPr>
                    </a:p>
                    <a:p>
                      <a:pPr marL="285750" indent="-285750">
                        <a:buFont typeface="Arial" panose="020B0604020202020204" pitchFamily="34" charset="0"/>
                        <a:buChar char="•"/>
                      </a:pPr>
                      <a:r>
                        <a:rPr lang="en-GB" sz="1400" kern="1200" dirty="0">
                          <a:solidFill>
                            <a:schemeClr val="dk1"/>
                          </a:solidFill>
                          <a:effectLst/>
                          <a:latin typeface="+mn-lt"/>
                          <a:ea typeface="+mn-ea"/>
                          <a:cs typeface="+mn-cs"/>
                        </a:rPr>
                        <a:t>Real demonstration reactor, many problems due to </a:t>
                      </a:r>
                      <a:r>
                        <a:rPr lang="en-GB" sz="1400" kern="1200" dirty="0" err="1">
                          <a:solidFill>
                            <a:schemeClr val="dk1"/>
                          </a:solidFill>
                          <a:effectLst/>
                          <a:latin typeface="+mn-lt"/>
                          <a:ea typeface="+mn-ea"/>
                          <a:cs typeface="+mn-cs"/>
                        </a:rPr>
                        <a:t>pandemia</a:t>
                      </a:r>
                      <a:r>
                        <a:rPr lang="en-GB" sz="1400" kern="1200" dirty="0">
                          <a:solidFill>
                            <a:schemeClr val="dk1"/>
                          </a:solidFill>
                          <a:effectLst/>
                          <a:latin typeface="+mn-lt"/>
                          <a:ea typeface="+mn-ea"/>
                          <a:cs typeface="+mn-cs"/>
                        </a:rPr>
                        <a:t> and natural gas, urea and plant parts price </a:t>
                      </a:r>
                      <a:endParaRPr lang="sv-SE" sz="1100" kern="100" dirty="0">
                        <a:solidFill>
                          <a:srgbClr val="404040"/>
                        </a:solidFill>
                        <a:effectLst/>
                        <a:latin typeface="Liberation Serif"/>
                        <a:ea typeface="Noto Sans CJK SC"/>
                        <a:cs typeface="Lohit Devanagari"/>
                      </a:endParaRPr>
                    </a:p>
                  </a:txBody>
                  <a:tcPr marL="1114" marR="1114" marT="1114" marB="1114">
                    <a:solidFill>
                      <a:schemeClr val="accent3">
                        <a:lumMod val="20000"/>
                        <a:lumOff val="80000"/>
                      </a:schemeClr>
                    </a:solidFill>
                  </a:tcPr>
                </a:tc>
                <a:tc rowSpan="3" gridSpan="2">
                  <a:txBody>
                    <a:bodyPr/>
                    <a:lstStyle/>
                    <a:p>
                      <a:pPr marL="285750" marR="0" lvl="0" indent="-2857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GB" sz="1400" kern="1200" dirty="0">
                          <a:solidFill>
                            <a:schemeClr val="dk1"/>
                          </a:solidFill>
                          <a:effectLst/>
                          <a:latin typeface="+mn-lt"/>
                          <a:ea typeface="+mn-ea"/>
                          <a:cs typeface="+mn-cs"/>
                        </a:rPr>
                        <a:t>The integration of a novel H</a:t>
                      </a:r>
                      <a:r>
                        <a:rPr lang="en-GB" sz="1400" kern="1200" baseline="-25000" dirty="0">
                          <a:solidFill>
                            <a:schemeClr val="dk1"/>
                          </a:solidFill>
                          <a:effectLst/>
                          <a:latin typeface="+mn-lt"/>
                          <a:ea typeface="+mn-ea"/>
                          <a:cs typeface="+mn-cs"/>
                        </a:rPr>
                        <a:t>2</a:t>
                      </a:r>
                      <a:r>
                        <a:rPr lang="en-GB" sz="1400" kern="1200" dirty="0">
                          <a:solidFill>
                            <a:schemeClr val="dk1"/>
                          </a:solidFill>
                          <a:effectLst/>
                          <a:latin typeface="+mn-lt"/>
                          <a:ea typeface="+mn-ea"/>
                          <a:cs typeface="+mn-cs"/>
                        </a:rPr>
                        <a:t>SO</a:t>
                      </a:r>
                      <a:r>
                        <a:rPr lang="en-GB" sz="1400" kern="1200" baseline="-25000" dirty="0">
                          <a:solidFill>
                            <a:schemeClr val="dk1"/>
                          </a:solidFill>
                          <a:effectLst/>
                          <a:latin typeface="+mn-lt"/>
                          <a:ea typeface="+mn-ea"/>
                          <a:cs typeface="+mn-cs"/>
                        </a:rPr>
                        <a:t>4</a:t>
                      </a:r>
                      <a:r>
                        <a:rPr lang="en-GB" sz="1400" kern="1200" dirty="0">
                          <a:solidFill>
                            <a:schemeClr val="dk1"/>
                          </a:solidFill>
                          <a:effectLst/>
                          <a:latin typeface="+mn-lt"/>
                          <a:ea typeface="+mn-ea"/>
                          <a:cs typeface="+mn-cs"/>
                        </a:rPr>
                        <a:t> reactor will allow to valorise alternative sources for sulphur and phosphorus for NPK production in a cost and energy efficient manner </a:t>
                      </a:r>
                    </a:p>
                    <a:p>
                      <a:pPr marL="0" marR="0" lvl="0" indent="0" algn="l" defTabSz="914400" rtl="0" eaLnBrk="1" fontAlgn="base" latinLnBrk="0" hangingPunct="1">
                        <a:lnSpc>
                          <a:spcPct val="100000"/>
                        </a:lnSpc>
                        <a:spcBef>
                          <a:spcPts val="0"/>
                        </a:spcBef>
                        <a:spcAft>
                          <a:spcPts val="0"/>
                        </a:spcAft>
                        <a:buClrTx/>
                        <a:buSzTx/>
                        <a:buFontTx/>
                        <a:buNone/>
                        <a:tabLst/>
                        <a:defRPr/>
                      </a:pPr>
                      <a:endParaRPr lang="en-GB" sz="1600" kern="1200" dirty="0">
                        <a:solidFill>
                          <a:schemeClr val="dk1"/>
                        </a:solidFill>
                        <a:effectLst/>
                        <a:latin typeface="+mn-lt"/>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lang="en-GB" sz="1600" kern="1200" dirty="0">
                        <a:solidFill>
                          <a:schemeClr val="dk1"/>
                        </a:solidFill>
                        <a:effectLst/>
                        <a:latin typeface="+mn-lt"/>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lang="en-GB" sz="1600" kern="1200" dirty="0">
                        <a:solidFill>
                          <a:schemeClr val="dk1"/>
                        </a:solidFill>
                        <a:effectLst/>
                        <a:latin typeface="+mn-lt"/>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lang="en-GB" sz="1600" kern="1200" dirty="0">
                        <a:solidFill>
                          <a:schemeClr val="dk1"/>
                        </a:solidFill>
                        <a:effectLst/>
                        <a:latin typeface="+mn-lt"/>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lang="en-GB" sz="1600" kern="1200" dirty="0">
                        <a:solidFill>
                          <a:schemeClr val="dk1"/>
                        </a:solidFill>
                        <a:effectLst/>
                        <a:latin typeface="+mn-lt"/>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lang="en-GB" sz="1600" kern="1200" dirty="0">
                        <a:solidFill>
                          <a:schemeClr val="dk1"/>
                        </a:solidFill>
                        <a:effectLst/>
                        <a:latin typeface="+mn-lt"/>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lang="en-GB" sz="1600" kern="1200" dirty="0">
                        <a:solidFill>
                          <a:schemeClr val="dk1"/>
                        </a:solidFill>
                        <a:effectLst/>
                        <a:latin typeface="+mn-lt"/>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lang="en-GB" sz="1600" kern="1200" dirty="0">
                        <a:solidFill>
                          <a:schemeClr val="dk1"/>
                        </a:solidFill>
                        <a:effectLst/>
                        <a:latin typeface="+mn-lt"/>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lang="sv-SE" sz="1600" kern="1200" dirty="0">
                        <a:solidFill>
                          <a:schemeClr val="dk1"/>
                        </a:solidFill>
                        <a:effectLst/>
                        <a:latin typeface="+mn-lt"/>
                        <a:ea typeface="+mn-ea"/>
                        <a:cs typeface="+mn-cs"/>
                      </a:endParaRPr>
                    </a:p>
                  </a:txBody>
                  <a:tcPr marL="1114" marR="1114" marT="1114" marB="1114">
                    <a:solidFill>
                      <a:schemeClr val="accent3">
                        <a:lumMod val="20000"/>
                        <a:lumOff val="80000"/>
                      </a:schemeClr>
                    </a:solidFill>
                  </a:tcPr>
                </a:tc>
                <a:tc rowSpan="3" hMerge="1">
                  <a:txBody>
                    <a:bodyPr/>
                    <a:lstStyle/>
                    <a:p>
                      <a:endParaRPr lang="en-GB"/>
                    </a:p>
                  </a:txBody>
                  <a:tcPr/>
                </a:tc>
                <a:tc>
                  <a:txBody>
                    <a:bodyPr/>
                    <a:lstStyle/>
                    <a:p>
                      <a:pPr marL="285750" indent="-285750" fontAlgn="base">
                        <a:buFont typeface="Arial" panose="020B0604020202020204" pitchFamily="34" charset="0"/>
                        <a:buChar char="•"/>
                      </a:pPr>
                      <a:r>
                        <a:rPr lang="en-GB" sz="1400" kern="1200" dirty="0">
                          <a:solidFill>
                            <a:schemeClr val="dk1"/>
                          </a:solidFill>
                          <a:effectLst/>
                          <a:latin typeface="+mn-lt"/>
                          <a:ea typeface="+mn-ea"/>
                          <a:cs typeface="+mn-cs"/>
                        </a:rPr>
                        <a:t>Technical and consultancy service; updates of the DT with more accurate versions, new inputs/</a:t>
                      </a:r>
                      <a:r>
                        <a:rPr lang="en-GB" sz="1400" kern="1200" dirty="0" err="1">
                          <a:solidFill>
                            <a:schemeClr val="dk1"/>
                          </a:solidFill>
                          <a:effectLst/>
                          <a:latin typeface="+mn-lt"/>
                          <a:ea typeface="+mn-ea"/>
                          <a:cs typeface="+mn-cs"/>
                        </a:rPr>
                        <a:t>ouputs</a:t>
                      </a:r>
                      <a:r>
                        <a:rPr lang="en-GB" sz="1400" kern="1200" dirty="0">
                          <a:solidFill>
                            <a:schemeClr val="dk1"/>
                          </a:solidFill>
                          <a:effectLst/>
                          <a:latin typeface="+mn-lt"/>
                          <a:ea typeface="+mn-ea"/>
                          <a:cs typeface="+mn-cs"/>
                        </a:rPr>
                        <a:t> and new functionalities </a:t>
                      </a:r>
                      <a:endParaRPr lang="sv-SE" sz="1400" kern="1200" dirty="0">
                        <a:solidFill>
                          <a:schemeClr val="dk1"/>
                        </a:solidFill>
                        <a:effectLst/>
                        <a:latin typeface="+mn-lt"/>
                        <a:ea typeface="+mn-ea"/>
                        <a:cs typeface="+mn-cs"/>
                      </a:endParaRPr>
                    </a:p>
                    <a:p>
                      <a:pPr marL="285750" indent="-285750">
                        <a:buFont typeface="Arial" panose="020B0604020202020204" pitchFamily="34" charset="0"/>
                        <a:buChar char="•"/>
                      </a:pPr>
                      <a:r>
                        <a:rPr lang="en-GB" sz="1400" kern="1200" dirty="0">
                          <a:solidFill>
                            <a:schemeClr val="dk1"/>
                          </a:solidFill>
                          <a:effectLst/>
                          <a:latin typeface="+mn-lt"/>
                          <a:ea typeface="+mn-ea"/>
                          <a:cs typeface="+mn-cs"/>
                        </a:rPr>
                        <a:t>Circular economy and </a:t>
                      </a:r>
                      <a:r>
                        <a:rPr lang="en-GB" sz="1400" kern="1200" dirty="0" err="1">
                          <a:solidFill>
                            <a:schemeClr val="dk1"/>
                          </a:solidFill>
                          <a:effectLst/>
                          <a:latin typeface="+mn-lt"/>
                          <a:ea typeface="+mn-ea"/>
                          <a:cs typeface="+mn-cs"/>
                        </a:rPr>
                        <a:t>sustainabilty</a:t>
                      </a:r>
                      <a:r>
                        <a:rPr lang="en-GB" sz="1400" kern="1200" dirty="0">
                          <a:solidFill>
                            <a:schemeClr val="dk1"/>
                          </a:solidFill>
                          <a:effectLst/>
                          <a:latin typeface="+mn-lt"/>
                          <a:ea typeface="+mn-ea"/>
                          <a:cs typeface="+mn-cs"/>
                        </a:rPr>
                        <a:t> angle/advantage to provide to possible customers </a:t>
                      </a:r>
                      <a:endParaRPr lang="sv-SE" sz="1400" kern="1200" dirty="0">
                        <a:solidFill>
                          <a:schemeClr val="dk1"/>
                        </a:solidFill>
                        <a:effectLst/>
                        <a:latin typeface="+mn-lt"/>
                        <a:ea typeface="+mn-ea"/>
                        <a:cs typeface="+mn-cs"/>
                      </a:endParaRPr>
                    </a:p>
                  </a:txBody>
                  <a:tcPr marL="1114" marR="1114" marT="1114" marB="1114">
                    <a:solidFill>
                      <a:schemeClr val="accent3">
                        <a:lumMod val="20000"/>
                        <a:lumOff val="80000"/>
                      </a:schemeClr>
                    </a:solidFill>
                  </a:tcPr>
                </a:tc>
                <a:tc rowSpan="3">
                  <a:txBody>
                    <a:bodyPr/>
                    <a:lstStyle/>
                    <a:p>
                      <a:pPr marL="285750" indent="-285750" algn="l" defTabSz="914400" rtl="0" eaLnBrk="1" fontAlgn="base" latinLnBrk="0" hangingPunct="1">
                        <a:buFont typeface="Arial" panose="020B0604020202020204" pitchFamily="34" charset="0"/>
                        <a:buChar char="•"/>
                      </a:pPr>
                      <a:r>
                        <a:rPr lang="en-GB" sz="1400" kern="1200" dirty="0">
                          <a:solidFill>
                            <a:schemeClr val="dk1"/>
                          </a:solidFill>
                          <a:effectLst/>
                          <a:latin typeface="+mn-lt"/>
                          <a:ea typeface="+mn-ea"/>
                          <a:cs typeface="+mn-cs"/>
                        </a:rPr>
                        <a:t>REIIs plants manager and operators, engineers who can use the DSS, </a:t>
                      </a:r>
                      <a:endParaRPr lang="sv-SE" sz="1400" kern="1200" dirty="0">
                        <a:solidFill>
                          <a:schemeClr val="dk1"/>
                        </a:solidFill>
                        <a:effectLst/>
                        <a:latin typeface="+mn-lt"/>
                        <a:ea typeface="+mn-ea"/>
                        <a:cs typeface="+mn-cs"/>
                      </a:endParaRPr>
                    </a:p>
                    <a:p>
                      <a:pPr marL="285750" indent="-285750" algn="l" defTabSz="914400" rtl="0" eaLnBrk="1" fontAlgn="base" latinLnBrk="0" hangingPunct="1">
                        <a:buFont typeface="Arial" panose="020B0604020202020204" pitchFamily="34" charset="0"/>
                        <a:buChar char="•"/>
                      </a:pPr>
                      <a:r>
                        <a:rPr lang="en-GB" sz="1400" kern="1200" dirty="0">
                          <a:solidFill>
                            <a:schemeClr val="dk1"/>
                          </a:solidFill>
                          <a:effectLst/>
                          <a:latin typeface="+mn-lt"/>
                          <a:ea typeface="+mn-ea"/>
                          <a:cs typeface="+mn-cs"/>
                        </a:rPr>
                        <a:t>DSS developers in which the DT can be integrated </a:t>
                      </a:r>
                      <a:endParaRPr lang="sv-SE" sz="1400" kern="1200" dirty="0">
                        <a:solidFill>
                          <a:schemeClr val="dk1"/>
                        </a:solidFill>
                        <a:effectLst/>
                        <a:latin typeface="+mn-lt"/>
                        <a:ea typeface="+mn-ea"/>
                        <a:cs typeface="+mn-cs"/>
                      </a:endParaRPr>
                    </a:p>
                    <a:p>
                      <a:pPr marL="285750" indent="-285750" algn="l" defTabSz="914400" rtl="0" eaLnBrk="1" fontAlgn="base" latinLnBrk="0" hangingPunct="1">
                        <a:buFont typeface="Arial" panose="020B0604020202020204" pitchFamily="34" charset="0"/>
                        <a:buChar char="•"/>
                      </a:pPr>
                      <a:r>
                        <a:rPr lang="en-GB" sz="1400" kern="1200" dirty="0">
                          <a:solidFill>
                            <a:schemeClr val="dk1"/>
                          </a:solidFill>
                          <a:effectLst/>
                          <a:latin typeface="+mn-lt"/>
                          <a:ea typeface="+mn-ea"/>
                          <a:cs typeface="+mn-cs"/>
                        </a:rPr>
                        <a:t>Farmers </a:t>
                      </a:r>
                      <a:endParaRPr lang="sv-SE" sz="1400" kern="1200" dirty="0">
                        <a:solidFill>
                          <a:schemeClr val="dk1"/>
                        </a:solidFill>
                        <a:effectLst/>
                        <a:latin typeface="+mn-lt"/>
                        <a:ea typeface="+mn-ea"/>
                        <a:cs typeface="+mn-cs"/>
                      </a:endParaRPr>
                    </a:p>
                  </a:txBody>
                  <a:tcPr marL="1114" marR="1114" marT="1114" marB="1114">
                    <a:solidFill>
                      <a:schemeClr val="accent3">
                        <a:lumMod val="20000"/>
                        <a:lumOff val="80000"/>
                      </a:schemeClr>
                    </a:solidFill>
                  </a:tcPr>
                </a:tc>
                <a:extLst>
                  <a:ext uri="{0D108BD9-81ED-4DB2-BD59-A6C34878D82A}">
                    <a16:rowId xmlns:a16="http://schemas.microsoft.com/office/drawing/2014/main" val="3334709605"/>
                  </a:ext>
                </a:extLst>
              </a:tr>
              <a:tr h="216542">
                <a:tc vMerge="1">
                  <a:txBody>
                    <a:bodyPr/>
                    <a:lstStyle/>
                    <a:p>
                      <a:endParaRPr lang="en-GB"/>
                    </a:p>
                  </a:txBody>
                  <a:tcPr/>
                </a:tc>
                <a:tc>
                  <a:txBody>
                    <a:bodyPr/>
                    <a:lstStyle/>
                    <a:p>
                      <a:pPr fontAlgn="base"/>
                      <a:r>
                        <a:rPr lang="en-GB" sz="1800" b="1" kern="0" dirty="0">
                          <a:solidFill>
                            <a:schemeClr val="bg1"/>
                          </a:solidFill>
                          <a:effectLst/>
                        </a:rPr>
                        <a:t>Key Resources </a:t>
                      </a:r>
                      <a:endParaRPr lang="sv-SE" sz="1800" b="1" kern="100" dirty="0">
                        <a:solidFill>
                          <a:schemeClr val="bg1"/>
                        </a:solidFill>
                        <a:effectLst/>
                        <a:latin typeface="Liberation Serif"/>
                        <a:ea typeface="Noto Sans CJK SC"/>
                        <a:cs typeface="Lohit Devanagari"/>
                      </a:endParaRPr>
                    </a:p>
                  </a:txBody>
                  <a:tcPr marL="1114" marR="1114" marT="1114" marB="1114">
                    <a:solidFill>
                      <a:schemeClr val="accent1"/>
                    </a:solidFill>
                  </a:tcPr>
                </a:tc>
                <a:tc gridSpan="2" vMerge="1">
                  <a:txBody>
                    <a:bodyPr/>
                    <a:lstStyle/>
                    <a:p>
                      <a:endParaRPr lang="en-GB"/>
                    </a:p>
                  </a:txBody>
                  <a:tcPr/>
                </a:tc>
                <a:tc hMerge="1" vMerge="1">
                  <a:txBody>
                    <a:bodyPr/>
                    <a:lstStyle/>
                    <a:p>
                      <a:endParaRPr lang="en-GB" dirty="0"/>
                    </a:p>
                  </a:txBody>
                  <a:tcPr/>
                </a:tc>
                <a:tc>
                  <a:txBody>
                    <a:bodyPr/>
                    <a:lstStyle/>
                    <a:p>
                      <a:pPr fontAlgn="base"/>
                      <a:r>
                        <a:rPr lang="en-GB" sz="1800" b="1" kern="0" dirty="0">
                          <a:solidFill>
                            <a:schemeClr val="bg1"/>
                          </a:solidFill>
                          <a:effectLst/>
                        </a:rPr>
                        <a:t>Channels </a:t>
                      </a:r>
                    </a:p>
                    <a:p>
                      <a:pPr fontAlgn="base"/>
                      <a:endParaRPr lang="en-GB" sz="1800" b="1" kern="0" dirty="0">
                        <a:solidFill>
                          <a:schemeClr val="bg1"/>
                        </a:solidFill>
                        <a:effectLst/>
                        <a:latin typeface="Liberation Serif"/>
                        <a:ea typeface="Noto Sans CJK SC"/>
                        <a:cs typeface="Lohit Devanagari"/>
                      </a:endParaRPr>
                    </a:p>
                    <a:p>
                      <a:pPr fontAlgn="base"/>
                      <a:endParaRPr lang="sv-SE" sz="1600" b="1" kern="100" dirty="0">
                        <a:solidFill>
                          <a:schemeClr val="bg1"/>
                        </a:solidFill>
                        <a:effectLst/>
                        <a:latin typeface="Liberation Serif"/>
                        <a:ea typeface="Noto Sans CJK SC"/>
                        <a:cs typeface="Lohit Devanagari"/>
                      </a:endParaRPr>
                    </a:p>
                  </a:txBody>
                  <a:tcPr marL="1114" marR="1114" marT="1114" marB="1114">
                    <a:solidFill>
                      <a:schemeClr val="accent1"/>
                    </a:solidFill>
                  </a:tcPr>
                </a:tc>
                <a:tc vMerge="1">
                  <a:txBody>
                    <a:bodyPr/>
                    <a:lstStyle/>
                    <a:p>
                      <a:endParaRPr lang="en-GB"/>
                    </a:p>
                  </a:txBody>
                  <a:tcPr/>
                </a:tc>
                <a:extLst>
                  <a:ext uri="{0D108BD9-81ED-4DB2-BD59-A6C34878D82A}">
                    <a16:rowId xmlns:a16="http://schemas.microsoft.com/office/drawing/2014/main" val="2587219525"/>
                  </a:ext>
                </a:extLst>
              </a:tr>
              <a:tr h="779038">
                <a:tc vMerge="1">
                  <a:txBody>
                    <a:bodyPr/>
                    <a:lstStyle/>
                    <a:p>
                      <a:endParaRPr lang="en-GB"/>
                    </a:p>
                  </a:txBody>
                  <a:tcPr/>
                </a:tc>
                <a:tc>
                  <a:txBody>
                    <a:bodyPr/>
                    <a:lstStyle/>
                    <a:p>
                      <a:pPr marL="285750" indent="-285750" algn="l" defTabSz="914400" rtl="0" eaLnBrk="1" fontAlgn="base" latinLnBrk="0" hangingPunct="1">
                        <a:buFont typeface="Arial" panose="020B0604020202020204" pitchFamily="34" charset="0"/>
                        <a:buChar char="•"/>
                      </a:pPr>
                      <a:r>
                        <a:rPr lang="en-GB" sz="1400" kern="1200" dirty="0">
                          <a:solidFill>
                            <a:schemeClr val="dk1"/>
                          </a:solidFill>
                          <a:effectLst/>
                          <a:latin typeface="+mn-lt"/>
                          <a:ea typeface="+mn-ea"/>
                          <a:cs typeface="+mn-cs"/>
                        </a:rPr>
                        <a:t>Pioneering the technology </a:t>
                      </a:r>
                      <a:endParaRPr lang="sv-SE" sz="1400" kern="1200" dirty="0">
                        <a:solidFill>
                          <a:schemeClr val="dk1"/>
                        </a:solidFill>
                        <a:effectLst/>
                        <a:latin typeface="+mn-lt"/>
                        <a:ea typeface="+mn-ea"/>
                        <a:cs typeface="+mn-cs"/>
                      </a:endParaRPr>
                    </a:p>
                    <a:p>
                      <a:pPr marL="285750" indent="-285750" algn="l" defTabSz="914400" rtl="0" eaLnBrk="1" fontAlgn="base" latinLnBrk="0" hangingPunct="1">
                        <a:buFont typeface="Arial" panose="020B0604020202020204" pitchFamily="34" charset="0"/>
                        <a:buChar char="•"/>
                      </a:pPr>
                      <a:r>
                        <a:rPr lang="en-GB" sz="1400" kern="1200" dirty="0">
                          <a:solidFill>
                            <a:schemeClr val="dk1"/>
                          </a:solidFill>
                          <a:effectLst/>
                          <a:latin typeface="+mn-lt"/>
                          <a:ea typeface="+mn-ea"/>
                          <a:cs typeface="+mn-cs"/>
                        </a:rPr>
                        <a:t>Know-how on how to design the reactor </a:t>
                      </a:r>
                      <a:endParaRPr lang="sv-SE" sz="1400" kern="1200" dirty="0">
                        <a:solidFill>
                          <a:schemeClr val="dk1"/>
                        </a:solidFill>
                        <a:effectLst/>
                        <a:latin typeface="+mn-lt"/>
                        <a:ea typeface="+mn-ea"/>
                        <a:cs typeface="+mn-cs"/>
                      </a:endParaRPr>
                    </a:p>
                    <a:p>
                      <a:pPr marL="285750" indent="-285750" algn="l" defTabSz="914400" rtl="0" eaLnBrk="1" fontAlgn="base" latinLnBrk="0" hangingPunct="1">
                        <a:buFont typeface="Arial" panose="020B0604020202020204" pitchFamily="34" charset="0"/>
                        <a:buChar char="•"/>
                      </a:pPr>
                      <a:r>
                        <a:rPr lang="en-GB" sz="1400" kern="1200" dirty="0" err="1">
                          <a:solidFill>
                            <a:schemeClr val="dk1"/>
                          </a:solidFill>
                          <a:effectLst/>
                          <a:latin typeface="+mn-lt"/>
                          <a:ea typeface="+mn-ea"/>
                          <a:cs typeface="+mn-cs"/>
                        </a:rPr>
                        <a:t>Calcualting</a:t>
                      </a:r>
                      <a:r>
                        <a:rPr lang="en-GB" sz="1400" kern="1200" dirty="0">
                          <a:solidFill>
                            <a:schemeClr val="dk1"/>
                          </a:solidFill>
                          <a:effectLst/>
                          <a:latin typeface="+mn-lt"/>
                          <a:ea typeface="+mn-ea"/>
                          <a:cs typeface="+mn-cs"/>
                        </a:rPr>
                        <a:t> the reactions, simulating the process </a:t>
                      </a:r>
                      <a:endParaRPr lang="sv-SE" sz="1400" kern="1200" dirty="0">
                        <a:solidFill>
                          <a:schemeClr val="dk1"/>
                        </a:solidFill>
                        <a:effectLst/>
                        <a:latin typeface="+mn-lt"/>
                        <a:ea typeface="+mn-ea"/>
                        <a:cs typeface="+mn-cs"/>
                      </a:endParaRPr>
                    </a:p>
                    <a:p>
                      <a:pPr marL="285750" indent="-285750" algn="l" defTabSz="914400" rtl="0" eaLnBrk="1" fontAlgn="base" latinLnBrk="0" hangingPunct="1">
                        <a:buFont typeface="Arial" panose="020B0604020202020204" pitchFamily="34" charset="0"/>
                        <a:buChar char="•"/>
                      </a:pPr>
                      <a:r>
                        <a:rPr lang="en-GB" sz="1400" kern="1200" dirty="0">
                          <a:solidFill>
                            <a:schemeClr val="dk1"/>
                          </a:solidFill>
                          <a:effectLst/>
                          <a:latin typeface="+mn-lt"/>
                          <a:ea typeface="+mn-ea"/>
                          <a:cs typeface="+mn-cs"/>
                        </a:rPr>
                        <a:t>Highly qualified staff </a:t>
                      </a:r>
                      <a:endParaRPr lang="sv-SE" sz="1400" kern="1200" dirty="0">
                        <a:solidFill>
                          <a:schemeClr val="dk1"/>
                        </a:solidFill>
                        <a:effectLst/>
                        <a:latin typeface="+mn-lt"/>
                        <a:ea typeface="+mn-ea"/>
                        <a:cs typeface="+mn-cs"/>
                      </a:endParaRPr>
                    </a:p>
                    <a:p>
                      <a:pPr marL="285750" indent="-285750" algn="l" defTabSz="914400" rtl="0" eaLnBrk="1" fontAlgn="base" latinLnBrk="0" hangingPunct="1">
                        <a:buFont typeface="Arial" panose="020B0604020202020204" pitchFamily="34" charset="0"/>
                        <a:buChar char="•"/>
                      </a:pPr>
                      <a:r>
                        <a:rPr lang="en-GB" sz="1400" kern="1200" dirty="0">
                          <a:solidFill>
                            <a:schemeClr val="dk1"/>
                          </a:solidFill>
                          <a:effectLst/>
                          <a:latin typeface="+mn-lt"/>
                          <a:ea typeface="+mn-ea"/>
                          <a:cs typeface="+mn-cs"/>
                        </a:rPr>
                        <a:t>Special software to the essential installations </a:t>
                      </a:r>
                      <a:endParaRPr lang="sv-SE" sz="1400" kern="1200" dirty="0">
                        <a:solidFill>
                          <a:schemeClr val="dk1"/>
                        </a:solidFill>
                        <a:effectLst/>
                        <a:latin typeface="+mn-lt"/>
                        <a:ea typeface="+mn-ea"/>
                        <a:cs typeface="+mn-cs"/>
                      </a:endParaRPr>
                    </a:p>
                    <a:p>
                      <a:pPr marL="285750" indent="-285750" algn="l" defTabSz="914400" rtl="0" eaLnBrk="1" fontAlgn="base" latinLnBrk="0" hangingPunct="1">
                        <a:buFont typeface="Arial" panose="020B0604020202020204" pitchFamily="34" charset="0"/>
                        <a:buChar char="•"/>
                      </a:pPr>
                      <a:r>
                        <a:rPr lang="en-GB" sz="1400" kern="1200" dirty="0">
                          <a:solidFill>
                            <a:schemeClr val="dk1"/>
                          </a:solidFill>
                          <a:effectLst/>
                          <a:latin typeface="+mn-lt"/>
                          <a:ea typeface="+mn-ea"/>
                          <a:cs typeface="+mn-cs"/>
                        </a:rPr>
                        <a:t>Internal tool to process the data /toxic materials, security reasons/ </a:t>
                      </a:r>
                      <a:endParaRPr lang="sv-SE" sz="1400" kern="1200" dirty="0">
                        <a:solidFill>
                          <a:schemeClr val="dk1"/>
                        </a:solidFill>
                        <a:effectLst/>
                        <a:latin typeface="+mn-lt"/>
                        <a:ea typeface="+mn-ea"/>
                        <a:cs typeface="+mn-cs"/>
                      </a:endParaRPr>
                    </a:p>
                  </a:txBody>
                  <a:tcPr marL="9525" marR="9525" marT="9525" marB="9525">
                    <a:solidFill>
                      <a:schemeClr val="accent3">
                        <a:lumMod val="20000"/>
                        <a:lumOff val="80000"/>
                      </a:schemeClr>
                    </a:solidFill>
                  </a:tcPr>
                </a:tc>
                <a:tc gridSpan="2" vMerge="1">
                  <a:txBody>
                    <a:bodyPr/>
                    <a:lstStyle/>
                    <a:p>
                      <a:endParaRPr lang="en-GB"/>
                    </a:p>
                  </a:txBody>
                  <a:tcPr/>
                </a:tc>
                <a:tc hMerge="1" vMerge="1">
                  <a:txBody>
                    <a:bodyPr/>
                    <a:lstStyle/>
                    <a:p>
                      <a:endParaRPr lang="en-GB" dirty="0"/>
                    </a:p>
                  </a:txBody>
                  <a:tcPr/>
                </a:tc>
                <a:tc>
                  <a:txBody>
                    <a:bodyPr/>
                    <a:lstStyle/>
                    <a:p>
                      <a:pPr marL="285750" indent="-285750" fontAlgn="base">
                        <a:buFont typeface="Arial" panose="020B0604020202020204" pitchFamily="34" charset="0"/>
                        <a:buChar char="•"/>
                      </a:pPr>
                      <a:r>
                        <a:rPr lang="en-GB" sz="1400" kern="1200" dirty="0">
                          <a:solidFill>
                            <a:schemeClr val="dk1"/>
                          </a:solidFill>
                          <a:effectLst/>
                          <a:latin typeface="+mn-lt"/>
                          <a:ea typeface="+mn-ea"/>
                          <a:cs typeface="+mn-cs"/>
                        </a:rPr>
                        <a:t>It cannot be online /security reasons/ </a:t>
                      </a:r>
                      <a:endParaRPr lang="sv-SE" sz="1400" kern="1200" dirty="0">
                        <a:solidFill>
                          <a:schemeClr val="dk1"/>
                        </a:solidFill>
                        <a:effectLst/>
                        <a:latin typeface="+mn-lt"/>
                        <a:ea typeface="+mn-ea"/>
                        <a:cs typeface="+mn-cs"/>
                      </a:endParaRPr>
                    </a:p>
                    <a:p>
                      <a:pPr marL="285750" indent="-285750" fontAlgn="base">
                        <a:buFont typeface="Arial" panose="020B0604020202020204" pitchFamily="34" charset="0"/>
                        <a:buChar char="•"/>
                      </a:pPr>
                      <a:r>
                        <a:rPr lang="en-GB" sz="1400" kern="1200" dirty="0">
                          <a:solidFill>
                            <a:schemeClr val="dk1"/>
                          </a:solidFill>
                          <a:effectLst/>
                          <a:latin typeface="+mn-lt"/>
                          <a:ea typeface="+mn-ea"/>
                          <a:cs typeface="+mn-cs"/>
                        </a:rPr>
                        <a:t>RETROFEED network REIIs technology suppliers. </a:t>
                      </a:r>
                      <a:endParaRPr lang="sv-SE" sz="1400" kern="1200" dirty="0">
                        <a:solidFill>
                          <a:schemeClr val="dk1"/>
                        </a:solidFill>
                        <a:effectLst/>
                        <a:latin typeface="+mn-lt"/>
                        <a:ea typeface="+mn-ea"/>
                        <a:cs typeface="+mn-cs"/>
                      </a:endParaRPr>
                    </a:p>
                    <a:p>
                      <a:pPr marL="285750" indent="-285750" fontAlgn="base">
                        <a:buFont typeface="Arial" panose="020B0604020202020204" pitchFamily="34" charset="0"/>
                        <a:buChar char="•"/>
                      </a:pPr>
                      <a:r>
                        <a:rPr lang="en-GB" sz="1400" kern="1200" dirty="0">
                          <a:solidFill>
                            <a:schemeClr val="dk1"/>
                          </a:solidFill>
                          <a:effectLst/>
                          <a:latin typeface="+mn-lt"/>
                          <a:ea typeface="+mn-ea"/>
                          <a:cs typeface="+mn-cs"/>
                        </a:rPr>
                        <a:t>Conferences and special sessions where the innovations are presented and where we can reach interested clients. </a:t>
                      </a:r>
                      <a:endParaRPr lang="sv-SE" sz="1400" kern="1200" dirty="0">
                        <a:solidFill>
                          <a:schemeClr val="dk1"/>
                        </a:solidFill>
                        <a:effectLst/>
                        <a:latin typeface="+mn-lt"/>
                        <a:ea typeface="+mn-ea"/>
                        <a:cs typeface="+mn-cs"/>
                      </a:endParaRPr>
                    </a:p>
                  </a:txBody>
                  <a:tcPr marL="1114" marR="1114" marT="1114" marB="1114">
                    <a:solidFill>
                      <a:schemeClr val="accent3">
                        <a:lumMod val="20000"/>
                        <a:lumOff val="80000"/>
                      </a:schemeClr>
                    </a:solidFill>
                  </a:tcPr>
                </a:tc>
                <a:tc vMerge="1">
                  <a:txBody>
                    <a:bodyPr/>
                    <a:lstStyle/>
                    <a:p>
                      <a:endParaRPr lang="en-GB"/>
                    </a:p>
                  </a:txBody>
                  <a:tcPr/>
                </a:tc>
                <a:extLst>
                  <a:ext uri="{0D108BD9-81ED-4DB2-BD59-A6C34878D82A}">
                    <a16:rowId xmlns:a16="http://schemas.microsoft.com/office/drawing/2014/main" val="1673436252"/>
                  </a:ext>
                </a:extLst>
              </a:tr>
              <a:tr h="337625">
                <a:tc gridSpan="3">
                  <a:txBody>
                    <a:bodyPr/>
                    <a:lstStyle/>
                    <a:p>
                      <a:pPr fontAlgn="base"/>
                      <a:r>
                        <a:rPr lang="en-GB" sz="1800" b="1" kern="0" dirty="0">
                          <a:solidFill>
                            <a:schemeClr val="bg1"/>
                          </a:solidFill>
                          <a:effectLst/>
                        </a:rPr>
                        <a:t>Cost Structure </a:t>
                      </a:r>
                    </a:p>
                    <a:p>
                      <a:pPr fontAlgn="base"/>
                      <a:endParaRPr lang="sv-SE" sz="1600" b="1" kern="100" dirty="0">
                        <a:solidFill>
                          <a:schemeClr val="bg1"/>
                        </a:solidFill>
                        <a:effectLst/>
                      </a:endParaRPr>
                    </a:p>
                  </a:txBody>
                  <a:tcPr marL="1114" marR="1114" marT="1114" marB="1114"/>
                </a:tc>
                <a:tc hMerge="1">
                  <a:txBody>
                    <a:bodyPr/>
                    <a:lstStyle/>
                    <a:p>
                      <a:endParaRPr lang="en-GB"/>
                    </a:p>
                  </a:txBody>
                  <a:tcPr/>
                </a:tc>
                <a:tc hMerge="1">
                  <a:txBody>
                    <a:bodyPr/>
                    <a:lstStyle/>
                    <a:p>
                      <a:endParaRPr lang="en-GB"/>
                    </a:p>
                  </a:txBody>
                  <a:tcPr/>
                </a:tc>
                <a:tc gridSpan="3">
                  <a:txBody>
                    <a:bodyPr/>
                    <a:lstStyle/>
                    <a:p>
                      <a:pPr fontAlgn="base"/>
                      <a:r>
                        <a:rPr lang="en-GB" sz="1800" b="1" kern="0" dirty="0">
                          <a:solidFill>
                            <a:schemeClr val="bg1"/>
                          </a:solidFill>
                          <a:effectLst/>
                        </a:rPr>
                        <a:t>Revenue Streams </a:t>
                      </a:r>
                    </a:p>
                    <a:p>
                      <a:pPr fontAlgn="base"/>
                      <a:endParaRPr lang="en-GB" sz="1600" b="1" kern="0" dirty="0">
                        <a:solidFill>
                          <a:schemeClr val="bg1"/>
                        </a:solidFill>
                        <a:effectLst/>
                      </a:endParaRPr>
                    </a:p>
                    <a:p>
                      <a:pPr fontAlgn="base"/>
                      <a:endParaRPr lang="sv-SE" sz="1600" b="1" kern="100" dirty="0">
                        <a:solidFill>
                          <a:schemeClr val="bg1"/>
                        </a:solidFill>
                        <a:effectLst/>
                      </a:endParaRPr>
                    </a:p>
                  </a:txBody>
                  <a:tcPr marL="1114" marR="1114" marT="1114" marB="1114">
                    <a:solidFill>
                      <a:schemeClr val="accent1"/>
                    </a:solidFill>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2457363146"/>
                  </a:ext>
                </a:extLst>
              </a:tr>
              <a:tr h="0">
                <a:tc gridSpan="3">
                  <a:txBody>
                    <a:bodyPr/>
                    <a:lstStyle/>
                    <a:p>
                      <a:pPr marL="285750" indent="-285750" algn="l" defTabSz="914400" rtl="0" eaLnBrk="1" fontAlgn="base" latinLnBrk="0" hangingPunct="1">
                        <a:buFont typeface="Arial" panose="020B0604020202020204" pitchFamily="34" charset="0"/>
                        <a:buChar char="•"/>
                      </a:pPr>
                      <a:r>
                        <a:rPr lang="en-GB" sz="1400" b="0" kern="1200" dirty="0">
                          <a:solidFill>
                            <a:schemeClr val="dk1"/>
                          </a:solidFill>
                          <a:effectLst/>
                          <a:latin typeface="+mn-lt"/>
                          <a:ea typeface="+mn-ea"/>
                          <a:cs typeface="+mn-cs"/>
                        </a:rPr>
                        <a:t>Software license costs </a:t>
                      </a:r>
                      <a:endParaRPr lang="sv-SE" sz="1400" b="0" kern="1200" dirty="0">
                        <a:solidFill>
                          <a:schemeClr val="dk1"/>
                        </a:solidFill>
                        <a:effectLst/>
                        <a:latin typeface="+mn-lt"/>
                        <a:ea typeface="+mn-ea"/>
                        <a:cs typeface="+mn-cs"/>
                      </a:endParaRPr>
                    </a:p>
                    <a:p>
                      <a:pPr marL="285750" indent="-285750" algn="l" defTabSz="914400" rtl="0" eaLnBrk="1" fontAlgn="base" latinLnBrk="0" hangingPunct="1">
                        <a:buFont typeface="Arial" panose="020B0604020202020204" pitchFamily="34" charset="0"/>
                        <a:buChar char="•"/>
                      </a:pPr>
                      <a:r>
                        <a:rPr lang="en-GB" sz="1400" b="0" kern="1200" dirty="0">
                          <a:solidFill>
                            <a:schemeClr val="dk1"/>
                          </a:solidFill>
                          <a:effectLst/>
                          <a:latin typeface="+mn-lt"/>
                          <a:ea typeface="+mn-ea"/>
                          <a:cs typeface="+mn-cs"/>
                        </a:rPr>
                        <a:t>IPR costs </a:t>
                      </a:r>
                      <a:endParaRPr lang="sv-SE" sz="1400" b="0" kern="1200" dirty="0">
                        <a:solidFill>
                          <a:schemeClr val="dk1"/>
                        </a:solidFill>
                        <a:effectLst/>
                        <a:latin typeface="+mn-lt"/>
                        <a:ea typeface="+mn-ea"/>
                        <a:cs typeface="+mn-cs"/>
                      </a:endParaRPr>
                    </a:p>
                    <a:p>
                      <a:pPr marL="285750" indent="-285750" algn="l" defTabSz="914400" rtl="0" eaLnBrk="1" fontAlgn="base" latinLnBrk="0" hangingPunct="1">
                        <a:buFont typeface="Arial" panose="020B0604020202020204" pitchFamily="34" charset="0"/>
                        <a:buChar char="•"/>
                      </a:pPr>
                      <a:r>
                        <a:rPr lang="en-GB" sz="1400" b="0" kern="1200" dirty="0">
                          <a:solidFill>
                            <a:schemeClr val="dk1"/>
                          </a:solidFill>
                          <a:effectLst/>
                          <a:latin typeface="+mn-lt"/>
                          <a:ea typeface="+mn-ea"/>
                          <a:cs typeface="+mn-cs"/>
                        </a:rPr>
                        <a:t>Human resources /</a:t>
                      </a:r>
                      <a:r>
                        <a:rPr lang="en-GB" sz="1400" b="0" kern="1200" dirty="0" err="1">
                          <a:solidFill>
                            <a:schemeClr val="dk1"/>
                          </a:solidFill>
                          <a:effectLst/>
                          <a:latin typeface="+mn-lt"/>
                          <a:ea typeface="+mn-ea"/>
                          <a:cs typeface="+mn-cs"/>
                        </a:rPr>
                        <a:t>engireening</a:t>
                      </a:r>
                      <a:r>
                        <a:rPr lang="en-GB" sz="1400" b="0" kern="1200" dirty="0">
                          <a:solidFill>
                            <a:schemeClr val="dk1"/>
                          </a:solidFill>
                          <a:effectLst/>
                          <a:latin typeface="+mn-lt"/>
                          <a:ea typeface="+mn-ea"/>
                          <a:cs typeface="+mn-cs"/>
                        </a:rPr>
                        <a:t>, sales, etc,/ </a:t>
                      </a:r>
                      <a:endParaRPr lang="sv-SE" sz="1400" b="0" kern="1200" dirty="0">
                        <a:solidFill>
                          <a:schemeClr val="dk1"/>
                        </a:solidFill>
                        <a:effectLst/>
                        <a:latin typeface="+mn-lt"/>
                        <a:ea typeface="+mn-ea"/>
                        <a:cs typeface="+mn-cs"/>
                      </a:endParaRPr>
                    </a:p>
                    <a:p>
                      <a:pPr marL="285750" indent="-285750" algn="l" defTabSz="914400" rtl="0" eaLnBrk="1" fontAlgn="base" latinLnBrk="0" hangingPunct="1">
                        <a:buFont typeface="Arial" panose="020B0604020202020204" pitchFamily="34" charset="0"/>
                        <a:buChar char="•"/>
                      </a:pPr>
                      <a:r>
                        <a:rPr lang="en-GB" sz="1400" b="0" kern="1200" dirty="0">
                          <a:solidFill>
                            <a:schemeClr val="dk1"/>
                          </a:solidFill>
                          <a:effectLst/>
                          <a:latin typeface="+mn-lt"/>
                          <a:ea typeface="+mn-ea"/>
                          <a:cs typeface="+mn-cs"/>
                        </a:rPr>
                        <a:t>Installation </a:t>
                      </a:r>
                      <a:endParaRPr lang="sv-SE" sz="1400" b="0" kern="1200" dirty="0">
                        <a:solidFill>
                          <a:schemeClr val="dk1"/>
                        </a:solidFill>
                        <a:effectLst/>
                        <a:latin typeface="+mn-lt"/>
                        <a:ea typeface="+mn-ea"/>
                        <a:cs typeface="+mn-cs"/>
                      </a:endParaRPr>
                    </a:p>
                    <a:p>
                      <a:pPr marL="285750" indent="-285750" algn="l" defTabSz="914400" rtl="0" eaLnBrk="1" fontAlgn="base" latinLnBrk="0" hangingPunct="1">
                        <a:buFont typeface="Arial" panose="020B0604020202020204" pitchFamily="34" charset="0"/>
                        <a:buChar char="•"/>
                      </a:pPr>
                      <a:r>
                        <a:rPr lang="en-GB" sz="1400" b="0" kern="1200" dirty="0">
                          <a:solidFill>
                            <a:schemeClr val="dk1"/>
                          </a:solidFill>
                          <a:effectLst/>
                          <a:latin typeface="+mn-lt"/>
                          <a:ea typeface="+mn-ea"/>
                          <a:cs typeface="+mn-cs"/>
                        </a:rPr>
                        <a:t>Instrumentation </a:t>
                      </a:r>
                      <a:endParaRPr lang="sv-SE" sz="1400" b="0" kern="1200" dirty="0">
                        <a:solidFill>
                          <a:schemeClr val="dk1"/>
                        </a:solidFill>
                        <a:effectLst/>
                        <a:latin typeface="+mn-lt"/>
                        <a:ea typeface="+mn-ea"/>
                        <a:cs typeface="+mn-cs"/>
                      </a:endParaRPr>
                    </a:p>
                    <a:p>
                      <a:pPr marL="285750" indent="-285750" algn="l" defTabSz="914400" rtl="0" eaLnBrk="1" fontAlgn="base" latinLnBrk="0" hangingPunct="1">
                        <a:buFont typeface="Arial" panose="020B0604020202020204" pitchFamily="34" charset="0"/>
                        <a:buChar char="•"/>
                      </a:pPr>
                      <a:r>
                        <a:rPr lang="en-GB" sz="1400" b="0" kern="1200" dirty="0">
                          <a:solidFill>
                            <a:schemeClr val="dk1"/>
                          </a:solidFill>
                          <a:effectLst/>
                          <a:latin typeface="+mn-lt"/>
                          <a:ea typeface="+mn-ea"/>
                          <a:cs typeface="+mn-cs"/>
                        </a:rPr>
                        <a:t>Commissioning </a:t>
                      </a:r>
                      <a:endParaRPr lang="sv-SE" sz="1400" b="0" kern="1200" dirty="0">
                        <a:solidFill>
                          <a:schemeClr val="dk1"/>
                        </a:solidFill>
                        <a:effectLst/>
                        <a:latin typeface="+mn-lt"/>
                        <a:ea typeface="+mn-ea"/>
                        <a:cs typeface="+mn-cs"/>
                      </a:endParaRPr>
                    </a:p>
                    <a:p>
                      <a:pPr marL="285750" indent="-285750" algn="l" defTabSz="914400" rtl="0" eaLnBrk="1" fontAlgn="base" latinLnBrk="0" hangingPunct="1">
                        <a:buFont typeface="Arial" panose="020B0604020202020204" pitchFamily="34" charset="0"/>
                        <a:buChar char="•"/>
                      </a:pPr>
                      <a:r>
                        <a:rPr lang="en-GB" sz="1400" b="0" kern="1200" dirty="0">
                          <a:solidFill>
                            <a:schemeClr val="dk1"/>
                          </a:solidFill>
                          <a:effectLst/>
                          <a:latin typeface="+mn-lt"/>
                          <a:ea typeface="+mn-ea"/>
                          <a:cs typeface="+mn-cs"/>
                        </a:rPr>
                        <a:t>Like building a new plant partly </a:t>
                      </a:r>
                      <a:endParaRPr lang="sv-SE" sz="1400" b="0" kern="1200" dirty="0">
                        <a:solidFill>
                          <a:schemeClr val="dk1"/>
                        </a:solidFill>
                        <a:effectLst/>
                        <a:latin typeface="+mn-lt"/>
                        <a:ea typeface="+mn-ea"/>
                        <a:cs typeface="+mn-cs"/>
                      </a:endParaRPr>
                    </a:p>
                    <a:p>
                      <a:pPr marL="285750" indent="-285750" algn="l" defTabSz="914400" rtl="0" eaLnBrk="1" fontAlgn="base" latinLnBrk="0" hangingPunct="1">
                        <a:buFont typeface="Arial" panose="020B0604020202020204" pitchFamily="34" charset="0"/>
                        <a:buChar char="•"/>
                      </a:pPr>
                      <a:r>
                        <a:rPr lang="en-GB" sz="1400" b="0" kern="1200" dirty="0">
                          <a:solidFill>
                            <a:schemeClr val="dk1"/>
                          </a:solidFill>
                          <a:effectLst/>
                          <a:latin typeface="+mn-lt"/>
                          <a:ea typeface="+mn-ea"/>
                          <a:cs typeface="+mn-cs"/>
                        </a:rPr>
                        <a:t>Equipment </a:t>
                      </a:r>
                      <a:endParaRPr lang="sv-SE" sz="1400" b="0" kern="1200" dirty="0">
                        <a:solidFill>
                          <a:schemeClr val="dk1"/>
                        </a:solidFill>
                        <a:effectLst/>
                        <a:latin typeface="+mn-lt"/>
                        <a:ea typeface="+mn-ea"/>
                        <a:cs typeface="+mn-cs"/>
                      </a:endParaRPr>
                    </a:p>
                  </a:txBody>
                  <a:tcPr marL="1114" marR="1114" marT="1114" marB="1114">
                    <a:solidFill>
                      <a:schemeClr val="accent3">
                        <a:lumMod val="20000"/>
                        <a:lumOff val="80000"/>
                      </a:schemeClr>
                    </a:solidFill>
                  </a:tcPr>
                </a:tc>
                <a:tc hMerge="1">
                  <a:txBody>
                    <a:bodyPr/>
                    <a:lstStyle/>
                    <a:p>
                      <a:endParaRPr lang="en-GB"/>
                    </a:p>
                  </a:txBody>
                  <a:tcPr/>
                </a:tc>
                <a:tc hMerge="1">
                  <a:txBody>
                    <a:bodyPr/>
                    <a:lstStyle/>
                    <a:p>
                      <a:endParaRPr lang="en-GB"/>
                    </a:p>
                  </a:txBody>
                  <a:tcPr/>
                </a:tc>
                <a:tc gridSpan="3">
                  <a:txBody>
                    <a:bodyPr/>
                    <a:lstStyle/>
                    <a:p>
                      <a:pPr marL="285750" indent="-285750" algn="l" defTabSz="914400" rtl="0" eaLnBrk="1" fontAlgn="base" latinLnBrk="0" hangingPunct="1">
                        <a:buFont typeface="Arial" panose="020B0604020202020204" pitchFamily="34" charset="0"/>
                        <a:buChar char="•"/>
                      </a:pPr>
                      <a:r>
                        <a:rPr lang="en-GB" sz="1400" kern="1200" dirty="0">
                          <a:solidFill>
                            <a:schemeClr val="dk1"/>
                          </a:solidFill>
                          <a:effectLst/>
                          <a:latin typeface="+mn-lt"/>
                          <a:ea typeface="+mn-ea"/>
                          <a:cs typeface="+mn-cs"/>
                        </a:rPr>
                        <a:t>Selling the products </a:t>
                      </a:r>
                      <a:endParaRPr lang="sv-SE" sz="1400" kern="1200" dirty="0">
                        <a:solidFill>
                          <a:schemeClr val="dk1"/>
                        </a:solidFill>
                        <a:effectLst/>
                        <a:latin typeface="+mn-lt"/>
                        <a:ea typeface="+mn-ea"/>
                        <a:cs typeface="+mn-cs"/>
                      </a:endParaRPr>
                    </a:p>
                    <a:p>
                      <a:pPr marL="285750" indent="-285750" algn="l" defTabSz="914400" rtl="0" eaLnBrk="1" fontAlgn="base" latinLnBrk="0" hangingPunct="1">
                        <a:buFont typeface="Arial" panose="020B0604020202020204" pitchFamily="34" charset="0"/>
                        <a:buChar char="•"/>
                      </a:pPr>
                      <a:r>
                        <a:rPr lang="en-GB" sz="1400" kern="1200" dirty="0">
                          <a:solidFill>
                            <a:schemeClr val="dk1"/>
                          </a:solidFill>
                          <a:effectLst/>
                          <a:latin typeface="+mn-lt"/>
                          <a:ea typeface="+mn-ea"/>
                          <a:cs typeface="+mn-cs"/>
                        </a:rPr>
                        <a:t>Implementation of different versions of the </a:t>
                      </a:r>
                      <a:r>
                        <a:rPr lang="en-GB" sz="1400" kern="1200" dirty="0" err="1">
                          <a:solidFill>
                            <a:schemeClr val="dk1"/>
                          </a:solidFill>
                          <a:effectLst/>
                          <a:latin typeface="+mn-lt"/>
                          <a:ea typeface="+mn-ea"/>
                          <a:cs typeface="+mn-cs"/>
                        </a:rPr>
                        <a:t>sofware</a:t>
                      </a:r>
                      <a:r>
                        <a:rPr lang="en-GB" sz="1400" kern="1200" dirty="0">
                          <a:solidFill>
                            <a:schemeClr val="dk1"/>
                          </a:solidFill>
                          <a:effectLst/>
                          <a:latin typeface="+mn-lt"/>
                          <a:ea typeface="+mn-ea"/>
                          <a:cs typeface="+mn-cs"/>
                        </a:rPr>
                        <a:t> (DT) </a:t>
                      </a:r>
                      <a:endParaRPr lang="sv-SE" sz="1400" kern="1200" dirty="0">
                        <a:solidFill>
                          <a:schemeClr val="dk1"/>
                        </a:solidFill>
                        <a:effectLst/>
                        <a:latin typeface="+mn-lt"/>
                        <a:ea typeface="+mn-ea"/>
                        <a:cs typeface="+mn-cs"/>
                      </a:endParaRPr>
                    </a:p>
                    <a:p>
                      <a:pPr marL="285750" indent="-285750" algn="l" defTabSz="914400" rtl="0" eaLnBrk="1" fontAlgn="base" latinLnBrk="0" hangingPunct="1">
                        <a:buFont typeface="Arial" panose="020B0604020202020204" pitchFamily="34" charset="0"/>
                        <a:buChar char="•"/>
                      </a:pPr>
                      <a:r>
                        <a:rPr lang="en-GB" sz="1400" kern="1200" dirty="0">
                          <a:solidFill>
                            <a:schemeClr val="dk1"/>
                          </a:solidFill>
                          <a:effectLst/>
                          <a:latin typeface="+mn-lt"/>
                          <a:ea typeface="+mn-ea"/>
                          <a:cs typeface="+mn-cs"/>
                        </a:rPr>
                        <a:t>Carbon footprint will be lower </a:t>
                      </a:r>
                      <a:endParaRPr lang="sv-SE" sz="1400" kern="1200" dirty="0">
                        <a:solidFill>
                          <a:schemeClr val="dk1"/>
                        </a:solidFill>
                        <a:effectLst/>
                        <a:latin typeface="+mn-lt"/>
                        <a:ea typeface="+mn-ea"/>
                        <a:cs typeface="+mn-cs"/>
                      </a:endParaRPr>
                    </a:p>
                    <a:p>
                      <a:pPr marL="285750" indent="-285750" algn="l" defTabSz="914400" rtl="0" eaLnBrk="1" fontAlgn="base" latinLnBrk="0" hangingPunct="1">
                        <a:buFont typeface="Arial" panose="020B0604020202020204" pitchFamily="34" charset="0"/>
                        <a:buChar char="•"/>
                      </a:pPr>
                      <a:r>
                        <a:rPr lang="en-GB" sz="1400" kern="1200" dirty="0">
                          <a:solidFill>
                            <a:schemeClr val="dk1"/>
                          </a:solidFill>
                          <a:effectLst/>
                          <a:latin typeface="+mn-lt"/>
                          <a:ea typeface="+mn-ea"/>
                          <a:cs typeface="+mn-cs"/>
                        </a:rPr>
                        <a:t>Price of </a:t>
                      </a:r>
                      <a:r>
                        <a:rPr lang="en-GB" sz="1400" kern="1200" dirty="0" err="1">
                          <a:solidFill>
                            <a:schemeClr val="dk1"/>
                          </a:solidFill>
                          <a:effectLst/>
                          <a:latin typeface="+mn-lt"/>
                          <a:ea typeface="+mn-ea"/>
                          <a:cs typeface="+mn-cs"/>
                        </a:rPr>
                        <a:t>sulphudic</a:t>
                      </a:r>
                      <a:r>
                        <a:rPr lang="en-GB" sz="1400" kern="1200" dirty="0">
                          <a:solidFill>
                            <a:schemeClr val="dk1"/>
                          </a:solidFill>
                          <a:effectLst/>
                          <a:latin typeface="+mn-lt"/>
                          <a:ea typeface="+mn-ea"/>
                          <a:cs typeface="+mn-cs"/>
                        </a:rPr>
                        <a:t>-acid is lower than ammonia-sulphate, it is another revenue </a:t>
                      </a:r>
                      <a:endParaRPr lang="sv-SE" sz="1400" kern="1200" dirty="0">
                        <a:solidFill>
                          <a:schemeClr val="dk1"/>
                        </a:solidFill>
                        <a:effectLst/>
                        <a:latin typeface="+mn-lt"/>
                        <a:ea typeface="+mn-ea"/>
                        <a:cs typeface="+mn-cs"/>
                      </a:endParaRPr>
                    </a:p>
                    <a:p>
                      <a:pPr marL="285750" indent="-285750" algn="l" defTabSz="914400" rtl="0" eaLnBrk="1" fontAlgn="base" latinLnBrk="0" hangingPunct="1">
                        <a:buFont typeface="Arial" panose="020B0604020202020204" pitchFamily="34" charset="0"/>
                        <a:buChar char="•"/>
                      </a:pPr>
                      <a:r>
                        <a:rPr lang="en-GB" sz="1400" kern="1200" dirty="0">
                          <a:solidFill>
                            <a:schemeClr val="dk1"/>
                          </a:solidFill>
                          <a:effectLst/>
                          <a:latin typeface="+mn-lt"/>
                          <a:ea typeface="+mn-ea"/>
                          <a:cs typeface="+mn-cs"/>
                        </a:rPr>
                        <a:t>Prices of recovered nutrients could be lower than the cost of the mineral </a:t>
                      </a:r>
                      <a:endParaRPr lang="sv-SE" sz="1400" kern="1200" dirty="0">
                        <a:solidFill>
                          <a:schemeClr val="dk1"/>
                        </a:solidFill>
                        <a:effectLst/>
                        <a:latin typeface="+mn-lt"/>
                        <a:ea typeface="+mn-ea"/>
                        <a:cs typeface="+mn-cs"/>
                      </a:endParaRPr>
                    </a:p>
                    <a:p>
                      <a:pPr marL="285750" indent="-285750" algn="l" defTabSz="914400" rtl="0" eaLnBrk="1" fontAlgn="base" latinLnBrk="0" hangingPunct="1">
                        <a:buFont typeface="Arial" panose="020B0604020202020204" pitchFamily="34" charset="0"/>
                        <a:buChar char="•"/>
                      </a:pPr>
                      <a:r>
                        <a:rPr lang="en-GB" sz="1400" kern="1200" dirty="0">
                          <a:solidFill>
                            <a:schemeClr val="dk1"/>
                          </a:solidFill>
                          <a:effectLst/>
                          <a:latin typeface="+mn-lt"/>
                          <a:ea typeface="+mn-ea"/>
                          <a:cs typeface="+mn-cs"/>
                        </a:rPr>
                        <a:t>Green image /indirect revenue/</a:t>
                      </a:r>
                      <a:endParaRPr lang="sv-SE" sz="1400" kern="1200" dirty="0">
                        <a:solidFill>
                          <a:schemeClr val="dk1"/>
                        </a:solidFill>
                        <a:effectLst/>
                        <a:latin typeface="+mn-lt"/>
                        <a:ea typeface="+mn-ea"/>
                        <a:cs typeface="+mn-cs"/>
                      </a:endParaRPr>
                    </a:p>
                  </a:txBody>
                  <a:tcPr marL="1114" marR="1114" marT="1114" marB="1114">
                    <a:solidFill>
                      <a:schemeClr val="accent3">
                        <a:lumMod val="20000"/>
                        <a:lumOff val="80000"/>
                      </a:schemeClr>
                    </a:solidFill>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431393471"/>
                  </a:ext>
                </a:extLst>
              </a:tr>
            </a:tbl>
          </a:graphicData>
        </a:graphic>
      </p:graphicFrame>
      <p:grpSp>
        <p:nvGrpSpPr>
          <p:cNvPr id="7" name="Bild 18" descr="Fabrik kontur">
            <a:extLst>
              <a:ext uri="{FF2B5EF4-FFF2-40B4-BE49-F238E27FC236}">
                <a16:creationId xmlns:a16="http://schemas.microsoft.com/office/drawing/2014/main" id="{D3CDAB3B-6B33-37A9-E930-BDB49F85C0FB}"/>
              </a:ext>
            </a:extLst>
          </p:cNvPr>
          <p:cNvGrpSpPr/>
          <p:nvPr/>
        </p:nvGrpSpPr>
        <p:grpSpPr>
          <a:xfrm>
            <a:off x="6549529" y="4092954"/>
            <a:ext cx="500675" cy="500675"/>
            <a:chOff x="5846141" y="4275832"/>
            <a:chExt cx="500675" cy="500675"/>
          </a:xfrm>
          <a:solidFill>
            <a:schemeClr val="bg1"/>
          </a:solidFill>
        </p:grpSpPr>
        <p:sp>
          <p:nvSpPr>
            <p:cNvPr id="8" name="Frihandsfigur: Form 7">
              <a:extLst>
                <a:ext uri="{FF2B5EF4-FFF2-40B4-BE49-F238E27FC236}">
                  <a16:creationId xmlns:a16="http://schemas.microsoft.com/office/drawing/2014/main" id="{013CCFC9-8AE2-CA0A-7E46-767939482E9F}"/>
                </a:ext>
              </a:extLst>
            </p:cNvPr>
            <p:cNvSpPr/>
            <p:nvPr/>
          </p:nvSpPr>
          <p:spPr>
            <a:xfrm>
              <a:off x="5846141" y="4275832"/>
              <a:ext cx="500675" cy="500675"/>
            </a:xfrm>
            <a:custGeom>
              <a:avLst/>
              <a:gdLst>
                <a:gd name="connsiteX0" fmla="*/ 307558 w 500675"/>
                <a:gd name="connsiteY0" fmla="*/ 288639 h 500675"/>
                <a:gd name="connsiteX1" fmla="*/ 307558 w 500675"/>
                <a:gd name="connsiteY1" fmla="*/ 188504 h 500675"/>
                <a:gd name="connsiteX2" fmla="*/ 113632 w 500675"/>
                <a:gd name="connsiteY2" fmla="*/ 289061 h 500675"/>
                <a:gd name="connsiteX3" fmla="*/ 92482 w 500675"/>
                <a:gd name="connsiteY3" fmla="*/ 0 h 500675"/>
                <a:gd name="connsiteX4" fmla="*/ 21958 w 500675"/>
                <a:gd name="connsiteY4" fmla="*/ 0 h 500675"/>
                <a:gd name="connsiteX5" fmla="*/ 0 w 500675"/>
                <a:gd name="connsiteY5" fmla="*/ 300405 h 500675"/>
                <a:gd name="connsiteX6" fmla="*/ 0 w 500675"/>
                <a:gd name="connsiteY6" fmla="*/ 500675 h 500675"/>
                <a:gd name="connsiteX7" fmla="*/ 500675 w 500675"/>
                <a:gd name="connsiteY7" fmla="*/ 500675 h 500675"/>
                <a:gd name="connsiteX8" fmla="*/ 500675 w 500675"/>
                <a:gd name="connsiteY8" fmla="*/ 188504 h 500675"/>
                <a:gd name="connsiteX9" fmla="*/ 79178 w 500675"/>
                <a:gd name="connsiteY9" fmla="*/ 14305 h 500675"/>
                <a:gd name="connsiteX10" fmla="*/ 81796 w 500675"/>
                <a:gd name="connsiteY10" fmla="*/ 50068 h 500675"/>
                <a:gd name="connsiteX11" fmla="*/ 32644 w 500675"/>
                <a:gd name="connsiteY11" fmla="*/ 50068 h 500675"/>
                <a:gd name="connsiteX12" fmla="*/ 35262 w 500675"/>
                <a:gd name="connsiteY12" fmla="*/ 14305 h 500675"/>
                <a:gd name="connsiteX13" fmla="*/ 31593 w 500675"/>
                <a:gd name="connsiteY13" fmla="*/ 64373 h 500675"/>
                <a:gd name="connsiteX14" fmla="*/ 82847 w 500675"/>
                <a:gd name="connsiteY14" fmla="*/ 64373 h 500675"/>
                <a:gd name="connsiteX15" fmla="*/ 99591 w 500675"/>
                <a:gd name="connsiteY15" fmla="*/ 293253 h 500675"/>
                <a:gd name="connsiteX16" fmla="*/ 14849 w 500675"/>
                <a:gd name="connsiteY16" fmla="*/ 293253 h 500675"/>
                <a:gd name="connsiteX17" fmla="*/ 109433 w 500675"/>
                <a:gd name="connsiteY17" fmla="*/ 307336 h 500675"/>
                <a:gd name="connsiteX18" fmla="*/ 293253 w 500675"/>
                <a:gd name="connsiteY18" fmla="*/ 212036 h 500675"/>
                <a:gd name="connsiteX19" fmla="*/ 293253 w 500675"/>
                <a:gd name="connsiteY19" fmla="*/ 312171 h 500675"/>
                <a:gd name="connsiteX20" fmla="*/ 486370 w 500675"/>
                <a:gd name="connsiteY20" fmla="*/ 212036 h 500675"/>
                <a:gd name="connsiteX21" fmla="*/ 486370 w 500675"/>
                <a:gd name="connsiteY21" fmla="*/ 486370 h 500675"/>
                <a:gd name="connsiteX22" fmla="*/ 14305 w 500675"/>
                <a:gd name="connsiteY22" fmla="*/ 486370 h 500675"/>
                <a:gd name="connsiteX23" fmla="*/ 14305 w 500675"/>
                <a:gd name="connsiteY23" fmla="*/ 307558 h 500675"/>
                <a:gd name="connsiteX24" fmla="*/ 100636 w 500675"/>
                <a:gd name="connsiteY24" fmla="*/ 307558 h 500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00675" h="500675">
                  <a:moveTo>
                    <a:pt x="307558" y="288639"/>
                  </a:moveTo>
                  <a:lnTo>
                    <a:pt x="307558" y="188504"/>
                  </a:lnTo>
                  <a:lnTo>
                    <a:pt x="113632" y="289061"/>
                  </a:lnTo>
                  <a:lnTo>
                    <a:pt x="92482" y="0"/>
                  </a:lnTo>
                  <a:lnTo>
                    <a:pt x="21958" y="0"/>
                  </a:lnTo>
                  <a:lnTo>
                    <a:pt x="0" y="300405"/>
                  </a:lnTo>
                  <a:lnTo>
                    <a:pt x="0" y="500675"/>
                  </a:lnTo>
                  <a:lnTo>
                    <a:pt x="500675" y="500675"/>
                  </a:lnTo>
                  <a:lnTo>
                    <a:pt x="500675" y="188504"/>
                  </a:lnTo>
                  <a:close/>
                  <a:moveTo>
                    <a:pt x="79178" y="14305"/>
                  </a:moveTo>
                  <a:lnTo>
                    <a:pt x="81796" y="50068"/>
                  </a:lnTo>
                  <a:lnTo>
                    <a:pt x="32644" y="50068"/>
                  </a:lnTo>
                  <a:lnTo>
                    <a:pt x="35262" y="14305"/>
                  </a:lnTo>
                  <a:close/>
                  <a:moveTo>
                    <a:pt x="31593" y="64373"/>
                  </a:moveTo>
                  <a:lnTo>
                    <a:pt x="82847" y="64373"/>
                  </a:lnTo>
                  <a:lnTo>
                    <a:pt x="99591" y="293253"/>
                  </a:lnTo>
                  <a:lnTo>
                    <a:pt x="14849" y="293253"/>
                  </a:lnTo>
                  <a:close/>
                  <a:moveTo>
                    <a:pt x="109433" y="307336"/>
                  </a:moveTo>
                  <a:lnTo>
                    <a:pt x="293253" y="212036"/>
                  </a:lnTo>
                  <a:lnTo>
                    <a:pt x="293253" y="312171"/>
                  </a:lnTo>
                  <a:lnTo>
                    <a:pt x="486370" y="212036"/>
                  </a:lnTo>
                  <a:lnTo>
                    <a:pt x="486370" y="486370"/>
                  </a:lnTo>
                  <a:lnTo>
                    <a:pt x="14305" y="486370"/>
                  </a:lnTo>
                  <a:lnTo>
                    <a:pt x="14305" y="307558"/>
                  </a:lnTo>
                  <a:lnTo>
                    <a:pt x="100636" y="307558"/>
                  </a:lnTo>
                  <a:close/>
                </a:path>
              </a:pathLst>
            </a:custGeom>
            <a:solidFill>
              <a:schemeClr val="bg1"/>
            </a:solidFill>
            <a:ln w="7144" cap="flat">
              <a:solidFill>
                <a:schemeClr val="bg1"/>
              </a:solidFill>
              <a:prstDash val="solid"/>
              <a:miter/>
            </a:ln>
          </p:spPr>
          <p:txBody>
            <a:bodyPr rtlCol="0" anchor="ctr"/>
            <a:lstStyle/>
            <a:p>
              <a:endParaRPr lang="en-GB"/>
            </a:p>
          </p:txBody>
        </p:sp>
        <p:sp>
          <p:nvSpPr>
            <p:cNvPr id="9" name="Frihandsfigur: Form 8">
              <a:extLst>
                <a:ext uri="{FF2B5EF4-FFF2-40B4-BE49-F238E27FC236}">
                  <a16:creationId xmlns:a16="http://schemas.microsoft.com/office/drawing/2014/main" id="{C9C88383-F492-2648-7F7A-ADE70631DB0E}"/>
                </a:ext>
              </a:extLst>
            </p:cNvPr>
            <p:cNvSpPr/>
            <p:nvPr/>
          </p:nvSpPr>
          <p:spPr>
            <a:xfrm>
              <a:off x="5896209" y="4647762"/>
              <a:ext cx="114440" cy="71525"/>
            </a:xfrm>
            <a:custGeom>
              <a:avLst/>
              <a:gdLst>
                <a:gd name="connsiteX0" fmla="*/ 0 w 114440"/>
                <a:gd name="connsiteY0" fmla="*/ 71525 h 71525"/>
                <a:gd name="connsiteX1" fmla="*/ 114440 w 114440"/>
                <a:gd name="connsiteY1" fmla="*/ 71525 h 71525"/>
                <a:gd name="connsiteX2" fmla="*/ 114440 w 114440"/>
                <a:gd name="connsiteY2" fmla="*/ 0 h 71525"/>
                <a:gd name="connsiteX3" fmla="*/ 0 w 114440"/>
                <a:gd name="connsiteY3" fmla="*/ 0 h 71525"/>
                <a:gd name="connsiteX4" fmla="*/ 100135 w 114440"/>
                <a:gd name="connsiteY4" fmla="*/ 57220 h 71525"/>
                <a:gd name="connsiteX5" fmla="*/ 64373 w 114440"/>
                <a:gd name="connsiteY5" fmla="*/ 57220 h 71525"/>
                <a:gd name="connsiteX6" fmla="*/ 64373 w 114440"/>
                <a:gd name="connsiteY6" fmla="*/ 14305 h 71525"/>
                <a:gd name="connsiteX7" fmla="*/ 100135 w 114440"/>
                <a:gd name="connsiteY7" fmla="*/ 14305 h 71525"/>
                <a:gd name="connsiteX8" fmla="*/ 14305 w 114440"/>
                <a:gd name="connsiteY8" fmla="*/ 14305 h 71525"/>
                <a:gd name="connsiteX9" fmla="*/ 50068 w 114440"/>
                <a:gd name="connsiteY9" fmla="*/ 14305 h 71525"/>
                <a:gd name="connsiteX10" fmla="*/ 50068 w 114440"/>
                <a:gd name="connsiteY10" fmla="*/ 57220 h 71525"/>
                <a:gd name="connsiteX11" fmla="*/ 14305 w 114440"/>
                <a:gd name="connsiteY11" fmla="*/ 57220 h 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4440" h="71525">
                  <a:moveTo>
                    <a:pt x="0" y="71525"/>
                  </a:moveTo>
                  <a:lnTo>
                    <a:pt x="114440" y="71525"/>
                  </a:lnTo>
                  <a:lnTo>
                    <a:pt x="114440" y="0"/>
                  </a:lnTo>
                  <a:lnTo>
                    <a:pt x="0" y="0"/>
                  </a:lnTo>
                  <a:close/>
                  <a:moveTo>
                    <a:pt x="100135" y="57220"/>
                  </a:moveTo>
                  <a:lnTo>
                    <a:pt x="64373" y="57220"/>
                  </a:lnTo>
                  <a:lnTo>
                    <a:pt x="64373" y="14305"/>
                  </a:lnTo>
                  <a:lnTo>
                    <a:pt x="100135" y="14305"/>
                  </a:lnTo>
                  <a:close/>
                  <a:moveTo>
                    <a:pt x="14305" y="14305"/>
                  </a:moveTo>
                  <a:lnTo>
                    <a:pt x="50068" y="14305"/>
                  </a:lnTo>
                  <a:lnTo>
                    <a:pt x="50068" y="57220"/>
                  </a:lnTo>
                  <a:lnTo>
                    <a:pt x="14305" y="57220"/>
                  </a:lnTo>
                  <a:close/>
                </a:path>
              </a:pathLst>
            </a:custGeom>
            <a:solidFill>
              <a:schemeClr val="bg1"/>
            </a:solidFill>
            <a:ln w="7144" cap="flat">
              <a:solidFill>
                <a:schemeClr val="bg1"/>
              </a:solidFill>
              <a:prstDash val="solid"/>
              <a:miter/>
            </a:ln>
          </p:spPr>
          <p:txBody>
            <a:bodyPr rtlCol="0" anchor="ctr"/>
            <a:lstStyle/>
            <a:p>
              <a:endParaRPr lang="en-GB"/>
            </a:p>
          </p:txBody>
        </p:sp>
        <p:sp>
          <p:nvSpPr>
            <p:cNvPr id="10" name="Frihandsfigur: Form 9">
              <a:extLst>
                <a:ext uri="{FF2B5EF4-FFF2-40B4-BE49-F238E27FC236}">
                  <a16:creationId xmlns:a16="http://schemas.microsoft.com/office/drawing/2014/main" id="{8B7CE92C-7365-578D-4B6C-672C025CDEA9}"/>
                </a:ext>
              </a:extLst>
            </p:cNvPr>
            <p:cNvSpPr/>
            <p:nvPr/>
          </p:nvSpPr>
          <p:spPr>
            <a:xfrm>
              <a:off x="6039259" y="4647762"/>
              <a:ext cx="114440" cy="71525"/>
            </a:xfrm>
            <a:custGeom>
              <a:avLst/>
              <a:gdLst>
                <a:gd name="connsiteX0" fmla="*/ 0 w 114440"/>
                <a:gd name="connsiteY0" fmla="*/ 71525 h 71525"/>
                <a:gd name="connsiteX1" fmla="*/ 114440 w 114440"/>
                <a:gd name="connsiteY1" fmla="*/ 71525 h 71525"/>
                <a:gd name="connsiteX2" fmla="*/ 114440 w 114440"/>
                <a:gd name="connsiteY2" fmla="*/ 0 h 71525"/>
                <a:gd name="connsiteX3" fmla="*/ 0 w 114440"/>
                <a:gd name="connsiteY3" fmla="*/ 0 h 71525"/>
                <a:gd name="connsiteX4" fmla="*/ 100135 w 114440"/>
                <a:gd name="connsiteY4" fmla="*/ 57220 h 71525"/>
                <a:gd name="connsiteX5" fmla="*/ 64373 w 114440"/>
                <a:gd name="connsiteY5" fmla="*/ 57220 h 71525"/>
                <a:gd name="connsiteX6" fmla="*/ 64373 w 114440"/>
                <a:gd name="connsiteY6" fmla="*/ 14305 h 71525"/>
                <a:gd name="connsiteX7" fmla="*/ 100135 w 114440"/>
                <a:gd name="connsiteY7" fmla="*/ 14305 h 71525"/>
                <a:gd name="connsiteX8" fmla="*/ 14305 w 114440"/>
                <a:gd name="connsiteY8" fmla="*/ 14305 h 71525"/>
                <a:gd name="connsiteX9" fmla="*/ 50068 w 114440"/>
                <a:gd name="connsiteY9" fmla="*/ 14305 h 71525"/>
                <a:gd name="connsiteX10" fmla="*/ 50068 w 114440"/>
                <a:gd name="connsiteY10" fmla="*/ 57220 h 71525"/>
                <a:gd name="connsiteX11" fmla="*/ 14305 w 114440"/>
                <a:gd name="connsiteY11" fmla="*/ 57220 h 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4440" h="71525">
                  <a:moveTo>
                    <a:pt x="0" y="71525"/>
                  </a:moveTo>
                  <a:lnTo>
                    <a:pt x="114440" y="71525"/>
                  </a:lnTo>
                  <a:lnTo>
                    <a:pt x="114440" y="0"/>
                  </a:lnTo>
                  <a:lnTo>
                    <a:pt x="0" y="0"/>
                  </a:lnTo>
                  <a:close/>
                  <a:moveTo>
                    <a:pt x="100135" y="57220"/>
                  </a:moveTo>
                  <a:lnTo>
                    <a:pt x="64373" y="57220"/>
                  </a:lnTo>
                  <a:lnTo>
                    <a:pt x="64373" y="14305"/>
                  </a:lnTo>
                  <a:lnTo>
                    <a:pt x="100135" y="14305"/>
                  </a:lnTo>
                  <a:close/>
                  <a:moveTo>
                    <a:pt x="14305" y="14305"/>
                  </a:moveTo>
                  <a:lnTo>
                    <a:pt x="50068" y="14305"/>
                  </a:lnTo>
                  <a:lnTo>
                    <a:pt x="50068" y="57220"/>
                  </a:lnTo>
                  <a:lnTo>
                    <a:pt x="14305" y="57220"/>
                  </a:lnTo>
                  <a:close/>
                </a:path>
              </a:pathLst>
            </a:custGeom>
            <a:solidFill>
              <a:schemeClr val="bg1"/>
            </a:solidFill>
            <a:ln w="7144" cap="flat">
              <a:solidFill>
                <a:schemeClr val="bg1"/>
              </a:solidFill>
              <a:prstDash val="solid"/>
              <a:miter/>
            </a:ln>
          </p:spPr>
          <p:txBody>
            <a:bodyPr rtlCol="0" anchor="ctr"/>
            <a:lstStyle/>
            <a:p>
              <a:endParaRPr lang="en-GB"/>
            </a:p>
          </p:txBody>
        </p:sp>
        <p:sp>
          <p:nvSpPr>
            <p:cNvPr id="11" name="Frihandsfigur: Form 10">
              <a:extLst>
                <a:ext uri="{FF2B5EF4-FFF2-40B4-BE49-F238E27FC236}">
                  <a16:creationId xmlns:a16="http://schemas.microsoft.com/office/drawing/2014/main" id="{CE79BCD6-DDD2-64E7-9D3A-57F9616825A7}"/>
                </a:ext>
              </a:extLst>
            </p:cNvPr>
            <p:cNvSpPr/>
            <p:nvPr/>
          </p:nvSpPr>
          <p:spPr>
            <a:xfrm>
              <a:off x="6182309" y="4647762"/>
              <a:ext cx="114440" cy="71525"/>
            </a:xfrm>
            <a:custGeom>
              <a:avLst/>
              <a:gdLst>
                <a:gd name="connsiteX0" fmla="*/ 114440 w 114440"/>
                <a:gd name="connsiteY0" fmla="*/ 0 h 71525"/>
                <a:gd name="connsiteX1" fmla="*/ 0 w 114440"/>
                <a:gd name="connsiteY1" fmla="*/ 0 h 71525"/>
                <a:gd name="connsiteX2" fmla="*/ 0 w 114440"/>
                <a:gd name="connsiteY2" fmla="*/ 71525 h 71525"/>
                <a:gd name="connsiteX3" fmla="*/ 114440 w 114440"/>
                <a:gd name="connsiteY3" fmla="*/ 71525 h 71525"/>
                <a:gd name="connsiteX4" fmla="*/ 14305 w 114440"/>
                <a:gd name="connsiteY4" fmla="*/ 14305 h 71525"/>
                <a:gd name="connsiteX5" fmla="*/ 50068 w 114440"/>
                <a:gd name="connsiteY5" fmla="*/ 14305 h 71525"/>
                <a:gd name="connsiteX6" fmla="*/ 50068 w 114440"/>
                <a:gd name="connsiteY6" fmla="*/ 57220 h 71525"/>
                <a:gd name="connsiteX7" fmla="*/ 14305 w 114440"/>
                <a:gd name="connsiteY7" fmla="*/ 57220 h 71525"/>
                <a:gd name="connsiteX8" fmla="*/ 100135 w 114440"/>
                <a:gd name="connsiteY8" fmla="*/ 57220 h 71525"/>
                <a:gd name="connsiteX9" fmla="*/ 64373 w 114440"/>
                <a:gd name="connsiteY9" fmla="*/ 57220 h 71525"/>
                <a:gd name="connsiteX10" fmla="*/ 64373 w 114440"/>
                <a:gd name="connsiteY10" fmla="*/ 14305 h 71525"/>
                <a:gd name="connsiteX11" fmla="*/ 100135 w 114440"/>
                <a:gd name="connsiteY11" fmla="*/ 14305 h 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4440" h="71525">
                  <a:moveTo>
                    <a:pt x="114440" y="0"/>
                  </a:moveTo>
                  <a:lnTo>
                    <a:pt x="0" y="0"/>
                  </a:lnTo>
                  <a:lnTo>
                    <a:pt x="0" y="71525"/>
                  </a:lnTo>
                  <a:lnTo>
                    <a:pt x="114440" y="71525"/>
                  </a:lnTo>
                  <a:close/>
                  <a:moveTo>
                    <a:pt x="14305" y="14305"/>
                  </a:moveTo>
                  <a:lnTo>
                    <a:pt x="50068" y="14305"/>
                  </a:lnTo>
                  <a:lnTo>
                    <a:pt x="50068" y="57220"/>
                  </a:lnTo>
                  <a:lnTo>
                    <a:pt x="14305" y="57220"/>
                  </a:lnTo>
                  <a:close/>
                  <a:moveTo>
                    <a:pt x="100135" y="57220"/>
                  </a:moveTo>
                  <a:lnTo>
                    <a:pt x="64373" y="57220"/>
                  </a:lnTo>
                  <a:lnTo>
                    <a:pt x="64373" y="14305"/>
                  </a:lnTo>
                  <a:lnTo>
                    <a:pt x="100135" y="14305"/>
                  </a:lnTo>
                  <a:close/>
                </a:path>
              </a:pathLst>
            </a:custGeom>
            <a:solidFill>
              <a:schemeClr val="bg1"/>
            </a:solidFill>
            <a:ln w="7144" cap="flat">
              <a:solidFill>
                <a:schemeClr val="bg1"/>
              </a:solidFill>
              <a:prstDash val="solid"/>
              <a:miter/>
            </a:ln>
          </p:spPr>
          <p:txBody>
            <a:bodyPr rtlCol="0" anchor="ctr"/>
            <a:lstStyle/>
            <a:p>
              <a:endParaRPr lang="en-GB"/>
            </a:p>
          </p:txBody>
        </p:sp>
      </p:grpSp>
      <p:grpSp>
        <p:nvGrpSpPr>
          <p:cNvPr id="12" name="Bild 22" descr="Användare kontur">
            <a:extLst>
              <a:ext uri="{FF2B5EF4-FFF2-40B4-BE49-F238E27FC236}">
                <a16:creationId xmlns:a16="http://schemas.microsoft.com/office/drawing/2014/main" id="{7D9D3EB5-47E2-845E-69AF-35E6F5F7306E}"/>
              </a:ext>
            </a:extLst>
          </p:cNvPr>
          <p:cNvGrpSpPr/>
          <p:nvPr/>
        </p:nvGrpSpPr>
        <p:grpSpPr>
          <a:xfrm>
            <a:off x="6880942" y="4076094"/>
            <a:ext cx="524545" cy="318468"/>
            <a:chOff x="6177554" y="4258972"/>
            <a:chExt cx="524545" cy="318468"/>
          </a:xfrm>
          <a:solidFill>
            <a:schemeClr val="bg1"/>
          </a:solidFill>
        </p:grpSpPr>
        <p:sp>
          <p:nvSpPr>
            <p:cNvPr id="14" name="Frihandsfigur: Form 13">
              <a:extLst>
                <a:ext uri="{FF2B5EF4-FFF2-40B4-BE49-F238E27FC236}">
                  <a16:creationId xmlns:a16="http://schemas.microsoft.com/office/drawing/2014/main" id="{CF1E8E4B-DE17-467D-3F33-F1A5FD659284}"/>
                </a:ext>
              </a:extLst>
            </p:cNvPr>
            <p:cNvSpPr/>
            <p:nvPr/>
          </p:nvSpPr>
          <p:spPr>
            <a:xfrm>
              <a:off x="6233710" y="4258972"/>
              <a:ext cx="112411" cy="112411"/>
            </a:xfrm>
            <a:custGeom>
              <a:avLst/>
              <a:gdLst>
                <a:gd name="connsiteX0" fmla="*/ 56206 w 112411"/>
                <a:gd name="connsiteY0" fmla="*/ 112412 h 112411"/>
                <a:gd name="connsiteX1" fmla="*/ 112412 w 112411"/>
                <a:gd name="connsiteY1" fmla="*/ 56206 h 112411"/>
                <a:gd name="connsiteX2" fmla="*/ 56206 w 112411"/>
                <a:gd name="connsiteY2" fmla="*/ 0 h 112411"/>
                <a:gd name="connsiteX3" fmla="*/ 0 w 112411"/>
                <a:gd name="connsiteY3" fmla="*/ 56206 h 112411"/>
                <a:gd name="connsiteX4" fmla="*/ 56206 w 112411"/>
                <a:gd name="connsiteY4" fmla="*/ 112412 h 112411"/>
                <a:gd name="connsiteX5" fmla="*/ 56206 w 112411"/>
                <a:gd name="connsiteY5" fmla="*/ 12459 h 112411"/>
                <a:gd name="connsiteX6" fmla="*/ 99922 w 112411"/>
                <a:gd name="connsiteY6" fmla="*/ 56175 h 112411"/>
                <a:gd name="connsiteX7" fmla="*/ 56206 w 112411"/>
                <a:gd name="connsiteY7" fmla="*/ 99890 h 112411"/>
                <a:gd name="connsiteX8" fmla="*/ 12490 w 112411"/>
                <a:gd name="connsiteY8" fmla="*/ 56175 h 112411"/>
                <a:gd name="connsiteX9" fmla="*/ 56206 w 112411"/>
                <a:gd name="connsiteY9" fmla="*/ 12459 h 112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2411" h="112411">
                  <a:moveTo>
                    <a:pt x="56206" y="112412"/>
                  </a:moveTo>
                  <a:cubicBezTo>
                    <a:pt x="87248" y="112412"/>
                    <a:pt x="112412" y="87248"/>
                    <a:pt x="112412" y="56206"/>
                  </a:cubicBezTo>
                  <a:cubicBezTo>
                    <a:pt x="112412" y="25164"/>
                    <a:pt x="87248" y="0"/>
                    <a:pt x="56206" y="0"/>
                  </a:cubicBezTo>
                  <a:cubicBezTo>
                    <a:pt x="25164" y="0"/>
                    <a:pt x="0" y="25164"/>
                    <a:pt x="0" y="56206"/>
                  </a:cubicBezTo>
                  <a:cubicBezTo>
                    <a:pt x="0" y="87248"/>
                    <a:pt x="25164" y="112412"/>
                    <a:pt x="56206" y="112412"/>
                  </a:cubicBezTo>
                  <a:close/>
                  <a:moveTo>
                    <a:pt x="56206" y="12459"/>
                  </a:moveTo>
                  <a:cubicBezTo>
                    <a:pt x="80349" y="12459"/>
                    <a:pt x="99922" y="32031"/>
                    <a:pt x="99922" y="56175"/>
                  </a:cubicBezTo>
                  <a:cubicBezTo>
                    <a:pt x="99922" y="80318"/>
                    <a:pt x="80349" y="99890"/>
                    <a:pt x="56206" y="99890"/>
                  </a:cubicBezTo>
                  <a:cubicBezTo>
                    <a:pt x="32062" y="99890"/>
                    <a:pt x="12490" y="80318"/>
                    <a:pt x="12490" y="56175"/>
                  </a:cubicBezTo>
                  <a:cubicBezTo>
                    <a:pt x="12521" y="32044"/>
                    <a:pt x="32075" y="12490"/>
                    <a:pt x="56206" y="12459"/>
                  </a:cubicBezTo>
                  <a:close/>
                </a:path>
              </a:pathLst>
            </a:custGeom>
            <a:solidFill>
              <a:schemeClr val="bg1"/>
            </a:solidFill>
            <a:ln w="6152" cap="flat">
              <a:noFill/>
              <a:prstDash val="solid"/>
              <a:miter/>
            </a:ln>
          </p:spPr>
          <p:txBody>
            <a:bodyPr rtlCol="0" anchor="ctr"/>
            <a:lstStyle/>
            <a:p>
              <a:endParaRPr lang="en-GB"/>
            </a:p>
          </p:txBody>
        </p:sp>
        <p:sp>
          <p:nvSpPr>
            <p:cNvPr id="16" name="Frihandsfigur: Form 15">
              <a:extLst>
                <a:ext uri="{FF2B5EF4-FFF2-40B4-BE49-F238E27FC236}">
                  <a16:creationId xmlns:a16="http://schemas.microsoft.com/office/drawing/2014/main" id="{D12D5A32-F746-FF88-703E-6EF29404F1B1}"/>
                </a:ext>
              </a:extLst>
            </p:cNvPr>
            <p:cNvSpPr/>
            <p:nvPr/>
          </p:nvSpPr>
          <p:spPr>
            <a:xfrm>
              <a:off x="6533474" y="4258972"/>
              <a:ext cx="112411" cy="112411"/>
            </a:xfrm>
            <a:custGeom>
              <a:avLst/>
              <a:gdLst>
                <a:gd name="connsiteX0" fmla="*/ 56206 w 112411"/>
                <a:gd name="connsiteY0" fmla="*/ 112412 h 112411"/>
                <a:gd name="connsiteX1" fmla="*/ 112412 w 112411"/>
                <a:gd name="connsiteY1" fmla="*/ 56206 h 112411"/>
                <a:gd name="connsiteX2" fmla="*/ 56206 w 112411"/>
                <a:gd name="connsiteY2" fmla="*/ 0 h 112411"/>
                <a:gd name="connsiteX3" fmla="*/ 0 w 112411"/>
                <a:gd name="connsiteY3" fmla="*/ 56206 h 112411"/>
                <a:gd name="connsiteX4" fmla="*/ 56206 w 112411"/>
                <a:gd name="connsiteY4" fmla="*/ 112412 h 112411"/>
                <a:gd name="connsiteX5" fmla="*/ 56206 w 112411"/>
                <a:gd name="connsiteY5" fmla="*/ 12459 h 112411"/>
                <a:gd name="connsiteX6" fmla="*/ 99922 w 112411"/>
                <a:gd name="connsiteY6" fmla="*/ 56175 h 112411"/>
                <a:gd name="connsiteX7" fmla="*/ 56206 w 112411"/>
                <a:gd name="connsiteY7" fmla="*/ 99890 h 112411"/>
                <a:gd name="connsiteX8" fmla="*/ 12490 w 112411"/>
                <a:gd name="connsiteY8" fmla="*/ 56175 h 112411"/>
                <a:gd name="connsiteX9" fmla="*/ 56206 w 112411"/>
                <a:gd name="connsiteY9" fmla="*/ 12459 h 112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2411" h="112411">
                  <a:moveTo>
                    <a:pt x="56206" y="112412"/>
                  </a:moveTo>
                  <a:cubicBezTo>
                    <a:pt x="87248" y="112412"/>
                    <a:pt x="112412" y="87248"/>
                    <a:pt x="112412" y="56206"/>
                  </a:cubicBezTo>
                  <a:cubicBezTo>
                    <a:pt x="112412" y="25164"/>
                    <a:pt x="87248" y="0"/>
                    <a:pt x="56206" y="0"/>
                  </a:cubicBezTo>
                  <a:cubicBezTo>
                    <a:pt x="25164" y="0"/>
                    <a:pt x="0" y="25164"/>
                    <a:pt x="0" y="56206"/>
                  </a:cubicBezTo>
                  <a:cubicBezTo>
                    <a:pt x="0" y="87248"/>
                    <a:pt x="25164" y="112412"/>
                    <a:pt x="56206" y="112412"/>
                  </a:cubicBezTo>
                  <a:close/>
                  <a:moveTo>
                    <a:pt x="56206" y="12459"/>
                  </a:moveTo>
                  <a:cubicBezTo>
                    <a:pt x="80349" y="12459"/>
                    <a:pt x="99922" y="32031"/>
                    <a:pt x="99922" y="56175"/>
                  </a:cubicBezTo>
                  <a:cubicBezTo>
                    <a:pt x="99922" y="80318"/>
                    <a:pt x="80349" y="99890"/>
                    <a:pt x="56206" y="99890"/>
                  </a:cubicBezTo>
                  <a:cubicBezTo>
                    <a:pt x="32062" y="99890"/>
                    <a:pt x="12490" y="80318"/>
                    <a:pt x="12490" y="56175"/>
                  </a:cubicBezTo>
                  <a:cubicBezTo>
                    <a:pt x="12521" y="32044"/>
                    <a:pt x="32075" y="12490"/>
                    <a:pt x="56206" y="12459"/>
                  </a:cubicBezTo>
                  <a:close/>
                </a:path>
              </a:pathLst>
            </a:custGeom>
            <a:solidFill>
              <a:schemeClr val="bg1"/>
            </a:solidFill>
            <a:ln w="6152" cap="flat">
              <a:noFill/>
              <a:prstDash val="solid"/>
              <a:miter/>
            </a:ln>
          </p:spPr>
          <p:txBody>
            <a:bodyPr rtlCol="0" anchor="ctr"/>
            <a:lstStyle/>
            <a:p>
              <a:endParaRPr lang="en-GB"/>
            </a:p>
          </p:txBody>
        </p:sp>
        <p:sp>
          <p:nvSpPr>
            <p:cNvPr id="17" name="Frihandsfigur: Form 16">
              <a:extLst>
                <a:ext uri="{FF2B5EF4-FFF2-40B4-BE49-F238E27FC236}">
                  <a16:creationId xmlns:a16="http://schemas.microsoft.com/office/drawing/2014/main" id="{47AFBAEE-0CC1-E5CE-19AC-FC8070A6C8F9}"/>
                </a:ext>
              </a:extLst>
            </p:cNvPr>
            <p:cNvSpPr/>
            <p:nvPr/>
          </p:nvSpPr>
          <p:spPr>
            <a:xfrm>
              <a:off x="6512560" y="4385029"/>
              <a:ext cx="189539" cy="106166"/>
            </a:xfrm>
            <a:custGeom>
              <a:avLst/>
              <a:gdLst>
                <a:gd name="connsiteX0" fmla="*/ 176418 w 189539"/>
                <a:gd name="connsiteY0" fmla="*/ 33093 h 106166"/>
                <a:gd name="connsiteX1" fmla="*/ 122416 w 189539"/>
                <a:gd name="connsiteY1" fmla="*/ 7294 h 106166"/>
                <a:gd name="connsiteX2" fmla="*/ 77121 w 189539"/>
                <a:gd name="connsiteY2" fmla="*/ 0 h 106166"/>
                <a:gd name="connsiteX3" fmla="*/ 31962 w 189539"/>
                <a:gd name="connsiteY3" fmla="*/ 7263 h 106166"/>
                <a:gd name="connsiteX4" fmla="*/ 2048 w 189539"/>
                <a:gd name="connsiteY4" fmla="*/ 18660 h 106166"/>
                <a:gd name="connsiteX5" fmla="*/ 0 w 189539"/>
                <a:gd name="connsiteY5" fmla="*/ 33898 h 106166"/>
                <a:gd name="connsiteX6" fmla="*/ 35460 w 189539"/>
                <a:gd name="connsiteY6" fmla="*/ 19247 h 106166"/>
                <a:gd name="connsiteX7" fmla="*/ 77121 w 189539"/>
                <a:gd name="connsiteY7" fmla="*/ 12490 h 106166"/>
                <a:gd name="connsiteX8" fmla="*/ 119238 w 189539"/>
                <a:gd name="connsiteY8" fmla="*/ 19360 h 106166"/>
                <a:gd name="connsiteX9" fmla="*/ 168649 w 189539"/>
                <a:gd name="connsiteY9" fmla="*/ 42873 h 106166"/>
                <a:gd name="connsiteX10" fmla="*/ 169186 w 189539"/>
                <a:gd name="connsiteY10" fmla="*/ 43272 h 106166"/>
                <a:gd name="connsiteX11" fmla="*/ 177042 w 189539"/>
                <a:gd name="connsiteY11" fmla="*/ 59328 h 106166"/>
                <a:gd name="connsiteX12" fmla="*/ 177042 w 189539"/>
                <a:gd name="connsiteY12" fmla="*/ 106167 h 106166"/>
                <a:gd name="connsiteX13" fmla="*/ 189532 w 189539"/>
                <a:gd name="connsiteY13" fmla="*/ 106167 h 106166"/>
                <a:gd name="connsiteX14" fmla="*/ 189532 w 189539"/>
                <a:gd name="connsiteY14" fmla="*/ 59328 h 106166"/>
                <a:gd name="connsiteX15" fmla="*/ 176418 w 189539"/>
                <a:gd name="connsiteY15" fmla="*/ 33093 h 106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9539" h="106166">
                  <a:moveTo>
                    <a:pt x="176418" y="33093"/>
                  </a:moveTo>
                  <a:cubicBezTo>
                    <a:pt x="160500" y="20680"/>
                    <a:pt x="142074" y="11877"/>
                    <a:pt x="122416" y="7294"/>
                  </a:cubicBezTo>
                  <a:cubicBezTo>
                    <a:pt x="107700" y="2900"/>
                    <a:pt x="92472" y="447"/>
                    <a:pt x="77121" y="0"/>
                  </a:cubicBezTo>
                  <a:cubicBezTo>
                    <a:pt x="61778" y="16"/>
                    <a:pt x="46536" y="2467"/>
                    <a:pt x="31962" y="7263"/>
                  </a:cubicBezTo>
                  <a:cubicBezTo>
                    <a:pt x="21601" y="9945"/>
                    <a:pt x="11568" y="13768"/>
                    <a:pt x="2048" y="18660"/>
                  </a:cubicBezTo>
                  <a:cubicBezTo>
                    <a:pt x="1895" y="23797"/>
                    <a:pt x="1209" y="28904"/>
                    <a:pt x="0" y="33898"/>
                  </a:cubicBezTo>
                  <a:cubicBezTo>
                    <a:pt x="11106" y="27440"/>
                    <a:pt x="23034" y="22512"/>
                    <a:pt x="35460" y="19247"/>
                  </a:cubicBezTo>
                  <a:cubicBezTo>
                    <a:pt x="48907" y="14829"/>
                    <a:pt x="62966" y="12549"/>
                    <a:pt x="77121" y="12490"/>
                  </a:cubicBezTo>
                  <a:cubicBezTo>
                    <a:pt x="91398" y="12950"/>
                    <a:pt x="105555" y="15259"/>
                    <a:pt x="119238" y="19360"/>
                  </a:cubicBezTo>
                  <a:cubicBezTo>
                    <a:pt x="137227" y="23496"/>
                    <a:pt x="154092" y="31521"/>
                    <a:pt x="168649" y="42873"/>
                  </a:cubicBezTo>
                  <a:lnTo>
                    <a:pt x="169186" y="43272"/>
                  </a:lnTo>
                  <a:cubicBezTo>
                    <a:pt x="174322" y="46976"/>
                    <a:pt x="177270" y="53000"/>
                    <a:pt x="177042" y="59328"/>
                  </a:cubicBezTo>
                  <a:lnTo>
                    <a:pt x="177042" y="106167"/>
                  </a:lnTo>
                  <a:lnTo>
                    <a:pt x="189532" y="106167"/>
                  </a:lnTo>
                  <a:lnTo>
                    <a:pt x="189532" y="59328"/>
                  </a:lnTo>
                  <a:cubicBezTo>
                    <a:pt x="189760" y="48954"/>
                    <a:pt x="184852" y="39136"/>
                    <a:pt x="176418" y="33093"/>
                  </a:cubicBezTo>
                  <a:close/>
                </a:path>
              </a:pathLst>
            </a:custGeom>
            <a:solidFill>
              <a:schemeClr val="bg1"/>
            </a:solidFill>
            <a:ln w="6152" cap="flat">
              <a:noFill/>
              <a:prstDash val="solid"/>
              <a:miter/>
            </a:ln>
          </p:spPr>
          <p:txBody>
            <a:bodyPr rtlCol="0" anchor="ctr"/>
            <a:lstStyle/>
            <a:p>
              <a:endParaRPr lang="en-GB"/>
            </a:p>
          </p:txBody>
        </p:sp>
        <p:sp>
          <p:nvSpPr>
            <p:cNvPr id="18" name="Frihandsfigur: Form 17">
              <a:extLst>
                <a:ext uri="{FF2B5EF4-FFF2-40B4-BE49-F238E27FC236}">
                  <a16:creationId xmlns:a16="http://schemas.microsoft.com/office/drawing/2014/main" id="{903491FD-5F16-5260-5ECF-9091D3FF1990}"/>
                </a:ext>
              </a:extLst>
            </p:cNvPr>
            <p:cNvSpPr/>
            <p:nvPr/>
          </p:nvSpPr>
          <p:spPr>
            <a:xfrm>
              <a:off x="6177554" y="4385029"/>
              <a:ext cx="189220" cy="106166"/>
            </a:xfrm>
            <a:custGeom>
              <a:avLst/>
              <a:gdLst>
                <a:gd name="connsiteX0" fmla="*/ 189220 w 189220"/>
                <a:gd name="connsiteY0" fmla="*/ 32930 h 106166"/>
                <a:gd name="connsiteX1" fmla="*/ 187347 w 189220"/>
                <a:gd name="connsiteY1" fmla="*/ 17892 h 106166"/>
                <a:gd name="connsiteX2" fmla="*/ 157645 w 189220"/>
                <a:gd name="connsiteY2" fmla="*/ 7276 h 106166"/>
                <a:gd name="connsiteX3" fmla="*/ 112362 w 189220"/>
                <a:gd name="connsiteY3" fmla="*/ 0 h 106166"/>
                <a:gd name="connsiteX4" fmla="*/ 67203 w 189220"/>
                <a:gd name="connsiteY4" fmla="*/ 7263 h 106166"/>
                <a:gd name="connsiteX5" fmla="*/ 12827 w 189220"/>
                <a:gd name="connsiteY5" fmla="*/ 33299 h 106166"/>
                <a:gd name="connsiteX6" fmla="*/ 0 w 189220"/>
                <a:gd name="connsiteY6" fmla="*/ 59328 h 106166"/>
                <a:gd name="connsiteX7" fmla="*/ 0 w 189220"/>
                <a:gd name="connsiteY7" fmla="*/ 106167 h 106166"/>
                <a:gd name="connsiteX8" fmla="*/ 12490 w 189220"/>
                <a:gd name="connsiteY8" fmla="*/ 106167 h 106166"/>
                <a:gd name="connsiteX9" fmla="*/ 12490 w 189220"/>
                <a:gd name="connsiteY9" fmla="*/ 59328 h 106166"/>
                <a:gd name="connsiteX10" fmla="*/ 20409 w 189220"/>
                <a:gd name="connsiteY10" fmla="*/ 43229 h 106166"/>
                <a:gd name="connsiteX11" fmla="*/ 70726 w 189220"/>
                <a:gd name="connsiteY11" fmla="*/ 19247 h 106166"/>
                <a:gd name="connsiteX12" fmla="*/ 112362 w 189220"/>
                <a:gd name="connsiteY12" fmla="*/ 12490 h 106166"/>
                <a:gd name="connsiteX13" fmla="*/ 154479 w 189220"/>
                <a:gd name="connsiteY13" fmla="*/ 19360 h 106166"/>
                <a:gd name="connsiteX14" fmla="*/ 189220 w 189220"/>
                <a:gd name="connsiteY14" fmla="*/ 32930 h 106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9220" h="106166">
                  <a:moveTo>
                    <a:pt x="189220" y="32930"/>
                  </a:moveTo>
                  <a:cubicBezTo>
                    <a:pt x="188083" y="27995"/>
                    <a:pt x="187455" y="22956"/>
                    <a:pt x="187347" y="17892"/>
                  </a:cubicBezTo>
                  <a:cubicBezTo>
                    <a:pt x="177817" y="13393"/>
                    <a:pt x="167868" y="9837"/>
                    <a:pt x="157645" y="7276"/>
                  </a:cubicBezTo>
                  <a:cubicBezTo>
                    <a:pt x="142932" y="2888"/>
                    <a:pt x="127708" y="442"/>
                    <a:pt x="112362" y="0"/>
                  </a:cubicBezTo>
                  <a:cubicBezTo>
                    <a:pt x="97019" y="16"/>
                    <a:pt x="81777" y="2467"/>
                    <a:pt x="67203" y="7263"/>
                  </a:cubicBezTo>
                  <a:cubicBezTo>
                    <a:pt x="47657" y="12593"/>
                    <a:pt x="29235" y="21413"/>
                    <a:pt x="12827" y="33299"/>
                  </a:cubicBezTo>
                  <a:cubicBezTo>
                    <a:pt x="4748" y="39518"/>
                    <a:pt x="10" y="49133"/>
                    <a:pt x="0" y="59328"/>
                  </a:cubicBezTo>
                  <a:lnTo>
                    <a:pt x="0" y="106167"/>
                  </a:lnTo>
                  <a:lnTo>
                    <a:pt x="12490" y="106167"/>
                  </a:lnTo>
                  <a:lnTo>
                    <a:pt x="12490" y="59328"/>
                  </a:lnTo>
                  <a:cubicBezTo>
                    <a:pt x="12502" y="53027"/>
                    <a:pt x="15425" y="47084"/>
                    <a:pt x="20409" y="43229"/>
                  </a:cubicBezTo>
                  <a:cubicBezTo>
                    <a:pt x="35606" y="32280"/>
                    <a:pt x="52650" y="24156"/>
                    <a:pt x="70726" y="19247"/>
                  </a:cubicBezTo>
                  <a:cubicBezTo>
                    <a:pt x="84166" y="14831"/>
                    <a:pt x="98215" y="12551"/>
                    <a:pt x="112362" y="12490"/>
                  </a:cubicBezTo>
                  <a:cubicBezTo>
                    <a:pt x="126639" y="12950"/>
                    <a:pt x="140796" y="15260"/>
                    <a:pt x="154479" y="19360"/>
                  </a:cubicBezTo>
                  <a:cubicBezTo>
                    <a:pt x="166607" y="22332"/>
                    <a:pt x="178288" y="26896"/>
                    <a:pt x="189220" y="32930"/>
                  </a:cubicBezTo>
                  <a:close/>
                </a:path>
              </a:pathLst>
            </a:custGeom>
            <a:solidFill>
              <a:schemeClr val="bg1"/>
            </a:solidFill>
            <a:ln w="6152" cap="flat">
              <a:noFill/>
              <a:prstDash val="solid"/>
              <a:miter/>
            </a:ln>
          </p:spPr>
          <p:txBody>
            <a:bodyPr rtlCol="0" anchor="ctr"/>
            <a:lstStyle/>
            <a:p>
              <a:endParaRPr lang="en-GB"/>
            </a:p>
          </p:txBody>
        </p:sp>
        <p:sp>
          <p:nvSpPr>
            <p:cNvPr id="20" name="Frihandsfigur: Form 19">
              <a:extLst>
                <a:ext uri="{FF2B5EF4-FFF2-40B4-BE49-F238E27FC236}">
                  <a16:creationId xmlns:a16="http://schemas.microsoft.com/office/drawing/2014/main" id="{68786163-753C-E601-86BE-094BD111990C}"/>
                </a:ext>
              </a:extLst>
            </p:cNvPr>
            <p:cNvSpPr/>
            <p:nvPr/>
          </p:nvSpPr>
          <p:spPr>
            <a:xfrm>
              <a:off x="6327386" y="4471274"/>
              <a:ext cx="224830" cy="106166"/>
            </a:xfrm>
            <a:custGeom>
              <a:avLst/>
              <a:gdLst>
                <a:gd name="connsiteX0" fmla="*/ 211709 w 224830"/>
                <a:gd name="connsiteY0" fmla="*/ 33099 h 106166"/>
                <a:gd name="connsiteX1" fmla="*/ 157707 w 224830"/>
                <a:gd name="connsiteY1" fmla="*/ 7301 h 106166"/>
                <a:gd name="connsiteX2" fmla="*/ 112412 w 224830"/>
                <a:gd name="connsiteY2" fmla="*/ 0 h 106166"/>
                <a:gd name="connsiteX3" fmla="*/ 67266 w 224830"/>
                <a:gd name="connsiteY3" fmla="*/ 7263 h 106166"/>
                <a:gd name="connsiteX4" fmla="*/ 12890 w 224830"/>
                <a:gd name="connsiteY4" fmla="*/ 33299 h 106166"/>
                <a:gd name="connsiteX5" fmla="*/ 0 w 224830"/>
                <a:gd name="connsiteY5" fmla="*/ 59328 h 106166"/>
                <a:gd name="connsiteX6" fmla="*/ 0 w 224830"/>
                <a:gd name="connsiteY6" fmla="*/ 106167 h 106166"/>
                <a:gd name="connsiteX7" fmla="*/ 12490 w 224830"/>
                <a:gd name="connsiteY7" fmla="*/ 106167 h 106166"/>
                <a:gd name="connsiteX8" fmla="*/ 12490 w 224830"/>
                <a:gd name="connsiteY8" fmla="*/ 59328 h 106166"/>
                <a:gd name="connsiteX9" fmla="*/ 20415 w 224830"/>
                <a:gd name="connsiteY9" fmla="*/ 43229 h 106166"/>
                <a:gd name="connsiteX10" fmla="*/ 70726 w 224830"/>
                <a:gd name="connsiteY10" fmla="*/ 19247 h 106166"/>
                <a:gd name="connsiteX11" fmla="*/ 112412 w 224830"/>
                <a:gd name="connsiteY11" fmla="*/ 12490 h 106166"/>
                <a:gd name="connsiteX12" fmla="*/ 154535 w 224830"/>
                <a:gd name="connsiteY12" fmla="*/ 19360 h 106166"/>
                <a:gd name="connsiteX13" fmla="*/ 203940 w 224830"/>
                <a:gd name="connsiteY13" fmla="*/ 42866 h 106166"/>
                <a:gd name="connsiteX14" fmla="*/ 204477 w 224830"/>
                <a:gd name="connsiteY14" fmla="*/ 43266 h 106166"/>
                <a:gd name="connsiteX15" fmla="*/ 212333 w 224830"/>
                <a:gd name="connsiteY15" fmla="*/ 59328 h 106166"/>
                <a:gd name="connsiteX16" fmla="*/ 212333 w 224830"/>
                <a:gd name="connsiteY16" fmla="*/ 106167 h 106166"/>
                <a:gd name="connsiteX17" fmla="*/ 224823 w 224830"/>
                <a:gd name="connsiteY17" fmla="*/ 106167 h 106166"/>
                <a:gd name="connsiteX18" fmla="*/ 224823 w 224830"/>
                <a:gd name="connsiteY18" fmla="*/ 59328 h 106166"/>
                <a:gd name="connsiteX19" fmla="*/ 211709 w 224830"/>
                <a:gd name="connsiteY19" fmla="*/ 33099 h 106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24830" h="106166">
                  <a:moveTo>
                    <a:pt x="211709" y="33099"/>
                  </a:moveTo>
                  <a:cubicBezTo>
                    <a:pt x="195792" y="20684"/>
                    <a:pt x="177366" y="11881"/>
                    <a:pt x="157707" y="7301"/>
                  </a:cubicBezTo>
                  <a:cubicBezTo>
                    <a:pt x="142991" y="2906"/>
                    <a:pt x="127763" y="453"/>
                    <a:pt x="112412" y="0"/>
                  </a:cubicBezTo>
                  <a:cubicBezTo>
                    <a:pt x="97074" y="15"/>
                    <a:pt x="81835" y="2467"/>
                    <a:pt x="67266" y="7263"/>
                  </a:cubicBezTo>
                  <a:cubicBezTo>
                    <a:pt x="47718" y="12589"/>
                    <a:pt x="29295" y="21409"/>
                    <a:pt x="12890" y="33299"/>
                  </a:cubicBezTo>
                  <a:cubicBezTo>
                    <a:pt x="4784" y="39503"/>
                    <a:pt x="22" y="49121"/>
                    <a:pt x="0" y="59328"/>
                  </a:cubicBezTo>
                  <a:lnTo>
                    <a:pt x="0" y="106167"/>
                  </a:lnTo>
                  <a:lnTo>
                    <a:pt x="12490" y="106167"/>
                  </a:lnTo>
                  <a:lnTo>
                    <a:pt x="12490" y="59328"/>
                  </a:lnTo>
                  <a:cubicBezTo>
                    <a:pt x="12501" y="53025"/>
                    <a:pt x="15427" y="47082"/>
                    <a:pt x="20415" y="43229"/>
                  </a:cubicBezTo>
                  <a:cubicBezTo>
                    <a:pt x="35608" y="32277"/>
                    <a:pt x="52651" y="24154"/>
                    <a:pt x="70726" y="19247"/>
                  </a:cubicBezTo>
                  <a:cubicBezTo>
                    <a:pt x="84181" y="14826"/>
                    <a:pt x="98248" y="12546"/>
                    <a:pt x="112412" y="12490"/>
                  </a:cubicBezTo>
                  <a:cubicBezTo>
                    <a:pt x="126691" y="12948"/>
                    <a:pt x="140850" y="15257"/>
                    <a:pt x="154535" y="19360"/>
                  </a:cubicBezTo>
                  <a:cubicBezTo>
                    <a:pt x="172523" y="23490"/>
                    <a:pt x="189387" y="31514"/>
                    <a:pt x="203940" y="42866"/>
                  </a:cubicBezTo>
                  <a:lnTo>
                    <a:pt x="204477" y="43266"/>
                  </a:lnTo>
                  <a:cubicBezTo>
                    <a:pt x="209615" y="46972"/>
                    <a:pt x="212562" y="52998"/>
                    <a:pt x="212333" y="59328"/>
                  </a:cubicBezTo>
                  <a:lnTo>
                    <a:pt x="212333" y="106167"/>
                  </a:lnTo>
                  <a:lnTo>
                    <a:pt x="224823" y="106167"/>
                  </a:lnTo>
                  <a:lnTo>
                    <a:pt x="224823" y="59328"/>
                  </a:lnTo>
                  <a:cubicBezTo>
                    <a:pt x="225049" y="48957"/>
                    <a:pt x="220142" y="39141"/>
                    <a:pt x="211709" y="33099"/>
                  </a:cubicBezTo>
                  <a:close/>
                </a:path>
              </a:pathLst>
            </a:custGeom>
            <a:solidFill>
              <a:schemeClr val="bg1"/>
            </a:solidFill>
            <a:ln w="6152" cap="flat">
              <a:noFill/>
              <a:prstDash val="solid"/>
              <a:miter/>
            </a:ln>
          </p:spPr>
          <p:txBody>
            <a:bodyPr rtlCol="0" anchor="ctr"/>
            <a:lstStyle/>
            <a:p>
              <a:endParaRPr lang="en-GB"/>
            </a:p>
          </p:txBody>
        </p:sp>
        <p:sp>
          <p:nvSpPr>
            <p:cNvPr id="21" name="Frihandsfigur: Form 20">
              <a:extLst>
                <a:ext uri="{FF2B5EF4-FFF2-40B4-BE49-F238E27FC236}">
                  <a16:creationId xmlns:a16="http://schemas.microsoft.com/office/drawing/2014/main" id="{90E1BC5F-02A1-88AC-8C1F-5407253585B0}"/>
                </a:ext>
              </a:extLst>
            </p:cNvPr>
            <p:cNvSpPr/>
            <p:nvPr/>
          </p:nvSpPr>
          <p:spPr>
            <a:xfrm>
              <a:off x="6383592" y="4345217"/>
              <a:ext cx="112411" cy="112411"/>
            </a:xfrm>
            <a:custGeom>
              <a:avLst/>
              <a:gdLst>
                <a:gd name="connsiteX0" fmla="*/ 56206 w 112411"/>
                <a:gd name="connsiteY0" fmla="*/ 112412 h 112411"/>
                <a:gd name="connsiteX1" fmla="*/ 112412 w 112411"/>
                <a:gd name="connsiteY1" fmla="*/ 56206 h 112411"/>
                <a:gd name="connsiteX2" fmla="*/ 56206 w 112411"/>
                <a:gd name="connsiteY2" fmla="*/ 0 h 112411"/>
                <a:gd name="connsiteX3" fmla="*/ 0 w 112411"/>
                <a:gd name="connsiteY3" fmla="*/ 56206 h 112411"/>
                <a:gd name="connsiteX4" fmla="*/ 56206 w 112411"/>
                <a:gd name="connsiteY4" fmla="*/ 112412 h 112411"/>
                <a:gd name="connsiteX5" fmla="*/ 56206 w 112411"/>
                <a:gd name="connsiteY5" fmla="*/ 12490 h 112411"/>
                <a:gd name="connsiteX6" fmla="*/ 99922 w 112411"/>
                <a:gd name="connsiteY6" fmla="*/ 56206 h 112411"/>
                <a:gd name="connsiteX7" fmla="*/ 56206 w 112411"/>
                <a:gd name="connsiteY7" fmla="*/ 99922 h 112411"/>
                <a:gd name="connsiteX8" fmla="*/ 12490 w 112411"/>
                <a:gd name="connsiteY8" fmla="*/ 56206 h 112411"/>
                <a:gd name="connsiteX9" fmla="*/ 56206 w 112411"/>
                <a:gd name="connsiteY9" fmla="*/ 12459 h 112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2411" h="112411">
                  <a:moveTo>
                    <a:pt x="56206" y="112412"/>
                  </a:moveTo>
                  <a:cubicBezTo>
                    <a:pt x="87248" y="112412"/>
                    <a:pt x="112412" y="87248"/>
                    <a:pt x="112412" y="56206"/>
                  </a:cubicBezTo>
                  <a:cubicBezTo>
                    <a:pt x="112412" y="25164"/>
                    <a:pt x="87248" y="0"/>
                    <a:pt x="56206" y="0"/>
                  </a:cubicBezTo>
                  <a:cubicBezTo>
                    <a:pt x="25164" y="0"/>
                    <a:pt x="0" y="25164"/>
                    <a:pt x="0" y="56206"/>
                  </a:cubicBezTo>
                  <a:cubicBezTo>
                    <a:pt x="0" y="87248"/>
                    <a:pt x="25164" y="112412"/>
                    <a:pt x="56206" y="112412"/>
                  </a:cubicBezTo>
                  <a:close/>
                  <a:moveTo>
                    <a:pt x="56206" y="12490"/>
                  </a:moveTo>
                  <a:cubicBezTo>
                    <a:pt x="80349" y="12490"/>
                    <a:pt x="99922" y="32062"/>
                    <a:pt x="99922" y="56206"/>
                  </a:cubicBezTo>
                  <a:cubicBezTo>
                    <a:pt x="99922" y="80349"/>
                    <a:pt x="80349" y="99922"/>
                    <a:pt x="56206" y="99922"/>
                  </a:cubicBezTo>
                  <a:cubicBezTo>
                    <a:pt x="32062" y="99922"/>
                    <a:pt x="12490" y="80349"/>
                    <a:pt x="12490" y="56206"/>
                  </a:cubicBezTo>
                  <a:cubicBezTo>
                    <a:pt x="12508" y="32064"/>
                    <a:pt x="32064" y="12493"/>
                    <a:pt x="56206" y="12459"/>
                  </a:cubicBezTo>
                  <a:close/>
                </a:path>
              </a:pathLst>
            </a:custGeom>
            <a:solidFill>
              <a:schemeClr val="bg1"/>
            </a:solidFill>
            <a:ln w="6152" cap="flat">
              <a:noFill/>
              <a:prstDash val="solid"/>
              <a:miter/>
            </a:ln>
          </p:spPr>
          <p:txBody>
            <a:bodyPr rtlCol="0" anchor="ctr"/>
            <a:lstStyle/>
            <a:p>
              <a:endParaRPr lang="en-GB"/>
            </a:p>
          </p:txBody>
        </p:sp>
      </p:grpSp>
      <p:grpSp>
        <p:nvGrpSpPr>
          <p:cNvPr id="26" name="Bild 30" descr="Användare kontur">
            <a:extLst>
              <a:ext uri="{FF2B5EF4-FFF2-40B4-BE49-F238E27FC236}">
                <a16:creationId xmlns:a16="http://schemas.microsoft.com/office/drawing/2014/main" id="{15F151AF-C350-35F1-76E9-9485C13CCE74}"/>
              </a:ext>
            </a:extLst>
          </p:cNvPr>
          <p:cNvGrpSpPr/>
          <p:nvPr/>
        </p:nvGrpSpPr>
        <p:grpSpPr>
          <a:xfrm>
            <a:off x="16454808" y="2039190"/>
            <a:ext cx="524545" cy="318468"/>
            <a:chOff x="15656170" y="2577865"/>
            <a:chExt cx="524545" cy="318468"/>
          </a:xfrm>
          <a:solidFill>
            <a:schemeClr val="lt1"/>
          </a:solidFill>
        </p:grpSpPr>
        <p:sp>
          <p:nvSpPr>
            <p:cNvPr id="28" name="Frihandsfigur: Form 27">
              <a:extLst>
                <a:ext uri="{FF2B5EF4-FFF2-40B4-BE49-F238E27FC236}">
                  <a16:creationId xmlns:a16="http://schemas.microsoft.com/office/drawing/2014/main" id="{7D650F77-AFDA-31A6-8AC2-EA38A0676252}"/>
                </a:ext>
              </a:extLst>
            </p:cNvPr>
            <p:cNvSpPr/>
            <p:nvPr/>
          </p:nvSpPr>
          <p:spPr>
            <a:xfrm>
              <a:off x="15712326" y="2577865"/>
              <a:ext cx="112411" cy="112411"/>
            </a:xfrm>
            <a:custGeom>
              <a:avLst/>
              <a:gdLst>
                <a:gd name="connsiteX0" fmla="*/ 56206 w 112411"/>
                <a:gd name="connsiteY0" fmla="*/ 112412 h 112411"/>
                <a:gd name="connsiteX1" fmla="*/ 112412 w 112411"/>
                <a:gd name="connsiteY1" fmla="*/ 56206 h 112411"/>
                <a:gd name="connsiteX2" fmla="*/ 56206 w 112411"/>
                <a:gd name="connsiteY2" fmla="*/ 0 h 112411"/>
                <a:gd name="connsiteX3" fmla="*/ 0 w 112411"/>
                <a:gd name="connsiteY3" fmla="*/ 56206 h 112411"/>
                <a:gd name="connsiteX4" fmla="*/ 56206 w 112411"/>
                <a:gd name="connsiteY4" fmla="*/ 112412 h 112411"/>
                <a:gd name="connsiteX5" fmla="*/ 56206 w 112411"/>
                <a:gd name="connsiteY5" fmla="*/ 12459 h 112411"/>
                <a:gd name="connsiteX6" fmla="*/ 99922 w 112411"/>
                <a:gd name="connsiteY6" fmla="*/ 56175 h 112411"/>
                <a:gd name="connsiteX7" fmla="*/ 56206 w 112411"/>
                <a:gd name="connsiteY7" fmla="*/ 99890 h 112411"/>
                <a:gd name="connsiteX8" fmla="*/ 12490 w 112411"/>
                <a:gd name="connsiteY8" fmla="*/ 56175 h 112411"/>
                <a:gd name="connsiteX9" fmla="*/ 56206 w 112411"/>
                <a:gd name="connsiteY9" fmla="*/ 12459 h 112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2411" h="112411">
                  <a:moveTo>
                    <a:pt x="56206" y="112412"/>
                  </a:moveTo>
                  <a:cubicBezTo>
                    <a:pt x="87248" y="112412"/>
                    <a:pt x="112412" y="87248"/>
                    <a:pt x="112412" y="56206"/>
                  </a:cubicBezTo>
                  <a:cubicBezTo>
                    <a:pt x="112412" y="25164"/>
                    <a:pt x="87248" y="0"/>
                    <a:pt x="56206" y="0"/>
                  </a:cubicBezTo>
                  <a:cubicBezTo>
                    <a:pt x="25164" y="0"/>
                    <a:pt x="0" y="25164"/>
                    <a:pt x="0" y="56206"/>
                  </a:cubicBezTo>
                  <a:cubicBezTo>
                    <a:pt x="0" y="87248"/>
                    <a:pt x="25164" y="112412"/>
                    <a:pt x="56206" y="112412"/>
                  </a:cubicBezTo>
                  <a:close/>
                  <a:moveTo>
                    <a:pt x="56206" y="12459"/>
                  </a:moveTo>
                  <a:cubicBezTo>
                    <a:pt x="80349" y="12459"/>
                    <a:pt x="99922" y="32031"/>
                    <a:pt x="99922" y="56175"/>
                  </a:cubicBezTo>
                  <a:cubicBezTo>
                    <a:pt x="99922" y="80318"/>
                    <a:pt x="80349" y="99890"/>
                    <a:pt x="56206" y="99890"/>
                  </a:cubicBezTo>
                  <a:cubicBezTo>
                    <a:pt x="32062" y="99890"/>
                    <a:pt x="12490" y="80318"/>
                    <a:pt x="12490" y="56175"/>
                  </a:cubicBezTo>
                  <a:cubicBezTo>
                    <a:pt x="12521" y="32044"/>
                    <a:pt x="32075" y="12490"/>
                    <a:pt x="56206" y="12459"/>
                  </a:cubicBezTo>
                  <a:close/>
                </a:path>
              </a:pathLst>
            </a:custGeom>
            <a:solidFill>
              <a:schemeClr val="lt1"/>
            </a:solidFill>
            <a:ln w="8202" cap="flat">
              <a:solidFill>
                <a:schemeClr val="accent5"/>
              </a:solidFill>
              <a:prstDash val="solid"/>
              <a:miter/>
            </a:ln>
          </p:spPr>
          <p:txBody>
            <a:bodyPr rtlCol="0" anchor="ctr"/>
            <a:lstStyle/>
            <a:p>
              <a:endParaRPr lang="en-GB"/>
            </a:p>
          </p:txBody>
        </p:sp>
        <p:sp>
          <p:nvSpPr>
            <p:cNvPr id="29" name="Frihandsfigur: Form 28">
              <a:extLst>
                <a:ext uri="{FF2B5EF4-FFF2-40B4-BE49-F238E27FC236}">
                  <a16:creationId xmlns:a16="http://schemas.microsoft.com/office/drawing/2014/main" id="{4B99B03B-13CD-924C-966D-3205B0CD8460}"/>
                </a:ext>
              </a:extLst>
            </p:cNvPr>
            <p:cNvSpPr/>
            <p:nvPr/>
          </p:nvSpPr>
          <p:spPr>
            <a:xfrm>
              <a:off x="16012090" y="2577865"/>
              <a:ext cx="112411" cy="112411"/>
            </a:xfrm>
            <a:custGeom>
              <a:avLst/>
              <a:gdLst>
                <a:gd name="connsiteX0" fmla="*/ 56206 w 112411"/>
                <a:gd name="connsiteY0" fmla="*/ 112412 h 112411"/>
                <a:gd name="connsiteX1" fmla="*/ 112412 w 112411"/>
                <a:gd name="connsiteY1" fmla="*/ 56206 h 112411"/>
                <a:gd name="connsiteX2" fmla="*/ 56206 w 112411"/>
                <a:gd name="connsiteY2" fmla="*/ 0 h 112411"/>
                <a:gd name="connsiteX3" fmla="*/ 0 w 112411"/>
                <a:gd name="connsiteY3" fmla="*/ 56206 h 112411"/>
                <a:gd name="connsiteX4" fmla="*/ 56206 w 112411"/>
                <a:gd name="connsiteY4" fmla="*/ 112412 h 112411"/>
                <a:gd name="connsiteX5" fmla="*/ 56206 w 112411"/>
                <a:gd name="connsiteY5" fmla="*/ 12459 h 112411"/>
                <a:gd name="connsiteX6" fmla="*/ 99922 w 112411"/>
                <a:gd name="connsiteY6" fmla="*/ 56175 h 112411"/>
                <a:gd name="connsiteX7" fmla="*/ 56206 w 112411"/>
                <a:gd name="connsiteY7" fmla="*/ 99890 h 112411"/>
                <a:gd name="connsiteX8" fmla="*/ 12490 w 112411"/>
                <a:gd name="connsiteY8" fmla="*/ 56175 h 112411"/>
                <a:gd name="connsiteX9" fmla="*/ 56206 w 112411"/>
                <a:gd name="connsiteY9" fmla="*/ 12459 h 112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2411" h="112411">
                  <a:moveTo>
                    <a:pt x="56206" y="112412"/>
                  </a:moveTo>
                  <a:cubicBezTo>
                    <a:pt x="87248" y="112412"/>
                    <a:pt x="112412" y="87248"/>
                    <a:pt x="112412" y="56206"/>
                  </a:cubicBezTo>
                  <a:cubicBezTo>
                    <a:pt x="112412" y="25164"/>
                    <a:pt x="87248" y="0"/>
                    <a:pt x="56206" y="0"/>
                  </a:cubicBezTo>
                  <a:cubicBezTo>
                    <a:pt x="25164" y="0"/>
                    <a:pt x="0" y="25164"/>
                    <a:pt x="0" y="56206"/>
                  </a:cubicBezTo>
                  <a:cubicBezTo>
                    <a:pt x="0" y="87248"/>
                    <a:pt x="25164" y="112412"/>
                    <a:pt x="56206" y="112412"/>
                  </a:cubicBezTo>
                  <a:close/>
                  <a:moveTo>
                    <a:pt x="56206" y="12459"/>
                  </a:moveTo>
                  <a:cubicBezTo>
                    <a:pt x="80349" y="12459"/>
                    <a:pt x="99922" y="32031"/>
                    <a:pt x="99922" y="56175"/>
                  </a:cubicBezTo>
                  <a:cubicBezTo>
                    <a:pt x="99922" y="80318"/>
                    <a:pt x="80349" y="99890"/>
                    <a:pt x="56206" y="99890"/>
                  </a:cubicBezTo>
                  <a:cubicBezTo>
                    <a:pt x="32062" y="99890"/>
                    <a:pt x="12490" y="80318"/>
                    <a:pt x="12490" y="56175"/>
                  </a:cubicBezTo>
                  <a:cubicBezTo>
                    <a:pt x="12521" y="32044"/>
                    <a:pt x="32075" y="12490"/>
                    <a:pt x="56206" y="12459"/>
                  </a:cubicBezTo>
                  <a:close/>
                </a:path>
              </a:pathLst>
            </a:custGeom>
            <a:solidFill>
              <a:schemeClr val="lt1"/>
            </a:solidFill>
            <a:ln w="8202" cap="flat">
              <a:solidFill>
                <a:schemeClr val="accent5"/>
              </a:solidFill>
              <a:prstDash val="solid"/>
              <a:miter/>
            </a:ln>
          </p:spPr>
          <p:txBody>
            <a:bodyPr rtlCol="0" anchor="ctr"/>
            <a:lstStyle/>
            <a:p>
              <a:endParaRPr lang="en-GB"/>
            </a:p>
          </p:txBody>
        </p:sp>
        <p:sp>
          <p:nvSpPr>
            <p:cNvPr id="30" name="Frihandsfigur: Form 29">
              <a:extLst>
                <a:ext uri="{FF2B5EF4-FFF2-40B4-BE49-F238E27FC236}">
                  <a16:creationId xmlns:a16="http://schemas.microsoft.com/office/drawing/2014/main" id="{472C9CF1-AABD-DA28-61FF-C06ABA2CC6DA}"/>
                </a:ext>
              </a:extLst>
            </p:cNvPr>
            <p:cNvSpPr/>
            <p:nvPr/>
          </p:nvSpPr>
          <p:spPr>
            <a:xfrm>
              <a:off x="15991176" y="2703922"/>
              <a:ext cx="189539" cy="106166"/>
            </a:xfrm>
            <a:custGeom>
              <a:avLst/>
              <a:gdLst>
                <a:gd name="connsiteX0" fmla="*/ 176418 w 189539"/>
                <a:gd name="connsiteY0" fmla="*/ 33093 h 106166"/>
                <a:gd name="connsiteX1" fmla="*/ 122416 w 189539"/>
                <a:gd name="connsiteY1" fmla="*/ 7294 h 106166"/>
                <a:gd name="connsiteX2" fmla="*/ 77121 w 189539"/>
                <a:gd name="connsiteY2" fmla="*/ 0 h 106166"/>
                <a:gd name="connsiteX3" fmla="*/ 31962 w 189539"/>
                <a:gd name="connsiteY3" fmla="*/ 7263 h 106166"/>
                <a:gd name="connsiteX4" fmla="*/ 2048 w 189539"/>
                <a:gd name="connsiteY4" fmla="*/ 18660 h 106166"/>
                <a:gd name="connsiteX5" fmla="*/ 0 w 189539"/>
                <a:gd name="connsiteY5" fmla="*/ 33898 h 106166"/>
                <a:gd name="connsiteX6" fmla="*/ 35460 w 189539"/>
                <a:gd name="connsiteY6" fmla="*/ 19247 h 106166"/>
                <a:gd name="connsiteX7" fmla="*/ 77121 w 189539"/>
                <a:gd name="connsiteY7" fmla="*/ 12490 h 106166"/>
                <a:gd name="connsiteX8" fmla="*/ 119238 w 189539"/>
                <a:gd name="connsiteY8" fmla="*/ 19360 h 106166"/>
                <a:gd name="connsiteX9" fmla="*/ 168649 w 189539"/>
                <a:gd name="connsiteY9" fmla="*/ 42873 h 106166"/>
                <a:gd name="connsiteX10" fmla="*/ 169186 w 189539"/>
                <a:gd name="connsiteY10" fmla="*/ 43272 h 106166"/>
                <a:gd name="connsiteX11" fmla="*/ 177042 w 189539"/>
                <a:gd name="connsiteY11" fmla="*/ 59328 h 106166"/>
                <a:gd name="connsiteX12" fmla="*/ 177042 w 189539"/>
                <a:gd name="connsiteY12" fmla="*/ 106167 h 106166"/>
                <a:gd name="connsiteX13" fmla="*/ 189532 w 189539"/>
                <a:gd name="connsiteY13" fmla="*/ 106167 h 106166"/>
                <a:gd name="connsiteX14" fmla="*/ 189532 w 189539"/>
                <a:gd name="connsiteY14" fmla="*/ 59328 h 106166"/>
                <a:gd name="connsiteX15" fmla="*/ 176418 w 189539"/>
                <a:gd name="connsiteY15" fmla="*/ 33093 h 106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9539" h="106166">
                  <a:moveTo>
                    <a:pt x="176418" y="33093"/>
                  </a:moveTo>
                  <a:cubicBezTo>
                    <a:pt x="160500" y="20680"/>
                    <a:pt x="142074" y="11877"/>
                    <a:pt x="122416" y="7294"/>
                  </a:cubicBezTo>
                  <a:cubicBezTo>
                    <a:pt x="107700" y="2900"/>
                    <a:pt x="92472" y="447"/>
                    <a:pt x="77121" y="0"/>
                  </a:cubicBezTo>
                  <a:cubicBezTo>
                    <a:pt x="61778" y="16"/>
                    <a:pt x="46536" y="2467"/>
                    <a:pt x="31962" y="7263"/>
                  </a:cubicBezTo>
                  <a:cubicBezTo>
                    <a:pt x="21601" y="9945"/>
                    <a:pt x="11568" y="13768"/>
                    <a:pt x="2048" y="18660"/>
                  </a:cubicBezTo>
                  <a:cubicBezTo>
                    <a:pt x="1895" y="23797"/>
                    <a:pt x="1209" y="28904"/>
                    <a:pt x="0" y="33898"/>
                  </a:cubicBezTo>
                  <a:cubicBezTo>
                    <a:pt x="11106" y="27440"/>
                    <a:pt x="23034" y="22512"/>
                    <a:pt x="35460" y="19247"/>
                  </a:cubicBezTo>
                  <a:cubicBezTo>
                    <a:pt x="48907" y="14829"/>
                    <a:pt x="62966" y="12549"/>
                    <a:pt x="77121" y="12490"/>
                  </a:cubicBezTo>
                  <a:cubicBezTo>
                    <a:pt x="91398" y="12950"/>
                    <a:pt x="105555" y="15259"/>
                    <a:pt x="119238" y="19360"/>
                  </a:cubicBezTo>
                  <a:cubicBezTo>
                    <a:pt x="137227" y="23496"/>
                    <a:pt x="154092" y="31521"/>
                    <a:pt x="168649" y="42873"/>
                  </a:cubicBezTo>
                  <a:lnTo>
                    <a:pt x="169186" y="43272"/>
                  </a:lnTo>
                  <a:cubicBezTo>
                    <a:pt x="174322" y="46976"/>
                    <a:pt x="177270" y="53000"/>
                    <a:pt x="177042" y="59328"/>
                  </a:cubicBezTo>
                  <a:lnTo>
                    <a:pt x="177042" y="106167"/>
                  </a:lnTo>
                  <a:lnTo>
                    <a:pt x="189532" y="106167"/>
                  </a:lnTo>
                  <a:lnTo>
                    <a:pt x="189532" y="59328"/>
                  </a:lnTo>
                  <a:cubicBezTo>
                    <a:pt x="189760" y="48954"/>
                    <a:pt x="184852" y="39136"/>
                    <a:pt x="176418" y="33093"/>
                  </a:cubicBezTo>
                  <a:close/>
                </a:path>
              </a:pathLst>
            </a:custGeom>
            <a:solidFill>
              <a:schemeClr val="lt1"/>
            </a:solidFill>
            <a:ln w="8202" cap="flat">
              <a:solidFill>
                <a:schemeClr val="accent5"/>
              </a:solidFill>
              <a:prstDash val="solid"/>
              <a:miter/>
            </a:ln>
          </p:spPr>
          <p:txBody>
            <a:bodyPr rtlCol="0" anchor="ctr"/>
            <a:lstStyle/>
            <a:p>
              <a:endParaRPr lang="en-GB"/>
            </a:p>
          </p:txBody>
        </p:sp>
        <p:sp>
          <p:nvSpPr>
            <p:cNvPr id="128" name="Frihandsfigur: Form 127">
              <a:extLst>
                <a:ext uri="{FF2B5EF4-FFF2-40B4-BE49-F238E27FC236}">
                  <a16:creationId xmlns:a16="http://schemas.microsoft.com/office/drawing/2014/main" id="{1B4F580E-026C-061C-713B-BBD74BBB53B0}"/>
                </a:ext>
              </a:extLst>
            </p:cNvPr>
            <p:cNvSpPr/>
            <p:nvPr/>
          </p:nvSpPr>
          <p:spPr>
            <a:xfrm>
              <a:off x="15656170" y="2703922"/>
              <a:ext cx="189220" cy="106166"/>
            </a:xfrm>
            <a:custGeom>
              <a:avLst/>
              <a:gdLst>
                <a:gd name="connsiteX0" fmla="*/ 189220 w 189220"/>
                <a:gd name="connsiteY0" fmla="*/ 32930 h 106166"/>
                <a:gd name="connsiteX1" fmla="*/ 187347 w 189220"/>
                <a:gd name="connsiteY1" fmla="*/ 17892 h 106166"/>
                <a:gd name="connsiteX2" fmla="*/ 157645 w 189220"/>
                <a:gd name="connsiteY2" fmla="*/ 7276 h 106166"/>
                <a:gd name="connsiteX3" fmla="*/ 112362 w 189220"/>
                <a:gd name="connsiteY3" fmla="*/ 0 h 106166"/>
                <a:gd name="connsiteX4" fmla="*/ 67203 w 189220"/>
                <a:gd name="connsiteY4" fmla="*/ 7263 h 106166"/>
                <a:gd name="connsiteX5" fmla="*/ 12827 w 189220"/>
                <a:gd name="connsiteY5" fmla="*/ 33299 h 106166"/>
                <a:gd name="connsiteX6" fmla="*/ 0 w 189220"/>
                <a:gd name="connsiteY6" fmla="*/ 59328 h 106166"/>
                <a:gd name="connsiteX7" fmla="*/ 0 w 189220"/>
                <a:gd name="connsiteY7" fmla="*/ 106167 h 106166"/>
                <a:gd name="connsiteX8" fmla="*/ 12490 w 189220"/>
                <a:gd name="connsiteY8" fmla="*/ 106167 h 106166"/>
                <a:gd name="connsiteX9" fmla="*/ 12490 w 189220"/>
                <a:gd name="connsiteY9" fmla="*/ 59328 h 106166"/>
                <a:gd name="connsiteX10" fmla="*/ 20409 w 189220"/>
                <a:gd name="connsiteY10" fmla="*/ 43229 h 106166"/>
                <a:gd name="connsiteX11" fmla="*/ 70726 w 189220"/>
                <a:gd name="connsiteY11" fmla="*/ 19247 h 106166"/>
                <a:gd name="connsiteX12" fmla="*/ 112362 w 189220"/>
                <a:gd name="connsiteY12" fmla="*/ 12490 h 106166"/>
                <a:gd name="connsiteX13" fmla="*/ 154479 w 189220"/>
                <a:gd name="connsiteY13" fmla="*/ 19360 h 106166"/>
                <a:gd name="connsiteX14" fmla="*/ 189220 w 189220"/>
                <a:gd name="connsiteY14" fmla="*/ 32930 h 106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9220" h="106166">
                  <a:moveTo>
                    <a:pt x="189220" y="32930"/>
                  </a:moveTo>
                  <a:cubicBezTo>
                    <a:pt x="188083" y="27995"/>
                    <a:pt x="187455" y="22956"/>
                    <a:pt x="187347" y="17892"/>
                  </a:cubicBezTo>
                  <a:cubicBezTo>
                    <a:pt x="177817" y="13393"/>
                    <a:pt x="167868" y="9837"/>
                    <a:pt x="157645" y="7276"/>
                  </a:cubicBezTo>
                  <a:cubicBezTo>
                    <a:pt x="142932" y="2888"/>
                    <a:pt x="127708" y="442"/>
                    <a:pt x="112362" y="0"/>
                  </a:cubicBezTo>
                  <a:cubicBezTo>
                    <a:pt x="97019" y="16"/>
                    <a:pt x="81777" y="2467"/>
                    <a:pt x="67203" y="7263"/>
                  </a:cubicBezTo>
                  <a:cubicBezTo>
                    <a:pt x="47657" y="12593"/>
                    <a:pt x="29235" y="21413"/>
                    <a:pt x="12827" y="33299"/>
                  </a:cubicBezTo>
                  <a:cubicBezTo>
                    <a:pt x="4748" y="39518"/>
                    <a:pt x="10" y="49133"/>
                    <a:pt x="0" y="59328"/>
                  </a:cubicBezTo>
                  <a:lnTo>
                    <a:pt x="0" y="106167"/>
                  </a:lnTo>
                  <a:lnTo>
                    <a:pt x="12490" y="106167"/>
                  </a:lnTo>
                  <a:lnTo>
                    <a:pt x="12490" y="59328"/>
                  </a:lnTo>
                  <a:cubicBezTo>
                    <a:pt x="12502" y="53027"/>
                    <a:pt x="15425" y="47084"/>
                    <a:pt x="20409" y="43229"/>
                  </a:cubicBezTo>
                  <a:cubicBezTo>
                    <a:pt x="35606" y="32280"/>
                    <a:pt x="52650" y="24156"/>
                    <a:pt x="70726" y="19247"/>
                  </a:cubicBezTo>
                  <a:cubicBezTo>
                    <a:pt x="84166" y="14831"/>
                    <a:pt x="98215" y="12551"/>
                    <a:pt x="112362" y="12490"/>
                  </a:cubicBezTo>
                  <a:cubicBezTo>
                    <a:pt x="126639" y="12950"/>
                    <a:pt x="140796" y="15260"/>
                    <a:pt x="154479" y="19360"/>
                  </a:cubicBezTo>
                  <a:cubicBezTo>
                    <a:pt x="166607" y="22332"/>
                    <a:pt x="178288" y="26896"/>
                    <a:pt x="189220" y="32930"/>
                  </a:cubicBezTo>
                  <a:close/>
                </a:path>
              </a:pathLst>
            </a:custGeom>
            <a:solidFill>
              <a:schemeClr val="lt1"/>
            </a:solidFill>
            <a:ln w="8202" cap="flat">
              <a:solidFill>
                <a:schemeClr val="accent5"/>
              </a:solidFill>
              <a:prstDash val="solid"/>
              <a:miter/>
            </a:ln>
          </p:spPr>
          <p:txBody>
            <a:bodyPr rtlCol="0" anchor="ctr"/>
            <a:lstStyle/>
            <a:p>
              <a:endParaRPr lang="en-GB"/>
            </a:p>
          </p:txBody>
        </p:sp>
        <p:sp>
          <p:nvSpPr>
            <p:cNvPr id="130" name="Frihandsfigur: Form 129">
              <a:extLst>
                <a:ext uri="{FF2B5EF4-FFF2-40B4-BE49-F238E27FC236}">
                  <a16:creationId xmlns:a16="http://schemas.microsoft.com/office/drawing/2014/main" id="{1862E28E-2733-C802-F69F-271B853CBF67}"/>
                </a:ext>
              </a:extLst>
            </p:cNvPr>
            <p:cNvSpPr/>
            <p:nvPr/>
          </p:nvSpPr>
          <p:spPr>
            <a:xfrm>
              <a:off x="15806002" y="2790167"/>
              <a:ext cx="224830" cy="106166"/>
            </a:xfrm>
            <a:custGeom>
              <a:avLst/>
              <a:gdLst>
                <a:gd name="connsiteX0" fmla="*/ 211709 w 224830"/>
                <a:gd name="connsiteY0" fmla="*/ 33099 h 106166"/>
                <a:gd name="connsiteX1" fmla="*/ 157707 w 224830"/>
                <a:gd name="connsiteY1" fmla="*/ 7301 h 106166"/>
                <a:gd name="connsiteX2" fmla="*/ 112412 w 224830"/>
                <a:gd name="connsiteY2" fmla="*/ 0 h 106166"/>
                <a:gd name="connsiteX3" fmla="*/ 67266 w 224830"/>
                <a:gd name="connsiteY3" fmla="*/ 7263 h 106166"/>
                <a:gd name="connsiteX4" fmla="*/ 12890 w 224830"/>
                <a:gd name="connsiteY4" fmla="*/ 33299 h 106166"/>
                <a:gd name="connsiteX5" fmla="*/ 0 w 224830"/>
                <a:gd name="connsiteY5" fmla="*/ 59328 h 106166"/>
                <a:gd name="connsiteX6" fmla="*/ 0 w 224830"/>
                <a:gd name="connsiteY6" fmla="*/ 106167 h 106166"/>
                <a:gd name="connsiteX7" fmla="*/ 12490 w 224830"/>
                <a:gd name="connsiteY7" fmla="*/ 106167 h 106166"/>
                <a:gd name="connsiteX8" fmla="*/ 12490 w 224830"/>
                <a:gd name="connsiteY8" fmla="*/ 59328 h 106166"/>
                <a:gd name="connsiteX9" fmla="*/ 20415 w 224830"/>
                <a:gd name="connsiteY9" fmla="*/ 43229 h 106166"/>
                <a:gd name="connsiteX10" fmla="*/ 70726 w 224830"/>
                <a:gd name="connsiteY10" fmla="*/ 19247 h 106166"/>
                <a:gd name="connsiteX11" fmla="*/ 112412 w 224830"/>
                <a:gd name="connsiteY11" fmla="*/ 12490 h 106166"/>
                <a:gd name="connsiteX12" fmla="*/ 154535 w 224830"/>
                <a:gd name="connsiteY12" fmla="*/ 19360 h 106166"/>
                <a:gd name="connsiteX13" fmla="*/ 203940 w 224830"/>
                <a:gd name="connsiteY13" fmla="*/ 42866 h 106166"/>
                <a:gd name="connsiteX14" fmla="*/ 204477 w 224830"/>
                <a:gd name="connsiteY14" fmla="*/ 43266 h 106166"/>
                <a:gd name="connsiteX15" fmla="*/ 212333 w 224830"/>
                <a:gd name="connsiteY15" fmla="*/ 59328 h 106166"/>
                <a:gd name="connsiteX16" fmla="*/ 212333 w 224830"/>
                <a:gd name="connsiteY16" fmla="*/ 106167 h 106166"/>
                <a:gd name="connsiteX17" fmla="*/ 224823 w 224830"/>
                <a:gd name="connsiteY17" fmla="*/ 106167 h 106166"/>
                <a:gd name="connsiteX18" fmla="*/ 224823 w 224830"/>
                <a:gd name="connsiteY18" fmla="*/ 59328 h 106166"/>
                <a:gd name="connsiteX19" fmla="*/ 211709 w 224830"/>
                <a:gd name="connsiteY19" fmla="*/ 33099 h 106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24830" h="106166">
                  <a:moveTo>
                    <a:pt x="211709" y="33099"/>
                  </a:moveTo>
                  <a:cubicBezTo>
                    <a:pt x="195792" y="20684"/>
                    <a:pt x="177366" y="11881"/>
                    <a:pt x="157707" y="7301"/>
                  </a:cubicBezTo>
                  <a:cubicBezTo>
                    <a:pt x="142991" y="2906"/>
                    <a:pt x="127763" y="453"/>
                    <a:pt x="112412" y="0"/>
                  </a:cubicBezTo>
                  <a:cubicBezTo>
                    <a:pt x="97074" y="15"/>
                    <a:pt x="81835" y="2467"/>
                    <a:pt x="67266" y="7263"/>
                  </a:cubicBezTo>
                  <a:cubicBezTo>
                    <a:pt x="47718" y="12589"/>
                    <a:pt x="29295" y="21409"/>
                    <a:pt x="12890" y="33299"/>
                  </a:cubicBezTo>
                  <a:cubicBezTo>
                    <a:pt x="4784" y="39503"/>
                    <a:pt x="22" y="49121"/>
                    <a:pt x="0" y="59328"/>
                  </a:cubicBezTo>
                  <a:lnTo>
                    <a:pt x="0" y="106167"/>
                  </a:lnTo>
                  <a:lnTo>
                    <a:pt x="12490" y="106167"/>
                  </a:lnTo>
                  <a:lnTo>
                    <a:pt x="12490" y="59328"/>
                  </a:lnTo>
                  <a:cubicBezTo>
                    <a:pt x="12501" y="53025"/>
                    <a:pt x="15427" y="47082"/>
                    <a:pt x="20415" y="43229"/>
                  </a:cubicBezTo>
                  <a:cubicBezTo>
                    <a:pt x="35608" y="32277"/>
                    <a:pt x="52651" y="24154"/>
                    <a:pt x="70726" y="19247"/>
                  </a:cubicBezTo>
                  <a:cubicBezTo>
                    <a:pt x="84181" y="14826"/>
                    <a:pt x="98248" y="12546"/>
                    <a:pt x="112412" y="12490"/>
                  </a:cubicBezTo>
                  <a:cubicBezTo>
                    <a:pt x="126691" y="12948"/>
                    <a:pt x="140850" y="15257"/>
                    <a:pt x="154535" y="19360"/>
                  </a:cubicBezTo>
                  <a:cubicBezTo>
                    <a:pt x="172523" y="23490"/>
                    <a:pt x="189387" y="31514"/>
                    <a:pt x="203940" y="42866"/>
                  </a:cubicBezTo>
                  <a:lnTo>
                    <a:pt x="204477" y="43266"/>
                  </a:lnTo>
                  <a:cubicBezTo>
                    <a:pt x="209615" y="46972"/>
                    <a:pt x="212562" y="52998"/>
                    <a:pt x="212333" y="59328"/>
                  </a:cubicBezTo>
                  <a:lnTo>
                    <a:pt x="212333" y="106167"/>
                  </a:lnTo>
                  <a:lnTo>
                    <a:pt x="224823" y="106167"/>
                  </a:lnTo>
                  <a:lnTo>
                    <a:pt x="224823" y="59328"/>
                  </a:lnTo>
                  <a:cubicBezTo>
                    <a:pt x="225049" y="48957"/>
                    <a:pt x="220142" y="39141"/>
                    <a:pt x="211709" y="33099"/>
                  </a:cubicBezTo>
                  <a:close/>
                </a:path>
              </a:pathLst>
            </a:custGeom>
            <a:solidFill>
              <a:schemeClr val="lt1"/>
            </a:solidFill>
            <a:ln w="8202" cap="flat">
              <a:solidFill>
                <a:schemeClr val="accent5"/>
              </a:solidFill>
              <a:prstDash val="solid"/>
              <a:miter/>
            </a:ln>
          </p:spPr>
          <p:txBody>
            <a:bodyPr rtlCol="0" anchor="ctr"/>
            <a:lstStyle/>
            <a:p>
              <a:endParaRPr lang="en-GB"/>
            </a:p>
          </p:txBody>
        </p:sp>
        <p:sp>
          <p:nvSpPr>
            <p:cNvPr id="142" name="Frihandsfigur: Form 141">
              <a:extLst>
                <a:ext uri="{FF2B5EF4-FFF2-40B4-BE49-F238E27FC236}">
                  <a16:creationId xmlns:a16="http://schemas.microsoft.com/office/drawing/2014/main" id="{804D1714-488B-AE78-AA90-BDF9658689A4}"/>
                </a:ext>
              </a:extLst>
            </p:cNvPr>
            <p:cNvSpPr/>
            <p:nvPr/>
          </p:nvSpPr>
          <p:spPr>
            <a:xfrm>
              <a:off x="15862208" y="2664110"/>
              <a:ext cx="112411" cy="112411"/>
            </a:xfrm>
            <a:custGeom>
              <a:avLst/>
              <a:gdLst>
                <a:gd name="connsiteX0" fmla="*/ 56206 w 112411"/>
                <a:gd name="connsiteY0" fmla="*/ 112412 h 112411"/>
                <a:gd name="connsiteX1" fmla="*/ 112412 w 112411"/>
                <a:gd name="connsiteY1" fmla="*/ 56206 h 112411"/>
                <a:gd name="connsiteX2" fmla="*/ 56206 w 112411"/>
                <a:gd name="connsiteY2" fmla="*/ 0 h 112411"/>
                <a:gd name="connsiteX3" fmla="*/ 0 w 112411"/>
                <a:gd name="connsiteY3" fmla="*/ 56206 h 112411"/>
                <a:gd name="connsiteX4" fmla="*/ 56206 w 112411"/>
                <a:gd name="connsiteY4" fmla="*/ 112412 h 112411"/>
                <a:gd name="connsiteX5" fmla="*/ 56206 w 112411"/>
                <a:gd name="connsiteY5" fmla="*/ 12490 h 112411"/>
                <a:gd name="connsiteX6" fmla="*/ 99922 w 112411"/>
                <a:gd name="connsiteY6" fmla="*/ 56206 h 112411"/>
                <a:gd name="connsiteX7" fmla="*/ 56206 w 112411"/>
                <a:gd name="connsiteY7" fmla="*/ 99922 h 112411"/>
                <a:gd name="connsiteX8" fmla="*/ 12490 w 112411"/>
                <a:gd name="connsiteY8" fmla="*/ 56206 h 112411"/>
                <a:gd name="connsiteX9" fmla="*/ 56206 w 112411"/>
                <a:gd name="connsiteY9" fmla="*/ 12459 h 112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2411" h="112411">
                  <a:moveTo>
                    <a:pt x="56206" y="112412"/>
                  </a:moveTo>
                  <a:cubicBezTo>
                    <a:pt x="87248" y="112412"/>
                    <a:pt x="112412" y="87248"/>
                    <a:pt x="112412" y="56206"/>
                  </a:cubicBezTo>
                  <a:cubicBezTo>
                    <a:pt x="112412" y="25164"/>
                    <a:pt x="87248" y="0"/>
                    <a:pt x="56206" y="0"/>
                  </a:cubicBezTo>
                  <a:cubicBezTo>
                    <a:pt x="25164" y="0"/>
                    <a:pt x="0" y="25164"/>
                    <a:pt x="0" y="56206"/>
                  </a:cubicBezTo>
                  <a:cubicBezTo>
                    <a:pt x="0" y="87248"/>
                    <a:pt x="25164" y="112412"/>
                    <a:pt x="56206" y="112412"/>
                  </a:cubicBezTo>
                  <a:close/>
                  <a:moveTo>
                    <a:pt x="56206" y="12490"/>
                  </a:moveTo>
                  <a:cubicBezTo>
                    <a:pt x="80349" y="12490"/>
                    <a:pt x="99922" y="32062"/>
                    <a:pt x="99922" y="56206"/>
                  </a:cubicBezTo>
                  <a:cubicBezTo>
                    <a:pt x="99922" y="80349"/>
                    <a:pt x="80349" y="99922"/>
                    <a:pt x="56206" y="99922"/>
                  </a:cubicBezTo>
                  <a:cubicBezTo>
                    <a:pt x="32062" y="99922"/>
                    <a:pt x="12490" y="80349"/>
                    <a:pt x="12490" y="56206"/>
                  </a:cubicBezTo>
                  <a:cubicBezTo>
                    <a:pt x="12508" y="32064"/>
                    <a:pt x="32064" y="12493"/>
                    <a:pt x="56206" y="12459"/>
                  </a:cubicBezTo>
                  <a:close/>
                </a:path>
              </a:pathLst>
            </a:custGeom>
            <a:solidFill>
              <a:schemeClr val="lt1"/>
            </a:solidFill>
            <a:ln w="8202" cap="flat">
              <a:solidFill>
                <a:schemeClr val="accent5"/>
              </a:solidFill>
              <a:prstDash val="solid"/>
              <a:miter/>
            </a:ln>
          </p:spPr>
          <p:txBody>
            <a:bodyPr rtlCol="0" anchor="ctr"/>
            <a:lstStyle/>
            <a:p>
              <a:endParaRPr lang="en-GB"/>
            </a:p>
          </p:txBody>
        </p:sp>
      </p:grpSp>
      <p:grpSp>
        <p:nvGrpSpPr>
          <p:cNvPr id="146" name="Bild 140" descr="Frysbox för kassör kontur">
            <a:extLst>
              <a:ext uri="{FF2B5EF4-FFF2-40B4-BE49-F238E27FC236}">
                <a16:creationId xmlns:a16="http://schemas.microsoft.com/office/drawing/2014/main" id="{7FD52C25-4203-A4C1-6FE4-F53C720B20B3}"/>
              </a:ext>
            </a:extLst>
          </p:cNvPr>
          <p:cNvGrpSpPr/>
          <p:nvPr/>
        </p:nvGrpSpPr>
        <p:grpSpPr>
          <a:xfrm>
            <a:off x="16320781" y="6834027"/>
            <a:ext cx="571911" cy="505852"/>
            <a:chOff x="15636443" y="6959755"/>
            <a:chExt cx="571911" cy="505852"/>
          </a:xfrm>
          <a:solidFill>
            <a:schemeClr val="lt1"/>
          </a:solidFill>
        </p:grpSpPr>
        <p:sp>
          <p:nvSpPr>
            <p:cNvPr id="147" name="Frihandsfigur: Form 146">
              <a:extLst>
                <a:ext uri="{FF2B5EF4-FFF2-40B4-BE49-F238E27FC236}">
                  <a16:creationId xmlns:a16="http://schemas.microsoft.com/office/drawing/2014/main" id="{FEC7DFA2-7679-BB8B-C02D-77BC22B05978}"/>
                </a:ext>
              </a:extLst>
            </p:cNvPr>
            <p:cNvSpPr/>
            <p:nvPr/>
          </p:nvSpPr>
          <p:spPr>
            <a:xfrm>
              <a:off x="15636443" y="7128372"/>
              <a:ext cx="47468" cy="56205"/>
            </a:xfrm>
            <a:custGeom>
              <a:avLst/>
              <a:gdLst>
                <a:gd name="connsiteX0" fmla="*/ 23734 w 47468"/>
                <a:gd name="connsiteY0" fmla="*/ 0 h 56205"/>
                <a:gd name="connsiteX1" fmla="*/ 0 w 47468"/>
                <a:gd name="connsiteY1" fmla="*/ 28103 h 56205"/>
                <a:gd name="connsiteX2" fmla="*/ 23734 w 47468"/>
                <a:gd name="connsiteY2" fmla="*/ 56206 h 56205"/>
                <a:gd name="connsiteX3" fmla="*/ 47469 w 47468"/>
                <a:gd name="connsiteY3" fmla="*/ 28103 h 56205"/>
                <a:gd name="connsiteX4" fmla="*/ 23734 w 47468"/>
                <a:gd name="connsiteY4" fmla="*/ 0 h 56205"/>
                <a:gd name="connsiteX5" fmla="*/ 23734 w 47468"/>
                <a:gd name="connsiteY5" fmla="*/ 30711 h 56205"/>
                <a:gd name="connsiteX6" fmla="*/ 21354 w 47468"/>
                <a:gd name="connsiteY6" fmla="*/ 28103 h 56205"/>
                <a:gd name="connsiteX7" fmla="*/ 23734 w 47468"/>
                <a:gd name="connsiteY7" fmla="*/ 25495 h 56205"/>
                <a:gd name="connsiteX8" fmla="*/ 26114 w 47468"/>
                <a:gd name="connsiteY8" fmla="*/ 28103 h 56205"/>
                <a:gd name="connsiteX9" fmla="*/ 23734 w 47468"/>
                <a:gd name="connsiteY9" fmla="*/ 30711 h 56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468" h="56205">
                  <a:moveTo>
                    <a:pt x="23734" y="0"/>
                  </a:moveTo>
                  <a:cubicBezTo>
                    <a:pt x="20231" y="12344"/>
                    <a:pt x="11584" y="22583"/>
                    <a:pt x="0" y="28103"/>
                  </a:cubicBezTo>
                  <a:cubicBezTo>
                    <a:pt x="11584" y="33623"/>
                    <a:pt x="20231" y="43862"/>
                    <a:pt x="23734" y="56206"/>
                  </a:cubicBezTo>
                  <a:cubicBezTo>
                    <a:pt x="27238" y="43862"/>
                    <a:pt x="35885" y="33623"/>
                    <a:pt x="47469" y="28103"/>
                  </a:cubicBezTo>
                  <a:cubicBezTo>
                    <a:pt x="35885" y="22583"/>
                    <a:pt x="27238" y="12344"/>
                    <a:pt x="23734" y="0"/>
                  </a:cubicBezTo>
                  <a:close/>
                  <a:moveTo>
                    <a:pt x="23734" y="30711"/>
                  </a:moveTo>
                  <a:cubicBezTo>
                    <a:pt x="22965" y="29813"/>
                    <a:pt x="22172" y="28944"/>
                    <a:pt x="21354" y="28103"/>
                  </a:cubicBezTo>
                  <a:cubicBezTo>
                    <a:pt x="22172" y="27262"/>
                    <a:pt x="22965" y="26392"/>
                    <a:pt x="23734" y="25495"/>
                  </a:cubicBezTo>
                  <a:cubicBezTo>
                    <a:pt x="24504" y="26392"/>
                    <a:pt x="25297" y="27262"/>
                    <a:pt x="26114" y="28103"/>
                  </a:cubicBezTo>
                  <a:cubicBezTo>
                    <a:pt x="25297" y="28944"/>
                    <a:pt x="24504" y="29813"/>
                    <a:pt x="23734" y="30711"/>
                  </a:cubicBezTo>
                  <a:close/>
                </a:path>
              </a:pathLst>
            </a:custGeom>
            <a:solidFill>
              <a:schemeClr val="lt1"/>
            </a:solidFill>
            <a:ln w="8202" cap="flat">
              <a:solidFill>
                <a:schemeClr val="accent5"/>
              </a:solidFill>
              <a:prstDash val="solid"/>
              <a:miter/>
            </a:ln>
          </p:spPr>
          <p:txBody>
            <a:bodyPr rtlCol="0" anchor="ctr"/>
            <a:lstStyle/>
            <a:p>
              <a:endParaRPr lang="en-GB"/>
            </a:p>
          </p:txBody>
        </p:sp>
        <p:sp>
          <p:nvSpPr>
            <p:cNvPr id="148" name="Frihandsfigur: Form 147">
              <a:extLst>
                <a:ext uri="{FF2B5EF4-FFF2-40B4-BE49-F238E27FC236}">
                  <a16:creationId xmlns:a16="http://schemas.microsoft.com/office/drawing/2014/main" id="{C42105D3-8FC0-A393-E8CF-92424F0D2541}"/>
                </a:ext>
              </a:extLst>
            </p:cNvPr>
            <p:cNvSpPr/>
            <p:nvPr/>
          </p:nvSpPr>
          <p:spPr>
            <a:xfrm>
              <a:off x="16150338" y="7159598"/>
              <a:ext cx="58016" cy="68696"/>
            </a:xfrm>
            <a:custGeom>
              <a:avLst/>
              <a:gdLst>
                <a:gd name="connsiteX0" fmla="*/ 29008 w 58016"/>
                <a:gd name="connsiteY0" fmla="*/ 0 h 68696"/>
                <a:gd name="connsiteX1" fmla="*/ 0 w 58016"/>
                <a:gd name="connsiteY1" fmla="*/ 34348 h 68696"/>
                <a:gd name="connsiteX2" fmla="*/ 29008 w 58016"/>
                <a:gd name="connsiteY2" fmla="*/ 68696 h 68696"/>
                <a:gd name="connsiteX3" fmla="*/ 58017 w 58016"/>
                <a:gd name="connsiteY3" fmla="*/ 34348 h 68696"/>
                <a:gd name="connsiteX4" fmla="*/ 29008 w 58016"/>
                <a:gd name="connsiteY4" fmla="*/ 0 h 68696"/>
                <a:gd name="connsiteX5" fmla="*/ 29008 w 58016"/>
                <a:gd name="connsiteY5" fmla="*/ 41926 h 68696"/>
                <a:gd name="connsiteX6" fmla="*/ 22148 w 58016"/>
                <a:gd name="connsiteY6" fmla="*/ 34348 h 68696"/>
                <a:gd name="connsiteX7" fmla="*/ 29008 w 58016"/>
                <a:gd name="connsiteY7" fmla="*/ 26769 h 68696"/>
                <a:gd name="connsiteX8" fmla="*/ 35869 w 58016"/>
                <a:gd name="connsiteY8" fmla="*/ 34348 h 68696"/>
                <a:gd name="connsiteX9" fmla="*/ 29008 w 58016"/>
                <a:gd name="connsiteY9" fmla="*/ 41926 h 68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016" h="68696">
                  <a:moveTo>
                    <a:pt x="29008" y="0"/>
                  </a:moveTo>
                  <a:cubicBezTo>
                    <a:pt x="24726" y="15088"/>
                    <a:pt x="14158" y="27601"/>
                    <a:pt x="0" y="34348"/>
                  </a:cubicBezTo>
                  <a:cubicBezTo>
                    <a:pt x="14158" y="41095"/>
                    <a:pt x="24726" y="53609"/>
                    <a:pt x="29008" y="68696"/>
                  </a:cubicBezTo>
                  <a:cubicBezTo>
                    <a:pt x="33290" y="53609"/>
                    <a:pt x="43859" y="41095"/>
                    <a:pt x="58017" y="34348"/>
                  </a:cubicBezTo>
                  <a:cubicBezTo>
                    <a:pt x="43859" y="27601"/>
                    <a:pt x="33290" y="15088"/>
                    <a:pt x="29008" y="0"/>
                  </a:cubicBezTo>
                  <a:close/>
                  <a:moveTo>
                    <a:pt x="29008" y="41926"/>
                  </a:moveTo>
                  <a:cubicBezTo>
                    <a:pt x="26920" y="39227"/>
                    <a:pt x="24627" y="36694"/>
                    <a:pt x="22148" y="34348"/>
                  </a:cubicBezTo>
                  <a:cubicBezTo>
                    <a:pt x="24627" y="32002"/>
                    <a:pt x="26920" y="29469"/>
                    <a:pt x="29008" y="26769"/>
                  </a:cubicBezTo>
                  <a:cubicBezTo>
                    <a:pt x="31096" y="29469"/>
                    <a:pt x="33390" y="32002"/>
                    <a:pt x="35869" y="34348"/>
                  </a:cubicBezTo>
                  <a:cubicBezTo>
                    <a:pt x="33390" y="36694"/>
                    <a:pt x="31096" y="39227"/>
                    <a:pt x="29008" y="41926"/>
                  </a:cubicBezTo>
                  <a:close/>
                </a:path>
              </a:pathLst>
            </a:custGeom>
            <a:solidFill>
              <a:schemeClr val="lt1"/>
            </a:solidFill>
            <a:ln w="8202" cap="flat">
              <a:solidFill>
                <a:schemeClr val="accent5"/>
              </a:solidFill>
              <a:prstDash val="solid"/>
              <a:miter/>
            </a:ln>
          </p:spPr>
          <p:txBody>
            <a:bodyPr rtlCol="0" anchor="ctr"/>
            <a:lstStyle/>
            <a:p>
              <a:endParaRPr lang="en-GB"/>
            </a:p>
          </p:txBody>
        </p:sp>
        <p:sp>
          <p:nvSpPr>
            <p:cNvPr id="149" name="Frihandsfigur: Form 148">
              <a:extLst>
                <a:ext uri="{FF2B5EF4-FFF2-40B4-BE49-F238E27FC236}">
                  <a16:creationId xmlns:a16="http://schemas.microsoft.com/office/drawing/2014/main" id="{84031186-D3F3-852F-4B44-284B6F6A6D7A}"/>
                </a:ext>
              </a:extLst>
            </p:cNvPr>
            <p:cNvSpPr/>
            <p:nvPr/>
          </p:nvSpPr>
          <p:spPr>
            <a:xfrm>
              <a:off x="15943423" y="7103392"/>
              <a:ext cx="42194" cy="49960"/>
            </a:xfrm>
            <a:custGeom>
              <a:avLst/>
              <a:gdLst>
                <a:gd name="connsiteX0" fmla="*/ 21097 w 42194"/>
                <a:gd name="connsiteY0" fmla="*/ 49961 h 49960"/>
                <a:gd name="connsiteX1" fmla="*/ 42194 w 42194"/>
                <a:gd name="connsiteY1" fmla="*/ 24980 h 49960"/>
                <a:gd name="connsiteX2" fmla="*/ 21097 w 42194"/>
                <a:gd name="connsiteY2" fmla="*/ 0 h 49960"/>
                <a:gd name="connsiteX3" fmla="*/ 0 w 42194"/>
                <a:gd name="connsiteY3" fmla="*/ 24980 h 49960"/>
                <a:gd name="connsiteX4" fmla="*/ 21097 w 42194"/>
                <a:gd name="connsiteY4" fmla="*/ 49961 h 499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94" h="49960">
                  <a:moveTo>
                    <a:pt x="21097" y="49961"/>
                  </a:moveTo>
                  <a:cubicBezTo>
                    <a:pt x="24212" y="38988"/>
                    <a:pt x="31898" y="29887"/>
                    <a:pt x="42194" y="24980"/>
                  </a:cubicBezTo>
                  <a:cubicBezTo>
                    <a:pt x="31898" y="20074"/>
                    <a:pt x="24212" y="10973"/>
                    <a:pt x="21097" y="0"/>
                  </a:cubicBezTo>
                  <a:cubicBezTo>
                    <a:pt x="17983" y="10973"/>
                    <a:pt x="10297" y="20074"/>
                    <a:pt x="0" y="24980"/>
                  </a:cubicBezTo>
                  <a:cubicBezTo>
                    <a:pt x="10297" y="29887"/>
                    <a:pt x="17983" y="38988"/>
                    <a:pt x="21097" y="49961"/>
                  </a:cubicBezTo>
                  <a:close/>
                </a:path>
              </a:pathLst>
            </a:custGeom>
            <a:solidFill>
              <a:schemeClr val="lt1"/>
            </a:solidFill>
            <a:ln w="8202" cap="flat">
              <a:solidFill>
                <a:schemeClr val="accent5"/>
              </a:solidFill>
              <a:prstDash val="solid"/>
              <a:miter/>
            </a:ln>
          </p:spPr>
          <p:txBody>
            <a:bodyPr rtlCol="0" anchor="ctr"/>
            <a:lstStyle/>
            <a:p>
              <a:endParaRPr lang="en-GB"/>
            </a:p>
          </p:txBody>
        </p:sp>
        <p:sp>
          <p:nvSpPr>
            <p:cNvPr id="150" name="Frihandsfigur: Form 149">
              <a:extLst>
                <a:ext uri="{FF2B5EF4-FFF2-40B4-BE49-F238E27FC236}">
                  <a16:creationId xmlns:a16="http://schemas.microsoft.com/office/drawing/2014/main" id="{5EBBCDB4-0A94-1FA3-2725-2C3FE21A3E7B}"/>
                </a:ext>
              </a:extLst>
            </p:cNvPr>
            <p:cNvSpPr/>
            <p:nvPr/>
          </p:nvSpPr>
          <p:spPr>
            <a:xfrm>
              <a:off x="15803250" y="6959755"/>
              <a:ext cx="52742" cy="62450"/>
            </a:xfrm>
            <a:custGeom>
              <a:avLst/>
              <a:gdLst>
                <a:gd name="connsiteX0" fmla="*/ 26371 w 52742"/>
                <a:gd name="connsiteY0" fmla="*/ 62451 h 62450"/>
                <a:gd name="connsiteX1" fmla="*/ 52742 w 52742"/>
                <a:gd name="connsiteY1" fmla="*/ 31225 h 62450"/>
                <a:gd name="connsiteX2" fmla="*/ 26371 w 52742"/>
                <a:gd name="connsiteY2" fmla="*/ 0 h 62450"/>
                <a:gd name="connsiteX3" fmla="*/ 0 w 52742"/>
                <a:gd name="connsiteY3" fmla="*/ 31225 h 62450"/>
                <a:gd name="connsiteX4" fmla="*/ 26371 w 52742"/>
                <a:gd name="connsiteY4" fmla="*/ 62451 h 62450"/>
                <a:gd name="connsiteX5" fmla="*/ 26371 w 52742"/>
                <a:gd name="connsiteY5" fmla="*/ 26162 h 62450"/>
                <a:gd name="connsiteX6" fmla="*/ 30972 w 52742"/>
                <a:gd name="connsiteY6" fmla="*/ 31225 h 62450"/>
                <a:gd name="connsiteX7" fmla="*/ 26371 w 52742"/>
                <a:gd name="connsiteY7" fmla="*/ 36289 h 62450"/>
                <a:gd name="connsiteX8" fmla="*/ 21770 w 52742"/>
                <a:gd name="connsiteY8" fmla="*/ 31225 h 62450"/>
                <a:gd name="connsiteX9" fmla="*/ 26371 w 52742"/>
                <a:gd name="connsiteY9" fmla="*/ 26162 h 62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742" h="62450">
                  <a:moveTo>
                    <a:pt x="26371" y="62451"/>
                  </a:moveTo>
                  <a:cubicBezTo>
                    <a:pt x="30264" y="48735"/>
                    <a:pt x="39872" y="37359"/>
                    <a:pt x="52742" y="31225"/>
                  </a:cubicBezTo>
                  <a:cubicBezTo>
                    <a:pt x="39872" y="25092"/>
                    <a:pt x="30264" y="13716"/>
                    <a:pt x="26371" y="0"/>
                  </a:cubicBezTo>
                  <a:cubicBezTo>
                    <a:pt x="22478" y="13716"/>
                    <a:pt x="12871" y="25092"/>
                    <a:pt x="0" y="31225"/>
                  </a:cubicBezTo>
                  <a:cubicBezTo>
                    <a:pt x="12871" y="37359"/>
                    <a:pt x="22479" y="48735"/>
                    <a:pt x="26371" y="62451"/>
                  </a:cubicBezTo>
                  <a:close/>
                  <a:moveTo>
                    <a:pt x="26371" y="26162"/>
                  </a:moveTo>
                  <a:cubicBezTo>
                    <a:pt x="27809" y="27934"/>
                    <a:pt x="29346" y="29625"/>
                    <a:pt x="30972" y="31225"/>
                  </a:cubicBezTo>
                  <a:cubicBezTo>
                    <a:pt x="29346" y="32826"/>
                    <a:pt x="27809" y="34517"/>
                    <a:pt x="26371" y="36289"/>
                  </a:cubicBezTo>
                  <a:cubicBezTo>
                    <a:pt x="24933" y="34517"/>
                    <a:pt x="23397" y="32826"/>
                    <a:pt x="21770" y="31225"/>
                  </a:cubicBezTo>
                  <a:cubicBezTo>
                    <a:pt x="23397" y="29625"/>
                    <a:pt x="24933" y="27934"/>
                    <a:pt x="26371" y="26162"/>
                  </a:cubicBezTo>
                  <a:close/>
                </a:path>
              </a:pathLst>
            </a:custGeom>
            <a:solidFill>
              <a:schemeClr val="lt1"/>
            </a:solidFill>
            <a:ln w="8202" cap="flat">
              <a:solidFill>
                <a:schemeClr val="accent5"/>
              </a:solidFill>
              <a:prstDash val="solid"/>
              <a:miter/>
            </a:ln>
          </p:spPr>
          <p:txBody>
            <a:bodyPr rtlCol="0" anchor="ctr"/>
            <a:lstStyle/>
            <a:p>
              <a:endParaRPr lang="en-GB"/>
            </a:p>
          </p:txBody>
        </p:sp>
        <p:sp>
          <p:nvSpPr>
            <p:cNvPr id="151" name="Frihandsfigur: Form 150">
              <a:extLst>
                <a:ext uri="{FF2B5EF4-FFF2-40B4-BE49-F238E27FC236}">
                  <a16:creationId xmlns:a16="http://schemas.microsoft.com/office/drawing/2014/main" id="{36308BEA-F035-05D3-B877-B20A54DCFEF9}"/>
                </a:ext>
              </a:extLst>
            </p:cNvPr>
            <p:cNvSpPr/>
            <p:nvPr/>
          </p:nvSpPr>
          <p:spPr>
            <a:xfrm>
              <a:off x="15681142" y="7028451"/>
              <a:ext cx="474627" cy="437156"/>
            </a:xfrm>
            <a:custGeom>
              <a:avLst/>
              <a:gdLst>
                <a:gd name="connsiteX0" fmla="*/ 467897 w 474627"/>
                <a:gd name="connsiteY0" fmla="*/ 67371 h 437156"/>
                <a:gd name="connsiteX1" fmla="*/ 468370 w 474627"/>
                <a:gd name="connsiteY1" fmla="*/ 66268 h 437156"/>
                <a:gd name="connsiteX2" fmla="*/ 468370 w 474627"/>
                <a:gd name="connsiteY2" fmla="*/ 46809 h 437156"/>
                <a:gd name="connsiteX3" fmla="*/ 462208 w 474627"/>
                <a:gd name="connsiteY3" fmla="*/ 31405 h 437156"/>
                <a:gd name="connsiteX4" fmla="*/ 415821 w 474627"/>
                <a:gd name="connsiteY4" fmla="*/ 0 h 437156"/>
                <a:gd name="connsiteX5" fmla="*/ 58805 w 474627"/>
                <a:gd name="connsiteY5" fmla="*/ 0 h 437156"/>
                <a:gd name="connsiteX6" fmla="*/ 12418 w 474627"/>
                <a:gd name="connsiteY6" fmla="*/ 31405 h 437156"/>
                <a:gd name="connsiteX7" fmla="*/ 6233 w 474627"/>
                <a:gd name="connsiteY7" fmla="*/ 46868 h 437156"/>
                <a:gd name="connsiteX8" fmla="*/ 6233 w 474627"/>
                <a:gd name="connsiteY8" fmla="*/ 63762 h 437156"/>
                <a:gd name="connsiteX9" fmla="*/ 7780 w 474627"/>
                <a:gd name="connsiteY9" fmla="*/ 67371 h 437156"/>
                <a:gd name="connsiteX10" fmla="*/ 43608 w 474627"/>
                <a:gd name="connsiteY10" fmla="*/ 150968 h 437156"/>
                <a:gd name="connsiteX11" fmla="*/ 0 w 474627"/>
                <a:gd name="connsiteY11" fmla="*/ 235801 h 437156"/>
                <a:gd name="connsiteX12" fmla="*/ 0 w 474627"/>
                <a:gd name="connsiteY12" fmla="*/ 437157 h 437156"/>
                <a:gd name="connsiteX13" fmla="*/ 474627 w 474627"/>
                <a:gd name="connsiteY13" fmla="*/ 437157 h 437156"/>
                <a:gd name="connsiteX14" fmla="*/ 474627 w 474627"/>
                <a:gd name="connsiteY14" fmla="*/ 235801 h 437156"/>
                <a:gd name="connsiteX15" fmla="*/ 431582 w 474627"/>
                <a:gd name="connsiteY15" fmla="*/ 152106 h 437156"/>
                <a:gd name="connsiteX16" fmla="*/ 24014 w 474627"/>
                <a:gd name="connsiteY16" fmla="*/ 36044 h 437156"/>
                <a:gd name="connsiteX17" fmla="*/ 58805 w 474627"/>
                <a:gd name="connsiteY17" fmla="*/ 12490 h 437156"/>
                <a:gd name="connsiteX18" fmla="*/ 415821 w 474627"/>
                <a:gd name="connsiteY18" fmla="*/ 12490 h 437156"/>
                <a:gd name="connsiteX19" fmla="*/ 450612 w 474627"/>
                <a:gd name="connsiteY19" fmla="*/ 36044 h 437156"/>
                <a:gd name="connsiteX20" fmla="*/ 456178 w 474627"/>
                <a:gd name="connsiteY20" fmla="*/ 49961 h 437156"/>
                <a:gd name="connsiteX21" fmla="*/ 18448 w 474627"/>
                <a:gd name="connsiteY21" fmla="*/ 49961 h 437156"/>
                <a:gd name="connsiteX22" fmla="*/ 19259 w 474627"/>
                <a:gd name="connsiteY22" fmla="*/ 62452 h 437156"/>
                <a:gd name="connsiteX23" fmla="*/ 456416 w 474627"/>
                <a:gd name="connsiteY23" fmla="*/ 62452 h 437156"/>
                <a:gd name="connsiteX24" fmla="*/ 418945 w 474627"/>
                <a:gd name="connsiteY24" fmla="*/ 149883 h 437156"/>
                <a:gd name="connsiteX25" fmla="*/ 346521 w 474627"/>
                <a:gd name="connsiteY25" fmla="*/ 149883 h 437156"/>
                <a:gd name="connsiteX26" fmla="*/ 319724 w 474627"/>
                <a:gd name="connsiteY26" fmla="*/ 138586 h 437156"/>
                <a:gd name="connsiteX27" fmla="*/ 280232 w 474627"/>
                <a:gd name="connsiteY27" fmla="*/ 134641 h 437156"/>
                <a:gd name="connsiteX28" fmla="*/ 240076 w 474627"/>
                <a:gd name="connsiteY28" fmla="*/ 132918 h 437156"/>
                <a:gd name="connsiteX29" fmla="*/ 224718 w 474627"/>
                <a:gd name="connsiteY29" fmla="*/ 136031 h 437156"/>
                <a:gd name="connsiteX30" fmla="*/ 218954 w 474627"/>
                <a:gd name="connsiteY30" fmla="*/ 125853 h 437156"/>
                <a:gd name="connsiteX31" fmla="*/ 167581 w 474627"/>
                <a:gd name="connsiteY31" fmla="*/ 131547 h 437156"/>
                <a:gd name="connsiteX32" fmla="*/ 140282 w 474627"/>
                <a:gd name="connsiteY32" fmla="*/ 152776 h 437156"/>
                <a:gd name="connsiteX33" fmla="*/ 96078 w 474627"/>
                <a:gd name="connsiteY33" fmla="*/ 149883 h 437156"/>
                <a:gd name="connsiteX34" fmla="*/ 56730 w 474627"/>
                <a:gd name="connsiteY34" fmla="*/ 149883 h 437156"/>
                <a:gd name="connsiteX35" fmla="*/ 386914 w 474627"/>
                <a:gd name="connsiteY35" fmla="*/ 195259 h 437156"/>
                <a:gd name="connsiteX36" fmla="*/ 423016 w 474627"/>
                <a:gd name="connsiteY36" fmla="*/ 201811 h 437156"/>
                <a:gd name="connsiteX37" fmla="*/ 386902 w 474627"/>
                <a:gd name="connsiteY37" fmla="*/ 215696 h 437156"/>
                <a:gd name="connsiteX38" fmla="*/ 376283 w 474627"/>
                <a:gd name="connsiteY38" fmla="*/ 216305 h 437156"/>
                <a:gd name="connsiteX39" fmla="*/ 386914 w 474627"/>
                <a:gd name="connsiteY39" fmla="*/ 195259 h 437156"/>
                <a:gd name="connsiteX40" fmla="*/ 424423 w 474627"/>
                <a:gd name="connsiteY40" fmla="*/ 215722 h 437156"/>
                <a:gd name="connsiteX41" fmla="*/ 424724 w 474627"/>
                <a:gd name="connsiteY41" fmla="*/ 218692 h 437156"/>
                <a:gd name="connsiteX42" fmla="*/ 399239 w 474627"/>
                <a:gd name="connsiteY42" fmla="*/ 231068 h 437156"/>
                <a:gd name="connsiteX43" fmla="*/ 356995 w 474627"/>
                <a:gd name="connsiteY43" fmla="*/ 231068 h 437156"/>
                <a:gd name="connsiteX44" fmla="*/ 356211 w 474627"/>
                <a:gd name="connsiteY44" fmla="*/ 230845 h 437156"/>
                <a:gd name="connsiteX45" fmla="*/ 363753 w 474627"/>
                <a:gd name="connsiteY45" fmla="*/ 226105 h 437156"/>
                <a:gd name="connsiteX46" fmla="*/ 387927 w 474627"/>
                <a:gd name="connsiteY46" fmla="*/ 225825 h 437156"/>
                <a:gd name="connsiteX47" fmla="*/ 424423 w 474627"/>
                <a:gd name="connsiteY47" fmla="*/ 215722 h 437156"/>
                <a:gd name="connsiteX48" fmla="*/ 349103 w 474627"/>
                <a:gd name="connsiteY48" fmla="*/ 223196 h 437156"/>
                <a:gd name="connsiteX49" fmla="*/ 332415 w 474627"/>
                <a:gd name="connsiteY49" fmla="*/ 231068 h 437156"/>
                <a:gd name="connsiteX50" fmla="*/ 310663 w 474627"/>
                <a:gd name="connsiteY50" fmla="*/ 231068 h 437156"/>
                <a:gd name="connsiteX51" fmla="*/ 310135 w 474627"/>
                <a:gd name="connsiteY51" fmla="*/ 230134 h 437156"/>
                <a:gd name="connsiteX52" fmla="*/ 345759 w 474627"/>
                <a:gd name="connsiteY52" fmla="*/ 217291 h 437156"/>
                <a:gd name="connsiteX53" fmla="*/ 375098 w 474627"/>
                <a:gd name="connsiteY53" fmla="*/ 193347 h 437156"/>
                <a:gd name="connsiteX54" fmla="*/ 376569 w 474627"/>
                <a:gd name="connsiteY54" fmla="*/ 195944 h 437156"/>
                <a:gd name="connsiteX55" fmla="*/ 349103 w 474627"/>
                <a:gd name="connsiteY55" fmla="*/ 223196 h 437156"/>
                <a:gd name="connsiteX56" fmla="*/ 121715 w 474627"/>
                <a:gd name="connsiteY56" fmla="*/ 228406 h 437156"/>
                <a:gd name="connsiteX57" fmla="*/ 110553 w 474627"/>
                <a:gd name="connsiteY57" fmla="*/ 231068 h 437156"/>
                <a:gd name="connsiteX58" fmla="*/ 68315 w 474627"/>
                <a:gd name="connsiteY58" fmla="*/ 231068 h 437156"/>
                <a:gd name="connsiteX59" fmla="*/ 61878 w 474627"/>
                <a:gd name="connsiteY59" fmla="*/ 226206 h 437156"/>
                <a:gd name="connsiteX60" fmla="*/ 61577 w 474627"/>
                <a:gd name="connsiteY60" fmla="*/ 223236 h 437156"/>
                <a:gd name="connsiteX61" fmla="*/ 99358 w 474627"/>
                <a:gd name="connsiteY61" fmla="*/ 225825 h 437156"/>
                <a:gd name="connsiteX62" fmla="*/ 122404 w 474627"/>
                <a:gd name="connsiteY62" fmla="*/ 221507 h 437156"/>
                <a:gd name="connsiteX63" fmla="*/ 121715 w 474627"/>
                <a:gd name="connsiteY63" fmla="*/ 228406 h 437156"/>
                <a:gd name="connsiteX64" fmla="*/ 98333 w 474627"/>
                <a:gd name="connsiteY64" fmla="*/ 215696 h 437156"/>
                <a:gd name="connsiteX65" fmla="*/ 60170 w 474627"/>
                <a:gd name="connsiteY65" fmla="*/ 209325 h 437156"/>
                <a:gd name="connsiteX66" fmla="*/ 96284 w 474627"/>
                <a:gd name="connsiteY66" fmla="*/ 195439 h 437156"/>
                <a:gd name="connsiteX67" fmla="*/ 97548 w 474627"/>
                <a:gd name="connsiteY67" fmla="*/ 195337 h 437156"/>
                <a:gd name="connsiteX68" fmla="*/ 122748 w 474627"/>
                <a:gd name="connsiteY68" fmla="*/ 207767 h 437156"/>
                <a:gd name="connsiteX69" fmla="*/ 126605 w 474627"/>
                <a:gd name="connsiteY69" fmla="*/ 209117 h 437156"/>
                <a:gd name="connsiteX70" fmla="*/ 98333 w 474627"/>
                <a:gd name="connsiteY70" fmla="*/ 215696 h 437156"/>
                <a:gd name="connsiteX71" fmla="*/ 126250 w 474627"/>
                <a:gd name="connsiteY71" fmla="*/ 198208 h 437156"/>
                <a:gd name="connsiteX72" fmla="*/ 94702 w 474627"/>
                <a:gd name="connsiteY72" fmla="*/ 175807 h 437156"/>
                <a:gd name="connsiteX73" fmla="*/ 95730 w 474627"/>
                <a:gd name="connsiteY73" fmla="*/ 173005 h 437156"/>
                <a:gd name="connsiteX74" fmla="*/ 128585 w 474627"/>
                <a:gd name="connsiteY74" fmla="*/ 191835 h 437156"/>
                <a:gd name="connsiteX75" fmla="*/ 146210 w 474627"/>
                <a:gd name="connsiteY75" fmla="*/ 197032 h 437156"/>
                <a:gd name="connsiteX76" fmla="*/ 138997 w 474627"/>
                <a:gd name="connsiteY76" fmla="*/ 202136 h 437156"/>
                <a:gd name="connsiteX77" fmla="*/ 126250 w 474627"/>
                <a:gd name="connsiteY77" fmla="*/ 198208 h 437156"/>
                <a:gd name="connsiteX78" fmla="*/ 136274 w 474627"/>
                <a:gd name="connsiteY78" fmla="*/ 172674 h 437156"/>
                <a:gd name="connsiteX79" fmla="*/ 143795 w 474627"/>
                <a:gd name="connsiteY79" fmla="*/ 185955 h 437156"/>
                <a:gd name="connsiteX80" fmla="*/ 132087 w 474627"/>
                <a:gd name="connsiteY80" fmla="*/ 182276 h 437156"/>
                <a:gd name="connsiteX81" fmla="*/ 100540 w 474627"/>
                <a:gd name="connsiteY81" fmla="*/ 159876 h 437156"/>
                <a:gd name="connsiteX82" fmla="*/ 135225 w 474627"/>
                <a:gd name="connsiteY82" fmla="*/ 161810 h 437156"/>
                <a:gd name="connsiteX83" fmla="*/ 136274 w 474627"/>
                <a:gd name="connsiteY83" fmla="*/ 172674 h 437156"/>
                <a:gd name="connsiteX84" fmla="*/ 208602 w 474627"/>
                <a:gd name="connsiteY84" fmla="*/ 175299 h 437156"/>
                <a:gd name="connsiteX85" fmla="*/ 208166 w 474627"/>
                <a:gd name="connsiteY85" fmla="*/ 172346 h 437156"/>
                <a:gd name="connsiteX86" fmla="*/ 246025 w 474627"/>
                <a:gd name="connsiteY86" fmla="*/ 173203 h 437156"/>
                <a:gd name="connsiteX87" fmla="*/ 282022 w 474627"/>
                <a:gd name="connsiteY87" fmla="*/ 161440 h 437156"/>
                <a:gd name="connsiteX88" fmla="*/ 282457 w 474627"/>
                <a:gd name="connsiteY88" fmla="*/ 164393 h 437156"/>
                <a:gd name="connsiteX89" fmla="*/ 247017 w 474627"/>
                <a:gd name="connsiteY89" fmla="*/ 179917 h 437156"/>
                <a:gd name="connsiteX90" fmla="*/ 208602 w 474627"/>
                <a:gd name="connsiteY90" fmla="*/ 175299 h 437156"/>
                <a:gd name="connsiteX91" fmla="*/ 247590 w 474627"/>
                <a:gd name="connsiteY91" fmla="*/ 205209 h 437156"/>
                <a:gd name="connsiteX92" fmla="*/ 209269 w 474627"/>
                <a:gd name="connsiteY92" fmla="*/ 210546 h 437156"/>
                <a:gd name="connsiteX93" fmla="*/ 173543 w 474627"/>
                <a:gd name="connsiteY93" fmla="*/ 195690 h 437156"/>
                <a:gd name="connsiteX94" fmla="*/ 211865 w 474627"/>
                <a:gd name="connsiteY94" fmla="*/ 190352 h 437156"/>
                <a:gd name="connsiteX95" fmla="*/ 247590 w 474627"/>
                <a:gd name="connsiteY95" fmla="*/ 205209 h 437156"/>
                <a:gd name="connsiteX96" fmla="*/ 244539 w 474627"/>
                <a:gd name="connsiteY96" fmla="*/ 163132 h 437156"/>
                <a:gd name="connsiteX97" fmla="*/ 206124 w 474627"/>
                <a:gd name="connsiteY97" fmla="*/ 158514 h 437156"/>
                <a:gd name="connsiteX98" fmla="*/ 241564 w 474627"/>
                <a:gd name="connsiteY98" fmla="*/ 142989 h 437156"/>
                <a:gd name="connsiteX99" fmla="*/ 279979 w 474627"/>
                <a:gd name="connsiteY99" fmla="*/ 147607 h 437156"/>
                <a:gd name="connsiteX100" fmla="*/ 244539 w 474627"/>
                <a:gd name="connsiteY100" fmla="*/ 163132 h 437156"/>
                <a:gd name="connsiteX101" fmla="*/ 182630 w 474627"/>
                <a:gd name="connsiteY101" fmla="*/ 158122 h 437156"/>
                <a:gd name="connsiteX102" fmla="*/ 145132 w 474627"/>
                <a:gd name="connsiteY102" fmla="*/ 167657 h 437156"/>
                <a:gd name="connsiteX103" fmla="*/ 172598 w 474627"/>
                <a:gd name="connsiteY103" fmla="*/ 140405 h 437156"/>
                <a:gd name="connsiteX104" fmla="*/ 210096 w 474627"/>
                <a:gd name="connsiteY104" fmla="*/ 130870 h 437156"/>
                <a:gd name="connsiteX105" fmla="*/ 182630 w 474627"/>
                <a:gd name="connsiteY105" fmla="*/ 158122 h 437156"/>
                <a:gd name="connsiteX106" fmla="*/ 159579 w 474627"/>
                <a:gd name="connsiteY106" fmla="*/ 200804 h 437156"/>
                <a:gd name="connsiteX107" fmla="*/ 162844 w 474627"/>
                <a:gd name="connsiteY107" fmla="*/ 199076 h 437156"/>
                <a:gd name="connsiteX108" fmla="*/ 161283 w 474627"/>
                <a:gd name="connsiteY108" fmla="*/ 211221 h 437156"/>
                <a:gd name="connsiteX109" fmla="*/ 164196 w 474627"/>
                <a:gd name="connsiteY109" fmla="*/ 221394 h 437156"/>
                <a:gd name="connsiteX110" fmla="*/ 132114 w 474627"/>
                <a:gd name="connsiteY110" fmla="*/ 228056 h 437156"/>
                <a:gd name="connsiteX111" fmla="*/ 159579 w 474627"/>
                <a:gd name="connsiteY111" fmla="*/ 200804 h 437156"/>
                <a:gd name="connsiteX112" fmla="*/ 153493 w 474627"/>
                <a:gd name="connsiteY112" fmla="*/ 182422 h 437156"/>
                <a:gd name="connsiteX113" fmla="*/ 152022 w 474627"/>
                <a:gd name="connsiteY113" fmla="*/ 179825 h 437156"/>
                <a:gd name="connsiteX114" fmla="*/ 187647 w 474627"/>
                <a:gd name="connsiteY114" fmla="*/ 166981 h 437156"/>
                <a:gd name="connsiteX115" fmla="*/ 196299 w 474627"/>
                <a:gd name="connsiteY115" fmla="*/ 161672 h 437156"/>
                <a:gd name="connsiteX116" fmla="*/ 197374 w 474627"/>
                <a:gd name="connsiteY116" fmla="*/ 168952 h 437156"/>
                <a:gd name="connsiteX117" fmla="*/ 190991 w 474627"/>
                <a:gd name="connsiteY117" fmla="*/ 172887 h 437156"/>
                <a:gd name="connsiteX118" fmla="*/ 153493 w 474627"/>
                <a:gd name="connsiteY118" fmla="*/ 182422 h 437156"/>
                <a:gd name="connsiteX119" fmla="*/ 171760 w 474627"/>
                <a:gd name="connsiteY119" fmla="*/ 209558 h 437156"/>
                <a:gd name="connsiteX120" fmla="*/ 207970 w 474627"/>
                <a:gd name="connsiteY120" fmla="*/ 220644 h 437156"/>
                <a:gd name="connsiteX121" fmla="*/ 245807 w 474627"/>
                <a:gd name="connsiteY121" fmla="*/ 219077 h 437156"/>
                <a:gd name="connsiteX122" fmla="*/ 245427 w 474627"/>
                <a:gd name="connsiteY122" fmla="*/ 222037 h 437156"/>
                <a:gd name="connsiteX123" fmla="*/ 207105 w 474627"/>
                <a:gd name="connsiteY123" fmla="*/ 227376 h 437156"/>
                <a:gd name="connsiteX124" fmla="*/ 171380 w 474627"/>
                <a:gd name="connsiteY124" fmla="*/ 212519 h 437156"/>
                <a:gd name="connsiteX125" fmla="*/ 206087 w 474627"/>
                <a:gd name="connsiteY125" fmla="*/ 243559 h 437156"/>
                <a:gd name="connsiteX126" fmla="*/ 268538 w 474627"/>
                <a:gd name="connsiteY126" fmla="*/ 243559 h 437156"/>
                <a:gd name="connsiteX127" fmla="*/ 268538 w 474627"/>
                <a:gd name="connsiteY127" fmla="*/ 306010 h 437156"/>
                <a:gd name="connsiteX128" fmla="*/ 237313 w 474627"/>
                <a:gd name="connsiteY128" fmla="*/ 337235 h 437156"/>
                <a:gd name="connsiteX129" fmla="*/ 206087 w 474627"/>
                <a:gd name="connsiteY129" fmla="*/ 306010 h 437156"/>
                <a:gd name="connsiteX130" fmla="*/ 265948 w 474627"/>
                <a:gd name="connsiteY130" fmla="*/ 223231 h 437156"/>
                <a:gd name="connsiteX131" fmla="*/ 255758 w 474627"/>
                <a:gd name="connsiteY131" fmla="*/ 221517 h 437156"/>
                <a:gd name="connsiteX132" fmla="*/ 256622 w 474627"/>
                <a:gd name="connsiteY132" fmla="*/ 214801 h 437156"/>
                <a:gd name="connsiteX133" fmla="*/ 266814 w 474627"/>
                <a:gd name="connsiteY133" fmla="*/ 216500 h 437156"/>
                <a:gd name="connsiteX134" fmla="*/ 304650 w 474627"/>
                <a:gd name="connsiteY134" fmla="*/ 214933 h 437156"/>
                <a:gd name="connsiteX135" fmla="*/ 304269 w 474627"/>
                <a:gd name="connsiteY135" fmla="*/ 217893 h 437156"/>
                <a:gd name="connsiteX136" fmla="*/ 265948 w 474627"/>
                <a:gd name="connsiteY136" fmla="*/ 223231 h 437156"/>
                <a:gd name="connsiteX137" fmla="*/ 268111 w 474627"/>
                <a:gd name="connsiteY137" fmla="*/ 206403 h 437156"/>
                <a:gd name="connsiteX138" fmla="*/ 257711 w 474627"/>
                <a:gd name="connsiteY138" fmla="*/ 204635 h 437156"/>
                <a:gd name="connsiteX139" fmla="*/ 247419 w 474627"/>
                <a:gd name="connsiteY139" fmla="*/ 190138 h 437156"/>
                <a:gd name="connsiteX140" fmla="*/ 248505 w 474627"/>
                <a:gd name="connsiteY140" fmla="*/ 189988 h 437156"/>
                <a:gd name="connsiteX141" fmla="*/ 267523 w 474627"/>
                <a:gd name="connsiteY141" fmla="*/ 185843 h 437156"/>
                <a:gd name="connsiteX142" fmla="*/ 270707 w 474627"/>
                <a:gd name="connsiteY142" fmla="*/ 186208 h 437156"/>
                <a:gd name="connsiteX143" fmla="*/ 306433 w 474627"/>
                <a:gd name="connsiteY143" fmla="*/ 201065 h 437156"/>
                <a:gd name="connsiteX144" fmla="*/ 268111 w 474627"/>
                <a:gd name="connsiteY144" fmla="*/ 206403 h 437156"/>
                <a:gd name="connsiteX145" fmla="*/ 306334 w 474627"/>
                <a:gd name="connsiteY145" fmla="*/ 184168 h 437156"/>
                <a:gd name="connsiteX146" fmla="*/ 286657 w 474627"/>
                <a:gd name="connsiteY146" fmla="*/ 176533 h 437156"/>
                <a:gd name="connsiteX147" fmla="*/ 290975 w 474627"/>
                <a:gd name="connsiteY147" fmla="*/ 171343 h 437156"/>
                <a:gd name="connsiteX148" fmla="*/ 308247 w 474627"/>
                <a:gd name="connsiteY148" fmla="*/ 177657 h 437156"/>
                <a:gd name="connsiteX149" fmla="*/ 345859 w 474627"/>
                <a:gd name="connsiteY149" fmla="*/ 182058 h 437156"/>
                <a:gd name="connsiteX150" fmla="*/ 345018 w 474627"/>
                <a:gd name="connsiteY150" fmla="*/ 184921 h 437156"/>
                <a:gd name="connsiteX151" fmla="*/ 306334 w 474627"/>
                <a:gd name="connsiteY151" fmla="*/ 184168 h 437156"/>
                <a:gd name="connsiteX152" fmla="*/ 289423 w 474627"/>
                <a:gd name="connsiteY152" fmla="*/ 143779 h 437156"/>
                <a:gd name="connsiteX153" fmla="*/ 316855 w 474627"/>
                <a:gd name="connsiteY153" fmla="*/ 148353 h 437156"/>
                <a:gd name="connsiteX154" fmla="*/ 349800 w 474627"/>
                <a:gd name="connsiteY154" fmla="*/ 168642 h 437156"/>
                <a:gd name="connsiteX155" fmla="*/ 311116 w 474627"/>
                <a:gd name="connsiteY155" fmla="*/ 167889 h 437156"/>
                <a:gd name="connsiteX156" fmla="*/ 292190 w 474627"/>
                <a:gd name="connsiteY156" fmla="*/ 160608 h 437156"/>
                <a:gd name="connsiteX157" fmla="*/ 290050 w 474627"/>
                <a:gd name="connsiteY157" fmla="*/ 146121 h 437156"/>
                <a:gd name="connsiteX158" fmla="*/ 289423 w 474627"/>
                <a:gd name="connsiteY158" fmla="*/ 143778 h 437156"/>
                <a:gd name="connsiteX159" fmla="*/ 340743 w 474627"/>
                <a:gd name="connsiteY159" fmla="*/ 208432 h 437156"/>
                <a:gd name="connsiteX160" fmla="*/ 314345 w 474627"/>
                <a:gd name="connsiteY160" fmla="*/ 219281 h 437156"/>
                <a:gd name="connsiteX161" fmla="*/ 314367 w 474627"/>
                <a:gd name="connsiteY161" fmla="*/ 219191 h 437156"/>
                <a:gd name="connsiteX162" fmla="*/ 316530 w 474627"/>
                <a:gd name="connsiteY162" fmla="*/ 202363 h 437156"/>
                <a:gd name="connsiteX163" fmla="*/ 316561 w 474627"/>
                <a:gd name="connsiteY163" fmla="*/ 200010 h 437156"/>
                <a:gd name="connsiteX164" fmla="*/ 319669 w 474627"/>
                <a:gd name="connsiteY164" fmla="*/ 197715 h 437156"/>
                <a:gd name="connsiteX165" fmla="*/ 354786 w 474627"/>
                <a:gd name="connsiteY165" fmla="*/ 187791 h 437156"/>
                <a:gd name="connsiteX166" fmla="*/ 357100 w 474627"/>
                <a:gd name="connsiteY166" fmla="*/ 179914 h 437156"/>
                <a:gd name="connsiteX167" fmla="*/ 368208 w 474627"/>
                <a:gd name="connsiteY167" fmla="*/ 181180 h 437156"/>
                <a:gd name="connsiteX168" fmla="*/ 340743 w 474627"/>
                <a:gd name="connsiteY168" fmla="*/ 208432 h 437156"/>
                <a:gd name="connsiteX169" fmla="*/ 51785 w 474627"/>
                <a:gd name="connsiteY169" fmla="*/ 162373 h 437156"/>
                <a:gd name="connsiteX170" fmla="*/ 88783 w 474627"/>
                <a:gd name="connsiteY170" fmla="*/ 162373 h 437156"/>
                <a:gd name="connsiteX171" fmla="*/ 85144 w 474627"/>
                <a:gd name="connsiteY171" fmla="*/ 172305 h 437156"/>
                <a:gd name="connsiteX172" fmla="*/ 87730 w 474627"/>
                <a:gd name="connsiteY172" fmla="*/ 186269 h 437156"/>
                <a:gd name="connsiteX173" fmla="*/ 50041 w 474627"/>
                <a:gd name="connsiteY173" fmla="*/ 210350 h 437156"/>
                <a:gd name="connsiteX174" fmla="*/ 51749 w 474627"/>
                <a:gd name="connsiteY174" fmla="*/ 227231 h 437156"/>
                <a:gd name="connsiteX175" fmla="*/ 52777 w 474627"/>
                <a:gd name="connsiteY175" fmla="*/ 231068 h 437156"/>
                <a:gd name="connsiteX176" fmla="*/ 16477 w 474627"/>
                <a:gd name="connsiteY176" fmla="*/ 231068 h 437156"/>
                <a:gd name="connsiteX177" fmla="*/ 12490 w 474627"/>
                <a:gd name="connsiteY177" fmla="*/ 424666 h 437156"/>
                <a:gd name="connsiteX178" fmla="*/ 12490 w 474627"/>
                <a:gd name="connsiteY178" fmla="*/ 368777 h 437156"/>
                <a:gd name="connsiteX179" fmla="*/ 68379 w 474627"/>
                <a:gd name="connsiteY179" fmla="*/ 424666 h 437156"/>
                <a:gd name="connsiteX180" fmla="*/ 462137 w 474627"/>
                <a:gd name="connsiteY180" fmla="*/ 424666 h 437156"/>
                <a:gd name="connsiteX181" fmla="*/ 406247 w 474627"/>
                <a:gd name="connsiteY181" fmla="*/ 424666 h 437156"/>
                <a:gd name="connsiteX182" fmla="*/ 462137 w 474627"/>
                <a:gd name="connsiteY182" fmla="*/ 368777 h 437156"/>
                <a:gd name="connsiteX183" fmla="*/ 462137 w 474627"/>
                <a:gd name="connsiteY183" fmla="*/ 356287 h 437156"/>
                <a:gd name="connsiteX184" fmla="*/ 393757 w 474627"/>
                <a:gd name="connsiteY184" fmla="*/ 424666 h 437156"/>
                <a:gd name="connsiteX185" fmla="*/ 80870 w 474627"/>
                <a:gd name="connsiteY185" fmla="*/ 424666 h 437156"/>
                <a:gd name="connsiteX186" fmla="*/ 12490 w 474627"/>
                <a:gd name="connsiteY186" fmla="*/ 356287 h 437156"/>
                <a:gd name="connsiteX187" fmla="*/ 12490 w 474627"/>
                <a:gd name="connsiteY187" fmla="*/ 243559 h 437156"/>
                <a:gd name="connsiteX188" fmla="*/ 193597 w 474627"/>
                <a:gd name="connsiteY188" fmla="*/ 243559 h 437156"/>
                <a:gd name="connsiteX189" fmla="*/ 193597 w 474627"/>
                <a:gd name="connsiteY189" fmla="*/ 306010 h 437156"/>
                <a:gd name="connsiteX190" fmla="*/ 237313 w 474627"/>
                <a:gd name="connsiteY190" fmla="*/ 349725 h 437156"/>
                <a:gd name="connsiteX191" fmla="*/ 281029 w 474627"/>
                <a:gd name="connsiteY191" fmla="*/ 306010 h 437156"/>
                <a:gd name="connsiteX192" fmla="*/ 281029 w 474627"/>
                <a:gd name="connsiteY192" fmla="*/ 243559 h 437156"/>
                <a:gd name="connsiteX193" fmla="*/ 462137 w 474627"/>
                <a:gd name="connsiteY193" fmla="*/ 243559 h 437156"/>
                <a:gd name="connsiteX194" fmla="*/ 458147 w 474627"/>
                <a:gd name="connsiteY194" fmla="*/ 231068 h 437156"/>
                <a:gd name="connsiteX195" fmla="*/ 428199 w 474627"/>
                <a:gd name="connsiteY195" fmla="*/ 231068 h 437156"/>
                <a:gd name="connsiteX196" fmla="*/ 434853 w 474627"/>
                <a:gd name="connsiteY196" fmla="*/ 217667 h 437156"/>
                <a:gd name="connsiteX197" fmla="*/ 433145 w 474627"/>
                <a:gd name="connsiteY197" fmla="*/ 200786 h 437156"/>
                <a:gd name="connsiteX198" fmla="*/ 383828 w 474627"/>
                <a:gd name="connsiteY198" fmla="*/ 185311 h 437156"/>
                <a:gd name="connsiteX199" fmla="*/ 382347 w 474627"/>
                <a:gd name="connsiteY199" fmla="*/ 185488 h 437156"/>
                <a:gd name="connsiteX200" fmla="*/ 377066 w 474627"/>
                <a:gd name="connsiteY200" fmla="*/ 176163 h 437156"/>
                <a:gd name="connsiteX201" fmla="*/ 359972 w 474627"/>
                <a:gd name="connsiteY201" fmla="*/ 169166 h 437156"/>
                <a:gd name="connsiteX202" fmla="*/ 358746 w 474627"/>
                <a:gd name="connsiteY202" fmla="*/ 162081 h 437156"/>
                <a:gd name="connsiteX203" fmla="*/ 359380 w 474627"/>
                <a:gd name="connsiteY203" fmla="*/ 162373 h 437156"/>
                <a:gd name="connsiteX204" fmla="*/ 422817 w 474627"/>
                <a:gd name="connsiteY204" fmla="*/ 162373 h 437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Lst>
              <a:rect l="l" t="t" r="r" b="b"/>
              <a:pathLst>
                <a:path w="474627" h="437156">
                  <a:moveTo>
                    <a:pt x="467897" y="67371"/>
                  </a:moveTo>
                  <a:lnTo>
                    <a:pt x="468370" y="66268"/>
                  </a:lnTo>
                  <a:lnTo>
                    <a:pt x="468370" y="46809"/>
                  </a:lnTo>
                  <a:lnTo>
                    <a:pt x="462208" y="31405"/>
                  </a:lnTo>
                  <a:cubicBezTo>
                    <a:pt x="454621" y="12438"/>
                    <a:pt x="436250" y="0"/>
                    <a:pt x="415821" y="0"/>
                  </a:cubicBezTo>
                  <a:lnTo>
                    <a:pt x="58805" y="0"/>
                  </a:lnTo>
                  <a:cubicBezTo>
                    <a:pt x="38376" y="0"/>
                    <a:pt x="20005" y="12438"/>
                    <a:pt x="12418" y="31405"/>
                  </a:cubicBezTo>
                  <a:lnTo>
                    <a:pt x="6233" y="46868"/>
                  </a:lnTo>
                  <a:lnTo>
                    <a:pt x="6233" y="63762"/>
                  </a:lnTo>
                  <a:lnTo>
                    <a:pt x="7780" y="67371"/>
                  </a:lnTo>
                  <a:lnTo>
                    <a:pt x="43608" y="150968"/>
                  </a:lnTo>
                  <a:lnTo>
                    <a:pt x="0" y="235801"/>
                  </a:lnTo>
                  <a:lnTo>
                    <a:pt x="0" y="437157"/>
                  </a:lnTo>
                  <a:lnTo>
                    <a:pt x="474627" y="437157"/>
                  </a:lnTo>
                  <a:lnTo>
                    <a:pt x="474627" y="235801"/>
                  </a:lnTo>
                  <a:lnTo>
                    <a:pt x="431582" y="152106"/>
                  </a:lnTo>
                  <a:close/>
                  <a:moveTo>
                    <a:pt x="24014" y="36044"/>
                  </a:moveTo>
                  <a:cubicBezTo>
                    <a:pt x="29664" y="21785"/>
                    <a:pt x="43468" y="12440"/>
                    <a:pt x="58805" y="12490"/>
                  </a:cubicBezTo>
                  <a:lnTo>
                    <a:pt x="415821" y="12490"/>
                  </a:lnTo>
                  <a:cubicBezTo>
                    <a:pt x="431158" y="12440"/>
                    <a:pt x="444962" y="21785"/>
                    <a:pt x="450612" y="36044"/>
                  </a:cubicBezTo>
                  <a:lnTo>
                    <a:pt x="456178" y="49961"/>
                  </a:lnTo>
                  <a:lnTo>
                    <a:pt x="18448" y="49961"/>
                  </a:lnTo>
                  <a:close/>
                  <a:moveTo>
                    <a:pt x="19259" y="62452"/>
                  </a:moveTo>
                  <a:lnTo>
                    <a:pt x="456416" y="62452"/>
                  </a:lnTo>
                  <a:lnTo>
                    <a:pt x="418945" y="149883"/>
                  </a:lnTo>
                  <a:lnTo>
                    <a:pt x="346521" y="149883"/>
                  </a:lnTo>
                  <a:cubicBezTo>
                    <a:pt x="338096" y="145012"/>
                    <a:pt x="329093" y="141216"/>
                    <a:pt x="319724" y="138586"/>
                  </a:cubicBezTo>
                  <a:cubicBezTo>
                    <a:pt x="310391" y="135844"/>
                    <a:pt x="292410" y="131554"/>
                    <a:pt x="280232" y="134641"/>
                  </a:cubicBezTo>
                  <a:cubicBezTo>
                    <a:pt x="268626" y="129663"/>
                    <a:pt x="249826" y="131479"/>
                    <a:pt x="240076" y="132918"/>
                  </a:cubicBezTo>
                  <a:cubicBezTo>
                    <a:pt x="234905" y="133680"/>
                    <a:pt x="229778" y="134719"/>
                    <a:pt x="224718" y="136031"/>
                  </a:cubicBezTo>
                  <a:lnTo>
                    <a:pt x="218954" y="125853"/>
                  </a:lnTo>
                  <a:cubicBezTo>
                    <a:pt x="209899" y="109862"/>
                    <a:pt x="180011" y="124508"/>
                    <a:pt x="167581" y="131547"/>
                  </a:cubicBezTo>
                  <a:cubicBezTo>
                    <a:pt x="157345" y="137027"/>
                    <a:pt x="148114" y="144205"/>
                    <a:pt x="140282" y="152776"/>
                  </a:cubicBezTo>
                  <a:cubicBezTo>
                    <a:pt x="128377" y="148623"/>
                    <a:pt x="106690" y="142693"/>
                    <a:pt x="96078" y="149883"/>
                  </a:cubicBezTo>
                  <a:lnTo>
                    <a:pt x="56730" y="149883"/>
                  </a:lnTo>
                  <a:close/>
                  <a:moveTo>
                    <a:pt x="386914" y="195259"/>
                  </a:moveTo>
                  <a:cubicBezTo>
                    <a:pt x="406491" y="193575"/>
                    <a:pt x="422469" y="196406"/>
                    <a:pt x="423016" y="201811"/>
                  </a:cubicBezTo>
                  <a:cubicBezTo>
                    <a:pt x="423582" y="207405"/>
                    <a:pt x="407413" y="213622"/>
                    <a:pt x="386902" y="215696"/>
                  </a:cubicBezTo>
                  <a:cubicBezTo>
                    <a:pt x="383205" y="216070"/>
                    <a:pt x="379677" y="216240"/>
                    <a:pt x="376283" y="216305"/>
                  </a:cubicBezTo>
                  <a:cubicBezTo>
                    <a:pt x="383153" y="209870"/>
                    <a:pt x="388186" y="202481"/>
                    <a:pt x="386914" y="195259"/>
                  </a:cubicBezTo>
                  <a:close/>
                  <a:moveTo>
                    <a:pt x="424423" y="215722"/>
                  </a:moveTo>
                  <a:lnTo>
                    <a:pt x="424724" y="218692"/>
                  </a:lnTo>
                  <a:cubicBezTo>
                    <a:pt x="425187" y="223273"/>
                    <a:pt x="414418" y="228269"/>
                    <a:pt x="399239" y="231068"/>
                  </a:cubicBezTo>
                  <a:lnTo>
                    <a:pt x="356995" y="231068"/>
                  </a:lnTo>
                  <a:cubicBezTo>
                    <a:pt x="356744" y="230991"/>
                    <a:pt x="356451" y="230926"/>
                    <a:pt x="356211" y="230845"/>
                  </a:cubicBezTo>
                  <a:cubicBezTo>
                    <a:pt x="358468" y="229522"/>
                    <a:pt x="361049" y="227918"/>
                    <a:pt x="363753" y="226105"/>
                  </a:cubicBezTo>
                  <a:cubicBezTo>
                    <a:pt x="371802" y="226772"/>
                    <a:pt x="379896" y="226679"/>
                    <a:pt x="387927" y="225825"/>
                  </a:cubicBezTo>
                  <a:cubicBezTo>
                    <a:pt x="400656" y="224991"/>
                    <a:pt x="413078" y="221552"/>
                    <a:pt x="424423" y="215722"/>
                  </a:cubicBezTo>
                  <a:close/>
                  <a:moveTo>
                    <a:pt x="349103" y="223196"/>
                  </a:moveTo>
                  <a:cubicBezTo>
                    <a:pt x="343750" y="226244"/>
                    <a:pt x="338171" y="228875"/>
                    <a:pt x="332415" y="231068"/>
                  </a:cubicBezTo>
                  <a:lnTo>
                    <a:pt x="310663" y="231068"/>
                  </a:lnTo>
                  <a:lnTo>
                    <a:pt x="310135" y="230134"/>
                  </a:lnTo>
                  <a:cubicBezTo>
                    <a:pt x="322763" y="228336"/>
                    <a:pt x="334888" y="223965"/>
                    <a:pt x="345759" y="217291"/>
                  </a:cubicBezTo>
                  <a:cubicBezTo>
                    <a:pt x="357075" y="211402"/>
                    <a:pt x="367060" y="203252"/>
                    <a:pt x="375098" y="193347"/>
                  </a:cubicBezTo>
                  <a:lnTo>
                    <a:pt x="376569" y="195944"/>
                  </a:lnTo>
                  <a:cubicBezTo>
                    <a:pt x="379339" y="200837"/>
                    <a:pt x="367042" y="213038"/>
                    <a:pt x="349103" y="223196"/>
                  </a:cubicBezTo>
                  <a:close/>
                  <a:moveTo>
                    <a:pt x="121715" y="228406"/>
                  </a:moveTo>
                  <a:cubicBezTo>
                    <a:pt x="118048" y="229505"/>
                    <a:pt x="114321" y="230394"/>
                    <a:pt x="110553" y="231068"/>
                  </a:cubicBezTo>
                  <a:lnTo>
                    <a:pt x="68315" y="231068"/>
                  </a:lnTo>
                  <a:cubicBezTo>
                    <a:pt x="64447" y="229868"/>
                    <a:pt x="62081" y="228218"/>
                    <a:pt x="61878" y="226206"/>
                  </a:cubicBezTo>
                  <a:lnTo>
                    <a:pt x="61577" y="223236"/>
                  </a:lnTo>
                  <a:cubicBezTo>
                    <a:pt x="73861" y="226676"/>
                    <a:pt x="86720" y="227557"/>
                    <a:pt x="99358" y="225825"/>
                  </a:cubicBezTo>
                  <a:cubicBezTo>
                    <a:pt x="107155" y="225082"/>
                    <a:pt x="114868" y="223637"/>
                    <a:pt x="122404" y="221507"/>
                  </a:cubicBezTo>
                  <a:cubicBezTo>
                    <a:pt x="121621" y="223717"/>
                    <a:pt x="121385" y="226084"/>
                    <a:pt x="121715" y="228406"/>
                  </a:cubicBezTo>
                  <a:close/>
                  <a:moveTo>
                    <a:pt x="98333" y="215696"/>
                  </a:moveTo>
                  <a:cubicBezTo>
                    <a:pt x="77823" y="217771"/>
                    <a:pt x="60736" y="214919"/>
                    <a:pt x="60170" y="209325"/>
                  </a:cubicBezTo>
                  <a:cubicBezTo>
                    <a:pt x="59604" y="203731"/>
                    <a:pt x="75773" y="197514"/>
                    <a:pt x="96284" y="195439"/>
                  </a:cubicBezTo>
                  <a:cubicBezTo>
                    <a:pt x="96713" y="195395"/>
                    <a:pt x="97122" y="195375"/>
                    <a:pt x="97548" y="195337"/>
                  </a:cubicBezTo>
                  <a:cubicBezTo>
                    <a:pt x="105430" y="200455"/>
                    <a:pt x="113889" y="204627"/>
                    <a:pt x="122748" y="207767"/>
                  </a:cubicBezTo>
                  <a:cubicBezTo>
                    <a:pt x="123902" y="208190"/>
                    <a:pt x="125204" y="208647"/>
                    <a:pt x="126605" y="209117"/>
                  </a:cubicBezTo>
                  <a:cubicBezTo>
                    <a:pt x="117560" y="212702"/>
                    <a:pt x="108031" y="214919"/>
                    <a:pt x="98333" y="215696"/>
                  </a:cubicBezTo>
                  <a:close/>
                  <a:moveTo>
                    <a:pt x="126250" y="198208"/>
                  </a:moveTo>
                  <a:cubicBezTo>
                    <a:pt x="106894" y="191115"/>
                    <a:pt x="92769" y="181087"/>
                    <a:pt x="94702" y="175807"/>
                  </a:cubicBezTo>
                  <a:lnTo>
                    <a:pt x="95730" y="173005"/>
                  </a:lnTo>
                  <a:cubicBezTo>
                    <a:pt x="105277" y="181464"/>
                    <a:pt x="116460" y="187873"/>
                    <a:pt x="128585" y="191835"/>
                  </a:cubicBezTo>
                  <a:cubicBezTo>
                    <a:pt x="134340" y="193950"/>
                    <a:pt x="140228" y="195686"/>
                    <a:pt x="146210" y="197032"/>
                  </a:cubicBezTo>
                  <a:cubicBezTo>
                    <a:pt x="143866" y="198567"/>
                    <a:pt x="141416" y="200290"/>
                    <a:pt x="138997" y="202136"/>
                  </a:cubicBezTo>
                  <a:cubicBezTo>
                    <a:pt x="134683" y="201049"/>
                    <a:pt x="130428" y="199737"/>
                    <a:pt x="126250" y="198208"/>
                  </a:cubicBezTo>
                  <a:close/>
                  <a:moveTo>
                    <a:pt x="136274" y="172674"/>
                  </a:moveTo>
                  <a:lnTo>
                    <a:pt x="143795" y="185955"/>
                  </a:lnTo>
                  <a:cubicBezTo>
                    <a:pt x="140059" y="184975"/>
                    <a:pt x="136126" y="183756"/>
                    <a:pt x="132087" y="182276"/>
                  </a:cubicBezTo>
                  <a:cubicBezTo>
                    <a:pt x="112730" y="175184"/>
                    <a:pt x="98606" y="165155"/>
                    <a:pt x="100540" y="159876"/>
                  </a:cubicBezTo>
                  <a:cubicBezTo>
                    <a:pt x="102344" y="154951"/>
                    <a:pt x="117486" y="155904"/>
                    <a:pt x="135225" y="161810"/>
                  </a:cubicBezTo>
                  <a:cubicBezTo>
                    <a:pt x="134022" y="165416"/>
                    <a:pt x="134403" y="169364"/>
                    <a:pt x="136274" y="172674"/>
                  </a:cubicBezTo>
                  <a:close/>
                  <a:moveTo>
                    <a:pt x="208602" y="175299"/>
                  </a:moveTo>
                  <a:lnTo>
                    <a:pt x="208166" y="172346"/>
                  </a:lnTo>
                  <a:cubicBezTo>
                    <a:pt x="220594" y="175220"/>
                    <a:pt x="233480" y="175512"/>
                    <a:pt x="246025" y="173203"/>
                  </a:cubicBezTo>
                  <a:cubicBezTo>
                    <a:pt x="258703" y="171787"/>
                    <a:pt x="270954" y="167783"/>
                    <a:pt x="282022" y="161440"/>
                  </a:cubicBezTo>
                  <a:lnTo>
                    <a:pt x="282457" y="164393"/>
                  </a:lnTo>
                  <a:cubicBezTo>
                    <a:pt x="283279" y="169955"/>
                    <a:pt x="267411" y="176905"/>
                    <a:pt x="247017" y="179917"/>
                  </a:cubicBezTo>
                  <a:cubicBezTo>
                    <a:pt x="226623" y="182929"/>
                    <a:pt x="209424" y="180861"/>
                    <a:pt x="208602" y="175299"/>
                  </a:cubicBezTo>
                  <a:close/>
                  <a:moveTo>
                    <a:pt x="247590" y="205209"/>
                  </a:moveTo>
                  <a:cubicBezTo>
                    <a:pt x="246874" y="210785"/>
                    <a:pt x="229716" y="213175"/>
                    <a:pt x="209269" y="210546"/>
                  </a:cubicBezTo>
                  <a:cubicBezTo>
                    <a:pt x="188821" y="207918"/>
                    <a:pt x="172826" y="201266"/>
                    <a:pt x="173543" y="195690"/>
                  </a:cubicBezTo>
                  <a:cubicBezTo>
                    <a:pt x="174259" y="190114"/>
                    <a:pt x="191417" y="187724"/>
                    <a:pt x="211865" y="190352"/>
                  </a:cubicBezTo>
                  <a:cubicBezTo>
                    <a:pt x="232313" y="192981"/>
                    <a:pt x="248307" y="199632"/>
                    <a:pt x="247590" y="205209"/>
                  </a:cubicBezTo>
                  <a:close/>
                  <a:moveTo>
                    <a:pt x="244539" y="163132"/>
                  </a:moveTo>
                  <a:cubicBezTo>
                    <a:pt x="224144" y="166143"/>
                    <a:pt x="206945" y="164075"/>
                    <a:pt x="206124" y="158514"/>
                  </a:cubicBezTo>
                  <a:cubicBezTo>
                    <a:pt x="205302" y="152952"/>
                    <a:pt x="221169" y="146001"/>
                    <a:pt x="241564" y="142989"/>
                  </a:cubicBezTo>
                  <a:cubicBezTo>
                    <a:pt x="261959" y="139978"/>
                    <a:pt x="279158" y="142045"/>
                    <a:pt x="279979" y="147607"/>
                  </a:cubicBezTo>
                  <a:cubicBezTo>
                    <a:pt x="280800" y="153170"/>
                    <a:pt x="264933" y="160120"/>
                    <a:pt x="244539" y="163132"/>
                  </a:cubicBezTo>
                  <a:close/>
                  <a:moveTo>
                    <a:pt x="182630" y="158122"/>
                  </a:moveTo>
                  <a:cubicBezTo>
                    <a:pt x="164692" y="168280"/>
                    <a:pt x="147903" y="172549"/>
                    <a:pt x="145132" y="167657"/>
                  </a:cubicBezTo>
                  <a:cubicBezTo>
                    <a:pt x="142361" y="162765"/>
                    <a:pt x="154659" y="150564"/>
                    <a:pt x="172598" y="140405"/>
                  </a:cubicBezTo>
                  <a:cubicBezTo>
                    <a:pt x="190537" y="130246"/>
                    <a:pt x="207325" y="125977"/>
                    <a:pt x="210096" y="130870"/>
                  </a:cubicBezTo>
                  <a:cubicBezTo>
                    <a:pt x="212866" y="135763"/>
                    <a:pt x="200569" y="147964"/>
                    <a:pt x="182630" y="158122"/>
                  </a:cubicBezTo>
                  <a:close/>
                  <a:moveTo>
                    <a:pt x="159579" y="200804"/>
                  </a:moveTo>
                  <a:cubicBezTo>
                    <a:pt x="160681" y="200179"/>
                    <a:pt x="161754" y="199654"/>
                    <a:pt x="162844" y="199076"/>
                  </a:cubicBezTo>
                  <a:lnTo>
                    <a:pt x="161283" y="211221"/>
                  </a:lnTo>
                  <a:cubicBezTo>
                    <a:pt x="160813" y="214869"/>
                    <a:pt x="161867" y="218548"/>
                    <a:pt x="164196" y="221394"/>
                  </a:cubicBezTo>
                  <a:cubicBezTo>
                    <a:pt x="148414" y="229410"/>
                    <a:pt x="134602" y="232451"/>
                    <a:pt x="132114" y="228056"/>
                  </a:cubicBezTo>
                  <a:cubicBezTo>
                    <a:pt x="129343" y="223163"/>
                    <a:pt x="141640" y="210962"/>
                    <a:pt x="159579" y="200804"/>
                  </a:cubicBezTo>
                  <a:close/>
                  <a:moveTo>
                    <a:pt x="153493" y="182422"/>
                  </a:moveTo>
                  <a:lnTo>
                    <a:pt x="152022" y="179825"/>
                  </a:lnTo>
                  <a:cubicBezTo>
                    <a:pt x="164651" y="178027"/>
                    <a:pt x="176776" y="173655"/>
                    <a:pt x="187647" y="166981"/>
                  </a:cubicBezTo>
                  <a:cubicBezTo>
                    <a:pt x="190066" y="165611"/>
                    <a:pt x="193094" y="163783"/>
                    <a:pt x="196299" y="161672"/>
                  </a:cubicBezTo>
                  <a:lnTo>
                    <a:pt x="197374" y="168952"/>
                  </a:lnTo>
                  <a:cubicBezTo>
                    <a:pt x="195328" y="170279"/>
                    <a:pt x="193254" y="171605"/>
                    <a:pt x="190991" y="172887"/>
                  </a:cubicBezTo>
                  <a:cubicBezTo>
                    <a:pt x="173052" y="183045"/>
                    <a:pt x="156263" y="187314"/>
                    <a:pt x="153493" y="182422"/>
                  </a:cubicBezTo>
                  <a:close/>
                  <a:moveTo>
                    <a:pt x="171760" y="209558"/>
                  </a:moveTo>
                  <a:cubicBezTo>
                    <a:pt x="182944" y="215693"/>
                    <a:pt x="195269" y="219466"/>
                    <a:pt x="207970" y="220644"/>
                  </a:cubicBezTo>
                  <a:cubicBezTo>
                    <a:pt x="220557" y="222717"/>
                    <a:pt x="233435" y="222184"/>
                    <a:pt x="245807" y="219077"/>
                  </a:cubicBezTo>
                  <a:lnTo>
                    <a:pt x="245427" y="222037"/>
                  </a:lnTo>
                  <a:cubicBezTo>
                    <a:pt x="244710" y="227614"/>
                    <a:pt x="227553" y="230004"/>
                    <a:pt x="207105" y="227376"/>
                  </a:cubicBezTo>
                  <a:cubicBezTo>
                    <a:pt x="186658" y="224748"/>
                    <a:pt x="170663" y="218096"/>
                    <a:pt x="171380" y="212519"/>
                  </a:cubicBezTo>
                  <a:close/>
                  <a:moveTo>
                    <a:pt x="206087" y="243559"/>
                  </a:moveTo>
                  <a:lnTo>
                    <a:pt x="268538" y="243559"/>
                  </a:lnTo>
                  <a:lnTo>
                    <a:pt x="268538" y="306010"/>
                  </a:lnTo>
                  <a:cubicBezTo>
                    <a:pt x="268538" y="323255"/>
                    <a:pt x="254559" y="337235"/>
                    <a:pt x="237313" y="337235"/>
                  </a:cubicBezTo>
                  <a:cubicBezTo>
                    <a:pt x="220068" y="337235"/>
                    <a:pt x="206087" y="323255"/>
                    <a:pt x="206087" y="306010"/>
                  </a:cubicBezTo>
                  <a:close/>
                  <a:moveTo>
                    <a:pt x="265948" y="223231"/>
                  </a:moveTo>
                  <a:cubicBezTo>
                    <a:pt x="262390" y="222774"/>
                    <a:pt x="258975" y="222192"/>
                    <a:pt x="255758" y="221517"/>
                  </a:cubicBezTo>
                  <a:lnTo>
                    <a:pt x="256622" y="214801"/>
                  </a:lnTo>
                  <a:cubicBezTo>
                    <a:pt x="260456" y="215572"/>
                    <a:pt x="264012" y="216140"/>
                    <a:pt x="266814" y="216500"/>
                  </a:cubicBezTo>
                  <a:cubicBezTo>
                    <a:pt x="279400" y="218573"/>
                    <a:pt x="292279" y="218040"/>
                    <a:pt x="304650" y="214933"/>
                  </a:cubicBezTo>
                  <a:lnTo>
                    <a:pt x="304269" y="217893"/>
                  </a:lnTo>
                  <a:cubicBezTo>
                    <a:pt x="303553" y="223470"/>
                    <a:pt x="286396" y="225860"/>
                    <a:pt x="265948" y="223231"/>
                  </a:cubicBezTo>
                  <a:close/>
                  <a:moveTo>
                    <a:pt x="268111" y="206403"/>
                  </a:moveTo>
                  <a:cubicBezTo>
                    <a:pt x="264473" y="205935"/>
                    <a:pt x="260997" y="205329"/>
                    <a:pt x="257711" y="204635"/>
                  </a:cubicBezTo>
                  <a:cubicBezTo>
                    <a:pt x="257172" y="198290"/>
                    <a:pt x="253231" y="192739"/>
                    <a:pt x="247419" y="190138"/>
                  </a:cubicBezTo>
                  <a:cubicBezTo>
                    <a:pt x="247775" y="190088"/>
                    <a:pt x="248169" y="190038"/>
                    <a:pt x="248505" y="189988"/>
                  </a:cubicBezTo>
                  <a:cubicBezTo>
                    <a:pt x="254933" y="189053"/>
                    <a:pt x="261288" y="187668"/>
                    <a:pt x="267523" y="185843"/>
                  </a:cubicBezTo>
                  <a:cubicBezTo>
                    <a:pt x="268576" y="185954"/>
                    <a:pt x="269634" y="186070"/>
                    <a:pt x="270707" y="186208"/>
                  </a:cubicBezTo>
                  <a:cubicBezTo>
                    <a:pt x="291154" y="188836"/>
                    <a:pt x="307149" y="195488"/>
                    <a:pt x="306433" y="201065"/>
                  </a:cubicBezTo>
                  <a:cubicBezTo>
                    <a:pt x="305716" y="206641"/>
                    <a:pt x="288558" y="209031"/>
                    <a:pt x="268111" y="206403"/>
                  </a:cubicBezTo>
                  <a:close/>
                  <a:moveTo>
                    <a:pt x="306334" y="184168"/>
                  </a:moveTo>
                  <a:cubicBezTo>
                    <a:pt x="299558" y="182222"/>
                    <a:pt x="292972" y="179666"/>
                    <a:pt x="286657" y="176533"/>
                  </a:cubicBezTo>
                  <a:cubicBezTo>
                    <a:pt x="288397" y="175077"/>
                    <a:pt x="289859" y="173318"/>
                    <a:pt x="290975" y="171343"/>
                  </a:cubicBezTo>
                  <a:cubicBezTo>
                    <a:pt x="296587" y="173824"/>
                    <a:pt x="302357" y="175933"/>
                    <a:pt x="308247" y="177657"/>
                  </a:cubicBezTo>
                  <a:cubicBezTo>
                    <a:pt x="320351" y="181682"/>
                    <a:pt x="333153" y="183180"/>
                    <a:pt x="345859" y="182058"/>
                  </a:cubicBezTo>
                  <a:lnTo>
                    <a:pt x="345018" y="184921"/>
                  </a:lnTo>
                  <a:cubicBezTo>
                    <a:pt x="343433" y="190315"/>
                    <a:pt x="326114" y="189978"/>
                    <a:pt x="306334" y="184168"/>
                  </a:cubicBezTo>
                  <a:close/>
                  <a:moveTo>
                    <a:pt x="289423" y="143779"/>
                  </a:moveTo>
                  <a:cubicBezTo>
                    <a:pt x="298734" y="144032"/>
                    <a:pt x="307965" y="145572"/>
                    <a:pt x="316855" y="148353"/>
                  </a:cubicBezTo>
                  <a:cubicBezTo>
                    <a:pt x="336634" y="154164"/>
                    <a:pt x="351385" y="163247"/>
                    <a:pt x="349800" y="168642"/>
                  </a:cubicBezTo>
                  <a:cubicBezTo>
                    <a:pt x="348215" y="174036"/>
                    <a:pt x="330896" y="173699"/>
                    <a:pt x="311116" y="167889"/>
                  </a:cubicBezTo>
                  <a:cubicBezTo>
                    <a:pt x="304609" y="166011"/>
                    <a:pt x="298277" y="163576"/>
                    <a:pt x="292190" y="160608"/>
                  </a:cubicBezTo>
                  <a:lnTo>
                    <a:pt x="290050" y="146121"/>
                  </a:lnTo>
                  <a:cubicBezTo>
                    <a:pt x="289910" y="145323"/>
                    <a:pt x="289701" y="144539"/>
                    <a:pt x="289423" y="143778"/>
                  </a:cubicBezTo>
                  <a:close/>
                  <a:moveTo>
                    <a:pt x="340743" y="208432"/>
                  </a:moveTo>
                  <a:cubicBezTo>
                    <a:pt x="332515" y="213307"/>
                    <a:pt x="323623" y="216961"/>
                    <a:pt x="314345" y="219281"/>
                  </a:cubicBezTo>
                  <a:lnTo>
                    <a:pt x="314367" y="219191"/>
                  </a:lnTo>
                  <a:lnTo>
                    <a:pt x="316530" y="202363"/>
                  </a:lnTo>
                  <a:cubicBezTo>
                    <a:pt x="316608" y="201581"/>
                    <a:pt x="316618" y="200794"/>
                    <a:pt x="316561" y="200010"/>
                  </a:cubicBezTo>
                  <a:cubicBezTo>
                    <a:pt x="317556" y="199247"/>
                    <a:pt x="318588" y="198482"/>
                    <a:pt x="319669" y="197715"/>
                  </a:cubicBezTo>
                  <a:cubicBezTo>
                    <a:pt x="334222" y="200171"/>
                    <a:pt x="351164" y="200120"/>
                    <a:pt x="354786" y="187791"/>
                  </a:cubicBezTo>
                  <a:lnTo>
                    <a:pt x="357100" y="179914"/>
                  </a:lnTo>
                  <a:cubicBezTo>
                    <a:pt x="362846" y="178691"/>
                    <a:pt x="366964" y="178984"/>
                    <a:pt x="368208" y="181180"/>
                  </a:cubicBezTo>
                  <a:cubicBezTo>
                    <a:pt x="370979" y="186072"/>
                    <a:pt x="358681" y="198274"/>
                    <a:pt x="340743" y="208432"/>
                  </a:cubicBezTo>
                  <a:close/>
                  <a:moveTo>
                    <a:pt x="51785" y="162373"/>
                  </a:moveTo>
                  <a:lnTo>
                    <a:pt x="88783" y="162373"/>
                  </a:lnTo>
                  <a:lnTo>
                    <a:pt x="85144" y="172305"/>
                  </a:lnTo>
                  <a:cubicBezTo>
                    <a:pt x="83493" y="177091"/>
                    <a:pt x="84475" y="182392"/>
                    <a:pt x="87730" y="186269"/>
                  </a:cubicBezTo>
                  <a:cubicBezTo>
                    <a:pt x="71917" y="188657"/>
                    <a:pt x="48469" y="194817"/>
                    <a:pt x="50041" y="210350"/>
                  </a:cubicBezTo>
                  <a:lnTo>
                    <a:pt x="51749" y="227231"/>
                  </a:lnTo>
                  <a:cubicBezTo>
                    <a:pt x="51897" y="228555"/>
                    <a:pt x="52243" y="229848"/>
                    <a:pt x="52777" y="231068"/>
                  </a:cubicBezTo>
                  <a:lnTo>
                    <a:pt x="16477" y="231068"/>
                  </a:lnTo>
                  <a:close/>
                  <a:moveTo>
                    <a:pt x="12490" y="424666"/>
                  </a:moveTo>
                  <a:lnTo>
                    <a:pt x="12490" y="368777"/>
                  </a:lnTo>
                  <a:cubicBezTo>
                    <a:pt x="42021" y="371787"/>
                    <a:pt x="65370" y="395136"/>
                    <a:pt x="68379" y="424666"/>
                  </a:cubicBezTo>
                  <a:close/>
                  <a:moveTo>
                    <a:pt x="462137" y="424666"/>
                  </a:moveTo>
                  <a:lnTo>
                    <a:pt x="406247" y="424666"/>
                  </a:lnTo>
                  <a:cubicBezTo>
                    <a:pt x="409257" y="395136"/>
                    <a:pt x="432606" y="371787"/>
                    <a:pt x="462137" y="368777"/>
                  </a:cubicBezTo>
                  <a:close/>
                  <a:moveTo>
                    <a:pt x="462137" y="356287"/>
                  </a:moveTo>
                  <a:cubicBezTo>
                    <a:pt x="425727" y="359375"/>
                    <a:pt x="396846" y="388257"/>
                    <a:pt x="393757" y="424666"/>
                  </a:cubicBezTo>
                  <a:lnTo>
                    <a:pt x="80870" y="424666"/>
                  </a:lnTo>
                  <a:cubicBezTo>
                    <a:pt x="77781" y="388257"/>
                    <a:pt x="48899" y="359375"/>
                    <a:pt x="12490" y="356287"/>
                  </a:cubicBezTo>
                  <a:lnTo>
                    <a:pt x="12490" y="243559"/>
                  </a:lnTo>
                  <a:lnTo>
                    <a:pt x="193597" y="243559"/>
                  </a:lnTo>
                  <a:lnTo>
                    <a:pt x="193597" y="306010"/>
                  </a:lnTo>
                  <a:cubicBezTo>
                    <a:pt x="193597" y="330153"/>
                    <a:pt x="213170" y="349725"/>
                    <a:pt x="237313" y="349725"/>
                  </a:cubicBezTo>
                  <a:cubicBezTo>
                    <a:pt x="261456" y="349725"/>
                    <a:pt x="281029" y="330153"/>
                    <a:pt x="281029" y="306010"/>
                  </a:cubicBezTo>
                  <a:lnTo>
                    <a:pt x="281029" y="243559"/>
                  </a:lnTo>
                  <a:lnTo>
                    <a:pt x="462137" y="243559"/>
                  </a:lnTo>
                  <a:close/>
                  <a:moveTo>
                    <a:pt x="458147" y="231068"/>
                  </a:moveTo>
                  <a:lnTo>
                    <a:pt x="428199" y="231068"/>
                  </a:lnTo>
                  <a:cubicBezTo>
                    <a:pt x="432698" y="228152"/>
                    <a:pt x="435249" y="223015"/>
                    <a:pt x="434853" y="217667"/>
                  </a:cubicBezTo>
                  <a:lnTo>
                    <a:pt x="433145" y="200786"/>
                  </a:lnTo>
                  <a:cubicBezTo>
                    <a:pt x="431296" y="182502"/>
                    <a:pt x="398040" y="183872"/>
                    <a:pt x="383828" y="185311"/>
                  </a:cubicBezTo>
                  <a:cubicBezTo>
                    <a:pt x="383391" y="185355"/>
                    <a:pt x="382818" y="185436"/>
                    <a:pt x="382347" y="185488"/>
                  </a:cubicBezTo>
                  <a:lnTo>
                    <a:pt x="377066" y="176163"/>
                  </a:lnTo>
                  <a:cubicBezTo>
                    <a:pt x="373366" y="170517"/>
                    <a:pt x="366569" y="167734"/>
                    <a:pt x="359972" y="169166"/>
                  </a:cubicBezTo>
                  <a:cubicBezTo>
                    <a:pt x="360224" y="166737"/>
                    <a:pt x="359800" y="164285"/>
                    <a:pt x="358746" y="162081"/>
                  </a:cubicBezTo>
                  <a:lnTo>
                    <a:pt x="359380" y="162373"/>
                  </a:lnTo>
                  <a:lnTo>
                    <a:pt x="422817" y="162373"/>
                  </a:lnTo>
                  <a:close/>
                </a:path>
              </a:pathLst>
            </a:custGeom>
            <a:solidFill>
              <a:schemeClr val="lt1"/>
            </a:solidFill>
            <a:ln w="8202" cap="flat">
              <a:solidFill>
                <a:schemeClr val="accent5"/>
              </a:solidFill>
              <a:prstDash val="solid"/>
              <a:miter/>
            </a:ln>
          </p:spPr>
          <p:txBody>
            <a:bodyPr rtlCol="0" anchor="ctr"/>
            <a:lstStyle/>
            <a:p>
              <a:endParaRPr lang="en-GB"/>
            </a:p>
          </p:txBody>
        </p:sp>
        <p:sp>
          <p:nvSpPr>
            <p:cNvPr id="152" name="Frihandsfigur: Form 151">
              <a:extLst>
                <a:ext uri="{FF2B5EF4-FFF2-40B4-BE49-F238E27FC236}">
                  <a16:creationId xmlns:a16="http://schemas.microsoft.com/office/drawing/2014/main" id="{2A005AD6-8FC1-1E80-243E-8EEACBA8D1D5}"/>
                </a:ext>
              </a:extLst>
            </p:cNvPr>
            <p:cNvSpPr/>
            <p:nvPr/>
          </p:nvSpPr>
          <p:spPr>
            <a:xfrm>
              <a:off x="15899720" y="7309480"/>
              <a:ext cx="37470" cy="37470"/>
            </a:xfrm>
            <a:custGeom>
              <a:avLst/>
              <a:gdLst>
                <a:gd name="connsiteX0" fmla="*/ 18735 w 37470"/>
                <a:gd name="connsiteY0" fmla="*/ 37471 h 37470"/>
                <a:gd name="connsiteX1" fmla="*/ 37471 w 37470"/>
                <a:gd name="connsiteY1" fmla="*/ 18735 h 37470"/>
                <a:gd name="connsiteX2" fmla="*/ 18735 w 37470"/>
                <a:gd name="connsiteY2" fmla="*/ 0 h 37470"/>
                <a:gd name="connsiteX3" fmla="*/ 0 w 37470"/>
                <a:gd name="connsiteY3" fmla="*/ 18735 h 37470"/>
                <a:gd name="connsiteX4" fmla="*/ 18735 w 37470"/>
                <a:gd name="connsiteY4" fmla="*/ 37471 h 37470"/>
                <a:gd name="connsiteX5" fmla="*/ 18735 w 37470"/>
                <a:gd name="connsiteY5" fmla="*/ 12490 h 37470"/>
                <a:gd name="connsiteX6" fmla="*/ 24980 w 37470"/>
                <a:gd name="connsiteY6" fmla="*/ 18735 h 37470"/>
                <a:gd name="connsiteX7" fmla="*/ 18735 w 37470"/>
                <a:gd name="connsiteY7" fmla="*/ 24980 h 37470"/>
                <a:gd name="connsiteX8" fmla="*/ 12490 w 37470"/>
                <a:gd name="connsiteY8" fmla="*/ 18735 h 37470"/>
                <a:gd name="connsiteX9" fmla="*/ 18735 w 37470"/>
                <a:gd name="connsiteY9" fmla="*/ 12490 h 37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470" h="37470">
                  <a:moveTo>
                    <a:pt x="18735" y="37471"/>
                  </a:moveTo>
                  <a:cubicBezTo>
                    <a:pt x="29082" y="37471"/>
                    <a:pt x="37471" y="29083"/>
                    <a:pt x="37471" y="18735"/>
                  </a:cubicBezTo>
                  <a:cubicBezTo>
                    <a:pt x="37471" y="8388"/>
                    <a:pt x="29082" y="0"/>
                    <a:pt x="18735" y="0"/>
                  </a:cubicBezTo>
                  <a:cubicBezTo>
                    <a:pt x="8388" y="0"/>
                    <a:pt x="0" y="8388"/>
                    <a:pt x="0" y="18735"/>
                  </a:cubicBezTo>
                  <a:cubicBezTo>
                    <a:pt x="0" y="29083"/>
                    <a:pt x="8388" y="37471"/>
                    <a:pt x="18735" y="37471"/>
                  </a:cubicBezTo>
                  <a:close/>
                  <a:moveTo>
                    <a:pt x="18735" y="12490"/>
                  </a:moveTo>
                  <a:cubicBezTo>
                    <a:pt x="22184" y="12490"/>
                    <a:pt x="24980" y="15286"/>
                    <a:pt x="24980" y="18735"/>
                  </a:cubicBezTo>
                  <a:cubicBezTo>
                    <a:pt x="24980" y="22184"/>
                    <a:pt x="22184" y="24980"/>
                    <a:pt x="18735" y="24980"/>
                  </a:cubicBezTo>
                  <a:cubicBezTo>
                    <a:pt x="15286" y="24980"/>
                    <a:pt x="12490" y="22184"/>
                    <a:pt x="12490" y="18735"/>
                  </a:cubicBezTo>
                  <a:cubicBezTo>
                    <a:pt x="12494" y="15288"/>
                    <a:pt x="15288" y="12494"/>
                    <a:pt x="18735" y="12490"/>
                  </a:cubicBezTo>
                  <a:close/>
                </a:path>
              </a:pathLst>
            </a:custGeom>
            <a:solidFill>
              <a:schemeClr val="lt1"/>
            </a:solidFill>
            <a:ln w="8202" cap="flat">
              <a:solidFill>
                <a:schemeClr val="accent5"/>
              </a:solidFill>
              <a:prstDash val="solid"/>
              <a:miter/>
            </a:ln>
          </p:spPr>
          <p:txBody>
            <a:bodyPr rtlCol="0" anchor="ctr"/>
            <a:lstStyle/>
            <a:p>
              <a:endParaRPr lang="en-GB"/>
            </a:p>
          </p:txBody>
        </p:sp>
      </p:grpSp>
      <p:sp>
        <p:nvSpPr>
          <p:cNvPr id="154" name="Bild 144" descr="Euro med hel fyllning">
            <a:extLst>
              <a:ext uri="{FF2B5EF4-FFF2-40B4-BE49-F238E27FC236}">
                <a16:creationId xmlns:a16="http://schemas.microsoft.com/office/drawing/2014/main" id="{309838D4-4813-4E05-1460-54E48D9F9266}"/>
              </a:ext>
            </a:extLst>
          </p:cNvPr>
          <p:cNvSpPr/>
          <p:nvPr/>
        </p:nvSpPr>
        <p:spPr>
          <a:xfrm rot="18205641">
            <a:off x="8295704" y="6987551"/>
            <a:ext cx="206621" cy="278254"/>
          </a:xfrm>
          <a:custGeom>
            <a:avLst/>
            <a:gdLst>
              <a:gd name="connsiteX0" fmla="*/ 194885 w 206621"/>
              <a:gd name="connsiteY0" fmla="*/ 237586 h 278254"/>
              <a:gd name="connsiteX1" fmla="*/ 133776 w 206621"/>
              <a:gd name="connsiteY1" fmla="*/ 256850 h 278254"/>
              <a:gd name="connsiteX2" fmla="*/ 49051 w 206621"/>
              <a:gd name="connsiteY2" fmla="*/ 171234 h 278254"/>
              <a:gd name="connsiteX3" fmla="*/ 149829 w 206621"/>
              <a:gd name="connsiteY3" fmla="*/ 171234 h 278254"/>
              <a:gd name="connsiteX4" fmla="*/ 149829 w 206621"/>
              <a:gd name="connsiteY4" fmla="*/ 149829 h 278254"/>
              <a:gd name="connsiteX5" fmla="*/ 46590 w 206621"/>
              <a:gd name="connsiteY5" fmla="*/ 149829 h 278254"/>
              <a:gd name="connsiteX6" fmla="*/ 46376 w 206621"/>
              <a:gd name="connsiteY6" fmla="*/ 139127 h 278254"/>
              <a:gd name="connsiteX7" fmla="*/ 46661 w 206621"/>
              <a:gd name="connsiteY7" fmla="*/ 128425 h 278254"/>
              <a:gd name="connsiteX8" fmla="*/ 149829 w 206621"/>
              <a:gd name="connsiteY8" fmla="*/ 128425 h 278254"/>
              <a:gd name="connsiteX9" fmla="*/ 149829 w 206621"/>
              <a:gd name="connsiteY9" fmla="*/ 107021 h 278254"/>
              <a:gd name="connsiteX10" fmla="*/ 49051 w 206621"/>
              <a:gd name="connsiteY10" fmla="*/ 107021 h 278254"/>
              <a:gd name="connsiteX11" fmla="*/ 133776 w 206621"/>
              <a:gd name="connsiteY11" fmla="*/ 21404 h 278254"/>
              <a:gd name="connsiteX12" fmla="*/ 194885 w 206621"/>
              <a:gd name="connsiteY12" fmla="*/ 40668 h 278254"/>
              <a:gd name="connsiteX13" fmla="*/ 206622 w 206621"/>
              <a:gd name="connsiteY13" fmla="*/ 22831 h 278254"/>
              <a:gd name="connsiteX14" fmla="*/ 133776 w 206621"/>
              <a:gd name="connsiteY14" fmla="*/ 0 h 278254"/>
              <a:gd name="connsiteX15" fmla="*/ 27397 w 206621"/>
              <a:gd name="connsiteY15" fmla="*/ 107021 h 278254"/>
              <a:gd name="connsiteX16" fmla="*/ 0 w 206621"/>
              <a:gd name="connsiteY16" fmla="*/ 107021 h 278254"/>
              <a:gd name="connsiteX17" fmla="*/ 0 w 206621"/>
              <a:gd name="connsiteY17" fmla="*/ 128425 h 278254"/>
              <a:gd name="connsiteX18" fmla="*/ 25328 w 206621"/>
              <a:gd name="connsiteY18" fmla="*/ 128425 h 278254"/>
              <a:gd name="connsiteX19" fmla="*/ 25043 w 206621"/>
              <a:gd name="connsiteY19" fmla="*/ 139127 h 278254"/>
              <a:gd name="connsiteX20" fmla="*/ 25328 w 206621"/>
              <a:gd name="connsiteY20" fmla="*/ 149829 h 278254"/>
              <a:gd name="connsiteX21" fmla="*/ 0 w 206621"/>
              <a:gd name="connsiteY21" fmla="*/ 149829 h 278254"/>
              <a:gd name="connsiteX22" fmla="*/ 0 w 206621"/>
              <a:gd name="connsiteY22" fmla="*/ 171234 h 278254"/>
              <a:gd name="connsiteX23" fmla="*/ 27397 w 206621"/>
              <a:gd name="connsiteY23" fmla="*/ 171234 h 278254"/>
              <a:gd name="connsiteX24" fmla="*/ 133776 w 206621"/>
              <a:gd name="connsiteY24" fmla="*/ 278254 h 278254"/>
              <a:gd name="connsiteX25" fmla="*/ 206622 w 206621"/>
              <a:gd name="connsiteY25" fmla="*/ 255352 h 278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06621" h="278254">
                <a:moveTo>
                  <a:pt x="194885" y="237586"/>
                </a:moveTo>
                <a:cubicBezTo>
                  <a:pt x="176863" y="249897"/>
                  <a:pt x="155601" y="256600"/>
                  <a:pt x="133776" y="256850"/>
                </a:cubicBezTo>
                <a:cubicBezTo>
                  <a:pt x="81728" y="256850"/>
                  <a:pt x="56757" y="215683"/>
                  <a:pt x="49051" y="171234"/>
                </a:cubicBezTo>
                <a:lnTo>
                  <a:pt x="149829" y="171234"/>
                </a:lnTo>
                <a:lnTo>
                  <a:pt x="149829" y="149829"/>
                </a:lnTo>
                <a:lnTo>
                  <a:pt x="46590" y="149829"/>
                </a:lnTo>
                <a:cubicBezTo>
                  <a:pt x="46376" y="146262"/>
                  <a:pt x="46376" y="142695"/>
                  <a:pt x="46376" y="139127"/>
                </a:cubicBezTo>
                <a:cubicBezTo>
                  <a:pt x="46376" y="135560"/>
                  <a:pt x="46376" y="131992"/>
                  <a:pt x="46661" y="128425"/>
                </a:cubicBezTo>
                <a:lnTo>
                  <a:pt x="149829" y="128425"/>
                </a:lnTo>
                <a:lnTo>
                  <a:pt x="149829" y="107021"/>
                </a:lnTo>
                <a:lnTo>
                  <a:pt x="49051" y="107021"/>
                </a:lnTo>
                <a:cubicBezTo>
                  <a:pt x="56757" y="62572"/>
                  <a:pt x="81728" y="21404"/>
                  <a:pt x="133776" y="21404"/>
                </a:cubicBezTo>
                <a:cubicBezTo>
                  <a:pt x="155598" y="21667"/>
                  <a:pt x="176857" y="28369"/>
                  <a:pt x="194885" y="40668"/>
                </a:cubicBezTo>
                <a:lnTo>
                  <a:pt x="206622" y="22831"/>
                </a:lnTo>
                <a:cubicBezTo>
                  <a:pt x="185119" y="8212"/>
                  <a:pt x="159777" y="269"/>
                  <a:pt x="133776" y="0"/>
                </a:cubicBezTo>
                <a:cubicBezTo>
                  <a:pt x="77519" y="0"/>
                  <a:pt x="37243" y="41917"/>
                  <a:pt x="27397" y="107021"/>
                </a:cubicBezTo>
                <a:lnTo>
                  <a:pt x="0" y="107021"/>
                </a:lnTo>
                <a:lnTo>
                  <a:pt x="0" y="128425"/>
                </a:lnTo>
                <a:lnTo>
                  <a:pt x="25328" y="128425"/>
                </a:lnTo>
                <a:cubicBezTo>
                  <a:pt x="25150" y="131992"/>
                  <a:pt x="25043" y="135560"/>
                  <a:pt x="25043" y="139127"/>
                </a:cubicBezTo>
                <a:cubicBezTo>
                  <a:pt x="25043" y="142695"/>
                  <a:pt x="25043" y="146262"/>
                  <a:pt x="25328" y="149829"/>
                </a:cubicBezTo>
                <a:lnTo>
                  <a:pt x="0" y="149829"/>
                </a:lnTo>
                <a:lnTo>
                  <a:pt x="0" y="171234"/>
                </a:lnTo>
                <a:lnTo>
                  <a:pt x="27397" y="171234"/>
                </a:lnTo>
                <a:cubicBezTo>
                  <a:pt x="37243" y="236338"/>
                  <a:pt x="77340" y="278254"/>
                  <a:pt x="133776" y="278254"/>
                </a:cubicBezTo>
                <a:cubicBezTo>
                  <a:pt x="159784" y="277964"/>
                  <a:pt x="185127" y="269997"/>
                  <a:pt x="206622" y="255352"/>
                </a:cubicBezTo>
                <a:close/>
              </a:path>
            </a:pathLst>
          </a:custGeom>
          <a:solidFill>
            <a:schemeClr val="lt1"/>
          </a:solidFill>
          <a:ln w="4630" cap="flat">
            <a:solidFill>
              <a:schemeClr val="accent5"/>
            </a:solidFill>
            <a:prstDash val="solid"/>
            <a:miter/>
          </a:ln>
        </p:spPr>
        <p:txBody>
          <a:bodyPr rtlCol="0" anchor="ctr"/>
          <a:lstStyle/>
          <a:p>
            <a:endParaRPr lang="en-GB"/>
          </a:p>
        </p:txBody>
      </p:sp>
      <p:grpSp>
        <p:nvGrpSpPr>
          <p:cNvPr id="155" name="Bild 2" descr="Lastbil kontur">
            <a:extLst>
              <a:ext uri="{FF2B5EF4-FFF2-40B4-BE49-F238E27FC236}">
                <a16:creationId xmlns:a16="http://schemas.microsoft.com/office/drawing/2014/main" id="{E171C55C-A435-9747-D73F-283CCEFCB682}"/>
              </a:ext>
            </a:extLst>
          </p:cNvPr>
          <p:cNvGrpSpPr/>
          <p:nvPr/>
        </p:nvGrpSpPr>
        <p:grpSpPr>
          <a:xfrm>
            <a:off x="13253493" y="4146761"/>
            <a:ext cx="838200" cy="476345"/>
            <a:chOff x="12550105" y="4329639"/>
            <a:chExt cx="838200" cy="476345"/>
          </a:xfrm>
          <a:solidFill>
            <a:schemeClr val="lt1"/>
          </a:solidFill>
        </p:grpSpPr>
        <p:sp>
          <p:nvSpPr>
            <p:cNvPr id="156" name="Frihandsfigur: Form 155">
              <a:extLst>
                <a:ext uri="{FF2B5EF4-FFF2-40B4-BE49-F238E27FC236}">
                  <a16:creationId xmlns:a16="http://schemas.microsoft.com/office/drawing/2014/main" id="{9725CDBB-A822-789C-FEAC-D9888AB4204C}"/>
                </a:ext>
              </a:extLst>
            </p:cNvPr>
            <p:cNvSpPr/>
            <p:nvPr/>
          </p:nvSpPr>
          <p:spPr>
            <a:xfrm>
              <a:off x="12645355" y="4653584"/>
              <a:ext cx="152400" cy="152400"/>
            </a:xfrm>
            <a:custGeom>
              <a:avLst/>
              <a:gdLst>
                <a:gd name="connsiteX0" fmla="*/ 76200 w 152400"/>
                <a:gd name="connsiteY0" fmla="*/ 0 h 152400"/>
                <a:gd name="connsiteX1" fmla="*/ 0 w 152400"/>
                <a:gd name="connsiteY1" fmla="*/ 76200 h 152400"/>
                <a:gd name="connsiteX2" fmla="*/ 76200 w 152400"/>
                <a:gd name="connsiteY2" fmla="*/ 152400 h 152400"/>
                <a:gd name="connsiteX3" fmla="*/ 152400 w 152400"/>
                <a:gd name="connsiteY3" fmla="*/ 76200 h 152400"/>
                <a:gd name="connsiteX4" fmla="*/ 76200 w 152400"/>
                <a:gd name="connsiteY4" fmla="*/ 0 h 152400"/>
                <a:gd name="connsiteX5" fmla="*/ 76200 w 152400"/>
                <a:gd name="connsiteY5" fmla="*/ 133350 h 152400"/>
                <a:gd name="connsiteX6" fmla="*/ 19050 w 152400"/>
                <a:gd name="connsiteY6" fmla="*/ 76200 h 152400"/>
                <a:gd name="connsiteX7" fmla="*/ 76200 w 152400"/>
                <a:gd name="connsiteY7" fmla="*/ 19050 h 152400"/>
                <a:gd name="connsiteX8" fmla="*/ 133350 w 152400"/>
                <a:gd name="connsiteY8" fmla="*/ 76200 h 152400"/>
                <a:gd name="connsiteX9" fmla="*/ 76200 w 152400"/>
                <a:gd name="connsiteY9" fmla="*/ 133388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2400" h="152400">
                  <a:moveTo>
                    <a:pt x="76200" y="0"/>
                  </a:moveTo>
                  <a:cubicBezTo>
                    <a:pt x="34116" y="0"/>
                    <a:pt x="0" y="34116"/>
                    <a:pt x="0" y="76200"/>
                  </a:cubicBezTo>
                  <a:cubicBezTo>
                    <a:pt x="0" y="118284"/>
                    <a:pt x="34116" y="152400"/>
                    <a:pt x="76200" y="152400"/>
                  </a:cubicBezTo>
                  <a:cubicBezTo>
                    <a:pt x="118284" y="152400"/>
                    <a:pt x="152400" y="118284"/>
                    <a:pt x="152400" y="76200"/>
                  </a:cubicBezTo>
                  <a:cubicBezTo>
                    <a:pt x="152348" y="34138"/>
                    <a:pt x="118262" y="52"/>
                    <a:pt x="76200" y="0"/>
                  </a:cubicBezTo>
                  <a:close/>
                  <a:moveTo>
                    <a:pt x="76200" y="133350"/>
                  </a:moveTo>
                  <a:cubicBezTo>
                    <a:pt x="44637" y="133350"/>
                    <a:pt x="19050" y="107763"/>
                    <a:pt x="19050" y="76200"/>
                  </a:cubicBezTo>
                  <a:cubicBezTo>
                    <a:pt x="19050" y="44637"/>
                    <a:pt x="44637" y="19050"/>
                    <a:pt x="76200" y="19050"/>
                  </a:cubicBezTo>
                  <a:cubicBezTo>
                    <a:pt x="107763" y="19050"/>
                    <a:pt x="133350" y="44637"/>
                    <a:pt x="133350" y="76200"/>
                  </a:cubicBezTo>
                  <a:cubicBezTo>
                    <a:pt x="133329" y="107760"/>
                    <a:pt x="107760" y="133346"/>
                    <a:pt x="76200" y="133388"/>
                  </a:cubicBezTo>
                  <a:close/>
                </a:path>
              </a:pathLst>
            </a:custGeom>
            <a:solidFill>
              <a:schemeClr val="lt1"/>
            </a:solidFill>
            <a:ln w="12700" cap="flat">
              <a:solidFill>
                <a:schemeClr val="accent5"/>
              </a:solidFill>
              <a:prstDash val="solid"/>
              <a:miter/>
            </a:ln>
          </p:spPr>
          <p:txBody>
            <a:bodyPr rtlCol="0" anchor="ctr"/>
            <a:lstStyle/>
            <a:p>
              <a:endParaRPr lang="en-GB"/>
            </a:p>
          </p:txBody>
        </p:sp>
        <p:sp>
          <p:nvSpPr>
            <p:cNvPr id="157" name="Frihandsfigur: Form 156">
              <a:extLst>
                <a:ext uri="{FF2B5EF4-FFF2-40B4-BE49-F238E27FC236}">
                  <a16:creationId xmlns:a16="http://schemas.microsoft.com/office/drawing/2014/main" id="{CE87BD0E-B866-5032-6AFB-4860BACB3209}"/>
                </a:ext>
              </a:extLst>
            </p:cNvPr>
            <p:cNvSpPr/>
            <p:nvPr/>
          </p:nvSpPr>
          <p:spPr>
            <a:xfrm>
              <a:off x="12550105" y="4329639"/>
              <a:ext cx="838200" cy="400164"/>
            </a:xfrm>
            <a:custGeom>
              <a:avLst/>
              <a:gdLst>
                <a:gd name="connsiteX0" fmla="*/ 822960 w 838200"/>
                <a:gd name="connsiteY0" fmla="*/ 236287 h 400164"/>
                <a:gd name="connsiteX1" fmla="*/ 772478 w 838200"/>
                <a:gd name="connsiteY1" fmla="*/ 198187 h 400164"/>
                <a:gd name="connsiteX2" fmla="*/ 759143 w 838200"/>
                <a:gd name="connsiteY2" fmla="*/ 178184 h 400164"/>
                <a:gd name="connsiteX3" fmla="*/ 740093 w 838200"/>
                <a:gd name="connsiteY3" fmla="*/ 112462 h 400164"/>
                <a:gd name="connsiteX4" fmla="*/ 666750 w 838200"/>
                <a:gd name="connsiteY4" fmla="*/ 57150 h 400164"/>
                <a:gd name="connsiteX5" fmla="*/ 571500 w 838200"/>
                <a:gd name="connsiteY5" fmla="*/ 57150 h 400164"/>
                <a:gd name="connsiteX6" fmla="*/ 571500 w 838200"/>
                <a:gd name="connsiteY6" fmla="*/ 0 h 400164"/>
                <a:gd name="connsiteX7" fmla="*/ 0 w 838200"/>
                <a:gd name="connsiteY7" fmla="*/ 0 h 400164"/>
                <a:gd name="connsiteX8" fmla="*/ 0 w 838200"/>
                <a:gd name="connsiteY8" fmla="*/ 400164 h 400164"/>
                <a:gd name="connsiteX9" fmla="*/ 76200 w 838200"/>
                <a:gd name="connsiteY9" fmla="*/ 400164 h 400164"/>
                <a:gd name="connsiteX10" fmla="*/ 78105 w 838200"/>
                <a:gd name="connsiteY10" fmla="*/ 381114 h 400164"/>
                <a:gd name="connsiteX11" fmla="*/ 19050 w 838200"/>
                <a:gd name="connsiteY11" fmla="*/ 381114 h 400164"/>
                <a:gd name="connsiteX12" fmla="*/ 19050 w 838200"/>
                <a:gd name="connsiteY12" fmla="*/ 256670 h 400164"/>
                <a:gd name="connsiteX13" fmla="*/ 552450 w 838200"/>
                <a:gd name="connsiteY13" fmla="*/ 256670 h 400164"/>
                <a:gd name="connsiteX14" fmla="*/ 552450 w 838200"/>
                <a:gd name="connsiteY14" fmla="*/ 381114 h 400164"/>
                <a:gd name="connsiteX15" fmla="*/ 264795 w 838200"/>
                <a:gd name="connsiteY15" fmla="*/ 381114 h 400164"/>
                <a:gd name="connsiteX16" fmla="*/ 266700 w 838200"/>
                <a:gd name="connsiteY16" fmla="*/ 400164 h 400164"/>
                <a:gd name="connsiteX17" fmla="*/ 581025 w 838200"/>
                <a:gd name="connsiteY17" fmla="*/ 400164 h 400164"/>
                <a:gd name="connsiteX18" fmla="*/ 582930 w 838200"/>
                <a:gd name="connsiteY18" fmla="*/ 381114 h 400164"/>
                <a:gd name="connsiteX19" fmla="*/ 571500 w 838200"/>
                <a:gd name="connsiteY19" fmla="*/ 381114 h 400164"/>
                <a:gd name="connsiteX20" fmla="*/ 571500 w 838200"/>
                <a:gd name="connsiteY20" fmla="*/ 76200 h 400164"/>
                <a:gd name="connsiteX21" fmla="*/ 609600 w 838200"/>
                <a:gd name="connsiteY21" fmla="*/ 76200 h 400164"/>
                <a:gd name="connsiteX22" fmla="*/ 609600 w 838200"/>
                <a:gd name="connsiteY22" fmla="*/ 209045 h 400164"/>
                <a:gd name="connsiteX23" fmla="*/ 756095 w 838200"/>
                <a:gd name="connsiteY23" fmla="*/ 209045 h 400164"/>
                <a:gd name="connsiteX24" fmla="*/ 761209 w 838200"/>
                <a:gd name="connsiteY24" fmla="*/ 213512 h 400164"/>
                <a:gd name="connsiteX25" fmla="*/ 811282 w 838200"/>
                <a:gd name="connsiteY25" fmla="*/ 251317 h 400164"/>
                <a:gd name="connsiteX26" fmla="*/ 819150 w 838200"/>
                <a:gd name="connsiteY26" fmla="*/ 266776 h 400164"/>
                <a:gd name="connsiteX27" fmla="*/ 819150 w 838200"/>
                <a:gd name="connsiteY27" fmla="*/ 362026 h 400164"/>
                <a:gd name="connsiteX28" fmla="*/ 800100 w 838200"/>
                <a:gd name="connsiteY28" fmla="*/ 381076 h 400164"/>
                <a:gd name="connsiteX29" fmla="*/ 769620 w 838200"/>
                <a:gd name="connsiteY29" fmla="*/ 381076 h 400164"/>
                <a:gd name="connsiteX30" fmla="*/ 771525 w 838200"/>
                <a:gd name="connsiteY30" fmla="*/ 400126 h 400164"/>
                <a:gd name="connsiteX31" fmla="*/ 800100 w 838200"/>
                <a:gd name="connsiteY31" fmla="*/ 400126 h 400164"/>
                <a:gd name="connsiteX32" fmla="*/ 838200 w 838200"/>
                <a:gd name="connsiteY32" fmla="*/ 362026 h 400164"/>
                <a:gd name="connsiteX33" fmla="*/ 838200 w 838200"/>
                <a:gd name="connsiteY33" fmla="*/ 266776 h 400164"/>
                <a:gd name="connsiteX34" fmla="*/ 822960 w 838200"/>
                <a:gd name="connsiteY34" fmla="*/ 236287 h 400164"/>
                <a:gd name="connsiteX35" fmla="*/ 552450 w 838200"/>
                <a:gd name="connsiteY35" fmla="*/ 237620 h 400164"/>
                <a:gd name="connsiteX36" fmla="*/ 19050 w 838200"/>
                <a:gd name="connsiteY36" fmla="*/ 237620 h 400164"/>
                <a:gd name="connsiteX37" fmla="*/ 19050 w 838200"/>
                <a:gd name="connsiteY37" fmla="*/ 19050 h 400164"/>
                <a:gd name="connsiteX38" fmla="*/ 552450 w 838200"/>
                <a:gd name="connsiteY38" fmla="*/ 19050 h 400164"/>
                <a:gd name="connsiteX39" fmla="*/ 628650 w 838200"/>
                <a:gd name="connsiteY39" fmla="*/ 76200 h 400164"/>
                <a:gd name="connsiteX40" fmla="*/ 666750 w 838200"/>
                <a:gd name="connsiteY40" fmla="*/ 76200 h 400164"/>
                <a:gd name="connsiteX41" fmla="*/ 721805 w 838200"/>
                <a:gd name="connsiteY41" fmla="*/ 117710 h 400164"/>
                <a:gd name="connsiteX42" fmla="*/ 740769 w 838200"/>
                <a:gd name="connsiteY42" fmla="*/ 183147 h 400164"/>
                <a:gd name="connsiteX43" fmla="*/ 743169 w 838200"/>
                <a:gd name="connsiteY43" fmla="*/ 189976 h 400164"/>
                <a:gd name="connsiteX44" fmla="*/ 628650 w 838200"/>
                <a:gd name="connsiteY44" fmla="*/ 189976 h 400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838200" h="400164">
                  <a:moveTo>
                    <a:pt x="822960" y="236287"/>
                  </a:moveTo>
                  <a:lnTo>
                    <a:pt x="772478" y="198187"/>
                  </a:lnTo>
                  <a:cubicBezTo>
                    <a:pt x="765858" y="193258"/>
                    <a:pt x="761146" y="186191"/>
                    <a:pt x="759143" y="178184"/>
                  </a:cubicBezTo>
                  <a:lnTo>
                    <a:pt x="740093" y="112462"/>
                  </a:lnTo>
                  <a:cubicBezTo>
                    <a:pt x="730395" y="79953"/>
                    <a:pt x="700672" y="57537"/>
                    <a:pt x="666750" y="57150"/>
                  </a:cubicBezTo>
                  <a:lnTo>
                    <a:pt x="571500" y="57150"/>
                  </a:lnTo>
                  <a:lnTo>
                    <a:pt x="571500" y="0"/>
                  </a:lnTo>
                  <a:lnTo>
                    <a:pt x="0" y="0"/>
                  </a:lnTo>
                  <a:lnTo>
                    <a:pt x="0" y="400164"/>
                  </a:lnTo>
                  <a:lnTo>
                    <a:pt x="76200" y="400164"/>
                  </a:lnTo>
                  <a:cubicBezTo>
                    <a:pt x="76197" y="393766"/>
                    <a:pt x="76835" y="387385"/>
                    <a:pt x="78105" y="381114"/>
                  </a:cubicBezTo>
                  <a:lnTo>
                    <a:pt x="19050" y="381114"/>
                  </a:lnTo>
                  <a:lnTo>
                    <a:pt x="19050" y="256670"/>
                  </a:lnTo>
                  <a:lnTo>
                    <a:pt x="552450" y="256670"/>
                  </a:lnTo>
                  <a:lnTo>
                    <a:pt x="552450" y="381114"/>
                  </a:lnTo>
                  <a:lnTo>
                    <a:pt x="264795" y="381114"/>
                  </a:lnTo>
                  <a:cubicBezTo>
                    <a:pt x="266069" y="387384"/>
                    <a:pt x="266708" y="393766"/>
                    <a:pt x="266700" y="400164"/>
                  </a:cubicBezTo>
                  <a:lnTo>
                    <a:pt x="581025" y="400164"/>
                  </a:lnTo>
                  <a:cubicBezTo>
                    <a:pt x="581022" y="393766"/>
                    <a:pt x="581660" y="387385"/>
                    <a:pt x="582930" y="381114"/>
                  </a:cubicBezTo>
                  <a:lnTo>
                    <a:pt x="571500" y="381114"/>
                  </a:lnTo>
                  <a:lnTo>
                    <a:pt x="571500" y="76200"/>
                  </a:lnTo>
                  <a:lnTo>
                    <a:pt x="609600" y="76200"/>
                  </a:lnTo>
                  <a:lnTo>
                    <a:pt x="609600" y="209045"/>
                  </a:lnTo>
                  <a:lnTo>
                    <a:pt x="756095" y="209045"/>
                  </a:lnTo>
                  <a:cubicBezTo>
                    <a:pt x="757699" y="210645"/>
                    <a:pt x="759408" y="212138"/>
                    <a:pt x="761209" y="213512"/>
                  </a:cubicBezTo>
                  <a:lnTo>
                    <a:pt x="811282" y="251317"/>
                  </a:lnTo>
                  <a:cubicBezTo>
                    <a:pt x="816190" y="254947"/>
                    <a:pt x="819103" y="260673"/>
                    <a:pt x="819150" y="266776"/>
                  </a:cubicBezTo>
                  <a:lnTo>
                    <a:pt x="819150" y="362026"/>
                  </a:lnTo>
                  <a:cubicBezTo>
                    <a:pt x="819150" y="372548"/>
                    <a:pt x="810621" y="381076"/>
                    <a:pt x="800100" y="381076"/>
                  </a:cubicBezTo>
                  <a:lnTo>
                    <a:pt x="769620" y="381076"/>
                  </a:lnTo>
                  <a:cubicBezTo>
                    <a:pt x="770894" y="387346"/>
                    <a:pt x="771533" y="393728"/>
                    <a:pt x="771525" y="400126"/>
                  </a:cubicBezTo>
                  <a:lnTo>
                    <a:pt x="800100" y="400126"/>
                  </a:lnTo>
                  <a:cubicBezTo>
                    <a:pt x="821114" y="400059"/>
                    <a:pt x="838132" y="383040"/>
                    <a:pt x="838200" y="362026"/>
                  </a:cubicBezTo>
                  <a:lnTo>
                    <a:pt x="838200" y="266776"/>
                  </a:lnTo>
                  <a:cubicBezTo>
                    <a:pt x="838161" y="254791"/>
                    <a:pt x="832524" y="243511"/>
                    <a:pt x="822960" y="236287"/>
                  </a:cubicBezTo>
                  <a:close/>
                  <a:moveTo>
                    <a:pt x="552450" y="237620"/>
                  </a:moveTo>
                  <a:lnTo>
                    <a:pt x="19050" y="237620"/>
                  </a:lnTo>
                  <a:lnTo>
                    <a:pt x="19050" y="19050"/>
                  </a:lnTo>
                  <a:lnTo>
                    <a:pt x="552450" y="19050"/>
                  </a:lnTo>
                  <a:close/>
                  <a:moveTo>
                    <a:pt x="628650" y="76200"/>
                  </a:moveTo>
                  <a:lnTo>
                    <a:pt x="666750" y="76200"/>
                  </a:lnTo>
                  <a:cubicBezTo>
                    <a:pt x="692156" y="76649"/>
                    <a:pt x="714384" y="93407"/>
                    <a:pt x="721805" y="117710"/>
                  </a:cubicBezTo>
                  <a:lnTo>
                    <a:pt x="740769" y="183147"/>
                  </a:lnTo>
                  <a:cubicBezTo>
                    <a:pt x="741416" y="185474"/>
                    <a:pt x="742218" y="187756"/>
                    <a:pt x="743169" y="189976"/>
                  </a:cubicBezTo>
                  <a:lnTo>
                    <a:pt x="628650" y="189976"/>
                  </a:lnTo>
                  <a:close/>
                </a:path>
              </a:pathLst>
            </a:custGeom>
            <a:solidFill>
              <a:schemeClr val="lt1"/>
            </a:solidFill>
            <a:ln w="12700" cap="flat">
              <a:solidFill>
                <a:schemeClr val="accent5"/>
              </a:solidFill>
              <a:prstDash val="solid"/>
              <a:miter/>
            </a:ln>
          </p:spPr>
          <p:txBody>
            <a:bodyPr rtlCol="0" anchor="ctr"/>
            <a:lstStyle/>
            <a:p>
              <a:endParaRPr lang="en-GB"/>
            </a:p>
          </p:txBody>
        </p:sp>
        <p:sp>
          <p:nvSpPr>
            <p:cNvPr id="158" name="Frihandsfigur: Form 157">
              <a:extLst>
                <a:ext uri="{FF2B5EF4-FFF2-40B4-BE49-F238E27FC236}">
                  <a16:creationId xmlns:a16="http://schemas.microsoft.com/office/drawing/2014/main" id="{4C2E8776-EDB0-14FC-2861-F68861841265}"/>
                </a:ext>
              </a:extLst>
            </p:cNvPr>
            <p:cNvSpPr/>
            <p:nvPr/>
          </p:nvSpPr>
          <p:spPr>
            <a:xfrm>
              <a:off x="13150180" y="4653584"/>
              <a:ext cx="152400" cy="152400"/>
            </a:xfrm>
            <a:custGeom>
              <a:avLst/>
              <a:gdLst>
                <a:gd name="connsiteX0" fmla="*/ 76200 w 152400"/>
                <a:gd name="connsiteY0" fmla="*/ 0 h 152400"/>
                <a:gd name="connsiteX1" fmla="*/ 0 w 152400"/>
                <a:gd name="connsiteY1" fmla="*/ 76200 h 152400"/>
                <a:gd name="connsiteX2" fmla="*/ 76200 w 152400"/>
                <a:gd name="connsiteY2" fmla="*/ 152400 h 152400"/>
                <a:gd name="connsiteX3" fmla="*/ 152400 w 152400"/>
                <a:gd name="connsiteY3" fmla="*/ 76200 h 152400"/>
                <a:gd name="connsiteX4" fmla="*/ 76200 w 152400"/>
                <a:gd name="connsiteY4" fmla="*/ 0 h 152400"/>
                <a:gd name="connsiteX5" fmla="*/ 76200 w 152400"/>
                <a:gd name="connsiteY5" fmla="*/ 133350 h 152400"/>
                <a:gd name="connsiteX6" fmla="*/ 19050 w 152400"/>
                <a:gd name="connsiteY6" fmla="*/ 76200 h 152400"/>
                <a:gd name="connsiteX7" fmla="*/ 76200 w 152400"/>
                <a:gd name="connsiteY7" fmla="*/ 19050 h 152400"/>
                <a:gd name="connsiteX8" fmla="*/ 133350 w 152400"/>
                <a:gd name="connsiteY8" fmla="*/ 76200 h 152400"/>
                <a:gd name="connsiteX9" fmla="*/ 76200 w 152400"/>
                <a:gd name="connsiteY9" fmla="*/ 133388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2400" h="152400">
                  <a:moveTo>
                    <a:pt x="76200" y="0"/>
                  </a:moveTo>
                  <a:cubicBezTo>
                    <a:pt x="34116" y="0"/>
                    <a:pt x="0" y="34116"/>
                    <a:pt x="0" y="76200"/>
                  </a:cubicBezTo>
                  <a:cubicBezTo>
                    <a:pt x="0" y="118284"/>
                    <a:pt x="34116" y="152400"/>
                    <a:pt x="76200" y="152400"/>
                  </a:cubicBezTo>
                  <a:cubicBezTo>
                    <a:pt x="118284" y="152400"/>
                    <a:pt x="152400" y="118284"/>
                    <a:pt x="152400" y="76200"/>
                  </a:cubicBezTo>
                  <a:cubicBezTo>
                    <a:pt x="152348" y="34138"/>
                    <a:pt x="118262" y="52"/>
                    <a:pt x="76200" y="0"/>
                  </a:cubicBezTo>
                  <a:close/>
                  <a:moveTo>
                    <a:pt x="76200" y="133350"/>
                  </a:moveTo>
                  <a:cubicBezTo>
                    <a:pt x="44637" y="133350"/>
                    <a:pt x="19050" y="107763"/>
                    <a:pt x="19050" y="76200"/>
                  </a:cubicBezTo>
                  <a:cubicBezTo>
                    <a:pt x="19050" y="44637"/>
                    <a:pt x="44637" y="19050"/>
                    <a:pt x="76200" y="19050"/>
                  </a:cubicBezTo>
                  <a:cubicBezTo>
                    <a:pt x="107763" y="19050"/>
                    <a:pt x="133350" y="44637"/>
                    <a:pt x="133350" y="76200"/>
                  </a:cubicBezTo>
                  <a:cubicBezTo>
                    <a:pt x="133329" y="107760"/>
                    <a:pt x="107760" y="133346"/>
                    <a:pt x="76200" y="133388"/>
                  </a:cubicBezTo>
                  <a:close/>
                </a:path>
              </a:pathLst>
            </a:custGeom>
            <a:solidFill>
              <a:schemeClr val="lt1"/>
            </a:solidFill>
            <a:ln w="12700" cap="flat">
              <a:solidFill>
                <a:schemeClr val="accent5"/>
              </a:solidFill>
              <a:prstDash val="solid"/>
              <a:miter/>
            </a:ln>
          </p:spPr>
          <p:txBody>
            <a:bodyPr rtlCol="0" anchor="ctr"/>
            <a:lstStyle/>
            <a:p>
              <a:endParaRPr lang="en-GB"/>
            </a:p>
          </p:txBody>
        </p:sp>
      </p:grpSp>
      <p:sp>
        <p:nvSpPr>
          <p:cNvPr id="5" name="Bild 12" descr="Present kontur">
            <a:extLst>
              <a:ext uri="{FF2B5EF4-FFF2-40B4-BE49-F238E27FC236}">
                <a16:creationId xmlns:a16="http://schemas.microsoft.com/office/drawing/2014/main" id="{5C2503EA-64D6-0655-7807-8CEB19A9FAC5}"/>
              </a:ext>
            </a:extLst>
          </p:cNvPr>
          <p:cNvSpPr/>
          <p:nvPr/>
        </p:nvSpPr>
        <p:spPr>
          <a:xfrm>
            <a:off x="10092760" y="1924900"/>
            <a:ext cx="513463" cy="566320"/>
          </a:xfrm>
          <a:custGeom>
            <a:avLst/>
            <a:gdLst>
              <a:gd name="connsiteX0" fmla="*/ 390164 w 513463"/>
              <a:gd name="connsiteY0" fmla="*/ 128367 h 566320"/>
              <a:gd name="connsiteX1" fmla="*/ 400735 w 513463"/>
              <a:gd name="connsiteY1" fmla="*/ 71478 h 566320"/>
              <a:gd name="connsiteX2" fmla="*/ 399723 w 513463"/>
              <a:gd name="connsiteY2" fmla="*/ 69213 h 566320"/>
              <a:gd name="connsiteX3" fmla="*/ 331672 w 513463"/>
              <a:gd name="connsiteY3" fmla="*/ 42649 h 566320"/>
              <a:gd name="connsiteX4" fmla="*/ 315221 w 513463"/>
              <a:gd name="connsiteY4" fmla="*/ 54111 h 566320"/>
              <a:gd name="connsiteX5" fmla="*/ 308531 w 513463"/>
              <a:gd name="connsiteY5" fmla="*/ 61058 h 566320"/>
              <a:gd name="connsiteX6" fmla="*/ 267406 w 513463"/>
              <a:gd name="connsiteY6" fmla="*/ 888 h 566320"/>
              <a:gd name="connsiteX7" fmla="*/ 258068 w 513463"/>
              <a:gd name="connsiteY7" fmla="*/ 1 h 566320"/>
              <a:gd name="connsiteX8" fmla="*/ 255546 w 513463"/>
              <a:gd name="connsiteY8" fmla="*/ 1 h 566320"/>
              <a:gd name="connsiteX9" fmla="*/ 203678 w 513463"/>
              <a:gd name="connsiteY9" fmla="*/ 51247 h 566320"/>
              <a:gd name="connsiteX10" fmla="*/ 205967 w 513463"/>
              <a:gd name="connsiteY10" fmla="*/ 66751 h 566320"/>
              <a:gd name="connsiteX11" fmla="*/ 193779 w 513463"/>
              <a:gd name="connsiteY11" fmla="*/ 54096 h 566320"/>
              <a:gd name="connsiteX12" fmla="*/ 120739 w 513463"/>
              <a:gd name="connsiteY12" fmla="*/ 52746 h 566320"/>
              <a:gd name="connsiteX13" fmla="*/ 109277 w 513463"/>
              <a:gd name="connsiteY13" fmla="*/ 69198 h 566320"/>
              <a:gd name="connsiteX14" fmla="*/ 108265 w 513463"/>
              <a:gd name="connsiteY14" fmla="*/ 71463 h 566320"/>
              <a:gd name="connsiteX15" fmla="*/ 118746 w 513463"/>
              <a:gd name="connsiteY15" fmla="*/ 128367 h 566320"/>
              <a:gd name="connsiteX16" fmla="*/ 0 w 513463"/>
              <a:gd name="connsiteY16" fmla="*/ 128367 h 566320"/>
              <a:gd name="connsiteX17" fmla="*/ 0 w 513463"/>
              <a:gd name="connsiteY17" fmla="*/ 566321 h 566320"/>
              <a:gd name="connsiteX18" fmla="*/ 513463 w 513463"/>
              <a:gd name="connsiteY18" fmla="*/ 566321 h 566320"/>
              <a:gd name="connsiteX19" fmla="*/ 513463 w 513463"/>
              <a:gd name="connsiteY19" fmla="*/ 128367 h 566320"/>
              <a:gd name="connsiteX20" fmla="*/ 498361 w 513463"/>
              <a:gd name="connsiteY20" fmla="*/ 286936 h 566320"/>
              <a:gd name="connsiteX21" fmla="*/ 286935 w 513463"/>
              <a:gd name="connsiteY21" fmla="*/ 286936 h 566320"/>
              <a:gd name="connsiteX22" fmla="*/ 286935 w 513463"/>
              <a:gd name="connsiteY22" fmla="*/ 143469 h 566320"/>
              <a:gd name="connsiteX23" fmla="*/ 498361 w 513463"/>
              <a:gd name="connsiteY23" fmla="*/ 143469 h 566320"/>
              <a:gd name="connsiteX24" fmla="*/ 226528 w 513463"/>
              <a:gd name="connsiteY24" fmla="*/ 332242 h 566320"/>
              <a:gd name="connsiteX25" fmla="*/ 15102 w 513463"/>
              <a:gd name="connsiteY25" fmla="*/ 332242 h 566320"/>
              <a:gd name="connsiteX26" fmla="*/ 15102 w 513463"/>
              <a:gd name="connsiteY26" fmla="*/ 302038 h 566320"/>
              <a:gd name="connsiteX27" fmla="*/ 226528 w 513463"/>
              <a:gd name="connsiteY27" fmla="*/ 302038 h 566320"/>
              <a:gd name="connsiteX28" fmla="*/ 241630 w 513463"/>
              <a:gd name="connsiteY28" fmla="*/ 143469 h 566320"/>
              <a:gd name="connsiteX29" fmla="*/ 271833 w 513463"/>
              <a:gd name="connsiteY29" fmla="*/ 143469 h 566320"/>
              <a:gd name="connsiteX30" fmla="*/ 271833 w 513463"/>
              <a:gd name="connsiteY30" fmla="*/ 551219 h 566320"/>
              <a:gd name="connsiteX31" fmla="*/ 241630 w 513463"/>
              <a:gd name="connsiteY31" fmla="*/ 551219 h 566320"/>
              <a:gd name="connsiteX32" fmla="*/ 286935 w 513463"/>
              <a:gd name="connsiteY32" fmla="*/ 302038 h 566320"/>
              <a:gd name="connsiteX33" fmla="*/ 498361 w 513463"/>
              <a:gd name="connsiteY33" fmla="*/ 302038 h 566320"/>
              <a:gd name="connsiteX34" fmla="*/ 498361 w 513463"/>
              <a:gd name="connsiteY34" fmla="*/ 332242 h 566320"/>
              <a:gd name="connsiteX35" fmla="*/ 286935 w 513463"/>
              <a:gd name="connsiteY35" fmla="*/ 332242 h 566320"/>
              <a:gd name="connsiteX36" fmla="*/ 326094 w 513463"/>
              <a:gd name="connsiteY36" fmla="*/ 64576 h 566320"/>
              <a:gd name="connsiteX37" fmla="*/ 352190 w 513463"/>
              <a:gd name="connsiteY37" fmla="*/ 53356 h 566320"/>
              <a:gd name="connsiteX38" fmla="*/ 358843 w 513463"/>
              <a:gd name="connsiteY38" fmla="*/ 53952 h 566320"/>
              <a:gd name="connsiteX39" fmla="*/ 385890 w 513463"/>
              <a:gd name="connsiteY39" fmla="*/ 75246 h 566320"/>
              <a:gd name="connsiteX40" fmla="*/ 386902 w 513463"/>
              <a:gd name="connsiteY40" fmla="*/ 77511 h 566320"/>
              <a:gd name="connsiteX41" fmla="*/ 368096 w 513463"/>
              <a:gd name="connsiteY41" fmla="*/ 125676 h 566320"/>
              <a:gd name="connsiteX42" fmla="*/ 358964 w 513463"/>
              <a:gd name="connsiteY42" fmla="*/ 128329 h 566320"/>
              <a:gd name="connsiteX43" fmla="*/ 264970 w 513463"/>
              <a:gd name="connsiteY43" fmla="*/ 127974 h 566320"/>
              <a:gd name="connsiteX44" fmla="*/ 221416 w 513463"/>
              <a:gd name="connsiteY44" fmla="*/ 65400 h 566320"/>
              <a:gd name="connsiteX45" fmla="*/ 241527 w 513463"/>
              <a:gd name="connsiteY45" fmla="*/ 17788 h 566320"/>
              <a:gd name="connsiteX46" fmla="*/ 255267 w 513463"/>
              <a:gd name="connsiteY46" fmla="*/ 15103 h 566320"/>
              <a:gd name="connsiteX47" fmla="*/ 255463 w 513463"/>
              <a:gd name="connsiteY47" fmla="*/ 15103 h 566320"/>
              <a:gd name="connsiteX48" fmla="*/ 257993 w 513463"/>
              <a:gd name="connsiteY48" fmla="*/ 15103 h 566320"/>
              <a:gd name="connsiteX49" fmla="*/ 294351 w 513463"/>
              <a:gd name="connsiteY49" fmla="*/ 51836 h 566320"/>
              <a:gd name="connsiteX50" fmla="*/ 291526 w 513463"/>
              <a:gd name="connsiteY50" fmla="*/ 65739 h 566320"/>
              <a:gd name="connsiteX51" fmla="*/ 281982 w 513463"/>
              <a:gd name="connsiteY51" fmla="*/ 88581 h 566320"/>
              <a:gd name="connsiteX52" fmla="*/ 254466 w 513463"/>
              <a:gd name="connsiteY52" fmla="*/ 117131 h 566320"/>
              <a:gd name="connsiteX53" fmla="*/ 233611 w 513463"/>
              <a:gd name="connsiteY53" fmla="*/ 95445 h 566320"/>
              <a:gd name="connsiteX54" fmla="*/ 124764 w 513463"/>
              <a:gd name="connsiteY54" fmla="*/ 111868 h 566320"/>
              <a:gd name="connsiteX55" fmla="*/ 122114 w 513463"/>
              <a:gd name="connsiteY55" fmla="*/ 77549 h 566320"/>
              <a:gd name="connsiteX56" fmla="*/ 123125 w 513463"/>
              <a:gd name="connsiteY56" fmla="*/ 75284 h 566320"/>
              <a:gd name="connsiteX57" fmla="*/ 150173 w 513463"/>
              <a:gd name="connsiteY57" fmla="*/ 53990 h 566320"/>
              <a:gd name="connsiteX58" fmla="*/ 156825 w 513463"/>
              <a:gd name="connsiteY58" fmla="*/ 53394 h 566320"/>
              <a:gd name="connsiteX59" fmla="*/ 182929 w 513463"/>
              <a:gd name="connsiteY59" fmla="*/ 64614 h 566320"/>
              <a:gd name="connsiteX60" fmla="*/ 244038 w 513463"/>
              <a:gd name="connsiteY60" fmla="*/ 128042 h 566320"/>
              <a:gd name="connsiteX61" fmla="*/ 150014 w 513463"/>
              <a:gd name="connsiteY61" fmla="*/ 128367 h 566320"/>
              <a:gd name="connsiteX62" fmla="*/ 124741 w 513463"/>
              <a:gd name="connsiteY62" fmla="*/ 111868 h 566320"/>
              <a:gd name="connsiteX63" fmla="*/ 226528 w 513463"/>
              <a:gd name="connsiteY63" fmla="*/ 143469 h 566320"/>
              <a:gd name="connsiteX64" fmla="*/ 226528 w 513463"/>
              <a:gd name="connsiteY64" fmla="*/ 286936 h 566320"/>
              <a:gd name="connsiteX65" fmla="*/ 15102 w 513463"/>
              <a:gd name="connsiteY65" fmla="*/ 286936 h 566320"/>
              <a:gd name="connsiteX66" fmla="*/ 15102 w 513463"/>
              <a:gd name="connsiteY66" fmla="*/ 143469 h 566320"/>
              <a:gd name="connsiteX67" fmla="*/ 15102 w 513463"/>
              <a:gd name="connsiteY67" fmla="*/ 347344 h 566320"/>
              <a:gd name="connsiteX68" fmla="*/ 226528 w 513463"/>
              <a:gd name="connsiteY68" fmla="*/ 347344 h 566320"/>
              <a:gd name="connsiteX69" fmla="*/ 226528 w 513463"/>
              <a:gd name="connsiteY69" fmla="*/ 551219 h 566320"/>
              <a:gd name="connsiteX70" fmla="*/ 15102 w 513463"/>
              <a:gd name="connsiteY70" fmla="*/ 551219 h 566320"/>
              <a:gd name="connsiteX71" fmla="*/ 286935 w 513463"/>
              <a:gd name="connsiteY71" fmla="*/ 551219 h 566320"/>
              <a:gd name="connsiteX72" fmla="*/ 286935 w 513463"/>
              <a:gd name="connsiteY72" fmla="*/ 347344 h 566320"/>
              <a:gd name="connsiteX73" fmla="*/ 498361 w 513463"/>
              <a:gd name="connsiteY73" fmla="*/ 347344 h 566320"/>
              <a:gd name="connsiteX74" fmla="*/ 498361 w 513463"/>
              <a:gd name="connsiteY74" fmla="*/ 551219 h 566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513463" h="566320">
                <a:moveTo>
                  <a:pt x="390164" y="128367"/>
                </a:moveTo>
                <a:cubicBezTo>
                  <a:pt x="405211" y="113466"/>
                  <a:pt x="409426" y="90790"/>
                  <a:pt x="400735" y="71478"/>
                </a:cubicBezTo>
                <a:lnTo>
                  <a:pt x="399723" y="69213"/>
                </a:lnTo>
                <a:cubicBezTo>
                  <a:pt x="388267" y="43085"/>
                  <a:pt x="357799" y="31192"/>
                  <a:pt x="331672" y="42649"/>
                </a:cubicBezTo>
                <a:cubicBezTo>
                  <a:pt x="325493" y="45358"/>
                  <a:pt x="319903" y="49253"/>
                  <a:pt x="315221" y="54111"/>
                </a:cubicBezTo>
                <a:lnTo>
                  <a:pt x="308531" y="61058"/>
                </a:lnTo>
                <a:cubicBezTo>
                  <a:pt x="313790" y="33086"/>
                  <a:pt x="295377" y="6147"/>
                  <a:pt x="267406" y="888"/>
                </a:cubicBezTo>
                <a:cubicBezTo>
                  <a:pt x="264326" y="309"/>
                  <a:pt x="261201" y="12"/>
                  <a:pt x="258068" y="1"/>
                </a:cubicBezTo>
                <a:lnTo>
                  <a:pt x="255546" y="1"/>
                </a:lnTo>
                <a:cubicBezTo>
                  <a:pt x="227072" y="-171"/>
                  <a:pt x="203850" y="22772"/>
                  <a:pt x="203678" y="51247"/>
                </a:cubicBezTo>
                <a:cubicBezTo>
                  <a:pt x="203646" y="56502"/>
                  <a:pt x="204418" y="61730"/>
                  <a:pt x="205967" y="66751"/>
                </a:cubicBezTo>
                <a:lnTo>
                  <a:pt x="193779" y="54096"/>
                </a:lnTo>
                <a:cubicBezTo>
                  <a:pt x="173982" y="33554"/>
                  <a:pt x="141282" y="32949"/>
                  <a:pt x="120739" y="52746"/>
                </a:cubicBezTo>
                <a:cubicBezTo>
                  <a:pt x="115881" y="57429"/>
                  <a:pt x="111987" y="63018"/>
                  <a:pt x="109277" y="69198"/>
                </a:cubicBezTo>
                <a:lnTo>
                  <a:pt x="108265" y="71463"/>
                </a:lnTo>
                <a:cubicBezTo>
                  <a:pt x="99673" y="90775"/>
                  <a:pt x="103837" y="113383"/>
                  <a:pt x="118746" y="128367"/>
                </a:cubicBezTo>
                <a:lnTo>
                  <a:pt x="0" y="128367"/>
                </a:lnTo>
                <a:lnTo>
                  <a:pt x="0" y="566321"/>
                </a:lnTo>
                <a:lnTo>
                  <a:pt x="513463" y="566321"/>
                </a:lnTo>
                <a:lnTo>
                  <a:pt x="513463" y="128367"/>
                </a:lnTo>
                <a:close/>
                <a:moveTo>
                  <a:pt x="498361" y="286936"/>
                </a:moveTo>
                <a:lnTo>
                  <a:pt x="286935" y="286936"/>
                </a:lnTo>
                <a:lnTo>
                  <a:pt x="286935" y="143469"/>
                </a:lnTo>
                <a:lnTo>
                  <a:pt x="498361" y="143469"/>
                </a:lnTo>
                <a:close/>
                <a:moveTo>
                  <a:pt x="226528" y="332242"/>
                </a:moveTo>
                <a:lnTo>
                  <a:pt x="15102" y="332242"/>
                </a:lnTo>
                <a:lnTo>
                  <a:pt x="15102" y="302038"/>
                </a:lnTo>
                <a:lnTo>
                  <a:pt x="226528" y="302038"/>
                </a:lnTo>
                <a:close/>
                <a:moveTo>
                  <a:pt x="241630" y="143469"/>
                </a:moveTo>
                <a:lnTo>
                  <a:pt x="271833" y="143469"/>
                </a:lnTo>
                <a:lnTo>
                  <a:pt x="271833" y="551219"/>
                </a:lnTo>
                <a:lnTo>
                  <a:pt x="241630" y="551219"/>
                </a:lnTo>
                <a:close/>
                <a:moveTo>
                  <a:pt x="286935" y="302038"/>
                </a:moveTo>
                <a:lnTo>
                  <a:pt x="498361" y="302038"/>
                </a:lnTo>
                <a:lnTo>
                  <a:pt x="498361" y="332242"/>
                </a:lnTo>
                <a:lnTo>
                  <a:pt x="286935" y="332242"/>
                </a:lnTo>
                <a:close/>
                <a:moveTo>
                  <a:pt x="326094" y="64576"/>
                </a:moveTo>
                <a:cubicBezTo>
                  <a:pt x="332882" y="57409"/>
                  <a:pt x="342320" y="53351"/>
                  <a:pt x="352190" y="53356"/>
                </a:cubicBezTo>
                <a:cubicBezTo>
                  <a:pt x="354421" y="53357"/>
                  <a:pt x="356648" y="53557"/>
                  <a:pt x="358843" y="53952"/>
                </a:cubicBezTo>
                <a:cubicBezTo>
                  <a:pt x="370887" y="56002"/>
                  <a:pt x="381070" y="64019"/>
                  <a:pt x="385890" y="75246"/>
                </a:cubicBezTo>
                <a:lnTo>
                  <a:pt x="386902" y="77511"/>
                </a:lnTo>
                <a:cubicBezTo>
                  <a:pt x="395009" y="96005"/>
                  <a:pt x="386589" y="117569"/>
                  <a:pt x="368096" y="125676"/>
                </a:cubicBezTo>
                <a:cubicBezTo>
                  <a:pt x="365180" y="126954"/>
                  <a:pt x="362110" y="127846"/>
                  <a:pt x="358964" y="128329"/>
                </a:cubicBezTo>
                <a:lnTo>
                  <a:pt x="264970" y="127974"/>
                </a:lnTo>
                <a:close/>
                <a:moveTo>
                  <a:pt x="221416" y="65400"/>
                </a:moveTo>
                <a:cubicBezTo>
                  <a:pt x="213822" y="46699"/>
                  <a:pt x="222826" y="25382"/>
                  <a:pt x="241527" y="17788"/>
                </a:cubicBezTo>
                <a:cubicBezTo>
                  <a:pt x="245891" y="16016"/>
                  <a:pt x="250556" y="15104"/>
                  <a:pt x="255267" y="15103"/>
                </a:cubicBezTo>
                <a:lnTo>
                  <a:pt x="255463" y="15103"/>
                </a:lnTo>
                <a:lnTo>
                  <a:pt x="257993" y="15103"/>
                </a:lnTo>
                <a:cubicBezTo>
                  <a:pt x="278176" y="15206"/>
                  <a:pt x="294454" y="31652"/>
                  <a:pt x="294351" y="51836"/>
                </a:cubicBezTo>
                <a:cubicBezTo>
                  <a:pt x="294327" y="56610"/>
                  <a:pt x="293367" y="61334"/>
                  <a:pt x="291526" y="65739"/>
                </a:cubicBezTo>
                <a:lnTo>
                  <a:pt x="281982" y="88581"/>
                </a:lnTo>
                <a:lnTo>
                  <a:pt x="254466" y="117131"/>
                </a:lnTo>
                <a:lnTo>
                  <a:pt x="233611" y="95445"/>
                </a:lnTo>
                <a:close/>
                <a:moveTo>
                  <a:pt x="124764" y="111868"/>
                </a:moveTo>
                <a:cubicBezTo>
                  <a:pt x="118116" y="101618"/>
                  <a:pt x="117119" y="88698"/>
                  <a:pt x="122114" y="77549"/>
                </a:cubicBezTo>
                <a:lnTo>
                  <a:pt x="123125" y="75284"/>
                </a:lnTo>
                <a:cubicBezTo>
                  <a:pt x="127945" y="64057"/>
                  <a:pt x="138128" y="56040"/>
                  <a:pt x="150173" y="53990"/>
                </a:cubicBezTo>
                <a:cubicBezTo>
                  <a:pt x="152369" y="53594"/>
                  <a:pt x="154595" y="53395"/>
                  <a:pt x="156825" y="53394"/>
                </a:cubicBezTo>
                <a:cubicBezTo>
                  <a:pt x="166698" y="53389"/>
                  <a:pt x="176138" y="57447"/>
                  <a:pt x="182929" y="64614"/>
                </a:cubicBezTo>
                <a:lnTo>
                  <a:pt x="244038" y="128042"/>
                </a:lnTo>
                <a:lnTo>
                  <a:pt x="150014" y="128367"/>
                </a:lnTo>
                <a:cubicBezTo>
                  <a:pt x="139576" y="126846"/>
                  <a:pt x="130334" y="120813"/>
                  <a:pt x="124741" y="111868"/>
                </a:cubicBezTo>
                <a:close/>
                <a:moveTo>
                  <a:pt x="226528" y="143469"/>
                </a:moveTo>
                <a:lnTo>
                  <a:pt x="226528" y="286936"/>
                </a:lnTo>
                <a:lnTo>
                  <a:pt x="15102" y="286936"/>
                </a:lnTo>
                <a:lnTo>
                  <a:pt x="15102" y="143469"/>
                </a:lnTo>
                <a:close/>
                <a:moveTo>
                  <a:pt x="15102" y="347344"/>
                </a:moveTo>
                <a:lnTo>
                  <a:pt x="226528" y="347344"/>
                </a:lnTo>
                <a:lnTo>
                  <a:pt x="226528" y="551219"/>
                </a:lnTo>
                <a:lnTo>
                  <a:pt x="15102" y="551219"/>
                </a:lnTo>
                <a:close/>
                <a:moveTo>
                  <a:pt x="286935" y="551219"/>
                </a:moveTo>
                <a:lnTo>
                  <a:pt x="286935" y="347344"/>
                </a:lnTo>
                <a:lnTo>
                  <a:pt x="498361" y="347344"/>
                </a:lnTo>
                <a:lnTo>
                  <a:pt x="498361" y="551219"/>
                </a:lnTo>
                <a:close/>
              </a:path>
            </a:pathLst>
          </a:custGeom>
          <a:solidFill>
            <a:schemeClr val="bg1"/>
          </a:solidFill>
          <a:ln w="7541" cap="flat">
            <a:solidFill>
              <a:schemeClr val="bg1"/>
            </a:solidFill>
            <a:prstDash val="solid"/>
            <a:miter/>
          </a:ln>
        </p:spPr>
        <p:txBody>
          <a:bodyPr rtlCol="0" anchor="ctr"/>
          <a:lstStyle/>
          <a:p>
            <a:endParaRPr lang="en-GB"/>
          </a:p>
        </p:txBody>
      </p:sp>
      <p:sp>
        <p:nvSpPr>
          <p:cNvPr id="22" name="Bild 24" descr="Blixt kontur">
            <a:extLst>
              <a:ext uri="{FF2B5EF4-FFF2-40B4-BE49-F238E27FC236}">
                <a16:creationId xmlns:a16="http://schemas.microsoft.com/office/drawing/2014/main" id="{FF6582AA-7F85-BEF0-E43C-CE590DA38273}"/>
              </a:ext>
            </a:extLst>
          </p:cNvPr>
          <p:cNvSpPr/>
          <p:nvPr/>
        </p:nvSpPr>
        <p:spPr>
          <a:xfrm>
            <a:off x="7219901" y="1995611"/>
            <a:ext cx="270589" cy="552764"/>
          </a:xfrm>
          <a:custGeom>
            <a:avLst/>
            <a:gdLst>
              <a:gd name="connsiteX0" fmla="*/ 40709 w 270589"/>
              <a:gd name="connsiteY0" fmla="*/ 552678 h 552764"/>
              <a:gd name="connsiteX1" fmla="*/ 40755 w 270589"/>
              <a:gd name="connsiteY1" fmla="*/ 552762 h 552764"/>
              <a:gd name="connsiteX2" fmla="*/ 40776 w 270589"/>
              <a:gd name="connsiteY2" fmla="*/ 552765 h 552764"/>
              <a:gd name="connsiteX3" fmla="*/ 40831 w 270589"/>
              <a:gd name="connsiteY3" fmla="*/ 552736 h 552764"/>
              <a:gd name="connsiteX4" fmla="*/ 270589 w 270589"/>
              <a:gd name="connsiteY4" fmla="*/ 221613 h 552764"/>
              <a:gd name="connsiteX5" fmla="*/ 155589 w 270589"/>
              <a:gd name="connsiteY5" fmla="*/ 221613 h 552764"/>
              <a:gd name="connsiteX6" fmla="*/ 227160 w 270589"/>
              <a:gd name="connsiteY6" fmla="*/ 0 h 552764"/>
              <a:gd name="connsiteX7" fmla="*/ 56959 w 270589"/>
              <a:gd name="connsiteY7" fmla="*/ 0 h 552764"/>
              <a:gd name="connsiteX8" fmla="*/ 0 w 270589"/>
              <a:gd name="connsiteY8" fmla="*/ 302789 h 552764"/>
              <a:gd name="connsiteX9" fmla="*/ 115000 w 270589"/>
              <a:gd name="connsiteY9" fmla="*/ 302789 h 552764"/>
              <a:gd name="connsiteX10" fmla="*/ 16312 w 270589"/>
              <a:gd name="connsiteY10" fmla="*/ 289260 h 552764"/>
              <a:gd name="connsiteX11" fmla="*/ 68181 w 270589"/>
              <a:gd name="connsiteY11" fmla="*/ 13529 h 552764"/>
              <a:gd name="connsiteX12" fmla="*/ 208573 w 270589"/>
              <a:gd name="connsiteY12" fmla="*/ 13529 h 552764"/>
              <a:gd name="connsiteX13" fmla="*/ 142714 w 270589"/>
              <a:gd name="connsiteY13" fmla="*/ 217455 h 552764"/>
              <a:gd name="connsiteX14" fmla="*/ 137002 w 270589"/>
              <a:gd name="connsiteY14" fmla="*/ 235142 h 552764"/>
              <a:gd name="connsiteX15" fmla="*/ 244734 w 270589"/>
              <a:gd name="connsiteY15" fmla="*/ 235142 h 552764"/>
              <a:gd name="connsiteX16" fmla="*/ 77869 w 270589"/>
              <a:gd name="connsiteY16" fmla="*/ 475623 h 552764"/>
              <a:gd name="connsiteX17" fmla="*/ 77749 w 270589"/>
              <a:gd name="connsiteY17" fmla="*/ 475565 h 552764"/>
              <a:gd name="connsiteX18" fmla="*/ 127969 w 270589"/>
              <a:gd name="connsiteY18" fmla="*/ 306645 h 552764"/>
              <a:gd name="connsiteX19" fmla="*/ 133138 w 270589"/>
              <a:gd name="connsiteY19" fmla="*/ 289260 h 552764"/>
              <a:gd name="connsiteX20" fmla="*/ 16311 w 270589"/>
              <a:gd name="connsiteY20" fmla="*/ 289260 h 552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70589" h="552764">
                <a:moveTo>
                  <a:pt x="40709" y="552678"/>
                </a:moveTo>
                <a:cubicBezTo>
                  <a:pt x="40698" y="552714"/>
                  <a:pt x="40719" y="552752"/>
                  <a:pt x="40755" y="552762"/>
                </a:cubicBezTo>
                <a:cubicBezTo>
                  <a:pt x="40762" y="552764"/>
                  <a:pt x="40769" y="552765"/>
                  <a:pt x="40776" y="552765"/>
                </a:cubicBezTo>
                <a:lnTo>
                  <a:pt x="40831" y="552736"/>
                </a:lnTo>
                <a:lnTo>
                  <a:pt x="270589" y="221613"/>
                </a:lnTo>
                <a:lnTo>
                  <a:pt x="155589" y="221613"/>
                </a:lnTo>
                <a:lnTo>
                  <a:pt x="227160" y="0"/>
                </a:lnTo>
                <a:lnTo>
                  <a:pt x="56959" y="0"/>
                </a:lnTo>
                <a:lnTo>
                  <a:pt x="0" y="302789"/>
                </a:lnTo>
                <a:lnTo>
                  <a:pt x="115000" y="302789"/>
                </a:lnTo>
                <a:close/>
                <a:moveTo>
                  <a:pt x="16312" y="289260"/>
                </a:moveTo>
                <a:lnTo>
                  <a:pt x="68181" y="13529"/>
                </a:lnTo>
                <a:lnTo>
                  <a:pt x="208573" y="13529"/>
                </a:lnTo>
                <a:lnTo>
                  <a:pt x="142714" y="217455"/>
                </a:lnTo>
                <a:lnTo>
                  <a:pt x="137002" y="235142"/>
                </a:lnTo>
                <a:lnTo>
                  <a:pt x="244734" y="235142"/>
                </a:lnTo>
                <a:lnTo>
                  <a:pt x="77869" y="475623"/>
                </a:lnTo>
                <a:cubicBezTo>
                  <a:pt x="77734" y="475814"/>
                  <a:pt x="77683" y="475788"/>
                  <a:pt x="77749" y="475565"/>
                </a:cubicBezTo>
                <a:lnTo>
                  <a:pt x="127969" y="306645"/>
                </a:lnTo>
                <a:lnTo>
                  <a:pt x="133138" y="289260"/>
                </a:lnTo>
                <a:lnTo>
                  <a:pt x="16311" y="289260"/>
                </a:lnTo>
                <a:close/>
              </a:path>
            </a:pathLst>
          </a:custGeom>
          <a:solidFill>
            <a:schemeClr val="bg1"/>
          </a:solidFill>
          <a:ln w="6747" cap="flat">
            <a:solidFill>
              <a:schemeClr val="bg1"/>
            </a:solidFill>
            <a:prstDash val="solid"/>
            <a:miter/>
          </a:ln>
        </p:spPr>
        <p:txBody>
          <a:bodyPr rtlCol="0" anchor="ctr"/>
          <a:lstStyle/>
          <a:p>
            <a:endParaRPr lang="en-GB"/>
          </a:p>
        </p:txBody>
      </p:sp>
      <p:sp>
        <p:nvSpPr>
          <p:cNvPr id="24" name="Bild 26" descr="Socialt nätverk kontur">
            <a:extLst>
              <a:ext uri="{FF2B5EF4-FFF2-40B4-BE49-F238E27FC236}">
                <a16:creationId xmlns:a16="http://schemas.microsoft.com/office/drawing/2014/main" id="{FBFD27F1-6239-8930-4232-6BE88DD9D00E}"/>
              </a:ext>
            </a:extLst>
          </p:cNvPr>
          <p:cNvSpPr/>
          <p:nvPr/>
        </p:nvSpPr>
        <p:spPr>
          <a:xfrm>
            <a:off x="3318184" y="1909768"/>
            <a:ext cx="589749" cy="560223"/>
          </a:xfrm>
          <a:custGeom>
            <a:avLst/>
            <a:gdLst>
              <a:gd name="connsiteX0" fmla="*/ 521596 w 589749"/>
              <a:gd name="connsiteY0" fmla="*/ 286966 h 560223"/>
              <a:gd name="connsiteX1" fmla="*/ 589750 w 589749"/>
              <a:gd name="connsiteY1" fmla="*/ 219007 h 560223"/>
              <a:gd name="connsiteX2" fmla="*/ 521790 w 589749"/>
              <a:gd name="connsiteY2" fmla="*/ 150853 h 560223"/>
              <a:gd name="connsiteX3" fmla="*/ 453637 w 589749"/>
              <a:gd name="connsiteY3" fmla="*/ 218812 h 560223"/>
              <a:gd name="connsiteX4" fmla="*/ 456560 w 589749"/>
              <a:gd name="connsiteY4" fmla="*/ 238640 h 560223"/>
              <a:gd name="connsiteX5" fmla="*/ 379540 w 589749"/>
              <a:gd name="connsiteY5" fmla="*/ 271456 h 560223"/>
              <a:gd name="connsiteX6" fmla="*/ 302619 w 589749"/>
              <a:gd name="connsiteY6" fmla="*/ 219392 h 560223"/>
              <a:gd name="connsiteX7" fmla="*/ 302619 w 589749"/>
              <a:gd name="connsiteY7" fmla="*/ 135502 h 560223"/>
              <a:gd name="connsiteX8" fmla="*/ 362606 w 589749"/>
              <a:gd name="connsiteY8" fmla="*/ 60413 h 560223"/>
              <a:gd name="connsiteX9" fmla="*/ 287517 w 589749"/>
              <a:gd name="connsiteY9" fmla="*/ 427 h 560223"/>
              <a:gd name="connsiteX10" fmla="*/ 227530 w 589749"/>
              <a:gd name="connsiteY10" fmla="*/ 75515 h 560223"/>
              <a:gd name="connsiteX11" fmla="*/ 287517 w 589749"/>
              <a:gd name="connsiteY11" fmla="*/ 135502 h 560223"/>
              <a:gd name="connsiteX12" fmla="*/ 287517 w 589749"/>
              <a:gd name="connsiteY12" fmla="*/ 219392 h 560223"/>
              <a:gd name="connsiteX13" fmla="*/ 210633 w 589749"/>
              <a:gd name="connsiteY13" fmla="*/ 271456 h 560223"/>
              <a:gd name="connsiteX14" fmla="*/ 133576 w 589749"/>
              <a:gd name="connsiteY14" fmla="*/ 238640 h 560223"/>
              <a:gd name="connsiteX15" fmla="*/ 88229 w 589749"/>
              <a:gd name="connsiteY15" fmla="*/ 153407 h 560223"/>
              <a:gd name="connsiteX16" fmla="*/ 2996 w 589749"/>
              <a:gd name="connsiteY16" fmla="*/ 198754 h 560223"/>
              <a:gd name="connsiteX17" fmla="*/ 48344 w 589749"/>
              <a:gd name="connsiteY17" fmla="*/ 283987 h 560223"/>
              <a:gd name="connsiteX18" fmla="*/ 127596 w 589749"/>
              <a:gd name="connsiteY18" fmla="*/ 252503 h 560223"/>
              <a:gd name="connsiteX19" fmla="*/ 204910 w 589749"/>
              <a:gd name="connsiteY19" fmla="*/ 285456 h 560223"/>
              <a:gd name="connsiteX20" fmla="*/ 221522 w 589749"/>
              <a:gd name="connsiteY20" fmla="*/ 372480 h 560223"/>
              <a:gd name="connsiteX21" fmla="*/ 159415 w 589749"/>
              <a:gd name="connsiteY21" fmla="*/ 434586 h 560223"/>
              <a:gd name="connsiteX22" fmla="*/ 63697 w 589749"/>
              <a:gd name="connsiteY22" fmla="*/ 452430 h 560223"/>
              <a:gd name="connsiteX23" fmla="*/ 81540 w 589749"/>
              <a:gd name="connsiteY23" fmla="*/ 548149 h 560223"/>
              <a:gd name="connsiteX24" fmla="*/ 177259 w 589749"/>
              <a:gd name="connsiteY24" fmla="*/ 530305 h 560223"/>
              <a:gd name="connsiteX25" fmla="*/ 170885 w 589749"/>
              <a:gd name="connsiteY25" fmla="*/ 444470 h 560223"/>
              <a:gd name="connsiteX26" fmla="*/ 231942 w 589749"/>
              <a:gd name="connsiteY26" fmla="*/ 383414 h 560223"/>
              <a:gd name="connsiteX27" fmla="*/ 358133 w 589749"/>
              <a:gd name="connsiteY27" fmla="*/ 383414 h 560223"/>
              <a:gd name="connsiteX28" fmla="*/ 419190 w 589749"/>
              <a:gd name="connsiteY28" fmla="*/ 444470 h 560223"/>
              <a:gd name="connsiteX29" fmla="*/ 422874 w 589749"/>
              <a:gd name="connsiteY29" fmla="*/ 539438 h 560223"/>
              <a:gd name="connsiteX30" fmla="*/ 517842 w 589749"/>
              <a:gd name="connsiteY30" fmla="*/ 535755 h 560223"/>
              <a:gd name="connsiteX31" fmla="*/ 514158 w 589749"/>
              <a:gd name="connsiteY31" fmla="*/ 440786 h 560223"/>
              <a:gd name="connsiteX32" fmla="*/ 430660 w 589749"/>
              <a:gd name="connsiteY32" fmla="*/ 434586 h 560223"/>
              <a:gd name="connsiteX33" fmla="*/ 368553 w 589749"/>
              <a:gd name="connsiteY33" fmla="*/ 372480 h 560223"/>
              <a:gd name="connsiteX34" fmla="*/ 385226 w 589749"/>
              <a:gd name="connsiteY34" fmla="*/ 285456 h 560223"/>
              <a:gd name="connsiteX35" fmla="*/ 462540 w 589749"/>
              <a:gd name="connsiteY35" fmla="*/ 252526 h 560223"/>
              <a:gd name="connsiteX36" fmla="*/ 521596 w 589749"/>
              <a:gd name="connsiteY36" fmla="*/ 286966 h 560223"/>
              <a:gd name="connsiteX37" fmla="*/ 38525 w 589749"/>
              <a:gd name="connsiteY37" fmla="*/ 262463 h 560223"/>
              <a:gd name="connsiteX38" fmla="*/ 70190 w 589749"/>
              <a:gd name="connsiteY38" fmla="*/ 234098 h 560223"/>
              <a:gd name="connsiteX39" fmla="*/ 98555 w 589749"/>
              <a:gd name="connsiteY39" fmla="*/ 262463 h 560223"/>
              <a:gd name="connsiteX40" fmla="*/ 38525 w 589749"/>
              <a:gd name="connsiteY40" fmla="*/ 262463 h 560223"/>
              <a:gd name="connsiteX41" fmla="*/ 57214 w 589749"/>
              <a:gd name="connsiteY41" fmla="*/ 207681 h 560223"/>
              <a:gd name="connsiteX42" fmla="*/ 68540 w 589749"/>
              <a:gd name="connsiteY42" fmla="*/ 196355 h 560223"/>
              <a:gd name="connsiteX43" fmla="*/ 79866 w 589749"/>
              <a:gd name="connsiteY43" fmla="*/ 207681 h 560223"/>
              <a:gd name="connsiteX44" fmla="*/ 68540 w 589749"/>
              <a:gd name="connsiteY44" fmla="*/ 219007 h 560223"/>
              <a:gd name="connsiteX45" fmla="*/ 57214 w 589749"/>
              <a:gd name="connsiteY45" fmla="*/ 207681 h 560223"/>
              <a:gd name="connsiteX46" fmla="*/ 111414 w 589749"/>
              <a:gd name="connsiteY46" fmla="*/ 249800 h 560223"/>
              <a:gd name="connsiteX47" fmla="*/ 89154 w 589749"/>
              <a:gd name="connsiteY47" fmla="*/ 224014 h 560223"/>
              <a:gd name="connsiteX48" fmla="*/ 94968 w 589749"/>
              <a:gd name="connsiteY48" fmla="*/ 207681 h 560223"/>
              <a:gd name="connsiteX49" fmla="*/ 68540 w 589749"/>
              <a:gd name="connsiteY49" fmla="*/ 181253 h 560223"/>
              <a:gd name="connsiteX50" fmla="*/ 42112 w 589749"/>
              <a:gd name="connsiteY50" fmla="*/ 207681 h 560223"/>
              <a:gd name="connsiteX51" fmla="*/ 47926 w 589749"/>
              <a:gd name="connsiteY51" fmla="*/ 224014 h 560223"/>
              <a:gd name="connsiteX52" fmla="*/ 25666 w 589749"/>
              <a:gd name="connsiteY52" fmla="*/ 249800 h 560223"/>
              <a:gd name="connsiteX53" fmla="*/ 37627 w 589749"/>
              <a:gd name="connsiteY53" fmla="*/ 176013 h 560223"/>
              <a:gd name="connsiteX54" fmla="*/ 111414 w 589749"/>
              <a:gd name="connsiteY54" fmla="*/ 187974 h 560223"/>
              <a:gd name="connsiteX55" fmla="*/ 111414 w 589749"/>
              <a:gd name="connsiteY55" fmla="*/ 249800 h 560223"/>
              <a:gd name="connsiteX56" fmla="*/ 283741 w 589749"/>
              <a:gd name="connsiteY56" fmla="*/ 56662 h 560223"/>
              <a:gd name="connsiteX57" fmla="*/ 295068 w 589749"/>
              <a:gd name="connsiteY57" fmla="*/ 45336 h 560223"/>
              <a:gd name="connsiteX58" fmla="*/ 306394 w 589749"/>
              <a:gd name="connsiteY58" fmla="*/ 56662 h 560223"/>
              <a:gd name="connsiteX59" fmla="*/ 295068 w 589749"/>
              <a:gd name="connsiteY59" fmla="*/ 67989 h 560223"/>
              <a:gd name="connsiteX60" fmla="*/ 283741 w 589749"/>
              <a:gd name="connsiteY60" fmla="*/ 56662 h 560223"/>
              <a:gd name="connsiteX61" fmla="*/ 295068 w 589749"/>
              <a:gd name="connsiteY61" fmla="*/ 83091 h 560223"/>
              <a:gd name="connsiteX62" fmla="*/ 325083 w 589749"/>
              <a:gd name="connsiteY62" fmla="*/ 111444 h 560223"/>
              <a:gd name="connsiteX63" fmla="*/ 265053 w 589749"/>
              <a:gd name="connsiteY63" fmla="*/ 111444 h 560223"/>
              <a:gd name="connsiteX64" fmla="*/ 295068 w 589749"/>
              <a:gd name="connsiteY64" fmla="*/ 83091 h 560223"/>
              <a:gd name="connsiteX65" fmla="*/ 242211 w 589749"/>
              <a:gd name="connsiteY65" fmla="*/ 67989 h 560223"/>
              <a:gd name="connsiteX66" fmla="*/ 294948 w 589749"/>
              <a:gd name="connsiteY66" fmla="*/ 15012 h 560223"/>
              <a:gd name="connsiteX67" fmla="*/ 347924 w 589749"/>
              <a:gd name="connsiteY67" fmla="*/ 67749 h 560223"/>
              <a:gd name="connsiteX68" fmla="*/ 337942 w 589749"/>
              <a:gd name="connsiteY68" fmla="*/ 98781 h 560223"/>
              <a:gd name="connsiteX69" fmla="*/ 315682 w 589749"/>
              <a:gd name="connsiteY69" fmla="*/ 72995 h 560223"/>
              <a:gd name="connsiteX70" fmla="*/ 321496 w 589749"/>
              <a:gd name="connsiteY70" fmla="*/ 56662 h 560223"/>
              <a:gd name="connsiteX71" fmla="*/ 295068 w 589749"/>
              <a:gd name="connsiteY71" fmla="*/ 30234 h 560223"/>
              <a:gd name="connsiteX72" fmla="*/ 268640 w 589749"/>
              <a:gd name="connsiteY72" fmla="*/ 56662 h 560223"/>
              <a:gd name="connsiteX73" fmla="*/ 274454 w 589749"/>
              <a:gd name="connsiteY73" fmla="*/ 72995 h 560223"/>
              <a:gd name="connsiteX74" fmla="*/ 252194 w 589749"/>
              <a:gd name="connsiteY74" fmla="*/ 98781 h 560223"/>
              <a:gd name="connsiteX75" fmla="*/ 242211 w 589749"/>
              <a:gd name="connsiteY75" fmla="*/ 67989 h 560223"/>
              <a:gd name="connsiteX76" fmla="*/ 91382 w 589749"/>
              <a:gd name="connsiteY76" fmla="*/ 534296 h 560223"/>
              <a:gd name="connsiteX77" fmla="*/ 123046 w 589749"/>
              <a:gd name="connsiteY77" fmla="*/ 505931 h 560223"/>
              <a:gd name="connsiteX78" fmla="*/ 151411 w 589749"/>
              <a:gd name="connsiteY78" fmla="*/ 534296 h 560223"/>
              <a:gd name="connsiteX79" fmla="*/ 91382 w 589749"/>
              <a:gd name="connsiteY79" fmla="*/ 534296 h 560223"/>
              <a:gd name="connsiteX80" fmla="*/ 110070 w 589749"/>
              <a:gd name="connsiteY80" fmla="*/ 479514 h 560223"/>
              <a:gd name="connsiteX81" fmla="*/ 121397 w 589749"/>
              <a:gd name="connsiteY81" fmla="*/ 468188 h 560223"/>
              <a:gd name="connsiteX82" fmla="*/ 132723 w 589749"/>
              <a:gd name="connsiteY82" fmla="*/ 479514 h 560223"/>
              <a:gd name="connsiteX83" fmla="*/ 121397 w 589749"/>
              <a:gd name="connsiteY83" fmla="*/ 490841 h 560223"/>
              <a:gd name="connsiteX84" fmla="*/ 110070 w 589749"/>
              <a:gd name="connsiteY84" fmla="*/ 479514 h 560223"/>
              <a:gd name="connsiteX85" fmla="*/ 164271 w 589749"/>
              <a:gd name="connsiteY85" fmla="*/ 521633 h 560223"/>
              <a:gd name="connsiteX86" fmla="*/ 142011 w 589749"/>
              <a:gd name="connsiteY86" fmla="*/ 495847 h 560223"/>
              <a:gd name="connsiteX87" fmla="*/ 147825 w 589749"/>
              <a:gd name="connsiteY87" fmla="*/ 479514 h 560223"/>
              <a:gd name="connsiteX88" fmla="*/ 121397 w 589749"/>
              <a:gd name="connsiteY88" fmla="*/ 453086 h 560223"/>
              <a:gd name="connsiteX89" fmla="*/ 94968 w 589749"/>
              <a:gd name="connsiteY89" fmla="*/ 479514 h 560223"/>
              <a:gd name="connsiteX90" fmla="*/ 100782 w 589749"/>
              <a:gd name="connsiteY90" fmla="*/ 495847 h 560223"/>
              <a:gd name="connsiteX91" fmla="*/ 78522 w 589749"/>
              <a:gd name="connsiteY91" fmla="*/ 521633 h 560223"/>
              <a:gd name="connsiteX92" fmla="*/ 90484 w 589749"/>
              <a:gd name="connsiteY92" fmla="*/ 447847 h 560223"/>
              <a:gd name="connsiteX93" fmla="*/ 164271 w 589749"/>
              <a:gd name="connsiteY93" fmla="*/ 459807 h 560223"/>
              <a:gd name="connsiteX94" fmla="*/ 164271 w 589749"/>
              <a:gd name="connsiteY94" fmla="*/ 521633 h 560223"/>
              <a:gd name="connsiteX95" fmla="*/ 249407 w 589749"/>
              <a:gd name="connsiteY95" fmla="*/ 378098 h 560223"/>
              <a:gd name="connsiteX96" fmla="*/ 299388 w 589749"/>
              <a:gd name="connsiteY96" fmla="*/ 336757 h 560223"/>
              <a:gd name="connsiteX97" fmla="*/ 340728 w 589749"/>
              <a:gd name="connsiteY97" fmla="*/ 378098 h 560223"/>
              <a:gd name="connsiteX98" fmla="*/ 249407 w 589749"/>
              <a:gd name="connsiteY98" fmla="*/ 378098 h 560223"/>
              <a:gd name="connsiteX99" fmla="*/ 274069 w 589749"/>
              <a:gd name="connsiteY99" fmla="*/ 300414 h 560223"/>
              <a:gd name="connsiteX100" fmla="*/ 295075 w 589749"/>
              <a:gd name="connsiteY100" fmla="*/ 279422 h 560223"/>
              <a:gd name="connsiteX101" fmla="*/ 316067 w 589749"/>
              <a:gd name="connsiteY101" fmla="*/ 300429 h 560223"/>
              <a:gd name="connsiteX102" fmla="*/ 295068 w 589749"/>
              <a:gd name="connsiteY102" fmla="*/ 321421 h 560223"/>
              <a:gd name="connsiteX103" fmla="*/ 274069 w 589749"/>
              <a:gd name="connsiteY103" fmla="*/ 300414 h 560223"/>
              <a:gd name="connsiteX104" fmla="*/ 438724 w 589749"/>
              <a:gd name="connsiteY104" fmla="*/ 534296 h 560223"/>
              <a:gd name="connsiteX105" fmla="*/ 470389 w 589749"/>
              <a:gd name="connsiteY105" fmla="*/ 505931 h 560223"/>
              <a:gd name="connsiteX106" fmla="*/ 498754 w 589749"/>
              <a:gd name="connsiteY106" fmla="*/ 534296 h 560223"/>
              <a:gd name="connsiteX107" fmla="*/ 438724 w 589749"/>
              <a:gd name="connsiteY107" fmla="*/ 534296 h 560223"/>
              <a:gd name="connsiteX108" fmla="*/ 457413 w 589749"/>
              <a:gd name="connsiteY108" fmla="*/ 479514 h 560223"/>
              <a:gd name="connsiteX109" fmla="*/ 468739 w 589749"/>
              <a:gd name="connsiteY109" fmla="*/ 468188 h 560223"/>
              <a:gd name="connsiteX110" fmla="*/ 480066 w 589749"/>
              <a:gd name="connsiteY110" fmla="*/ 479514 h 560223"/>
              <a:gd name="connsiteX111" fmla="*/ 468739 w 589749"/>
              <a:gd name="connsiteY111" fmla="*/ 490841 h 560223"/>
              <a:gd name="connsiteX112" fmla="*/ 457413 w 589749"/>
              <a:gd name="connsiteY112" fmla="*/ 479514 h 560223"/>
              <a:gd name="connsiteX113" fmla="*/ 521596 w 589749"/>
              <a:gd name="connsiteY113" fmla="*/ 490841 h 560223"/>
              <a:gd name="connsiteX114" fmla="*/ 511613 w 589749"/>
              <a:gd name="connsiteY114" fmla="*/ 521633 h 560223"/>
              <a:gd name="connsiteX115" fmla="*/ 489353 w 589749"/>
              <a:gd name="connsiteY115" fmla="*/ 495847 h 560223"/>
              <a:gd name="connsiteX116" fmla="*/ 495167 w 589749"/>
              <a:gd name="connsiteY116" fmla="*/ 479514 h 560223"/>
              <a:gd name="connsiteX117" fmla="*/ 468739 w 589749"/>
              <a:gd name="connsiteY117" fmla="*/ 453086 h 560223"/>
              <a:gd name="connsiteX118" fmla="*/ 442311 w 589749"/>
              <a:gd name="connsiteY118" fmla="*/ 479514 h 560223"/>
              <a:gd name="connsiteX119" fmla="*/ 448125 w 589749"/>
              <a:gd name="connsiteY119" fmla="*/ 495847 h 560223"/>
              <a:gd name="connsiteX120" fmla="*/ 425865 w 589749"/>
              <a:gd name="connsiteY120" fmla="*/ 521633 h 560223"/>
              <a:gd name="connsiteX121" fmla="*/ 437826 w 589749"/>
              <a:gd name="connsiteY121" fmla="*/ 447847 h 560223"/>
              <a:gd name="connsiteX122" fmla="*/ 511613 w 589749"/>
              <a:gd name="connsiteY122" fmla="*/ 459808 h 560223"/>
              <a:gd name="connsiteX123" fmla="*/ 521596 w 589749"/>
              <a:gd name="connsiteY123" fmla="*/ 490841 h 560223"/>
              <a:gd name="connsiteX124" fmla="*/ 353852 w 589749"/>
              <a:gd name="connsiteY124" fmla="*/ 366409 h 560223"/>
              <a:gd name="connsiteX125" fmla="*/ 319699 w 589749"/>
              <a:gd name="connsiteY125" fmla="*/ 326661 h 560223"/>
              <a:gd name="connsiteX126" fmla="*/ 321461 w 589749"/>
              <a:gd name="connsiteY126" fmla="*/ 275637 h 560223"/>
              <a:gd name="connsiteX127" fmla="*/ 270437 w 589749"/>
              <a:gd name="connsiteY127" fmla="*/ 273875 h 560223"/>
              <a:gd name="connsiteX128" fmla="*/ 268675 w 589749"/>
              <a:gd name="connsiteY128" fmla="*/ 324899 h 560223"/>
              <a:gd name="connsiteX129" fmla="*/ 270437 w 589749"/>
              <a:gd name="connsiteY129" fmla="*/ 326661 h 560223"/>
              <a:gd name="connsiteX130" fmla="*/ 236284 w 589749"/>
              <a:gd name="connsiteY130" fmla="*/ 366409 h 560223"/>
              <a:gd name="connsiteX131" fmla="*/ 241866 w 589749"/>
              <a:gd name="connsiteY131" fmla="*/ 254423 h 560223"/>
              <a:gd name="connsiteX132" fmla="*/ 353852 w 589749"/>
              <a:gd name="connsiteY132" fmla="*/ 260004 h 560223"/>
              <a:gd name="connsiteX133" fmla="*/ 353852 w 589749"/>
              <a:gd name="connsiteY133" fmla="*/ 366409 h 560223"/>
              <a:gd name="connsiteX134" fmla="*/ 491581 w 589749"/>
              <a:gd name="connsiteY134" fmla="*/ 262463 h 560223"/>
              <a:gd name="connsiteX135" fmla="*/ 523246 w 589749"/>
              <a:gd name="connsiteY135" fmla="*/ 234098 h 560223"/>
              <a:gd name="connsiteX136" fmla="*/ 551611 w 589749"/>
              <a:gd name="connsiteY136" fmla="*/ 262463 h 560223"/>
              <a:gd name="connsiteX137" fmla="*/ 491581 w 589749"/>
              <a:gd name="connsiteY137" fmla="*/ 262463 h 560223"/>
              <a:gd name="connsiteX138" fmla="*/ 510269 w 589749"/>
              <a:gd name="connsiteY138" fmla="*/ 207681 h 560223"/>
              <a:gd name="connsiteX139" fmla="*/ 521596 w 589749"/>
              <a:gd name="connsiteY139" fmla="*/ 196355 h 560223"/>
              <a:gd name="connsiteX140" fmla="*/ 532922 w 589749"/>
              <a:gd name="connsiteY140" fmla="*/ 207681 h 560223"/>
              <a:gd name="connsiteX141" fmla="*/ 521596 w 589749"/>
              <a:gd name="connsiteY141" fmla="*/ 219007 h 560223"/>
              <a:gd name="connsiteX142" fmla="*/ 510269 w 589749"/>
              <a:gd name="connsiteY142" fmla="*/ 207681 h 560223"/>
              <a:gd name="connsiteX143" fmla="*/ 521596 w 589749"/>
              <a:gd name="connsiteY143" fmla="*/ 166151 h 560223"/>
              <a:gd name="connsiteX144" fmla="*/ 574452 w 589749"/>
              <a:gd name="connsiteY144" fmla="*/ 218826 h 560223"/>
              <a:gd name="connsiteX145" fmla="*/ 564470 w 589749"/>
              <a:gd name="connsiteY145" fmla="*/ 249800 h 560223"/>
              <a:gd name="connsiteX146" fmla="*/ 542210 w 589749"/>
              <a:gd name="connsiteY146" fmla="*/ 224014 h 560223"/>
              <a:gd name="connsiteX147" fmla="*/ 548024 w 589749"/>
              <a:gd name="connsiteY147" fmla="*/ 207681 h 560223"/>
              <a:gd name="connsiteX148" fmla="*/ 521596 w 589749"/>
              <a:gd name="connsiteY148" fmla="*/ 181253 h 560223"/>
              <a:gd name="connsiteX149" fmla="*/ 495167 w 589749"/>
              <a:gd name="connsiteY149" fmla="*/ 207681 h 560223"/>
              <a:gd name="connsiteX150" fmla="*/ 500982 w 589749"/>
              <a:gd name="connsiteY150" fmla="*/ 224014 h 560223"/>
              <a:gd name="connsiteX151" fmla="*/ 478721 w 589749"/>
              <a:gd name="connsiteY151" fmla="*/ 249800 h 560223"/>
              <a:gd name="connsiteX152" fmla="*/ 490622 w 589749"/>
              <a:gd name="connsiteY152" fmla="*/ 176133 h 560223"/>
              <a:gd name="connsiteX153" fmla="*/ 521596 w 589749"/>
              <a:gd name="connsiteY153" fmla="*/ 166151 h 560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589749" h="560223">
                <a:moveTo>
                  <a:pt x="521596" y="286966"/>
                </a:moveTo>
                <a:cubicBezTo>
                  <a:pt x="559182" y="287019"/>
                  <a:pt x="589696" y="256594"/>
                  <a:pt x="589750" y="219007"/>
                </a:cubicBezTo>
                <a:cubicBezTo>
                  <a:pt x="589803" y="181420"/>
                  <a:pt x="559377" y="150907"/>
                  <a:pt x="521790" y="150853"/>
                </a:cubicBezTo>
                <a:cubicBezTo>
                  <a:pt x="484204" y="150799"/>
                  <a:pt x="453691" y="181226"/>
                  <a:pt x="453637" y="218812"/>
                </a:cubicBezTo>
                <a:cubicBezTo>
                  <a:pt x="453627" y="225529"/>
                  <a:pt x="454612" y="232211"/>
                  <a:pt x="456560" y="238640"/>
                </a:cubicBezTo>
                <a:lnTo>
                  <a:pt x="379540" y="271456"/>
                </a:lnTo>
                <a:cubicBezTo>
                  <a:pt x="364798" y="241818"/>
                  <a:pt x="335613" y="222065"/>
                  <a:pt x="302619" y="219392"/>
                </a:cubicBezTo>
                <a:lnTo>
                  <a:pt x="302619" y="135502"/>
                </a:lnTo>
                <a:cubicBezTo>
                  <a:pt x="339919" y="131331"/>
                  <a:pt x="366776" y="97713"/>
                  <a:pt x="362606" y="60413"/>
                </a:cubicBezTo>
                <a:cubicBezTo>
                  <a:pt x="358435" y="23113"/>
                  <a:pt x="324817" y="-3743"/>
                  <a:pt x="287517" y="427"/>
                </a:cubicBezTo>
                <a:cubicBezTo>
                  <a:pt x="250217" y="4597"/>
                  <a:pt x="223360" y="38215"/>
                  <a:pt x="227530" y="75515"/>
                </a:cubicBezTo>
                <a:cubicBezTo>
                  <a:pt x="231058" y="107069"/>
                  <a:pt x="255964" y="131974"/>
                  <a:pt x="287517" y="135502"/>
                </a:cubicBezTo>
                <a:lnTo>
                  <a:pt x="287517" y="219392"/>
                </a:lnTo>
                <a:cubicBezTo>
                  <a:pt x="254537" y="222077"/>
                  <a:pt x="225369" y="241829"/>
                  <a:pt x="210633" y="271456"/>
                </a:cubicBezTo>
                <a:lnTo>
                  <a:pt x="133576" y="238640"/>
                </a:lnTo>
                <a:cubicBezTo>
                  <a:pt x="144590" y="202581"/>
                  <a:pt x="124288" y="164421"/>
                  <a:pt x="88229" y="153407"/>
                </a:cubicBezTo>
                <a:cubicBezTo>
                  <a:pt x="52170" y="142393"/>
                  <a:pt x="14010" y="162696"/>
                  <a:pt x="2996" y="198754"/>
                </a:cubicBezTo>
                <a:cubicBezTo>
                  <a:pt x="-8018" y="234813"/>
                  <a:pt x="12285" y="272973"/>
                  <a:pt x="48344" y="283987"/>
                </a:cubicBezTo>
                <a:cubicBezTo>
                  <a:pt x="78873" y="293312"/>
                  <a:pt x="111788" y="280236"/>
                  <a:pt x="127596" y="252503"/>
                </a:cubicBezTo>
                <a:lnTo>
                  <a:pt x="204910" y="285456"/>
                </a:lnTo>
                <a:cubicBezTo>
                  <a:pt x="195605" y="315420"/>
                  <a:pt x="201834" y="348050"/>
                  <a:pt x="221522" y="372480"/>
                </a:cubicBezTo>
                <a:lnTo>
                  <a:pt x="159415" y="434586"/>
                </a:lnTo>
                <a:cubicBezTo>
                  <a:pt x="128056" y="413082"/>
                  <a:pt x="85201" y="421071"/>
                  <a:pt x="63697" y="452430"/>
                </a:cubicBezTo>
                <a:cubicBezTo>
                  <a:pt x="42192" y="483790"/>
                  <a:pt x="50181" y="526644"/>
                  <a:pt x="81540" y="548149"/>
                </a:cubicBezTo>
                <a:cubicBezTo>
                  <a:pt x="112900" y="569654"/>
                  <a:pt x="155755" y="561665"/>
                  <a:pt x="177259" y="530305"/>
                </a:cubicBezTo>
                <a:cubicBezTo>
                  <a:pt x="195485" y="503728"/>
                  <a:pt x="192836" y="468064"/>
                  <a:pt x="170885" y="444470"/>
                </a:cubicBezTo>
                <a:lnTo>
                  <a:pt x="231942" y="383414"/>
                </a:lnTo>
                <a:cubicBezTo>
                  <a:pt x="267720" y="415935"/>
                  <a:pt x="322355" y="415935"/>
                  <a:pt x="358133" y="383414"/>
                </a:cubicBezTo>
                <a:lnTo>
                  <a:pt x="419190" y="444470"/>
                </a:lnTo>
                <a:cubicBezTo>
                  <a:pt x="393983" y="471713"/>
                  <a:pt x="395632" y="514231"/>
                  <a:pt x="422874" y="539438"/>
                </a:cubicBezTo>
                <a:cubicBezTo>
                  <a:pt x="450116" y="564647"/>
                  <a:pt x="492635" y="562997"/>
                  <a:pt x="517842" y="535755"/>
                </a:cubicBezTo>
                <a:cubicBezTo>
                  <a:pt x="543049" y="508513"/>
                  <a:pt x="541400" y="465994"/>
                  <a:pt x="514158" y="440786"/>
                </a:cubicBezTo>
                <a:cubicBezTo>
                  <a:pt x="491171" y="419515"/>
                  <a:pt x="456537" y="416944"/>
                  <a:pt x="430660" y="434586"/>
                </a:cubicBezTo>
                <a:lnTo>
                  <a:pt x="368553" y="372480"/>
                </a:lnTo>
                <a:cubicBezTo>
                  <a:pt x="388263" y="348061"/>
                  <a:pt x="394514" y="315430"/>
                  <a:pt x="385226" y="285456"/>
                </a:cubicBezTo>
                <a:lnTo>
                  <a:pt x="462540" y="252526"/>
                </a:lnTo>
                <a:cubicBezTo>
                  <a:pt x="474598" y="273792"/>
                  <a:pt x="497149" y="286944"/>
                  <a:pt x="521596" y="286966"/>
                </a:cubicBezTo>
                <a:close/>
                <a:moveTo>
                  <a:pt x="38525" y="262463"/>
                </a:moveTo>
                <a:cubicBezTo>
                  <a:pt x="39436" y="245886"/>
                  <a:pt x="53613" y="233186"/>
                  <a:pt x="70190" y="234098"/>
                </a:cubicBezTo>
                <a:cubicBezTo>
                  <a:pt x="85493" y="234939"/>
                  <a:pt x="97714" y="247159"/>
                  <a:pt x="98555" y="262463"/>
                </a:cubicBezTo>
                <a:cubicBezTo>
                  <a:pt x="80508" y="274997"/>
                  <a:pt x="56572" y="274997"/>
                  <a:pt x="38525" y="262463"/>
                </a:cubicBezTo>
                <a:close/>
                <a:moveTo>
                  <a:pt x="57214" y="207681"/>
                </a:moveTo>
                <a:cubicBezTo>
                  <a:pt x="57214" y="201426"/>
                  <a:pt x="62285" y="196355"/>
                  <a:pt x="68540" y="196355"/>
                </a:cubicBezTo>
                <a:cubicBezTo>
                  <a:pt x="74795" y="196355"/>
                  <a:pt x="79866" y="201426"/>
                  <a:pt x="79866" y="207681"/>
                </a:cubicBezTo>
                <a:cubicBezTo>
                  <a:pt x="79866" y="213936"/>
                  <a:pt x="74795" y="219007"/>
                  <a:pt x="68540" y="219007"/>
                </a:cubicBezTo>
                <a:cubicBezTo>
                  <a:pt x="62285" y="219007"/>
                  <a:pt x="57214" y="213936"/>
                  <a:pt x="57214" y="207681"/>
                </a:cubicBezTo>
                <a:close/>
                <a:moveTo>
                  <a:pt x="111414" y="249800"/>
                </a:moveTo>
                <a:cubicBezTo>
                  <a:pt x="107612" y="238647"/>
                  <a:pt x="99632" y="229403"/>
                  <a:pt x="89154" y="224014"/>
                </a:cubicBezTo>
                <a:cubicBezTo>
                  <a:pt x="92891" y="219388"/>
                  <a:pt x="94941" y="213627"/>
                  <a:pt x="94968" y="207681"/>
                </a:cubicBezTo>
                <a:cubicBezTo>
                  <a:pt x="94968" y="193085"/>
                  <a:pt x="83136" y="181253"/>
                  <a:pt x="68540" y="181253"/>
                </a:cubicBezTo>
                <a:cubicBezTo>
                  <a:pt x="53944" y="181253"/>
                  <a:pt x="42112" y="193085"/>
                  <a:pt x="42112" y="207681"/>
                </a:cubicBezTo>
                <a:cubicBezTo>
                  <a:pt x="42139" y="213627"/>
                  <a:pt x="44189" y="219388"/>
                  <a:pt x="47926" y="224014"/>
                </a:cubicBezTo>
                <a:cubicBezTo>
                  <a:pt x="37448" y="229403"/>
                  <a:pt x="29468" y="238647"/>
                  <a:pt x="25666" y="249800"/>
                </a:cubicBezTo>
                <a:cubicBezTo>
                  <a:pt x="8593" y="226121"/>
                  <a:pt x="13948" y="193086"/>
                  <a:pt x="37627" y="176013"/>
                </a:cubicBezTo>
                <a:cubicBezTo>
                  <a:pt x="61305" y="158940"/>
                  <a:pt x="94342" y="164296"/>
                  <a:pt x="111414" y="187974"/>
                </a:cubicBezTo>
                <a:cubicBezTo>
                  <a:pt x="124724" y="206434"/>
                  <a:pt x="124724" y="231340"/>
                  <a:pt x="111414" y="249800"/>
                </a:cubicBezTo>
                <a:close/>
                <a:moveTo>
                  <a:pt x="283741" y="56662"/>
                </a:moveTo>
                <a:cubicBezTo>
                  <a:pt x="283741" y="50407"/>
                  <a:pt x="288813" y="45336"/>
                  <a:pt x="295068" y="45336"/>
                </a:cubicBezTo>
                <a:cubicBezTo>
                  <a:pt x="301323" y="45336"/>
                  <a:pt x="306394" y="50407"/>
                  <a:pt x="306394" y="56662"/>
                </a:cubicBezTo>
                <a:cubicBezTo>
                  <a:pt x="306394" y="62918"/>
                  <a:pt x="301323" y="67989"/>
                  <a:pt x="295068" y="67989"/>
                </a:cubicBezTo>
                <a:cubicBezTo>
                  <a:pt x="288813" y="67989"/>
                  <a:pt x="283741" y="62918"/>
                  <a:pt x="283741" y="56662"/>
                </a:cubicBezTo>
                <a:close/>
                <a:moveTo>
                  <a:pt x="295068" y="83091"/>
                </a:moveTo>
                <a:cubicBezTo>
                  <a:pt x="310990" y="83134"/>
                  <a:pt x="324134" y="95550"/>
                  <a:pt x="325083" y="111444"/>
                </a:cubicBezTo>
                <a:cubicBezTo>
                  <a:pt x="307036" y="123979"/>
                  <a:pt x="283100" y="123979"/>
                  <a:pt x="265053" y="111444"/>
                </a:cubicBezTo>
                <a:cubicBezTo>
                  <a:pt x="266002" y="95550"/>
                  <a:pt x="279146" y="83134"/>
                  <a:pt x="295068" y="83091"/>
                </a:cubicBezTo>
                <a:close/>
                <a:moveTo>
                  <a:pt x="242211" y="67989"/>
                </a:moveTo>
                <a:cubicBezTo>
                  <a:pt x="242145" y="38797"/>
                  <a:pt x="265756" y="15079"/>
                  <a:pt x="294948" y="15012"/>
                </a:cubicBezTo>
                <a:cubicBezTo>
                  <a:pt x="324140" y="14946"/>
                  <a:pt x="347858" y="38557"/>
                  <a:pt x="347924" y="67749"/>
                </a:cubicBezTo>
                <a:cubicBezTo>
                  <a:pt x="347949" y="78886"/>
                  <a:pt x="344455" y="89748"/>
                  <a:pt x="337942" y="98781"/>
                </a:cubicBezTo>
                <a:cubicBezTo>
                  <a:pt x="334139" y="87629"/>
                  <a:pt x="326160" y="78385"/>
                  <a:pt x="315682" y="72995"/>
                </a:cubicBezTo>
                <a:cubicBezTo>
                  <a:pt x="319419" y="68369"/>
                  <a:pt x="321469" y="62609"/>
                  <a:pt x="321496" y="56662"/>
                </a:cubicBezTo>
                <a:cubicBezTo>
                  <a:pt x="321496" y="42066"/>
                  <a:pt x="309664" y="30234"/>
                  <a:pt x="295068" y="30234"/>
                </a:cubicBezTo>
                <a:cubicBezTo>
                  <a:pt x="280472" y="30234"/>
                  <a:pt x="268640" y="42066"/>
                  <a:pt x="268640" y="56662"/>
                </a:cubicBezTo>
                <a:cubicBezTo>
                  <a:pt x="268666" y="62609"/>
                  <a:pt x="270717" y="68369"/>
                  <a:pt x="274454" y="72995"/>
                </a:cubicBezTo>
                <a:cubicBezTo>
                  <a:pt x="263975" y="78385"/>
                  <a:pt x="255996" y="87629"/>
                  <a:pt x="252194" y="98781"/>
                </a:cubicBezTo>
                <a:cubicBezTo>
                  <a:pt x="245707" y="89824"/>
                  <a:pt x="242214" y="79048"/>
                  <a:pt x="242211" y="67989"/>
                </a:cubicBezTo>
                <a:close/>
                <a:moveTo>
                  <a:pt x="91382" y="534296"/>
                </a:moveTo>
                <a:cubicBezTo>
                  <a:pt x="92293" y="517720"/>
                  <a:pt x="106470" y="505020"/>
                  <a:pt x="123046" y="505931"/>
                </a:cubicBezTo>
                <a:cubicBezTo>
                  <a:pt x="138350" y="506772"/>
                  <a:pt x="150570" y="518993"/>
                  <a:pt x="151411" y="534296"/>
                </a:cubicBezTo>
                <a:cubicBezTo>
                  <a:pt x="133365" y="546831"/>
                  <a:pt x="109428" y="546831"/>
                  <a:pt x="91382" y="534296"/>
                </a:cubicBezTo>
                <a:close/>
                <a:moveTo>
                  <a:pt x="110070" y="479514"/>
                </a:moveTo>
                <a:cubicBezTo>
                  <a:pt x="110070" y="473259"/>
                  <a:pt x="115141" y="468188"/>
                  <a:pt x="121397" y="468188"/>
                </a:cubicBezTo>
                <a:cubicBezTo>
                  <a:pt x="127652" y="468188"/>
                  <a:pt x="132723" y="473259"/>
                  <a:pt x="132723" y="479514"/>
                </a:cubicBezTo>
                <a:cubicBezTo>
                  <a:pt x="132723" y="485770"/>
                  <a:pt x="127652" y="490841"/>
                  <a:pt x="121397" y="490841"/>
                </a:cubicBezTo>
                <a:cubicBezTo>
                  <a:pt x="115141" y="490841"/>
                  <a:pt x="110070" y="485770"/>
                  <a:pt x="110070" y="479514"/>
                </a:cubicBezTo>
                <a:close/>
                <a:moveTo>
                  <a:pt x="164271" y="521633"/>
                </a:moveTo>
                <a:cubicBezTo>
                  <a:pt x="160468" y="510481"/>
                  <a:pt x="152489" y="501237"/>
                  <a:pt x="142011" y="495847"/>
                </a:cubicBezTo>
                <a:cubicBezTo>
                  <a:pt x="145747" y="491221"/>
                  <a:pt x="147798" y="485461"/>
                  <a:pt x="147825" y="479514"/>
                </a:cubicBezTo>
                <a:cubicBezTo>
                  <a:pt x="147825" y="464918"/>
                  <a:pt x="135992" y="453086"/>
                  <a:pt x="121397" y="453086"/>
                </a:cubicBezTo>
                <a:cubicBezTo>
                  <a:pt x="106801" y="453086"/>
                  <a:pt x="94968" y="464918"/>
                  <a:pt x="94968" y="479514"/>
                </a:cubicBezTo>
                <a:cubicBezTo>
                  <a:pt x="94995" y="485461"/>
                  <a:pt x="97046" y="491221"/>
                  <a:pt x="100782" y="495847"/>
                </a:cubicBezTo>
                <a:cubicBezTo>
                  <a:pt x="90304" y="501237"/>
                  <a:pt x="82325" y="510481"/>
                  <a:pt x="78522" y="521633"/>
                </a:cubicBezTo>
                <a:cubicBezTo>
                  <a:pt x="61450" y="497954"/>
                  <a:pt x="66805" y="464919"/>
                  <a:pt x="90484" y="447847"/>
                </a:cubicBezTo>
                <a:cubicBezTo>
                  <a:pt x="114162" y="430774"/>
                  <a:pt x="147198" y="436129"/>
                  <a:pt x="164271" y="459807"/>
                </a:cubicBezTo>
                <a:cubicBezTo>
                  <a:pt x="177581" y="478267"/>
                  <a:pt x="177581" y="503174"/>
                  <a:pt x="164271" y="521633"/>
                </a:cubicBezTo>
                <a:close/>
                <a:moveTo>
                  <a:pt x="249407" y="378098"/>
                </a:moveTo>
                <a:cubicBezTo>
                  <a:pt x="251793" y="352880"/>
                  <a:pt x="274170" y="334371"/>
                  <a:pt x="299388" y="336757"/>
                </a:cubicBezTo>
                <a:cubicBezTo>
                  <a:pt x="321304" y="338831"/>
                  <a:pt x="338655" y="356182"/>
                  <a:pt x="340728" y="378098"/>
                </a:cubicBezTo>
                <a:cubicBezTo>
                  <a:pt x="313392" y="397538"/>
                  <a:pt x="276744" y="397538"/>
                  <a:pt x="249407" y="378098"/>
                </a:cubicBezTo>
                <a:close/>
                <a:moveTo>
                  <a:pt x="274069" y="300414"/>
                </a:moveTo>
                <a:cubicBezTo>
                  <a:pt x="274073" y="288816"/>
                  <a:pt x="283478" y="279418"/>
                  <a:pt x="295075" y="279422"/>
                </a:cubicBezTo>
                <a:cubicBezTo>
                  <a:pt x="306673" y="279427"/>
                  <a:pt x="316072" y="288832"/>
                  <a:pt x="316067" y="300429"/>
                </a:cubicBezTo>
                <a:cubicBezTo>
                  <a:pt x="316062" y="312023"/>
                  <a:pt x="306662" y="321421"/>
                  <a:pt x="295068" y="321421"/>
                </a:cubicBezTo>
                <a:cubicBezTo>
                  <a:pt x="283473" y="321408"/>
                  <a:pt x="274077" y="312009"/>
                  <a:pt x="274069" y="300414"/>
                </a:cubicBezTo>
                <a:close/>
                <a:moveTo>
                  <a:pt x="438724" y="534296"/>
                </a:moveTo>
                <a:cubicBezTo>
                  <a:pt x="439636" y="517720"/>
                  <a:pt x="453812" y="505020"/>
                  <a:pt x="470389" y="505931"/>
                </a:cubicBezTo>
                <a:cubicBezTo>
                  <a:pt x="485693" y="506772"/>
                  <a:pt x="497913" y="518993"/>
                  <a:pt x="498754" y="534296"/>
                </a:cubicBezTo>
                <a:cubicBezTo>
                  <a:pt x="480707" y="546831"/>
                  <a:pt x="456771" y="546831"/>
                  <a:pt x="438724" y="534296"/>
                </a:cubicBezTo>
                <a:close/>
                <a:moveTo>
                  <a:pt x="457413" y="479514"/>
                </a:moveTo>
                <a:cubicBezTo>
                  <a:pt x="457413" y="473259"/>
                  <a:pt x="462484" y="468188"/>
                  <a:pt x="468739" y="468188"/>
                </a:cubicBezTo>
                <a:cubicBezTo>
                  <a:pt x="474994" y="468188"/>
                  <a:pt x="480066" y="473259"/>
                  <a:pt x="480066" y="479514"/>
                </a:cubicBezTo>
                <a:cubicBezTo>
                  <a:pt x="480066" y="485770"/>
                  <a:pt x="474994" y="490841"/>
                  <a:pt x="468739" y="490841"/>
                </a:cubicBezTo>
                <a:cubicBezTo>
                  <a:pt x="462484" y="490841"/>
                  <a:pt x="457413" y="485770"/>
                  <a:pt x="457413" y="479514"/>
                </a:cubicBezTo>
                <a:close/>
                <a:moveTo>
                  <a:pt x="521596" y="490841"/>
                </a:moveTo>
                <a:cubicBezTo>
                  <a:pt x="521593" y="501900"/>
                  <a:pt x="518100" y="512676"/>
                  <a:pt x="511613" y="521633"/>
                </a:cubicBezTo>
                <a:cubicBezTo>
                  <a:pt x="507811" y="510481"/>
                  <a:pt x="499832" y="501237"/>
                  <a:pt x="489353" y="495847"/>
                </a:cubicBezTo>
                <a:cubicBezTo>
                  <a:pt x="493090" y="491221"/>
                  <a:pt x="495141" y="485461"/>
                  <a:pt x="495167" y="479514"/>
                </a:cubicBezTo>
                <a:cubicBezTo>
                  <a:pt x="495167" y="464918"/>
                  <a:pt x="483335" y="453086"/>
                  <a:pt x="468739" y="453086"/>
                </a:cubicBezTo>
                <a:cubicBezTo>
                  <a:pt x="454143" y="453086"/>
                  <a:pt x="442311" y="464918"/>
                  <a:pt x="442311" y="479514"/>
                </a:cubicBezTo>
                <a:cubicBezTo>
                  <a:pt x="442338" y="485461"/>
                  <a:pt x="444388" y="491221"/>
                  <a:pt x="448125" y="495847"/>
                </a:cubicBezTo>
                <a:cubicBezTo>
                  <a:pt x="437647" y="501237"/>
                  <a:pt x="429668" y="510481"/>
                  <a:pt x="425865" y="521633"/>
                </a:cubicBezTo>
                <a:cubicBezTo>
                  <a:pt x="408792" y="497954"/>
                  <a:pt x="414147" y="464919"/>
                  <a:pt x="437826" y="447847"/>
                </a:cubicBezTo>
                <a:cubicBezTo>
                  <a:pt x="461505" y="430774"/>
                  <a:pt x="494541" y="436129"/>
                  <a:pt x="511613" y="459808"/>
                </a:cubicBezTo>
                <a:cubicBezTo>
                  <a:pt x="518128" y="468842"/>
                  <a:pt x="521621" y="479703"/>
                  <a:pt x="521596" y="490841"/>
                </a:cubicBezTo>
                <a:close/>
                <a:moveTo>
                  <a:pt x="353852" y="366409"/>
                </a:moveTo>
                <a:cubicBezTo>
                  <a:pt x="349008" y="348707"/>
                  <a:pt x="336470" y="334115"/>
                  <a:pt x="319699" y="326661"/>
                </a:cubicBezTo>
                <a:cubicBezTo>
                  <a:pt x="334275" y="313057"/>
                  <a:pt x="335064" y="290213"/>
                  <a:pt x="321461" y="275637"/>
                </a:cubicBezTo>
                <a:cubicBezTo>
                  <a:pt x="307858" y="261061"/>
                  <a:pt x="285013" y="260272"/>
                  <a:pt x="270437" y="273875"/>
                </a:cubicBezTo>
                <a:cubicBezTo>
                  <a:pt x="255860" y="287478"/>
                  <a:pt x="255071" y="310323"/>
                  <a:pt x="268675" y="324899"/>
                </a:cubicBezTo>
                <a:cubicBezTo>
                  <a:pt x="269241" y="325506"/>
                  <a:pt x="269830" y="326094"/>
                  <a:pt x="270437" y="326661"/>
                </a:cubicBezTo>
                <a:cubicBezTo>
                  <a:pt x="253665" y="334115"/>
                  <a:pt x="241128" y="348707"/>
                  <a:pt x="236284" y="366409"/>
                </a:cubicBezTo>
                <a:cubicBezTo>
                  <a:pt x="206901" y="333944"/>
                  <a:pt x="209400" y="283806"/>
                  <a:pt x="241866" y="254423"/>
                </a:cubicBezTo>
                <a:cubicBezTo>
                  <a:pt x="274331" y="225040"/>
                  <a:pt x="324469" y="227538"/>
                  <a:pt x="353852" y="260004"/>
                </a:cubicBezTo>
                <a:cubicBezTo>
                  <a:pt x="381186" y="290206"/>
                  <a:pt x="381186" y="336207"/>
                  <a:pt x="353852" y="366409"/>
                </a:cubicBezTo>
                <a:close/>
                <a:moveTo>
                  <a:pt x="491581" y="262463"/>
                </a:moveTo>
                <a:cubicBezTo>
                  <a:pt x="492492" y="245886"/>
                  <a:pt x="506669" y="233186"/>
                  <a:pt x="523246" y="234098"/>
                </a:cubicBezTo>
                <a:cubicBezTo>
                  <a:pt x="538549" y="234939"/>
                  <a:pt x="550769" y="247159"/>
                  <a:pt x="551611" y="262463"/>
                </a:cubicBezTo>
                <a:cubicBezTo>
                  <a:pt x="533564" y="274997"/>
                  <a:pt x="509627" y="274997"/>
                  <a:pt x="491581" y="262463"/>
                </a:cubicBezTo>
                <a:close/>
                <a:moveTo>
                  <a:pt x="510269" y="207681"/>
                </a:moveTo>
                <a:cubicBezTo>
                  <a:pt x="510269" y="201426"/>
                  <a:pt x="515340" y="196355"/>
                  <a:pt x="521596" y="196355"/>
                </a:cubicBezTo>
                <a:cubicBezTo>
                  <a:pt x="527851" y="196355"/>
                  <a:pt x="532922" y="201426"/>
                  <a:pt x="532922" y="207681"/>
                </a:cubicBezTo>
                <a:cubicBezTo>
                  <a:pt x="532922" y="213936"/>
                  <a:pt x="527851" y="219007"/>
                  <a:pt x="521596" y="219007"/>
                </a:cubicBezTo>
                <a:cubicBezTo>
                  <a:pt x="515340" y="219007"/>
                  <a:pt x="510269" y="213936"/>
                  <a:pt x="510269" y="207681"/>
                </a:cubicBezTo>
                <a:close/>
                <a:moveTo>
                  <a:pt x="521596" y="166151"/>
                </a:moveTo>
                <a:cubicBezTo>
                  <a:pt x="550738" y="166101"/>
                  <a:pt x="574402" y="189685"/>
                  <a:pt x="574452" y="218826"/>
                </a:cubicBezTo>
                <a:cubicBezTo>
                  <a:pt x="574471" y="229945"/>
                  <a:pt x="570977" y="240785"/>
                  <a:pt x="564470" y="249800"/>
                </a:cubicBezTo>
                <a:cubicBezTo>
                  <a:pt x="560667" y="238647"/>
                  <a:pt x="552688" y="229403"/>
                  <a:pt x="542210" y="224014"/>
                </a:cubicBezTo>
                <a:cubicBezTo>
                  <a:pt x="545947" y="219388"/>
                  <a:pt x="547997" y="213627"/>
                  <a:pt x="548024" y="207681"/>
                </a:cubicBezTo>
                <a:cubicBezTo>
                  <a:pt x="548024" y="193085"/>
                  <a:pt x="536192" y="181253"/>
                  <a:pt x="521596" y="181253"/>
                </a:cubicBezTo>
                <a:cubicBezTo>
                  <a:pt x="507000" y="181253"/>
                  <a:pt x="495167" y="193085"/>
                  <a:pt x="495167" y="207681"/>
                </a:cubicBezTo>
                <a:cubicBezTo>
                  <a:pt x="495195" y="213627"/>
                  <a:pt x="497245" y="219388"/>
                  <a:pt x="500982" y="224014"/>
                </a:cubicBezTo>
                <a:cubicBezTo>
                  <a:pt x="490503" y="229403"/>
                  <a:pt x="482524" y="238647"/>
                  <a:pt x="478721" y="249800"/>
                </a:cubicBezTo>
                <a:cubicBezTo>
                  <a:pt x="461665" y="226171"/>
                  <a:pt x="466993" y="193189"/>
                  <a:pt x="490622" y="176133"/>
                </a:cubicBezTo>
                <a:cubicBezTo>
                  <a:pt x="499637" y="169625"/>
                  <a:pt x="510477" y="166132"/>
                  <a:pt x="521596" y="166151"/>
                </a:cubicBezTo>
                <a:close/>
              </a:path>
            </a:pathLst>
          </a:custGeom>
          <a:solidFill>
            <a:schemeClr val="lt1"/>
          </a:solidFill>
          <a:ln w="10054" cap="flat">
            <a:solidFill>
              <a:schemeClr val="accent5"/>
            </a:solidFill>
            <a:prstDash val="solid"/>
            <a:miter/>
          </a:ln>
        </p:spPr>
        <p:txBody>
          <a:bodyPr rtlCol="0" anchor="ctr"/>
          <a:lstStyle/>
          <a:p>
            <a:endParaRPr lang="en-GB"/>
          </a:p>
        </p:txBody>
      </p:sp>
      <p:sp>
        <p:nvSpPr>
          <p:cNvPr id="144" name="Bild 128" descr="Hjärta kontur">
            <a:extLst>
              <a:ext uri="{FF2B5EF4-FFF2-40B4-BE49-F238E27FC236}">
                <a16:creationId xmlns:a16="http://schemas.microsoft.com/office/drawing/2014/main" id="{60805634-3D74-5216-CE7E-0E4E01A86621}"/>
              </a:ext>
            </a:extLst>
          </p:cNvPr>
          <p:cNvSpPr/>
          <p:nvPr/>
        </p:nvSpPr>
        <p:spPr>
          <a:xfrm>
            <a:off x="13488034" y="2004169"/>
            <a:ext cx="486370" cy="460835"/>
          </a:xfrm>
          <a:custGeom>
            <a:avLst/>
            <a:gdLst>
              <a:gd name="connsiteX0" fmla="*/ 364778 w 486370"/>
              <a:gd name="connsiteY0" fmla="*/ 0 h 460835"/>
              <a:gd name="connsiteX1" fmla="*/ 243185 w 486370"/>
              <a:gd name="connsiteY1" fmla="*/ 96058 h 460835"/>
              <a:gd name="connsiteX2" fmla="*/ 121593 w 486370"/>
              <a:gd name="connsiteY2" fmla="*/ 0 h 460835"/>
              <a:gd name="connsiteX3" fmla="*/ 0 w 486370"/>
              <a:gd name="connsiteY3" fmla="*/ 124668 h 460835"/>
              <a:gd name="connsiteX4" fmla="*/ 243185 w 486370"/>
              <a:gd name="connsiteY4" fmla="*/ 460836 h 460835"/>
              <a:gd name="connsiteX5" fmla="*/ 486370 w 486370"/>
              <a:gd name="connsiteY5" fmla="*/ 124668 h 460835"/>
              <a:gd name="connsiteX6" fmla="*/ 364778 w 486370"/>
              <a:gd name="connsiteY6" fmla="*/ 0 h 460835"/>
              <a:gd name="connsiteX7" fmla="*/ 243185 w 486370"/>
              <a:gd name="connsiteY7" fmla="*/ 442575 h 460835"/>
              <a:gd name="connsiteX8" fmla="*/ 14305 w 486370"/>
              <a:gd name="connsiteY8" fmla="*/ 124668 h 460835"/>
              <a:gd name="connsiteX9" fmla="*/ 46892 w 486370"/>
              <a:gd name="connsiteY9" fmla="*/ 49295 h 460835"/>
              <a:gd name="connsiteX10" fmla="*/ 121593 w 486370"/>
              <a:gd name="connsiteY10" fmla="*/ 14305 h 460835"/>
              <a:gd name="connsiteX11" fmla="*/ 230411 w 486370"/>
              <a:gd name="connsiteY11" fmla="*/ 102495 h 460835"/>
              <a:gd name="connsiteX12" fmla="*/ 243185 w 486370"/>
              <a:gd name="connsiteY12" fmla="*/ 127844 h 460835"/>
              <a:gd name="connsiteX13" fmla="*/ 255959 w 486370"/>
              <a:gd name="connsiteY13" fmla="*/ 102495 h 460835"/>
              <a:gd name="connsiteX14" fmla="*/ 364778 w 486370"/>
              <a:gd name="connsiteY14" fmla="*/ 14305 h 460835"/>
              <a:gd name="connsiteX15" fmla="*/ 472065 w 486370"/>
              <a:gd name="connsiteY15" fmla="*/ 124668 h 460835"/>
              <a:gd name="connsiteX16" fmla="*/ 243185 w 486370"/>
              <a:gd name="connsiteY16" fmla="*/ 442575 h 460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86370" h="460835">
                <a:moveTo>
                  <a:pt x="364778" y="0"/>
                </a:moveTo>
                <a:cubicBezTo>
                  <a:pt x="323221" y="0"/>
                  <a:pt x="278404" y="26178"/>
                  <a:pt x="243185" y="96058"/>
                </a:cubicBezTo>
                <a:cubicBezTo>
                  <a:pt x="207973" y="26192"/>
                  <a:pt x="163141" y="0"/>
                  <a:pt x="121593" y="0"/>
                </a:cubicBezTo>
                <a:cubicBezTo>
                  <a:pt x="56812" y="0"/>
                  <a:pt x="0" y="63657"/>
                  <a:pt x="0" y="124668"/>
                </a:cubicBezTo>
                <a:cubicBezTo>
                  <a:pt x="0" y="274871"/>
                  <a:pt x="243185" y="460836"/>
                  <a:pt x="243185" y="460836"/>
                </a:cubicBezTo>
                <a:cubicBezTo>
                  <a:pt x="243185" y="460836"/>
                  <a:pt x="486370" y="274871"/>
                  <a:pt x="486370" y="124668"/>
                </a:cubicBezTo>
                <a:cubicBezTo>
                  <a:pt x="486370" y="63664"/>
                  <a:pt x="429551" y="0"/>
                  <a:pt x="364778" y="0"/>
                </a:cubicBezTo>
                <a:close/>
                <a:moveTo>
                  <a:pt x="243185" y="442575"/>
                </a:moveTo>
                <a:cubicBezTo>
                  <a:pt x="200377" y="408000"/>
                  <a:pt x="14305" y="250430"/>
                  <a:pt x="14305" y="124668"/>
                </a:cubicBezTo>
                <a:cubicBezTo>
                  <a:pt x="15429" y="96368"/>
                  <a:pt x="27046" y="69501"/>
                  <a:pt x="46892" y="49295"/>
                </a:cubicBezTo>
                <a:cubicBezTo>
                  <a:pt x="65996" y="27956"/>
                  <a:pt x="92970" y="15321"/>
                  <a:pt x="121593" y="14305"/>
                </a:cubicBezTo>
                <a:cubicBezTo>
                  <a:pt x="163706" y="14305"/>
                  <a:pt x="201336" y="44803"/>
                  <a:pt x="230411" y="102495"/>
                </a:cubicBezTo>
                <a:lnTo>
                  <a:pt x="243185" y="127844"/>
                </a:lnTo>
                <a:lnTo>
                  <a:pt x="255959" y="102495"/>
                </a:lnTo>
                <a:cubicBezTo>
                  <a:pt x="285034" y="44803"/>
                  <a:pt x="322664" y="14305"/>
                  <a:pt x="364778" y="14305"/>
                </a:cubicBezTo>
                <a:cubicBezTo>
                  <a:pt x="418922" y="14305"/>
                  <a:pt x="472065" y="68972"/>
                  <a:pt x="472065" y="124668"/>
                </a:cubicBezTo>
                <a:cubicBezTo>
                  <a:pt x="472065" y="250430"/>
                  <a:pt x="285993" y="408000"/>
                  <a:pt x="243185" y="442575"/>
                </a:cubicBezTo>
                <a:close/>
              </a:path>
            </a:pathLst>
          </a:custGeom>
          <a:solidFill>
            <a:schemeClr val="lt1"/>
          </a:solidFill>
          <a:ln w="9525" cap="flat">
            <a:solidFill>
              <a:schemeClr val="accent5"/>
            </a:solidFill>
            <a:prstDash val="solid"/>
            <a:miter/>
          </a:ln>
        </p:spPr>
        <p:txBody>
          <a:bodyPr rtlCol="0" anchor="ctr"/>
          <a:lstStyle/>
          <a:p>
            <a:endParaRPr lang="en-GB"/>
          </a:p>
        </p:txBody>
      </p:sp>
      <p:sp>
        <p:nvSpPr>
          <p:cNvPr id="153" name="Bild 142" descr="Märke kontur">
            <a:extLst>
              <a:ext uri="{FF2B5EF4-FFF2-40B4-BE49-F238E27FC236}">
                <a16:creationId xmlns:a16="http://schemas.microsoft.com/office/drawing/2014/main" id="{ADF2A171-7FD3-F32A-AB7A-0B02282E73BB}"/>
              </a:ext>
            </a:extLst>
          </p:cNvPr>
          <p:cNvSpPr/>
          <p:nvPr/>
        </p:nvSpPr>
        <p:spPr>
          <a:xfrm>
            <a:off x="8087156" y="6761079"/>
            <a:ext cx="578685" cy="614286"/>
          </a:xfrm>
          <a:custGeom>
            <a:avLst/>
            <a:gdLst>
              <a:gd name="connsiteX0" fmla="*/ 569275 w 578685"/>
              <a:gd name="connsiteY0" fmla="*/ 370947 h 614286"/>
              <a:gd name="connsiteX1" fmla="*/ 335079 w 578685"/>
              <a:gd name="connsiteY1" fmla="*/ 136817 h 614286"/>
              <a:gd name="connsiteX2" fmla="*/ 311663 w 578685"/>
              <a:gd name="connsiteY2" fmla="*/ 126783 h 614286"/>
              <a:gd name="connsiteX3" fmla="*/ 157783 w 578685"/>
              <a:gd name="connsiteY3" fmla="*/ 126783 h 614286"/>
              <a:gd name="connsiteX4" fmla="*/ 151567 w 578685"/>
              <a:gd name="connsiteY4" fmla="*/ 127097 h 614286"/>
              <a:gd name="connsiteX5" fmla="*/ 109710 w 578685"/>
              <a:gd name="connsiteY5" fmla="*/ 92853 h 614286"/>
              <a:gd name="connsiteX6" fmla="*/ 53802 w 578685"/>
              <a:gd name="connsiteY6" fmla="*/ 81678 h 614286"/>
              <a:gd name="connsiteX7" fmla="*/ 20740 w 578685"/>
              <a:gd name="connsiteY7" fmla="*/ 45648 h 614286"/>
              <a:gd name="connsiteX8" fmla="*/ 16483 w 578685"/>
              <a:gd name="connsiteY8" fmla="*/ 7354 h 614286"/>
              <a:gd name="connsiteX9" fmla="*/ 7354 w 578685"/>
              <a:gd name="connsiteY9" fmla="*/ 51 h 614286"/>
              <a:gd name="connsiteX10" fmla="*/ 51 w 578685"/>
              <a:gd name="connsiteY10" fmla="*/ 9181 h 614286"/>
              <a:gd name="connsiteX11" fmla="*/ 4308 w 578685"/>
              <a:gd name="connsiteY11" fmla="*/ 47475 h 614286"/>
              <a:gd name="connsiteX12" fmla="*/ 50529 w 578685"/>
              <a:gd name="connsiteY12" fmla="*/ 97895 h 614286"/>
              <a:gd name="connsiteX13" fmla="*/ 106429 w 578685"/>
              <a:gd name="connsiteY13" fmla="*/ 109070 h 614286"/>
              <a:gd name="connsiteX14" fmla="*/ 135127 w 578685"/>
              <a:gd name="connsiteY14" fmla="*/ 130825 h 614286"/>
              <a:gd name="connsiteX15" fmla="*/ 90832 w 578685"/>
              <a:gd name="connsiteY15" fmla="*/ 193684 h 614286"/>
              <a:gd name="connsiteX16" fmla="*/ 90832 w 578685"/>
              <a:gd name="connsiteY16" fmla="*/ 346696 h 614286"/>
              <a:gd name="connsiteX17" fmla="*/ 100866 w 578685"/>
              <a:gd name="connsiteY17" fmla="*/ 370112 h 614286"/>
              <a:gd name="connsiteX18" fmla="*/ 335029 w 578685"/>
              <a:gd name="connsiteY18" fmla="*/ 604251 h 614286"/>
              <a:gd name="connsiteX19" fmla="*/ 382145 w 578685"/>
              <a:gd name="connsiteY19" fmla="*/ 604802 h 614286"/>
              <a:gd name="connsiteX20" fmla="*/ 382697 w 578685"/>
              <a:gd name="connsiteY20" fmla="*/ 604251 h 614286"/>
              <a:gd name="connsiteX21" fmla="*/ 569275 w 578685"/>
              <a:gd name="connsiteY21" fmla="*/ 417780 h 614286"/>
              <a:gd name="connsiteX22" fmla="*/ 569275 w 578685"/>
              <a:gd name="connsiteY22" fmla="*/ 370947 h 614286"/>
              <a:gd name="connsiteX23" fmla="*/ 557588 w 578685"/>
              <a:gd name="connsiteY23" fmla="*/ 406084 h 614286"/>
              <a:gd name="connsiteX24" fmla="*/ 371059 w 578685"/>
              <a:gd name="connsiteY24" fmla="*/ 592555 h 614286"/>
              <a:gd name="connsiteX25" fmla="*/ 347313 w 578685"/>
              <a:gd name="connsiteY25" fmla="*/ 593101 h 614286"/>
              <a:gd name="connsiteX26" fmla="*/ 346766 w 578685"/>
              <a:gd name="connsiteY26" fmla="*/ 592555 h 614286"/>
              <a:gd name="connsiteX27" fmla="*/ 112603 w 578685"/>
              <a:gd name="connsiteY27" fmla="*/ 358450 h 614286"/>
              <a:gd name="connsiteX28" fmla="*/ 112190 w 578685"/>
              <a:gd name="connsiteY28" fmla="*/ 358037 h 614286"/>
              <a:gd name="connsiteX29" fmla="*/ 111777 w 578685"/>
              <a:gd name="connsiteY29" fmla="*/ 357673 h 614286"/>
              <a:gd name="connsiteX30" fmla="*/ 107388 w 578685"/>
              <a:gd name="connsiteY30" fmla="*/ 346696 h 614286"/>
              <a:gd name="connsiteX31" fmla="*/ 107388 w 578685"/>
              <a:gd name="connsiteY31" fmla="*/ 193676 h 614286"/>
              <a:gd name="connsiteX32" fmla="*/ 139946 w 578685"/>
              <a:gd name="connsiteY32" fmla="*/ 146628 h 614286"/>
              <a:gd name="connsiteX33" fmla="*/ 144012 w 578685"/>
              <a:gd name="connsiteY33" fmla="*/ 166937 h 614286"/>
              <a:gd name="connsiteX34" fmla="*/ 136739 w 578685"/>
              <a:gd name="connsiteY34" fmla="*/ 172268 h 614286"/>
              <a:gd name="connsiteX35" fmla="*/ 136796 w 578685"/>
              <a:gd name="connsiteY35" fmla="*/ 219025 h 614286"/>
              <a:gd name="connsiteX36" fmla="*/ 183552 w 578685"/>
              <a:gd name="connsiteY36" fmla="*/ 218969 h 614286"/>
              <a:gd name="connsiteX37" fmla="*/ 183495 w 578685"/>
              <a:gd name="connsiteY37" fmla="*/ 172211 h 614286"/>
              <a:gd name="connsiteX38" fmla="*/ 160130 w 578685"/>
              <a:gd name="connsiteY38" fmla="*/ 162556 h 614286"/>
              <a:gd name="connsiteX39" fmla="*/ 160006 w 578685"/>
              <a:gd name="connsiteY39" fmla="*/ 162556 h 614286"/>
              <a:gd name="connsiteX40" fmla="*/ 156163 w 578685"/>
              <a:gd name="connsiteY40" fmla="*/ 143347 h 614286"/>
              <a:gd name="connsiteX41" fmla="*/ 157766 w 578685"/>
              <a:gd name="connsiteY41" fmla="*/ 143273 h 614286"/>
              <a:gd name="connsiteX42" fmla="*/ 311663 w 578685"/>
              <a:gd name="connsiteY42" fmla="*/ 143273 h 614286"/>
              <a:gd name="connsiteX43" fmla="*/ 323383 w 578685"/>
              <a:gd name="connsiteY43" fmla="*/ 148463 h 614286"/>
              <a:gd name="connsiteX44" fmla="*/ 557546 w 578685"/>
              <a:gd name="connsiteY44" fmla="*/ 382602 h 614286"/>
              <a:gd name="connsiteX45" fmla="*/ 557546 w 578685"/>
              <a:gd name="connsiteY45" fmla="*/ 406043 h 614286"/>
              <a:gd name="connsiteX46" fmla="*/ 163395 w 578685"/>
              <a:gd name="connsiteY46" fmla="*/ 179434 h 614286"/>
              <a:gd name="connsiteX47" fmla="*/ 176664 w 578685"/>
              <a:gd name="connsiteY47" fmla="*/ 198923 h 614286"/>
              <a:gd name="connsiteX48" fmla="*/ 157175 w 578685"/>
              <a:gd name="connsiteY48" fmla="*/ 212192 h 614286"/>
              <a:gd name="connsiteX49" fmla="*/ 143906 w 578685"/>
              <a:gd name="connsiteY49" fmla="*/ 192703 h 614286"/>
              <a:gd name="connsiteX50" fmla="*/ 147641 w 578685"/>
              <a:gd name="connsiteY50" fmla="*/ 184948 h 614286"/>
              <a:gd name="connsiteX51" fmla="*/ 148997 w 578685"/>
              <a:gd name="connsiteY51" fmla="*/ 191734 h 614286"/>
              <a:gd name="connsiteX52" fmla="*/ 157089 w 578685"/>
              <a:gd name="connsiteY52" fmla="*/ 198346 h 614286"/>
              <a:gd name="connsiteX53" fmla="*/ 158742 w 578685"/>
              <a:gd name="connsiteY53" fmla="*/ 198189 h 614286"/>
              <a:gd name="connsiteX54" fmla="*/ 165222 w 578685"/>
              <a:gd name="connsiteY54" fmla="*/ 188460 h 614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578685" h="614286">
                <a:moveTo>
                  <a:pt x="569275" y="370947"/>
                </a:moveTo>
                <a:lnTo>
                  <a:pt x="335079" y="136817"/>
                </a:lnTo>
                <a:cubicBezTo>
                  <a:pt x="328931" y="130473"/>
                  <a:pt x="320496" y="126859"/>
                  <a:pt x="311663" y="126783"/>
                </a:cubicBezTo>
                <a:lnTo>
                  <a:pt x="157783" y="126783"/>
                </a:lnTo>
                <a:cubicBezTo>
                  <a:pt x="155683" y="126783"/>
                  <a:pt x="153650" y="126907"/>
                  <a:pt x="151567" y="127097"/>
                </a:cubicBezTo>
                <a:cubicBezTo>
                  <a:pt x="144167" y="109439"/>
                  <a:pt x="128484" y="96609"/>
                  <a:pt x="109710" y="92853"/>
                </a:cubicBezTo>
                <a:lnTo>
                  <a:pt x="53802" y="81678"/>
                </a:lnTo>
                <a:cubicBezTo>
                  <a:pt x="36085" y="78195"/>
                  <a:pt x="22691" y="63599"/>
                  <a:pt x="20740" y="45648"/>
                </a:cubicBezTo>
                <a:lnTo>
                  <a:pt x="16483" y="7354"/>
                </a:lnTo>
                <a:cubicBezTo>
                  <a:pt x="15979" y="2816"/>
                  <a:pt x="11892" y="-453"/>
                  <a:pt x="7354" y="51"/>
                </a:cubicBezTo>
                <a:cubicBezTo>
                  <a:pt x="2816" y="556"/>
                  <a:pt x="-453" y="4643"/>
                  <a:pt x="51" y="9181"/>
                </a:cubicBezTo>
                <a:lnTo>
                  <a:pt x="4308" y="47475"/>
                </a:lnTo>
                <a:cubicBezTo>
                  <a:pt x="7030" y="72582"/>
                  <a:pt x="25753" y="93006"/>
                  <a:pt x="50529" y="97895"/>
                </a:cubicBezTo>
                <a:lnTo>
                  <a:pt x="106429" y="109070"/>
                </a:lnTo>
                <a:cubicBezTo>
                  <a:pt x="118823" y="111540"/>
                  <a:pt x="129400" y="119559"/>
                  <a:pt x="135127" y="130825"/>
                </a:cubicBezTo>
                <a:cubicBezTo>
                  <a:pt x="108629" y="140400"/>
                  <a:pt x="90935" y="165509"/>
                  <a:pt x="90832" y="193684"/>
                </a:cubicBezTo>
                <a:lnTo>
                  <a:pt x="90832" y="346696"/>
                </a:lnTo>
                <a:cubicBezTo>
                  <a:pt x="90584" y="355595"/>
                  <a:pt x="94252" y="364155"/>
                  <a:pt x="100866" y="370112"/>
                </a:cubicBezTo>
                <a:lnTo>
                  <a:pt x="335029" y="604251"/>
                </a:lnTo>
                <a:cubicBezTo>
                  <a:pt x="347888" y="617414"/>
                  <a:pt x="368983" y="617661"/>
                  <a:pt x="382145" y="604802"/>
                </a:cubicBezTo>
                <a:cubicBezTo>
                  <a:pt x="382331" y="604620"/>
                  <a:pt x="382515" y="604437"/>
                  <a:pt x="382697" y="604251"/>
                </a:cubicBezTo>
                <a:lnTo>
                  <a:pt x="569275" y="417780"/>
                </a:lnTo>
                <a:cubicBezTo>
                  <a:pt x="581822" y="404691"/>
                  <a:pt x="581822" y="384037"/>
                  <a:pt x="569275" y="370947"/>
                </a:cubicBezTo>
                <a:close/>
                <a:moveTo>
                  <a:pt x="557588" y="406084"/>
                </a:moveTo>
                <a:lnTo>
                  <a:pt x="371059" y="592555"/>
                </a:lnTo>
                <a:cubicBezTo>
                  <a:pt x="364652" y="599263"/>
                  <a:pt x="354021" y="599508"/>
                  <a:pt x="347313" y="593101"/>
                </a:cubicBezTo>
                <a:cubicBezTo>
                  <a:pt x="347126" y="592924"/>
                  <a:pt x="346944" y="592741"/>
                  <a:pt x="346766" y="592555"/>
                </a:cubicBezTo>
                <a:lnTo>
                  <a:pt x="112603" y="358450"/>
                </a:lnTo>
                <a:lnTo>
                  <a:pt x="112190" y="358037"/>
                </a:lnTo>
                <a:lnTo>
                  <a:pt x="111777" y="357673"/>
                </a:lnTo>
                <a:cubicBezTo>
                  <a:pt x="108795" y="354821"/>
                  <a:pt x="107194" y="350817"/>
                  <a:pt x="107388" y="346696"/>
                </a:cubicBezTo>
                <a:lnTo>
                  <a:pt x="107388" y="193676"/>
                </a:lnTo>
                <a:cubicBezTo>
                  <a:pt x="107468" y="172770"/>
                  <a:pt x="120408" y="154070"/>
                  <a:pt x="139946" y="146628"/>
                </a:cubicBezTo>
                <a:lnTo>
                  <a:pt x="144012" y="166937"/>
                </a:lnTo>
                <a:cubicBezTo>
                  <a:pt x="141353" y="168368"/>
                  <a:pt x="138904" y="170162"/>
                  <a:pt x="136739" y="172268"/>
                </a:cubicBezTo>
                <a:cubicBezTo>
                  <a:pt x="123843" y="185196"/>
                  <a:pt x="123868" y="206129"/>
                  <a:pt x="136796" y="219025"/>
                </a:cubicBezTo>
                <a:cubicBezTo>
                  <a:pt x="149722" y="231922"/>
                  <a:pt x="170656" y="231896"/>
                  <a:pt x="183552" y="218969"/>
                </a:cubicBezTo>
                <a:cubicBezTo>
                  <a:pt x="196448" y="206041"/>
                  <a:pt x="196423" y="185108"/>
                  <a:pt x="183495" y="172211"/>
                </a:cubicBezTo>
                <a:cubicBezTo>
                  <a:pt x="177294" y="166024"/>
                  <a:pt x="168890" y="162552"/>
                  <a:pt x="160130" y="162556"/>
                </a:cubicBezTo>
                <a:lnTo>
                  <a:pt x="160006" y="162556"/>
                </a:lnTo>
                <a:lnTo>
                  <a:pt x="156163" y="143347"/>
                </a:lnTo>
                <a:cubicBezTo>
                  <a:pt x="156700" y="143347"/>
                  <a:pt x="157229" y="143273"/>
                  <a:pt x="157766" y="143273"/>
                </a:cubicBezTo>
                <a:lnTo>
                  <a:pt x="311663" y="143273"/>
                </a:lnTo>
                <a:cubicBezTo>
                  <a:pt x="316110" y="143348"/>
                  <a:pt x="320338" y="145220"/>
                  <a:pt x="323383" y="148463"/>
                </a:cubicBezTo>
                <a:lnTo>
                  <a:pt x="557546" y="382602"/>
                </a:lnTo>
                <a:cubicBezTo>
                  <a:pt x="563619" y="389236"/>
                  <a:pt x="563619" y="399409"/>
                  <a:pt x="557546" y="406043"/>
                </a:cubicBezTo>
                <a:close/>
                <a:moveTo>
                  <a:pt x="163395" y="179434"/>
                </a:moveTo>
                <a:cubicBezTo>
                  <a:pt x="172441" y="181152"/>
                  <a:pt x="178381" y="189877"/>
                  <a:pt x="176664" y="198923"/>
                </a:cubicBezTo>
                <a:cubicBezTo>
                  <a:pt x="174946" y="207970"/>
                  <a:pt x="166221" y="213910"/>
                  <a:pt x="157175" y="212192"/>
                </a:cubicBezTo>
                <a:cubicBezTo>
                  <a:pt x="148130" y="210475"/>
                  <a:pt x="142188" y="201749"/>
                  <a:pt x="143906" y="192703"/>
                </a:cubicBezTo>
                <a:cubicBezTo>
                  <a:pt x="144451" y="189836"/>
                  <a:pt x="145738" y="187161"/>
                  <a:pt x="147641" y="184948"/>
                </a:cubicBezTo>
                <a:lnTo>
                  <a:pt x="148997" y="191734"/>
                </a:lnTo>
                <a:cubicBezTo>
                  <a:pt x="149782" y="195580"/>
                  <a:pt x="153163" y="198343"/>
                  <a:pt x="157089" y="198346"/>
                </a:cubicBezTo>
                <a:cubicBezTo>
                  <a:pt x="157643" y="198348"/>
                  <a:pt x="158197" y="198295"/>
                  <a:pt x="158742" y="198189"/>
                </a:cubicBezTo>
                <a:cubicBezTo>
                  <a:pt x="163217" y="197292"/>
                  <a:pt x="166119" y="192936"/>
                  <a:pt x="165222" y="188460"/>
                </a:cubicBezTo>
                <a:close/>
              </a:path>
            </a:pathLst>
          </a:custGeom>
          <a:solidFill>
            <a:schemeClr val="lt1"/>
          </a:solidFill>
          <a:ln w="10980" cap="flat">
            <a:solidFill>
              <a:schemeClr val="accent5"/>
            </a:solidFill>
            <a:prstDash val="solid"/>
            <a:miter/>
          </a:ln>
        </p:spPr>
        <p:txBody>
          <a:bodyPr rtlCol="0" anchor="ctr"/>
          <a:lstStyle/>
          <a:p>
            <a:endParaRPr lang="en-GB"/>
          </a:p>
        </p:txBody>
      </p:sp>
    </p:spTree>
    <p:extLst>
      <p:ext uri="{BB962C8B-B14F-4D97-AF65-F5344CB8AC3E}">
        <p14:creationId xmlns:p14="http://schemas.microsoft.com/office/powerpoint/2010/main" val="1954687660"/>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1" name="Picture 12">
            <a:extLst>
              <a:ext uri="{FF2B5EF4-FFF2-40B4-BE49-F238E27FC236}">
                <a16:creationId xmlns:a16="http://schemas.microsoft.com/office/drawing/2014/main" id="{43802E0E-B79D-4EA7-8141-0CA3ED138B1A}"/>
              </a:ext>
            </a:extLst>
          </p:cNvPr>
          <p:cNvPicPr>
            <a:picLocks noChangeAspect="1"/>
          </p:cNvPicPr>
          <p:nvPr/>
        </p:nvPicPr>
        <p:blipFill>
          <a:blip r:embed="rId3"/>
          <a:srcRect/>
          <a:stretch>
            <a:fillRect/>
          </a:stretch>
        </p:blipFill>
        <p:spPr>
          <a:xfrm>
            <a:off x="0" y="8993140"/>
            <a:ext cx="5715000" cy="1385887"/>
          </a:xfrm>
          <a:prstGeom prst="rect">
            <a:avLst/>
          </a:prstGeom>
        </p:spPr>
      </p:pic>
      <p:grpSp>
        <p:nvGrpSpPr>
          <p:cNvPr id="132" name="Gruppo 2">
            <a:extLst>
              <a:ext uri="{FF2B5EF4-FFF2-40B4-BE49-F238E27FC236}">
                <a16:creationId xmlns:a16="http://schemas.microsoft.com/office/drawing/2014/main" id="{649928F6-6E82-4611-9715-AD3C75457C28}"/>
              </a:ext>
            </a:extLst>
          </p:cNvPr>
          <p:cNvGrpSpPr/>
          <p:nvPr/>
        </p:nvGrpSpPr>
        <p:grpSpPr>
          <a:xfrm>
            <a:off x="-12" y="138554"/>
            <a:ext cx="18288002" cy="681138"/>
            <a:chOff x="-12" y="138554"/>
            <a:chExt cx="18288002" cy="681138"/>
          </a:xfrm>
        </p:grpSpPr>
        <p:grpSp>
          <p:nvGrpSpPr>
            <p:cNvPr id="133" name="Gruppo 1">
              <a:extLst>
                <a:ext uri="{FF2B5EF4-FFF2-40B4-BE49-F238E27FC236}">
                  <a16:creationId xmlns:a16="http://schemas.microsoft.com/office/drawing/2014/main" id="{A8EB8794-E5C6-45EB-BAEC-2778E982797A}"/>
                </a:ext>
              </a:extLst>
            </p:cNvPr>
            <p:cNvGrpSpPr/>
            <p:nvPr/>
          </p:nvGrpSpPr>
          <p:grpSpPr>
            <a:xfrm>
              <a:off x="0" y="153125"/>
              <a:ext cx="17907000" cy="666567"/>
              <a:chOff x="0" y="153125"/>
              <a:chExt cx="17907000" cy="666567"/>
            </a:xfrm>
          </p:grpSpPr>
          <p:grpSp>
            <p:nvGrpSpPr>
              <p:cNvPr id="135" name="Gruppo 15">
                <a:extLst>
                  <a:ext uri="{FF2B5EF4-FFF2-40B4-BE49-F238E27FC236}">
                    <a16:creationId xmlns:a16="http://schemas.microsoft.com/office/drawing/2014/main" id="{AB129748-9FD7-458D-BD6E-304271C1814A}"/>
                  </a:ext>
                </a:extLst>
              </p:cNvPr>
              <p:cNvGrpSpPr/>
              <p:nvPr/>
            </p:nvGrpSpPr>
            <p:grpSpPr>
              <a:xfrm>
                <a:off x="0" y="153125"/>
                <a:ext cx="13958844" cy="666567"/>
                <a:chOff x="0" y="153125"/>
                <a:chExt cx="13958844" cy="666567"/>
              </a:xfrm>
            </p:grpSpPr>
            <p:pic>
              <p:nvPicPr>
                <p:cNvPr id="137" name="Picture 136">
                  <a:extLst>
                    <a:ext uri="{FF2B5EF4-FFF2-40B4-BE49-F238E27FC236}">
                      <a16:creationId xmlns:a16="http://schemas.microsoft.com/office/drawing/2014/main" id="{88E31CFD-796F-4F3F-A1EC-0E38F9D83456}"/>
                    </a:ext>
                  </a:extLst>
                </p:cNvPr>
                <p:cNvPicPr>
                  <a:picLocks noChangeAspect="1"/>
                </p:cNvPicPr>
                <p:nvPr/>
              </p:nvPicPr>
              <p:blipFill>
                <a:blip r:embed="rId4"/>
                <a:srcRect l="134" t="91287" b="3943"/>
                <a:stretch>
                  <a:fillRect/>
                </a:stretch>
              </p:blipFill>
              <p:spPr>
                <a:xfrm>
                  <a:off x="0" y="153125"/>
                  <a:ext cx="13958844" cy="666567"/>
                </a:xfrm>
                <a:prstGeom prst="rect">
                  <a:avLst/>
                </a:prstGeom>
              </p:spPr>
            </p:pic>
            <p:sp>
              <p:nvSpPr>
                <p:cNvPr id="138" name="TextBox 137">
                  <a:extLst>
                    <a:ext uri="{FF2B5EF4-FFF2-40B4-BE49-F238E27FC236}">
                      <a16:creationId xmlns:a16="http://schemas.microsoft.com/office/drawing/2014/main" id="{7694DADD-E227-40A7-A98D-244B0D207E54}"/>
                    </a:ext>
                  </a:extLst>
                </p:cNvPr>
                <p:cNvSpPr txBox="1"/>
                <p:nvPr/>
              </p:nvSpPr>
              <p:spPr>
                <a:xfrm>
                  <a:off x="228600" y="257980"/>
                  <a:ext cx="9296400" cy="456856"/>
                </a:xfrm>
                <a:prstGeom prst="rect">
                  <a:avLst/>
                </a:prstGeom>
              </p:spPr>
              <p:txBody>
                <a:bodyPr wrap="square" lIns="0" tIns="0" rIns="0" bIns="0" rtlCol="0" anchor="t">
                  <a:spAutoFit/>
                </a:bodyPr>
                <a:lstStyle/>
                <a:p>
                  <a:pPr marL="0" marR="0" lvl="0" indent="0" algn="l" defTabSz="914400" rtl="0" eaLnBrk="1" fontAlgn="auto" latinLnBrk="0" hangingPunct="1">
                    <a:lnSpc>
                      <a:spcPts val="3919"/>
                    </a:lnSpc>
                    <a:spcBef>
                      <a:spcPct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36" name="TextBox 135">
                <a:extLst>
                  <a:ext uri="{FF2B5EF4-FFF2-40B4-BE49-F238E27FC236}">
                    <a16:creationId xmlns:a16="http://schemas.microsoft.com/office/drawing/2014/main" id="{4B3CCEBB-60EF-4175-9878-F0D51FD80FF0}"/>
                  </a:ext>
                </a:extLst>
              </p:cNvPr>
              <p:cNvSpPr txBox="1"/>
              <p:nvPr/>
            </p:nvSpPr>
            <p:spPr>
              <a:xfrm>
                <a:off x="12154296" y="257980"/>
                <a:ext cx="5752704" cy="456856"/>
              </a:xfrm>
              <a:prstGeom prst="rect">
                <a:avLst/>
              </a:prstGeom>
            </p:spPr>
            <p:txBody>
              <a:bodyPr wrap="square" lIns="0" tIns="0" rIns="0" bIns="0" rtlCol="0" anchor="t">
                <a:spAutoFit/>
              </a:bodyPr>
              <a:lstStyle/>
              <a:p>
                <a:pPr marL="0" marR="0" lvl="0" indent="0" algn="r" defTabSz="914400" rtl="0" eaLnBrk="1" fontAlgn="auto" latinLnBrk="0" hangingPunct="1">
                  <a:lnSpc>
                    <a:spcPts val="3919"/>
                  </a:lnSpc>
                  <a:spcBef>
                    <a:spcPct val="0"/>
                  </a:spcBef>
                  <a:spcAft>
                    <a:spcPts val="0"/>
                  </a:spcAft>
                  <a:buClrTx/>
                  <a:buSzTx/>
                  <a:buFontTx/>
                  <a:buNone/>
                  <a:tabLst/>
                  <a:defRPr/>
                </a:pPr>
                <a:endParaRPr kumimoji="0" lang="en-US" sz="2800" b="0" i="0" u="none" strike="noStrike" kern="1200" cap="none" spc="0" normalizeH="0" baseline="0" noProof="0">
                  <a:ln>
                    <a:noFill/>
                  </a:ln>
                  <a:solidFill>
                    <a:srgbClr val="2F2F2F">
                      <a:lumMod val="75000"/>
                      <a:lumOff val="25000"/>
                    </a:srgbClr>
                  </a:solidFill>
                  <a:effectLst/>
                  <a:uLnTx/>
                  <a:uFillTx/>
                  <a:latin typeface="Arial" panose="020B0604020202020204" pitchFamily="34" charset="0"/>
                  <a:ea typeface="+mn-ea"/>
                  <a:cs typeface="Arial" panose="020B0604020202020204" pitchFamily="34" charset="0"/>
                </a:endParaRPr>
              </a:p>
            </p:txBody>
          </p:sp>
        </p:grpSp>
        <p:sp>
          <p:nvSpPr>
            <p:cNvPr id="134" name="Rettangolo 13">
              <a:extLst>
                <a:ext uri="{FF2B5EF4-FFF2-40B4-BE49-F238E27FC236}">
                  <a16:creationId xmlns:a16="http://schemas.microsoft.com/office/drawing/2014/main" id="{8F0CF2A7-592A-4287-9206-D3289F1B0C37}"/>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pic>
        <p:nvPicPr>
          <p:cNvPr id="139" name="Picture 12">
            <a:extLst>
              <a:ext uri="{FF2B5EF4-FFF2-40B4-BE49-F238E27FC236}">
                <a16:creationId xmlns:a16="http://schemas.microsoft.com/office/drawing/2014/main" id="{F047215A-40D8-4A57-BE02-5E03FCEEBB7B}"/>
              </a:ext>
            </a:extLst>
          </p:cNvPr>
          <p:cNvPicPr>
            <a:picLocks noChangeAspect="1"/>
          </p:cNvPicPr>
          <p:nvPr/>
        </p:nvPicPr>
        <p:blipFill>
          <a:blip r:embed="rId5"/>
          <a:srcRect l="134" t="91287" b="3943"/>
          <a:stretch>
            <a:fillRect/>
          </a:stretch>
        </p:blipFill>
        <p:spPr>
          <a:xfrm rot="10800000">
            <a:off x="4329146" y="9797731"/>
            <a:ext cx="13958844" cy="666567"/>
          </a:xfrm>
          <a:prstGeom prst="rect">
            <a:avLst/>
          </a:prstGeom>
        </p:spPr>
      </p:pic>
      <p:sp>
        <p:nvSpPr>
          <p:cNvPr id="140" name="TextBox 16">
            <a:extLst>
              <a:ext uri="{FF2B5EF4-FFF2-40B4-BE49-F238E27FC236}">
                <a16:creationId xmlns:a16="http://schemas.microsoft.com/office/drawing/2014/main" id="{C693B1DB-897C-4A9D-8CF3-F1423F6CB38D}"/>
              </a:ext>
            </a:extLst>
          </p:cNvPr>
          <p:cNvSpPr txBox="1"/>
          <p:nvPr/>
        </p:nvSpPr>
        <p:spPr>
          <a:xfrm>
            <a:off x="14400019" y="9256108"/>
            <a:ext cx="3636320" cy="448713"/>
          </a:xfrm>
          <a:prstGeom prst="rect">
            <a:avLst/>
          </a:prstGeom>
        </p:spPr>
        <p:txBody>
          <a:bodyPr wrap="square" lIns="0" tIns="0" rIns="0" bIns="0" rtlCol="0" anchor="t">
            <a:spAutoFit/>
          </a:bodyPr>
          <a:lstStyle/>
          <a:p>
            <a:pPr marL="0" marR="0" lvl="0" indent="0" algn="ctr" defTabSz="914400" rtl="0" eaLnBrk="1" fontAlgn="auto" latinLnBrk="0" hangingPunct="1">
              <a:lnSpc>
                <a:spcPts val="3919"/>
              </a:lnSpc>
              <a:spcBef>
                <a:spcPct val="0"/>
              </a:spcBef>
              <a:spcAft>
                <a:spcPts val="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OCR A Extended" panose="02010509020102010303" pitchFamily="50" charset="0"/>
                <a:ea typeface="+mn-ea"/>
                <a:cs typeface="+mn-cs"/>
              </a:rPr>
              <a:t>www.retrofeed.eu</a:t>
            </a:r>
          </a:p>
        </p:txBody>
      </p:sp>
      <p:sp>
        <p:nvSpPr>
          <p:cNvPr id="4" name="TextBox 3">
            <a:extLst>
              <a:ext uri="{FF2B5EF4-FFF2-40B4-BE49-F238E27FC236}">
                <a16:creationId xmlns:a16="http://schemas.microsoft.com/office/drawing/2014/main" id="{E2A6C351-D084-461B-85B4-078A69C47372}"/>
              </a:ext>
            </a:extLst>
          </p:cNvPr>
          <p:cNvSpPr txBox="1"/>
          <p:nvPr/>
        </p:nvSpPr>
        <p:spPr>
          <a:xfrm>
            <a:off x="1073179" y="1087343"/>
            <a:ext cx="17479115"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000" b="1" i="0" u="none" strike="noStrike" kern="1200" cap="none" spc="0" normalizeH="0" baseline="0" noProof="0" dirty="0">
                <a:ln>
                  <a:noFill/>
                </a:ln>
                <a:solidFill>
                  <a:srgbClr val="CC0033"/>
                </a:solidFill>
                <a:effectLst/>
                <a:uLnTx/>
                <a:uFillTx/>
                <a:latin typeface="Arial"/>
                <a:ea typeface="+mn-ea"/>
                <a:cs typeface="Arial" panose="020B0604020202020204" pitchFamily="34" charset="0"/>
              </a:rPr>
              <a:t>BMC</a:t>
            </a:r>
            <a:r>
              <a:rPr kumimoji="0" lang="en-US" sz="4000" b="1" i="0" u="none" strike="noStrike" kern="1200" cap="none" spc="0" normalizeH="0" baseline="0" noProof="0" dirty="0">
                <a:ln>
                  <a:noFill/>
                </a:ln>
                <a:solidFill>
                  <a:srgbClr val="CC0033"/>
                </a:solidFill>
                <a:effectLst/>
                <a:uLnTx/>
                <a:uFillTx/>
                <a:latin typeface="Arial"/>
                <a:ea typeface="+mn-ea"/>
                <a:cs typeface="Arial" panose="020B0604020202020204" pitchFamily="34" charset="0"/>
              </a:rPr>
              <a:t> – the use of Bio-based Feedstock and Internal Wastes in EAF</a:t>
            </a:r>
            <a:endParaRPr kumimoji="0" lang="sv-SE" sz="4000" b="1" i="0" u="none" strike="noStrike" kern="1200" cap="none" spc="0" normalizeH="0" baseline="0" noProof="0" dirty="0">
              <a:ln>
                <a:noFill/>
              </a:ln>
              <a:solidFill>
                <a:srgbClr val="CC0033"/>
              </a:solidFill>
              <a:effectLst/>
              <a:uLnTx/>
              <a:uFillTx/>
              <a:latin typeface="Arial"/>
              <a:ea typeface="+mn-ea"/>
              <a:cs typeface="Arial" panose="020B0604020202020204" pitchFamily="34" charset="0"/>
            </a:endParaRPr>
          </a:p>
        </p:txBody>
      </p:sp>
      <p:graphicFrame>
        <p:nvGraphicFramePr>
          <p:cNvPr id="6" name="Tabell 5">
            <a:extLst>
              <a:ext uri="{FF2B5EF4-FFF2-40B4-BE49-F238E27FC236}">
                <a16:creationId xmlns:a16="http://schemas.microsoft.com/office/drawing/2014/main" id="{2B61A2CD-6F9E-7FF3-0C7D-1DDBDC135144}"/>
              </a:ext>
            </a:extLst>
          </p:cNvPr>
          <p:cNvGraphicFramePr>
            <a:graphicFrameLocks noGrp="1"/>
          </p:cNvGraphicFramePr>
          <p:nvPr>
            <p:extLst>
              <p:ext uri="{D42A27DB-BD31-4B8C-83A1-F6EECF244321}">
                <p14:modId xmlns:p14="http://schemas.microsoft.com/office/powerpoint/2010/main" val="4201285976"/>
              </p:ext>
            </p:extLst>
          </p:nvPr>
        </p:nvGraphicFramePr>
        <p:xfrm>
          <a:off x="1198276" y="1912713"/>
          <a:ext cx="16305953" cy="7304647"/>
        </p:xfrm>
        <a:graphic>
          <a:graphicData uri="http://schemas.openxmlformats.org/drawingml/2006/table">
            <a:tbl>
              <a:tblPr firstRow="1" firstCol="1" bandRow="1">
                <a:tableStyleId>{5C22544A-7EE6-4342-B048-85BDC9FD1C3A}</a:tableStyleId>
              </a:tblPr>
              <a:tblGrid>
                <a:gridCol w="2853223">
                  <a:extLst>
                    <a:ext uri="{9D8B030D-6E8A-4147-A177-3AD203B41FA5}">
                      <a16:colId xmlns:a16="http://schemas.microsoft.com/office/drawing/2014/main" val="382711882"/>
                    </a:ext>
                  </a:extLst>
                </a:gridCol>
                <a:gridCol w="3502856">
                  <a:extLst>
                    <a:ext uri="{9D8B030D-6E8A-4147-A177-3AD203B41FA5}">
                      <a16:colId xmlns:a16="http://schemas.microsoft.com/office/drawing/2014/main" val="3047001043"/>
                    </a:ext>
                  </a:extLst>
                </a:gridCol>
                <a:gridCol w="1248672">
                  <a:extLst>
                    <a:ext uri="{9D8B030D-6E8A-4147-A177-3AD203B41FA5}">
                      <a16:colId xmlns:a16="http://schemas.microsoft.com/office/drawing/2014/main" val="860800738"/>
                    </a:ext>
                  </a:extLst>
                </a:gridCol>
                <a:gridCol w="1916559">
                  <a:extLst>
                    <a:ext uri="{9D8B030D-6E8A-4147-A177-3AD203B41FA5}">
                      <a16:colId xmlns:a16="http://schemas.microsoft.com/office/drawing/2014/main" val="3890161635"/>
                    </a:ext>
                  </a:extLst>
                </a:gridCol>
                <a:gridCol w="4074100">
                  <a:extLst>
                    <a:ext uri="{9D8B030D-6E8A-4147-A177-3AD203B41FA5}">
                      <a16:colId xmlns:a16="http://schemas.microsoft.com/office/drawing/2014/main" val="2658826809"/>
                    </a:ext>
                  </a:extLst>
                </a:gridCol>
                <a:gridCol w="2710543">
                  <a:extLst>
                    <a:ext uri="{9D8B030D-6E8A-4147-A177-3AD203B41FA5}">
                      <a16:colId xmlns:a16="http://schemas.microsoft.com/office/drawing/2014/main" val="1264386408"/>
                    </a:ext>
                  </a:extLst>
                </a:gridCol>
              </a:tblGrid>
              <a:tr h="645703">
                <a:tc>
                  <a:txBody>
                    <a:bodyPr/>
                    <a:lstStyle/>
                    <a:p>
                      <a:pPr fontAlgn="base"/>
                      <a:r>
                        <a:rPr lang="en-GB" sz="1800" kern="0" dirty="0">
                          <a:effectLst/>
                        </a:rPr>
                        <a:t>Key Partners </a:t>
                      </a:r>
                      <a:endParaRPr lang="sv-SE" sz="1800" kern="100" dirty="0">
                        <a:solidFill>
                          <a:srgbClr val="404040"/>
                        </a:solidFill>
                        <a:effectLst/>
                        <a:latin typeface="Liberation Serif"/>
                        <a:ea typeface="Noto Sans CJK SC"/>
                        <a:cs typeface="Lohit Devanagari"/>
                      </a:endParaRPr>
                    </a:p>
                  </a:txBody>
                  <a:tcPr marL="1114" marR="1114" marT="1114" marB="1114"/>
                </a:tc>
                <a:tc>
                  <a:txBody>
                    <a:bodyPr/>
                    <a:lstStyle/>
                    <a:p>
                      <a:pPr fontAlgn="base"/>
                      <a:r>
                        <a:rPr lang="en-GB" sz="1800" b="1" kern="0" dirty="0">
                          <a:solidFill>
                            <a:schemeClr val="bg1"/>
                          </a:solidFill>
                          <a:effectLst/>
                        </a:rPr>
                        <a:t>Key Activities </a:t>
                      </a:r>
                      <a:endParaRPr lang="sv-SE" sz="1800" b="1" kern="100" dirty="0">
                        <a:solidFill>
                          <a:schemeClr val="bg1"/>
                        </a:solidFill>
                        <a:effectLst/>
                        <a:latin typeface="Liberation Serif"/>
                        <a:ea typeface="Noto Sans CJK SC"/>
                        <a:cs typeface="Lohit Devanagari"/>
                      </a:endParaRPr>
                    </a:p>
                  </a:txBody>
                  <a:tcPr marL="1114" marR="1114" marT="1114" marB="1114">
                    <a:solidFill>
                      <a:schemeClr val="accent1"/>
                    </a:solidFill>
                  </a:tcPr>
                </a:tc>
                <a:tc gridSpan="2">
                  <a:txBody>
                    <a:bodyPr/>
                    <a:lstStyle/>
                    <a:p>
                      <a:pPr fontAlgn="base"/>
                      <a:r>
                        <a:rPr lang="en-GB" sz="1800" b="1" kern="0" dirty="0">
                          <a:solidFill>
                            <a:schemeClr val="bg1"/>
                          </a:solidFill>
                          <a:effectLst/>
                        </a:rPr>
                        <a:t>Value Proposition </a:t>
                      </a:r>
                      <a:endParaRPr lang="sv-SE" sz="1800" b="1" kern="100" dirty="0">
                        <a:solidFill>
                          <a:schemeClr val="bg1"/>
                        </a:solidFill>
                        <a:effectLst/>
                      </a:endParaRPr>
                    </a:p>
                    <a:p>
                      <a:pPr fontAlgn="base"/>
                      <a:r>
                        <a:rPr lang="en-GB" sz="1800" b="1" kern="0" dirty="0">
                          <a:solidFill>
                            <a:schemeClr val="bg1"/>
                          </a:solidFill>
                          <a:effectLst/>
                        </a:rPr>
                        <a:t> </a:t>
                      </a:r>
                      <a:endParaRPr lang="sv-SE" sz="1800" b="1" kern="100" dirty="0">
                        <a:solidFill>
                          <a:schemeClr val="bg1"/>
                        </a:solidFill>
                        <a:effectLst/>
                        <a:latin typeface="Liberation Serif"/>
                        <a:ea typeface="Noto Sans CJK SC"/>
                        <a:cs typeface="Lohit Devanagari"/>
                      </a:endParaRPr>
                    </a:p>
                  </a:txBody>
                  <a:tcPr marL="1114" marR="1114" marT="1114" marB="1114">
                    <a:solidFill>
                      <a:schemeClr val="accent1"/>
                    </a:solidFill>
                  </a:tcPr>
                </a:tc>
                <a:tc hMerge="1">
                  <a:txBody>
                    <a:bodyPr/>
                    <a:lstStyle/>
                    <a:p>
                      <a:endParaRPr lang="en-GB"/>
                    </a:p>
                  </a:txBody>
                  <a:tcPr/>
                </a:tc>
                <a:tc>
                  <a:txBody>
                    <a:bodyPr/>
                    <a:lstStyle/>
                    <a:p>
                      <a:r>
                        <a:rPr lang="en-GB" sz="1800" b="1" kern="0" dirty="0">
                          <a:solidFill>
                            <a:schemeClr val="bg1"/>
                          </a:solidFill>
                          <a:effectLst/>
                        </a:rPr>
                        <a:t>Customer Relationships </a:t>
                      </a:r>
                      <a:endParaRPr lang="en-GB" sz="2000" b="1" dirty="0">
                        <a:solidFill>
                          <a:schemeClr val="bg1"/>
                        </a:solidFill>
                      </a:endParaRPr>
                    </a:p>
                  </a:txBody>
                  <a:tcPr marL="1114" marR="1114" marT="1114" marB="1114">
                    <a:solidFill>
                      <a:schemeClr val="accent1"/>
                    </a:solidFill>
                  </a:tcPr>
                </a:tc>
                <a:tc>
                  <a:txBody>
                    <a:bodyPr/>
                    <a:lstStyle/>
                    <a:p>
                      <a:pPr fontAlgn="base"/>
                      <a:r>
                        <a:rPr lang="en-GB" sz="1800" b="1" kern="0" dirty="0">
                          <a:solidFill>
                            <a:schemeClr val="bg1"/>
                          </a:solidFill>
                          <a:effectLst/>
                        </a:rPr>
                        <a:t>Customer Segments </a:t>
                      </a:r>
                      <a:endParaRPr lang="sv-SE" sz="1800" b="1" kern="100" dirty="0">
                        <a:solidFill>
                          <a:schemeClr val="bg1"/>
                        </a:solidFill>
                        <a:effectLst/>
                        <a:latin typeface="Liberation Serif"/>
                        <a:ea typeface="Noto Sans CJK SC"/>
                        <a:cs typeface="Lohit Devanagari"/>
                      </a:endParaRPr>
                    </a:p>
                  </a:txBody>
                  <a:tcPr marL="1114" marR="1114" marT="1114" marB="1114">
                    <a:solidFill>
                      <a:schemeClr val="accent1"/>
                    </a:solidFill>
                  </a:tcPr>
                </a:tc>
                <a:extLst>
                  <a:ext uri="{0D108BD9-81ED-4DB2-BD59-A6C34878D82A}">
                    <a16:rowId xmlns:a16="http://schemas.microsoft.com/office/drawing/2014/main" val="4072493817"/>
                  </a:ext>
                </a:extLst>
              </a:tr>
              <a:tr h="1074865">
                <a:tc rowSpan="3">
                  <a:txBody>
                    <a:bodyPr/>
                    <a:lstStyle/>
                    <a:p>
                      <a:pPr marL="285750" indent="-285750" algn="l" defTabSz="914400" rtl="0" eaLnBrk="1" fontAlgn="base" latinLnBrk="0" hangingPunct="1">
                        <a:buFont typeface="Arial" panose="020B0604020202020204" pitchFamily="34" charset="0"/>
                        <a:buChar char="•"/>
                      </a:pPr>
                      <a:r>
                        <a:rPr lang="en-GB" sz="1400" b="0" kern="1200" dirty="0">
                          <a:solidFill>
                            <a:schemeClr val="dk1"/>
                          </a:solidFill>
                          <a:effectLst/>
                          <a:latin typeface="+mn-lt"/>
                          <a:ea typeface="+mn-ea"/>
                          <a:cs typeface="+mn-cs"/>
                        </a:rPr>
                        <a:t>RTOs  </a:t>
                      </a:r>
                      <a:endParaRPr lang="sv-SE" sz="1400" b="0" kern="1200" dirty="0">
                        <a:solidFill>
                          <a:schemeClr val="dk1"/>
                        </a:solidFill>
                        <a:effectLst/>
                        <a:latin typeface="+mn-lt"/>
                        <a:ea typeface="+mn-ea"/>
                        <a:cs typeface="+mn-cs"/>
                      </a:endParaRPr>
                    </a:p>
                    <a:p>
                      <a:pPr marL="285750" indent="-285750" algn="l" defTabSz="914400" rtl="0" eaLnBrk="1" fontAlgn="base" latinLnBrk="0" hangingPunct="1">
                        <a:buFont typeface="Arial" panose="020B0604020202020204" pitchFamily="34" charset="0"/>
                        <a:buChar char="•"/>
                      </a:pPr>
                      <a:r>
                        <a:rPr lang="en-GB" sz="1400" b="0" kern="1200" dirty="0">
                          <a:solidFill>
                            <a:schemeClr val="dk1"/>
                          </a:solidFill>
                          <a:effectLst/>
                          <a:latin typeface="+mn-lt"/>
                          <a:ea typeface="+mn-ea"/>
                          <a:cs typeface="+mn-cs"/>
                        </a:rPr>
                        <a:t>Financial bodies </a:t>
                      </a:r>
                      <a:endParaRPr lang="sv-SE" sz="1400" b="0" kern="1200" dirty="0">
                        <a:solidFill>
                          <a:schemeClr val="dk1"/>
                        </a:solidFill>
                        <a:effectLst/>
                        <a:latin typeface="+mn-lt"/>
                        <a:ea typeface="+mn-ea"/>
                        <a:cs typeface="+mn-cs"/>
                      </a:endParaRPr>
                    </a:p>
                    <a:p>
                      <a:pPr marL="285750" indent="-285750" algn="l" defTabSz="914400" rtl="0" eaLnBrk="1" fontAlgn="base" latinLnBrk="0" hangingPunct="1">
                        <a:buFont typeface="Arial" panose="020B0604020202020204" pitchFamily="34" charset="0"/>
                        <a:buChar char="•"/>
                      </a:pPr>
                      <a:r>
                        <a:rPr lang="en-GB" sz="1400" b="0" kern="1200" dirty="0">
                          <a:solidFill>
                            <a:schemeClr val="dk1"/>
                          </a:solidFill>
                          <a:effectLst/>
                          <a:latin typeface="+mn-lt"/>
                          <a:ea typeface="+mn-ea"/>
                          <a:cs typeface="+mn-cs"/>
                        </a:rPr>
                        <a:t>Engineering and equipment manufacturers </a:t>
                      </a:r>
                      <a:endParaRPr lang="sv-SE" sz="1400" b="0" kern="1200" dirty="0">
                        <a:solidFill>
                          <a:schemeClr val="dk1"/>
                        </a:solidFill>
                        <a:effectLst/>
                        <a:latin typeface="+mn-lt"/>
                        <a:ea typeface="+mn-ea"/>
                        <a:cs typeface="+mn-cs"/>
                      </a:endParaRPr>
                    </a:p>
                    <a:p>
                      <a:pPr marL="285750" indent="-285750" algn="l" defTabSz="914400" rtl="0" eaLnBrk="1" fontAlgn="base" latinLnBrk="0" hangingPunct="1">
                        <a:buFont typeface="Arial" panose="020B0604020202020204" pitchFamily="34" charset="0"/>
                        <a:buChar char="•"/>
                      </a:pPr>
                      <a:r>
                        <a:rPr lang="en-GB" sz="1400" b="0" kern="1200" dirty="0">
                          <a:solidFill>
                            <a:schemeClr val="dk1"/>
                          </a:solidFill>
                          <a:effectLst/>
                          <a:latin typeface="+mn-lt"/>
                          <a:ea typeface="+mn-ea"/>
                          <a:cs typeface="+mn-cs"/>
                        </a:rPr>
                        <a:t>Bio-based material </a:t>
                      </a:r>
                      <a:r>
                        <a:rPr lang="en-GB" sz="1400" b="0" kern="1200" dirty="0" err="1">
                          <a:solidFill>
                            <a:schemeClr val="dk1"/>
                          </a:solidFill>
                          <a:effectLst/>
                          <a:latin typeface="+mn-lt"/>
                          <a:ea typeface="+mn-ea"/>
                          <a:cs typeface="+mn-cs"/>
                        </a:rPr>
                        <a:t>procuders</a:t>
                      </a:r>
                      <a:r>
                        <a:rPr lang="en-GB" sz="1400" b="0" kern="1200" dirty="0">
                          <a:solidFill>
                            <a:schemeClr val="dk1"/>
                          </a:solidFill>
                          <a:effectLst/>
                          <a:latin typeface="+mn-lt"/>
                          <a:ea typeface="+mn-ea"/>
                          <a:cs typeface="+mn-cs"/>
                        </a:rPr>
                        <a:t> </a:t>
                      </a:r>
                      <a:endParaRPr lang="sv-SE" sz="1400" b="0" kern="1200" dirty="0">
                        <a:solidFill>
                          <a:schemeClr val="dk1"/>
                        </a:solidFill>
                        <a:effectLst/>
                        <a:latin typeface="+mn-lt"/>
                        <a:ea typeface="+mn-ea"/>
                        <a:cs typeface="+mn-cs"/>
                      </a:endParaRPr>
                    </a:p>
                    <a:p>
                      <a:pPr marL="285750" indent="-285750" algn="l" defTabSz="914400" rtl="0" eaLnBrk="1" fontAlgn="base" latinLnBrk="0" hangingPunct="1">
                        <a:buFont typeface="Arial" panose="020B0604020202020204" pitchFamily="34" charset="0"/>
                        <a:buChar char="•"/>
                      </a:pPr>
                      <a:r>
                        <a:rPr lang="en-GB" sz="1400" b="0" kern="1200" dirty="0">
                          <a:solidFill>
                            <a:schemeClr val="dk1"/>
                          </a:solidFill>
                          <a:effectLst/>
                          <a:latin typeface="+mn-lt"/>
                          <a:ea typeface="+mn-ea"/>
                          <a:cs typeface="+mn-cs"/>
                        </a:rPr>
                        <a:t>Used processed tires / processed plastic providers </a:t>
                      </a:r>
                      <a:endParaRPr lang="sv-SE" sz="1400" b="0" kern="1200" dirty="0">
                        <a:solidFill>
                          <a:schemeClr val="dk1"/>
                        </a:solidFill>
                        <a:effectLst/>
                        <a:latin typeface="+mn-lt"/>
                        <a:ea typeface="+mn-ea"/>
                        <a:cs typeface="+mn-cs"/>
                      </a:endParaRPr>
                    </a:p>
                  </a:txBody>
                  <a:tcPr marL="1114" marR="1114" marT="1114" marB="1114">
                    <a:solidFill>
                      <a:schemeClr val="accent3">
                        <a:lumMod val="20000"/>
                        <a:lumOff val="80000"/>
                      </a:schemeClr>
                    </a:solidFill>
                  </a:tcPr>
                </a:tc>
                <a:tc>
                  <a:txBody>
                    <a:bodyPr/>
                    <a:lstStyle/>
                    <a:p>
                      <a:pPr marL="285750" indent="-285750" algn="l" defTabSz="914400" rtl="0" eaLnBrk="1" fontAlgn="base" latinLnBrk="0" hangingPunct="1">
                        <a:buFont typeface="Arial" panose="020B0604020202020204" pitchFamily="34" charset="0"/>
                        <a:buChar char="•"/>
                      </a:pPr>
                      <a:r>
                        <a:rPr lang="en-GB" sz="1400" b="0" kern="1200" dirty="0">
                          <a:solidFill>
                            <a:schemeClr val="dk1"/>
                          </a:solidFill>
                          <a:effectLst/>
                          <a:latin typeface="+mn-lt"/>
                          <a:ea typeface="+mn-ea"/>
                          <a:cs typeface="+mn-cs"/>
                        </a:rPr>
                        <a:t>Further R&amp;D to improve the solutions </a:t>
                      </a:r>
                      <a:endParaRPr lang="sv-SE" sz="1400" b="0" kern="1200" dirty="0">
                        <a:solidFill>
                          <a:schemeClr val="dk1"/>
                        </a:solidFill>
                        <a:effectLst/>
                        <a:latin typeface="+mn-lt"/>
                        <a:ea typeface="+mn-ea"/>
                        <a:cs typeface="+mn-cs"/>
                      </a:endParaRPr>
                    </a:p>
                    <a:p>
                      <a:pPr marL="285750" indent="-285750" algn="l" defTabSz="914400" rtl="0" eaLnBrk="1" fontAlgn="base" latinLnBrk="0" hangingPunct="1">
                        <a:buFont typeface="Arial" panose="020B0604020202020204" pitchFamily="34" charset="0"/>
                        <a:buChar char="•"/>
                      </a:pPr>
                      <a:r>
                        <a:rPr lang="en-GB" sz="1400" b="0" kern="1200" dirty="0">
                          <a:solidFill>
                            <a:schemeClr val="dk1"/>
                          </a:solidFill>
                          <a:effectLst/>
                          <a:latin typeface="+mn-lt"/>
                          <a:ea typeface="+mn-ea"/>
                          <a:cs typeface="+mn-cs"/>
                        </a:rPr>
                        <a:t>Building the supply chain and to consolidate it. </a:t>
                      </a:r>
                      <a:endParaRPr lang="sv-SE" sz="1400" b="0" kern="1200" dirty="0">
                        <a:solidFill>
                          <a:schemeClr val="dk1"/>
                        </a:solidFill>
                        <a:effectLst/>
                        <a:latin typeface="+mn-lt"/>
                        <a:ea typeface="+mn-ea"/>
                        <a:cs typeface="+mn-cs"/>
                      </a:endParaRPr>
                    </a:p>
                    <a:p>
                      <a:pPr marL="285750" indent="-285750" algn="l" defTabSz="914400" rtl="0" eaLnBrk="1" fontAlgn="base" latinLnBrk="0" hangingPunct="1">
                        <a:buFont typeface="Arial" panose="020B0604020202020204" pitchFamily="34" charset="0"/>
                        <a:buChar char="•"/>
                      </a:pPr>
                      <a:r>
                        <a:rPr lang="en-GB" sz="1400" b="0" kern="1200" dirty="0">
                          <a:solidFill>
                            <a:schemeClr val="dk1"/>
                          </a:solidFill>
                          <a:effectLst/>
                          <a:latin typeface="+mn-lt"/>
                          <a:ea typeface="+mn-ea"/>
                          <a:cs typeface="+mn-cs"/>
                        </a:rPr>
                        <a:t>Supply chain is needed to the bio-based input material. </a:t>
                      </a:r>
                      <a:endParaRPr lang="sv-SE" sz="1400" b="0" kern="1200" dirty="0">
                        <a:solidFill>
                          <a:schemeClr val="dk1"/>
                        </a:solidFill>
                        <a:effectLst/>
                        <a:latin typeface="+mn-lt"/>
                        <a:ea typeface="+mn-ea"/>
                        <a:cs typeface="+mn-cs"/>
                      </a:endParaRPr>
                    </a:p>
                    <a:p>
                      <a:pPr marL="285750" indent="-285750" algn="l" defTabSz="914400" rtl="0" eaLnBrk="1" fontAlgn="base" latinLnBrk="0" hangingPunct="1">
                        <a:buFont typeface="Arial" panose="020B0604020202020204" pitchFamily="34" charset="0"/>
                        <a:buChar char="•"/>
                      </a:pPr>
                      <a:r>
                        <a:rPr lang="en-GB" sz="1400" b="0" kern="1200" dirty="0">
                          <a:solidFill>
                            <a:schemeClr val="dk1"/>
                          </a:solidFill>
                          <a:effectLst/>
                          <a:latin typeface="+mn-lt"/>
                          <a:ea typeface="+mn-ea"/>
                          <a:cs typeface="+mn-cs"/>
                        </a:rPr>
                        <a:t>The availability to the further development of the product from the side of the supplier. </a:t>
                      </a:r>
                      <a:endParaRPr lang="sv-SE" sz="1400" b="0" kern="1200" dirty="0">
                        <a:solidFill>
                          <a:schemeClr val="dk1"/>
                        </a:solidFill>
                        <a:effectLst/>
                        <a:latin typeface="+mn-lt"/>
                        <a:ea typeface="+mn-ea"/>
                        <a:cs typeface="+mn-cs"/>
                      </a:endParaRPr>
                    </a:p>
                  </a:txBody>
                  <a:tcPr marL="9525" marR="9525" marT="9525" marB="9525">
                    <a:solidFill>
                      <a:schemeClr val="accent3">
                        <a:lumMod val="20000"/>
                        <a:lumOff val="80000"/>
                      </a:schemeClr>
                    </a:solidFill>
                  </a:tcPr>
                </a:tc>
                <a:tc rowSpan="3" gridSpan="2">
                  <a:txBody>
                    <a:bodyPr/>
                    <a:lstStyle/>
                    <a:p>
                      <a:pPr marL="285750" marR="0" lvl="0" indent="-2857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GB" sz="1400" b="0" kern="1200" dirty="0">
                          <a:solidFill>
                            <a:schemeClr val="dk1"/>
                          </a:solidFill>
                          <a:effectLst/>
                          <a:latin typeface="+mn-lt"/>
                          <a:ea typeface="+mn-ea"/>
                          <a:cs typeface="+mn-cs"/>
                        </a:rPr>
                        <a:t>A novel flexible combustor and injector coupled to the EAF will allow to exploit the use bio-based materials and fuels for steel production. E.g.: tires, polymers, etc.  </a:t>
                      </a:r>
                    </a:p>
                    <a:p>
                      <a:pPr marL="0" marR="0" lvl="0" indent="0" algn="l" defTabSz="914400" rtl="0" eaLnBrk="1" fontAlgn="base" latinLnBrk="0" hangingPunct="1">
                        <a:lnSpc>
                          <a:spcPct val="100000"/>
                        </a:lnSpc>
                        <a:spcBef>
                          <a:spcPts val="0"/>
                        </a:spcBef>
                        <a:spcAft>
                          <a:spcPts val="0"/>
                        </a:spcAft>
                        <a:buClrTx/>
                        <a:buSzTx/>
                        <a:buFontTx/>
                        <a:buNone/>
                        <a:tabLst/>
                        <a:defRPr/>
                      </a:pPr>
                      <a:endParaRPr lang="en-GB" sz="1600" kern="1200" dirty="0">
                        <a:solidFill>
                          <a:schemeClr val="dk1"/>
                        </a:solidFill>
                        <a:effectLst/>
                        <a:latin typeface="+mn-lt"/>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lang="en-GB" sz="1600" kern="1200" dirty="0">
                        <a:solidFill>
                          <a:schemeClr val="dk1"/>
                        </a:solidFill>
                        <a:effectLst/>
                        <a:latin typeface="+mn-lt"/>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lang="en-GB" sz="1600" kern="1200" dirty="0">
                        <a:solidFill>
                          <a:schemeClr val="dk1"/>
                        </a:solidFill>
                        <a:effectLst/>
                        <a:latin typeface="+mn-lt"/>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lang="en-GB" sz="1600" kern="1200" dirty="0">
                        <a:solidFill>
                          <a:schemeClr val="dk1"/>
                        </a:solidFill>
                        <a:effectLst/>
                        <a:latin typeface="+mn-lt"/>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lang="en-GB" sz="1600" kern="1200" dirty="0">
                        <a:solidFill>
                          <a:schemeClr val="dk1"/>
                        </a:solidFill>
                        <a:effectLst/>
                        <a:latin typeface="+mn-lt"/>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lang="en-GB" sz="1600" kern="1200" dirty="0">
                        <a:solidFill>
                          <a:schemeClr val="dk1"/>
                        </a:solidFill>
                        <a:effectLst/>
                        <a:latin typeface="+mn-lt"/>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lang="en-GB" sz="1600" kern="1200" dirty="0">
                        <a:solidFill>
                          <a:schemeClr val="dk1"/>
                        </a:solidFill>
                        <a:effectLst/>
                        <a:latin typeface="+mn-lt"/>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lang="sv-SE" sz="1600" kern="1200" dirty="0">
                        <a:solidFill>
                          <a:schemeClr val="dk1"/>
                        </a:solidFill>
                        <a:effectLst/>
                        <a:latin typeface="+mn-lt"/>
                        <a:ea typeface="+mn-ea"/>
                        <a:cs typeface="+mn-cs"/>
                      </a:endParaRPr>
                    </a:p>
                  </a:txBody>
                  <a:tcPr marL="1114" marR="1114" marT="1114" marB="1114">
                    <a:solidFill>
                      <a:schemeClr val="accent3">
                        <a:lumMod val="20000"/>
                        <a:lumOff val="80000"/>
                      </a:schemeClr>
                    </a:solidFill>
                  </a:tcPr>
                </a:tc>
                <a:tc rowSpan="3" hMerge="1">
                  <a:txBody>
                    <a:bodyPr/>
                    <a:lstStyle/>
                    <a:p>
                      <a:endParaRPr lang="en-GB"/>
                    </a:p>
                  </a:txBody>
                  <a:tcPr/>
                </a:tc>
                <a:tc>
                  <a:txBody>
                    <a:bodyPr/>
                    <a:lstStyle/>
                    <a:p>
                      <a:pPr marL="285750" marR="0" lvl="0" indent="-2857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GB" sz="1400" b="0" kern="1200" dirty="0">
                          <a:solidFill>
                            <a:schemeClr val="dk1"/>
                          </a:solidFill>
                          <a:effectLst/>
                          <a:latin typeface="+mn-lt"/>
                          <a:ea typeface="+mn-ea"/>
                          <a:cs typeface="+mn-cs"/>
                        </a:rPr>
                        <a:t>Automation and </a:t>
                      </a:r>
                      <a:r>
                        <a:rPr lang="en-GB" sz="1400" b="0" kern="1200" dirty="0" err="1">
                          <a:solidFill>
                            <a:schemeClr val="dk1"/>
                          </a:solidFill>
                          <a:effectLst/>
                          <a:latin typeface="+mn-lt"/>
                          <a:ea typeface="+mn-ea"/>
                          <a:cs typeface="+mn-cs"/>
                        </a:rPr>
                        <a:t>intergration</a:t>
                      </a:r>
                      <a:r>
                        <a:rPr lang="en-GB" sz="1400" b="0" kern="1200" dirty="0">
                          <a:solidFill>
                            <a:schemeClr val="dk1"/>
                          </a:solidFill>
                          <a:effectLst/>
                          <a:latin typeface="+mn-lt"/>
                          <a:ea typeface="+mn-ea"/>
                          <a:cs typeface="+mn-cs"/>
                        </a:rPr>
                        <a:t> needed for the management of the material for the utilization of the burner and the </a:t>
                      </a:r>
                      <a:r>
                        <a:rPr lang="en-GB" sz="1400" b="0" kern="1200" dirty="0" err="1">
                          <a:solidFill>
                            <a:schemeClr val="dk1"/>
                          </a:solidFill>
                          <a:effectLst/>
                          <a:latin typeface="+mn-lt"/>
                          <a:ea typeface="+mn-ea"/>
                          <a:cs typeface="+mn-cs"/>
                        </a:rPr>
                        <a:t>inectors</a:t>
                      </a:r>
                      <a:r>
                        <a:rPr lang="en-GB" sz="1400" b="0" kern="1200" dirty="0">
                          <a:solidFill>
                            <a:schemeClr val="dk1"/>
                          </a:solidFill>
                          <a:effectLst/>
                          <a:latin typeface="+mn-lt"/>
                          <a:ea typeface="+mn-ea"/>
                          <a:cs typeface="+mn-cs"/>
                        </a:rPr>
                        <a:t>. Cyber-security protocols to be taken into consideration.  </a:t>
                      </a:r>
                      <a:endParaRPr lang="sv-SE" sz="1400" b="0" kern="1200" dirty="0">
                        <a:solidFill>
                          <a:schemeClr val="dk1"/>
                        </a:solidFill>
                        <a:effectLst/>
                        <a:latin typeface="+mn-lt"/>
                        <a:ea typeface="+mn-ea"/>
                        <a:cs typeface="+mn-cs"/>
                      </a:endParaRPr>
                    </a:p>
                    <a:p>
                      <a:pPr marL="285750" marR="0" lvl="0" indent="-2857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GB" sz="1400" b="0" kern="1200" dirty="0">
                          <a:solidFill>
                            <a:schemeClr val="dk1"/>
                          </a:solidFill>
                          <a:effectLst/>
                          <a:latin typeface="+mn-lt"/>
                          <a:ea typeface="+mn-ea"/>
                          <a:cs typeface="+mn-cs"/>
                        </a:rPr>
                        <a:t>Technical support on the integration related to the </a:t>
                      </a:r>
                      <a:r>
                        <a:rPr lang="en-GB" sz="1400" b="0" kern="1200" dirty="0" err="1">
                          <a:solidFill>
                            <a:schemeClr val="dk1"/>
                          </a:solidFill>
                          <a:effectLst/>
                          <a:latin typeface="+mn-lt"/>
                          <a:ea typeface="+mn-ea"/>
                          <a:cs typeface="+mn-cs"/>
                        </a:rPr>
                        <a:t>EAf</a:t>
                      </a:r>
                      <a:r>
                        <a:rPr lang="en-GB" sz="1400" b="0" kern="1200" dirty="0">
                          <a:solidFill>
                            <a:schemeClr val="dk1"/>
                          </a:solidFill>
                          <a:effectLst/>
                          <a:latin typeface="+mn-lt"/>
                          <a:ea typeface="+mn-ea"/>
                          <a:cs typeface="+mn-cs"/>
                        </a:rPr>
                        <a:t>.   </a:t>
                      </a:r>
                      <a:endParaRPr lang="sv-SE" sz="1400" b="0" kern="1200" dirty="0">
                        <a:solidFill>
                          <a:schemeClr val="dk1"/>
                        </a:solidFill>
                        <a:effectLst/>
                        <a:latin typeface="+mn-lt"/>
                        <a:ea typeface="+mn-ea"/>
                        <a:cs typeface="+mn-cs"/>
                      </a:endParaRPr>
                    </a:p>
                    <a:p>
                      <a:pPr marL="285750" marR="0" lvl="0" indent="-2857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GB" sz="1400" b="0" kern="1200" dirty="0">
                          <a:solidFill>
                            <a:schemeClr val="dk1"/>
                          </a:solidFill>
                          <a:effectLst/>
                          <a:latin typeface="+mn-lt"/>
                          <a:ea typeface="+mn-ea"/>
                          <a:cs typeface="+mn-cs"/>
                        </a:rPr>
                        <a:t>Later on consultancy regarding HW and SW services /DSS/.  </a:t>
                      </a:r>
                      <a:endParaRPr lang="sv-SE" sz="1400" b="0" kern="1200" dirty="0">
                        <a:solidFill>
                          <a:schemeClr val="dk1"/>
                        </a:solidFill>
                        <a:effectLst/>
                        <a:latin typeface="+mn-lt"/>
                        <a:ea typeface="+mn-ea"/>
                        <a:cs typeface="+mn-cs"/>
                      </a:endParaRPr>
                    </a:p>
                    <a:p>
                      <a:pPr marL="285750" marR="0" lvl="0" indent="-2857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GB" sz="1400" b="0" kern="1200" dirty="0">
                          <a:solidFill>
                            <a:schemeClr val="dk1"/>
                          </a:solidFill>
                          <a:effectLst/>
                          <a:latin typeface="+mn-lt"/>
                          <a:ea typeface="+mn-ea"/>
                          <a:cs typeface="+mn-cs"/>
                        </a:rPr>
                        <a:t>New material testing at facilities, requirements gathering with key </a:t>
                      </a:r>
                      <a:r>
                        <a:rPr lang="en-GB" sz="1400" b="0" kern="1200" dirty="0" err="1">
                          <a:solidFill>
                            <a:schemeClr val="dk1"/>
                          </a:solidFill>
                          <a:effectLst/>
                          <a:latin typeface="+mn-lt"/>
                          <a:ea typeface="+mn-ea"/>
                          <a:cs typeface="+mn-cs"/>
                        </a:rPr>
                        <a:t>stakehoders</a:t>
                      </a:r>
                      <a:r>
                        <a:rPr lang="en-GB" sz="1400" b="0" kern="1200" dirty="0">
                          <a:solidFill>
                            <a:schemeClr val="dk1"/>
                          </a:solidFill>
                          <a:effectLst/>
                          <a:latin typeface="+mn-lt"/>
                          <a:ea typeface="+mn-ea"/>
                          <a:cs typeface="+mn-cs"/>
                        </a:rPr>
                        <a:t>, definition of adaptation and integration project. </a:t>
                      </a:r>
                      <a:endParaRPr lang="sv-SE" sz="1400" b="0" kern="1200" dirty="0">
                        <a:solidFill>
                          <a:schemeClr val="dk1"/>
                        </a:solidFill>
                        <a:effectLst/>
                        <a:latin typeface="+mn-lt"/>
                        <a:ea typeface="+mn-ea"/>
                        <a:cs typeface="+mn-cs"/>
                      </a:endParaRPr>
                    </a:p>
                    <a:p>
                      <a:pPr fontAlgn="base"/>
                      <a:r>
                        <a:rPr lang="en-GB" sz="1200" kern="0" dirty="0">
                          <a:solidFill>
                            <a:srgbClr val="000000"/>
                          </a:solidFill>
                          <a:effectLst/>
                          <a:latin typeface="Calibri" panose="020F0502020204030204" pitchFamily="34" charset="0"/>
                          <a:ea typeface="Times New Roman" panose="02020603050405020304" pitchFamily="18" charset="0"/>
                          <a:cs typeface="Lohit Devanagari"/>
                        </a:rPr>
                        <a:t> </a:t>
                      </a:r>
                      <a:endParaRPr lang="sv-SE" sz="1200" kern="100" dirty="0">
                        <a:solidFill>
                          <a:srgbClr val="404040"/>
                        </a:solidFill>
                        <a:effectLst/>
                        <a:latin typeface="Liberation Serif"/>
                        <a:ea typeface="Noto Sans CJK SC"/>
                        <a:cs typeface="Lohit Devanagari"/>
                      </a:endParaRPr>
                    </a:p>
                  </a:txBody>
                  <a:tcPr marL="9525" marR="9525" marT="9525" marB="9525">
                    <a:solidFill>
                      <a:schemeClr val="accent3">
                        <a:lumMod val="20000"/>
                        <a:lumOff val="80000"/>
                      </a:schemeClr>
                    </a:solidFill>
                  </a:tcPr>
                </a:tc>
                <a:tc rowSpan="3">
                  <a:txBody>
                    <a:bodyPr/>
                    <a:lstStyle/>
                    <a:p>
                      <a:pPr marL="285750" marR="0" lvl="0" indent="-2857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GB" sz="1400" b="0" kern="1200" dirty="0">
                          <a:solidFill>
                            <a:schemeClr val="dk1"/>
                          </a:solidFill>
                          <a:effectLst/>
                          <a:latin typeface="+mn-lt"/>
                          <a:ea typeface="+mn-ea"/>
                          <a:cs typeface="+mn-cs"/>
                        </a:rPr>
                        <a:t>REIIs plants manager and operators. </a:t>
                      </a:r>
                      <a:endParaRPr lang="sv-SE" sz="1400" b="0" kern="1200" dirty="0">
                        <a:solidFill>
                          <a:schemeClr val="dk1"/>
                        </a:solidFill>
                        <a:effectLst/>
                        <a:latin typeface="+mn-lt"/>
                        <a:ea typeface="+mn-ea"/>
                        <a:cs typeface="+mn-cs"/>
                      </a:endParaRPr>
                    </a:p>
                    <a:p>
                      <a:pPr marL="285750" marR="0" lvl="0" indent="-2857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GB" sz="1400" b="0" kern="1200" dirty="0">
                          <a:solidFill>
                            <a:schemeClr val="dk1"/>
                          </a:solidFill>
                          <a:effectLst/>
                          <a:latin typeface="+mn-lt"/>
                          <a:ea typeface="+mn-ea"/>
                          <a:cs typeface="+mn-cs"/>
                        </a:rPr>
                        <a:t>Electric arc furnace (EAF) providers and owners in steel making sectors. </a:t>
                      </a:r>
                      <a:endParaRPr lang="sv-SE" sz="1400" b="0" kern="1200" dirty="0">
                        <a:solidFill>
                          <a:schemeClr val="dk1"/>
                        </a:solidFill>
                        <a:effectLst/>
                        <a:latin typeface="+mn-lt"/>
                        <a:ea typeface="+mn-ea"/>
                        <a:cs typeface="+mn-cs"/>
                      </a:endParaRPr>
                    </a:p>
                    <a:p>
                      <a:pPr marL="285750" marR="0" lvl="0" indent="-2857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GB" sz="1400" b="0" kern="1200" dirty="0" err="1">
                          <a:solidFill>
                            <a:schemeClr val="dk1"/>
                          </a:solidFill>
                          <a:effectLst/>
                          <a:latin typeface="+mn-lt"/>
                          <a:ea typeface="+mn-ea"/>
                          <a:cs typeface="+mn-cs"/>
                        </a:rPr>
                        <a:t>Industral</a:t>
                      </a:r>
                      <a:r>
                        <a:rPr lang="en-GB" sz="1400" b="0" kern="1200" dirty="0">
                          <a:solidFill>
                            <a:schemeClr val="dk1"/>
                          </a:solidFill>
                          <a:effectLst/>
                          <a:latin typeface="+mn-lt"/>
                          <a:ea typeface="+mn-ea"/>
                          <a:cs typeface="+mn-cs"/>
                        </a:rPr>
                        <a:t> burner provider in heavy industry. </a:t>
                      </a:r>
                      <a:endParaRPr lang="sv-SE" sz="1400" b="0" kern="1200" dirty="0">
                        <a:solidFill>
                          <a:schemeClr val="dk1"/>
                        </a:solidFill>
                        <a:effectLst/>
                        <a:latin typeface="+mn-lt"/>
                        <a:ea typeface="+mn-ea"/>
                        <a:cs typeface="+mn-cs"/>
                      </a:endParaRPr>
                    </a:p>
                  </a:txBody>
                  <a:tcPr marL="1114" marR="1114" marT="1114" marB="1114">
                    <a:solidFill>
                      <a:schemeClr val="accent3">
                        <a:lumMod val="20000"/>
                        <a:lumOff val="80000"/>
                      </a:schemeClr>
                    </a:solidFill>
                  </a:tcPr>
                </a:tc>
                <a:extLst>
                  <a:ext uri="{0D108BD9-81ED-4DB2-BD59-A6C34878D82A}">
                    <a16:rowId xmlns:a16="http://schemas.microsoft.com/office/drawing/2014/main" val="3334709605"/>
                  </a:ext>
                </a:extLst>
              </a:tr>
              <a:tr h="216542">
                <a:tc vMerge="1">
                  <a:txBody>
                    <a:bodyPr/>
                    <a:lstStyle/>
                    <a:p>
                      <a:endParaRPr lang="en-GB"/>
                    </a:p>
                  </a:txBody>
                  <a:tcPr/>
                </a:tc>
                <a:tc>
                  <a:txBody>
                    <a:bodyPr/>
                    <a:lstStyle/>
                    <a:p>
                      <a:pPr fontAlgn="base"/>
                      <a:r>
                        <a:rPr lang="en-GB" sz="1800" b="1" kern="0" dirty="0">
                          <a:solidFill>
                            <a:schemeClr val="bg1"/>
                          </a:solidFill>
                          <a:effectLst/>
                        </a:rPr>
                        <a:t>Key Resources </a:t>
                      </a:r>
                      <a:endParaRPr lang="sv-SE" sz="1800" b="1" kern="100" dirty="0">
                        <a:solidFill>
                          <a:schemeClr val="bg1"/>
                        </a:solidFill>
                        <a:effectLst/>
                        <a:latin typeface="Liberation Serif"/>
                        <a:ea typeface="Noto Sans CJK SC"/>
                        <a:cs typeface="Lohit Devanagari"/>
                      </a:endParaRPr>
                    </a:p>
                  </a:txBody>
                  <a:tcPr marL="1114" marR="1114" marT="1114" marB="1114">
                    <a:solidFill>
                      <a:schemeClr val="accent1"/>
                    </a:solidFill>
                  </a:tcPr>
                </a:tc>
                <a:tc gridSpan="2" vMerge="1">
                  <a:txBody>
                    <a:bodyPr/>
                    <a:lstStyle/>
                    <a:p>
                      <a:endParaRPr lang="en-GB"/>
                    </a:p>
                  </a:txBody>
                  <a:tcPr/>
                </a:tc>
                <a:tc hMerge="1" vMerge="1">
                  <a:txBody>
                    <a:bodyPr/>
                    <a:lstStyle/>
                    <a:p>
                      <a:endParaRPr lang="en-GB" dirty="0"/>
                    </a:p>
                  </a:txBody>
                  <a:tcPr/>
                </a:tc>
                <a:tc>
                  <a:txBody>
                    <a:bodyPr/>
                    <a:lstStyle/>
                    <a:p>
                      <a:pPr fontAlgn="base"/>
                      <a:r>
                        <a:rPr lang="en-GB" sz="1800" b="1" kern="0" dirty="0">
                          <a:solidFill>
                            <a:schemeClr val="bg1"/>
                          </a:solidFill>
                          <a:effectLst/>
                        </a:rPr>
                        <a:t>Channels </a:t>
                      </a:r>
                    </a:p>
                    <a:p>
                      <a:pPr fontAlgn="base"/>
                      <a:endParaRPr lang="en-GB" sz="1600" b="1" kern="0" dirty="0">
                        <a:solidFill>
                          <a:schemeClr val="bg1"/>
                        </a:solidFill>
                        <a:effectLst/>
                        <a:latin typeface="Liberation Serif"/>
                        <a:ea typeface="Noto Sans CJK SC"/>
                        <a:cs typeface="Lohit Devanagari"/>
                      </a:endParaRPr>
                    </a:p>
                    <a:p>
                      <a:pPr fontAlgn="base"/>
                      <a:endParaRPr lang="sv-SE" sz="1600" b="1" kern="100" dirty="0">
                        <a:solidFill>
                          <a:schemeClr val="bg1"/>
                        </a:solidFill>
                        <a:effectLst/>
                        <a:latin typeface="Liberation Serif"/>
                        <a:ea typeface="Noto Sans CJK SC"/>
                        <a:cs typeface="Lohit Devanagari"/>
                      </a:endParaRPr>
                    </a:p>
                  </a:txBody>
                  <a:tcPr marL="1114" marR="1114" marT="1114" marB="1114">
                    <a:solidFill>
                      <a:schemeClr val="accent1"/>
                    </a:solidFill>
                  </a:tcPr>
                </a:tc>
                <a:tc vMerge="1">
                  <a:txBody>
                    <a:bodyPr/>
                    <a:lstStyle/>
                    <a:p>
                      <a:endParaRPr lang="en-GB"/>
                    </a:p>
                  </a:txBody>
                  <a:tcPr/>
                </a:tc>
                <a:extLst>
                  <a:ext uri="{0D108BD9-81ED-4DB2-BD59-A6C34878D82A}">
                    <a16:rowId xmlns:a16="http://schemas.microsoft.com/office/drawing/2014/main" val="2587219525"/>
                  </a:ext>
                </a:extLst>
              </a:tr>
              <a:tr h="779038">
                <a:tc vMerge="1">
                  <a:txBody>
                    <a:bodyPr/>
                    <a:lstStyle/>
                    <a:p>
                      <a:endParaRPr lang="en-GB"/>
                    </a:p>
                  </a:txBody>
                  <a:tcPr/>
                </a:tc>
                <a:tc>
                  <a:txBody>
                    <a:bodyPr/>
                    <a:lstStyle/>
                    <a:p>
                      <a:pPr marL="285750" indent="-285750" algn="l" defTabSz="914400" rtl="0" eaLnBrk="1" fontAlgn="base" latinLnBrk="0" hangingPunct="1">
                        <a:buFont typeface="Arial" panose="020B0604020202020204" pitchFamily="34" charset="0"/>
                        <a:buChar char="•"/>
                      </a:pPr>
                      <a:r>
                        <a:rPr lang="en-GB" sz="1400" b="0" kern="1200" dirty="0">
                          <a:solidFill>
                            <a:schemeClr val="dk1"/>
                          </a:solidFill>
                          <a:effectLst/>
                          <a:latin typeface="+mn-lt"/>
                          <a:ea typeface="+mn-ea"/>
                          <a:cs typeface="+mn-cs"/>
                        </a:rPr>
                        <a:t>Know-how </a:t>
                      </a:r>
                      <a:endParaRPr lang="sv-SE" sz="1400" b="0" kern="1200" dirty="0">
                        <a:solidFill>
                          <a:schemeClr val="dk1"/>
                        </a:solidFill>
                        <a:effectLst/>
                        <a:latin typeface="+mn-lt"/>
                        <a:ea typeface="+mn-ea"/>
                        <a:cs typeface="+mn-cs"/>
                      </a:endParaRPr>
                    </a:p>
                    <a:p>
                      <a:pPr marL="285750" indent="-285750" algn="l" defTabSz="914400" rtl="0" eaLnBrk="1" fontAlgn="base" latinLnBrk="0" hangingPunct="1">
                        <a:buFont typeface="Arial" panose="020B0604020202020204" pitchFamily="34" charset="0"/>
                        <a:buChar char="•"/>
                      </a:pPr>
                      <a:r>
                        <a:rPr lang="en-GB" sz="1400" b="0" kern="1200" dirty="0">
                          <a:solidFill>
                            <a:schemeClr val="dk1"/>
                          </a:solidFill>
                          <a:effectLst/>
                          <a:latin typeface="+mn-lt"/>
                          <a:ea typeface="+mn-ea"/>
                          <a:cs typeface="+mn-cs"/>
                        </a:rPr>
                        <a:t>Highly qualified staff </a:t>
                      </a:r>
                      <a:endParaRPr lang="sv-SE" sz="1400" b="0" kern="1200" dirty="0">
                        <a:solidFill>
                          <a:schemeClr val="dk1"/>
                        </a:solidFill>
                        <a:effectLst/>
                        <a:latin typeface="+mn-lt"/>
                        <a:ea typeface="+mn-ea"/>
                        <a:cs typeface="+mn-cs"/>
                      </a:endParaRPr>
                    </a:p>
                    <a:p>
                      <a:pPr marL="285750" indent="-285750" algn="l" defTabSz="914400" rtl="0" eaLnBrk="1" fontAlgn="base" latinLnBrk="0" hangingPunct="1">
                        <a:buFont typeface="Arial" panose="020B0604020202020204" pitchFamily="34" charset="0"/>
                        <a:buChar char="•"/>
                      </a:pPr>
                      <a:r>
                        <a:rPr lang="en-GB" sz="1400" b="0" kern="1200" dirty="0">
                          <a:solidFill>
                            <a:schemeClr val="dk1"/>
                          </a:solidFill>
                          <a:effectLst/>
                          <a:latin typeface="+mn-lt"/>
                          <a:ea typeface="+mn-ea"/>
                          <a:cs typeface="+mn-cs"/>
                        </a:rPr>
                        <a:t>Design of the solutions </a:t>
                      </a:r>
                      <a:endParaRPr lang="sv-SE" sz="1400" b="0" kern="1200" dirty="0">
                        <a:solidFill>
                          <a:schemeClr val="dk1"/>
                        </a:solidFill>
                        <a:effectLst/>
                        <a:latin typeface="+mn-lt"/>
                        <a:ea typeface="+mn-ea"/>
                        <a:cs typeface="+mn-cs"/>
                      </a:endParaRPr>
                    </a:p>
                    <a:p>
                      <a:pPr marL="285750" indent="-285750" algn="l" defTabSz="914400" rtl="0" eaLnBrk="1" fontAlgn="base" latinLnBrk="0" hangingPunct="1">
                        <a:buFont typeface="Arial" panose="020B0604020202020204" pitchFamily="34" charset="0"/>
                        <a:buChar char="•"/>
                      </a:pPr>
                      <a:r>
                        <a:rPr lang="en-GB" sz="1400" b="0" kern="1200" dirty="0">
                          <a:solidFill>
                            <a:schemeClr val="dk1"/>
                          </a:solidFill>
                          <a:effectLst/>
                          <a:latin typeface="+mn-lt"/>
                          <a:ea typeface="+mn-ea"/>
                          <a:cs typeface="+mn-cs"/>
                        </a:rPr>
                        <a:t>Silo truck </a:t>
                      </a:r>
                      <a:endParaRPr lang="sv-SE" sz="1400" b="0" kern="1200" dirty="0">
                        <a:solidFill>
                          <a:schemeClr val="dk1"/>
                        </a:solidFill>
                        <a:effectLst/>
                        <a:latin typeface="+mn-lt"/>
                        <a:ea typeface="+mn-ea"/>
                        <a:cs typeface="+mn-cs"/>
                      </a:endParaRPr>
                    </a:p>
                    <a:p>
                      <a:pPr marL="285750" indent="-285750" algn="l" defTabSz="914400" rtl="0" eaLnBrk="1" fontAlgn="base" latinLnBrk="0" hangingPunct="1">
                        <a:buFont typeface="Arial" panose="020B0604020202020204" pitchFamily="34" charset="0"/>
                        <a:buChar char="•"/>
                      </a:pPr>
                      <a:r>
                        <a:rPr lang="en-GB" sz="1400" b="0" kern="1200" dirty="0">
                          <a:solidFill>
                            <a:schemeClr val="dk1"/>
                          </a:solidFill>
                          <a:effectLst/>
                          <a:latin typeface="+mn-lt"/>
                          <a:ea typeface="+mn-ea"/>
                          <a:cs typeface="+mn-cs"/>
                        </a:rPr>
                        <a:t>Various silos to various stocks and materials </a:t>
                      </a:r>
                      <a:endParaRPr lang="sv-SE" sz="1400" b="0" kern="1200" dirty="0">
                        <a:solidFill>
                          <a:schemeClr val="dk1"/>
                        </a:solidFill>
                        <a:effectLst/>
                        <a:latin typeface="+mn-lt"/>
                        <a:ea typeface="+mn-ea"/>
                        <a:cs typeface="+mn-cs"/>
                      </a:endParaRPr>
                    </a:p>
                    <a:p>
                      <a:pPr marL="285750" indent="-285750" algn="l" defTabSz="914400" rtl="0" eaLnBrk="1" fontAlgn="base" latinLnBrk="0" hangingPunct="1">
                        <a:buFont typeface="Arial" panose="020B0604020202020204" pitchFamily="34" charset="0"/>
                        <a:buChar char="•"/>
                      </a:pPr>
                      <a:r>
                        <a:rPr lang="en-GB" sz="1400" b="0" kern="1200" dirty="0">
                          <a:solidFill>
                            <a:schemeClr val="dk1"/>
                          </a:solidFill>
                          <a:effectLst/>
                          <a:latin typeface="+mn-lt"/>
                          <a:ea typeface="+mn-ea"/>
                          <a:cs typeface="+mn-cs"/>
                        </a:rPr>
                        <a:t>Bio-based material </a:t>
                      </a:r>
                      <a:endParaRPr lang="sv-SE" sz="1400" b="0" kern="1200" dirty="0">
                        <a:solidFill>
                          <a:schemeClr val="dk1"/>
                        </a:solidFill>
                        <a:effectLst/>
                        <a:latin typeface="+mn-lt"/>
                        <a:ea typeface="+mn-ea"/>
                        <a:cs typeface="+mn-cs"/>
                      </a:endParaRPr>
                    </a:p>
                  </a:txBody>
                  <a:tcPr marL="9525" marR="9525" marT="9525" marB="9525">
                    <a:solidFill>
                      <a:schemeClr val="accent3">
                        <a:lumMod val="20000"/>
                        <a:lumOff val="80000"/>
                      </a:schemeClr>
                    </a:solidFill>
                  </a:tcPr>
                </a:tc>
                <a:tc gridSpan="2" vMerge="1">
                  <a:txBody>
                    <a:bodyPr/>
                    <a:lstStyle/>
                    <a:p>
                      <a:endParaRPr lang="en-GB"/>
                    </a:p>
                  </a:txBody>
                  <a:tcPr/>
                </a:tc>
                <a:tc hMerge="1" vMerge="1">
                  <a:txBody>
                    <a:bodyPr/>
                    <a:lstStyle/>
                    <a:p>
                      <a:endParaRPr lang="en-GB" dirty="0"/>
                    </a:p>
                  </a:txBody>
                  <a:tcPr/>
                </a:tc>
                <a:tc>
                  <a:txBody>
                    <a:bodyPr/>
                    <a:lstStyle/>
                    <a:p>
                      <a:pPr marL="285750" indent="-285750" algn="l" defTabSz="914400" rtl="0" eaLnBrk="1" fontAlgn="base" latinLnBrk="0" hangingPunct="1">
                        <a:buFont typeface="Arial" panose="020B0604020202020204" pitchFamily="34" charset="0"/>
                        <a:buChar char="•"/>
                      </a:pPr>
                      <a:r>
                        <a:rPr lang="en-GB" sz="1400" b="0" kern="1200" dirty="0">
                          <a:solidFill>
                            <a:schemeClr val="dk1"/>
                          </a:solidFill>
                          <a:effectLst/>
                          <a:latin typeface="+mn-lt"/>
                          <a:ea typeface="+mn-ea"/>
                          <a:cs typeface="+mn-cs"/>
                        </a:rPr>
                        <a:t>RETROFEED network REIIs technology suppliers. </a:t>
                      </a:r>
                      <a:endParaRPr lang="sv-SE" sz="1400" b="0" kern="1200" dirty="0">
                        <a:solidFill>
                          <a:schemeClr val="dk1"/>
                        </a:solidFill>
                        <a:effectLst/>
                        <a:latin typeface="+mn-lt"/>
                        <a:ea typeface="+mn-ea"/>
                        <a:cs typeface="+mn-cs"/>
                      </a:endParaRPr>
                    </a:p>
                    <a:p>
                      <a:pPr marL="285750" indent="-285750" algn="l" defTabSz="914400" rtl="0" eaLnBrk="1" fontAlgn="base" latinLnBrk="0" hangingPunct="1">
                        <a:buFont typeface="Arial" panose="020B0604020202020204" pitchFamily="34" charset="0"/>
                        <a:buChar char="•"/>
                      </a:pPr>
                      <a:r>
                        <a:rPr lang="en-GB" sz="1400" b="0" kern="1200" dirty="0">
                          <a:solidFill>
                            <a:schemeClr val="dk1"/>
                          </a:solidFill>
                          <a:effectLst/>
                          <a:latin typeface="+mn-lt"/>
                          <a:ea typeface="+mn-ea"/>
                          <a:cs typeface="+mn-cs"/>
                        </a:rPr>
                        <a:t>Earlier contact with designers. </a:t>
                      </a:r>
                      <a:endParaRPr lang="sv-SE" sz="1400" b="0" kern="1200" dirty="0">
                        <a:solidFill>
                          <a:schemeClr val="dk1"/>
                        </a:solidFill>
                        <a:effectLst/>
                        <a:latin typeface="+mn-lt"/>
                        <a:ea typeface="+mn-ea"/>
                        <a:cs typeface="+mn-cs"/>
                      </a:endParaRPr>
                    </a:p>
                    <a:p>
                      <a:pPr marL="285750" indent="-285750" algn="l" defTabSz="914400" rtl="0" eaLnBrk="1" fontAlgn="base" latinLnBrk="0" hangingPunct="1">
                        <a:buFont typeface="Arial" panose="020B0604020202020204" pitchFamily="34" charset="0"/>
                        <a:buChar char="•"/>
                      </a:pPr>
                      <a:r>
                        <a:rPr lang="en-GB" sz="1400" b="0" kern="1200" dirty="0">
                          <a:solidFill>
                            <a:schemeClr val="dk1"/>
                          </a:solidFill>
                          <a:effectLst/>
                          <a:latin typeface="+mn-lt"/>
                          <a:ea typeface="+mn-ea"/>
                          <a:cs typeface="+mn-cs"/>
                        </a:rPr>
                        <a:t>Conferences and special frontal sessions where the innovations are presented and where we can reach interested clients. </a:t>
                      </a:r>
                      <a:endParaRPr lang="sv-SE" sz="1400" b="0" kern="1200" dirty="0">
                        <a:solidFill>
                          <a:schemeClr val="dk1"/>
                        </a:solidFill>
                        <a:effectLst/>
                        <a:latin typeface="+mn-lt"/>
                        <a:ea typeface="+mn-ea"/>
                        <a:cs typeface="+mn-cs"/>
                      </a:endParaRPr>
                    </a:p>
                  </a:txBody>
                  <a:tcPr marL="1114" marR="1114" marT="1114" marB="1114">
                    <a:solidFill>
                      <a:schemeClr val="accent3">
                        <a:lumMod val="20000"/>
                        <a:lumOff val="80000"/>
                      </a:schemeClr>
                    </a:solidFill>
                  </a:tcPr>
                </a:tc>
                <a:tc vMerge="1">
                  <a:txBody>
                    <a:bodyPr/>
                    <a:lstStyle/>
                    <a:p>
                      <a:endParaRPr lang="en-GB" dirty="0"/>
                    </a:p>
                  </a:txBody>
                  <a:tcPr/>
                </a:tc>
                <a:extLst>
                  <a:ext uri="{0D108BD9-81ED-4DB2-BD59-A6C34878D82A}">
                    <a16:rowId xmlns:a16="http://schemas.microsoft.com/office/drawing/2014/main" val="1673436252"/>
                  </a:ext>
                </a:extLst>
              </a:tr>
              <a:tr h="337625">
                <a:tc gridSpan="3">
                  <a:txBody>
                    <a:bodyPr/>
                    <a:lstStyle/>
                    <a:p>
                      <a:pPr fontAlgn="base"/>
                      <a:r>
                        <a:rPr lang="en-GB" sz="1800" b="1" kern="0" dirty="0">
                          <a:solidFill>
                            <a:schemeClr val="bg1"/>
                          </a:solidFill>
                          <a:effectLst/>
                        </a:rPr>
                        <a:t>Cost Structure </a:t>
                      </a:r>
                    </a:p>
                    <a:p>
                      <a:pPr fontAlgn="base"/>
                      <a:endParaRPr lang="sv-SE" sz="1600" b="1" kern="100" dirty="0">
                        <a:solidFill>
                          <a:schemeClr val="bg1"/>
                        </a:solidFill>
                        <a:effectLst/>
                      </a:endParaRPr>
                    </a:p>
                  </a:txBody>
                  <a:tcPr marL="1114" marR="1114" marT="1114" marB="1114"/>
                </a:tc>
                <a:tc hMerge="1">
                  <a:txBody>
                    <a:bodyPr/>
                    <a:lstStyle/>
                    <a:p>
                      <a:endParaRPr lang="en-GB"/>
                    </a:p>
                  </a:txBody>
                  <a:tcPr/>
                </a:tc>
                <a:tc hMerge="1">
                  <a:txBody>
                    <a:bodyPr/>
                    <a:lstStyle/>
                    <a:p>
                      <a:endParaRPr lang="en-GB"/>
                    </a:p>
                  </a:txBody>
                  <a:tcPr/>
                </a:tc>
                <a:tc gridSpan="3">
                  <a:txBody>
                    <a:bodyPr/>
                    <a:lstStyle/>
                    <a:p>
                      <a:pPr fontAlgn="base"/>
                      <a:r>
                        <a:rPr lang="en-GB" sz="1800" b="1" kern="0" dirty="0">
                          <a:solidFill>
                            <a:schemeClr val="bg1"/>
                          </a:solidFill>
                          <a:effectLst/>
                        </a:rPr>
                        <a:t>Revenue Streams </a:t>
                      </a:r>
                    </a:p>
                    <a:p>
                      <a:pPr fontAlgn="base"/>
                      <a:endParaRPr lang="en-GB" sz="1600" b="1" kern="0" dirty="0">
                        <a:solidFill>
                          <a:schemeClr val="bg1"/>
                        </a:solidFill>
                        <a:effectLst/>
                      </a:endParaRPr>
                    </a:p>
                    <a:p>
                      <a:pPr fontAlgn="base"/>
                      <a:endParaRPr lang="sv-SE" sz="1600" b="1" kern="100" dirty="0">
                        <a:solidFill>
                          <a:schemeClr val="bg1"/>
                        </a:solidFill>
                        <a:effectLst/>
                      </a:endParaRPr>
                    </a:p>
                  </a:txBody>
                  <a:tcPr marL="1114" marR="1114" marT="1114" marB="1114">
                    <a:solidFill>
                      <a:schemeClr val="accent1"/>
                    </a:solidFill>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2457363146"/>
                  </a:ext>
                </a:extLst>
              </a:tr>
              <a:tr h="0">
                <a:tc gridSpan="3">
                  <a:txBody>
                    <a:bodyPr/>
                    <a:lstStyle/>
                    <a:p>
                      <a:pPr marL="285750" indent="-285750" algn="l" defTabSz="914400" rtl="0" eaLnBrk="1" fontAlgn="base" latinLnBrk="0" hangingPunct="1">
                        <a:buFont typeface="Arial" panose="020B0604020202020204" pitchFamily="34" charset="0"/>
                        <a:buChar char="•"/>
                      </a:pPr>
                      <a:r>
                        <a:rPr lang="en-GB" sz="1400" b="0" kern="1200" dirty="0">
                          <a:solidFill>
                            <a:schemeClr val="dk1"/>
                          </a:solidFill>
                          <a:effectLst/>
                          <a:latin typeface="+mn-lt"/>
                          <a:ea typeface="+mn-ea"/>
                          <a:cs typeface="+mn-cs"/>
                        </a:rPr>
                        <a:t>Technology construction </a:t>
                      </a:r>
                      <a:endParaRPr lang="sv-SE" sz="1400" b="0" kern="1200" dirty="0">
                        <a:solidFill>
                          <a:schemeClr val="dk1"/>
                        </a:solidFill>
                        <a:effectLst/>
                        <a:latin typeface="+mn-lt"/>
                        <a:ea typeface="+mn-ea"/>
                        <a:cs typeface="+mn-cs"/>
                      </a:endParaRPr>
                    </a:p>
                    <a:p>
                      <a:pPr marL="285750" indent="-285750" algn="l" defTabSz="914400" rtl="0" eaLnBrk="1" fontAlgn="base" latinLnBrk="0" hangingPunct="1">
                        <a:buFont typeface="Arial" panose="020B0604020202020204" pitchFamily="34" charset="0"/>
                        <a:buChar char="•"/>
                      </a:pPr>
                      <a:r>
                        <a:rPr lang="en-GB" sz="1400" b="0" kern="1200" dirty="0">
                          <a:solidFill>
                            <a:schemeClr val="dk1"/>
                          </a:solidFill>
                          <a:effectLst/>
                          <a:latin typeface="+mn-lt"/>
                          <a:ea typeface="+mn-ea"/>
                          <a:cs typeface="+mn-cs"/>
                        </a:rPr>
                        <a:t>Patents and industrial secrecy costs </a:t>
                      </a:r>
                      <a:endParaRPr lang="sv-SE" sz="1400" b="0" kern="1200" dirty="0">
                        <a:solidFill>
                          <a:schemeClr val="dk1"/>
                        </a:solidFill>
                        <a:effectLst/>
                        <a:latin typeface="+mn-lt"/>
                        <a:ea typeface="+mn-ea"/>
                        <a:cs typeface="+mn-cs"/>
                      </a:endParaRPr>
                    </a:p>
                    <a:p>
                      <a:pPr marL="285750" indent="-285750" algn="l" defTabSz="914400" rtl="0" eaLnBrk="1" fontAlgn="base" latinLnBrk="0" hangingPunct="1">
                        <a:buFont typeface="Arial" panose="020B0604020202020204" pitchFamily="34" charset="0"/>
                        <a:buChar char="•"/>
                      </a:pPr>
                      <a:r>
                        <a:rPr lang="en-GB" sz="1400" b="0" kern="1200" dirty="0">
                          <a:solidFill>
                            <a:schemeClr val="dk1"/>
                          </a:solidFill>
                          <a:effectLst/>
                          <a:latin typeface="+mn-lt"/>
                          <a:ea typeface="+mn-ea"/>
                          <a:cs typeface="+mn-cs"/>
                        </a:rPr>
                        <a:t>Salaries </a:t>
                      </a:r>
                      <a:endParaRPr lang="sv-SE" sz="1400" b="0" kern="1200" dirty="0">
                        <a:solidFill>
                          <a:schemeClr val="dk1"/>
                        </a:solidFill>
                        <a:effectLst/>
                        <a:latin typeface="+mn-lt"/>
                        <a:ea typeface="+mn-ea"/>
                        <a:cs typeface="+mn-cs"/>
                      </a:endParaRPr>
                    </a:p>
                    <a:p>
                      <a:pPr marL="285750" indent="-285750" algn="l" defTabSz="914400" rtl="0" eaLnBrk="1" fontAlgn="base" latinLnBrk="0" hangingPunct="1">
                        <a:buFont typeface="Arial" panose="020B0604020202020204" pitchFamily="34" charset="0"/>
                        <a:buChar char="•"/>
                      </a:pPr>
                      <a:r>
                        <a:rPr lang="en-GB" sz="1400" b="0" kern="1200" dirty="0">
                          <a:solidFill>
                            <a:schemeClr val="dk1"/>
                          </a:solidFill>
                          <a:effectLst/>
                          <a:latin typeface="+mn-lt"/>
                          <a:ea typeface="+mn-ea"/>
                          <a:cs typeface="+mn-cs"/>
                        </a:rPr>
                        <a:t>Material </a:t>
                      </a:r>
                      <a:endParaRPr lang="sv-SE" sz="1400" b="0" kern="1200" dirty="0">
                        <a:solidFill>
                          <a:schemeClr val="dk1"/>
                        </a:solidFill>
                        <a:effectLst/>
                        <a:latin typeface="+mn-lt"/>
                        <a:ea typeface="+mn-ea"/>
                        <a:cs typeface="+mn-cs"/>
                      </a:endParaRPr>
                    </a:p>
                    <a:p>
                      <a:pPr marL="0" indent="0" algn="l" defTabSz="914400" rtl="0" eaLnBrk="1" fontAlgn="base" latinLnBrk="0" hangingPunct="1">
                        <a:buFont typeface="Arial" panose="020B0604020202020204" pitchFamily="34" charset="0"/>
                        <a:buNone/>
                      </a:pPr>
                      <a:endParaRPr lang="sv-SE" sz="1400" b="0" kern="1200" dirty="0">
                        <a:solidFill>
                          <a:schemeClr val="dk1"/>
                        </a:solidFill>
                        <a:effectLst/>
                        <a:latin typeface="+mn-lt"/>
                        <a:ea typeface="+mn-ea"/>
                        <a:cs typeface="+mn-cs"/>
                      </a:endParaRPr>
                    </a:p>
                  </a:txBody>
                  <a:tcPr marL="1114" marR="1114" marT="1114" marB="1114">
                    <a:solidFill>
                      <a:schemeClr val="accent3">
                        <a:lumMod val="20000"/>
                        <a:lumOff val="80000"/>
                      </a:schemeClr>
                    </a:solidFill>
                  </a:tcPr>
                </a:tc>
                <a:tc hMerge="1">
                  <a:txBody>
                    <a:bodyPr/>
                    <a:lstStyle/>
                    <a:p>
                      <a:endParaRPr lang="en-GB"/>
                    </a:p>
                  </a:txBody>
                  <a:tcPr/>
                </a:tc>
                <a:tc hMerge="1">
                  <a:txBody>
                    <a:bodyPr/>
                    <a:lstStyle/>
                    <a:p>
                      <a:endParaRPr lang="en-GB"/>
                    </a:p>
                  </a:txBody>
                  <a:tcPr/>
                </a:tc>
                <a:tc gridSpan="3">
                  <a:txBody>
                    <a:bodyPr/>
                    <a:lstStyle/>
                    <a:p>
                      <a:pPr marL="285750" indent="-285750" algn="l" defTabSz="914400" rtl="0" eaLnBrk="1" fontAlgn="base" latinLnBrk="0" hangingPunct="1">
                        <a:buFont typeface="Arial" panose="020B0604020202020204" pitchFamily="34" charset="0"/>
                        <a:buChar char="•"/>
                      </a:pPr>
                      <a:r>
                        <a:rPr lang="en-GB" sz="1400" b="0" kern="1200" dirty="0">
                          <a:solidFill>
                            <a:schemeClr val="dk1"/>
                          </a:solidFill>
                          <a:effectLst/>
                          <a:latin typeface="+mn-lt"/>
                          <a:ea typeface="+mn-ea"/>
                          <a:cs typeface="+mn-cs"/>
                        </a:rPr>
                        <a:t>Selling the solution  </a:t>
                      </a:r>
                      <a:endParaRPr lang="sv-SE" sz="1400" b="0" kern="1200" dirty="0">
                        <a:solidFill>
                          <a:schemeClr val="dk1"/>
                        </a:solidFill>
                        <a:effectLst/>
                        <a:latin typeface="+mn-lt"/>
                        <a:ea typeface="+mn-ea"/>
                        <a:cs typeface="+mn-cs"/>
                      </a:endParaRPr>
                    </a:p>
                    <a:p>
                      <a:pPr marL="285750" indent="-285750" algn="l" defTabSz="914400" rtl="0" eaLnBrk="1" fontAlgn="base" latinLnBrk="0" hangingPunct="1">
                        <a:buFont typeface="Arial" panose="020B0604020202020204" pitchFamily="34" charset="0"/>
                        <a:buChar char="•"/>
                      </a:pPr>
                      <a:r>
                        <a:rPr lang="en-GB" sz="1400" b="0" kern="1200" dirty="0">
                          <a:solidFill>
                            <a:schemeClr val="dk1"/>
                          </a:solidFill>
                          <a:effectLst/>
                          <a:latin typeface="+mn-lt"/>
                          <a:ea typeface="+mn-ea"/>
                          <a:cs typeface="+mn-cs"/>
                        </a:rPr>
                        <a:t>Consultancy fees </a:t>
                      </a:r>
                      <a:endParaRPr lang="sv-SE" sz="1400" b="0" kern="1200" dirty="0">
                        <a:solidFill>
                          <a:schemeClr val="dk1"/>
                        </a:solidFill>
                        <a:effectLst/>
                        <a:latin typeface="+mn-lt"/>
                        <a:ea typeface="+mn-ea"/>
                        <a:cs typeface="+mn-cs"/>
                      </a:endParaRPr>
                    </a:p>
                    <a:p>
                      <a:pPr marL="285750" indent="-285750" algn="l" defTabSz="914400" rtl="0" eaLnBrk="1" fontAlgn="base" latinLnBrk="0" hangingPunct="1">
                        <a:buFont typeface="Arial" panose="020B0604020202020204" pitchFamily="34" charset="0"/>
                        <a:buChar char="•"/>
                      </a:pPr>
                      <a:r>
                        <a:rPr lang="en-GB" sz="1400" b="0" kern="1200" dirty="0">
                          <a:solidFill>
                            <a:schemeClr val="dk1"/>
                          </a:solidFill>
                          <a:effectLst/>
                          <a:latin typeface="+mn-lt"/>
                          <a:ea typeface="+mn-ea"/>
                          <a:cs typeface="+mn-cs"/>
                        </a:rPr>
                        <a:t>Indirect: CO2 reduction </a:t>
                      </a:r>
                      <a:endParaRPr lang="sv-SE" sz="1400" b="0" kern="1200" dirty="0">
                        <a:solidFill>
                          <a:schemeClr val="dk1"/>
                        </a:solidFill>
                        <a:effectLst/>
                        <a:latin typeface="+mn-lt"/>
                        <a:ea typeface="+mn-ea"/>
                        <a:cs typeface="+mn-cs"/>
                      </a:endParaRPr>
                    </a:p>
                    <a:p>
                      <a:pPr marL="285750" indent="-285750" algn="l" defTabSz="914400" rtl="0" eaLnBrk="1" fontAlgn="base" latinLnBrk="0" hangingPunct="1">
                        <a:buFont typeface="Arial" panose="020B0604020202020204" pitchFamily="34" charset="0"/>
                        <a:buChar char="•"/>
                      </a:pPr>
                      <a:r>
                        <a:rPr lang="en-GB" sz="1400" b="0" kern="1200" dirty="0">
                          <a:solidFill>
                            <a:schemeClr val="dk1"/>
                          </a:solidFill>
                          <a:effectLst/>
                          <a:latin typeface="+mn-lt"/>
                          <a:ea typeface="+mn-ea"/>
                          <a:cs typeface="+mn-cs"/>
                        </a:rPr>
                        <a:t>Indirect: More flexible compared to conventional processes/</a:t>
                      </a:r>
                      <a:endParaRPr lang="sv-SE" sz="1400" b="0" kern="1200" dirty="0">
                        <a:solidFill>
                          <a:schemeClr val="dk1"/>
                        </a:solidFill>
                        <a:effectLst/>
                        <a:latin typeface="+mn-lt"/>
                        <a:ea typeface="+mn-ea"/>
                        <a:cs typeface="+mn-cs"/>
                      </a:endParaRPr>
                    </a:p>
                  </a:txBody>
                  <a:tcPr marL="1114" marR="1114" marT="1114" marB="1114">
                    <a:solidFill>
                      <a:schemeClr val="accent3">
                        <a:lumMod val="20000"/>
                        <a:lumOff val="80000"/>
                      </a:schemeClr>
                    </a:solidFill>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431393471"/>
                  </a:ext>
                </a:extLst>
              </a:tr>
            </a:tbl>
          </a:graphicData>
        </a:graphic>
      </p:graphicFrame>
      <p:grpSp>
        <p:nvGrpSpPr>
          <p:cNvPr id="7" name="Bild 18" descr="Fabrik kontur">
            <a:extLst>
              <a:ext uri="{FF2B5EF4-FFF2-40B4-BE49-F238E27FC236}">
                <a16:creationId xmlns:a16="http://schemas.microsoft.com/office/drawing/2014/main" id="{D3CDAB3B-6B33-37A9-E930-BDB49F85C0FB}"/>
              </a:ext>
            </a:extLst>
          </p:cNvPr>
          <p:cNvGrpSpPr/>
          <p:nvPr/>
        </p:nvGrpSpPr>
        <p:grpSpPr>
          <a:xfrm>
            <a:off x="6680159" y="5154311"/>
            <a:ext cx="500675" cy="500675"/>
            <a:chOff x="5846141" y="4275832"/>
            <a:chExt cx="500675" cy="500675"/>
          </a:xfrm>
          <a:solidFill>
            <a:schemeClr val="bg1"/>
          </a:solidFill>
        </p:grpSpPr>
        <p:sp>
          <p:nvSpPr>
            <p:cNvPr id="8" name="Frihandsfigur: Form 7">
              <a:extLst>
                <a:ext uri="{FF2B5EF4-FFF2-40B4-BE49-F238E27FC236}">
                  <a16:creationId xmlns:a16="http://schemas.microsoft.com/office/drawing/2014/main" id="{013CCFC9-8AE2-CA0A-7E46-767939482E9F}"/>
                </a:ext>
              </a:extLst>
            </p:cNvPr>
            <p:cNvSpPr/>
            <p:nvPr/>
          </p:nvSpPr>
          <p:spPr>
            <a:xfrm>
              <a:off x="5846141" y="4275832"/>
              <a:ext cx="500675" cy="500675"/>
            </a:xfrm>
            <a:custGeom>
              <a:avLst/>
              <a:gdLst>
                <a:gd name="connsiteX0" fmla="*/ 307558 w 500675"/>
                <a:gd name="connsiteY0" fmla="*/ 288639 h 500675"/>
                <a:gd name="connsiteX1" fmla="*/ 307558 w 500675"/>
                <a:gd name="connsiteY1" fmla="*/ 188504 h 500675"/>
                <a:gd name="connsiteX2" fmla="*/ 113632 w 500675"/>
                <a:gd name="connsiteY2" fmla="*/ 289061 h 500675"/>
                <a:gd name="connsiteX3" fmla="*/ 92482 w 500675"/>
                <a:gd name="connsiteY3" fmla="*/ 0 h 500675"/>
                <a:gd name="connsiteX4" fmla="*/ 21958 w 500675"/>
                <a:gd name="connsiteY4" fmla="*/ 0 h 500675"/>
                <a:gd name="connsiteX5" fmla="*/ 0 w 500675"/>
                <a:gd name="connsiteY5" fmla="*/ 300405 h 500675"/>
                <a:gd name="connsiteX6" fmla="*/ 0 w 500675"/>
                <a:gd name="connsiteY6" fmla="*/ 500675 h 500675"/>
                <a:gd name="connsiteX7" fmla="*/ 500675 w 500675"/>
                <a:gd name="connsiteY7" fmla="*/ 500675 h 500675"/>
                <a:gd name="connsiteX8" fmla="*/ 500675 w 500675"/>
                <a:gd name="connsiteY8" fmla="*/ 188504 h 500675"/>
                <a:gd name="connsiteX9" fmla="*/ 79178 w 500675"/>
                <a:gd name="connsiteY9" fmla="*/ 14305 h 500675"/>
                <a:gd name="connsiteX10" fmla="*/ 81796 w 500675"/>
                <a:gd name="connsiteY10" fmla="*/ 50068 h 500675"/>
                <a:gd name="connsiteX11" fmla="*/ 32644 w 500675"/>
                <a:gd name="connsiteY11" fmla="*/ 50068 h 500675"/>
                <a:gd name="connsiteX12" fmla="*/ 35262 w 500675"/>
                <a:gd name="connsiteY12" fmla="*/ 14305 h 500675"/>
                <a:gd name="connsiteX13" fmla="*/ 31593 w 500675"/>
                <a:gd name="connsiteY13" fmla="*/ 64373 h 500675"/>
                <a:gd name="connsiteX14" fmla="*/ 82847 w 500675"/>
                <a:gd name="connsiteY14" fmla="*/ 64373 h 500675"/>
                <a:gd name="connsiteX15" fmla="*/ 99591 w 500675"/>
                <a:gd name="connsiteY15" fmla="*/ 293253 h 500675"/>
                <a:gd name="connsiteX16" fmla="*/ 14849 w 500675"/>
                <a:gd name="connsiteY16" fmla="*/ 293253 h 500675"/>
                <a:gd name="connsiteX17" fmla="*/ 109433 w 500675"/>
                <a:gd name="connsiteY17" fmla="*/ 307336 h 500675"/>
                <a:gd name="connsiteX18" fmla="*/ 293253 w 500675"/>
                <a:gd name="connsiteY18" fmla="*/ 212036 h 500675"/>
                <a:gd name="connsiteX19" fmla="*/ 293253 w 500675"/>
                <a:gd name="connsiteY19" fmla="*/ 312171 h 500675"/>
                <a:gd name="connsiteX20" fmla="*/ 486370 w 500675"/>
                <a:gd name="connsiteY20" fmla="*/ 212036 h 500675"/>
                <a:gd name="connsiteX21" fmla="*/ 486370 w 500675"/>
                <a:gd name="connsiteY21" fmla="*/ 486370 h 500675"/>
                <a:gd name="connsiteX22" fmla="*/ 14305 w 500675"/>
                <a:gd name="connsiteY22" fmla="*/ 486370 h 500675"/>
                <a:gd name="connsiteX23" fmla="*/ 14305 w 500675"/>
                <a:gd name="connsiteY23" fmla="*/ 307558 h 500675"/>
                <a:gd name="connsiteX24" fmla="*/ 100636 w 500675"/>
                <a:gd name="connsiteY24" fmla="*/ 307558 h 500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00675" h="500675">
                  <a:moveTo>
                    <a:pt x="307558" y="288639"/>
                  </a:moveTo>
                  <a:lnTo>
                    <a:pt x="307558" y="188504"/>
                  </a:lnTo>
                  <a:lnTo>
                    <a:pt x="113632" y="289061"/>
                  </a:lnTo>
                  <a:lnTo>
                    <a:pt x="92482" y="0"/>
                  </a:lnTo>
                  <a:lnTo>
                    <a:pt x="21958" y="0"/>
                  </a:lnTo>
                  <a:lnTo>
                    <a:pt x="0" y="300405"/>
                  </a:lnTo>
                  <a:lnTo>
                    <a:pt x="0" y="500675"/>
                  </a:lnTo>
                  <a:lnTo>
                    <a:pt x="500675" y="500675"/>
                  </a:lnTo>
                  <a:lnTo>
                    <a:pt x="500675" y="188504"/>
                  </a:lnTo>
                  <a:close/>
                  <a:moveTo>
                    <a:pt x="79178" y="14305"/>
                  </a:moveTo>
                  <a:lnTo>
                    <a:pt x="81796" y="50068"/>
                  </a:lnTo>
                  <a:lnTo>
                    <a:pt x="32644" y="50068"/>
                  </a:lnTo>
                  <a:lnTo>
                    <a:pt x="35262" y="14305"/>
                  </a:lnTo>
                  <a:close/>
                  <a:moveTo>
                    <a:pt x="31593" y="64373"/>
                  </a:moveTo>
                  <a:lnTo>
                    <a:pt x="82847" y="64373"/>
                  </a:lnTo>
                  <a:lnTo>
                    <a:pt x="99591" y="293253"/>
                  </a:lnTo>
                  <a:lnTo>
                    <a:pt x="14849" y="293253"/>
                  </a:lnTo>
                  <a:close/>
                  <a:moveTo>
                    <a:pt x="109433" y="307336"/>
                  </a:moveTo>
                  <a:lnTo>
                    <a:pt x="293253" y="212036"/>
                  </a:lnTo>
                  <a:lnTo>
                    <a:pt x="293253" y="312171"/>
                  </a:lnTo>
                  <a:lnTo>
                    <a:pt x="486370" y="212036"/>
                  </a:lnTo>
                  <a:lnTo>
                    <a:pt x="486370" y="486370"/>
                  </a:lnTo>
                  <a:lnTo>
                    <a:pt x="14305" y="486370"/>
                  </a:lnTo>
                  <a:lnTo>
                    <a:pt x="14305" y="307558"/>
                  </a:lnTo>
                  <a:lnTo>
                    <a:pt x="100636" y="307558"/>
                  </a:lnTo>
                  <a:close/>
                </a:path>
              </a:pathLst>
            </a:custGeom>
            <a:solidFill>
              <a:schemeClr val="bg1"/>
            </a:solidFill>
            <a:ln w="7144" cap="flat">
              <a:solidFill>
                <a:schemeClr val="bg1"/>
              </a:solidFill>
              <a:prstDash val="solid"/>
              <a:miter/>
            </a:ln>
          </p:spPr>
          <p:txBody>
            <a:bodyPr rtlCol="0" anchor="ctr"/>
            <a:lstStyle/>
            <a:p>
              <a:endParaRPr lang="en-GB"/>
            </a:p>
          </p:txBody>
        </p:sp>
        <p:sp>
          <p:nvSpPr>
            <p:cNvPr id="9" name="Frihandsfigur: Form 8">
              <a:extLst>
                <a:ext uri="{FF2B5EF4-FFF2-40B4-BE49-F238E27FC236}">
                  <a16:creationId xmlns:a16="http://schemas.microsoft.com/office/drawing/2014/main" id="{C9C88383-F492-2648-7F7A-ADE70631DB0E}"/>
                </a:ext>
              </a:extLst>
            </p:cNvPr>
            <p:cNvSpPr/>
            <p:nvPr/>
          </p:nvSpPr>
          <p:spPr>
            <a:xfrm>
              <a:off x="5896209" y="4647762"/>
              <a:ext cx="114440" cy="71525"/>
            </a:xfrm>
            <a:custGeom>
              <a:avLst/>
              <a:gdLst>
                <a:gd name="connsiteX0" fmla="*/ 0 w 114440"/>
                <a:gd name="connsiteY0" fmla="*/ 71525 h 71525"/>
                <a:gd name="connsiteX1" fmla="*/ 114440 w 114440"/>
                <a:gd name="connsiteY1" fmla="*/ 71525 h 71525"/>
                <a:gd name="connsiteX2" fmla="*/ 114440 w 114440"/>
                <a:gd name="connsiteY2" fmla="*/ 0 h 71525"/>
                <a:gd name="connsiteX3" fmla="*/ 0 w 114440"/>
                <a:gd name="connsiteY3" fmla="*/ 0 h 71525"/>
                <a:gd name="connsiteX4" fmla="*/ 100135 w 114440"/>
                <a:gd name="connsiteY4" fmla="*/ 57220 h 71525"/>
                <a:gd name="connsiteX5" fmla="*/ 64373 w 114440"/>
                <a:gd name="connsiteY5" fmla="*/ 57220 h 71525"/>
                <a:gd name="connsiteX6" fmla="*/ 64373 w 114440"/>
                <a:gd name="connsiteY6" fmla="*/ 14305 h 71525"/>
                <a:gd name="connsiteX7" fmla="*/ 100135 w 114440"/>
                <a:gd name="connsiteY7" fmla="*/ 14305 h 71525"/>
                <a:gd name="connsiteX8" fmla="*/ 14305 w 114440"/>
                <a:gd name="connsiteY8" fmla="*/ 14305 h 71525"/>
                <a:gd name="connsiteX9" fmla="*/ 50068 w 114440"/>
                <a:gd name="connsiteY9" fmla="*/ 14305 h 71525"/>
                <a:gd name="connsiteX10" fmla="*/ 50068 w 114440"/>
                <a:gd name="connsiteY10" fmla="*/ 57220 h 71525"/>
                <a:gd name="connsiteX11" fmla="*/ 14305 w 114440"/>
                <a:gd name="connsiteY11" fmla="*/ 57220 h 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4440" h="71525">
                  <a:moveTo>
                    <a:pt x="0" y="71525"/>
                  </a:moveTo>
                  <a:lnTo>
                    <a:pt x="114440" y="71525"/>
                  </a:lnTo>
                  <a:lnTo>
                    <a:pt x="114440" y="0"/>
                  </a:lnTo>
                  <a:lnTo>
                    <a:pt x="0" y="0"/>
                  </a:lnTo>
                  <a:close/>
                  <a:moveTo>
                    <a:pt x="100135" y="57220"/>
                  </a:moveTo>
                  <a:lnTo>
                    <a:pt x="64373" y="57220"/>
                  </a:lnTo>
                  <a:lnTo>
                    <a:pt x="64373" y="14305"/>
                  </a:lnTo>
                  <a:lnTo>
                    <a:pt x="100135" y="14305"/>
                  </a:lnTo>
                  <a:close/>
                  <a:moveTo>
                    <a:pt x="14305" y="14305"/>
                  </a:moveTo>
                  <a:lnTo>
                    <a:pt x="50068" y="14305"/>
                  </a:lnTo>
                  <a:lnTo>
                    <a:pt x="50068" y="57220"/>
                  </a:lnTo>
                  <a:lnTo>
                    <a:pt x="14305" y="57220"/>
                  </a:lnTo>
                  <a:close/>
                </a:path>
              </a:pathLst>
            </a:custGeom>
            <a:solidFill>
              <a:schemeClr val="bg1"/>
            </a:solidFill>
            <a:ln w="7144" cap="flat">
              <a:solidFill>
                <a:schemeClr val="bg1"/>
              </a:solidFill>
              <a:prstDash val="solid"/>
              <a:miter/>
            </a:ln>
          </p:spPr>
          <p:txBody>
            <a:bodyPr rtlCol="0" anchor="ctr"/>
            <a:lstStyle/>
            <a:p>
              <a:endParaRPr lang="en-GB"/>
            </a:p>
          </p:txBody>
        </p:sp>
        <p:sp>
          <p:nvSpPr>
            <p:cNvPr id="10" name="Frihandsfigur: Form 9">
              <a:extLst>
                <a:ext uri="{FF2B5EF4-FFF2-40B4-BE49-F238E27FC236}">
                  <a16:creationId xmlns:a16="http://schemas.microsoft.com/office/drawing/2014/main" id="{8B7CE92C-7365-578D-4B6C-672C025CDEA9}"/>
                </a:ext>
              </a:extLst>
            </p:cNvPr>
            <p:cNvSpPr/>
            <p:nvPr/>
          </p:nvSpPr>
          <p:spPr>
            <a:xfrm>
              <a:off x="6039259" y="4647762"/>
              <a:ext cx="114440" cy="71525"/>
            </a:xfrm>
            <a:custGeom>
              <a:avLst/>
              <a:gdLst>
                <a:gd name="connsiteX0" fmla="*/ 0 w 114440"/>
                <a:gd name="connsiteY0" fmla="*/ 71525 h 71525"/>
                <a:gd name="connsiteX1" fmla="*/ 114440 w 114440"/>
                <a:gd name="connsiteY1" fmla="*/ 71525 h 71525"/>
                <a:gd name="connsiteX2" fmla="*/ 114440 w 114440"/>
                <a:gd name="connsiteY2" fmla="*/ 0 h 71525"/>
                <a:gd name="connsiteX3" fmla="*/ 0 w 114440"/>
                <a:gd name="connsiteY3" fmla="*/ 0 h 71525"/>
                <a:gd name="connsiteX4" fmla="*/ 100135 w 114440"/>
                <a:gd name="connsiteY4" fmla="*/ 57220 h 71525"/>
                <a:gd name="connsiteX5" fmla="*/ 64373 w 114440"/>
                <a:gd name="connsiteY5" fmla="*/ 57220 h 71525"/>
                <a:gd name="connsiteX6" fmla="*/ 64373 w 114440"/>
                <a:gd name="connsiteY6" fmla="*/ 14305 h 71525"/>
                <a:gd name="connsiteX7" fmla="*/ 100135 w 114440"/>
                <a:gd name="connsiteY7" fmla="*/ 14305 h 71525"/>
                <a:gd name="connsiteX8" fmla="*/ 14305 w 114440"/>
                <a:gd name="connsiteY8" fmla="*/ 14305 h 71525"/>
                <a:gd name="connsiteX9" fmla="*/ 50068 w 114440"/>
                <a:gd name="connsiteY9" fmla="*/ 14305 h 71525"/>
                <a:gd name="connsiteX10" fmla="*/ 50068 w 114440"/>
                <a:gd name="connsiteY10" fmla="*/ 57220 h 71525"/>
                <a:gd name="connsiteX11" fmla="*/ 14305 w 114440"/>
                <a:gd name="connsiteY11" fmla="*/ 57220 h 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4440" h="71525">
                  <a:moveTo>
                    <a:pt x="0" y="71525"/>
                  </a:moveTo>
                  <a:lnTo>
                    <a:pt x="114440" y="71525"/>
                  </a:lnTo>
                  <a:lnTo>
                    <a:pt x="114440" y="0"/>
                  </a:lnTo>
                  <a:lnTo>
                    <a:pt x="0" y="0"/>
                  </a:lnTo>
                  <a:close/>
                  <a:moveTo>
                    <a:pt x="100135" y="57220"/>
                  </a:moveTo>
                  <a:lnTo>
                    <a:pt x="64373" y="57220"/>
                  </a:lnTo>
                  <a:lnTo>
                    <a:pt x="64373" y="14305"/>
                  </a:lnTo>
                  <a:lnTo>
                    <a:pt x="100135" y="14305"/>
                  </a:lnTo>
                  <a:close/>
                  <a:moveTo>
                    <a:pt x="14305" y="14305"/>
                  </a:moveTo>
                  <a:lnTo>
                    <a:pt x="50068" y="14305"/>
                  </a:lnTo>
                  <a:lnTo>
                    <a:pt x="50068" y="57220"/>
                  </a:lnTo>
                  <a:lnTo>
                    <a:pt x="14305" y="57220"/>
                  </a:lnTo>
                  <a:close/>
                </a:path>
              </a:pathLst>
            </a:custGeom>
            <a:solidFill>
              <a:schemeClr val="bg1"/>
            </a:solidFill>
            <a:ln w="7144" cap="flat">
              <a:solidFill>
                <a:schemeClr val="bg1"/>
              </a:solidFill>
              <a:prstDash val="solid"/>
              <a:miter/>
            </a:ln>
          </p:spPr>
          <p:txBody>
            <a:bodyPr rtlCol="0" anchor="ctr"/>
            <a:lstStyle/>
            <a:p>
              <a:endParaRPr lang="en-GB"/>
            </a:p>
          </p:txBody>
        </p:sp>
        <p:sp>
          <p:nvSpPr>
            <p:cNvPr id="11" name="Frihandsfigur: Form 10">
              <a:extLst>
                <a:ext uri="{FF2B5EF4-FFF2-40B4-BE49-F238E27FC236}">
                  <a16:creationId xmlns:a16="http://schemas.microsoft.com/office/drawing/2014/main" id="{CE79BCD6-DDD2-64E7-9D3A-57F9616825A7}"/>
                </a:ext>
              </a:extLst>
            </p:cNvPr>
            <p:cNvSpPr/>
            <p:nvPr/>
          </p:nvSpPr>
          <p:spPr>
            <a:xfrm>
              <a:off x="6182309" y="4647762"/>
              <a:ext cx="114440" cy="71525"/>
            </a:xfrm>
            <a:custGeom>
              <a:avLst/>
              <a:gdLst>
                <a:gd name="connsiteX0" fmla="*/ 114440 w 114440"/>
                <a:gd name="connsiteY0" fmla="*/ 0 h 71525"/>
                <a:gd name="connsiteX1" fmla="*/ 0 w 114440"/>
                <a:gd name="connsiteY1" fmla="*/ 0 h 71525"/>
                <a:gd name="connsiteX2" fmla="*/ 0 w 114440"/>
                <a:gd name="connsiteY2" fmla="*/ 71525 h 71525"/>
                <a:gd name="connsiteX3" fmla="*/ 114440 w 114440"/>
                <a:gd name="connsiteY3" fmla="*/ 71525 h 71525"/>
                <a:gd name="connsiteX4" fmla="*/ 14305 w 114440"/>
                <a:gd name="connsiteY4" fmla="*/ 14305 h 71525"/>
                <a:gd name="connsiteX5" fmla="*/ 50068 w 114440"/>
                <a:gd name="connsiteY5" fmla="*/ 14305 h 71525"/>
                <a:gd name="connsiteX6" fmla="*/ 50068 w 114440"/>
                <a:gd name="connsiteY6" fmla="*/ 57220 h 71525"/>
                <a:gd name="connsiteX7" fmla="*/ 14305 w 114440"/>
                <a:gd name="connsiteY7" fmla="*/ 57220 h 71525"/>
                <a:gd name="connsiteX8" fmla="*/ 100135 w 114440"/>
                <a:gd name="connsiteY8" fmla="*/ 57220 h 71525"/>
                <a:gd name="connsiteX9" fmla="*/ 64373 w 114440"/>
                <a:gd name="connsiteY9" fmla="*/ 57220 h 71525"/>
                <a:gd name="connsiteX10" fmla="*/ 64373 w 114440"/>
                <a:gd name="connsiteY10" fmla="*/ 14305 h 71525"/>
                <a:gd name="connsiteX11" fmla="*/ 100135 w 114440"/>
                <a:gd name="connsiteY11" fmla="*/ 14305 h 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4440" h="71525">
                  <a:moveTo>
                    <a:pt x="114440" y="0"/>
                  </a:moveTo>
                  <a:lnTo>
                    <a:pt x="0" y="0"/>
                  </a:lnTo>
                  <a:lnTo>
                    <a:pt x="0" y="71525"/>
                  </a:lnTo>
                  <a:lnTo>
                    <a:pt x="114440" y="71525"/>
                  </a:lnTo>
                  <a:close/>
                  <a:moveTo>
                    <a:pt x="14305" y="14305"/>
                  </a:moveTo>
                  <a:lnTo>
                    <a:pt x="50068" y="14305"/>
                  </a:lnTo>
                  <a:lnTo>
                    <a:pt x="50068" y="57220"/>
                  </a:lnTo>
                  <a:lnTo>
                    <a:pt x="14305" y="57220"/>
                  </a:lnTo>
                  <a:close/>
                  <a:moveTo>
                    <a:pt x="100135" y="57220"/>
                  </a:moveTo>
                  <a:lnTo>
                    <a:pt x="64373" y="57220"/>
                  </a:lnTo>
                  <a:lnTo>
                    <a:pt x="64373" y="14305"/>
                  </a:lnTo>
                  <a:lnTo>
                    <a:pt x="100135" y="14305"/>
                  </a:lnTo>
                  <a:close/>
                </a:path>
              </a:pathLst>
            </a:custGeom>
            <a:solidFill>
              <a:schemeClr val="bg1"/>
            </a:solidFill>
            <a:ln w="7144" cap="flat">
              <a:solidFill>
                <a:schemeClr val="bg1"/>
              </a:solidFill>
              <a:prstDash val="solid"/>
              <a:miter/>
            </a:ln>
          </p:spPr>
          <p:txBody>
            <a:bodyPr rtlCol="0" anchor="ctr"/>
            <a:lstStyle/>
            <a:p>
              <a:endParaRPr lang="en-GB"/>
            </a:p>
          </p:txBody>
        </p:sp>
      </p:grpSp>
      <p:grpSp>
        <p:nvGrpSpPr>
          <p:cNvPr id="12" name="Bild 22" descr="Användare kontur">
            <a:extLst>
              <a:ext uri="{FF2B5EF4-FFF2-40B4-BE49-F238E27FC236}">
                <a16:creationId xmlns:a16="http://schemas.microsoft.com/office/drawing/2014/main" id="{7D9D3EB5-47E2-845E-69AF-35E6F5F7306E}"/>
              </a:ext>
            </a:extLst>
          </p:cNvPr>
          <p:cNvGrpSpPr/>
          <p:nvPr/>
        </p:nvGrpSpPr>
        <p:grpSpPr>
          <a:xfrm>
            <a:off x="7011572" y="5137451"/>
            <a:ext cx="524545" cy="318468"/>
            <a:chOff x="6177554" y="4258972"/>
            <a:chExt cx="524545" cy="318468"/>
          </a:xfrm>
          <a:solidFill>
            <a:schemeClr val="bg1"/>
          </a:solidFill>
        </p:grpSpPr>
        <p:sp>
          <p:nvSpPr>
            <p:cNvPr id="14" name="Frihandsfigur: Form 13">
              <a:extLst>
                <a:ext uri="{FF2B5EF4-FFF2-40B4-BE49-F238E27FC236}">
                  <a16:creationId xmlns:a16="http://schemas.microsoft.com/office/drawing/2014/main" id="{CF1E8E4B-DE17-467D-3F33-F1A5FD659284}"/>
                </a:ext>
              </a:extLst>
            </p:cNvPr>
            <p:cNvSpPr/>
            <p:nvPr/>
          </p:nvSpPr>
          <p:spPr>
            <a:xfrm>
              <a:off x="6233710" y="4258972"/>
              <a:ext cx="112411" cy="112411"/>
            </a:xfrm>
            <a:custGeom>
              <a:avLst/>
              <a:gdLst>
                <a:gd name="connsiteX0" fmla="*/ 56206 w 112411"/>
                <a:gd name="connsiteY0" fmla="*/ 112412 h 112411"/>
                <a:gd name="connsiteX1" fmla="*/ 112412 w 112411"/>
                <a:gd name="connsiteY1" fmla="*/ 56206 h 112411"/>
                <a:gd name="connsiteX2" fmla="*/ 56206 w 112411"/>
                <a:gd name="connsiteY2" fmla="*/ 0 h 112411"/>
                <a:gd name="connsiteX3" fmla="*/ 0 w 112411"/>
                <a:gd name="connsiteY3" fmla="*/ 56206 h 112411"/>
                <a:gd name="connsiteX4" fmla="*/ 56206 w 112411"/>
                <a:gd name="connsiteY4" fmla="*/ 112412 h 112411"/>
                <a:gd name="connsiteX5" fmla="*/ 56206 w 112411"/>
                <a:gd name="connsiteY5" fmla="*/ 12459 h 112411"/>
                <a:gd name="connsiteX6" fmla="*/ 99922 w 112411"/>
                <a:gd name="connsiteY6" fmla="*/ 56175 h 112411"/>
                <a:gd name="connsiteX7" fmla="*/ 56206 w 112411"/>
                <a:gd name="connsiteY7" fmla="*/ 99890 h 112411"/>
                <a:gd name="connsiteX8" fmla="*/ 12490 w 112411"/>
                <a:gd name="connsiteY8" fmla="*/ 56175 h 112411"/>
                <a:gd name="connsiteX9" fmla="*/ 56206 w 112411"/>
                <a:gd name="connsiteY9" fmla="*/ 12459 h 112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2411" h="112411">
                  <a:moveTo>
                    <a:pt x="56206" y="112412"/>
                  </a:moveTo>
                  <a:cubicBezTo>
                    <a:pt x="87248" y="112412"/>
                    <a:pt x="112412" y="87248"/>
                    <a:pt x="112412" y="56206"/>
                  </a:cubicBezTo>
                  <a:cubicBezTo>
                    <a:pt x="112412" y="25164"/>
                    <a:pt x="87248" y="0"/>
                    <a:pt x="56206" y="0"/>
                  </a:cubicBezTo>
                  <a:cubicBezTo>
                    <a:pt x="25164" y="0"/>
                    <a:pt x="0" y="25164"/>
                    <a:pt x="0" y="56206"/>
                  </a:cubicBezTo>
                  <a:cubicBezTo>
                    <a:pt x="0" y="87248"/>
                    <a:pt x="25164" y="112412"/>
                    <a:pt x="56206" y="112412"/>
                  </a:cubicBezTo>
                  <a:close/>
                  <a:moveTo>
                    <a:pt x="56206" y="12459"/>
                  </a:moveTo>
                  <a:cubicBezTo>
                    <a:pt x="80349" y="12459"/>
                    <a:pt x="99922" y="32031"/>
                    <a:pt x="99922" y="56175"/>
                  </a:cubicBezTo>
                  <a:cubicBezTo>
                    <a:pt x="99922" y="80318"/>
                    <a:pt x="80349" y="99890"/>
                    <a:pt x="56206" y="99890"/>
                  </a:cubicBezTo>
                  <a:cubicBezTo>
                    <a:pt x="32062" y="99890"/>
                    <a:pt x="12490" y="80318"/>
                    <a:pt x="12490" y="56175"/>
                  </a:cubicBezTo>
                  <a:cubicBezTo>
                    <a:pt x="12521" y="32044"/>
                    <a:pt x="32075" y="12490"/>
                    <a:pt x="56206" y="12459"/>
                  </a:cubicBezTo>
                  <a:close/>
                </a:path>
              </a:pathLst>
            </a:custGeom>
            <a:solidFill>
              <a:schemeClr val="bg1"/>
            </a:solidFill>
            <a:ln w="6152" cap="flat">
              <a:noFill/>
              <a:prstDash val="solid"/>
              <a:miter/>
            </a:ln>
          </p:spPr>
          <p:txBody>
            <a:bodyPr rtlCol="0" anchor="ctr"/>
            <a:lstStyle/>
            <a:p>
              <a:endParaRPr lang="en-GB"/>
            </a:p>
          </p:txBody>
        </p:sp>
        <p:sp>
          <p:nvSpPr>
            <p:cNvPr id="16" name="Frihandsfigur: Form 15">
              <a:extLst>
                <a:ext uri="{FF2B5EF4-FFF2-40B4-BE49-F238E27FC236}">
                  <a16:creationId xmlns:a16="http://schemas.microsoft.com/office/drawing/2014/main" id="{D12D5A32-F746-FF88-703E-6EF29404F1B1}"/>
                </a:ext>
              </a:extLst>
            </p:cNvPr>
            <p:cNvSpPr/>
            <p:nvPr/>
          </p:nvSpPr>
          <p:spPr>
            <a:xfrm>
              <a:off x="6533474" y="4258972"/>
              <a:ext cx="112411" cy="112411"/>
            </a:xfrm>
            <a:custGeom>
              <a:avLst/>
              <a:gdLst>
                <a:gd name="connsiteX0" fmla="*/ 56206 w 112411"/>
                <a:gd name="connsiteY0" fmla="*/ 112412 h 112411"/>
                <a:gd name="connsiteX1" fmla="*/ 112412 w 112411"/>
                <a:gd name="connsiteY1" fmla="*/ 56206 h 112411"/>
                <a:gd name="connsiteX2" fmla="*/ 56206 w 112411"/>
                <a:gd name="connsiteY2" fmla="*/ 0 h 112411"/>
                <a:gd name="connsiteX3" fmla="*/ 0 w 112411"/>
                <a:gd name="connsiteY3" fmla="*/ 56206 h 112411"/>
                <a:gd name="connsiteX4" fmla="*/ 56206 w 112411"/>
                <a:gd name="connsiteY4" fmla="*/ 112412 h 112411"/>
                <a:gd name="connsiteX5" fmla="*/ 56206 w 112411"/>
                <a:gd name="connsiteY5" fmla="*/ 12459 h 112411"/>
                <a:gd name="connsiteX6" fmla="*/ 99922 w 112411"/>
                <a:gd name="connsiteY6" fmla="*/ 56175 h 112411"/>
                <a:gd name="connsiteX7" fmla="*/ 56206 w 112411"/>
                <a:gd name="connsiteY7" fmla="*/ 99890 h 112411"/>
                <a:gd name="connsiteX8" fmla="*/ 12490 w 112411"/>
                <a:gd name="connsiteY8" fmla="*/ 56175 h 112411"/>
                <a:gd name="connsiteX9" fmla="*/ 56206 w 112411"/>
                <a:gd name="connsiteY9" fmla="*/ 12459 h 112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2411" h="112411">
                  <a:moveTo>
                    <a:pt x="56206" y="112412"/>
                  </a:moveTo>
                  <a:cubicBezTo>
                    <a:pt x="87248" y="112412"/>
                    <a:pt x="112412" y="87248"/>
                    <a:pt x="112412" y="56206"/>
                  </a:cubicBezTo>
                  <a:cubicBezTo>
                    <a:pt x="112412" y="25164"/>
                    <a:pt x="87248" y="0"/>
                    <a:pt x="56206" y="0"/>
                  </a:cubicBezTo>
                  <a:cubicBezTo>
                    <a:pt x="25164" y="0"/>
                    <a:pt x="0" y="25164"/>
                    <a:pt x="0" y="56206"/>
                  </a:cubicBezTo>
                  <a:cubicBezTo>
                    <a:pt x="0" y="87248"/>
                    <a:pt x="25164" y="112412"/>
                    <a:pt x="56206" y="112412"/>
                  </a:cubicBezTo>
                  <a:close/>
                  <a:moveTo>
                    <a:pt x="56206" y="12459"/>
                  </a:moveTo>
                  <a:cubicBezTo>
                    <a:pt x="80349" y="12459"/>
                    <a:pt x="99922" y="32031"/>
                    <a:pt x="99922" y="56175"/>
                  </a:cubicBezTo>
                  <a:cubicBezTo>
                    <a:pt x="99922" y="80318"/>
                    <a:pt x="80349" y="99890"/>
                    <a:pt x="56206" y="99890"/>
                  </a:cubicBezTo>
                  <a:cubicBezTo>
                    <a:pt x="32062" y="99890"/>
                    <a:pt x="12490" y="80318"/>
                    <a:pt x="12490" y="56175"/>
                  </a:cubicBezTo>
                  <a:cubicBezTo>
                    <a:pt x="12521" y="32044"/>
                    <a:pt x="32075" y="12490"/>
                    <a:pt x="56206" y="12459"/>
                  </a:cubicBezTo>
                  <a:close/>
                </a:path>
              </a:pathLst>
            </a:custGeom>
            <a:solidFill>
              <a:schemeClr val="bg1"/>
            </a:solidFill>
            <a:ln w="6152" cap="flat">
              <a:noFill/>
              <a:prstDash val="solid"/>
              <a:miter/>
            </a:ln>
          </p:spPr>
          <p:txBody>
            <a:bodyPr rtlCol="0" anchor="ctr"/>
            <a:lstStyle/>
            <a:p>
              <a:endParaRPr lang="en-GB"/>
            </a:p>
          </p:txBody>
        </p:sp>
        <p:sp>
          <p:nvSpPr>
            <p:cNvPr id="17" name="Frihandsfigur: Form 16">
              <a:extLst>
                <a:ext uri="{FF2B5EF4-FFF2-40B4-BE49-F238E27FC236}">
                  <a16:creationId xmlns:a16="http://schemas.microsoft.com/office/drawing/2014/main" id="{47AFBAEE-0CC1-E5CE-19AC-FC8070A6C8F9}"/>
                </a:ext>
              </a:extLst>
            </p:cNvPr>
            <p:cNvSpPr/>
            <p:nvPr/>
          </p:nvSpPr>
          <p:spPr>
            <a:xfrm>
              <a:off x="6512560" y="4385029"/>
              <a:ext cx="189539" cy="106166"/>
            </a:xfrm>
            <a:custGeom>
              <a:avLst/>
              <a:gdLst>
                <a:gd name="connsiteX0" fmla="*/ 176418 w 189539"/>
                <a:gd name="connsiteY0" fmla="*/ 33093 h 106166"/>
                <a:gd name="connsiteX1" fmla="*/ 122416 w 189539"/>
                <a:gd name="connsiteY1" fmla="*/ 7294 h 106166"/>
                <a:gd name="connsiteX2" fmla="*/ 77121 w 189539"/>
                <a:gd name="connsiteY2" fmla="*/ 0 h 106166"/>
                <a:gd name="connsiteX3" fmla="*/ 31962 w 189539"/>
                <a:gd name="connsiteY3" fmla="*/ 7263 h 106166"/>
                <a:gd name="connsiteX4" fmla="*/ 2048 w 189539"/>
                <a:gd name="connsiteY4" fmla="*/ 18660 h 106166"/>
                <a:gd name="connsiteX5" fmla="*/ 0 w 189539"/>
                <a:gd name="connsiteY5" fmla="*/ 33898 h 106166"/>
                <a:gd name="connsiteX6" fmla="*/ 35460 w 189539"/>
                <a:gd name="connsiteY6" fmla="*/ 19247 h 106166"/>
                <a:gd name="connsiteX7" fmla="*/ 77121 w 189539"/>
                <a:gd name="connsiteY7" fmla="*/ 12490 h 106166"/>
                <a:gd name="connsiteX8" fmla="*/ 119238 w 189539"/>
                <a:gd name="connsiteY8" fmla="*/ 19360 h 106166"/>
                <a:gd name="connsiteX9" fmla="*/ 168649 w 189539"/>
                <a:gd name="connsiteY9" fmla="*/ 42873 h 106166"/>
                <a:gd name="connsiteX10" fmla="*/ 169186 w 189539"/>
                <a:gd name="connsiteY10" fmla="*/ 43272 h 106166"/>
                <a:gd name="connsiteX11" fmla="*/ 177042 w 189539"/>
                <a:gd name="connsiteY11" fmla="*/ 59328 h 106166"/>
                <a:gd name="connsiteX12" fmla="*/ 177042 w 189539"/>
                <a:gd name="connsiteY12" fmla="*/ 106167 h 106166"/>
                <a:gd name="connsiteX13" fmla="*/ 189532 w 189539"/>
                <a:gd name="connsiteY13" fmla="*/ 106167 h 106166"/>
                <a:gd name="connsiteX14" fmla="*/ 189532 w 189539"/>
                <a:gd name="connsiteY14" fmla="*/ 59328 h 106166"/>
                <a:gd name="connsiteX15" fmla="*/ 176418 w 189539"/>
                <a:gd name="connsiteY15" fmla="*/ 33093 h 106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9539" h="106166">
                  <a:moveTo>
                    <a:pt x="176418" y="33093"/>
                  </a:moveTo>
                  <a:cubicBezTo>
                    <a:pt x="160500" y="20680"/>
                    <a:pt x="142074" y="11877"/>
                    <a:pt x="122416" y="7294"/>
                  </a:cubicBezTo>
                  <a:cubicBezTo>
                    <a:pt x="107700" y="2900"/>
                    <a:pt x="92472" y="447"/>
                    <a:pt x="77121" y="0"/>
                  </a:cubicBezTo>
                  <a:cubicBezTo>
                    <a:pt x="61778" y="16"/>
                    <a:pt x="46536" y="2467"/>
                    <a:pt x="31962" y="7263"/>
                  </a:cubicBezTo>
                  <a:cubicBezTo>
                    <a:pt x="21601" y="9945"/>
                    <a:pt x="11568" y="13768"/>
                    <a:pt x="2048" y="18660"/>
                  </a:cubicBezTo>
                  <a:cubicBezTo>
                    <a:pt x="1895" y="23797"/>
                    <a:pt x="1209" y="28904"/>
                    <a:pt x="0" y="33898"/>
                  </a:cubicBezTo>
                  <a:cubicBezTo>
                    <a:pt x="11106" y="27440"/>
                    <a:pt x="23034" y="22512"/>
                    <a:pt x="35460" y="19247"/>
                  </a:cubicBezTo>
                  <a:cubicBezTo>
                    <a:pt x="48907" y="14829"/>
                    <a:pt x="62966" y="12549"/>
                    <a:pt x="77121" y="12490"/>
                  </a:cubicBezTo>
                  <a:cubicBezTo>
                    <a:pt x="91398" y="12950"/>
                    <a:pt x="105555" y="15259"/>
                    <a:pt x="119238" y="19360"/>
                  </a:cubicBezTo>
                  <a:cubicBezTo>
                    <a:pt x="137227" y="23496"/>
                    <a:pt x="154092" y="31521"/>
                    <a:pt x="168649" y="42873"/>
                  </a:cubicBezTo>
                  <a:lnTo>
                    <a:pt x="169186" y="43272"/>
                  </a:lnTo>
                  <a:cubicBezTo>
                    <a:pt x="174322" y="46976"/>
                    <a:pt x="177270" y="53000"/>
                    <a:pt x="177042" y="59328"/>
                  </a:cubicBezTo>
                  <a:lnTo>
                    <a:pt x="177042" y="106167"/>
                  </a:lnTo>
                  <a:lnTo>
                    <a:pt x="189532" y="106167"/>
                  </a:lnTo>
                  <a:lnTo>
                    <a:pt x="189532" y="59328"/>
                  </a:lnTo>
                  <a:cubicBezTo>
                    <a:pt x="189760" y="48954"/>
                    <a:pt x="184852" y="39136"/>
                    <a:pt x="176418" y="33093"/>
                  </a:cubicBezTo>
                  <a:close/>
                </a:path>
              </a:pathLst>
            </a:custGeom>
            <a:solidFill>
              <a:schemeClr val="bg1"/>
            </a:solidFill>
            <a:ln w="6152" cap="flat">
              <a:noFill/>
              <a:prstDash val="solid"/>
              <a:miter/>
            </a:ln>
          </p:spPr>
          <p:txBody>
            <a:bodyPr rtlCol="0" anchor="ctr"/>
            <a:lstStyle/>
            <a:p>
              <a:endParaRPr lang="en-GB"/>
            </a:p>
          </p:txBody>
        </p:sp>
        <p:sp>
          <p:nvSpPr>
            <p:cNvPr id="18" name="Frihandsfigur: Form 17">
              <a:extLst>
                <a:ext uri="{FF2B5EF4-FFF2-40B4-BE49-F238E27FC236}">
                  <a16:creationId xmlns:a16="http://schemas.microsoft.com/office/drawing/2014/main" id="{903491FD-5F16-5260-5ECF-9091D3FF1990}"/>
                </a:ext>
              </a:extLst>
            </p:cNvPr>
            <p:cNvSpPr/>
            <p:nvPr/>
          </p:nvSpPr>
          <p:spPr>
            <a:xfrm>
              <a:off x="6177554" y="4385029"/>
              <a:ext cx="189220" cy="106166"/>
            </a:xfrm>
            <a:custGeom>
              <a:avLst/>
              <a:gdLst>
                <a:gd name="connsiteX0" fmla="*/ 189220 w 189220"/>
                <a:gd name="connsiteY0" fmla="*/ 32930 h 106166"/>
                <a:gd name="connsiteX1" fmla="*/ 187347 w 189220"/>
                <a:gd name="connsiteY1" fmla="*/ 17892 h 106166"/>
                <a:gd name="connsiteX2" fmla="*/ 157645 w 189220"/>
                <a:gd name="connsiteY2" fmla="*/ 7276 h 106166"/>
                <a:gd name="connsiteX3" fmla="*/ 112362 w 189220"/>
                <a:gd name="connsiteY3" fmla="*/ 0 h 106166"/>
                <a:gd name="connsiteX4" fmla="*/ 67203 w 189220"/>
                <a:gd name="connsiteY4" fmla="*/ 7263 h 106166"/>
                <a:gd name="connsiteX5" fmla="*/ 12827 w 189220"/>
                <a:gd name="connsiteY5" fmla="*/ 33299 h 106166"/>
                <a:gd name="connsiteX6" fmla="*/ 0 w 189220"/>
                <a:gd name="connsiteY6" fmla="*/ 59328 h 106166"/>
                <a:gd name="connsiteX7" fmla="*/ 0 w 189220"/>
                <a:gd name="connsiteY7" fmla="*/ 106167 h 106166"/>
                <a:gd name="connsiteX8" fmla="*/ 12490 w 189220"/>
                <a:gd name="connsiteY8" fmla="*/ 106167 h 106166"/>
                <a:gd name="connsiteX9" fmla="*/ 12490 w 189220"/>
                <a:gd name="connsiteY9" fmla="*/ 59328 h 106166"/>
                <a:gd name="connsiteX10" fmla="*/ 20409 w 189220"/>
                <a:gd name="connsiteY10" fmla="*/ 43229 h 106166"/>
                <a:gd name="connsiteX11" fmla="*/ 70726 w 189220"/>
                <a:gd name="connsiteY11" fmla="*/ 19247 h 106166"/>
                <a:gd name="connsiteX12" fmla="*/ 112362 w 189220"/>
                <a:gd name="connsiteY12" fmla="*/ 12490 h 106166"/>
                <a:gd name="connsiteX13" fmla="*/ 154479 w 189220"/>
                <a:gd name="connsiteY13" fmla="*/ 19360 h 106166"/>
                <a:gd name="connsiteX14" fmla="*/ 189220 w 189220"/>
                <a:gd name="connsiteY14" fmla="*/ 32930 h 106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9220" h="106166">
                  <a:moveTo>
                    <a:pt x="189220" y="32930"/>
                  </a:moveTo>
                  <a:cubicBezTo>
                    <a:pt x="188083" y="27995"/>
                    <a:pt x="187455" y="22956"/>
                    <a:pt x="187347" y="17892"/>
                  </a:cubicBezTo>
                  <a:cubicBezTo>
                    <a:pt x="177817" y="13393"/>
                    <a:pt x="167868" y="9837"/>
                    <a:pt x="157645" y="7276"/>
                  </a:cubicBezTo>
                  <a:cubicBezTo>
                    <a:pt x="142932" y="2888"/>
                    <a:pt x="127708" y="442"/>
                    <a:pt x="112362" y="0"/>
                  </a:cubicBezTo>
                  <a:cubicBezTo>
                    <a:pt x="97019" y="16"/>
                    <a:pt x="81777" y="2467"/>
                    <a:pt x="67203" y="7263"/>
                  </a:cubicBezTo>
                  <a:cubicBezTo>
                    <a:pt x="47657" y="12593"/>
                    <a:pt x="29235" y="21413"/>
                    <a:pt x="12827" y="33299"/>
                  </a:cubicBezTo>
                  <a:cubicBezTo>
                    <a:pt x="4748" y="39518"/>
                    <a:pt x="10" y="49133"/>
                    <a:pt x="0" y="59328"/>
                  </a:cubicBezTo>
                  <a:lnTo>
                    <a:pt x="0" y="106167"/>
                  </a:lnTo>
                  <a:lnTo>
                    <a:pt x="12490" y="106167"/>
                  </a:lnTo>
                  <a:lnTo>
                    <a:pt x="12490" y="59328"/>
                  </a:lnTo>
                  <a:cubicBezTo>
                    <a:pt x="12502" y="53027"/>
                    <a:pt x="15425" y="47084"/>
                    <a:pt x="20409" y="43229"/>
                  </a:cubicBezTo>
                  <a:cubicBezTo>
                    <a:pt x="35606" y="32280"/>
                    <a:pt x="52650" y="24156"/>
                    <a:pt x="70726" y="19247"/>
                  </a:cubicBezTo>
                  <a:cubicBezTo>
                    <a:pt x="84166" y="14831"/>
                    <a:pt x="98215" y="12551"/>
                    <a:pt x="112362" y="12490"/>
                  </a:cubicBezTo>
                  <a:cubicBezTo>
                    <a:pt x="126639" y="12950"/>
                    <a:pt x="140796" y="15260"/>
                    <a:pt x="154479" y="19360"/>
                  </a:cubicBezTo>
                  <a:cubicBezTo>
                    <a:pt x="166607" y="22332"/>
                    <a:pt x="178288" y="26896"/>
                    <a:pt x="189220" y="32930"/>
                  </a:cubicBezTo>
                  <a:close/>
                </a:path>
              </a:pathLst>
            </a:custGeom>
            <a:solidFill>
              <a:schemeClr val="bg1"/>
            </a:solidFill>
            <a:ln w="6152" cap="flat">
              <a:noFill/>
              <a:prstDash val="solid"/>
              <a:miter/>
            </a:ln>
          </p:spPr>
          <p:txBody>
            <a:bodyPr rtlCol="0" anchor="ctr"/>
            <a:lstStyle/>
            <a:p>
              <a:endParaRPr lang="en-GB"/>
            </a:p>
          </p:txBody>
        </p:sp>
        <p:sp>
          <p:nvSpPr>
            <p:cNvPr id="20" name="Frihandsfigur: Form 19">
              <a:extLst>
                <a:ext uri="{FF2B5EF4-FFF2-40B4-BE49-F238E27FC236}">
                  <a16:creationId xmlns:a16="http://schemas.microsoft.com/office/drawing/2014/main" id="{68786163-753C-E601-86BE-094BD111990C}"/>
                </a:ext>
              </a:extLst>
            </p:cNvPr>
            <p:cNvSpPr/>
            <p:nvPr/>
          </p:nvSpPr>
          <p:spPr>
            <a:xfrm>
              <a:off x="6327386" y="4471274"/>
              <a:ext cx="224830" cy="106166"/>
            </a:xfrm>
            <a:custGeom>
              <a:avLst/>
              <a:gdLst>
                <a:gd name="connsiteX0" fmla="*/ 211709 w 224830"/>
                <a:gd name="connsiteY0" fmla="*/ 33099 h 106166"/>
                <a:gd name="connsiteX1" fmla="*/ 157707 w 224830"/>
                <a:gd name="connsiteY1" fmla="*/ 7301 h 106166"/>
                <a:gd name="connsiteX2" fmla="*/ 112412 w 224830"/>
                <a:gd name="connsiteY2" fmla="*/ 0 h 106166"/>
                <a:gd name="connsiteX3" fmla="*/ 67266 w 224830"/>
                <a:gd name="connsiteY3" fmla="*/ 7263 h 106166"/>
                <a:gd name="connsiteX4" fmla="*/ 12890 w 224830"/>
                <a:gd name="connsiteY4" fmla="*/ 33299 h 106166"/>
                <a:gd name="connsiteX5" fmla="*/ 0 w 224830"/>
                <a:gd name="connsiteY5" fmla="*/ 59328 h 106166"/>
                <a:gd name="connsiteX6" fmla="*/ 0 w 224830"/>
                <a:gd name="connsiteY6" fmla="*/ 106167 h 106166"/>
                <a:gd name="connsiteX7" fmla="*/ 12490 w 224830"/>
                <a:gd name="connsiteY7" fmla="*/ 106167 h 106166"/>
                <a:gd name="connsiteX8" fmla="*/ 12490 w 224830"/>
                <a:gd name="connsiteY8" fmla="*/ 59328 h 106166"/>
                <a:gd name="connsiteX9" fmla="*/ 20415 w 224830"/>
                <a:gd name="connsiteY9" fmla="*/ 43229 h 106166"/>
                <a:gd name="connsiteX10" fmla="*/ 70726 w 224830"/>
                <a:gd name="connsiteY10" fmla="*/ 19247 h 106166"/>
                <a:gd name="connsiteX11" fmla="*/ 112412 w 224830"/>
                <a:gd name="connsiteY11" fmla="*/ 12490 h 106166"/>
                <a:gd name="connsiteX12" fmla="*/ 154535 w 224830"/>
                <a:gd name="connsiteY12" fmla="*/ 19360 h 106166"/>
                <a:gd name="connsiteX13" fmla="*/ 203940 w 224830"/>
                <a:gd name="connsiteY13" fmla="*/ 42866 h 106166"/>
                <a:gd name="connsiteX14" fmla="*/ 204477 w 224830"/>
                <a:gd name="connsiteY14" fmla="*/ 43266 h 106166"/>
                <a:gd name="connsiteX15" fmla="*/ 212333 w 224830"/>
                <a:gd name="connsiteY15" fmla="*/ 59328 h 106166"/>
                <a:gd name="connsiteX16" fmla="*/ 212333 w 224830"/>
                <a:gd name="connsiteY16" fmla="*/ 106167 h 106166"/>
                <a:gd name="connsiteX17" fmla="*/ 224823 w 224830"/>
                <a:gd name="connsiteY17" fmla="*/ 106167 h 106166"/>
                <a:gd name="connsiteX18" fmla="*/ 224823 w 224830"/>
                <a:gd name="connsiteY18" fmla="*/ 59328 h 106166"/>
                <a:gd name="connsiteX19" fmla="*/ 211709 w 224830"/>
                <a:gd name="connsiteY19" fmla="*/ 33099 h 106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24830" h="106166">
                  <a:moveTo>
                    <a:pt x="211709" y="33099"/>
                  </a:moveTo>
                  <a:cubicBezTo>
                    <a:pt x="195792" y="20684"/>
                    <a:pt x="177366" y="11881"/>
                    <a:pt x="157707" y="7301"/>
                  </a:cubicBezTo>
                  <a:cubicBezTo>
                    <a:pt x="142991" y="2906"/>
                    <a:pt x="127763" y="453"/>
                    <a:pt x="112412" y="0"/>
                  </a:cubicBezTo>
                  <a:cubicBezTo>
                    <a:pt x="97074" y="15"/>
                    <a:pt x="81835" y="2467"/>
                    <a:pt x="67266" y="7263"/>
                  </a:cubicBezTo>
                  <a:cubicBezTo>
                    <a:pt x="47718" y="12589"/>
                    <a:pt x="29295" y="21409"/>
                    <a:pt x="12890" y="33299"/>
                  </a:cubicBezTo>
                  <a:cubicBezTo>
                    <a:pt x="4784" y="39503"/>
                    <a:pt x="22" y="49121"/>
                    <a:pt x="0" y="59328"/>
                  </a:cubicBezTo>
                  <a:lnTo>
                    <a:pt x="0" y="106167"/>
                  </a:lnTo>
                  <a:lnTo>
                    <a:pt x="12490" y="106167"/>
                  </a:lnTo>
                  <a:lnTo>
                    <a:pt x="12490" y="59328"/>
                  </a:lnTo>
                  <a:cubicBezTo>
                    <a:pt x="12501" y="53025"/>
                    <a:pt x="15427" y="47082"/>
                    <a:pt x="20415" y="43229"/>
                  </a:cubicBezTo>
                  <a:cubicBezTo>
                    <a:pt x="35608" y="32277"/>
                    <a:pt x="52651" y="24154"/>
                    <a:pt x="70726" y="19247"/>
                  </a:cubicBezTo>
                  <a:cubicBezTo>
                    <a:pt x="84181" y="14826"/>
                    <a:pt x="98248" y="12546"/>
                    <a:pt x="112412" y="12490"/>
                  </a:cubicBezTo>
                  <a:cubicBezTo>
                    <a:pt x="126691" y="12948"/>
                    <a:pt x="140850" y="15257"/>
                    <a:pt x="154535" y="19360"/>
                  </a:cubicBezTo>
                  <a:cubicBezTo>
                    <a:pt x="172523" y="23490"/>
                    <a:pt x="189387" y="31514"/>
                    <a:pt x="203940" y="42866"/>
                  </a:cubicBezTo>
                  <a:lnTo>
                    <a:pt x="204477" y="43266"/>
                  </a:lnTo>
                  <a:cubicBezTo>
                    <a:pt x="209615" y="46972"/>
                    <a:pt x="212562" y="52998"/>
                    <a:pt x="212333" y="59328"/>
                  </a:cubicBezTo>
                  <a:lnTo>
                    <a:pt x="212333" y="106167"/>
                  </a:lnTo>
                  <a:lnTo>
                    <a:pt x="224823" y="106167"/>
                  </a:lnTo>
                  <a:lnTo>
                    <a:pt x="224823" y="59328"/>
                  </a:lnTo>
                  <a:cubicBezTo>
                    <a:pt x="225049" y="48957"/>
                    <a:pt x="220142" y="39141"/>
                    <a:pt x="211709" y="33099"/>
                  </a:cubicBezTo>
                  <a:close/>
                </a:path>
              </a:pathLst>
            </a:custGeom>
            <a:solidFill>
              <a:schemeClr val="bg1"/>
            </a:solidFill>
            <a:ln w="6152" cap="flat">
              <a:noFill/>
              <a:prstDash val="solid"/>
              <a:miter/>
            </a:ln>
          </p:spPr>
          <p:txBody>
            <a:bodyPr rtlCol="0" anchor="ctr"/>
            <a:lstStyle/>
            <a:p>
              <a:endParaRPr lang="en-GB"/>
            </a:p>
          </p:txBody>
        </p:sp>
        <p:sp>
          <p:nvSpPr>
            <p:cNvPr id="21" name="Frihandsfigur: Form 20">
              <a:extLst>
                <a:ext uri="{FF2B5EF4-FFF2-40B4-BE49-F238E27FC236}">
                  <a16:creationId xmlns:a16="http://schemas.microsoft.com/office/drawing/2014/main" id="{90E1BC5F-02A1-88AC-8C1F-5407253585B0}"/>
                </a:ext>
              </a:extLst>
            </p:cNvPr>
            <p:cNvSpPr/>
            <p:nvPr/>
          </p:nvSpPr>
          <p:spPr>
            <a:xfrm>
              <a:off x="6383592" y="4345217"/>
              <a:ext cx="112411" cy="112411"/>
            </a:xfrm>
            <a:custGeom>
              <a:avLst/>
              <a:gdLst>
                <a:gd name="connsiteX0" fmla="*/ 56206 w 112411"/>
                <a:gd name="connsiteY0" fmla="*/ 112412 h 112411"/>
                <a:gd name="connsiteX1" fmla="*/ 112412 w 112411"/>
                <a:gd name="connsiteY1" fmla="*/ 56206 h 112411"/>
                <a:gd name="connsiteX2" fmla="*/ 56206 w 112411"/>
                <a:gd name="connsiteY2" fmla="*/ 0 h 112411"/>
                <a:gd name="connsiteX3" fmla="*/ 0 w 112411"/>
                <a:gd name="connsiteY3" fmla="*/ 56206 h 112411"/>
                <a:gd name="connsiteX4" fmla="*/ 56206 w 112411"/>
                <a:gd name="connsiteY4" fmla="*/ 112412 h 112411"/>
                <a:gd name="connsiteX5" fmla="*/ 56206 w 112411"/>
                <a:gd name="connsiteY5" fmla="*/ 12490 h 112411"/>
                <a:gd name="connsiteX6" fmla="*/ 99922 w 112411"/>
                <a:gd name="connsiteY6" fmla="*/ 56206 h 112411"/>
                <a:gd name="connsiteX7" fmla="*/ 56206 w 112411"/>
                <a:gd name="connsiteY7" fmla="*/ 99922 h 112411"/>
                <a:gd name="connsiteX8" fmla="*/ 12490 w 112411"/>
                <a:gd name="connsiteY8" fmla="*/ 56206 h 112411"/>
                <a:gd name="connsiteX9" fmla="*/ 56206 w 112411"/>
                <a:gd name="connsiteY9" fmla="*/ 12459 h 112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2411" h="112411">
                  <a:moveTo>
                    <a:pt x="56206" y="112412"/>
                  </a:moveTo>
                  <a:cubicBezTo>
                    <a:pt x="87248" y="112412"/>
                    <a:pt x="112412" y="87248"/>
                    <a:pt x="112412" y="56206"/>
                  </a:cubicBezTo>
                  <a:cubicBezTo>
                    <a:pt x="112412" y="25164"/>
                    <a:pt x="87248" y="0"/>
                    <a:pt x="56206" y="0"/>
                  </a:cubicBezTo>
                  <a:cubicBezTo>
                    <a:pt x="25164" y="0"/>
                    <a:pt x="0" y="25164"/>
                    <a:pt x="0" y="56206"/>
                  </a:cubicBezTo>
                  <a:cubicBezTo>
                    <a:pt x="0" y="87248"/>
                    <a:pt x="25164" y="112412"/>
                    <a:pt x="56206" y="112412"/>
                  </a:cubicBezTo>
                  <a:close/>
                  <a:moveTo>
                    <a:pt x="56206" y="12490"/>
                  </a:moveTo>
                  <a:cubicBezTo>
                    <a:pt x="80349" y="12490"/>
                    <a:pt x="99922" y="32062"/>
                    <a:pt x="99922" y="56206"/>
                  </a:cubicBezTo>
                  <a:cubicBezTo>
                    <a:pt x="99922" y="80349"/>
                    <a:pt x="80349" y="99922"/>
                    <a:pt x="56206" y="99922"/>
                  </a:cubicBezTo>
                  <a:cubicBezTo>
                    <a:pt x="32062" y="99922"/>
                    <a:pt x="12490" y="80349"/>
                    <a:pt x="12490" y="56206"/>
                  </a:cubicBezTo>
                  <a:cubicBezTo>
                    <a:pt x="12508" y="32064"/>
                    <a:pt x="32064" y="12493"/>
                    <a:pt x="56206" y="12459"/>
                  </a:cubicBezTo>
                  <a:close/>
                </a:path>
              </a:pathLst>
            </a:custGeom>
            <a:solidFill>
              <a:schemeClr val="bg1"/>
            </a:solidFill>
            <a:ln w="6152" cap="flat">
              <a:noFill/>
              <a:prstDash val="solid"/>
              <a:miter/>
            </a:ln>
          </p:spPr>
          <p:txBody>
            <a:bodyPr rtlCol="0" anchor="ctr"/>
            <a:lstStyle/>
            <a:p>
              <a:endParaRPr lang="en-GB"/>
            </a:p>
          </p:txBody>
        </p:sp>
      </p:grpSp>
      <p:grpSp>
        <p:nvGrpSpPr>
          <p:cNvPr id="26" name="Bild 30" descr="Användare kontur">
            <a:extLst>
              <a:ext uri="{FF2B5EF4-FFF2-40B4-BE49-F238E27FC236}">
                <a16:creationId xmlns:a16="http://schemas.microsoft.com/office/drawing/2014/main" id="{15F151AF-C350-35F1-76E9-9485C13CCE74}"/>
              </a:ext>
            </a:extLst>
          </p:cNvPr>
          <p:cNvGrpSpPr/>
          <p:nvPr/>
        </p:nvGrpSpPr>
        <p:grpSpPr>
          <a:xfrm>
            <a:off x="16928071" y="2129084"/>
            <a:ext cx="524545" cy="318468"/>
            <a:chOff x="15656170" y="2577865"/>
            <a:chExt cx="524545" cy="318468"/>
          </a:xfrm>
          <a:solidFill>
            <a:schemeClr val="lt1"/>
          </a:solidFill>
        </p:grpSpPr>
        <p:sp>
          <p:nvSpPr>
            <p:cNvPr id="28" name="Frihandsfigur: Form 27">
              <a:extLst>
                <a:ext uri="{FF2B5EF4-FFF2-40B4-BE49-F238E27FC236}">
                  <a16:creationId xmlns:a16="http://schemas.microsoft.com/office/drawing/2014/main" id="{7D650F77-AFDA-31A6-8AC2-EA38A0676252}"/>
                </a:ext>
              </a:extLst>
            </p:cNvPr>
            <p:cNvSpPr/>
            <p:nvPr/>
          </p:nvSpPr>
          <p:spPr>
            <a:xfrm>
              <a:off x="15712326" y="2577865"/>
              <a:ext cx="112411" cy="112411"/>
            </a:xfrm>
            <a:custGeom>
              <a:avLst/>
              <a:gdLst>
                <a:gd name="connsiteX0" fmla="*/ 56206 w 112411"/>
                <a:gd name="connsiteY0" fmla="*/ 112412 h 112411"/>
                <a:gd name="connsiteX1" fmla="*/ 112412 w 112411"/>
                <a:gd name="connsiteY1" fmla="*/ 56206 h 112411"/>
                <a:gd name="connsiteX2" fmla="*/ 56206 w 112411"/>
                <a:gd name="connsiteY2" fmla="*/ 0 h 112411"/>
                <a:gd name="connsiteX3" fmla="*/ 0 w 112411"/>
                <a:gd name="connsiteY3" fmla="*/ 56206 h 112411"/>
                <a:gd name="connsiteX4" fmla="*/ 56206 w 112411"/>
                <a:gd name="connsiteY4" fmla="*/ 112412 h 112411"/>
                <a:gd name="connsiteX5" fmla="*/ 56206 w 112411"/>
                <a:gd name="connsiteY5" fmla="*/ 12459 h 112411"/>
                <a:gd name="connsiteX6" fmla="*/ 99922 w 112411"/>
                <a:gd name="connsiteY6" fmla="*/ 56175 h 112411"/>
                <a:gd name="connsiteX7" fmla="*/ 56206 w 112411"/>
                <a:gd name="connsiteY7" fmla="*/ 99890 h 112411"/>
                <a:gd name="connsiteX8" fmla="*/ 12490 w 112411"/>
                <a:gd name="connsiteY8" fmla="*/ 56175 h 112411"/>
                <a:gd name="connsiteX9" fmla="*/ 56206 w 112411"/>
                <a:gd name="connsiteY9" fmla="*/ 12459 h 112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2411" h="112411">
                  <a:moveTo>
                    <a:pt x="56206" y="112412"/>
                  </a:moveTo>
                  <a:cubicBezTo>
                    <a:pt x="87248" y="112412"/>
                    <a:pt x="112412" y="87248"/>
                    <a:pt x="112412" y="56206"/>
                  </a:cubicBezTo>
                  <a:cubicBezTo>
                    <a:pt x="112412" y="25164"/>
                    <a:pt x="87248" y="0"/>
                    <a:pt x="56206" y="0"/>
                  </a:cubicBezTo>
                  <a:cubicBezTo>
                    <a:pt x="25164" y="0"/>
                    <a:pt x="0" y="25164"/>
                    <a:pt x="0" y="56206"/>
                  </a:cubicBezTo>
                  <a:cubicBezTo>
                    <a:pt x="0" y="87248"/>
                    <a:pt x="25164" y="112412"/>
                    <a:pt x="56206" y="112412"/>
                  </a:cubicBezTo>
                  <a:close/>
                  <a:moveTo>
                    <a:pt x="56206" y="12459"/>
                  </a:moveTo>
                  <a:cubicBezTo>
                    <a:pt x="80349" y="12459"/>
                    <a:pt x="99922" y="32031"/>
                    <a:pt x="99922" y="56175"/>
                  </a:cubicBezTo>
                  <a:cubicBezTo>
                    <a:pt x="99922" y="80318"/>
                    <a:pt x="80349" y="99890"/>
                    <a:pt x="56206" y="99890"/>
                  </a:cubicBezTo>
                  <a:cubicBezTo>
                    <a:pt x="32062" y="99890"/>
                    <a:pt x="12490" y="80318"/>
                    <a:pt x="12490" y="56175"/>
                  </a:cubicBezTo>
                  <a:cubicBezTo>
                    <a:pt x="12521" y="32044"/>
                    <a:pt x="32075" y="12490"/>
                    <a:pt x="56206" y="12459"/>
                  </a:cubicBezTo>
                  <a:close/>
                </a:path>
              </a:pathLst>
            </a:custGeom>
            <a:solidFill>
              <a:schemeClr val="lt1"/>
            </a:solidFill>
            <a:ln w="8202" cap="flat">
              <a:solidFill>
                <a:schemeClr val="accent5"/>
              </a:solidFill>
              <a:prstDash val="solid"/>
              <a:miter/>
            </a:ln>
          </p:spPr>
          <p:txBody>
            <a:bodyPr rtlCol="0" anchor="ctr"/>
            <a:lstStyle/>
            <a:p>
              <a:endParaRPr lang="en-GB"/>
            </a:p>
          </p:txBody>
        </p:sp>
        <p:sp>
          <p:nvSpPr>
            <p:cNvPr id="29" name="Frihandsfigur: Form 28">
              <a:extLst>
                <a:ext uri="{FF2B5EF4-FFF2-40B4-BE49-F238E27FC236}">
                  <a16:creationId xmlns:a16="http://schemas.microsoft.com/office/drawing/2014/main" id="{4B99B03B-13CD-924C-966D-3205B0CD8460}"/>
                </a:ext>
              </a:extLst>
            </p:cNvPr>
            <p:cNvSpPr/>
            <p:nvPr/>
          </p:nvSpPr>
          <p:spPr>
            <a:xfrm>
              <a:off x="16012090" y="2577865"/>
              <a:ext cx="112411" cy="112411"/>
            </a:xfrm>
            <a:custGeom>
              <a:avLst/>
              <a:gdLst>
                <a:gd name="connsiteX0" fmla="*/ 56206 w 112411"/>
                <a:gd name="connsiteY0" fmla="*/ 112412 h 112411"/>
                <a:gd name="connsiteX1" fmla="*/ 112412 w 112411"/>
                <a:gd name="connsiteY1" fmla="*/ 56206 h 112411"/>
                <a:gd name="connsiteX2" fmla="*/ 56206 w 112411"/>
                <a:gd name="connsiteY2" fmla="*/ 0 h 112411"/>
                <a:gd name="connsiteX3" fmla="*/ 0 w 112411"/>
                <a:gd name="connsiteY3" fmla="*/ 56206 h 112411"/>
                <a:gd name="connsiteX4" fmla="*/ 56206 w 112411"/>
                <a:gd name="connsiteY4" fmla="*/ 112412 h 112411"/>
                <a:gd name="connsiteX5" fmla="*/ 56206 w 112411"/>
                <a:gd name="connsiteY5" fmla="*/ 12459 h 112411"/>
                <a:gd name="connsiteX6" fmla="*/ 99922 w 112411"/>
                <a:gd name="connsiteY6" fmla="*/ 56175 h 112411"/>
                <a:gd name="connsiteX7" fmla="*/ 56206 w 112411"/>
                <a:gd name="connsiteY7" fmla="*/ 99890 h 112411"/>
                <a:gd name="connsiteX8" fmla="*/ 12490 w 112411"/>
                <a:gd name="connsiteY8" fmla="*/ 56175 h 112411"/>
                <a:gd name="connsiteX9" fmla="*/ 56206 w 112411"/>
                <a:gd name="connsiteY9" fmla="*/ 12459 h 112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2411" h="112411">
                  <a:moveTo>
                    <a:pt x="56206" y="112412"/>
                  </a:moveTo>
                  <a:cubicBezTo>
                    <a:pt x="87248" y="112412"/>
                    <a:pt x="112412" y="87248"/>
                    <a:pt x="112412" y="56206"/>
                  </a:cubicBezTo>
                  <a:cubicBezTo>
                    <a:pt x="112412" y="25164"/>
                    <a:pt x="87248" y="0"/>
                    <a:pt x="56206" y="0"/>
                  </a:cubicBezTo>
                  <a:cubicBezTo>
                    <a:pt x="25164" y="0"/>
                    <a:pt x="0" y="25164"/>
                    <a:pt x="0" y="56206"/>
                  </a:cubicBezTo>
                  <a:cubicBezTo>
                    <a:pt x="0" y="87248"/>
                    <a:pt x="25164" y="112412"/>
                    <a:pt x="56206" y="112412"/>
                  </a:cubicBezTo>
                  <a:close/>
                  <a:moveTo>
                    <a:pt x="56206" y="12459"/>
                  </a:moveTo>
                  <a:cubicBezTo>
                    <a:pt x="80349" y="12459"/>
                    <a:pt x="99922" y="32031"/>
                    <a:pt x="99922" y="56175"/>
                  </a:cubicBezTo>
                  <a:cubicBezTo>
                    <a:pt x="99922" y="80318"/>
                    <a:pt x="80349" y="99890"/>
                    <a:pt x="56206" y="99890"/>
                  </a:cubicBezTo>
                  <a:cubicBezTo>
                    <a:pt x="32062" y="99890"/>
                    <a:pt x="12490" y="80318"/>
                    <a:pt x="12490" y="56175"/>
                  </a:cubicBezTo>
                  <a:cubicBezTo>
                    <a:pt x="12521" y="32044"/>
                    <a:pt x="32075" y="12490"/>
                    <a:pt x="56206" y="12459"/>
                  </a:cubicBezTo>
                  <a:close/>
                </a:path>
              </a:pathLst>
            </a:custGeom>
            <a:solidFill>
              <a:schemeClr val="lt1"/>
            </a:solidFill>
            <a:ln w="8202" cap="flat">
              <a:solidFill>
                <a:schemeClr val="accent5"/>
              </a:solidFill>
              <a:prstDash val="solid"/>
              <a:miter/>
            </a:ln>
          </p:spPr>
          <p:txBody>
            <a:bodyPr rtlCol="0" anchor="ctr"/>
            <a:lstStyle/>
            <a:p>
              <a:endParaRPr lang="en-GB"/>
            </a:p>
          </p:txBody>
        </p:sp>
        <p:sp>
          <p:nvSpPr>
            <p:cNvPr id="30" name="Frihandsfigur: Form 29">
              <a:extLst>
                <a:ext uri="{FF2B5EF4-FFF2-40B4-BE49-F238E27FC236}">
                  <a16:creationId xmlns:a16="http://schemas.microsoft.com/office/drawing/2014/main" id="{472C9CF1-AABD-DA28-61FF-C06ABA2CC6DA}"/>
                </a:ext>
              </a:extLst>
            </p:cNvPr>
            <p:cNvSpPr/>
            <p:nvPr/>
          </p:nvSpPr>
          <p:spPr>
            <a:xfrm>
              <a:off x="15991176" y="2703922"/>
              <a:ext cx="189539" cy="106166"/>
            </a:xfrm>
            <a:custGeom>
              <a:avLst/>
              <a:gdLst>
                <a:gd name="connsiteX0" fmla="*/ 176418 w 189539"/>
                <a:gd name="connsiteY0" fmla="*/ 33093 h 106166"/>
                <a:gd name="connsiteX1" fmla="*/ 122416 w 189539"/>
                <a:gd name="connsiteY1" fmla="*/ 7294 h 106166"/>
                <a:gd name="connsiteX2" fmla="*/ 77121 w 189539"/>
                <a:gd name="connsiteY2" fmla="*/ 0 h 106166"/>
                <a:gd name="connsiteX3" fmla="*/ 31962 w 189539"/>
                <a:gd name="connsiteY3" fmla="*/ 7263 h 106166"/>
                <a:gd name="connsiteX4" fmla="*/ 2048 w 189539"/>
                <a:gd name="connsiteY4" fmla="*/ 18660 h 106166"/>
                <a:gd name="connsiteX5" fmla="*/ 0 w 189539"/>
                <a:gd name="connsiteY5" fmla="*/ 33898 h 106166"/>
                <a:gd name="connsiteX6" fmla="*/ 35460 w 189539"/>
                <a:gd name="connsiteY6" fmla="*/ 19247 h 106166"/>
                <a:gd name="connsiteX7" fmla="*/ 77121 w 189539"/>
                <a:gd name="connsiteY7" fmla="*/ 12490 h 106166"/>
                <a:gd name="connsiteX8" fmla="*/ 119238 w 189539"/>
                <a:gd name="connsiteY8" fmla="*/ 19360 h 106166"/>
                <a:gd name="connsiteX9" fmla="*/ 168649 w 189539"/>
                <a:gd name="connsiteY9" fmla="*/ 42873 h 106166"/>
                <a:gd name="connsiteX10" fmla="*/ 169186 w 189539"/>
                <a:gd name="connsiteY10" fmla="*/ 43272 h 106166"/>
                <a:gd name="connsiteX11" fmla="*/ 177042 w 189539"/>
                <a:gd name="connsiteY11" fmla="*/ 59328 h 106166"/>
                <a:gd name="connsiteX12" fmla="*/ 177042 w 189539"/>
                <a:gd name="connsiteY12" fmla="*/ 106167 h 106166"/>
                <a:gd name="connsiteX13" fmla="*/ 189532 w 189539"/>
                <a:gd name="connsiteY13" fmla="*/ 106167 h 106166"/>
                <a:gd name="connsiteX14" fmla="*/ 189532 w 189539"/>
                <a:gd name="connsiteY14" fmla="*/ 59328 h 106166"/>
                <a:gd name="connsiteX15" fmla="*/ 176418 w 189539"/>
                <a:gd name="connsiteY15" fmla="*/ 33093 h 106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9539" h="106166">
                  <a:moveTo>
                    <a:pt x="176418" y="33093"/>
                  </a:moveTo>
                  <a:cubicBezTo>
                    <a:pt x="160500" y="20680"/>
                    <a:pt x="142074" y="11877"/>
                    <a:pt x="122416" y="7294"/>
                  </a:cubicBezTo>
                  <a:cubicBezTo>
                    <a:pt x="107700" y="2900"/>
                    <a:pt x="92472" y="447"/>
                    <a:pt x="77121" y="0"/>
                  </a:cubicBezTo>
                  <a:cubicBezTo>
                    <a:pt x="61778" y="16"/>
                    <a:pt x="46536" y="2467"/>
                    <a:pt x="31962" y="7263"/>
                  </a:cubicBezTo>
                  <a:cubicBezTo>
                    <a:pt x="21601" y="9945"/>
                    <a:pt x="11568" y="13768"/>
                    <a:pt x="2048" y="18660"/>
                  </a:cubicBezTo>
                  <a:cubicBezTo>
                    <a:pt x="1895" y="23797"/>
                    <a:pt x="1209" y="28904"/>
                    <a:pt x="0" y="33898"/>
                  </a:cubicBezTo>
                  <a:cubicBezTo>
                    <a:pt x="11106" y="27440"/>
                    <a:pt x="23034" y="22512"/>
                    <a:pt x="35460" y="19247"/>
                  </a:cubicBezTo>
                  <a:cubicBezTo>
                    <a:pt x="48907" y="14829"/>
                    <a:pt x="62966" y="12549"/>
                    <a:pt x="77121" y="12490"/>
                  </a:cubicBezTo>
                  <a:cubicBezTo>
                    <a:pt x="91398" y="12950"/>
                    <a:pt x="105555" y="15259"/>
                    <a:pt x="119238" y="19360"/>
                  </a:cubicBezTo>
                  <a:cubicBezTo>
                    <a:pt x="137227" y="23496"/>
                    <a:pt x="154092" y="31521"/>
                    <a:pt x="168649" y="42873"/>
                  </a:cubicBezTo>
                  <a:lnTo>
                    <a:pt x="169186" y="43272"/>
                  </a:lnTo>
                  <a:cubicBezTo>
                    <a:pt x="174322" y="46976"/>
                    <a:pt x="177270" y="53000"/>
                    <a:pt x="177042" y="59328"/>
                  </a:cubicBezTo>
                  <a:lnTo>
                    <a:pt x="177042" y="106167"/>
                  </a:lnTo>
                  <a:lnTo>
                    <a:pt x="189532" y="106167"/>
                  </a:lnTo>
                  <a:lnTo>
                    <a:pt x="189532" y="59328"/>
                  </a:lnTo>
                  <a:cubicBezTo>
                    <a:pt x="189760" y="48954"/>
                    <a:pt x="184852" y="39136"/>
                    <a:pt x="176418" y="33093"/>
                  </a:cubicBezTo>
                  <a:close/>
                </a:path>
              </a:pathLst>
            </a:custGeom>
            <a:solidFill>
              <a:schemeClr val="lt1"/>
            </a:solidFill>
            <a:ln w="8202" cap="flat">
              <a:solidFill>
                <a:schemeClr val="accent5"/>
              </a:solidFill>
              <a:prstDash val="solid"/>
              <a:miter/>
            </a:ln>
          </p:spPr>
          <p:txBody>
            <a:bodyPr rtlCol="0" anchor="ctr"/>
            <a:lstStyle/>
            <a:p>
              <a:endParaRPr lang="en-GB"/>
            </a:p>
          </p:txBody>
        </p:sp>
        <p:sp>
          <p:nvSpPr>
            <p:cNvPr id="128" name="Frihandsfigur: Form 127">
              <a:extLst>
                <a:ext uri="{FF2B5EF4-FFF2-40B4-BE49-F238E27FC236}">
                  <a16:creationId xmlns:a16="http://schemas.microsoft.com/office/drawing/2014/main" id="{1B4F580E-026C-061C-713B-BBD74BBB53B0}"/>
                </a:ext>
              </a:extLst>
            </p:cNvPr>
            <p:cNvSpPr/>
            <p:nvPr/>
          </p:nvSpPr>
          <p:spPr>
            <a:xfrm>
              <a:off x="15656170" y="2703922"/>
              <a:ext cx="189220" cy="106166"/>
            </a:xfrm>
            <a:custGeom>
              <a:avLst/>
              <a:gdLst>
                <a:gd name="connsiteX0" fmla="*/ 189220 w 189220"/>
                <a:gd name="connsiteY0" fmla="*/ 32930 h 106166"/>
                <a:gd name="connsiteX1" fmla="*/ 187347 w 189220"/>
                <a:gd name="connsiteY1" fmla="*/ 17892 h 106166"/>
                <a:gd name="connsiteX2" fmla="*/ 157645 w 189220"/>
                <a:gd name="connsiteY2" fmla="*/ 7276 h 106166"/>
                <a:gd name="connsiteX3" fmla="*/ 112362 w 189220"/>
                <a:gd name="connsiteY3" fmla="*/ 0 h 106166"/>
                <a:gd name="connsiteX4" fmla="*/ 67203 w 189220"/>
                <a:gd name="connsiteY4" fmla="*/ 7263 h 106166"/>
                <a:gd name="connsiteX5" fmla="*/ 12827 w 189220"/>
                <a:gd name="connsiteY5" fmla="*/ 33299 h 106166"/>
                <a:gd name="connsiteX6" fmla="*/ 0 w 189220"/>
                <a:gd name="connsiteY6" fmla="*/ 59328 h 106166"/>
                <a:gd name="connsiteX7" fmla="*/ 0 w 189220"/>
                <a:gd name="connsiteY7" fmla="*/ 106167 h 106166"/>
                <a:gd name="connsiteX8" fmla="*/ 12490 w 189220"/>
                <a:gd name="connsiteY8" fmla="*/ 106167 h 106166"/>
                <a:gd name="connsiteX9" fmla="*/ 12490 w 189220"/>
                <a:gd name="connsiteY9" fmla="*/ 59328 h 106166"/>
                <a:gd name="connsiteX10" fmla="*/ 20409 w 189220"/>
                <a:gd name="connsiteY10" fmla="*/ 43229 h 106166"/>
                <a:gd name="connsiteX11" fmla="*/ 70726 w 189220"/>
                <a:gd name="connsiteY11" fmla="*/ 19247 h 106166"/>
                <a:gd name="connsiteX12" fmla="*/ 112362 w 189220"/>
                <a:gd name="connsiteY12" fmla="*/ 12490 h 106166"/>
                <a:gd name="connsiteX13" fmla="*/ 154479 w 189220"/>
                <a:gd name="connsiteY13" fmla="*/ 19360 h 106166"/>
                <a:gd name="connsiteX14" fmla="*/ 189220 w 189220"/>
                <a:gd name="connsiteY14" fmla="*/ 32930 h 106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9220" h="106166">
                  <a:moveTo>
                    <a:pt x="189220" y="32930"/>
                  </a:moveTo>
                  <a:cubicBezTo>
                    <a:pt x="188083" y="27995"/>
                    <a:pt x="187455" y="22956"/>
                    <a:pt x="187347" y="17892"/>
                  </a:cubicBezTo>
                  <a:cubicBezTo>
                    <a:pt x="177817" y="13393"/>
                    <a:pt x="167868" y="9837"/>
                    <a:pt x="157645" y="7276"/>
                  </a:cubicBezTo>
                  <a:cubicBezTo>
                    <a:pt x="142932" y="2888"/>
                    <a:pt x="127708" y="442"/>
                    <a:pt x="112362" y="0"/>
                  </a:cubicBezTo>
                  <a:cubicBezTo>
                    <a:pt x="97019" y="16"/>
                    <a:pt x="81777" y="2467"/>
                    <a:pt x="67203" y="7263"/>
                  </a:cubicBezTo>
                  <a:cubicBezTo>
                    <a:pt x="47657" y="12593"/>
                    <a:pt x="29235" y="21413"/>
                    <a:pt x="12827" y="33299"/>
                  </a:cubicBezTo>
                  <a:cubicBezTo>
                    <a:pt x="4748" y="39518"/>
                    <a:pt x="10" y="49133"/>
                    <a:pt x="0" y="59328"/>
                  </a:cubicBezTo>
                  <a:lnTo>
                    <a:pt x="0" y="106167"/>
                  </a:lnTo>
                  <a:lnTo>
                    <a:pt x="12490" y="106167"/>
                  </a:lnTo>
                  <a:lnTo>
                    <a:pt x="12490" y="59328"/>
                  </a:lnTo>
                  <a:cubicBezTo>
                    <a:pt x="12502" y="53027"/>
                    <a:pt x="15425" y="47084"/>
                    <a:pt x="20409" y="43229"/>
                  </a:cubicBezTo>
                  <a:cubicBezTo>
                    <a:pt x="35606" y="32280"/>
                    <a:pt x="52650" y="24156"/>
                    <a:pt x="70726" y="19247"/>
                  </a:cubicBezTo>
                  <a:cubicBezTo>
                    <a:pt x="84166" y="14831"/>
                    <a:pt x="98215" y="12551"/>
                    <a:pt x="112362" y="12490"/>
                  </a:cubicBezTo>
                  <a:cubicBezTo>
                    <a:pt x="126639" y="12950"/>
                    <a:pt x="140796" y="15260"/>
                    <a:pt x="154479" y="19360"/>
                  </a:cubicBezTo>
                  <a:cubicBezTo>
                    <a:pt x="166607" y="22332"/>
                    <a:pt x="178288" y="26896"/>
                    <a:pt x="189220" y="32930"/>
                  </a:cubicBezTo>
                  <a:close/>
                </a:path>
              </a:pathLst>
            </a:custGeom>
            <a:solidFill>
              <a:schemeClr val="lt1"/>
            </a:solidFill>
            <a:ln w="8202" cap="flat">
              <a:solidFill>
                <a:schemeClr val="accent5"/>
              </a:solidFill>
              <a:prstDash val="solid"/>
              <a:miter/>
            </a:ln>
          </p:spPr>
          <p:txBody>
            <a:bodyPr rtlCol="0" anchor="ctr"/>
            <a:lstStyle/>
            <a:p>
              <a:endParaRPr lang="en-GB"/>
            </a:p>
          </p:txBody>
        </p:sp>
        <p:sp>
          <p:nvSpPr>
            <p:cNvPr id="130" name="Frihandsfigur: Form 129">
              <a:extLst>
                <a:ext uri="{FF2B5EF4-FFF2-40B4-BE49-F238E27FC236}">
                  <a16:creationId xmlns:a16="http://schemas.microsoft.com/office/drawing/2014/main" id="{1862E28E-2733-C802-F69F-271B853CBF67}"/>
                </a:ext>
              </a:extLst>
            </p:cNvPr>
            <p:cNvSpPr/>
            <p:nvPr/>
          </p:nvSpPr>
          <p:spPr>
            <a:xfrm>
              <a:off x="15806002" y="2790167"/>
              <a:ext cx="224830" cy="106166"/>
            </a:xfrm>
            <a:custGeom>
              <a:avLst/>
              <a:gdLst>
                <a:gd name="connsiteX0" fmla="*/ 211709 w 224830"/>
                <a:gd name="connsiteY0" fmla="*/ 33099 h 106166"/>
                <a:gd name="connsiteX1" fmla="*/ 157707 w 224830"/>
                <a:gd name="connsiteY1" fmla="*/ 7301 h 106166"/>
                <a:gd name="connsiteX2" fmla="*/ 112412 w 224830"/>
                <a:gd name="connsiteY2" fmla="*/ 0 h 106166"/>
                <a:gd name="connsiteX3" fmla="*/ 67266 w 224830"/>
                <a:gd name="connsiteY3" fmla="*/ 7263 h 106166"/>
                <a:gd name="connsiteX4" fmla="*/ 12890 w 224830"/>
                <a:gd name="connsiteY4" fmla="*/ 33299 h 106166"/>
                <a:gd name="connsiteX5" fmla="*/ 0 w 224830"/>
                <a:gd name="connsiteY5" fmla="*/ 59328 h 106166"/>
                <a:gd name="connsiteX6" fmla="*/ 0 w 224830"/>
                <a:gd name="connsiteY6" fmla="*/ 106167 h 106166"/>
                <a:gd name="connsiteX7" fmla="*/ 12490 w 224830"/>
                <a:gd name="connsiteY7" fmla="*/ 106167 h 106166"/>
                <a:gd name="connsiteX8" fmla="*/ 12490 w 224830"/>
                <a:gd name="connsiteY8" fmla="*/ 59328 h 106166"/>
                <a:gd name="connsiteX9" fmla="*/ 20415 w 224830"/>
                <a:gd name="connsiteY9" fmla="*/ 43229 h 106166"/>
                <a:gd name="connsiteX10" fmla="*/ 70726 w 224830"/>
                <a:gd name="connsiteY10" fmla="*/ 19247 h 106166"/>
                <a:gd name="connsiteX11" fmla="*/ 112412 w 224830"/>
                <a:gd name="connsiteY11" fmla="*/ 12490 h 106166"/>
                <a:gd name="connsiteX12" fmla="*/ 154535 w 224830"/>
                <a:gd name="connsiteY12" fmla="*/ 19360 h 106166"/>
                <a:gd name="connsiteX13" fmla="*/ 203940 w 224830"/>
                <a:gd name="connsiteY13" fmla="*/ 42866 h 106166"/>
                <a:gd name="connsiteX14" fmla="*/ 204477 w 224830"/>
                <a:gd name="connsiteY14" fmla="*/ 43266 h 106166"/>
                <a:gd name="connsiteX15" fmla="*/ 212333 w 224830"/>
                <a:gd name="connsiteY15" fmla="*/ 59328 h 106166"/>
                <a:gd name="connsiteX16" fmla="*/ 212333 w 224830"/>
                <a:gd name="connsiteY16" fmla="*/ 106167 h 106166"/>
                <a:gd name="connsiteX17" fmla="*/ 224823 w 224830"/>
                <a:gd name="connsiteY17" fmla="*/ 106167 h 106166"/>
                <a:gd name="connsiteX18" fmla="*/ 224823 w 224830"/>
                <a:gd name="connsiteY18" fmla="*/ 59328 h 106166"/>
                <a:gd name="connsiteX19" fmla="*/ 211709 w 224830"/>
                <a:gd name="connsiteY19" fmla="*/ 33099 h 106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24830" h="106166">
                  <a:moveTo>
                    <a:pt x="211709" y="33099"/>
                  </a:moveTo>
                  <a:cubicBezTo>
                    <a:pt x="195792" y="20684"/>
                    <a:pt x="177366" y="11881"/>
                    <a:pt x="157707" y="7301"/>
                  </a:cubicBezTo>
                  <a:cubicBezTo>
                    <a:pt x="142991" y="2906"/>
                    <a:pt x="127763" y="453"/>
                    <a:pt x="112412" y="0"/>
                  </a:cubicBezTo>
                  <a:cubicBezTo>
                    <a:pt x="97074" y="15"/>
                    <a:pt x="81835" y="2467"/>
                    <a:pt x="67266" y="7263"/>
                  </a:cubicBezTo>
                  <a:cubicBezTo>
                    <a:pt x="47718" y="12589"/>
                    <a:pt x="29295" y="21409"/>
                    <a:pt x="12890" y="33299"/>
                  </a:cubicBezTo>
                  <a:cubicBezTo>
                    <a:pt x="4784" y="39503"/>
                    <a:pt x="22" y="49121"/>
                    <a:pt x="0" y="59328"/>
                  </a:cubicBezTo>
                  <a:lnTo>
                    <a:pt x="0" y="106167"/>
                  </a:lnTo>
                  <a:lnTo>
                    <a:pt x="12490" y="106167"/>
                  </a:lnTo>
                  <a:lnTo>
                    <a:pt x="12490" y="59328"/>
                  </a:lnTo>
                  <a:cubicBezTo>
                    <a:pt x="12501" y="53025"/>
                    <a:pt x="15427" y="47082"/>
                    <a:pt x="20415" y="43229"/>
                  </a:cubicBezTo>
                  <a:cubicBezTo>
                    <a:pt x="35608" y="32277"/>
                    <a:pt x="52651" y="24154"/>
                    <a:pt x="70726" y="19247"/>
                  </a:cubicBezTo>
                  <a:cubicBezTo>
                    <a:pt x="84181" y="14826"/>
                    <a:pt x="98248" y="12546"/>
                    <a:pt x="112412" y="12490"/>
                  </a:cubicBezTo>
                  <a:cubicBezTo>
                    <a:pt x="126691" y="12948"/>
                    <a:pt x="140850" y="15257"/>
                    <a:pt x="154535" y="19360"/>
                  </a:cubicBezTo>
                  <a:cubicBezTo>
                    <a:pt x="172523" y="23490"/>
                    <a:pt x="189387" y="31514"/>
                    <a:pt x="203940" y="42866"/>
                  </a:cubicBezTo>
                  <a:lnTo>
                    <a:pt x="204477" y="43266"/>
                  </a:lnTo>
                  <a:cubicBezTo>
                    <a:pt x="209615" y="46972"/>
                    <a:pt x="212562" y="52998"/>
                    <a:pt x="212333" y="59328"/>
                  </a:cubicBezTo>
                  <a:lnTo>
                    <a:pt x="212333" y="106167"/>
                  </a:lnTo>
                  <a:lnTo>
                    <a:pt x="224823" y="106167"/>
                  </a:lnTo>
                  <a:lnTo>
                    <a:pt x="224823" y="59328"/>
                  </a:lnTo>
                  <a:cubicBezTo>
                    <a:pt x="225049" y="48957"/>
                    <a:pt x="220142" y="39141"/>
                    <a:pt x="211709" y="33099"/>
                  </a:cubicBezTo>
                  <a:close/>
                </a:path>
              </a:pathLst>
            </a:custGeom>
            <a:solidFill>
              <a:schemeClr val="lt1"/>
            </a:solidFill>
            <a:ln w="8202" cap="flat">
              <a:solidFill>
                <a:schemeClr val="accent5"/>
              </a:solidFill>
              <a:prstDash val="solid"/>
              <a:miter/>
            </a:ln>
          </p:spPr>
          <p:txBody>
            <a:bodyPr rtlCol="0" anchor="ctr"/>
            <a:lstStyle/>
            <a:p>
              <a:endParaRPr lang="en-GB"/>
            </a:p>
          </p:txBody>
        </p:sp>
        <p:sp>
          <p:nvSpPr>
            <p:cNvPr id="142" name="Frihandsfigur: Form 141">
              <a:extLst>
                <a:ext uri="{FF2B5EF4-FFF2-40B4-BE49-F238E27FC236}">
                  <a16:creationId xmlns:a16="http://schemas.microsoft.com/office/drawing/2014/main" id="{804D1714-488B-AE78-AA90-BDF9658689A4}"/>
                </a:ext>
              </a:extLst>
            </p:cNvPr>
            <p:cNvSpPr/>
            <p:nvPr/>
          </p:nvSpPr>
          <p:spPr>
            <a:xfrm>
              <a:off x="15862208" y="2664110"/>
              <a:ext cx="112411" cy="112411"/>
            </a:xfrm>
            <a:custGeom>
              <a:avLst/>
              <a:gdLst>
                <a:gd name="connsiteX0" fmla="*/ 56206 w 112411"/>
                <a:gd name="connsiteY0" fmla="*/ 112412 h 112411"/>
                <a:gd name="connsiteX1" fmla="*/ 112412 w 112411"/>
                <a:gd name="connsiteY1" fmla="*/ 56206 h 112411"/>
                <a:gd name="connsiteX2" fmla="*/ 56206 w 112411"/>
                <a:gd name="connsiteY2" fmla="*/ 0 h 112411"/>
                <a:gd name="connsiteX3" fmla="*/ 0 w 112411"/>
                <a:gd name="connsiteY3" fmla="*/ 56206 h 112411"/>
                <a:gd name="connsiteX4" fmla="*/ 56206 w 112411"/>
                <a:gd name="connsiteY4" fmla="*/ 112412 h 112411"/>
                <a:gd name="connsiteX5" fmla="*/ 56206 w 112411"/>
                <a:gd name="connsiteY5" fmla="*/ 12490 h 112411"/>
                <a:gd name="connsiteX6" fmla="*/ 99922 w 112411"/>
                <a:gd name="connsiteY6" fmla="*/ 56206 h 112411"/>
                <a:gd name="connsiteX7" fmla="*/ 56206 w 112411"/>
                <a:gd name="connsiteY7" fmla="*/ 99922 h 112411"/>
                <a:gd name="connsiteX8" fmla="*/ 12490 w 112411"/>
                <a:gd name="connsiteY8" fmla="*/ 56206 h 112411"/>
                <a:gd name="connsiteX9" fmla="*/ 56206 w 112411"/>
                <a:gd name="connsiteY9" fmla="*/ 12459 h 112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2411" h="112411">
                  <a:moveTo>
                    <a:pt x="56206" y="112412"/>
                  </a:moveTo>
                  <a:cubicBezTo>
                    <a:pt x="87248" y="112412"/>
                    <a:pt x="112412" y="87248"/>
                    <a:pt x="112412" y="56206"/>
                  </a:cubicBezTo>
                  <a:cubicBezTo>
                    <a:pt x="112412" y="25164"/>
                    <a:pt x="87248" y="0"/>
                    <a:pt x="56206" y="0"/>
                  </a:cubicBezTo>
                  <a:cubicBezTo>
                    <a:pt x="25164" y="0"/>
                    <a:pt x="0" y="25164"/>
                    <a:pt x="0" y="56206"/>
                  </a:cubicBezTo>
                  <a:cubicBezTo>
                    <a:pt x="0" y="87248"/>
                    <a:pt x="25164" y="112412"/>
                    <a:pt x="56206" y="112412"/>
                  </a:cubicBezTo>
                  <a:close/>
                  <a:moveTo>
                    <a:pt x="56206" y="12490"/>
                  </a:moveTo>
                  <a:cubicBezTo>
                    <a:pt x="80349" y="12490"/>
                    <a:pt x="99922" y="32062"/>
                    <a:pt x="99922" y="56206"/>
                  </a:cubicBezTo>
                  <a:cubicBezTo>
                    <a:pt x="99922" y="80349"/>
                    <a:pt x="80349" y="99922"/>
                    <a:pt x="56206" y="99922"/>
                  </a:cubicBezTo>
                  <a:cubicBezTo>
                    <a:pt x="32062" y="99922"/>
                    <a:pt x="12490" y="80349"/>
                    <a:pt x="12490" y="56206"/>
                  </a:cubicBezTo>
                  <a:cubicBezTo>
                    <a:pt x="12508" y="32064"/>
                    <a:pt x="32064" y="12493"/>
                    <a:pt x="56206" y="12459"/>
                  </a:cubicBezTo>
                  <a:close/>
                </a:path>
              </a:pathLst>
            </a:custGeom>
            <a:solidFill>
              <a:schemeClr val="lt1"/>
            </a:solidFill>
            <a:ln w="8202" cap="flat">
              <a:solidFill>
                <a:schemeClr val="accent5"/>
              </a:solidFill>
              <a:prstDash val="solid"/>
              <a:miter/>
            </a:ln>
          </p:spPr>
          <p:txBody>
            <a:bodyPr rtlCol="0" anchor="ctr"/>
            <a:lstStyle/>
            <a:p>
              <a:endParaRPr lang="en-GB"/>
            </a:p>
          </p:txBody>
        </p:sp>
      </p:grpSp>
      <p:grpSp>
        <p:nvGrpSpPr>
          <p:cNvPr id="146" name="Bild 140" descr="Frysbox för kassör kontur">
            <a:extLst>
              <a:ext uri="{FF2B5EF4-FFF2-40B4-BE49-F238E27FC236}">
                <a16:creationId xmlns:a16="http://schemas.microsoft.com/office/drawing/2014/main" id="{7FD52C25-4203-A4C1-6FE4-F53C720B20B3}"/>
              </a:ext>
            </a:extLst>
          </p:cNvPr>
          <p:cNvGrpSpPr/>
          <p:nvPr/>
        </p:nvGrpSpPr>
        <p:grpSpPr>
          <a:xfrm>
            <a:off x="16356160" y="7413689"/>
            <a:ext cx="571911" cy="505852"/>
            <a:chOff x="15636443" y="6959755"/>
            <a:chExt cx="571911" cy="505852"/>
          </a:xfrm>
          <a:solidFill>
            <a:schemeClr val="lt1"/>
          </a:solidFill>
        </p:grpSpPr>
        <p:sp>
          <p:nvSpPr>
            <p:cNvPr id="147" name="Frihandsfigur: Form 146">
              <a:extLst>
                <a:ext uri="{FF2B5EF4-FFF2-40B4-BE49-F238E27FC236}">
                  <a16:creationId xmlns:a16="http://schemas.microsoft.com/office/drawing/2014/main" id="{FEC7DFA2-7679-BB8B-C02D-77BC22B05978}"/>
                </a:ext>
              </a:extLst>
            </p:cNvPr>
            <p:cNvSpPr/>
            <p:nvPr/>
          </p:nvSpPr>
          <p:spPr>
            <a:xfrm>
              <a:off x="15636443" y="7128372"/>
              <a:ext cx="47468" cy="56205"/>
            </a:xfrm>
            <a:custGeom>
              <a:avLst/>
              <a:gdLst>
                <a:gd name="connsiteX0" fmla="*/ 23734 w 47468"/>
                <a:gd name="connsiteY0" fmla="*/ 0 h 56205"/>
                <a:gd name="connsiteX1" fmla="*/ 0 w 47468"/>
                <a:gd name="connsiteY1" fmla="*/ 28103 h 56205"/>
                <a:gd name="connsiteX2" fmla="*/ 23734 w 47468"/>
                <a:gd name="connsiteY2" fmla="*/ 56206 h 56205"/>
                <a:gd name="connsiteX3" fmla="*/ 47469 w 47468"/>
                <a:gd name="connsiteY3" fmla="*/ 28103 h 56205"/>
                <a:gd name="connsiteX4" fmla="*/ 23734 w 47468"/>
                <a:gd name="connsiteY4" fmla="*/ 0 h 56205"/>
                <a:gd name="connsiteX5" fmla="*/ 23734 w 47468"/>
                <a:gd name="connsiteY5" fmla="*/ 30711 h 56205"/>
                <a:gd name="connsiteX6" fmla="*/ 21354 w 47468"/>
                <a:gd name="connsiteY6" fmla="*/ 28103 h 56205"/>
                <a:gd name="connsiteX7" fmla="*/ 23734 w 47468"/>
                <a:gd name="connsiteY7" fmla="*/ 25495 h 56205"/>
                <a:gd name="connsiteX8" fmla="*/ 26114 w 47468"/>
                <a:gd name="connsiteY8" fmla="*/ 28103 h 56205"/>
                <a:gd name="connsiteX9" fmla="*/ 23734 w 47468"/>
                <a:gd name="connsiteY9" fmla="*/ 30711 h 56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468" h="56205">
                  <a:moveTo>
                    <a:pt x="23734" y="0"/>
                  </a:moveTo>
                  <a:cubicBezTo>
                    <a:pt x="20231" y="12344"/>
                    <a:pt x="11584" y="22583"/>
                    <a:pt x="0" y="28103"/>
                  </a:cubicBezTo>
                  <a:cubicBezTo>
                    <a:pt x="11584" y="33623"/>
                    <a:pt x="20231" y="43862"/>
                    <a:pt x="23734" y="56206"/>
                  </a:cubicBezTo>
                  <a:cubicBezTo>
                    <a:pt x="27238" y="43862"/>
                    <a:pt x="35885" y="33623"/>
                    <a:pt x="47469" y="28103"/>
                  </a:cubicBezTo>
                  <a:cubicBezTo>
                    <a:pt x="35885" y="22583"/>
                    <a:pt x="27238" y="12344"/>
                    <a:pt x="23734" y="0"/>
                  </a:cubicBezTo>
                  <a:close/>
                  <a:moveTo>
                    <a:pt x="23734" y="30711"/>
                  </a:moveTo>
                  <a:cubicBezTo>
                    <a:pt x="22965" y="29813"/>
                    <a:pt x="22172" y="28944"/>
                    <a:pt x="21354" y="28103"/>
                  </a:cubicBezTo>
                  <a:cubicBezTo>
                    <a:pt x="22172" y="27262"/>
                    <a:pt x="22965" y="26392"/>
                    <a:pt x="23734" y="25495"/>
                  </a:cubicBezTo>
                  <a:cubicBezTo>
                    <a:pt x="24504" y="26392"/>
                    <a:pt x="25297" y="27262"/>
                    <a:pt x="26114" y="28103"/>
                  </a:cubicBezTo>
                  <a:cubicBezTo>
                    <a:pt x="25297" y="28944"/>
                    <a:pt x="24504" y="29813"/>
                    <a:pt x="23734" y="30711"/>
                  </a:cubicBezTo>
                  <a:close/>
                </a:path>
              </a:pathLst>
            </a:custGeom>
            <a:solidFill>
              <a:schemeClr val="lt1"/>
            </a:solidFill>
            <a:ln w="8202" cap="flat">
              <a:solidFill>
                <a:schemeClr val="accent5"/>
              </a:solidFill>
              <a:prstDash val="solid"/>
              <a:miter/>
            </a:ln>
          </p:spPr>
          <p:txBody>
            <a:bodyPr rtlCol="0" anchor="ctr"/>
            <a:lstStyle/>
            <a:p>
              <a:endParaRPr lang="en-GB"/>
            </a:p>
          </p:txBody>
        </p:sp>
        <p:sp>
          <p:nvSpPr>
            <p:cNvPr id="148" name="Frihandsfigur: Form 147">
              <a:extLst>
                <a:ext uri="{FF2B5EF4-FFF2-40B4-BE49-F238E27FC236}">
                  <a16:creationId xmlns:a16="http://schemas.microsoft.com/office/drawing/2014/main" id="{C42105D3-8FC0-A393-E8CF-92424F0D2541}"/>
                </a:ext>
              </a:extLst>
            </p:cNvPr>
            <p:cNvSpPr/>
            <p:nvPr/>
          </p:nvSpPr>
          <p:spPr>
            <a:xfrm>
              <a:off x="16150338" y="7159598"/>
              <a:ext cx="58016" cy="68696"/>
            </a:xfrm>
            <a:custGeom>
              <a:avLst/>
              <a:gdLst>
                <a:gd name="connsiteX0" fmla="*/ 29008 w 58016"/>
                <a:gd name="connsiteY0" fmla="*/ 0 h 68696"/>
                <a:gd name="connsiteX1" fmla="*/ 0 w 58016"/>
                <a:gd name="connsiteY1" fmla="*/ 34348 h 68696"/>
                <a:gd name="connsiteX2" fmla="*/ 29008 w 58016"/>
                <a:gd name="connsiteY2" fmla="*/ 68696 h 68696"/>
                <a:gd name="connsiteX3" fmla="*/ 58017 w 58016"/>
                <a:gd name="connsiteY3" fmla="*/ 34348 h 68696"/>
                <a:gd name="connsiteX4" fmla="*/ 29008 w 58016"/>
                <a:gd name="connsiteY4" fmla="*/ 0 h 68696"/>
                <a:gd name="connsiteX5" fmla="*/ 29008 w 58016"/>
                <a:gd name="connsiteY5" fmla="*/ 41926 h 68696"/>
                <a:gd name="connsiteX6" fmla="*/ 22148 w 58016"/>
                <a:gd name="connsiteY6" fmla="*/ 34348 h 68696"/>
                <a:gd name="connsiteX7" fmla="*/ 29008 w 58016"/>
                <a:gd name="connsiteY7" fmla="*/ 26769 h 68696"/>
                <a:gd name="connsiteX8" fmla="*/ 35869 w 58016"/>
                <a:gd name="connsiteY8" fmla="*/ 34348 h 68696"/>
                <a:gd name="connsiteX9" fmla="*/ 29008 w 58016"/>
                <a:gd name="connsiteY9" fmla="*/ 41926 h 68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016" h="68696">
                  <a:moveTo>
                    <a:pt x="29008" y="0"/>
                  </a:moveTo>
                  <a:cubicBezTo>
                    <a:pt x="24726" y="15088"/>
                    <a:pt x="14158" y="27601"/>
                    <a:pt x="0" y="34348"/>
                  </a:cubicBezTo>
                  <a:cubicBezTo>
                    <a:pt x="14158" y="41095"/>
                    <a:pt x="24726" y="53609"/>
                    <a:pt x="29008" y="68696"/>
                  </a:cubicBezTo>
                  <a:cubicBezTo>
                    <a:pt x="33290" y="53609"/>
                    <a:pt x="43859" y="41095"/>
                    <a:pt x="58017" y="34348"/>
                  </a:cubicBezTo>
                  <a:cubicBezTo>
                    <a:pt x="43859" y="27601"/>
                    <a:pt x="33290" y="15088"/>
                    <a:pt x="29008" y="0"/>
                  </a:cubicBezTo>
                  <a:close/>
                  <a:moveTo>
                    <a:pt x="29008" y="41926"/>
                  </a:moveTo>
                  <a:cubicBezTo>
                    <a:pt x="26920" y="39227"/>
                    <a:pt x="24627" y="36694"/>
                    <a:pt x="22148" y="34348"/>
                  </a:cubicBezTo>
                  <a:cubicBezTo>
                    <a:pt x="24627" y="32002"/>
                    <a:pt x="26920" y="29469"/>
                    <a:pt x="29008" y="26769"/>
                  </a:cubicBezTo>
                  <a:cubicBezTo>
                    <a:pt x="31096" y="29469"/>
                    <a:pt x="33390" y="32002"/>
                    <a:pt x="35869" y="34348"/>
                  </a:cubicBezTo>
                  <a:cubicBezTo>
                    <a:pt x="33390" y="36694"/>
                    <a:pt x="31096" y="39227"/>
                    <a:pt x="29008" y="41926"/>
                  </a:cubicBezTo>
                  <a:close/>
                </a:path>
              </a:pathLst>
            </a:custGeom>
            <a:solidFill>
              <a:schemeClr val="lt1"/>
            </a:solidFill>
            <a:ln w="8202" cap="flat">
              <a:solidFill>
                <a:schemeClr val="accent5"/>
              </a:solidFill>
              <a:prstDash val="solid"/>
              <a:miter/>
            </a:ln>
          </p:spPr>
          <p:txBody>
            <a:bodyPr rtlCol="0" anchor="ctr"/>
            <a:lstStyle/>
            <a:p>
              <a:endParaRPr lang="en-GB"/>
            </a:p>
          </p:txBody>
        </p:sp>
        <p:sp>
          <p:nvSpPr>
            <p:cNvPr id="149" name="Frihandsfigur: Form 148">
              <a:extLst>
                <a:ext uri="{FF2B5EF4-FFF2-40B4-BE49-F238E27FC236}">
                  <a16:creationId xmlns:a16="http://schemas.microsoft.com/office/drawing/2014/main" id="{84031186-D3F3-852F-4B44-284B6F6A6D7A}"/>
                </a:ext>
              </a:extLst>
            </p:cNvPr>
            <p:cNvSpPr/>
            <p:nvPr/>
          </p:nvSpPr>
          <p:spPr>
            <a:xfrm>
              <a:off x="15943423" y="7103392"/>
              <a:ext cx="42194" cy="49960"/>
            </a:xfrm>
            <a:custGeom>
              <a:avLst/>
              <a:gdLst>
                <a:gd name="connsiteX0" fmla="*/ 21097 w 42194"/>
                <a:gd name="connsiteY0" fmla="*/ 49961 h 49960"/>
                <a:gd name="connsiteX1" fmla="*/ 42194 w 42194"/>
                <a:gd name="connsiteY1" fmla="*/ 24980 h 49960"/>
                <a:gd name="connsiteX2" fmla="*/ 21097 w 42194"/>
                <a:gd name="connsiteY2" fmla="*/ 0 h 49960"/>
                <a:gd name="connsiteX3" fmla="*/ 0 w 42194"/>
                <a:gd name="connsiteY3" fmla="*/ 24980 h 49960"/>
                <a:gd name="connsiteX4" fmla="*/ 21097 w 42194"/>
                <a:gd name="connsiteY4" fmla="*/ 49961 h 499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94" h="49960">
                  <a:moveTo>
                    <a:pt x="21097" y="49961"/>
                  </a:moveTo>
                  <a:cubicBezTo>
                    <a:pt x="24212" y="38988"/>
                    <a:pt x="31898" y="29887"/>
                    <a:pt x="42194" y="24980"/>
                  </a:cubicBezTo>
                  <a:cubicBezTo>
                    <a:pt x="31898" y="20074"/>
                    <a:pt x="24212" y="10973"/>
                    <a:pt x="21097" y="0"/>
                  </a:cubicBezTo>
                  <a:cubicBezTo>
                    <a:pt x="17983" y="10973"/>
                    <a:pt x="10297" y="20074"/>
                    <a:pt x="0" y="24980"/>
                  </a:cubicBezTo>
                  <a:cubicBezTo>
                    <a:pt x="10297" y="29887"/>
                    <a:pt x="17983" y="38988"/>
                    <a:pt x="21097" y="49961"/>
                  </a:cubicBezTo>
                  <a:close/>
                </a:path>
              </a:pathLst>
            </a:custGeom>
            <a:solidFill>
              <a:schemeClr val="lt1"/>
            </a:solidFill>
            <a:ln w="8202" cap="flat">
              <a:solidFill>
                <a:schemeClr val="accent5"/>
              </a:solidFill>
              <a:prstDash val="solid"/>
              <a:miter/>
            </a:ln>
          </p:spPr>
          <p:txBody>
            <a:bodyPr rtlCol="0" anchor="ctr"/>
            <a:lstStyle/>
            <a:p>
              <a:endParaRPr lang="en-GB"/>
            </a:p>
          </p:txBody>
        </p:sp>
        <p:sp>
          <p:nvSpPr>
            <p:cNvPr id="150" name="Frihandsfigur: Form 149">
              <a:extLst>
                <a:ext uri="{FF2B5EF4-FFF2-40B4-BE49-F238E27FC236}">
                  <a16:creationId xmlns:a16="http://schemas.microsoft.com/office/drawing/2014/main" id="{5EBBCDB4-0A94-1FA3-2725-2C3FE21A3E7B}"/>
                </a:ext>
              </a:extLst>
            </p:cNvPr>
            <p:cNvSpPr/>
            <p:nvPr/>
          </p:nvSpPr>
          <p:spPr>
            <a:xfrm>
              <a:off x="15803250" y="6959755"/>
              <a:ext cx="52742" cy="62450"/>
            </a:xfrm>
            <a:custGeom>
              <a:avLst/>
              <a:gdLst>
                <a:gd name="connsiteX0" fmla="*/ 26371 w 52742"/>
                <a:gd name="connsiteY0" fmla="*/ 62451 h 62450"/>
                <a:gd name="connsiteX1" fmla="*/ 52742 w 52742"/>
                <a:gd name="connsiteY1" fmla="*/ 31225 h 62450"/>
                <a:gd name="connsiteX2" fmla="*/ 26371 w 52742"/>
                <a:gd name="connsiteY2" fmla="*/ 0 h 62450"/>
                <a:gd name="connsiteX3" fmla="*/ 0 w 52742"/>
                <a:gd name="connsiteY3" fmla="*/ 31225 h 62450"/>
                <a:gd name="connsiteX4" fmla="*/ 26371 w 52742"/>
                <a:gd name="connsiteY4" fmla="*/ 62451 h 62450"/>
                <a:gd name="connsiteX5" fmla="*/ 26371 w 52742"/>
                <a:gd name="connsiteY5" fmla="*/ 26162 h 62450"/>
                <a:gd name="connsiteX6" fmla="*/ 30972 w 52742"/>
                <a:gd name="connsiteY6" fmla="*/ 31225 h 62450"/>
                <a:gd name="connsiteX7" fmla="*/ 26371 w 52742"/>
                <a:gd name="connsiteY7" fmla="*/ 36289 h 62450"/>
                <a:gd name="connsiteX8" fmla="*/ 21770 w 52742"/>
                <a:gd name="connsiteY8" fmla="*/ 31225 h 62450"/>
                <a:gd name="connsiteX9" fmla="*/ 26371 w 52742"/>
                <a:gd name="connsiteY9" fmla="*/ 26162 h 62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742" h="62450">
                  <a:moveTo>
                    <a:pt x="26371" y="62451"/>
                  </a:moveTo>
                  <a:cubicBezTo>
                    <a:pt x="30264" y="48735"/>
                    <a:pt x="39872" y="37359"/>
                    <a:pt x="52742" y="31225"/>
                  </a:cubicBezTo>
                  <a:cubicBezTo>
                    <a:pt x="39872" y="25092"/>
                    <a:pt x="30264" y="13716"/>
                    <a:pt x="26371" y="0"/>
                  </a:cubicBezTo>
                  <a:cubicBezTo>
                    <a:pt x="22478" y="13716"/>
                    <a:pt x="12871" y="25092"/>
                    <a:pt x="0" y="31225"/>
                  </a:cubicBezTo>
                  <a:cubicBezTo>
                    <a:pt x="12871" y="37359"/>
                    <a:pt x="22479" y="48735"/>
                    <a:pt x="26371" y="62451"/>
                  </a:cubicBezTo>
                  <a:close/>
                  <a:moveTo>
                    <a:pt x="26371" y="26162"/>
                  </a:moveTo>
                  <a:cubicBezTo>
                    <a:pt x="27809" y="27934"/>
                    <a:pt x="29346" y="29625"/>
                    <a:pt x="30972" y="31225"/>
                  </a:cubicBezTo>
                  <a:cubicBezTo>
                    <a:pt x="29346" y="32826"/>
                    <a:pt x="27809" y="34517"/>
                    <a:pt x="26371" y="36289"/>
                  </a:cubicBezTo>
                  <a:cubicBezTo>
                    <a:pt x="24933" y="34517"/>
                    <a:pt x="23397" y="32826"/>
                    <a:pt x="21770" y="31225"/>
                  </a:cubicBezTo>
                  <a:cubicBezTo>
                    <a:pt x="23397" y="29625"/>
                    <a:pt x="24933" y="27934"/>
                    <a:pt x="26371" y="26162"/>
                  </a:cubicBezTo>
                  <a:close/>
                </a:path>
              </a:pathLst>
            </a:custGeom>
            <a:solidFill>
              <a:schemeClr val="lt1"/>
            </a:solidFill>
            <a:ln w="8202" cap="flat">
              <a:solidFill>
                <a:schemeClr val="accent5"/>
              </a:solidFill>
              <a:prstDash val="solid"/>
              <a:miter/>
            </a:ln>
          </p:spPr>
          <p:txBody>
            <a:bodyPr rtlCol="0" anchor="ctr"/>
            <a:lstStyle/>
            <a:p>
              <a:endParaRPr lang="en-GB"/>
            </a:p>
          </p:txBody>
        </p:sp>
        <p:sp>
          <p:nvSpPr>
            <p:cNvPr id="151" name="Frihandsfigur: Form 150">
              <a:extLst>
                <a:ext uri="{FF2B5EF4-FFF2-40B4-BE49-F238E27FC236}">
                  <a16:creationId xmlns:a16="http://schemas.microsoft.com/office/drawing/2014/main" id="{36308BEA-F035-05D3-B877-B20A54DCFEF9}"/>
                </a:ext>
              </a:extLst>
            </p:cNvPr>
            <p:cNvSpPr/>
            <p:nvPr/>
          </p:nvSpPr>
          <p:spPr>
            <a:xfrm>
              <a:off x="15681142" y="7028451"/>
              <a:ext cx="474627" cy="437156"/>
            </a:xfrm>
            <a:custGeom>
              <a:avLst/>
              <a:gdLst>
                <a:gd name="connsiteX0" fmla="*/ 467897 w 474627"/>
                <a:gd name="connsiteY0" fmla="*/ 67371 h 437156"/>
                <a:gd name="connsiteX1" fmla="*/ 468370 w 474627"/>
                <a:gd name="connsiteY1" fmla="*/ 66268 h 437156"/>
                <a:gd name="connsiteX2" fmla="*/ 468370 w 474627"/>
                <a:gd name="connsiteY2" fmla="*/ 46809 h 437156"/>
                <a:gd name="connsiteX3" fmla="*/ 462208 w 474627"/>
                <a:gd name="connsiteY3" fmla="*/ 31405 h 437156"/>
                <a:gd name="connsiteX4" fmla="*/ 415821 w 474627"/>
                <a:gd name="connsiteY4" fmla="*/ 0 h 437156"/>
                <a:gd name="connsiteX5" fmla="*/ 58805 w 474627"/>
                <a:gd name="connsiteY5" fmla="*/ 0 h 437156"/>
                <a:gd name="connsiteX6" fmla="*/ 12418 w 474627"/>
                <a:gd name="connsiteY6" fmla="*/ 31405 h 437156"/>
                <a:gd name="connsiteX7" fmla="*/ 6233 w 474627"/>
                <a:gd name="connsiteY7" fmla="*/ 46868 h 437156"/>
                <a:gd name="connsiteX8" fmla="*/ 6233 w 474627"/>
                <a:gd name="connsiteY8" fmla="*/ 63762 h 437156"/>
                <a:gd name="connsiteX9" fmla="*/ 7780 w 474627"/>
                <a:gd name="connsiteY9" fmla="*/ 67371 h 437156"/>
                <a:gd name="connsiteX10" fmla="*/ 43608 w 474627"/>
                <a:gd name="connsiteY10" fmla="*/ 150968 h 437156"/>
                <a:gd name="connsiteX11" fmla="*/ 0 w 474627"/>
                <a:gd name="connsiteY11" fmla="*/ 235801 h 437156"/>
                <a:gd name="connsiteX12" fmla="*/ 0 w 474627"/>
                <a:gd name="connsiteY12" fmla="*/ 437157 h 437156"/>
                <a:gd name="connsiteX13" fmla="*/ 474627 w 474627"/>
                <a:gd name="connsiteY13" fmla="*/ 437157 h 437156"/>
                <a:gd name="connsiteX14" fmla="*/ 474627 w 474627"/>
                <a:gd name="connsiteY14" fmla="*/ 235801 h 437156"/>
                <a:gd name="connsiteX15" fmla="*/ 431582 w 474627"/>
                <a:gd name="connsiteY15" fmla="*/ 152106 h 437156"/>
                <a:gd name="connsiteX16" fmla="*/ 24014 w 474627"/>
                <a:gd name="connsiteY16" fmla="*/ 36044 h 437156"/>
                <a:gd name="connsiteX17" fmla="*/ 58805 w 474627"/>
                <a:gd name="connsiteY17" fmla="*/ 12490 h 437156"/>
                <a:gd name="connsiteX18" fmla="*/ 415821 w 474627"/>
                <a:gd name="connsiteY18" fmla="*/ 12490 h 437156"/>
                <a:gd name="connsiteX19" fmla="*/ 450612 w 474627"/>
                <a:gd name="connsiteY19" fmla="*/ 36044 h 437156"/>
                <a:gd name="connsiteX20" fmla="*/ 456178 w 474627"/>
                <a:gd name="connsiteY20" fmla="*/ 49961 h 437156"/>
                <a:gd name="connsiteX21" fmla="*/ 18448 w 474627"/>
                <a:gd name="connsiteY21" fmla="*/ 49961 h 437156"/>
                <a:gd name="connsiteX22" fmla="*/ 19259 w 474627"/>
                <a:gd name="connsiteY22" fmla="*/ 62452 h 437156"/>
                <a:gd name="connsiteX23" fmla="*/ 456416 w 474627"/>
                <a:gd name="connsiteY23" fmla="*/ 62452 h 437156"/>
                <a:gd name="connsiteX24" fmla="*/ 418945 w 474627"/>
                <a:gd name="connsiteY24" fmla="*/ 149883 h 437156"/>
                <a:gd name="connsiteX25" fmla="*/ 346521 w 474627"/>
                <a:gd name="connsiteY25" fmla="*/ 149883 h 437156"/>
                <a:gd name="connsiteX26" fmla="*/ 319724 w 474627"/>
                <a:gd name="connsiteY26" fmla="*/ 138586 h 437156"/>
                <a:gd name="connsiteX27" fmla="*/ 280232 w 474627"/>
                <a:gd name="connsiteY27" fmla="*/ 134641 h 437156"/>
                <a:gd name="connsiteX28" fmla="*/ 240076 w 474627"/>
                <a:gd name="connsiteY28" fmla="*/ 132918 h 437156"/>
                <a:gd name="connsiteX29" fmla="*/ 224718 w 474627"/>
                <a:gd name="connsiteY29" fmla="*/ 136031 h 437156"/>
                <a:gd name="connsiteX30" fmla="*/ 218954 w 474627"/>
                <a:gd name="connsiteY30" fmla="*/ 125853 h 437156"/>
                <a:gd name="connsiteX31" fmla="*/ 167581 w 474627"/>
                <a:gd name="connsiteY31" fmla="*/ 131547 h 437156"/>
                <a:gd name="connsiteX32" fmla="*/ 140282 w 474627"/>
                <a:gd name="connsiteY32" fmla="*/ 152776 h 437156"/>
                <a:gd name="connsiteX33" fmla="*/ 96078 w 474627"/>
                <a:gd name="connsiteY33" fmla="*/ 149883 h 437156"/>
                <a:gd name="connsiteX34" fmla="*/ 56730 w 474627"/>
                <a:gd name="connsiteY34" fmla="*/ 149883 h 437156"/>
                <a:gd name="connsiteX35" fmla="*/ 386914 w 474627"/>
                <a:gd name="connsiteY35" fmla="*/ 195259 h 437156"/>
                <a:gd name="connsiteX36" fmla="*/ 423016 w 474627"/>
                <a:gd name="connsiteY36" fmla="*/ 201811 h 437156"/>
                <a:gd name="connsiteX37" fmla="*/ 386902 w 474627"/>
                <a:gd name="connsiteY37" fmla="*/ 215696 h 437156"/>
                <a:gd name="connsiteX38" fmla="*/ 376283 w 474627"/>
                <a:gd name="connsiteY38" fmla="*/ 216305 h 437156"/>
                <a:gd name="connsiteX39" fmla="*/ 386914 w 474627"/>
                <a:gd name="connsiteY39" fmla="*/ 195259 h 437156"/>
                <a:gd name="connsiteX40" fmla="*/ 424423 w 474627"/>
                <a:gd name="connsiteY40" fmla="*/ 215722 h 437156"/>
                <a:gd name="connsiteX41" fmla="*/ 424724 w 474627"/>
                <a:gd name="connsiteY41" fmla="*/ 218692 h 437156"/>
                <a:gd name="connsiteX42" fmla="*/ 399239 w 474627"/>
                <a:gd name="connsiteY42" fmla="*/ 231068 h 437156"/>
                <a:gd name="connsiteX43" fmla="*/ 356995 w 474627"/>
                <a:gd name="connsiteY43" fmla="*/ 231068 h 437156"/>
                <a:gd name="connsiteX44" fmla="*/ 356211 w 474627"/>
                <a:gd name="connsiteY44" fmla="*/ 230845 h 437156"/>
                <a:gd name="connsiteX45" fmla="*/ 363753 w 474627"/>
                <a:gd name="connsiteY45" fmla="*/ 226105 h 437156"/>
                <a:gd name="connsiteX46" fmla="*/ 387927 w 474627"/>
                <a:gd name="connsiteY46" fmla="*/ 225825 h 437156"/>
                <a:gd name="connsiteX47" fmla="*/ 424423 w 474627"/>
                <a:gd name="connsiteY47" fmla="*/ 215722 h 437156"/>
                <a:gd name="connsiteX48" fmla="*/ 349103 w 474627"/>
                <a:gd name="connsiteY48" fmla="*/ 223196 h 437156"/>
                <a:gd name="connsiteX49" fmla="*/ 332415 w 474627"/>
                <a:gd name="connsiteY49" fmla="*/ 231068 h 437156"/>
                <a:gd name="connsiteX50" fmla="*/ 310663 w 474627"/>
                <a:gd name="connsiteY50" fmla="*/ 231068 h 437156"/>
                <a:gd name="connsiteX51" fmla="*/ 310135 w 474627"/>
                <a:gd name="connsiteY51" fmla="*/ 230134 h 437156"/>
                <a:gd name="connsiteX52" fmla="*/ 345759 w 474627"/>
                <a:gd name="connsiteY52" fmla="*/ 217291 h 437156"/>
                <a:gd name="connsiteX53" fmla="*/ 375098 w 474627"/>
                <a:gd name="connsiteY53" fmla="*/ 193347 h 437156"/>
                <a:gd name="connsiteX54" fmla="*/ 376569 w 474627"/>
                <a:gd name="connsiteY54" fmla="*/ 195944 h 437156"/>
                <a:gd name="connsiteX55" fmla="*/ 349103 w 474627"/>
                <a:gd name="connsiteY55" fmla="*/ 223196 h 437156"/>
                <a:gd name="connsiteX56" fmla="*/ 121715 w 474627"/>
                <a:gd name="connsiteY56" fmla="*/ 228406 h 437156"/>
                <a:gd name="connsiteX57" fmla="*/ 110553 w 474627"/>
                <a:gd name="connsiteY57" fmla="*/ 231068 h 437156"/>
                <a:gd name="connsiteX58" fmla="*/ 68315 w 474627"/>
                <a:gd name="connsiteY58" fmla="*/ 231068 h 437156"/>
                <a:gd name="connsiteX59" fmla="*/ 61878 w 474627"/>
                <a:gd name="connsiteY59" fmla="*/ 226206 h 437156"/>
                <a:gd name="connsiteX60" fmla="*/ 61577 w 474627"/>
                <a:gd name="connsiteY60" fmla="*/ 223236 h 437156"/>
                <a:gd name="connsiteX61" fmla="*/ 99358 w 474627"/>
                <a:gd name="connsiteY61" fmla="*/ 225825 h 437156"/>
                <a:gd name="connsiteX62" fmla="*/ 122404 w 474627"/>
                <a:gd name="connsiteY62" fmla="*/ 221507 h 437156"/>
                <a:gd name="connsiteX63" fmla="*/ 121715 w 474627"/>
                <a:gd name="connsiteY63" fmla="*/ 228406 h 437156"/>
                <a:gd name="connsiteX64" fmla="*/ 98333 w 474627"/>
                <a:gd name="connsiteY64" fmla="*/ 215696 h 437156"/>
                <a:gd name="connsiteX65" fmla="*/ 60170 w 474627"/>
                <a:gd name="connsiteY65" fmla="*/ 209325 h 437156"/>
                <a:gd name="connsiteX66" fmla="*/ 96284 w 474627"/>
                <a:gd name="connsiteY66" fmla="*/ 195439 h 437156"/>
                <a:gd name="connsiteX67" fmla="*/ 97548 w 474627"/>
                <a:gd name="connsiteY67" fmla="*/ 195337 h 437156"/>
                <a:gd name="connsiteX68" fmla="*/ 122748 w 474627"/>
                <a:gd name="connsiteY68" fmla="*/ 207767 h 437156"/>
                <a:gd name="connsiteX69" fmla="*/ 126605 w 474627"/>
                <a:gd name="connsiteY69" fmla="*/ 209117 h 437156"/>
                <a:gd name="connsiteX70" fmla="*/ 98333 w 474627"/>
                <a:gd name="connsiteY70" fmla="*/ 215696 h 437156"/>
                <a:gd name="connsiteX71" fmla="*/ 126250 w 474627"/>
                <a:gd name="connsiteY71" fmla="*/ 198208 h 437156"/>
                <a:gd name="connsiteX72" fmla="*/ 94702 w 474627"/>
                <a:gd name="connsiteY72" fmla="*/ 175807 h 437156"/>
                <a:gd name="connsiteX73" fmla="*/ 95730 w 474627"/>
                <a:gd name="connsiteY73" fmla="*/ 173005 h 437156"/>
                <a:gd name="connsiteX74" fmla="*/ 128585 w 474627"/>
                <a:gd name="connsiteY74" fmla="*/ 191835 h 437156"/>
                <a:gd name="connsiteX75" fmla="*/ 146210 w 474627"/>
                <a:gd name="connsiteY75" fmla="*/ 197032 h 437156"/>
                <a:gd name="connsiteX76" fmla="*/ 138997 w 474627"/>
                <a:gd name="connsiteY76" fmla="*/ 202136 h 437156"/>
                <a:gd name="connsiteX77" fmla="*/ 126250 w 474627"/>
                <a:gd name="connsiteY77" fmla="*/ 198208 h 437156"/>
                <a:gd name="connsiteX78" fmla="*/ 136274 w 474627"/>
                <a:gd name="connsiteY78" fmla="*/ 172674 h 437156"/>
                <a:gd name="connsiteX79" fmla="*/ 143795 w 474627"/>
                <a:gd name="connsiteY79" fmla="*/ 185955 h 437156"/>
                <a:gd name="connsiteX80" fmla="*/ 132087 w 474627"/>
                <a:gd name="connsiteY80" fmla="*/ 182276 h 437156"/>
                <a:gd name="connsiteX81" fmla="*/ 100540 w 474627"/>
                <a:gd name="connsiteY81" fmla="*/ 159876 h 437156"/>
                <a:gd name="connsiteX82" fmla="*/ 135225 w 474627"/>
                <a:gd name="connsiteY82" fmla="*/ 161810 h 437156"/>
                <a:gd name="connsiteX83" fmla="*/ 136274 w 474627"/>
                <a:gd name="connsiteY83" fmla="*/ 172674 h 437156"/>
                <a:gd name="connsiteX84" fmla="*/ 208602 w 474627"/>
                <a:gd name="connsiteY84" fmla="*/ 175299 h 437156"/>
                <a:gd name="connsiteX85" fmla="*/ 208166 w 474627"/>
                <a:gd name="connsiteY85" fmla="*/ 172346 h 437156"/>
                <a:gd name="connsiteX86" fmla="*/ 246025 w 474627"/>
                <a:gd name="connsiteY86" fmla="*/ 173203 h 437156"/>
                <a:gd name="connsiteX87" fmla="*/ 282022 w 474627"/>
                <a:gd name="connsiteY87" fmla="*/ 161440 h 437156"/>
                <a:gd name="connsiteX88" fmla="*/ 282457 w 474627"/>
                <a:gd name="connsiteY88" fmla="*/ 164393 h 437156"/>
                <a:gd name="connsiteX89" fmla="*/ 247017 w 474627"/>
                <a:gd name="connsiteY89" fmla="*/ 179917 h 437156"/>
                <a:gd name="connsiteX90" fmla="*/ 208602 w 474627"/>
                <a:gd name="connsiteY90" fmla="*/ 175299 h 437156"/>
                <a:gd name="connsiteX91" fmla="*/ 247590 w 474627"/>
                <a:gd name="connsiteY91" fmla="*/ 205209 h 437156"/>
                <a:gd name="connsiteX92" fmla="*/ 209269 w 474627"/>
                <a:gd name="connsiteY92" fmla="*/ 210546 h 437156"/>
                <a:gd name="connsiteX93" fmla="*/ 173543 w 474627"/>
                <a:gd name="connsiteY93" fmla="*/ 195690 h 437156"/>
                <a:gd name="connsiteX94" fmla="*/ 211865 w 474627"/>
                <a:gd name="connsiteY94" fmla="*/ 190352 h 437156"/>
                <a:gd name="connsiteX95" fmla="*/ 247590 w 474627"/>
                <a:gd name="connsiteY95" fmla="*/ 205209 h 437156"/>
                <a:gd name="connsiteX96" fmla="*/ 244539 w 474627"/>
                <a:gd name="connsiteY96" fmla="*/ 163132 h 437156"/>
                <a:gd name="connsiteX97" fmla="*/ 206124 w 474627"/>
                <a:gd name="connsiteY97" fmla="*/ 158514 h 437156"/>
                <a:gd name="connsiteX98" fmla="*/ 241564 w 474627"/>
                <a:gd name="connsiteY98" fmla="*/ 142989 h 437156"/>
                <a:gd name="connsiteX99" fmla="*/ 279979 w 474627"/>
                <a:gd name="connsiteY99" fmla="*/ 147607 h 437156"/>
                <a:gd name="connsiteX100" fmla="*/ 244539 w 474627"/>
                <a:gd name="connsiteY100" fmla="*/ 163132 h 437156"/>
                <a:gd name="connsiteX101" fmla="*/ 182630 w 474627"/>
                <a:gd name="connsiteY101" fmla="*/ 158122 h 437156"/>
                <a:gd name="connsiteX102" fmla="*/ 145132 w 474627"/>
                <a:gd name="connsiteY102" fmla="*/ 167657 h 437156"/>
                <a:gd name="connsiteX103" fmla="*/ 172598 w 474627"/>
                <a:gd name="connsiteY103" fmla="*/ 140405 h 437156"/>
                <a:gd name="connsiteX104" fmla="*/ 210096 w 474627"/>
                <a:gd name="connsiteY104" fmla="*/ 130870 h 437156"/>
                <a:gd name="connsiteX105" fmla="*/ 182630 w 474627"/>
                <a:gd name="connsiteY105" fmla="*/ 158122 h 437156"/>
                <a:gd name="connsiteX106" fmla="*/ 159579 w 474627"/>
                <a:gd name="connsiteY106" fmla="*/ 200804 h 437156"/>
                <a:gd name="connsiteX107" fmla="*/ 162844 w 474627"/>
                <a:gd name="connsiteY107" fmla="*/ 199076 h 437156"/>
                <a:gd name="connsiteX108" fmla="*/ 161283 w 474627"/>
                <a:gd name="connsiteY108" fmla="*/ 211221 h 437156"/>
                <a:gd name="connsiteX109" fmla="*/ 164196 w 474627"/>
                <a:gd name="connsiteY109" fmla="*/ 221394 h 437156"/>
                <a:gd name="connsiteX110" fmla="*/ 132114 w 474627"/>
                <a:gd name="connsiteY110" fmla="*/ 228056 h 437156"/>
                <a:gd name="connsiteX111" fmla="*/ 159579 w 474627"/>
                <a:gd name="connsiteY111" fmla="*/ 200804 h 437156"/>
                <a:gd name="connsiteX112" fmla="*/ 153493 w 474627"/>
                <a:gd name="connsiteY112" fmla="*/ 182422 h 437156"/>
                <a:gd name="connsiteX113" fmla="*/ 152022 w 474627"/>
                <a:gd name="connsiteY113" fmla="*/ 179825 h 437156"/>
                <a:gd name="connsiteX114" fmla="*/ 187647 w 474627"/>
                <a:gd name="connsiteY114" fmla="*/ 166981 h 437156"/>
                <a:gd name="connsiteX115" fmla="*/ 196299 w 474627"/>
                <a:gd name="connsiteY115" fmla="*/ 161672 h 437156"/>
                <a:gd name="connsiteX116" fmla="*/ 197374 w 474627"/>
                <a:gd name="connsiteY116" fmla="*/ 168952 h 437156"/>
                <a:gd name="connsiteX117" fmla="*/ 190991 w 474627"/>
                <a:gd name="connsiteY117" fmla="*/ 172887 h 437156"/>
                <a:gd name="connsiteX118" fmla="*/ 153493 w 474627"/>
                <a:gd name="connsiteY118" fmla="*/ 182422 h 437156"/>
                <a:gd name="connsiteX119" fmla="*/ 171760 w 474627"/>
                <a:gd name="connsiteY119" fmla="*/ 209558 h 437156"/>
                <a:gd name="connsiteX120" fmla="*/ 207970 w 474627"/>
                <a:gd name="connsiteY120" fmla="*/ 220644 h 437156"/>
                <a:gd name="connsiteX121" fmla="*/ 245807 w 474627"/>
                <a:gd name="connsiteY121" fmla="*/ 219077 h 437156"/>
                <a:gd name="connsiteX122" fmla="*/ 245427 w 474627"/>
                <a:gd name="connsiteY122" fmla="*/ 222037 h 437156"/>
                <a:gd name="connsiteX123" fmla="*/ 207105 w 474627"/>
                <a:gd name="connsiteY123" fmla="*/ 227376 h 437156"/>
                <a:gd name="connsiteX124" fmla="*/ 171380 w 474627"/>
                <a:gd name="connsiteY124" fmla="*/ 212519 h 437156"/>
                <a:gd name="connsiteX125" fmla="*/ 206087 w 474627"/>
                <a:gd name="connsiteY125" fmla="*/ 243559 h 437156"/>
                <a:gd name="connsiteX126" fmla="*/ 268538 w 474627"/>
                <a:gd name="connsiteY126" fmla="*/ 243559 h 437156"/>
                <a:gd name="connsiteX127" fmla="*/ 268538 w 474627"/>
                <a:gd name="connsiteY127" fmla="*/ 306010 h 437156"/>
                <a:gd name="connsiteX128" fmla="*/ 237313 w 474627"/>
                <a:gd name="connsiteY128" fmla="*/ 337235 h 437156"/>
                <a:gd name="connsiteX129" fmla="*/ 206087 w 474627"/>
                <a:gd name="connsiteY129" fmla="*/ 306010 h 437156"/>
                <a:gd name="connsiteX130" fmla="*/ 265948 w 474627"/>
                <a:gd name="connsiteY130" fmla="*/ 223231 h 437156"/>
                <a:gd name="connsiteX131" fmla="*/ 255758 w 474627"/>
                <a:gd name="connsiteY131" fmla="*/ 221517 h 437156"/>
                <a:gd name="connsiteX132" fmla="*/ 256622 w 474627"/>
                <a:gd name="connsiteY132" fmla="*/ 214801 h 437156"/>
                <a:gd name="connsiteX133" fmla="*/ 266814 w 474627"/>
                <a:gd name="connsiteY133" fmla="*/ 216500 h 437156"/>
                <a:gd name="connsiteX134" fmla="*/ 304650 w 474627"/>
                <a:gd name="connsiteY134" fmla="*/ 214933 h 437156"/>
                <a:gd name="connsiteX135" fmla="*/ 304269 w 474627"/>
                <a:gd name="connsiteY135" fmla="*/ 217893 h 437156"/>
                <a:gd name="connsiteX136" fmla="*/ 265948 w 474627"/>
                <a:gd name="connsiteY136" fmla="*/ 223231 h 437156"/>
                <a:gd name="connsiteX137" fmla="*/ 268111 w 474627"/>
                <a:gd name="connsiteY137" fmla="*/ 206403 h 437156"/>
                <a:gd name="connsiteX138" fmla="*/ 257711 w 474627"/>
                <a:gd name="connsiteY138" fmla="*/ 204635 h 437156"/>
                <a:gd name="connsiteX139" fmla="*/ 247419 w 474627"/>
                <a:gd name="connsiteY139" fmla="*/ 190138 h 437156"/>
                <a:gd name="connsiteX140" fmla="*/ 248505 w 474627"/>
                <a:gd name="connsiteY140" fmla="*/ 189988 h 437156"/>
                <a:gd name="connsiteX141" fmla="*/ 267523 w 474627"/>
                <a:gd name="connsiteY141" fmla="*/ 185843 h 437156"/>
                <a:gd name="connsiteX142" fmla="*/ 270707 w 474627"/>
                <a:gd name="connsiteY142" fmla="*/ 186208 h 437156"/>
                <a:gd name="connsiteX143" fmla="*/ 306433 w 474627"/>
                <a:gd name="connsiteY143" fmla="*/ 201065 h 437156"/>
                <a:gd name="connsiteX144" fmla="*/ 268111 w 474627"/>
                <a:gd name="connsiteY144" fmla="*/ 206403 h 437156"/>
                <a:gd name="connsiteX145" fmla="*/ 306334 w 474627"/>
                <a:gd name="connsiteY145" fmla="*/ 184168 h 437156"/>
                <a:gd name="connsiteX146" fmla="*/ 286657 w 474627"/>
                <a:gd name="connsiteY146" fmla="*/ 176533 h 437156"/>
                <a:gd name="connsiteX147" fmla="*/ 290975 w 474627"/>
                <a:gd name="connsiteY147" fmla="*/ 171343 h 437156"/>
                <a:gd name="connsiteX148" fmla="*/ 308247 w 474627"/>
                <a:gd name="connsiteY148" fmla="*/ 177657 h 437156"/>
                <a:gd name="connsiteX149" fmla="*/ 345859 w 474627"/>
                <a:gd name="connsiteY149" fmla="*/ 182058 h 437156"/>
                <a:gd name="connsiteX150" fmla="*/ 345018 w 474627"/>
                <a:gd name="connsiteY150" fmla="*/ 184921 h 437156"/>
                <a:gd name="connsiteX151" fmla="*/ 306334 w 474627"/>
                <a:gd name="connsiteY151" fmla="*/ 184168 h 437156"/>
                <a:gd name="connsiteX152" fmla="*/ 289423 w 474627"/>
                <a:gd name="connsiteY152" fmla="*/ 143779 h 437156"/>
                <a:gd name="connsiteX153" fmla="*/ 316855 w 474627"/>
                <a:gd name="connsiteY153" fmla="*/ 148353 h 437156"/>
                <a:gd name="connsiteX154" fmla="*/ 349800 w 474627"/>
                <a:gd name="connsiteY154" fmla="*/ 168642 h 437156"/>
                <a:gd name="connsiteX155" fmla="*/ 311116 w 474627"/>
                <a:gd name="connsiteY155" fmla="*/ 167889 h 437156"/>
                <a:gd name="connsiteX156" fmla="*/ 292190 w 474627"/>
                <a:gd name="connsiteY156" fmla="*/ 160608 h 437156"/>
                <a:gd name="connsiteX157" fmla="*/ 290050 w 474627"/>
                <a:gd name="connsiteY157" fmla="*/ 146121 h 437156"/>
                <a:gd name="connsiteX158" fmla="*/ 289423 w 474627"/>
                <a:gd name="connsiteY158" fmla="*/ 143778 h 437156"/>
                <a:gd name="connsiteX159" fmla="*/ 340743 w 474627"/>
                <a:gd name="connsiteY159" fmla="*/ 208432 h 437156"/>
                <a:gd name="connsiteX160" fmla="*/ 314345 w 474627"/>
                <a:gd name="connsiteY160" fmla="*/ 219281 h 437156"/>
                <a:gd name="connsiteX161" fmla="*/ 314367 w 474627"/>
                <a:gd name="connsiteY161" fmla="*/ 219191 h 437156"/>
                <a:gd name="connsiteX162" fmla="*/ 316530 w 474627"/>
                <a:gd name="connsiteY162" fmla="*/ 202363 h 437156"/>
                <a:gd name="connsiteX163" fmla="*/ 316561 w 474627"/>
                <a:gd name="connsiteY163" fmla="*/ 200010 h 437156"/>
                <a:gd name="connsiteX164" fmla="*/ 319669 w 474627"/>
                <a:gd name="connsiteY164" fmla="*/ 197715 h 437156"/>
                <a:gd name="connsiteX165" fmla="*/ 354786 w 474627"/>
                <a:gd name="connsiteY165" fmla="*/ 187791 h 437156"/>
                <a:gd name="connsiteX166" fmla="*/ 357100 w 474627"/>
                <a:gd name="connsiteY166" fmla="*/ 179914 h 437156"/>
                <a:gd name="connsiteX167" fmla="*/ 368208 w 474627"/>
                <a:gd name="connsiteY167" fmla="*/ 181180 h 437156"/>
                <a:gd name="connsiteX168" fmla="*/ 340743 w 474627"/>
                <a:gd name="connsiteY168" fmla="*/ 208432 h 437156"/>
                <a:gd name="connsiteX169" fmla="*/ 51785 w 474627"/>
                <a:gd name="connsiteY169" fmla="*/ 162373 h 437156"/>
                <a:gd name="connsiteX170" fmla="*/ 88783 w 474627"/>
                <a:gd name="connsiteY170" fmla="*/ 162373 h 437156"/>
                <a:gd name="connsiteX171" fmla="*/ 85144 w 474627"/>
                <a:gd name="connsiteY171" fmla="*/ 172305 h 437156"/>
                <a:gd name="connsiteX172" fmla="*/ 87730 w 474627"/>
                <a:gd name="connsiteY172" fmla="*/ 186269 h 437156"/>
                <a:gd name="connsiteX173" fmla="*/ 50041 w 474627"/>
                <a:gd name="connsiteY173" fmla="*/ 210350 h 437156"/>
                <a:gd name="connsiteX174" fmla="*/ 51749 w 474627"/>
                <a:gd name="connsiteY174" fmla="*/ 227231 h 437156"/>
                <a:gd name="connsiteX175" fmla="*/ 52777 w 474627"/>
                <a:gd name="connsiteY175" fmla="*/ 231068 h 437156"/>
                <a:gd name="connsiteX176" fmla="*/ 16477 w 474627"/>
                <a:gd name="connsiteY176" fmla="*/ 231068 h 437156"/>
                <a:gd name="connsiteX177" fmla="*/ 12490 w 474627"/>
                <a:gd name="connsiteY177" fmla="*/ 424666 h 437156"/>
                <a:gd name="connsiteX178" fmla="*/ 12490 w 474627"/>
                <a:gd name="connsiteY178" fmla="*/ 368777 h 437156"/>
                <a:gd name="connsiteX179" fmla="*/ 68379 w 474627"/>
                <a:gd name="connsiteY179" fmla="*/ 424666 h 437156"/>
                <a:gd name="connsiteX180" fmla="*/ 462137 w 474627"/>
                <a:gd name="connsiteY180" fmla="*/ 424666 h 437156"/>
                <a:gd name="connsiteX181" fmla="*/ 406247 w 474627"/>
                <a:gd name="connsiteY181" fmla="*/ 424666 h 437156"/>
                <a:gd name="connsiteX182" fmla="*/ 462137 w 474627"/>
                <a:gd name="connsiteY182" fmla="*/ 368777 h 437156"/>
                <a:gd name="connsiteX183" fmla="*/ 462137 w 474627"/>
                <a:gd name="connsiteY183" fmla="*/ 356287 h 437156"/>
                <a:gd name="connsiteX184" fmla="*/ 393757 w 474627"/>
                <a:gd name="connsiteY184" fmla="*/ 424666 h 437156"/>
                <a:gd name="connsiteX185" fmla="*/ 80870 w 474627"/>
                <a:gd name="connsiteY185" fmla="*/ 424666 h 437156"/>
                <a:gd name="connsiteX186" fmla="*/ 12490 w 474627"/>
                <a:gd name="connsiteY186" fmla="*/ 356287 h 437156"/>
                <a:gd name="connsiteX187" fmla="*/ 12490 w 474627"/>
                <a:gd name="connsiteY187" fmla="*/ 243559 h 437156"/>
                <a:gd name="connsiteX188" fmla="*/ 193597 w 474627"/>
                <a:gd name="connsiteY188" fmla="*/ 243559 h 437156"/>
                <a:gd name="connsiteX189" fmla="*/ 193597 w 474627"/>
                <a:gd name="connsiteY189" fmla="*/ 306010 h 437156"/>
                <a:gd name="connsiteX190" fmla="*/ 237313 w 474627"/>
                <a:gd name="connsiteY190" fmla="*/ 349725 h 437156"/>
                <a:gd name="connsiteX191" fmla="*/ 281029 w 474627"/>
                <a:gd name="connsiteY191" fmla="*/ 306010 h 437156"/>
                <a:gd name="connsiteX192" fmla="*/ 281029 w 474627"/>
                <a:gd name="connsiteY192" fmla="*/ 243559 h 437156"/>
                <a:gd name="connsiteX193" fmla="*/ 462137 w 474627"/>
                <a:gd name="connsiteY193" fmla="*/ 243559 h 437156"/>
                <a:gd name="connsiteX194" fmla="*/ 458147 w 474627"/>
                <a:gd name="connsiteY194" fmla="*/ 231068 h 437156"/>
                <a:gd name="connsiteX195" fmla="*/ 428199 w 474627"/>
                <a:gd name="connsiteY195" fmla="*/ 231068 h 437156"/>
                <a:gd name="connsiteX196" fmla="*/ 434853 w 474627"/>
                <a:gd name="connsiteY196" fmla="*/ 217667 h 437156"/>
                <a:gd name="connsiteX197" fmla="*/ 433145 w 474627"/>
                <a:gd name="connsiteY197" fmla="*/ 200786 h 437156"/>
                <a:gd name="connsiteX198" fmla="*/ 383828 w 474627"/>
                <a:gd name="connsiteY198" fmla="*/ 185311 h 437156"/>
                <a:gd name="connsiteX199" fmla="*/ 382347 w 474627"/>
                <a:gd name="connsiteY199" fmla="*/ 185488 h 437156"/>
                <a:gd name="connsiteX200" fmla="*/ 377066 w 474627"/>
                <a:gd name="connsiteY200" fmla="*/ 176163 h 437156"/>
                <a:gd name="connsiteX201" fmla="*/ 359972 w 474627"/>
                <a:gd name="connsiteY201" fmla="*/ 169166 h 437156"/>
                <a:gd name="connsiteX202" fmla="*/ 358746 w 474627"/>
                <a:gd name="connsiteY202" fmla="*/ 162081 h 437156"/>
                <a:gd name="connsiteX203" fmla="*/ 359380 w 474627"/>
                <a:gd name="connsiteY203" fmla="*/ 162373 h 437156"/>
                <a:gd name="connsiteX204" fmla="*/ 422817 w 474627"/>
                <a:gd name="connsiteY204" fmla="*/ 162373 h 437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Lst>
              <a:rect l="l" t="t" r="r" b="b"/>
              <a:pathLst>
                <a:path w="474627" h="437156">
                  <a:moveTo>
                    <a:pt x="467897" y="67371"/>
                  </a:moveTo>
                  <a:lnTo>
                    <a:pt x="468370" y="66268"/>
                  </a:lnTo>
                  <a:lnTo>
                    <a:pt x="468370" y="46809"/>
                  </a:lnTo>
                  <a:lnTo>
                    <a:pt x="462208" y="31405"/>
                  </a:lnTo>
                  <a:cubicBezTo>
                    <a:pt x="454621" y="12438"/>
                    <a:pt x="436250" y="0"/>
                    <a:pt x="415821" y="0"/>
                  </a:cubicBezTo>
                  <a:lnTo>
                    <a:pt x="58805" y="0"/>
                  </a:lnTo>
                  <a:cubicBezTo>
                    <a:pt x="38376" y="0"/>
                    <a:pt x="20005" y="12438"/>
                    <a:pt x="12418" y="31405"/>
                  </a:cubicBezTo>
                  <a:lnTo>
                    <a:pt x="6233" y="46868"/>
                  </a:lnTo>
                  <a:lnTo>
                    <a:pt x="6233" y="63762"/>
                  </a:lnTo>
                  <a:lnTo>
                    <a:pt x="7780" y="67371"/>
                  </a:lnTo>
                  <a:lnTo>
                    <a:pt x="43608" y="150968"/>
                  </a:lnTo>
                  <a:lnTo>
                    <a:pt x="0" y="235801"/>
                  </a:lnTo>
                  <a:lnTo>
                    <a:pt x="0" y="437157"/>
                  </a:lnTo>
                  <a:lnTo>
                    <a:pt x="474627" y="437157"/>
                  </a:lnTo>
                  <a:lnTo>
                    <a:pt x="474627" y="235801"/>
                  </a:lnTo>
                  <a:lnTo>
                    <a:pt x="431582" y="152106"/>
                  </a:lnTo>
                  <a:close/>
                  <a:moveTo>
                    <a:pt x="24014" y="36044"/>
                  </a:moveTo>
                  <a:cubicBezTo>
                    <a:pt x="29664" y="21785"/>
                    <a:pt x="43468" y="12440"/>
                    <a:pt x="58805" y="12490"/>
                  </a:cubicBezTo>
                  <a:lnTo>
                    <a:pt x="415821" y="12490"/>
                  </a:lnTo>
                  <a:cubicBezTo>
                    <a:pt x="431158" y="12440"/>
                    <a:pt x="444962" y="21785"/>
                    <a:pt x="450612" y="36044"/>
                  </a:cubicBezTo>
                  <a:lnTo>
                    <a:pt x="456178" y="49961"/>
                  </a:lnTo>
                  <a:lnTo>
                    <a:pt x="18448" y="49961"/>
                  </a:lnTo>
                  <a:close/>
                  <a:moveTo>
                    <a:pt x="19259" y="62452"/>
                  </a:moveTo>
                  <a:lnTo>
                    <a:pt x="456416" y="62452"/>
                  </a:lnTo>
                  <a:lnTo>
                    <a:pt x="418945" y="149883"/>
                  </a:lnTo>
                  <a:lnTo>
                    <a:pt x="346521" y="149883"/>
                  </a:lnTo>
                  <a:cubicBezTo>
                    <a:pt x="338096" y="145012"/>
                    <a:pt x="329093" y="141216"/>
                    <a:pt x="319724" y="138586"/>
                  </a:cubicBezTo>
                  <a:cubicBezTo>
                    <a:pt x="310391" y="135844"/>
                    <a:pt x="292410" y="131554"/>
                    <a:pt x="280232" y="134641"/>
                  </a:cubicBezTo>
                  <a:cubicBezTo>
                    <a:pt x="268626" y="129663"/>
                    <a:pt x="249826" y="131479"/>
                    <a:pt x="240076" y="132918"/>
                  </a:cubicBezTo>
                  <a:cubicBezTo>
                    <a:pt x="234905" y="133680"/>
                    <a:pt x="229778" y="134719"/>
                    <a:pt x="224718" y="136031"/>
                  </a:cubicBezTo>
                  <a:lnTo>
                    <a:pt x="218954" y="125853"/>
                  </a:lnTo>
                  <a:cubicBezTo>
                    <a:pt x="209899" y="109862"/>
                    <a:pt x="180011" y="124508"/>
                    <a:pt x="167581" y="131547"/>
                  </a:cubicBezTo>
                  <a:cubicBezTo>
                    <a:pt x="157345" y="137027"/>
                    <a:pt x="148114" y="144205"/>
                    <a:pt x="140282" y="152776"/>
                  </a:cubicBezTo>
                  <a:cubicBezTo>
                    <a:pt x="128377" y="148623"/>
                    <a:pt x="106690" y="142693"/>
                    <a:pt x="96078" y="149883"/>
                  </a:cubicBezTo>
                  <a:lnTo>
                    <a:pt x="56730" y="149883"/>
                  </a:lnTo>
                  <a:close/>
                  <a:moveTo>
                    <a:pt x="386914" y="195259"/>
                  </a:moveTo>
                  <a:cubicBezTo>
                    <a:pt x="406491" y="193575"/>
                    <a:pt x="422469" y="196406"/>
                    <a:pt x="423016" y="201811"/>
                  </a:cubicBezTo>
                  <a:cubicBezTo>
                    <a:pt x="423582" y="207405"/>
                    <a:pt x="407413" y="213622"/>
                    <a:pt x="386902" y="215696"/>
                  </a:cubicBezTo>
                  <a:cubicBezTo>
                    <a:pt x="383205" y="216070"/>
                    <a:pt x="379677" y="216240"/>
                    <a:pt x="376283" y="216305"/>
                  </a:cubicBezTo>
                  <a:cubicBezTo>
                    <a:pt x="383153" y="209870"/>
                    <a:pt x="388186" y="202481"/>
                    <a:pt x="386914" y="195259"/>
                  </a:cubicBezTo>
                  <a:close/>
                  <a:moveTo>
                    <a:pt x="424423" y="215722"/>
                  </a:moveTo>
                  <a:lnTo>
                    <a:pt x="424724" y="218692"/>
                  </a:lnTo>
                  <a:cubicBezTo>
                    <a:pt x="425187" y="223273"/>
                    <a:pt x="414418" y="228269"/>
                    <a:pt x="399239" y="231068"/>
                  </a:cubicBezTo>
                  <a:lnTo>
                    <a:pt x="356995" y="231068"/>
                  </a:lnTo>
                  <a:cubicBezTo>
                    <a:pt x="356744" y="230991"/>
                    <a:pt x="356451" y="230926"/>
                    <a:pt x="356211" y="230845"/>
                  </a:cubicBezTo>
                  <a:cubicBezTo>
                    <a:pt x="358468" y="229522"/>
                    <a:pt x="361049" y="227918"/>
                    <a:pt x="363753" y="226105"/>
                  </a:cubicBezTo>
                  <a:cubicBezTo>
                    <a:pt x="371802" y="226772"/>
                    <a:pt x="379896" y="226679"/>
                    <a:pt x="387927" y="225825"/>
                  </a:cubicBezTo>
                  <a:cubicBezTo>
                    <a:pt x="400656" y="224991"/>
                    <a:pt x="413078" y="221552"/>
                    <a:pt x="424423" y="215722"/>
                  </a:cubicBezTo>
                  <a:close/>
                  <a:moveTo>
                    <a:pt x="349103" y="223196"/>
                  </a:moveTo>
                  <a:cubicBezTo>
                    <a:pt x="343750" y="226244"/>
                    <a:pt x="338171" y="228875"/>
                    <a:pt x="332415" y="231068"/>
                  </a:cubicBezTo>
                  <a:lnTo>
                    <a:pt x="310663" y="231068"/>
                  </a:lnTo>
                  <a:lnTo>
                    <a:pt x="310135" y="230134"/>
                  </a:lnTo>
                  <a:cubicBezTo>
                    <a:pt x="322763" y="228336"/>
                    <a:pt x="334888" y="223965"/>
                    <a:pt x="345759" y="217291"/>
                  </a:cubicBezTo>
                  <a:cubicBezTo>
                    <a:pt x="357075" y="211402"/>
                    <a:pt x="367060" y="203252"/>
                    <a:pt x="375098" y="193347"/>
                  </a:cubicBezTo>
                  <a:lnTo>
                    <a:pt x="376569" y="195944"/>
                  </a:lnTo>
                  <a:cubicBezTo>
                    <a:pt x="379339" y="200837"/>
                    <a:pt x="367042" y="213038"/>
                    <a:pt x="349103" y="223196"/>
                  </a:cubicBezTo>
                  <a:close/>
                  <a:moveTo>
                    <a:pt x="121715" y="228406"/>
                  </a:moveTo>
                  <a:cubicBezTo>
                    <a:pt x="118048" y="229505"/>
                    <a:pt x="114321" y="230394"/>
                    <a:pt x="110553" y="231068"/>
                  </a:cubicBezTo>
                  <a:lnTo>
                    <a:pt x="68315" y="231068"/>
                  </a:lnTo>
                  <a:cubicBezTo>
                    <a:pt x="64447" y="229868"/>
                    <a:pt x="62081" y="228218"/>
                    <a:pt x="61878" y="226206"/>
                  </a:cubicBezTo>
                  <a:lnTo>
                    <a:pt x="61577" y="223236"/>
                  </a:lnTo>
                  <a:cubicBezTo>
                    <a:pt x="73861" y="226676"/>
                    <a:pt x="86720" y="227557"/>
                    <a:pt x="99358" y="225825"/>
                  </a:cubicBezTo>
                  <a:cubicBezTo>
                    <a:pt x="107155" y="225082"/>
                    <a:pt x="114868" y="223637"/>
                    <a:pt x="122404" y="221507"/>
                  </a:cubicBezTo>
                  <a:cubicBezTo>
                    <a:pt x="121621" y="223717"/>
                    <a:pt x="121385" y="226084"/>
                    <a:pt x="121715" y="228406"/>
                  </a:cubicBezTo>
                  <a:close/>
                  <a:moveTo>
                    <a:pt x="98333" y="215696"/>
                  </a:moveTo>
                  <a:cubicBezTo>
                    <a:pt x="77823" y="217771"/>
                    <a:pt x="60736" y="214919"/>
                    <a:pt x="60170" y="209325"/>
                  </a:cubicBezTo>
                  <a:cubicBezTo>
                    <a:pt x="59604" y="203731"/>
                    <a:pt x="75773" y="197514"/>
                    <a:pt x="96284" y="195439"/>
                  </a:cubicBezTo>
                  <a:cubicBezTo>
                    <a:pt x="96713" y="195395"/>
                    <a:pt x="97122" y="195375"/>
                    <a:pt x="97548" y="195337"/>
                  </a:cubicBezTo>
                  <a:cubicBezTo>
                    <a:pt x="105430" y="200455"/>
                    <a:pt x="113889" y="204627"/>
                    <a:pt x="122748" y="207767"/>
                  </a:cubicBezTo>
                  <a:cubicBezTo>
                    <a:pt x="123902" y="208190"/>
                    <a:pt x="125204" y="208647"/>
                    <a:pt x="126605" y="209117"/>
                  </a:cubicBezTo>
                  <a:cubicBezTo>
                    <a:pt x="117560" y="212702"/>
                    <a:pt x="108031" y="214919"/>
                    <a:pt x="98333" y="215696"/>
                  </a:cubicBezTo>
                  <a:close/>
                  <a:moveTo>
                    <a:pt x="126250" y="198208"/>
                  </a:moveTo>
                  <a:cubicBezTo>
                    <a:pt x="106894" y="191115"/>
                    <a:pt x="92769" y="181087"/>
                    <a:pt x="94702" y="175807"/>
                  </a:cubicBezTo>
                  <a:lnTo>
                    <a:pt x="95730" y="173005"/>
                  </a:lnTo>
                  <a:cubicBezTo>
                    <a:pt x="105277" y="181464"/>
                    <a:pt x="116460" y="187873"/>
                    <a:pt x="128585" y="191835"/>
                  </a:cubicBezTo>
                  <a:cubicBezTo>
                    <a:pt x="134340" y="193950"/>
                    <a:pt x="140228" y="195686"/>
                    <a:pt x="146210" y="197032"/>
                  </a:cubicBezTo>
                  <a:cubicBezTo>
                    <a:pt x="143866" y="198567"/>
                    <a:pt x="141416" y="200290"/>
                    <a:pt x="138997" y="202136"/>
                  </a:cubicBezTo>
                  <a:cubicBezTo>
                    <a:pt x="134683" y="201049"/>
                    <a:pt x="130428" y="199737"/>
                    <a:pt x="126250" y="198208"/>
                  </a:cubicBezTo>
                  <a:close/>
                  <a:moveTo>
                    <a:pt x="136274" y="172674"/>
                  </a:moveTo>
                  <a:lnTo>
                    <a:pt x="143795" y="185955"/>
                  </a:lnTo>
                  <a:cubicBezTo>
                    <a:pt x="140059" y="184975"/>
                    <a:pt x="136126" y="183756"/>
                    <a:pt x="132087" y="182276"/>
                  </a:cubicBezTo>
                  <a:cubicBezTo>
                    <a:pt x="112730" y="175184"/>
                    <a:pt x="98606" y="165155"/>
                    <a:pt x="100540" y="159876"/>
                  </a:cubicBezTo>
                  <a:cubicBezTo>
                    <a:pt x="102344" y="154951"/>
                    <a:pt x="117486" y="155904"/>
                    <a:pt x="135225" y="161810"/>
                  </a:cubicBezTo>
                  <a:cubicBezTo>
                    <a:pt x="134022" y="165416"/>
                    <a:pt x="134403" y="169364"/>
                    <a:pt x="136274" y="172674"/>
                  </a:cubicBezTo>
                  <a:close/>
                  <a:moveTo>
                    <a:pt x="208602" y="175299"/>
                  </a:moveTo>
                  <a:lnTo>
                    <a:pt x="208166" y="172346"/>
                  </a:lnTo>
                  <a:cubicBezTo>
                    <a:pt x="220594" y="175220"/>
                    <a:pt x="233480" y="175512"/>
                    <a:pt x="246025" y="173203"/>
                  </a:cubicBezTo>
                  <a:cubicBezTo>
                    <a:pt x="258703" y="171787"/>
                    <a:pt x="270954" y="167783"/>
                    <a:pt x="282022" y="161440"/>
                  </a:cubicBezTo>
                  <a:lnTo>
                    <a:pt x="282457" y="164393"/>
                  </a:lnTo>
                  <a:cubicBezTo>
                    <a:pt x="283279" y="169955"/>
                    <a:pt x="267411" y="176905"/>
                    <a:pt x="247017" y="179917"/>
                  </a:cubicBezTo>
                  <a:cubicBezTo>
                    <a:pt x="226623" y="182929"/>
                    <a:pt x="209424" y="180861"/>
                    <a:pt x="208602" y="175299"/>
                  </a:cubicBezTo>
                  <a:close/>
                  <a:moveTo>
                    <a:pt x="247590" y="205209"/>
                  </a:moveTo>
                  <a:cubicBezTo>
                    <a:pt x="246874" y="210785"/>
                    <a:pt x="229716" y="213175"/>
                    <a:pt x="209269" y="210546"/>
                  </a:cubicBezTo>
                  <a:cubicBezTo>
                    <a:pt x="188821" y="207918"/>
                    <a:pt x="172826" y="201266"/>
                    <a:pt x="173543" y="195690"/>
                  </a:cubicBezTo>
                  <a:cubicBezTo>
                    <a:pt x="174259" y="190114"/>
                    <a:pt x="191417" y="187724"/>
                    <a:pt x="211865" y="190352"/>
                  </a:cubicBezTo>
                  <a:cubicBezTo>
                    <a:pt x="232313" y="192981"/>
                    <a:pt x="248307" y="199632"/>
                    <a:pt x="247590" y="205209"/>
                  </a:cubicBezTo>
                  <a:close/>
                  <a:moveTo>
                    <a:pt x="244539" y="163132"/>
                  </a:moveTo>
                  <a:cubicBezTo>
                    <a:pt x="224144" y="166143"/>
                    <a:pt x="206945" y="164075"/>
                    <a:pt x="206124" y="158514"/>
                  </a:cubicBezTo>
                  <a:cubicBezTo>
                    <a:pt x="205302" y="152952"/>
                    <a:pt x="221169" y="146001"/>
                    <a:pt x="241564" y="142989"/>
                  </a:cubicBezTo>
                  <a:cubicBezTo>
                    <a:pt x="261959" y="139978"/>
                    <a:pt x="279158" y="142045"/>
                    <a:pt x="279979" y="147607"/>
                  </a:cubicBezTo>
                  <a:cubicBezTo>
                    <a:pt x="280800" y="153170"/>
                    <a:pt x="264933" y="160120"/>
                    <a:pt x="244539" y="163132"/>
                  </a:cubicBezTo>
                  <a:close/>
                  <a:moveTo>
                    <a:pt x="182630" y="158122"/>
                  </a:moveTo>
                  <a:cubicBezTo>
                    <a:pt x="164692" y="168280"/>
                    <a:pt x="147903" y="172549"/>
                    <a:pt x="145132" y="167657"/>
                  </a:cubicBezTo>
                  <a:cubicBezTo>
                    <a:pt x="142361" y="162765"/>
                    <a:pt x="154659" y="150564"/>
                    <a:pt x="172598" y="140405"/>
                  </a:cubicBezTo>
                  <a:cubicBezTo>
                    <a:pt x="190537" y="130246"/>
                    <a:pt x="207325" y="125977"/>
                    <a:pt x="210096" y="130870"/>
                  </a:cubicBezTo>
                  <a:cubicBezTo>
                    <a:pt x="212866" y="135763"/>
                    <a:pt x="200569" y="147964"/>
                    <a:pt x="182630" y="158122"/>
                  </a:cubicBezTo>
                  <a:close/>
                  <a:moveTo>
                    <a:pt x="159579" y="200804"/>
                  </a:moveTo>
                  <a:cubicBezTo>
                    <a:pt x="160681" y="200179"/>
                    <a:pt x="161754" y="199654"/>
                    <a:pt x="162844" y="199076"/>
                  </a:cubicBezTo>
                  <a:lnTo>
                    <a:pt x="161283" y="211221"/>
                  </a:lnTo>
                  <a:cubicBezTo>
                    <a:pt x="160813" y="214869"/>
                    <a:pt x="161867" y="218548"/>
                    <a:pt x="164196" y="221394"/>
                  </a:cubicBezTo>
                  <a:cubicBezTo>
                    <a:pt x="148414" y="229410"/>
                    <a:pt x="134602" y="232451"/>
                    <a:pt x="132114" y="228056"/>
                  </a:cubicBezTo>
                  <a:cubicBezTo>
                    <a:pt x="129343" y="223163"/>
                    <a:pt x="141640" y="210962"/>
                    <a:pt x="159579" y="200804"/>
                  </a:cubicBezTo>
                  <a:close/>
                  <a:moveTo>
                    <a:pt x="153493" y="182422"/>
                  </a:moveTo>
                  <a:lnTo>
                    <a:pt x="152022" y="179825"/>
                  </a:lnTo>
                  <a:cubicBezTo>
                    <a:pt x="164651" y="178027"/>
                    <a:pt x="176776" y="173655"/>
                    <a:pt x="187647" y="166981"/>
                  </a:cubicBezTo>
                  <a:cubicBezTo>
                    <a:pt x="190066" y="165611"/>
                    <a:pt x="193094" y="163783"/>
                    <a:pt x="196299" y="161672"/>
                  </a:cubicBezTo>
                  <a:lnTo>
                    <a:pt x="197374" y="168952"/>
                  </a:lnTo>
                  <a:cubicBezTo>
                    <a:pt x="195328" y="170279"/>
                    <a:pt x="193254" y="171605"/>
                    <a:pt x="190991" y="172887"/>
                  </a:cubicBezTo>
                  <a:cubicBezTo>
                    <a:pt x="173052" y="183045"/>
                    <a:pt x="156263" y="187314"/>
                    <a:pt x="153493" y="182422"/>
                  </a:cubicBezTo>
                  <a:close/>
                  <a:moveTo>
                    <a:pt x="171760" y="209558"/>
                  </a:moveTo>
                  <a:cubicBezTo>
                    <a:pt x="182944" y="215693"/>
                    <a:pt x="195269" y="219466"/>
                    <a:pt x="207970" y="220644"/>
                  </a:cubicBezTo>
                  <a:cubicBezTo>
                    <a:pt x="220557" y="222717"/>
                    <a:pt x="233435" y="222184"/>
                    <a:pt x="245807" y="219077"/>
                  </a:cubicBezTo>
                  <a:lnTo>
                    <a:pt x="245427" y="222037"/>
                  </a:lnTo>
                  <a:cubicBezTo>
                    <a:pt x="244710" y="227614"/>
                    <a:pt x="227553" y="230004"/>
                    <a:pt x="207105" y="227376"/>
                  </a:cubicBezTo>
                  <a:cubicBezTo>
                    <a:pt x="186658" y="224748"/>
                    <a:pt x="170663" y="218096"/>
                    <a:pt x="171380" y="212519"/>
                  </a:cubicBezTo>
                  <a:close/>
                  <a:moveTo>
                    <a:pt x="206087" y="243559"/>
                  </a:moveTo>
                  <a:lnTo>
                    <a:pt x="268538" y="243559"/>
                  </a:lnTo>
                  <a:lnTo>
                    <a:pt x="268538" y="306010"/>
                  </a:lnTo>
                  <a:cubicBezTo>
                    <a:pt x="268538" y="323255"/>
                    <a:pt x="254559" y="337235"/>
                    <a:pt x="237313" y="337235"/>
                  </a:cubicBezTo>
                  <a:cubicBezTo>
                    <a:pt x="220068" y="337235"/>
                    <a:pt x="206087" y="323255"/>
                    <a:pt x="206087" y="306010"/>
                  </a:cubicBezTo>
                  <a:close/>
                  <a:moveTo>
                    <a:pt x="265948" y="223231"/>
                  </a:moveTo>
                  <a:cubicBezTo>
                    <a:pt x="262390" y="222774"/>
                    <a:pt x="258975" y="222192"/>
                    <a:pt x="255758" y="221517"/>
                  </a:cubicBezTo>
                  <a:lnTo>
                    <a:pt x="256622" y="214801"/>
                  </a:lnTo>
                  <a:cubicBezTo>
                    <a:pt x="260456" y="215572"/>
                    <a:pt x="264012" y="216140"/>
                    <a:pt x="266814" y="216500"/>
                  </a:cubicBezTo>
                  <a:cubicBezTo>
                    <a:pt x="279400" y="218573"/>
                    <a:pt x="292279" y="218040"/>
                    <a:pt x="304650" y="214933"/>
                  </a:cubicBezTo>
                  <a:lnTo>
                    <a:pt x="304269" y="217893"/>
                  </a:lnTo>
                  <a:cubicBezTo>
                    <a:pt x="303553" y="223470"/>
                    <a:pt x="286396" y="225860"/>
                    <a:pt x="265948" y="223231"/>
                  </a:cubicBezTo>
                  <a:close/>
                  <a:moveTo>
                    <a:pt x="268111" y="206403"/>
                  </a:moveTo>
                  <a:cubicBezTo>
                    <a:pt x="264473" y="205935"/>
                    <a:pt x="260997" y="205329"/>
                    <a:pt x="257711" y="204635"/>
                  </a:cubicBezTo>
                  <a:cubicBezTo>
                    <a:pt x="257172" y="198290"/>
                    <a:pt x="253231" y="192739"/>
                    <a:pt x="247419" y="190138"/>
                  </a:cubicBezTo>
                  <a:cubicBezTo>
                    <a:pt x="247775" y="190088"/>
                    <a:pt x="248169" y="190038"/>
                    <a:pt x="248505" y="189988"/>
                  </a:cubicBezTo>
                  <a:cubicBezTo>
                    <a:pt x="254933" y="189053"/>
                    <a:pt x="261288" y="187668"/>
                    <a:pt x="267523" y="185843"/>
                  </a:cubicBezTo>
                  <a:cubicBezTo>
                    <a:pt x="268576" y="185954"/>
                    <a:pt x="269634" y="186070"/>
                    <a:pt x="270707" y="186208"/>
                  </a:cubicBezTo>
                  <a:cubicBezTo>
                    <a:pt x="291154" y="188836"/>
                    <a:pt x="307149" y="195488"/>
                    <a:pt x="306433" y="201065"/>
                  </a:cubicBezTo>
                  <a:cubicBezTo>
                    <a:pt x="305716" y="206641"/>
                    <a:pt x="288558" y="209031"/>
                    <a:pt x="268111" y="206403"/>
                  </a:cubicBezTo>
                  <a:close/>
                  <a:moveTo>
                    <a:pt x="306334" y="184168"/>
                  </a:moveTo>
                  <a:cubicBezTo>
                    <a:pt x="299558" y="182222"/>
                    <a:pt x="292972" y="179666"/>
                    <a:pt x="286657" y="176533"/>
                  </a:cubicBezTo>
                  <a:cubicBezTo>
                    <a:pt x="288397" y="175077"/>
                    <a:pt x="289859" y="173318"/>
                    <a:pt x="290975" y="171343"/>
                  </a:cubicBezTo>
                  <a:cubicBezTo>
                    <a:pt x="296587" y="173824"/>
                    <a:pt x="302357" y="175933"/>
                    <a:pt x="308247" y="177657"/>
                  </a:cubicBezTo>
                  <a:cubicBezTo>
                    <a:pt x="320351" y="181682"/>
                    <a:pt x="333153" y="183180"/>
                    <a:pt x="345859" y="182058"/>
                  </a:cubicBezTo>
                  <a:lnTo>
                    <a:pt x="345018" y="184921"/>
                  </a:lnTo>
                  <a:cubicBezTo>
                    <a:pt x="343433" y="190315"/>
                    <a:pt x="326114" y="189978"/>
                    <a:pt x="306334" y="184168"/>
                  </a:cubicBezTo>
                  <a:close/>
                  <a:moveTo>
                    <a:pt x="289423" y="143779"/>
                  </a:moveTo>
                  <a:cubicBezTo>
                    <a:pt x="298734" y="144032"/>
                    <a:pt x="307965" y="145572"/>
                    <a:pt x="316855" y="148353"/>
                  </a:cubicBezTo>
                  <a:cubicBezTo>
                    <a:pt x="336634" y="154164"/>
                    <a:pt x="351385" y="163247"/>
                    <a:pt x="349800" y="168642"/>
                  </a:cubicBezTo>
                  <a:cubicBezTo>
                    <a:pt x="348215" y="174036"/>
                    <a:pt x="330896" y="173699"/>
                    <a:pt x="311116" y="167889"/>
                  </a:cubicBezTo>
                  <a:cubicBezTo>
                    <a:pt x="304609" y="166011"/>
                    <a:pt x="298277" y="163576"/>
                    <a:pt x="292190" y="160608"/>
                  </a:cubicBezTo>
                  <a:lnTo>
                    <a:pt x="290050" y="146121"/>
                  </a:lnTo>
                  <a:cubicBezTo>
                    <a:pt x="289910" y="145323"/>
                    <a:pt x="289701" y="144539"/>
                    <a:pt x="289423" y="143778"/>
                  </a:cubicBezTo>
                  <a:close/>
                  <a:moveTo>
                    <a:pt x="340743" y="208432"/>
                  </a:moveTo>
                  <a:cubicBezTo>
                    <a:pt x="332515" y="213307"/>
                    <a:pt x="323623" y="216961"/>
                    <a:pt x="314345" y="219281"/>
                  </a:cubicBezTo>
                  <a:lnTo>
                    <a:pt x="314367" y="219191"/>
                  </a:lnTo>
                  <a:lnTo>
                    <a:pt x="316530" y="202363"/>
                  </a:lnTo>
                  <a:cubicBezTo>
                    <a:pt x="316608" y="201581"/>
                    <a:pt x="316618" y="200794"/>
                    <a:pt x="316561" y="200010"/>
                  </a:cubicBezTo>
                  <a:cubicBezTo>
                    <a:pt x="317556" y="199247"/>
                    <a:pt x="318588" y="198482"/>
                    <a:pt x="319669" y="197715"/>
                  </a:cubicBezTo>
                  <a:cubicBezTo>
                    <a:pt x="334222" y="200171"/>
                    <a:pt x="351164" y="200120"/>
                    <a:pt x="354786" y="187791"/>
                  </a:cubicBezTo>
                  <a:lnTo>
                    <a:pt x="357100" y="179914"/>
                  </a:lnTo>
                  <a:cubicBezTo>
                    <a:pt x="362846" y="178691"/>
                    <a:pt x="366964" y="178984"/>
                    <a:pt x="368208" y="181180"/>
                  </a:cubicBezTo>
                  <a:cubicBezTo>
                    <a:pt x="370979" y="186072"/>
                    <a:pt x="358681" y="198274"/>
                    <a:pt x="340743" y="208432"/>
                  </a:cubicBezTo>
                  <a:close/>
                  <a:moveTo>
                    <a:pt x="51785" y="162373"/>
                  </a:moveTo>
                  <a:lnTo>
                    <a:pt x="88783" y="162373"/>
                  </a:lnTo>
                  <a:lnTo>
                    <a:pt x="85144" y="172305"/>
                  </a:lnTo>
                  <a:cubicBezTo>
                    <a:pt x="83493" y="177091"/>
                    <a:pt x="84475" y="182392"/>
                    <a:pt x="87730" y="186269"/>
                  </a:cubicBezTo>
                  <a:cubicBezTo>
                    <a:pt x="71917" y="188657"/>
                    <a:pt x="48469" y="194817"/>
                    <a:pt x="50041" y="210350"/>
                  </a:cubicBezTo>
                  <a:lnTo>
                    <a:pt x="51749" y="227231"/>
                  </a:lnTo>
                  <a:cubicBezTo>
                    <a:pt x="51897" y="228555"/>
                    <a:pt x="52243" y="229848"/>
                    <a:pt x="52777" y="231068"/>
                  </a:cubicBezTo>
                  <a:lnTo>
                    <a:pt x="16477" y="231068"/>
                  </a:lnTo>
                  <a:close/>
                  <a:moveTo>
                    <a:pt x="12490" y="424666"/>
                  </a:moveTo>
                  <a:lnTo>
                    <a:pt x="12490" y="368777"/>
                  </a:lnTo>
                  <a:cubicBezTo>
                    <a:pt x="42021" y="371787"/>
                    <a:pt x="65370" y="395136"/>
                    <a:pt x="68379" y="424666"/>
                  </a:cubicBezTo>
                  <a:close/>
                  <a:moveTo>
                    <a:pt x="462137" y="424666"/>
                  </a:moveTo>
                  <a:lnTo>
                    <a:pt x="406247" y="424666"/>
                  </a:lnTo>
                  <a:cubicBezTo>
                    <a:pt x="409257" y="395136"/>
                    <a:pt x="432606" y="371787"/>
                    <a:pt x="462137" y="368777"/>
                  </a:cubicBezTo>
                  <a:close/>
                  <a:moveTo>
                    <a:pt x="462137" y="356287"/>
                  </a:moveTo>
                  <a:cubicBezTo>
                    <a:pt x="425727" y="359375"/>
                    <a:pt x="396846" y="388257"/>
                    <a:pt x="393757" y="424666"/>
                  </a:cubicBezTo>
                  <a:lnTo>
                    <a:pt x="80870" y="424666"/>
                  </a:lnTo>
                  <a:cubicBezTo>
                    <a:pt x="77781" y="388257"/>
                    <a:pt x="48899" y="359375"/>
                    <a:pt x="12490" y="356287"/>
                  </a:cubicBezTo>
                  <a:lnTo>
                    <a:pt x="12490" y="243559"/>
                  </a:lnTo>
                  <a:lnTo>
                    <a:pt x="193597" y="243559"/>
                  </a:lnTo>
                  <a:lnTo>
                    <a:pt x="193597" y="306010"/>
                  </a:lnTo>
                  <a:cubicBezTo>
                    <a:pt x="193597" y="330153"/>
                    <a:pt x="213170" y="349725"/>
                    <a:pt x="237313" y="349725"/>
                  </a:cubicBezTo>
                  <a:cubicBezTo>
                    <a:pt x="261456" y="349725"/>
                    <a:pt x="281029" y="330153"/>
                    <a:pt x="281029" y="306010"/>
                  </a:cubicBezTo>
                  <a:lnTo>
                    <a:pt x="281029" y="243559"/>
                  </a:lnTo>
                  <a:lnTo>
                    <a:pt x="462137" y="243559"/>
                  </a:lnTo>
                  <a:close/>
                  <a:moveTo>
                    <a:pt x="458147" y="231068"/>
                  </a:moveTo>
                  <a:lnTo>
                    <a:pt x="428199" y="231068"/>
                  </a:lnTo>
                  <a:cubicBezTo>
                    <a:pt x="432698" y="228152"/>
                    <a:pt x="435249" y="223015"/>
                    <a:pt x="434853" y="217667"/>
                  </a:cubicBezTo>
                  <a:lnTo>
                    <a:pt x="433145" y="200786"/>
                  </a:lnTo>
                  <a:cubicBezTo>
                    <a:pt x="431296" y="182502"/>
                    <a:pt x="398040" y="183872"/>
                    <a:pt x="383828" y="185311"/>
                  </a:cubicBezTo>
                  <a:cubicBezTo>
                    <a:pt x="383391" y="185355"/>
                    <a:pt x="382818" y="185436"/>
                    <a:pt x="382347" y="185488"/>
                  </a:cubicBezTo>
                  <a:lnTo>
                    <a:pt x="377066" y="176163"/>
                  </a:lnTo>
                  <a:cubicBezTo>
                    <a:pt x="373366" y="170517"/>
                    <a:pt x="366569" y="167734"/>
                    <a:pt x="359972" y="169166"/>
                  </a:cubicBezTo>
                  <a:cubicBezTo>
                    <a:pt x="360224" y="166737"/>
                    <a:pt x="359800" y="164285"/>
                    <a:pt x="358746" y="162081"/>
                  </a:cubicBezTo>
                  <a:lnTo>
                    <a:pt x="359380" y="162373"/>
                  </a:lnTo>
                  <a:lnTo>
                    <a:pt x="422817" y="162373"/>
                  </a:lnTo>
                  <a:close/>
                </a:path>
              </a:pathLst>
            </a:custGeom>
            <a:solidFill>
              <a:schemeClr val="lt1"/>
            </a:solidFill>
            <a:ln w="8202" cap="flat">
              <a:solidFill>
                <a:schemeClr val="accent5"/>
              </a:solidFill>
              <a:prstDash val="solid"/>
              <a:miter/>
            </a:ln>
          </p:spPr>
          <p:txBody>
            <a:bodyPr rtlCol="0" anchor="ctr"/>
            <a:lstStyle/>
            <a:p>
              <a:endParaRPr lang="en-GB"/>
            </a:p>
          </p:txBody>
        </p:sp>
        <p:sp>
          <p:nvSpPr>
            <p:cNvPr id="152" name="Frihandsfigur: Form 151">
              <a:extLst>
                <a:ext uri="{FF2B5EF4-FFF2-40B4-BE49-F238E27FC236}">
                  <a16:creationId xmlns:a16="http://schemas.microsoft.com/office/drawing/2014/main" id="{2A005AD6-8FC1-1E80-243E-8EEACBA8D1D5}"/>
                </a:ext>
              </a:extLst>
            </p:cNvPr>
            <p:cNvSpPr/>
            <p:nvPr/>
          </p:nvSpPr>
          <p:spPr>
            <a:xfrm>
              <a:off x="15899720" y="7309480"/>
              <a:ext cx="37470" cy="37470"/>
            </a:xfrm>
            <a:custGeom>
              <a:avLst/>
              <a:gdLst>
                <a:gd name="connsiteX0" fmla="*/ 18735 w 37470"/>
                <a:gd name="connsiteY0" fmla="*/ 37471 h 37470"/>
                <a:gd name="connsiteX1" fmla="*/ 37471 w 37470"/>
                <a:gd name="connsiteY1" fmla="*/ 18735 h 37470"/>
                <a:gd name="connsiteX2" fmla="*/ 18735 w 37470"/>
                <a:gd name="connsiteY2" fmla="*/ 0 h 37470"/>
                <a:gd name="connsiteX3" fmla="*/ 0 w 37470"/>
                <a:gd name="connsiteY3" fmla="*/ 18735 h 37470"/>
                <a:gd name="connsiteX4" fmla="*/ 18735 w 37470"/>
                <a:gd name="connsiteY4" fmla="*/ 37471 h 37470"/>
                <a:gd name="connsiteX5" fmla="*/ 18735 w 37470"/>
                <a:gd name="connsiteY5" fmla="*/ 12490 h 37470"/>
                <a:gd name="connsiteX6" fmla="*/ 24980 w 37470"/>
                <a:gd name="connsiteY6" fmla="*/ 18735 h 37470"/>
                <a:gd name="connsiteX7" fmla="*/ 18735 w 37470"/>
                <a:gd name="connsiteY7" fmla="*/ 24980 h 37470"/>
                <a:gd name="connsiteX8" fmla="*/ 12490 w 37470"/>
                <a:gd name="connsiteY8" fmla="*/ 18735 h 37470"/>
                <a:gd name="connsiteX9" fmla="*/ 18735 w 37470"/>
                <a:gd name="connsiteY9" fmla="*/ 12490 h 37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470" h="37470">
                  <a:moveTo>
                    <a:pt x="18735" y="37471"/>
                  </a:moveTo>
                  <a:cubicBezTo>
                    <a:pt x="29082" y="37471"/>
                    <a:pt x="37471" y="29083"/>
                    <a:pt x="37471" y="18735"/>
                  </a:cubicBezTo>
                  <a:cubicBezTo>
                    <a:pt x="37471" y="8388"/>
                    <a:pt x="29082" y="0"/>
                    <a:pt x="18735" y="0"/>
                  </a:cubicBezTo>
                  <a:cubicBezTo>
                    <a:pt x="8388" y="0"/>
                    <a:pt x="0" y="8388"/>
                    <a:pt x="0" y="18735"/>
                  </a:cubicBezTo>
                  <a:cubicBezTo>
                    <a:pt x="0" y="29083"/>
                    <a:pt x="8388" y="37471"/>
                    <a:pt x="18735" y="37471"/>
                  </a:cubicBezTo>
                  <a:close/>
                  <a:moveTo>
                    <a:pt x="18735" y="12490"/>
                  </a:moveTo>
                  <a:cubicBezTo>
                    <a:pt x="22184" y="12490"/>
                    <a:pt x="24980" y="15286"/>
                    <a:pt x="24980" y="18735"/>
                  </a:cubicBezTo>
                  <a:cubicBezTo>
                    <a:pt x="24980" y="22184"/>
                    <a:pt x="22184" y="24980"/>
                    <a:pt x="18735" y="24980"/>
                  </a:cubicBezTo>
                  <a:cubicBezTo>
                    <a:pt x="15286" y="24980"/>
                    <a:pt x="12490" y="22184"/>
                    <a:pt x="12490" y="18735"/>
                  </a:cubicBezTo>
                  <a:cubicBezTo>
                    <a:pt x="12494" y="15288"/>
                    <a:pt x="15288" y="12494"/>
                    <a:pt x="18735" y="12490"/>
                  </a:cubicBezTo>
                  <a:close/>
                </a:path>
              </a:pathLst>
            </a:custGeom>
            <a:solidFill>
              <a:schemeClr val="lt1"/>
            </a:solidFill>
            <a:ln w="8202" cap="flat">
              <a:solidFill>
                <a:schemeClr val="accent5"/>
              </a:solidFill>
              <a:prstDash val="solid"/>
              <a:miter/>
            </a:ln>
          </p:spPr>
          <p:txBody>
            <a:bodyPr rtlCol="0" anchor="ctr"/>
            <a:lstStyle/>
            <a:p>
              <a:endParaRPr lang="en-GB"/>
            </a:p>
          </p:txBody>
        </p:sp>
      </p:grpSp>
      <p:sp>
        <p:nvSpPr>
          <p:cNvPr id="154" name="Bild 144" descr="Euro med hel fyllning">
            <a:extLst>
              <a:ext uri="{FF2B5EF4-FFF2-40B4-BE49-F238E27FC236}">
                <a16:creationId xmlns:a16="http://schemas.microsoft.com/office/drawing/2014/main" id="{309838D4-4813-4E05-1460-54E48D9F9266}"/>
              </a:ext>
            </a:extLst>
          </p:cNvPr>
          <p:cNvSpPr/>
          <p:nvPr/>
        </p:nvSpPr>
        <p:spPr>
          <a:xfrm rot="18205641">
            <a:off x="8312033" y="7624363"/>
            <a:ext cx="206621" cy="278254"/>
          </a:xfrm>
          <a:custGeom>
            <a:avLst/>
            <a:gdLst>
              <a:gd name="connsiteX0" fmla="*/ 194885 w 206621"/>
              <a:gd name="connsiteY0" fmla="*/ 237586 h 278254"/>
              <a:gd name="connsiteX1" fmla="*/ 133776 w 206621"/>
              <a:gd name="connsiteY1" fmla="*/ 256850 h 278254"/>
              <a:gd name="connsiteX2" fmla="*/ 49051 w 206621"/>
              <a:gd name="connsiteY2" fmla="*/ 171234 h 278254"/>
              <a:gd name="connsiteX3" fmla="*/ 149829 w 206621"/>
              <a:gd name="connsiteY3" fmla="*/ 171234 h 278254"/>
              <a:gd name="connsiteX4" fmla="*/ 149829 w 206621"/>
              <a:gd name="connsiteY4" fmla="*/ 149829 h 278254"/>
              <a:gd name="connsiteX5" fmla="*/ 46590 w 206621"/>
              <a:gd name="connsiteY5" fmla="*/ 149829 h 278254"/>
              <a:gd name="connsiteX6" fmla="*/ 46376 w 206621"/>
              <a:gd name="connsiteY6" fmla="*/ 139127 h 278254"/>
              <a:gd name="connsiteX7" fmla="*/ 46661 w 206621"/>
              <a:gd name="connsiteY7" fmla="*/ 128425 h 278254"/>
              <a:gd name="connsiteX8" fmla="*/ 149829 w 206621"/>
              <a:gd name="connsiteY8" fmla="*/ 128425 h 278254"/>
              <a:gd name="connsiteX9" fmla="*/ 149829 w 206621"/>
              <a:gd name="connsiteY9" fmla="*/ 107021 h 278254"/>
              <a:gd name="connsiteX10" fmla="*/ 49051 w 206621"/>
              <a:gd name="connsiteY10" fmla="*/ 107021 h 278254"/>
              <a:gd name="connsiteX11" fmla="*/ 133776 w 206621"/>
              <a:gd name="connsiteY11" fmla="*/ 21404 h 278254"/>
              <a:gd name="connsiteX12" fmla="*/ 194885 w 206621"/>
              <a:gd name="connsiteY12" fmla="*/ 40668 h 278254"/>
              <a:gd name="connsiteX13" fmla="*/ 206622 w 206621"/>
              <a:gd name="connsiteY13" fmla="*/ 22831 h 278254"/>
              <a:gd name="connsiteX14" fmla="*/ 133776 w 206621"/>
              <a:gd name="connsiteY14" fmla="*/ 0 h 278254"/>
              <a:gd name="connsiteX15" fmla="*/ 27397 w 206621"/>
              <a:gd name="connsiteY15" fmla="*/ 107021 h 278254"/>
              <a:gd name="connsiteX16" fmla="*/ 0 w 206621"/>
              <a:gd name="connsiteY16" fmla="*/ 107021 h 278254"/>
              <a:gd name="connsiteX17" fmla="*/ 0 w 206621"/>
              <a:gd name="connsiteY17" fmla="*/ 128425 h 278254"/>
              <a:gd name="connsiteX18" fmla="*/ 25328 w 206621"/>
              <a:gd name="connsiteY18" fmla="*/ 128425 h 278254"/>
              <a:gd name="connsiteX19" fmla="*/ 25043 w 206621"/>
              <a:gd name="connsiteY19" fmla="*/ 139127 h 278254"/>
              <a:gd name="connsiteX20" fmla="*/ 25328 w 206621"/>
              <a:gd name="connsiteY20" fmla="*/ 149829 h 278254"/>
              <a:gd name="connsiteX21" fmla="*/ 0 w 206621"/>
              <a:gd name="connsiteY21" fmla="*/ 149829 h 278254"/>
              <a:gd name="connsiteX22" fmla="*/ 0 w 206621"/>
              <a:gd name="connsiteY22" fmla="*/ 171234 h 278254"/>
              <a:gd name="connsiteX23" fmla="*/ 27397 w 206621"/>
              <a:gd name="connsiteY23" fmla="*/ 171234 h 278254"/>
              <a:gd name="connsiteX24" fmla="*/ 133776 w 206621"/>
              <a:gd name="connsiteY24" fmla="*/ 278254 h 278254"/>
              <a:gd name="connsiteX25" fmla="*/ 206622 w 206621"/>
              <a:gd name="connsiteY25" fmla="*/ 255352 h 278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06621" h="278254">
                <a:moveTo>
                  <a:pt x="194885" y="237586"/>
                </a:moveTo>
                <a:cubicBezTo>
                  <a:pt x="176863" y="249897"/>
                  <a:pt x="155601" y="256600"/>
                  <a:pt x="133776" y="256850"/>
                </a:cubicBezTo>
                <a:cubicBezTo>
                  <a:pt x="81728" y="256850"/>
                  <a:pt x="56757" y="215683"/>
                  <a:pt x="49051" y="171234"/>
                </a:cubicBezTo>
                <a:lnTo>
                  <a:pt x="149829" y="171234"/>
                </a:lnTo>
                <a:lnTo>
                  <a:pt x="149829" y="149829"/>
                </a:lnTo>
                <a:lnTo>
                  <a:pt x="46590" y="149829"/>
                </a:lnTo>
                <a:cubicBezTo>
                  <a:pt x="46376" y="146262"/>
                  <a:pt x="46376" y="142695"/>
                  <a:pt x="46376" y="139127"/>
                </a:cubicBezTo>
                <a:cubicBezTo>
                  <a:pt x="46376" y="135560"/>
                  <a:pt x="46376" y="131992"/>
                  <a:pt x="46661" y="128425"/>
                </a:cubicBezTo>
                <a:lnTo>
                  <a:pt x="149829" y="128425"/>
                </a:lnTo>
                <a:lnTo>
                  <a:pt x="149829" y="107021"/>
                </a:lnTo>
                <a:lnTo>
                  <a:pt x="49051" y="107021"/>
                </a:lnTo>
                <a:cubicBezTo>
                  <a:pt x="56757" y="62572"/>
                  <a:pt x="81728" y="21404"/>
                  <a:pt x="133776" y="21404"/>
                </a:cubicBezTo>
                <a:cubicBezTo>
                  <a:pt x="155598" y="21667"/>
                  <a:pt x="176857" y="28369"/>
                  <a:pt x="194885" y="40668"/>
                </a:cubicBezTo>
                <a:lnTo>
                  <a:pt x="206622" y="22831"/>
                </a:lnTo>
                <a:cubicBezTo>
                  <a:pt x="185119" y="8212"/>
                  <a:pt x="159777" y="269"/>
                  <a:pt x="133776" y="0"/>
                </a:cubicBezTo>
                <a:cubicBezTo>
                  <a:pt x="77519" y="0"/>
                  <a:pt x="37243" y="41917"/>
                  <a:pt x="27397" y="107021"/>
                </a:cubicBezTo>
                <a:lnTo>
                  <a:pt x="0" y="107021"/>
                </a:lnTo>
                <a:lnTo>
                  <a:pt x="0" y="128425"/>
                </a:lnTo>
                <a:lnTo>
                  <a:pt x="25328" y="128425"/>
                </a:lnTo>
                <a:cubicBezTo>
                  <a:pt x="25150" y="131992"/>
                  <a:pt x="25043" y="135560"/>
                  <a:pt x="25043" y="139127"/>
                </a:cubicBezTo>
                <a:cubicBezTo>
                  <a:pt x="25043" y="142695"/>
                  <a:pt x="25043" y="146262"/>
                  <a:pt x="25328" y="149829"/>
                </a:cubicBezTo>
                <a:lnTo>
                  <a:pt x="0" y="149829"/>
                </a:lnTo>
                <a:lnTo>
                  <a:pt x="0" y="171234"/>
                </a:lnTo>
                <a:lnTo>
                  <a:pt x="27397" y="171234"/>
                </a:lnTo>
                <a:cubicBezTo>
                  <a:pt x="37243" y="236338"/>
                  <a:pt x="77340" y="278254"/>
                  <a:pt x="133776" y="278254"/>
                </a:cubicBezTo>
                <a:cubicBezTo>
                  <a:pt x="159784" y="277964"/>
                  <a:pt x="185127" y="269997"/>
                  <a:pt x="206622" y="255352"/>
                </a:cubicBezTo>
                <a:close/>
              </a:path>
            </a:pathLst>
          </a:custGeom>
          <a:solidFill>
            <a:schemeClr val="lt1"/>
          </a:solidFill>
          <a:ln w="4630" cap="flat">
            <a:solidFill>
              <a:schemeClr val="accent5"/>
            </a:solidFill>
            <a:prstDash val="solid"/>
            <a:miter/>
          </a:ln>
        </p:spPr>
        <p:txBody>
          <a:bodyPr rtlCol="0" anchor="ctr"/>
          <a:lstStyle/>
          <a:p>
            <a:endParaRPr lang="en-GB"/>
          </a:p>
        </p:txBody>
      </p:sp>
      <p:grpSp>
        <p:nvGrpSpPr>
          <p:cNvPr id="155" name="Bild 2" descr="Lastbil kontur">
            <a:extLst>
              <a:ext uri="{FF2B5EF4-FFF2-40B4-BE49-F238E27FC236}">
                <a16:creationId xmlns:a16="http://schemas.microsoft.com/office/drawing/2014/main" id="{E171C55C-A435-9747-D73F-283CCEFCB682}"/>
              </a:ext>
            </a:extLst>
          </p:cNvPr>
          <p:cNvGrpSpPr/>
          <p:nvPr/>
        </p:nvGrpSpPr>
        <p:grpSpPr>
          <a:xfrm>
            <a:off x="13384123" y="5208118"/>
            <a:ext cx="838200" cy="476345"/>
            <a:chOff x="12550105" y="4329639"/>
            <a:chExt cx="838200" cy="476345"/>
          </a:xfrm>
          <a:solidFill>
            <a:schemeClr val="lt1"/>
          </a:solidFill>
        </p:grpSpPr>
        <p:sp>
          <p:nvSpPr>
            <p:cNvPr id="156" name="Frihandsfigur: Form 155">
              <a:extLst>
                <a:ext uri="{FF2B5EF4-FFF2-40B4-BE49-F238E27FC236}">
                  <a16:creationId xmlns:a16="http://schemas.microsoft.com/office/drawing/2014/main" id="{9725CDBB-A822-789C-FEAC-D9888AB4204C}"/>
                </a:ext>
              </a:extLst>
            </p:cNvPr>
            <p:cNvSpPr/>
            <p:nvPr/>
          </p:nvSpPr>
          <p:spPr>
            <a:xfrm>
              <a:off x="12645355" y="4653584"/>
              <a:ext cx="152400" cy="152400"/>
            </a:xfrm>
            <a:custGeom>
              <a:avLst/>
              <a:gdLst>
                <a:gd name="connsiteX0" fmla="*/ 76200 w 152400"/>
                <a:gd name="connsiteY0" fmla="*/ 0 h 152400"/>
                <a:gd name="connsiteX1" fmla="*/ 0 w 152400"/>
                <a:gd name="connsiteY1" fmla="*/ 76200 h 152400"/>
                <a:gd name="connsiteX2" fmla="*/ 76200 w 152400"/>
                <a:gd name="connsiteY2" fmla="*/ 152400 h 152400"/>
                <a:gd name="connsiteX3" fmla="*/ 152400 w 152400"/>
                <a:gd name="connsiteY3" fmla="*/ 76200 h 152400"/>
                <a:gd name="connsiteX4" fmla="*/ 76200 w 152400"/>
                <a:gd name="connsiteY4" fmla="*/ 0 h 152400"/>
                <a:gd name="connsiteX5" fmla="*/ 76200 w 152400"/>
                <a:gd name="connsiteY5" fmla="*/ 133350 h 152400"/>
                <a:gd name="connsiteX6" fmla="*/ 19050 w 152400"/>
                <a:gd name="connsiteY6" fmla="*/ 76200 h 152400"/>
                <a:gd name="connsiteX7" fmla="*/ 76200 w 152400"/>
                <a:gd name="connsiteY7" fmla="*/ 19050 h 152400"/>
                <a:gd name="connsiteX8" fmla="*/ 133350 w 152400"/>
                <a:gd name="connsiteY8" fmla="*/ 76200 h 152400"/>
                <a:gd name="connsiteX9" fmla="*/ 76200 w 152400"/>
                <a:gd name="connsiteY9" fmla="*/ 133388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2400" h="152400">
                  <a:moveTo>
                    <a:pt x="76200" y="0"/>
                  </a:moveTo>
                  <a:cubicBezTo>
                    <a:pt x="34116" y="0"/>
                    <a:pt x="0" y="34116"/>
                    <a:pt x="0" y="76200"/>
                  </a:cubicBezTo>
                  <a:cubicBezTo>
                    <a:pt x="0" y="118284"/>
                    <a:pt x="34116" y="152400"/>
                    <a:pt x="76200" y="152400"/>
                  </a:cubicBezTo>
                  <a:cubicBezTo>
                    <a:pt x="118284" y="152400"/>
                    <a:pt x="152400" y="118284"/>
                    <a:pt x="152400" y="76200"/>
                  </a:cubicBezTo>
                  <a:cubicBezTo>
                    <a:pt x="152348" y="34138"/>
                    <a:pt x="118262" y="52"/>
                    <a:pt x="76200" y="0"/>
                  </a:cubicBezTo>
                  <a:close/>
                  <a:moveTo>
                    <a:pt x="76200" y="133350"/>
                  </a:moveTo>
                  <a:cubicBezTo>
                    <a:pt x="44637" y="133350"/>
                    <a:pt x="19050" y="107763"/>
                    <a:pt x="19050" y="76200"/>
                  </a:cubicBezTo>
                  <a:cubicBezTo>
                    <a:pt x="19050" y="44637"/>
                    <a:pt x="44637" y="19050"/>
                    <a:pt x="76200" y="19050"/>
                  </a:cubicBezTo>
                  <a:cubicBezTo>
                    <a:pt x="107763" y="19050"/>
                    <a:pt x="133350" y="44637"/>
                    <a:pt x="133350" y="76200"/>
                  </a:cubicBezTo>
                  <a:cubicBezTo>
                    <a:pt x="133329" y="107760"/>
                    <a:pt x="107760" y="133346"/>
                    <a:pt x="76200" y="133388"/>
                  </a:cubicBezTo>
                  <a:close/>
                </a:path>
              </a:pathLst>
            </a:custGeom>
            <a:solidFill>
              <a:schemeClr val="lt1"/>
            </a:solidFill>
            <a:ln w="12700" cap="flat">
              <a:solidFill>
                <a:schemeClr val="accent5"/>
              </a:solidFill>
              <a:prstDash val="solid"/>
              <a:miter/>
            </a:ln>
          </p:spPr>
          <p:txBody>
            <a:bodyPr rtlCol="0" anchor="ctr"/>
            <a:lstStyle/>
            <a:p>
              <a:endParaRPr lang="en-GB"/>
            </a:p>
          </p:txBody>
        </p:sp>
        <p:sp>
          <p:nvSpPr>
            <p:cNvPr id="157" name="Frihandsfigur: Form 156">
              <a:extLst>
                <a:ext uri="{FF2B5EF4-FFF2-40B4-BE49-F238E27FC236}">
                  <a16:creationId xmlns:a16="http://schemas.microsoft.com/office/drawing/2014/main" id="{CE87BD0E-B866-5032-6AFB-4860BACB3209}"/>
                </a:ext>
              </a:extLst>
            </p:cNvPr>
            <p:cNvSpPr/>
            <p:nvPr/>
          </p:nvSpPr>
          <p:spPr>
            <a:xfrm>
              <a:off x="12550105" y="4329639"/>
              <a:ext cx="838200" cy="400164"/>
            </a:xfrm>
            <a:custGeom>
              <a:avLst/>
              <a:gdLst>
                <a:gd name="connsiteX0" fmla="*/ 822960 w 838200"/>
                <a:gd name="connsiteY0" fmla="*/ 236287 h 400164"/>
                <a:gd name="connsiteX1" fmla="*/ 772478 w 838200"/>
                <a:gd name="connsiteY1" fmla="*/ 198187 h 400164"/>
                <a:gd name="connsiteX2" fmla="*/ 759143 w 838200"/>
                <a:gd name="connsiteY2" fmla="*/ 178184 h 400164"/>
                <a:gd name="connsiteX3" fmla="*/ 740093 w 838200"/>
                <a:gd name="connsiteY3" fmla="*/ 112462 h 400164"/>
                <a:gd name="connsiteX4" fmla="*/ 666750 w 838200"/>
                <a:gd name="connsiteY4" fmla="*/ 57150 h 400164"/>
                <a:gd name="connsiteX5" fmla="*/ 571500 w 838200"/>
                <a:gd name="connsiteY5" fmla="*/ 57150 h 400164"/>
                <a:gd name="connsiteX6" fmla="*/ 571500 w 838200"/>
                <a:gd name="connsiteY6" fmla="*/ 0 h 400164"/>
                <a:gd name="connsiteX7" fmla="*/ 0 w 838200"/>
                <a:gd name="connsiteY7" fmla="*/ 0 h 400164"/>
                <a:gd name="connsiteX8" fmla="*/ 0 w 838200"/>
                <a:gd name="connsiteY8" fmla="*/ 400164 h 400164"/>
                <a:gd name="connsiteX9" fmla="*/ 76200 w 838200"/>
                <a:gd name="connsiteY9" fmla="*/ 400164 h 400164"/>
                <a:gd name="connsiteX10" fmla="*/ 78105 w 838200"/>
                <a:gd name="connsiteY10" fmla="*/ 381114 h 400164"/>
                <a:gd name="connsiteX11" fmla="*/ 19050 w 838200"/>
                <a:gd name="connsiteY11" fmla="*/ 381114 h 400164"/>
                <a:gd name="connsiteX12" fmla="*/ 19050 w 838200"/>
                <a:gd name="connsiteY12" fmla="*/ 256670 h 400164"/>
                <a:gd name="connsiteX13" fmla="*/ 552450 w 838200"/>
                <a:gd name="connsiteY13" fmla="*/ 256670 h 400164"/>
                <a:gd name="connsiteX14" fmla="*/ 552450 w 838200"/>
                <a:gd name="connsiteY14" fmla="*/ 381114 h 400164"/>
                <a:gd name="connsiteX15" fmla="*/ 264795 w 838200"/>
                <a:gd name="connsiteY15" fmla="*/ 381114 h 400164"/>
                <a:gd name="connsiteX16" fmla="*/ 266700 w 838200"/>
                <a:gd name="connsiteY16" fmla="*/ 400164 h 400164"/>
                <a:gd name="connsiteX17" fmla="*/ 581025 w 838200"/>
                <a:gd name="connsiteY17" fmla="*/ 400164 h 400164"/>
                <a:gd name="connsiteX18" fmla="*/ 582930 w 838200"/>
                <a:gd name="connsiteY18" fmla="*/ 381114 h 400164"/>
                <a:gd name="connsiteX19" fmla="*/ 571500 w 838200"/>
                <a:gd name="connsiteY19" fmla="*/ 381114 h 400164"/>
                <a:gd name="connsiteX20" fmla="*/ 571500 w 838200"/>
                <a:gd name="connsiteY20" fmla="*/ 76200 h 400164"/>
                <a:gd name="connsiteX21" fmla="*/ 609600 w 838200"/>
                <a:gd name="connsiteY21" fmla="*/ 76200 h 400164"/>
                <a:gd name="connsiteX22" fmla="*/ 609600 w 838200"/>
                <a:gd name="connsiteY22" fmla="*/ 209045 h 400164"/>
                <a:gd name="connsiteX23" fmla="*/ 756095 w 838200"/>
                <a:gd name="connsiteY23" fmla="*/ 209045 h 400164"/>
                <a:gd name="connsiteX24" fmla="*/ 761209 w 838200"/>
                <a:gd name="connsiteY24" fmla="*/ 213512 h 400164"/>
                <a:gd name="connsiteX25" fmla="*/ 811282 w 838200"/>
                <a:gd name="connsiteY25" fmla="*/ 251317 h 400164"/>
                <a:gd name="connsiteX26" fmla="*/ 819150 w 838200"/>
                <a:gd name="connsiteY26" fmla="*/ 266776 h 400164"/>
                <a:gd name="connsiteX27" fmla="*/ 819150 w 838200"/>
                <a:gd name="connsiteY27" fmla="*/ 362026 h 400164"/>
                <a:gd name="connsiteX28" fmla="*/ 800100 w 838200"/>
                <a:gd name="connsiteY28" fmla="*/ 381076 h 400164"/>
                <a:gd name="connsiteX29" fmla="*/ 769620 w 838200"/>
                <a:gd name="connsiteY29" fmla="*/ 381076 h 400164"/>
                <a:gd name="connsiteX30" fmla="*/ 771525 w 838200"/>
                <a:gd name="connsiteY30" fmla="*/ 400126 h 400164"/>
                <a:gd name="connsiteX31" fmla="*/ 800100 w 838200"/>
                <a:gd name="connsiteY31" fmla="*/ 400126 h 400164"/>
                <a:gd name="connsiteX32" fmla="*/ 838200 w 838200"/>
                <a:gd name="connsiteY32" fmla="*/ 362026 h 400164"/>
                <a:gd name="connsiteX33" fmla="*/ 838200 w 838200"/>
                <a:gd name="connsiteY33" fmla="*/ 266776 h 400164"/>
                <a:gd name="connsiteX34" fmla="*/ 822960 w 838200"/>
                <a:gd name="connsiteY34" fmla="*/ 236287 h 400164"/>
                <a:gd name="connsiteX35" fmla="*/ 552450 w 838200"/>
                <a:gd name="connsiteY35" fmla="*/ 237620 h 400164"/>
                <a:gd name="connsiteX36" fmla="*/ 19050 w 838200"/>
                <a:gd name="connsiteY36" fmla="*/ 237620 h 400164"/>
                <a:gd name="connsiteX37" fmla="*/ 19050 w 838200"/>
                <a:gd name="connsiteY37" fmla="*/ 19050 h 400164"/>
                <a:gd name="connsiteX38" fmla="*/ 552450 w 838200"/>
                <a:gd name="connsiteY38" fmla="*/ 19050 h 400164"/>
                <a:gd name="connsiteX39" fmla="*/ 628650 w 838200"/>
                <a:gd name="connsiteY39" fmla="*/ 76200 h 400164"/>
                <a:gd name="connsiteX40" fmla="*/ 666750 w 838200"/>
                <a:gd name="connsiteY40" fmla="*/ 76200 h 400164"/>
                <a:gd name="connsiteX41" fmla="*/ 721805 w 838200"/>
                <a:gd name="connsiteY41" fmla="*/ 117710 h 400164"/>
                <a:gd name="connsiteX42" fmla="*/ 740769 w 838200"/>
                <a:gd name="connsiteY42" fmla="*/ 183147 h 400164"/>
                <a:gd name="connsiteX43" fmla="*/ 743169 w 838200"/>
                <a:gd name="connsiteY43" fmla="*/ 189976 h 400164"/>
                <a:gd name="connsiteX44" fmla="*/ 628650 w 838200"/>
                <a:gd name="connsiteY44" fmla="*/ 189976 h 400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838200" h="400164">
                  <a:moveTo>
                    <a:pt x="822960" y="236287"/>
                  </a:moveTo>
                  <a:lnTo>
                    <a:pt x="772478" y="198187"/>
                  </a:lnTo>
                  <a:cubicBezTo>
                    <a:pt x="765858" y="193258"/>
                    <a:pt x="761146" y="186191"/>
                    <a:pt x="759143" y="178184"/>
                  </a:cubicBezTo>
                  <a:lnTo>
                    <a:pt x="740093" y="112462"/>
                  </a:lnTo>
                  <a:cubicBezTo>
                    <a:pt x="730395" y="79953"/>
                    <a:pt x="700672" y="57537"/>
                    <a:pt x="666750" y="57150"/>
                  </a:cubicBezTo>
                  <a:lnTo>
                    <a:pt x="571500" y="57150"/>
                  </a:lnTo>
                  <a:lnTo>
                    <a:pt x="571500" y="0"/>
                  </a:lnTo>
                  <a:lnTo>
                    <a:pt x="0" y="0"/>
                  </a:lnTo>
                  <a:lnTo>
                    <a:pt x="0" y="400164"/>
                  </a:lnTo>
                  <a:lnTo>
                    <a:pt x="76200" y="400164"/>
                  </a:lnTo>
                  <a:cubicBezTo>
                    <a:pt x="76197" y="393766"/>
                    <a:pt x="76835" y="387385"/>
                    <a:pt x="78105" y="381114"/>
                  </a:cubicBezTo>
                  <a:lnTo>
                    <a:pt x="19050" y="381114"/>
                  </a:lnTo>
                  <a:lnTo>
                    <a:pt x="19050" y="256670"/>
                  </a:lnTo>
                  <a:lnTo>
                    <a:pt x="552450" y="256670"/>
                  </a:lnTo>
                  <a:lnTo>
                    <a:pt x="552450" y="381114"/>
                  </a:lnTo>
                  <a:lnTo>
                    <a:pt x="264795" y="381114"/>
                  </a:lnTo>
                  <a:cubicBezTo>
                    <a:pt x="266069" y="387384"/>
                    <a:pt x="266708" y="393766"/>
                    <a:pt x="266700" y="400164"/>
                  </a:cubicBezTo>
                  <a:lnTo>
                    <a:pt x="581025" y="400164"/>
                  </a:lnTo>
                  <a:cubicBezTo>
                    <a:pt x="581022" y="393766"/>
                    <a:pt x="581660" y="387385"/>
                    <a:pt x="582930" y="381114"/>
                  </a:cubicBezTo>
                  <a:lnTo>
                    <a:pt x="571500" y="381114"/>
                  </a:lnTo>
                  <a:lnTo>
                    <a:pt x="571500" y="76200"/>
                  </a:lnTo>
                  <a:lnTo>
                    <a:pt x="609600" y="76200"/>
                  </a:lnTo>
                  <a:lnTo>
                    <a:pt x="609600" y="209045"/>
                  </a:lnTo>
                  <a:lnTo>
                    <a:pt x="756095" y="209045"/>
                  </a:lnTo>
                  <a:cubicBezTo>
                    <a:pt x="757699" y="210645"/>
                    <a:pt x="759408" y="212138"/>
                    <a:pt x="761209" y="213512"/>
                  </a:cubicBezTo>
                  <a:lnTo>
                    <a:pt x="811282" y="251317"/>
                  </a:lnTo>
                  <a:cubicBezTo>
                    <a:pt x="816190" y="254947"/>
                    <a:pt x="819103" y="260673"/>
                    <a:pt x="819150" y="266776"/>
                  </a:cubicBezTo>
                  <a:lnTo>
                    <a:pt x="819150" y="362026"/>
                  </a:lnTo>
                  <a:cubicBezTo>
                    <a:pt x="819150" y="372548"/>
                    <a:pt x="810621" y="381076"/>
                    <a:pt x="800100" y="381076"/>
                  </a:cubicBezTo>
                  <a:lnTo>
                    <a:pt x="769620" y="381076"/>
                  </a:lnTo>
                  <a:cubicBezTo>
                    <a:pt x="770894" y="387346"/>
                    <a:pt x="771533" y="393728"/>
                    <a:pt x="771525" y="400126"/>
                  </a:cubicBezTo>
                  <a:lnTo>
                    <a:pt x="800100" y="400126"/>
                  </a:lnTo>
                  <a:cubicBezTo>
                    <a:pt x="821114" y="400059"/>
                    <a:pt x="838132" y="383040"/>
                    <a:pt x="838200" y="362026"/>
                  </a:cubicBezTo>
                  <a:lnTo>
                    <a:pt x="838200" y="266776"/>
                  </a:lnTo>
                  <a:cubicBezTo>
                    <a:pt x="838161" y="254791"/>
                    <a:pt x="832524" y="243511"/>
                    <a:pt x="822960" y="236287"/>
                  </a:cubicBezTo>
                  <a:close/>
                  <a:moveTo>
                    <a:pt x="552450" y="237620"/>
                  </a:moveTo>
                  <a:lnTo>
                    <a:pt x="19050" y="237620"/>
                  </a:lnTo>
                  <a:lnTo>
                    <a:pt x="19050" y="19050"/>
                  </a:lnTo>
                  <a:lnTo>
                    <a:pt x="552450" y="19050"/>
                  </a:lnTo>
                  <a:close/>
                  <a:moveTo>
                    <a:pt x="628650" y="76200"/>
                  </a:moveTo>
                  <a:lnTo>
                    <a:pt x="666750" y="76200"/>
                  </a:lnTo>
                  <a:cubicBezTo>
                    <a:pt x="692156" y="76649"/>
                    <a:pt x="714384" y="93407"/>
                    <a:pt x="721805" y="117710"/>
                  </a:cubicBezTo>
                  <a:lnTo>
                    <a:pt x="740769" y="183147"/>
                  </a:lnTo>
                  <a:cubicBezTo>
                    <a:pt x="741416" y="185474"/>
                    <a:pt x="742218" y="187756"/>
                    <a:pt x="743169" y="189976"/>
                  </a:cubicBezTo>
                  <a:lnTo>
                    <a:pt x="628650" y="189976"/>
                  </a:lnTo>
                  <a:close/>
                </a:path>
              </a:pathLst>
            </a:custGeom>
            <a:solidFill>
              <a:schemeClr val="lt1"/>
            </a:solidFill>
            <a:ln w="12700" cap="flat">
              <a:solidFill>
                <a:schemeClr val="accent5"/>
              </a:solidFill>
              <a:prstDash val="solid"/>
              <a:miter/>
            </a:ln>
          </p:spPr>
          <p:txBody>
            <a:bodyPr rtlCol="0" anchor="ctr"/>
            <a:lstStyle/>
            <a:p>
              <a:endParaRPr lang="en-GB"/>
            </a:p>
          </p:txBody>
        </p:sp>
        <p:sp>
          <p:nvSpPr>
            <p:cNvPr id="158" name="Frihandsfigur: Form 157">
              <a:extLst>
                <a:ext uri="{FF2B5EF4-FFF2-40B4-BE49-F238E27FC236}">
                  <a16:creationId xmlns:a16="http://schemas.microsoft.com/office/drawing/2014/main" id="{4C2E8776-EDB0-14FC-2861-F68861841265}"/>
                </a:ext>
              </a:extLst>
            </p:cNvPr>
            <p:cNvSpPr/>
            <p:nvPr/>
          </p:nvSpPr>
          <p:spPr>
            <a:xfrm>
              <a:off x="13150180" y="4653584"/>
              <a:ext cx="152400" cy="152400"/>
            </a:xfrm>
            <a:custGeom>
              <a:avLst/>
              <a:gdLst>
                <a:gd name="connsiteX0" fmla="*/ 76200 w 152400"/>
                <a:gd name="connsiteY0" fmla="*/ 0 h 152400"/>
                <a:gd name="connsiteX1" fmla="*/ 0 w 152400"/>
                <a:gd name="connsiteY1" fmla="*/ 76200 h 152400"/>
                <a:gd name="connsiteX2" fmla="*/ 76200 w 152400"/>
                <a:gd name="connsiteY2" fmla="*/ 152400 h 152400"/>
                <a:gd name="connsiteX3" fmla="*/ 152400 w 152400"/>
                <a:gd name="connsiteY3" fmla="*/ 76200 h 152400"/>
                <a:gd name="connsiteX4" fmla="*/ 76200 w 152400"/>
                <a:gd name="connsiteY4" fmla="*/ 0 h 152400"/>
                <a:gd name="connsiteX5" fmla="*/ 76200 w 152400"/>
                <a:gd name="connsiteY5" fmla="*/ 133350 h 152400"/>
                <a:gd name="connsiteX6" fmla="*/ 19050 w 152400"/>
                <a:gd name="connsiteY6" fmla="*/ 76200 h 152400"/>
                <a:gd name="connsiteX7" fmla="*/ 76200 w 152400"/>
                <a:gd name="connsiteY7" fmla="*/ 19050 h 152400"/>
                <a:gd name="connsiteX8" fmla="*/ 133350 w 152400"/>
                <a:gd name="connsiteY8" fmla="*/ 76200 h 152400"/>
                <a:gd name="connsiteX9" fmla="*/ 76200 w 152400"/>
                <a:gd name="connsiteY9" fmla="*/ 133388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2400" h="152400">
                  <a:moveTo>
                    <a:pt x="76200" y="0"/>
                  </a:moveTo>
                  <a:cubicBezTo>
                    <a:pt x="34116" y="0"/>
                    <a:pt x="0" y="34116"/>
                    <a:pt x="0" y="76200"/>
                  </a:cubicBezTo>
                  <a:cubicBezTo>
                    <a:pt x="0" y="118284"/>
                    <a:pt x="34116" y="152400"/>
                    <a:pt x="76200" y="152400"/>
                  </a:cubicBezTo>
                  <a:cubicBezTo>
                    <a:pt x="118284" y="152400"/>
                    <a:pt x="152400" y="118284"/>
                    <a:pt x="152400" y="76200"/>
                  </a:cubicBezTo>
                  <a:cubicBezTo>
                    <a:pt x="152348" y="34138"/>
                    <a:pt x="118262" y="52"/>
                    <a:pt x="76200" y="0"/>
                  </a:cubicBezTo>
                  <a:close/>
                  <a:moveTo>
                    <a:pt x="76200" y="133350"/>
                  </a:moveTo>
                  <a:cubicBezTo>
                    <a:pt x="44637" y="133350"/>
                    <a:pt x="19050" y="107763"/>
                    <a:pt x="19050" y="76200"/>
                  </a:cubicBezTo>
                  <a:cubicBezTo>
                    <a:pt x="19050" y="44637"/>
                    <a:pt x="44637" y="19050"/>
                    <a:pt x="76200" y="19050"/>
                  </a:cubicBezTo>
                  <a:cubicBezTo>
                    <a:pt x="107763" y="19050"/>
                    <a:pt x="133350" y="44637"/>
                    <a:pt x="133350" y="76200"/>
                  </a:cubicBezTo>
                  <a:cubicBezTo>
                    <a:pt x="133329" y="107760"/>
                    <a:pt x="107760" y="133346"/>
                    <a:pt x="76200" y="133388"/>
                  </a:cubicBezTo>
                  <a:close/>
                </a:path>
              </a:pathLst>
            </a:custGeom>
            <a:solidFill>
              <a:schemeClr val="lt1"/>
            </a:solidFill>
            <a:ln w="12700" cap="flat">
              <a:solidFill>
                <a:schemeClr val="accent5"/>
              </a:solidFill>
              <a:prstDash val="solid"/>
              <a:miter/>
            </a:ln>
          </p:spPr>
          <p:txBody>
            <a:bodyPr rtlCol="0" anchor="ctr"/>
            <a:lstStyle/>
            <a:p>
              <a:endParaRPr lang="en-GB"/>
            </a:p>
          </p:txBody>
        </p:sp>
      </p:grpSp>
      <p:sp>
        <p:nvSpPr>
          <p:cNvPr id="5" name="Bild 12" descr="Present kontur">
            <a:extLst>
              <a:ext uri="{FF2B5EF4-FFF2-40B4-BE49-F238E27FC236}">
                <a16:creationId xmlns:a16="http://schemas.microsoft.com/office/drawing/2014/main" id="{5C2503EA-64D6-0655-7807-8CEB19A9FAC5}"/>
              </a:ext>
            </a:extLst>
          </p:cNvPr>
          <p:cNvSpPr/>
          <p:nvPr/>
        </p:nvSpPr>
        <p:spPr>
          <a:xfrm>
            <a:off x="10092760" y="1941225"/>
            <a:ext cx="513463" cy="566320"/>
          </a:xfrm>
          <a:custGeom>
            <a:avLst/>
            <a:gdLst>
              <a:gd name="connsiteX0" fmla="*/ 390164 w 513463"/>
              <a:gd name="connsiteY0" fmla="*/ 128367 h 566320"/>
              <a:gd name="connsiteX1" fmla="*/ 400735 w 513463"/>
              <a:gd name="connsiteY1" fmla="*/ 71478 h 566320"/>
              <a:gd name="connsiteX2" fmla="*/ 399723 w 513463"/>
              <a:gd name="connsiteY2" fmla="*/ 69213 h 566320"/>
              <a:gd name="connsiteX3" fmla="*/ 331672 w 513463"/>
              <a:gd name="connsiteY3" fmla="*/ 42649 h 566320"/>
              <a:gd name="connsiteX4" fmla="*/ 315221 w 513463"/>
              <a:gd name="connsiteY4" fmla="*/ 54111 h 566320"/>
              <a:gd name="connsiteX5" fmla="*/ 308531 w 513463"/>
              <a:gd name="connsiteY5" fmla="*/ 61058 h 566320"/>
              <a:gd name="connsiteX6" fmla="*/ 267406 w 513463"/>
              <a:gd name="connsiteY6" fmla="*/ 888 h 566320"/>
              <a:gd name="connsiteX7" fmla="*/ 258068 w 513463"/>
              <a:gd name="connsiteY7" fmla="*/ 1 h 566320"/>
              <a:gd name="connsiteX8" fmla="*/ 255546 w 513463"/>
              <a:gd name="connsiteY8" fmla="*/ 1 h 566320"/>
              <a:gd name="connsiteX9" fmla="*/ 203678 w 513463"/>
              <a:gd name="connsiteY9" fmla="*/ 51247 h 566320"/>
              <a:gd name="connsiteX10" fmla="*/ 205967 w 513463"/>
              <a:gd name="connsiteY10" fmla="*/ 66751 h 566320"/>
              <a:gd name="connsiteX11" fmla="*/ 193779 w 513463"/>
              <a:gd name="connsiteY11" fmla="*/ 54096 h 566320"/>
              <a:gd name="connsiteX12" fmla="*/ 120739 w 513463"/>
              <a:gd name="connsiteY12" fmla="*/ 52746 h 566320"/>
              <a:gd name="connsiteX13" fmla="*/ 109277 w 513463"/>
              <a:gd name="connsiteY13" fmla="*/ 69198 h 566320"/>
              <a:gd name="connsiteX14" fmla="*/ 108265 w 513463"/>
              <a:gd name="connsiteY14" fmla="*/ 71463 h 566320"/>
              <a:gd name="connsiteX15" fmla="*/ 118746 w 513463"/>
              <a:gd name="connsiteY15" fmla="*/ 128367 h 566320"/>
              <a:gd name="connsiteX16" fmla="*/ 0 w 513463"/>
              <a:gd name="connsiteY16" fmla="*/ 128367 h 566320"/>
              <a:gd name="connsiteX17" fmla="*/ 0 w 513463"/>
              <a:gd name="connsiteY17" fmla="*/ 566321 h 566320"/>
              <a:gd name="connsiteX18" fmla="*/ 513463 w 513463"/>
              <a:gd name="connsiteY18" fmla="*/ 566321 h 566320"/>
              <a:gd name="connsiteX19" fmla="*/ 513463 w 513463"/>
              <a:gd name="connsiteY19" fmla="*/ 128367 h 566320"/>
              <a:gd name="connsiteX20" fmla="*/ 498361 w 513463"/>
              <a:gd name="connsiteY20" fmla="*/ 286936 h 566320"/>
              <a:gd name="connsiteX21" fmla="*/ 286935 w 513463"/>
              <a:gd name="connsiteY21" fmla="*/ 286936 h 566320"/>
              <a:gd name="connsiteX22" fmla="*/ 286935 w 513463"/>
              <a:gd name="connsiteY22" fmla="*/ 143469 h 566320"/>
              <a:gd name="connsiteX23" fmla="*/ 498361 w 513463"/>
              <a:gd name="connsiteY23" fmla="*/ 143469 h 566320"/>
              <a:gd name="connsiteX24" fmla="*/ 226528 w 513463"/>
              <a:gd name="connsiteY24" fmla="*/ 332242 h 566320"/>
              <a:gd name="connsiteX25" fmla="*/ 15102 w 513463"/>
              <a:gd name="connsiteY25" fmla="*/ 332242 h 566320"/>
              <a:gd name="connsiteX26" fmla="*/ 15102 w 513463"/>
              <a:gd name="connsiteY26" fmla="*/ 302038 h 566320"/>
              <a:gd name="connsiteX27" fmla="*/ 226528 w 513463"/>
              <a:gd name="connsiteY27" fmla="*/ 302038 h 566320"/>
              <a:gd name="connsiteX28" fmla="*/ 241630 w 513463"/>
              <a:gd name="connsiteY28" fmla="*/ 143469 h 566320"/>
              <a:gd name="connsiteX29" fmla="*/ 271833 w 513463"/>
              <a:gd name="connsiteY29" fmla="*/ 143469 h 566320"/>
              <a:gd name="connsiteX30" fmla="*/ 271833 w 513463"/>
              <a:gd name="connsiteY30" fmla="*/ 551219 h 566320"/>
              <a:gd name="connsiteX31" fmla="*/ 241630 w 513463"/>
              <a:gd name="connsiteY31" fmla="*/ 551219 h 566320"/>
              <a:gd name="connsiteX32" fmla="*/ 286935 w 513463"/>
              <a:gd name="connsiteY32" fmla="*/ 302038 h 566320"/>
              <a:gd name="connsiteX33" fmla="*/ 498361 w 513463"/>
              <a:gd name="connsiteY33" fmla="*/ 302038 h 566320"/>
              <a:gd name="connsiteX34" fmla="*/ 498361 w 513463"/>
              <a:gd name="connsiteY34" fmla="*/ 332242 h 566320"/>
              <a:gd name="connsiteX35" fmla="*/ 286935 w 513463"/>
              <a:gd name="connsiteY35" fmla="*/ 332242 h 566320"/>
              <a:gd name="connsiteX36" fmla="*/ 326094 w 513463"/>
              <a:gd name="connsiteY36" fmla="*/ 64576 h 566320"/>
              <a:gd name="connsiteX37" fmla="*/ 352190 w 513463"/>
              <a:gd name="connsiteY37" fmla="*/ 53356 h 566320"/>
              <a:gd name="connsiteX38" fmla="*/ 358843 w 513463"/>
              <a:gd name="connsiteY38" fmla="*/ 53952 h 566320"/>
              <a:gd name="connsiteX39" fmla="*/ 385890 w 513463"/>
              <a:gd name="connsiteY39" fmla="*/ 75246 h 566320"/>
              <a:gd name="connsiteX40" fmla="*/ 386902 w 513463"/>
              <a:gd name="connsiteY40" fmla="*/ 77511 h 566320"/>
              <a:gd name="connsiteX41" fmla="*/ 368096 w 513463"/>
              <a:gd name="connsiteY41" fmla="*/ 125676 h 566320"/>
              <a:gd name="connsiteX42" fmla="*/ 358964 w 513463"/>
              <a:gd name="connsiteY42" fmla="*/ 128329 h 566320"/>
              <a:gd name="connsiteX43" fmla="*/ 264970 w 513463"/>
              <a:gd name="connsiteY43" fmla="*/ 127974 h 566320"/>
              <a:gd name="connsiteX44" fmla="*/ 221416 w 513463"/>
              <a:gd name="connsiteY44" fmla="*/ 65400 h 566320"/>
              <a:gd name="connsiteX45" fmla="*/ 241527 w 513463"/>
              <a:gd name="connsiteY45" fmla="*/ 17788 h 566320"/>
              <a:gd name="connsiteX46" fmla="*/ 255267 w 513463"/>
              <a:gd name="connsiteY46" fmla="*/ 15103 h 566320"/>
              <a:gd name="connsiteX47" fmla="*/ 255463 w 513463"/>
              <a:gd name="connsiteY47" fmla="*/ 15103 h 566320"/>
              <a:gd name="connsiteX48" fmla="*/ 257993 w 513463"/>
              <a:gd name="connsiteY48" fmla="*/ 15103 h 566320"/>
              <a:gd name="connsiteX49" fmla="*/ 294351 w 513463"/>
              <a:gd name="connsiteY49" fmla="*/ 51836 h 566320"/>
              <a:gd name="connsiteX50" fmla="*/ 291526 w 513463"/>
              <a:gd name="connsiteY50" fmla="*/ 65739 h 566320"/>
              <a:gd name="connsiteX51" fmla="*/ 281982 w 513463"/>
              <a:gd name="connsiteY51" fmla="*/ 88581 h 566320"/>
              <a:gd name="connsiteX52" fmla="*/ 254466 w 513463"/>
              <a:gd name="connsiteY52" fmla="*/ 117131 h 566320"/>
              <a:gd name="connsiteX53" fmla="*/ 233611 w 513463"/>
              <a:gd name="connsiteY53" fmla="*/ 95445 h 566320"/>
              <a:gd name="connsiteX54" fmla="*/ 124764 w 513463"/>
              <a:gd name="connsiteY54" fmla="*/ 111868 h 566320"/>
              <a:gd name="connsiteX55" fmla="*/ 122114 w 513463"/>
              <a:gd name="connsiteY55" fmla="*/ 77549 h 566320"/>
              <a:gd name="connsiteX56" fmla="*/ 123125 w 513463"/>
              <a:gd name="connsiteY56" fmla="*/ 75284 h 566320"/>
              <a:gd name="connsiteX57" fmla="*/ 150173 w 513463"/>
              <a:gd name="connsiteY57" fmla="*/ 53990 h 566320"/>
              <a:gd name="connsiteX58" fmla="*/ 156825 w 513463"/>
              <a:gd name="connsiteY58" fmla="*/ 53394 h 566320"/>
              <a:gd name="connsiteX59" fmla="*/ 182929 w 513463"/>
              <a:gd name="connsiteY59" fmla="*/ 64614 h 566320"/>
              <a:gd name="connsiteX60" fmla="*/ 244038 w 513463"/>
              <a:gd name="connsiteY60" fmla="*/ 128042 h 566320"/>
              <a:gd name="connsiteX61" fmla="*/ 150014 w 513463"/>
              <a:gd name="connsiteY61" fmla="*/ 128367 h 566320"/>
              <a:gd name="connsiteX62" fmla="*/ 124741 w 513463"/>
              <a:gd name="connsiteY62" fmla="*/ 111868 h 566320"/>
              <a:gd name="connsiteX63" fmla="*/ 226528 w 513463"/>
              <a:gd name="connsiteY63" fmla="*/ 143469 h 566320"/>
              <a:gd name="connsiteX64" fmla="*/ 226528 w 513463"/>
              <a:gd name="connsiteY64" fmla="*/ 286936 h 566320"/>
              <a:gd name="connsiteX65" fmla="*/ 15102 w 513463"/>
              <a:gd name="connsiteY65" fmla="*/ 286936 h 566320"/>
              <a:gd name="connsiteX66" fmla="*/ 15102 w 513463"/>
              <a:gd name="connsiteY66" fmla="*/ 143469 h 566320"/>
              <a:gd name="connsiteX67" fmla="*/ 15102 w 513463"/>
              <a:gd name="connsiteY67" fmla="*/ 347344 h 566320"/>
              <a:gd name="connsiteX68" fmla="*/ 226528 w 513463"/>
              <a:gd name="connsiteY68" fmla="*/ 347344 h 566320"/>
              <a:gd name="connsiteX69" fmla="*/ 226528 w 513463"/>
              <a:gd name="connsiteY69" fmla="*/ 551219 h 566320"/>
              <a:gd name="connsiteX70" fmla="*/ 15102 w 513463"/>
              <a:gd name="connsiteY70" fmla="*/ 551219 h 566320"/>
              <a:gd name="connsiteX71" fmla="*/ 286935 w 513463"/>
              <a:gd name="connsiteY71" fmla="*/ 551219 h 566320"/>
              <a:gd name="connsiteX72" fmla="*/ 286935 w 513463"/>
              <a:gd name="connsiteY72" fmla="*/ 347344 h 566320"/>
              <a:gd name="connsiteX73" fmla="*/ 498361 w 513463"/>
              <a:gd name="connsiteY73" fmla="*/ 347344 h 566320"/>
              <a:gd name="connsiteX74" fmla="*/ 498361 w 513463"/>
              <a:gd name="connsiteY74" fmla="*/ 551219 h 566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513463" h="566320">
                <a:moveTo>
                  <a:pt x="390164" y="128367"/>
                </a:moveTo>
                <a:cubicBezTo>
                  <a:pt x="405211" y="113466"/>
                  <a:pt x="409426" y="90790"/>
                  <a:pt x="400735" y="71478"/>
                </a:cubicBezTo>
                <a:lnTo>
                  <a:pt x="399723" y="69213"/>
                </a:lnTo>
                <a:cubicBezTo>
                  <a:pt x="388267" y="43085"/>
                  <a:pt x="357799" y="31192"/>
                  <a:pt x="331672" y="42649"/>
                </a:cubicBezTo>
                <a:cubicBezTo>
                  <a:pt x="325493" y="45358"/>
                  <a:pt x="319903" y="49253"/>
                  <a:pt x="315221" y="54111"/>
                </a:cubicBezTo>
                <a:lnTo>
                  <a:pt x="308531" y="61058"/>
                </a:lnTo>
                <a:cubicBezTo>
                  <a:pt x="313790" y="33086"/>
                  <a:pt x="295377" y="6147"/>
                  <a:pt x="267406" y="888"/>
                </a:cubicBezTo>
                <a:cubicBezTo>
                  <a:pt x="264326" y="309"/>
                  <a:pt x="261201" y="12"/>
                  <a:pt x="258068" y="1"/>
                </a:cubicBezTo>
                <a:lnTo>
                  <a:pt x="255546" y="1"/>
                </a:lnTo>
                <a:cubicBezTo>
                  <a:pt x="227072" y="-171"/>
                  <a:pt x="203850" y="22772"/>
                  <a:pt x="203678" y="51247"/>
                </a:cubicBezTo>
                <a:cubicBezTo>
                  <a:pt x="203646" y="56502"/>
                  <a:pt x="204418" y="61730"/>
                  <a:pt x="205967" y="66751"/>
                </a:cubicBezTo>
                <a:lnTo>
                  <a:pt x="193779" y="54096"/>
                </a:lnTo>
                <a:cubicBezTo>
                  <a:pt x="173982" y="33554"/>
                  <a:pt x="141282" y="32949"/>
                  <a:pt x="120739" y="52746"/>
                </a:cubicBezTo>
                <a:cubicBezTo>
                  <a:pt x="115881" y="57429"/>
                  <a:pt x="111987" y="63018"/>
                  <a:pt x="109277" y="69198"/>
                </a:cubicBezTo>
                <a:lnTo>
                  <a:pt x="108265" y="71463"/>
                </a:lnTo>
                <a:cubicBezTo>
                  <a:pt x="99673" y="90775"/>
                  <a:pt x="103837" y="113383"/>
                  <a:pt x="118746" y="128367"/>
                </a:cubicBezTo>
                <a:lnTo>
                  <a:pt x="0" y="128367"/>
                </a:lnTo>
                <a:lnTo>
                  <a:pt x="0" y="566321"/>
                </a:lnTo>
                <a:lnTo>
                  <a:pt x="513463" y="566321"/>
                </a:lnTo>
                <a:lnTo>
                  <a:pt x="513463" y="128367"/>
                </a:lnTo>
                <a:close/>
                <a:moveTo>
                  <a:pt x="498361" y="286936"/>
                </a:moveTo>
                <a:lnTo>
                  <a:pt x="286935" y="286936"/>
                </a:lnTo>
                <a:lnTo>
                  <a:pt x="286935" y="143469"/>
                </a:lnTo>
                <a:lnTo>
                  <a:pt x="498361" y="143469"/>
                </a:lnTo>
                <a:close/>
                <a:moveTo>
                  <a:pt x="226528" y="332242"/>
                </a:moveTo>
                <a:lnTo>
                  <a:pt x="15102" y="332242"/>
                </a:lnTo>
                <a:lnTo>
                  <a:pt x="15102" y="302038"/>
                </a:lnTo>
                <a:lnTo>
                  <a:pt x="226528" y="302038"/>
                </a:lnTo>
                <a:close/>
                <a:moveTo>
                  <a:pt x="241630" y="143469"/>
                </a:moveTo>
                <a:lnTo>
                  <a:pt x="271833" y="143469"/>
                </a:lnTo>
                <a:lnTo>
                  <a:pt x="271833" y="551219"/>
                </a:lnTo>
                <a:lnTo>
                  <a:pt x="241630" y="551219"/>
                </a:lnTo>
                <a:close/>
                <a:moveTo>
                  <a:pt x="286935" y="302038"/>
                </a:moveTo>
                <a:lnTo>
                  <a:pt x="498361" y="302038"/>
                </a:lnTo>
                <a:lnTo>
                  <a:pt x="498361" y="332242"/>
                </a:lnTo>
                <a:lnTo>
                  <a:pt x="286935" y="332242"/>
                </a:lnTo>
                <a:close/>
                <a:moveTo>
                  <a:pt x="326094" y="64576"/>
                </a:moveTo>
                <a:cubicBezTo>
                  <a:pt x="332882" y="57409"/>
                  <a:pt x="342320" y="53351"/>
                  <a:pt x="352190" y="53356"/>
                </a:cubicBezTo>
                <a:cubicBezTo>
                  <a:pt x="354421" y="53357"/>
                  <a:pt x="356648" y="53557"/>
                  <a:pt x="358843" y="53952"/>
                </a:cubicBezTo>
                <a:cubicBezTo>
                  <a:pt x="370887" y="56002"/>
                  <a:pt x="381070" y="64019"/>
                  <a:pt x="385890" y="75246"/>
                </a:cubicBezTo>
                <a:lnTo>
                  <a:pt x="386902" y="77511"/>
                </a:lnTo>
                <a:cubicBezTo>
                  <a:pt x="395009" y="96005"/>
                  <a:pt x="386589" y="117569"/>
                  <a:pt x="368096" y="125676"/>
                </a:cubicBezTo>
                <a:cubicBezTo>
                  <a:pt x="365180" y="126954"/>
                  <a:pt x="362110" y="127846"/>
                  <a:pt x="358964" y="128329"/>
                </a:cubicBezTo>
                <a:lnTo>
                  <a:pt x="264970" y="127974"/>
                </a:lnTo>
                <a:close/>
                <a:moveTo>
                  <a:pt x="221416" y="65400"/>
                </a:moveTo>
                <a:cubicBezTo>
                  <a:pt x="213822" y="46699"/>
                  <a:pt x="222826" y="25382"/>
                  <a:pt x="241527" y="17788"/>
                </a:cubicBezTo>
                <a:cubicBezTo>
                  <a:pt x="245891" y="16016"/>
                  <a:pt x="250556" y="15104"/>
                  <a:pt x="255267" y="15103"/>
                </a:cubicBezTo>
                <a:lnTo>
                  <a:pt x="255463" y="15103"/>
                </a:lnTo>
                <a:lnTo>
                  <a:pt x="257993" y="15103"/>
                </a:lnTo>
                <a:cubicBezTo>
                  <a:pt x="278176" y="15206"/>
                  <a:pt x="294454" y="31652"/>
                  <a:pt x="294351" y="51836"/>
                </a:cubicBezTo>
                <a:cubicBezTo>
                  <a:pt x="294327" y="56610"/>
                  <a:pt x="293367" y="61334"/>
                  <a:pt x="291526" y="65739"/>
                </a:cubicBezTo>
                <a:lnTo>
                  <a:pt x="281982" y="88581"/>
                </a:lnTo>
                <a:lnTo>
                  <a:pt x="254466" y="117131"/>
                </a:lnTo>
                <a:lnTo>
                  <a:pt x="233611" y="95445"/>
                </a:lnTo>
                <a:close/>
                <a:moveTo>
                  <a:pt x="124764" y="111868"/>
                </a:moveTo>
                <a:cubicBezTo>
                  <a:pt x="118116" y="101618"/>
                  <a:pt x="117119" y="88698"/>
                  <a:pt x="122114" y="77549"/>
                </a:cubicBezTo>
                <a:lnTo>
                  <a:pt x="123125" y="75284"/>
                </a:lnTo>
                <a:cubicBezTo>
                  <a:pt x="127945" y="64057"/>
                  <a:pt x="138128" y="56040"/>
                  <a:pt x="150173" y="53990"/>
                </a:cubicBezTo>
                <a:cubicBezTo>
                  <a:pt x="152369" y="53594"/>
                  <a:pt x="154595" y="53395"/>
                  <a:pt x="156825" y="53394"/>
                </a:cubicBezTo>
                <a:cubicBezTo>
                  <a:pt x="166698" y="53389"/>
                  <a:pt x="176138" y="57447"/>
                  <a:pt x="182929" y="64614"/>
                </a:cubicBezTo>
                <a:lnTo>
                  <a:pt x="244038" y="128042"/>
                </a:lnTo>
                <a:lnTo>
                  <a:pt x="150014" y="128367"/>
                </a:lnTo>
                <a:cubicBezTo>
                  <a:pt x="139576" y="126846"/>
                  <a:pt x="130334" y="120813"/>
                  <a:pt x="124741" y="111868"/>
                </a:cubicBezTo>
                <a:close/>
                <a:moveTo>
                  <a:pt x="226528" y="143469"/>
                </a:moveTo>
                <a:lnTo>
                  <a:pt x="226528" y="286936"/>
                </a:lnTo>
                <a:lnTo>
                  <a:pt x="15102" y="286936"/>
                </a:lnTo>
                <a:lnTo>
                  <a:pt x="15102" y="143469"/>
                </a:lnTo>
                <a:close/>
                <a:moveTo>
                  <a:pt x="15102" y="347344"/>
                </a:moveTo>
                <a:lnTo>
                  <a:pt x="226528" y="347344"/>
                </a:lnTo>
                <a:lnTo>
                  <a:pt x="226528" y="551219"/>
                </a:lnTo>
                <a:lnTo>
                  <a:pt x="15102" y="551219"/>
                </a:lnTo>
                <a:close/>
                <a:moveTo>
                  <a:pt x="286935" y="551219"/>
                </a:moveTo>
                <a:lnTo>
                  <a:pt x="286935" y="347344"/>
                </a:lnTo>
                <a:lnTo>
                  <a:pt x="498361" y="347344"/>
                </a:lnTo>
                <a:lnTo>
                  <a:pt x="498361" y="551219"/>
                </a:lnTo>
                <a:close/>
              </a:path>
            </a:pathLst>
          </a:custGeom>
          <a:solidFill>
            <a:schemeClr val="bg1"/>
          </a:solidFill>
          <a:ln w="7541" cap="flat">
            <a:solidFill>
              <a:schemeClr val="bg1"/>
            </a:solidFill>
            <a:prstDash val="solid"/>
            <a:miter/>
          </a:ln>
        </p:spPr>
        <p:txBody>
          <a:bodyPr rtlCol="0" anchor="ctr"/>
          <a:lstStyle/>
          <a:p>
            <a:endParaRPr lang="en-GB"/>
          </a:p>
        </p:txBody>
      </p:sp>
      <p:sp>
        <p:nvSpPr>
          <p:cNvPr id="22" name="Bild 24" descr="Blixt kontur">
            <a:extLst>
              <a:ext uri="{FF2B5EF4-FFF2-40B4-BE49-F238E27FC236}">
                <a16:creationId xmlns:a16="http://schemas.microsoft.com/office/drawing/2014/main" id="{FF6582AA-7F85-BEF0-E43C-CE590DA38273}"/>
              </a:ext>
            </a:extLst>
          </p:cNvPr>
          <p:cNvSpPr/>
          <p:nvPr/>
        </p:nvSpPr>
        <p:spPr>
          <a:xfrm>
            <a:off x="7219901" y="2011936"/>
            <a:ext cx="270589" cy="552764"/>
          </a:xfrm>
          <a:custGeom>
            <a:avLst/>
            <a:gdLst>
              <a:gd name="connsiteX0" fmla="*/ 40709 w 270589"/>
              <a:gd name="connsiteY0" fmla="*/ 552678 h 552764"/>
              <a:gd name="connsiteX1" fmla="*/ 40755 w 270589"/>
              <a:gd name="connsiteY1" fmla="*/ 552762 h 552764"/>
              <a:gd name="connsiteX2" fmla="*/ 40776 w 270589"/>
              <a:gd name="connsiteY2" fmla="*/ 552765 h 552764"/>
              <a:gd name="connsiteX3" fmla="*/ 40831 w 270589"/>
              <a:gd name="connsiteY3" fmla="*/ 552736 h 552764"/>
              <a:gd name="connsiteX4" fmla="*/ 270589 w 270589"/>
              <a:gd name="connsiteY4" fmla="*/ 221613 h 552764"/>
              <a:gd name="connsiteX5" fmla="*/ 155589 w 270589"/>
              <a:gd name="connsiteY5" fmla="*/ 221613 h 552764"/>
              <a:gd name="connsiteX6" fmla="*/ 227160 w 270589"/>
              <a:gd name="connsiteY6" fmla="*/ 0 h 552764"/>
              <a:gd name="connsiteX7" fmla="*/ 56959 w 270589"/>
              <a:gd name="connsiteY7" fmla="*/ 0 h 552764"/>
              <a:gd name="connsiteX8" fmla="*/ 0 w 270589"/>
              <a:gd name="connsiteY8" fmla="*/ 302789 h 552764"/>
              <a:gd name="connsiteX9" fmla="*/ 115000 w 270589"/>
              <a:gd name="connsiteY9" fmla="*/ 302789 h 552764"/>
              <a:gd name="connsiteX10" fmla="*/ 16312 w 270589"/>
              <a:gd name="connsiteY10" fmla="*/ 289260 h 552764"/>
              <a:gd name="connsiteX11" fmla="*/ 68181 w 270589"/>
              <a:gd name="connsiteY11" fmla="*/ 13529 h 552764"/>
              <a:gd name="connsiteX12" fmla="*/ 208573 w 270589"/>
              <a:gd name="connsiteY12" fmla="*/ 13529 h 552764"/>
              <a:gd name="connsiteX13" fmla="*/ 142714 w 270589"/>
              <a:gd name="connsiteY13" fmla="*/ 217455 h 552764"/>
              <a:gd name="connsiteX14" fmla="*/ 137002 w 270589"/>
              <a:gd name="connsiteY14" fmla="*/ 235142 h 552764"/>
              <a:gd name="connsiteX15" fmla="*/ 244734 w 270589"/>
              <a:gd name="connsiteY15" fmla="*/ 235142 h 552764"/>
              <a:gd name="connsiteX16" fmla="*/ 77869 w 270589"/>
              <a:gd name="connsiteY16" fmla="*/ 475623 h 552764"/>
              <a:gd name="connsiteX17" fmla="*/ 77749 w 270589"/>
              <a:gd name="connsiteY17" fmla="*/ 475565 h 552764"/>
              <a:gd name="connsiteX18" fmla="*/ 127969 w 270589"/>
              <a:gd name="connsiteY18" fmla="*/ 306645 h 552764"/>
              <a:gd name="connsiteX19" fmla="*/ 133138 w 270589"/>
              <a:gd name="connsiteY19" fmla="*/ 289260 h 552764"/>
              <a:gd name="connsiteX20" fmla="*/ 16311 w 270589"/>
              <a:gd name="connsiteY20" fmla="*/ 289260 h 552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70589" h="552764">
                <a:moveTo>
                  <a:pt x="40709" y="552678"/>
                </a:moveTo>
                <a:cubicBezTo>
                  <a:pt x="40698" y="552714"/>
                  <a:pt x="40719" y="552752"/>
                  <a:pt x="40755" y="552762"/>
                </a:cubicBezTo>
                <a:cubicBezTo>
                  <a:pt x="40762" y="552764"/>
                  <a:pt x="40769" y="552765"/>
                  <a:pt x="40776" y="552765"/>
                </a:cubicBezTo>
                <a:lnTo>
                  <a:pt x="40831" y="552736"/>
                </a:lnTo>
                <a:lnTo>
                  <a:pt x="270589" y="221613"/>
                </a:lnTo>
                <a:lnTo>
                  <a:pt x="155589" y="221613"/>
                </a:lnTo>
                <a:lnTo>
                  <a:pt x="227160" y="0"/>
                </a:lnTo>
                <a:lnTo>
                  <a:pt x="56959" y="0"/>
                </a:lnTo>
                <a:lnTo>
                  <a:pt x="0" y="302789"/>
                </a:lnTo>
                <a:lnTo>
                  <a:pt x="115000" y="302789"/>
                </a:lnTo>
                <a:close/>
                <a:moveTo>
                  <a:pt x="16312" y="289260"/>
                </a:moveTo>
                <a:lnTo>
                  <a:pt x="68181" y="13529"/>
                </a:lnTo>
                <a:lnTo>
                  <a:pt x="208573" y="13529"/>
                </a:lnTo>
                <a:lnTo>
                  <a:pt x="142714" y="217455"/>
                </a:lnTo>
                <a:lnTo>
                  <a:pt x="137002" y="235142"/>
                </a:lnTo>
                <a:lnTo>
                  <a:pt x="244734" y="235142"/>
                </a:lnTo>
                <a:lnTo>
                  <a:pt x="77869" y="475623"/>
                </a:lnTo>
                <a:cubicBezTo>
                  <a:pt x="77734" y="475814"/>
                  <a:pt x="77683" y="475788"/>
                  <a:pt x="77749" y="475565"/>
                </a:cubicBezTo>
                <a:lnTo>
                  <a:pt x="127969" y="306645"/>
                </a:lnTo>
                <a:lnTo>
                  <a:pt x="133138" y="289260"/>
                </a:lnTo>
                <a:lnTo>
                  <a:pt x="16311" y="289260"/>
                </a:lnTo>
                <a:close/>
              </a:path>
            </a:pathLst>
          </a:custGeom>
          <a:solidFill>
            <a:schemeClr val="bg1"/>
          </a:solidFill>
          <a:ln w="6747" cap="flat">
            <a:solidFill>
              <a:schemeClr val="bg1"/>
            </a:solidFill>
            <a:prstDash val="solid"/>
            <a:miter/>
          </a:ln>
        </p:spPr>
        <p:txBody>
          <a:bodyPr rtlCol="0" anchor="ctr"/>
          <a:lstStyle/>
          <a:p>
            <a:endParaRPr lang="en-GB"/>
          </a:p>
        </p:txBody>
      </p:sp>
      <p:sp>
        <p:nvSpPr>
          <p:cNvPr id="24" name="Bild 26" descr="Socialt nätverk kontur">
            <a:extLst>
              <a:ext uri="{FF2B5EF4-FFF2-40B4-BE49-F238E27FC236}">
                <a16:creationId xmlns:a16="http://schemas.microsoft.com/office/drawing/2014/main" id="{FBFD27F1-6239-8930-4232-6BE88DD9D00E}"/>
              </a:ext>
            </a:extLst>
          </p:cNvPr>
          <p:cNvSpPr/>
          <p:nvPr/>
        </p:nvSpPr>
        <p:spPr>
          <a:xfrm>
            <a:off x="3318184" y="1926093"/>
            <a:ext cx="589749" cy="560223"/>
          </a:xfrm>
          <a:custGeom>
            <a:avLst/>
            <a:gdLst>
              <a:gd name="connsiteX0" fmla="*/ 521596 w 589749"/>
              <a:gd name="connsiteY0" fmla="*/ 286966 h 560223"/>
              <a:gd name="connsiteX1" fmla="*/ 589750 w 589749"/>
              <a:gd name="connsiteY1" fmla="*/ 219007 h 560223"/>
              <a:gd name="connsiteX2" fmla="*/ 521790 w 589749"/>
              <a:gd name="connsiteY2" fmla="*/ 150853 h 560223"/>
              <a:gd name="connsiteX3" fmla="*/ 453637 w 589749"/>
              <a:gd name="connsiteY3" fmla="*/ 218812 h 560223"/>
              <a:gd name="connsiteX4" fmla="*/ 456560 w 589749"/>
              <a:gd name="connsiteY4" fmla="*/ 238640 h 560223"/>
              <a:gd name="connsiteX5" fmla="*/ 379540 w 589749"/>
              <a:gd name="connsiteY5" fmla="*/ 271456 h 560223"/>
              <a:gd name="connsiteX6" fmla="*/ 302619 w 589749"/>
              <a:gd name="connsiteY6" fmla="*/ 219392 h 560223"/>
              <a:gd name="connsiteX7" fmla="*/ 302619 w 589749"/>
              <a:gd name="connsiteY7" fmla="*/ 135502 h 560223"/>
              <a:gd name="connsiteX8" fmla="*/ 362606 w 589749"/>
              <a:gd name="connsiteY8" fmla="*/ 60413 h 560223"/>
              <a:gd name="connsiteX9" fmla="*/ 287517 w 589749"/>
              <a:gd name="connsiteY9" fmla="*/ 427 h 560223"/>
              <a:gd name="connsiteX10" fmla="*/ 227530 w 589749"/>
              <a:gd name="connsiteY10" fmla="*/ 75515 h 560223"/>
              <a:gd name="connsiteX11" fmla="*/ 287517 w 589749"/>
              <a:gd name="connsiteY11" fmla="*/ 135502 h 560223"/>
              <a:gd name="connsiteX12" fmla="*/ 287517 w 589749"/>
              <a:gd name="connsiteY12" fmla="*/ 219392 h 560223"/>
              <a:gd name="connsiteX13" fmla="*/ 210633 w 589749"/>
              <a:gd name="connsiteY13" fmla="*/ 271456 h 560223"/>
              <a:gd name="connsiteX14" fmla="*/ 133576 w 589749"/>
              <a:gd name="connsiteY14" fmla="*/ 238640 h 560223"/>
              <a:gd name="connsiteX15" fmla="*/ 88229 w 589749"/>
              <a:gd name="connsiteY15" fmla="*/ 153407 h 560223"/>
              <a:gd name="connsiteX16" fmla="*/ 2996 w 589749"/>
              <a:gd name="connsiteY16" fmla="*/ 198754 h 560223"/>
              <a:gd name="connsiteX17" fmla="*/ 48344 w 589749"/>
              <a:gd name="connsiteY17" fmla="*/ 283987 h 560223"/>
              <a:gd name="connsiteX18" fmla="*/ 127596 w 589749"/>
              <a:gd name="connsiteY18" fmla="*/ 252503 h 560223"/>
              <a:gd name="connsiteX19" fmla="*/ 204910 w 589749"/>
              <a:gd name="connsiteY19" fmla="*/ 285456 h 560223"/>
              <a:gd name="connsiteX20" fmla="*/ 221522 w 589749"/>
              <a:gd name="connsiteY20" fmla="*/ 372480 h 560223"/>
              <a:gd name="connsiteX21" fmla="*/ 159415 w 589749"/>
              <a:gd name="connsiteY21" fmla="*/ 434586 h 560223"/>
              <a:gd name="connsiteX22" fmla="*/ 63697 w 589749"/>
              <a:gd name="connsiteY22" fmla="*/ 452430 h 560223"/>
              <a:gd name="connsiteX23" fmla="*/ 81540 w 589749"/>
              <a:gd name="connsiteY23" fmla="*/ 548149 h 560223"/>
              <a:gd name="connsiteX24" fmla="*/ 177259 w 589749"/>
              <a:gd name="connsiteY24" fmla="*/ 530305 h 560223"/>
              <a:gd name="connsiteX25" fmla="*/ 170885 w 589749"/>
              <a:gd name="connsiteY25" fmla="*/ 444470 h 560223"/>
              <a:gd name="connsiteX26" fmla="*/ 231942 w 589749"/>
              <a:gd name="connsiteY26" fmla="*/ 383414 h 560223"/>
              <a:gd name="connsiteX27" fmla="*/ 358133 w 589749"/>
              <a:gd name="connsiteY27" fmla="*/ 383414 h 560223"/>
              <a:gd name="connsiteX28" fmla="*/ 419190 w 589749"/>
              <a:gd name="connsiteY28" fmla="*/ 444470 h 560223"/>
              <a:gd name="connsiteX29" fmla="*/ 422874 w 589749"/>
              <a:gd name="connsiteY29" fmla="*/ 539438 h 560223"/>
              <a:gd name="connsiteX30" fmla="*/ 517842 w 589749"/>
              <a:gd name="connsiteY30" fmla="*/ 535755 h 560223"/>
              <a:gd name="connsiteX31" fmla="*/ 514158 w 589749"/>
              <a:gd name="connsiteY31" fmla="*/ 440786 h 560223"/>
              <a:gd name="connsiteX32" fmla="*/ 430660 w 589749"/>
              <a:gd name="connsiteY32" fmla="*/ 434586 h 560223"/>
              <a:gd name="connsiteX33" fmla="*/ 368553 w 589749"/>
              <a:gd name="connsiteY33" fmla="*/ 372480 h 560223"/>
              <a:gd name="connsiteX34" fmla="*/ 385226 w 589749"/>
              <a:gd name="connsiteY34" fmla="*/ 285456 h 560223"/>
              <a:gd name="connsiteX35" fmla="*/ 462540 w 589749"/>
              <a:gd name="connsiteY35" fmla="*/ 252526 h 560223"/>
              <a:gd name="connsiteX36" fmla="*/ 521596 w 589749"/>
              <a:gd name="connsiteY36" fmla="*/ 286966 h 560223"/>
              <a:gd name="connsiteX37" fmla="*/ 38525 w 589749"/>
              <a:gd name="connsiteY37" fmla="*/ 262463 h 560223"/>
              <a:gd name="connsiteX38" fmla="*/ 70190 w 589749"/>
              <a:gd name="connsiteY38" fmla="*/ 234098 h 560223"/>
              <a:gd name="connsiteX39" fmla="*/ 98555 w 589749"/>
              <a:gd name="connsiteY39" fmla="*/ 262463 h 560223"/>
              <a:gd name="connsiteX40" fmla="*/ 38525 w 589749"/>
              <a:gd name="connsiteY40" fmla="*/ 262463 h 560223"/>
              <a:gd name="connsiteX41" fmla="*/ 57214 w 589749"/>
              <a:gd name="connsiteY41" fmla="*/ 207681 h 560223"/>
              <a:gd name="connsiteX42" fmla="*/ 68540 w 589749"/>
              <a:gd name="connsiteY42" fmla="*/ 196355 h 560223"/>
              <a:gd name="connsiteX43" fmla="*/ 79866 w 589749"/>
              <a:gd name="connsiteY43" fmla="*/ 207681 h 560223"/>
              <a:gd name="connsiteX44" fmla="*/ 68540 w 589749"/>
              <a:gd name="connsiteY44" fmla="*/ 219007 h 560223"/>
              <a:gd name="connsiteX45" fmla="*/ 57214 w 589749"/>
              <a:gd name="connsiteY45" fmla="*/ 207681 h 560223"/>
              <a:gd name="connsiteX46" fmla="*/ 111414 w 589749"/>
              <a:gd name="connsiteY46" fmla="*/ 249800 h 560223"/>
              <a:gd name="connsiteX47" fmla="*/ 89154 w 589749"/>
              <a:gd name="connsiteY47" fmla="*/ 224014 h 560223"/>
              <a:gd name="connsiteX48" fmla="*/ 94968 w 589749"/>
              <a:gd name="connsiteY48" fmla="*/ 207681 h 560223"/>
              <a:gd name="connsiteX49" fmla="*/ 68540 w 589749"/>
              <a:gd name="connsiteY49" fmla="*/ 181253 h 560223"/>
              <a:gd name="connsiteX50" fmla="*/ 42112 w 589749"/>
              <a:gd name="connsiteY50" fmla="*/ 207681 h 560223"/>
              <a:gd name="connsiteX51" fmla="*/ 47926 w 589749"/>
              <a:gd name="connsiteY51" fmla="*/ 224014 h 560223"/>
              <a:gd name="connsiteX52" fmla="*/ 25666 w 589749"/>
              <a:gd name="connsiteY52" fmla="*/ 249800 h 560223"/>
              <a:gd name="connsiteX53" fmla="*/ 37627 w 589749"/>
              <a:gd name="connsiteY53" fmla="*/ 176013 h 560223"/>
              <a:gd name="connsiteX54" fmla="*/ 111414 w 589749"/>
              <a:gd name="connsiteY54" fmla="*/ 187974 h 560223"/>
              <a:gd name="connsiteX55" fmla="*/ 111414 w 589749"/>
              <a:gd name="connsiteY55" fmla="*/ 249800 h 560223"/>
              <a:gd name="connsiteX56" fmla="*/ 283741 w 589749"/>
              <a:gd name="connsiteY56" fmla="*/ 56662 h 560223"/>
              <a:gd name="connsiteX57" fmla="*/ 295068 w 589749"/>
              <a:gd name="connsiteY57" fmla="*/ 45336 h 560223"/>
              <a:gd name="connsiteX58" fmla="*/ 306394 w 589749"/>
              <a:gd name="connsiteY58" fmla="*/ 56662 h 560223"/>
              <a:gd name="connsiteX59" fmla="*/ 295068 w 589749"/>
              <a:gd name="connsiteY59" fmla="*/ 67989 h 560223"/>
              <a:gd name="connsiteX60" fmla="*/ 283741 w 589749"/>
              <a:gd name="connsiteY60" fmla="*/ 56662 h 560223"/>
              <a:gd name="connsiteX61" fmla="*/ 295068 w 589749"/>
              <a:gd name="connsiteY61" fmla="*/ 83091 h 560223"/>
              <a:gd name="connsiteX62" fmla="*/ 325083 w 589749"/>
              <a:gd name="connsiteY62" fmla="*/ 111444 h 560223"/>
              <a:gd name="connsiteX63" fmla="*/ 265053 w 589749"/>
              <a:gd name="connsiteY63" fmla="*/ 111444 h 560223"/>
              <a:gd name="connsiteX64" fmla="*/ 295068 w 589749"/>
              <a:gd name="connsiteY64" fmla="*/ 83091 h 560223"/>
              <a:gd name="connsiteX65" fmla="*/ 242211 w 589749"/>
              <a:gd name="connsiteY65" fmla="*/ 67989 h 560223"/>
              <a:gd name="connsiteX66" fmla="*/ 294948 w 589749"/>
              <a:gd name="connsiteY66" fmla="*/ 15012 h 560223"/>
              <a:gd name="connsiteX67" fmla="*/ 347924 w 589749"/>
              <a:gd name="connsiteY67" fmla="*/ 67749 h 560223"/>
              <a:gd name="connsiteX68" fmla="*/ 337942 w 589749"/>
              <a:gd name="connsiteY68" fmla="*/ 98781 h 560223"/>
              <a:gd name="connsiteX69" fmla="*/ 315682 w 589749"/>
              <a:gd name="connsiteY69" fmla="*/ 72995 h 560223"/>
              <a:gd name="connsiteX70" fmla="*/ 321496 w 589749"/>
              <a:gd name="connsiteY70" fmla="*/ 56662 h 560223"/>
              <a:gd name="connsiteX71" fmla="*/ 295068 w 589749"/>
              <a:gd name="connsiteY71" fmla="*/ 30234 h 560223"/>
              <a:gd name="connsiteX72" fmla="*/ 268640 w 589749"/>
              <a:gd name="connsiteY72" fmla="*/ 56662 h 560223"/>
              <a:gd name="connsiteX73" fmla="*/ 274454 w 589749"/>
              <a:gd name="connsiteY73" fmla="*/ 72995 h 560223"/>
              <a:gd name="connsiteX74" fmla="*/ 252194 w 589749"/>
              <a:gd name="connsiteY74" fmla="*/ 98781 h 560223"/>
              <a:gd name="connsiteX75" fmla="*/ 242211 w 589749"/>
              <a:gd name="connsiteY75" fmla="*/ 67989 h 560223"/>
              <a:gd name="connsiteX76" fmla="*/ 91382 w 589749"/>
              <a:gd name="connsiteY76" fmla="*/ 534296 h 560223"/>
              <a:gd name="connsiteX77" fmla="*/ 123046 w 589749"/>
              <a:gd name="connsiteY77" fmla="*/ 505931 h 560223"/>
              <a:gd name="connsiteX78" fmla="*/ 151411 w 589749"/>
              <a:gd name="connsiteY78" fmla="*/ 534296 h 560223"/>
              <a:gd name="connsiteX79" fmla="*/ 91382 w 589749"/>
              <a:gd name="connsiteY79" fmla="*/ 534296 h 560223"/>
              <a:gd name="connsiteX80" fmla="*/ 110070 w 589749"/>
              <a:gd name="connsiteY80" fmla="*/ 479514 h 560223"/>
              <a:gd name="connsiteX81" fmla="*/ 121397 w 589749"/>
              <a:gd name="connsiteY81" fmla="*/ 468188 h 560223"/>
              <a:gd name="connsiteX82" fmla="*/ 132723 w 589749"/>
              <a:gd name="connsiteY82" fmla="*/ 479514 h 560223"/>
              <a:gd name="connsiteX83" fmla="*/ 121397 w 589749"/>
              <a:gd name="connsiteY83" fmla="*/ 490841 h 560223"/>
              <a:gd name="connsiteX84" fmla="*/ 110070 w 589749"/>
              <a:gd name="connsiteY84" fmla="*/ 479514 h 560223"/>
              <a:gd name="connsiteX85" fmla="*/ 164271 w 589749"/>
              <a:gd name="connsiteY85" fmla="*/ 521633 h 560223"/>
              <a:gd name="connsiteX86" fmla="*/ 142011 w 589749"/>
              <a:gd name="connsiteY86" fmla="*/ 495847 h 560223"/>
              <a:gd name="connsiteX87" fmla="*/ 147825 w 589749"/>
              <a:gd name="connsiteY87" fmla="*/ 479514 h 560223"/>
              <a:gd name="connsiteX88" fmla="*/ 121397 w 589749"/>
              <a:gd name="connsiteY88" fmla="*/ 453086 h 560223"/>
              <a:gd name="connsiteX89" fmla="*/ 94968 w 589749"/>
              <a:gd name="connsiteY89" fmla="*/ 479514 h 560223"/>
              <a:gd name="connsiteX90" fmla="*/ 100782 w 589749"/>
              <a:gd name="connsiteY90" fmla="*/ 495847 h 560223"/>
              <a:gd name="connsiteX91" fmla="*/ 78522 w 589749"/>
              <a:gd name="connsiteY91" fmla="*/ 521633 h 560223"/>
              <a:gd name="connsiteX92" fmla="*/ 90484 w 589749"/>
              <a:gd name="connsiteY92" fmla="*/ 447847 h 560223"/>
              <a:gd name="connsiteX93" fmla="*/ 164271 w 589749"/>
              <a:gd name="connsiteY93" fmla="*/ 459807 h 560223"/>
              <a:gd name="connsiteX94" fmla="*/ 164271 w 589749"/>
              <a:gd name="connsiteY94" fmla="*/ 521633 h 560223"/>
              <a:gd name="connsiteX95" fmla="*/ 249407 w 589749"/>
              <a:gd name="connsiteY95" fmla="*/ 378098 h 560223"/>
              <a:gd name="connsiteX96" fmla="*/ 299388 w 589749"/>
              <a:gd name="connsiteY96" fmla="*/ 336757 h 560223"/>
              <a:gd name="connsiteX97" fmla="*/ 340728 w 589749"/>
              <a:gd name="connsiteY97" fmla="*/ 378098 h 560223"/>
              <a:gd name="connsiteX98" fmla="*/ 249407 w 589749"/>
              <a:gd name="connsiteY98" fmla="*/ 378098 h 560223"/>
              <a:gd name="connsiteX99" fmla="*/ 274069 w 589749"/>
              <a:gd name="connsiteY99" fmla="*/ 300414 h 560223"/>
              <a:gd name="connsiteX100" fmla="*/ 295075 w 589749"/>
              <a:gd name="connsiteY100" fmla="*/ 279422 h 560223"/>
              <a:gd name="connsiteX101" fmla="*/ 316067 w 589749"/>
              <a:gd name="connsiteY101" fmla="*/ 300429 h 560223"/>
              <a:gd name="connsiteX102" fmla="*/ 295068 w 589749"/>
              <a:gd name="connsiteY102" fmla="*/ 321421 h 560223"/>
              <a:gd name="connsiteX103" fmla="*/ 274069 w 589749"/>
              <a:gd name="connsiteY103" fmla="*/ 300414 h 560223"/>
              <a:gd name="connsiteX104" fmla="*/ 438724 w 589749"/>
              <a:gd name="connsiteY104" fmla="*/ 534296 h 560223"/>
              <a:gd name="connsiteX105" fmla="*/ 470389 w 589749"/>
              <a:gd name="connsiteY105" fmla="*/ 505931 h 560223"/>
              <a:gd name="connsiteX106" fmla="*/ 498754 w 589749"/>
              <a:gd name="connsiteY106" fmla="*/ 534296 h 560223"/>
              <a:gd name="connsiteX107" fmla="*/ 438724 w 589749"/>
              <a:gd name="connsiteY107" fmla="*/ 534296 h 560223"/>
              <a:gd name="connsiteX108" fmla="*/ 457413 w 589749"/>
              <a:gd name="connsiteY108" fmla="*/ 479514 h 560223"/>
              <a:gd name="connsiteX109" fmla="*/ 468739 w 589749"/>
              <a:gd name="connsiteY109" fmla="*/ 468188 h 560223"/>
              <a:gd name="connsiteX110" fmla="*/ 480066 w 589749"/>
              <a:gd name="connsiteY110" fmla="*/ 479514 h 560223"/>
              <a:gd name="connsiteX111" fmla="*/ 468739 w 589749"/>
              <a:gd name="connsiteY111" fmla="*/ 490841 h 560223"/>
              <a:gd name="connsiteX112" fmla="*/ 457413 w 589749"/>
              <a:gd name="connsiteY112" fmla="*/ 479514 h 560223"/>
              <a:gd name="connsiteX113" fmla="*/ 521596 w 589749"/>
              <a:gd name="connsiteY113" fmla="*/ 490841 h 560223"/>
              <a:gd name="connsiteX114" fmla="*/ 511613 w 589749"/>
              <a:gd name="connsiteY114" fmla="*/ 521633 h 560223"/>
              <a:gd name="connsiteX115" fmla="*/ 489353 w 589749"/>
              <a:gd name="connsiteY115" fmla="*/ 495847 h 560223"/>
              <a:gd name="connsiteX116" fmla="*/ 495167 w 589749"/>
              <a:gd name="connsiteY116" fmla="*/ 479514 h 560223"/>
              <a:gd name="connsiteX117" fmla="*/ 468739 w 589749"/>
              <a:gd name="connsiteY117" fmla="*/ 453086 h 560223"/>
              <a:gd name="connsiteX118" fmla="*/ 442311 w 589749"/>
              <a:gd name="connsiteY118" fmla="*/ 479514 h 560223"/>
              <a:gd name="connsiteX119" fmla="*/ 448125 w 589749"/>
              <a:gd name="connsiteY119" fmla="*/ 495847 h 560223"/>
              <a:gd name="connsiteX120" fmla="*/ 425865 w 589749"/>
              <a:gd name="connsiteY120" fmla="*/ 521633 h 560223"/>
              <a:gd name="connsiteX121" fmla="*/ 437826 w 589749"/>
              <a:gd name="connsiteY121" fmla="*/ 447847 h 560223"/>
              <a:gd name="connsiteX122" fmla="*/ 511613 w 589749"/>
              <a:gd name="connsiteY122" fmla="*/ 459808 h 560223"/>
              <a:gd name="connsiteX123" fmla="*/ 521596 w 589749"/>
              <a:gd name="connsiteY123" fmla="*/ 490841 h 560223"/>
              <a:gd name="connsiteX124" fmla="*/ 353852 w 589749"/>
              <a:gd name="connsiteY124" fmla="*/ 366409 h 560223"/>
              <a:gd name="connsiteX125" fmla="*/ 319699 w 589749"/>
              <a:gd name="connsiteY125" fmla="*/ 326661 h 560223"/>
              <a:gd name="connsiteX126" fmla="*/ 321461 w 589749"/>
              <a:gd name="connsiteY126" fmla="*/ 275637 h 560223"/>
              <a:gd name="connsiteX127" fmla="*/ 270437 w 589749"/>
              <a:gd name="connsiteY127" fmla="*/ 273875 h 560223"/>
              <a:gd name="connsiteX128" fmla="*/ 268675 w 589749"/>
              <a:gd name="connsiteY128" fmla="*/ 324899 h 560223"/>
              <a:gd name="connsiteX129" fmla="*/ 270437 w 589749"/>
              <a:gd name="connsiteY129" fmla="*/ 326661 h 560223"/>
              <a:gd name="connsiteX130" fmla="*/ 236284 w 589749"/>
              <a:gd name="connsiteY130" fmla="*/ 366409 h 560223"/>
              <a:gd name="connsiteX131" fmla="*/ 241866 w 589749"/>
              <a:gd name="connsiteY131" fmla="*/ 254423 h 560223"/>
              <a:gd name="connsiteX132" fmla="*/ 353852 w 589749"/>
              <a:gd name="connsiteY132" fmla="*/ 260004 h 560223"/>
              <a:gd name="connsiteX133" fmla="*/ 353852 w 589749"/>
              <a:gd name="connsiteY133" fmla="*/ 366409 h 560223"/>
              <a:gd name="connsiteX134" fmla="*/ 491581 w 589749"/>
              <a:gd name="connsiteY134" fmla="*/ 262463 h 560223"/>
              <a:gd name="connsiteX135" fmla="*/ 523246 w 589749"/>
              <a:gd name="connsiteY135" fmla="*/ 234098 h 560223"/>
              <a:gd name="connsiteX136" fmla="*/ 551611 w 589749"/>
              <a:gd name="connsiteY136" fmla="*/ 262463 h 560223"/>
              <a:gd name="connsiteX137" fmla="*/ 491581 w 589749"/>
              <a:gd name="connsiteY137" fmla="*/ 262463 h 560223"/>
              <a:gd name="connsiteX138" fmla="*/ 510269 w 589749"/>
              <a:gd name="connsiteY138" fmla="*/ 207681 h 560223"/>
              <a:gd name="connsiteX139" fmla="*/ 521596 w 589749"/>
              <a:gd name="connsiteY139" fmla="*/ 196355 h 560223"/>
              <a:gd name="connsiteX140" fmla="*/ 532922 w 589749"/>
              <a:gd name="connsiteY140" fmla="*/ 207681 h 560223"/>
              <a:gd name="connsiteX141" fmla="*/ 521596 w 589749"/>
              <a:gd name="connsiteY141" fmla="*/ 219007 h 560223"/>
              <a:gd name="connsiteX142" fmla="*/ 510269 w 589749"/>
              <a:gd name="connsiteY142" fmla="*/ 207681 h 560223"/>
              <a:gd name="connsiteX143" fmla="*/ 521596 w 589749"/>
              <a:gd name="connsiteY143" fmla="*/ 166151 h 560223"/>
              <a:gd name="connsiteX144" fmla="*/ 574452 w 589749"/>
              <a:gd name="connsiteY144" fmla="*/ 218826 h 560223"/>
              <a:gd name="connsiteX145" fmla="*/ 564470 w 589749"/>
              <a:gd name="connsiteY145" fmla="*/ 249800 h 560223"/>
              <a:gd name="connsiteX146" fmla="*/ 542210 w 589749"/>
              <a:gd name="connsiteY146" fmla="*/ 224014 h 560223"/>
              <a:gd name="connsiteX147" fmla="*/ 548024 w 589749"/>
              <a:gd name="connsiteY147" fmla="*/ 207681 h 560223"/>
              <a:gd name="connsiteX148" fmla="*/ 521596 w 589749"/>
              <a:gd name="connsiteY148" fmla="*/ 181253 h 560223"/>
              <a:gd name="connsiteX149" fmla="*/ 495167 w 589749"/>
              <a:gd name="connsiteY149" fmla="*/ 207681 h 560223"/>
              <a:gd name="connsiteX150" fmla="*/ 500982 w 589749"/>
              <a:gd name="connsiteY150" fmla="*/ 224014 h 560223"/>
              <a:gd name="connsiteX151" fmla="*/ 478721 w 589749"/>
              <a:gd name="connsiteY151" fmla="*/ 249800 h 560223"/>
              <a:gd name="connsiteX152" fmla="*/ 490622 w 589749"/>
              <a:gd name="connsiteY152" fmla="*/ 176133 h 560223"/>
              <a:gd name="connsiteX153" fmla="*/ 521596 w 589749"/>
              <a:gd name="connsiteY153" fmla="*/ 166151 h 560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589749" h="560223">
                <a:moveTo>
                  <a:pt x="521596" y="286966"/>
                </a:moveTo>
                <a:cubicBezTo>
                  <a:pt x="559182" y="287019"/>
                  <a:pt x="589696" y="256594"/>
                  <a:pt x="589750" y="219007"/>
                </a:cubicBezTo>
                <a:cubicBezTo>
                  <a:pt x="589803" y="181420"/>
                  <a:pt x="559377" y="150907"/>
                  <a:pt x="521790" y="150853"/>
                </a:cubicBezTo>
                <a:cubicBezTo>
                  <a:pt x="484204" y="150799"/>
                  <a:pt x="453691" y="181226"/>
                  <a:pt x="453637" y="218812"/>
                </a:cubicBezTo>
                <a:cubicBezTo>
                  <a:pt x="453627" y="225529"/>
                  <a:pt x="454612" y="232211"/>
                  <a:pt x="456560" y="238640"/>
                </a:cubicBezTo>
                <a:lnTo>
                  <a:pt x="379540" y="271456"/>
                </a:lnTo>
                <a:cubicBezTo>
                  <a:pt x="364798" y="241818"/>
                  <a:pt x="335613" y="222065"/>
                  <a:pt x="302619" y="219392"/>
                </a:cubicBezTo>
                <a:lnTo>
                  <a:pt x="302619" y="135502"/>
                </a:lnTo>
                <a:cubicBezTo>
                  <a:pt x="339919" y="131331"/>
                  <a:pt x="366776" y="97713"/>
                  <a:pt x="362606" y="60413"/>
                </a:cubicBezTo>
                <a:cubicBezTo>
                  <a:pt x="358435" y="23113"/>
                  <a:pt x="324817" y="-3743"/>
                  <a:pt x="287517" y="427"/>
                </a:cubicBezTo>
                <a:cubicBezTo>
                  <a:pt x="250217" y="4597"/>
                  <a:pt x="223360" y="38215"/>
                  <a:pt x="227530" y="75515"/>
                </a:cubicBezTo>
                <a:cubicBezTo>
                  <a:pt x="231058" y="107069"/>
                  <a:pt x="255964" y="131974"/>
                  <a:pt x="287517" y="135502"/>
                </a:cubicBezTo>
                <a:lnTo>
                  <a:pt x="287517" y="219392"/>
                </a:lnTo>
                <a:cubicBezTo>
                  <a:pt x="254537" y="222077"/>
                  <a:pt x="225369" y="241829"/>
                  <a:pt x="210633" y="271456"/>
                </a:cubicBezTo>
                <a:lnTo>
                  <a:pt x="133576" y="238640"/>
                </a:lnTo>
                <a:cubicBezTo>
                  <a:pt x="144590" y="202581"/>
                  <a:pt x="124288" y="164421"/>
                  <a:pt x="88229" y="153407"/>
                </a:cubicBezTo>
                <a:cubicBezTo>
                  <a:pt x="52170" y="142393"/>
                  <a:pt x="14010" y="162696"/>
                  <a:pt x="2996" y="198754"/>
                </a:cubicBezTo>
                <a:cubicBezTo>
                  <a:pt x="-8018" y="234813"/>
                  <a:pt x="12285" y="272973"/>
                  <a:pt x="48344" y="283987"/>
                </a:cubicBezTo>
                <a:cubicBezTo>
                  <a:pt x="78873" y="293312"/>
                  <a:pt x="111788" y="280236"/>
                  <a:pt x="127596" y="252503"/>
                </a:cubicBezTo>
                <a:lnTo>
                  <a:pt x="204910" y="285456"/>
                </a:lnTo>
                <a:cubicBezTo>
                  <a:pt x="195605" y="315420"/>
                  <a:pt x="201834" y="348050"/>
                  <a:pt x="221522" y="372480"/>
                </a:cubicBezTo>
                <a:lnTo>
                  <a:pt x="159415" y="434586"/>
                </a:lnTo>
                <a:cubicBezTo>
                  <a:pt x="128056" y="413082"/>
                  <a:pt x="85201" y="421071"/>
                  <a:pt x="63697" y="452430"/>
                </a:cubicBezTo>
                <a:cubicBezTo>
                  <a:pt x="42192" y="483790"/>
                  <a:pt x="50181" y="526644"/>
                  <a:pt x="81540" y="548149"/>
                </a:cubicBezTo>
                <a:cubicBezTo>
                  <a:pt x="112900" y="569654"/>
                  <a:pt x="155755" y="561665"/>
                  <a:pt x="177259" y="530305"/>
                </a:cubicBezTo>
                <a:cubicBezTo>
                  <a:pt x="195485" y="503728"/>
                  <a:pt x="192836" y="468064"/>
                  <a:pt x="170885" y="444470"/>
                </a:cubicBezTo>
                <a:lnTo>
                  <a:pt x="231942" y="383414"/>
                </a:lnTo>
                <a:cubicBezTo>
                  <a:pt x="267720" y="415935"/>
                  <a:pt x="322355" y="415935"/>
                  <a:pt x="358133" y="383414"/>
                </a:cubicBezTo>
                <a:lnTo>
                  <a:pt x="419190" y="444470"/>
                </a:lnTo>
                <a:cubicBezTo>
                  <a:pt x="393983" y="471713"/>
                  <a:pt x="395632" y="514231"/>
                  <a:pt x="422874" y="539438"/>
                </a:cubicBezTo>
                <a:cubicBezTo>
                  <a:pt x="450116" y="564647"/>
                  <a:pt x="492635" y="562997"/>
                  <a:pt x="517842" y="535755"/>
                </a:cubicBezTo>
                <a:cubicBezTo>
                  <a:pt x="543049" y="508513"/>
                  <a:pt x="541400" y="465994"/>
                  <a:pt x="514158" y="440786"/>
                </a:cubicBezTo>
                <a:cubicBezTo>
                  <a:pt x="491171" y="419515"/>
                  <a:pt x="456537" y="416944"/>
                  <a:pt x="430660" y="434586"/>
                </a:cubicBezTo>
                <a:lnTo>
                  <a:pt x="368553" y="372480"/>
                </a:lnTo>
                <a:cubicBezTo>
                  <a:pt x="388263" y="348061"/>
                  <a:pt x="394514" y="315430"/>
                  <a:pt x="385226" y="285456"/>
                </a:cubicBezTo>
                <a:lnTo>
                  <a:pt x="462540" y="252526"/>
                </a:lnTo>
                <a:cubicBezTo>
                  <a:pt x="474598" y="273792"/>
                  <a:pt x="497149" y="286944"/>
                  <a:pt x="521596" y="286966"/>
                </a:cubicBezTo>
                <a:close/>
                <a:moveTo>
                  <a:pt x="38525" y="262463"/>
                </a:moveTo>
                <a:cubicBezTo>
                  <a:pt x="39436" y="245886"/>
                  <a:pt x="53613" y="233186"/>
                  <a:pt x="70190" y="234098"/>
                </a:cubicBezTo>
                <a:cubicBezTo>
                  <a:pt x="85493" y="234939"/>
                  <a:pt x="97714" y="247159"/>
                  <a:pt x="98555" y="262463"/>
                </a:cubicBezTo>
                <a:cubicBezTo>
                  <a:pt x="80508" y="274997"/>
                  <a:pt x="56572" y="274997"/>
                  <a:pt x="38525" y="262463"/>
                </a:cubicBezTo>
                <a:close/>
                <a:moveTo>
                  <a:pt x="57214" y="207681"/>
                </a:moveTo>
                <a:cubicBezTo>
                  <a:pt x="57214" y="201426"/>
                  <a:pt x="62285" y="196355"/>
                  <a:pt x="68540" y="196355"/>
                </a:cubicBezTo>
                <a:cubicBezTo>
                  <a:pt x="74795" y="196355"/>
                  <a:pt x="79866" y="201426"/>
                  <a:pt x="79866" y="207681"/>
                </a:cubicBezTo>
                <a:cubicBezTo>
                  <a:pt x="79866" y="213936"/>
                  <a:pt x="74795" y="219007"/>
                  <a:pt x="68540" y="219007"/>
                </a:cubicBezTo>
                <a:cubicBezTo>
                  <a:pt x="62285" y="219007"/>
                  <a:pt x="57214" y="213936"/>
                  <a:pt x="57214" y="207681"/>
                </a:cubicBezTo>
                <a:close/>
                <a:moveTo>
                  <a:pt x="111414" y="249800"/>
                </a:moveTo>
                <a:cubicBezTo>
                  <a:pt x="107612" y="238647"/>
                  <a:pt x="99632" y="229403"/>
                  <a:pt x="89154" y="224014"/>
                </a:cubicBezTo>
                <a:cubicBezTo>
                  <a:pt x="92891" y="219388"/>
                  <a:pt x="94941" y="213627"/>
                  <a:pt x="94968" y="207681"/>
                </a:cubicBezTo>
                <a:cubicBezTo>
                  <a:pt x="94968" y="193085"/>
                  <a:pt x="83136" y="181253"/>
                  <a:pt x="68540" y="181253"/>
                </a:cubicBezTo>
                <a:cubicBezTo>
                  <a:pt x="53944" y="181253"/>
                  <a:pt x="42112" y="193085"/>
                  <a:pt x="42112" y="207681"/>
                </a:cubicBezTo>
                <a:cubicBezTo>
                  <a:pt x="42139" y="213627"/>
                  <a:pt x="44189" y="219388"/>
                  <a:pt x="47926" y="224014"/>
                </a:cubicBezTo>
                <a:cubicBezTo>
                  <a:pt x="37448" y="229403"/>
                  <a:pt x="29468" y="238647"/>
                  <a:pt x="25666" y="249800"/>
                </a:cubicBezTo>
                <a:cubicBezTo>
                  <a:pt x="8593" y="226121"/>
                  <a:pt x="13948" y="193086"/>
                  <a:pt x="37627" y="176013"/>
                </a:cubicBezTo>
                <a:cubicBezTo>
                  <a:pt x="61305" y="158940"/>
                  <a:pt x="94342" y="164296"/>
                  <a:pt x="111414" y="187974"/>
                </a:cubicBezTo>
                <a:cubicBezTo>
                  <a:pt x="124724" y="206434"/>
                  <a:pt x="124724" y="231340"/>
                  <a:pt x="111414" y="249800"/>
                </a:cubicBezTo>
                <a:close/>
                <a:moveTo>
                  <a:pt x="283741" y="56662"/>
                </a:moveTo>
                <a:cubicBezTo>
                  <a:pt x="283741" y="50407"/>
                  <a:pt x="288813" y="45336"/>
                  <a:pt x="295068" y="45336"/>
                </a:cubicBezTo>
                <a:cubicBezTo>
                  <a:pt x="301323" y="45336"/>
                  <a:pt x="306394" y="50407"/>
                  <a:pt x="306394" y="56662"/>
                </a:cubicBezTo>
                <a:cubicBezTo>
                  <a:pt x="306394" y="62918"/>
                  <a:pt x="301323" y="67989"/>
                  <a:pt x="295068" y="67989"/>
                </a:cubicBezTo>
                <a:cubicBezTo>
                  <a:pt x="288813" y="67989"/>
                  <a:pt x="283741" y="62918"/>
                  <a:pt x="283741" y="56662"/>
                </a:cubicBezTo>
                <a:close/>
                <a:moveTo>
                  <a:pt x="295068" y="83091"/>
                </a:moveTo>
                <a:cubicBezTo>
                  <a:pt x="310990" y="83134"/>
                  <a:pt x="324134" y="95550"/>
                  <a:pt x="325083" y="111444"/>
                </a:cubicBezTo>
                <a:cubicBezTo>
                  <a:pt x="307036" y="123979"/>
                  <a:pt x="283100" y="123979"/>
                  <a:pt x="265053" y="111444"/>
                </a:cubicBezTo>
                <a:cubicBezTo>
                  <a:pt x="266002" y="95550"/>
                  <a:pt x="279146" y="83134"/>
                  <a:pt x="295068" y="83091"/>
                </a:cubicBezTo>
                <a:close/>
                <a:moveTo>
                  <a:pt x="242211" y="67989"/>
                </a:moveTo>
                <a:cubicBezTo>
                  <a:pt x="242145" y="38797"/>
                  <a:pt x="265756" y="15079"/>
                  <a:pt x="294948" y="15012"/>
                </a:cubicBezTo>
                <a:cubicBezTo>
                  <a:pt x="324140" y="14946"/>
                  <a:pt x="347858" y="38557"/>
                  <a:pt x="347924" y="67749"/>
                </a:cubicBezTo>
                <a:cubicBezTo>
                  <a:pt x="347949" y="78886"/>
                  <a:pt x="344455" y="89748"/>
                  <a:pt x="337942" y="98781"/>
                </a:cubicBezTo>
                <a:cubicBezTo>
                  <a:pt x="334139" y="87629"/>
                  <a:pt x="326160" y="78385"/>
                  <a:pt x="315682" y="72995"/>
                </a:cubicBezTo>
                <a:cubicBezTo>
                  <a:pt x="319419" y="68369"/>
                  <a:pt x="321469" y="62609"/>
                  <a:pt x="321496" y="56662"/>
                </a:cubicBezTo>
                <a:cubicBezTo>
                  <a:pt x="321496" y="42066"/>
                  <a:pt x="309664" y="30234"/>
                  <a:pt x="295068" y="30234"/>
                </a:cubicBezTo>
                <a:cubicBezTo>
                  <a:pt x="280472" y="30234"/>
                  <a:pt x="268640" y="42066"/>
                  <a:pt x="268640" y="56662"/>
                </a:cubicBezTo>
                <a:cubicBezTo>
                  <a:pt x="268666" y="62609"/>
                  <a:pt x="270717" y="68369"/>
                  <a:pt x="274454" y="72995"/>
                </a:cubicBezTo>
                <a:cubicBezTo>
                  <a:pt x="263975" y="78385"/>
                  <a:pt x="255996" y="87629"/>
                  <a:pt x="252194" y="98781"/>
                </a:cubicBezTo>
                <a:cubicBezTo>
                  <a:pt x="245707" y="89824"/>
                  <a:pt x="242214" y="79048"/>
                  <a:pt x="242211" y="67989"/>
                </a:cubicBezTo>
                <a:close/>
                <a:moveTo>
                  <a:pt x="91382" y="534296"/>
                </a:moveTo>
                <a:cubicBezTo>
                  <a:pt x="92293" y="517720"/>
                  <a:pt x="106470" y="505020"/>
                  <a:pt x="123046" y="505931"/>
                </a:cubicBezTo>
                <a:cubicBezTo>
                  <a:pt x="138350" y="506772"/>
                  <a:pt x="150570" y="518993"/>
                  <a:pt x="151411" y="534296"/>
                </a:cubicBezTo>
                <a:cubicBezTo>
                  <a:pt x="133365" y="546831"/>
                  <a:pt x="109428" y="546831"/>
                  <a:pt x="91382" y="534296"/>
                </a:cubicBezTo>
                <a:close/>
                <a:moveTo>
                  <a:pt x="110070" y="479514"/>
                </a:moveTo>
                <a:cubicBezTo>
                  <a:pt x="110070" y="473259"/>
                  <a:pt x="115141" y="468188"/>
                  <a:pt x="121397" y="468188"/>
                </a:cubicBezTo>
                <a:cubicBezTo>
                  <a:pt x="127652" y="468188"/>
                  <a:pt x="132723" y="473259"/>
                  <a:pt x="132723" y="479514"/>
                </a:cubicBezTo>
                <a:cubicBezTo>
                  <a:pt x="132723" y="485770"/>
                  <a:pt x="127652" y="490841"/>
                  <a:pt x="121397" y="490841"/>
                </a:cubicBezTo>
                <a:cubicBezTo>
                  <a:pt x="115141" y="490841"/>
                  <a:pt x="110070" y="485770"/>
                  <a:pt x="110070" y="479514"/>
                </a:cubicBezTo>
                <a:close/>
                <a:moveTo>
                  <a:pt x="164271" y="521633"/>
                </a:moveTo>
                <a:cubicBezTo>
                  <a:pt x="160468" y="510481"/>
                  <a:pt x="152489" y="501237"/>
                  <a:pt x="142011" y="495847"/>
                </a:cubicBezTo>
                <a:cubicBezTo>
                  <a:pt x="145747" y="491221"/>
                  <a:pt x="147798" y="485461"/>
                  <a:pt x="147825" y="479514"/>
                </a:cubicBezTo>
                <a:cubicBezTo>
                  <a:pt x="147825" y="464918"/>
                  <a:pt x="135992" y="453086"/>
                  <a:pt x="121397" y="453086"/>
                </a:cubicBezTo>
                <a:cubicBezTo>
                  <a:pt x="106801" y="453086"/>
                  <a:pt x="94968" y="464918"/>
                  <a:pt x="94968" y="479514"/>
                </a:cubicBezTo>
                <a:cubicBezTo>
                  <a:pt x="94995" y="485461"/>
                  <a:pt x="97046" y="491221"/>
                  <a:pt x="100782" y="495847"/>
                </a:cubicBezTo>
                <a:cubicBezTo>
                  <a:pt x="90304" y="501237"/>
                  <a:pt x="82325" y="510481"/>
                  <a:pt x="78522" y="521633"/>
                </a:cubicBezTo>
                <a:cubicBezTo>
                  <a:pt x="61450" y="497954"/>
                  <a:pt x="66805" y="464919"/>
                  <a:pt x="90484" y="447847"/>
                </a:cubicBezTo>
                <a:cubicBezTo>
                  <a:pt x="114162" y="430774"/>
                  <a:pt x="147198" y="436129"/>
                  <a:pt x="164271" y="459807"/>
                </a:cubicBezTo>
                <a:cubicBezTo>
                  <a:pt x="177581" y="478267"/>
                  <a:pt x="177581" y="503174"/>
                  <a:pt x="164271" y="521633"/>
                </a:cubicBezTo>
                <a:close/>
                <a:moveTo>
                  <a:pt x="249407" y="378098"/>
                </a:moveTo>
                <a:cubicBezTo>
                  <a:pt x="251793" y="352880"/>
                  <a:pt x="274170" y="334371"/>
                  <a:pt x="299388" y="336757"/>
                </a:cubicBezTo>
                <a:cubicBezTo>
                  <a:pt x="321304" y="338831"/>
                  <a:pt x="338655" y="356182"/>
                  <a:pt x="340728" y="378098"/>
                </a:cubicBezTo>
                <a:cubicBezTo>
                  <a:pt x="313392" y="397538"/>
                  <a:pt x="276744" y="397538"/>
                  <a:pt x="249407" y="378098"/>
                </a:cubicBezTo>
                <a:close/>
                <a:moveTo>
                  <a:pt x="274069" y="300414"/>
                </a:moveTo>
                <a:cubicBezTo>
                  <a:pt x="274073" y="288816"/>
                  <a:pt x="283478" y="279418"/>
                  <a:pt x="295075" y="279422"/>
                </a:cubicBezTo>
                <a:cubicBezTo>
                  <a:pt x="306673" y="279427"/>
                  <a:pt x="316072" y="288832"/>
                  <a:pt x="316067" y="300429"/>
                </a:cubicBezTo>
                <a:cubicBezTo>
                  <a:pt x="316062" y="312023"/>
                  <a:pt x="306662" y="321421"/>
                  <a:pt x="295068" y="321421"/>
                </a:cubicBezTo>
                <a:cubicBezTo>
                  <a:pt x="283473" y="321408"/>
                  <a:pt x="274077" y="312009"/>
                  <a:pt x="274069" y="300414"/>
                </a:cubicBezTo>
                <a:close/>
                <a:moveTo>
                  <a:pt x="438724" y="534296"/>
                </a:moveTo>
                <a:cubicBezTo>
                  <a:pt x="439636" y="517720"/>
                  <a:pt x="453812" y="505020"/>
                  <a:pt x="470389" y="505931"/>
                </a:cubicBezTo>
                <a:cubicBezTo>
                  <a:pt x="485693" y="506772"/>
                  <a:pt x="497913" y="518993"/>
                  <a:pt x="498754" y="534296"/>
                </a:cubicBezTo>
                <a:cubicBezTo>
                  <a:pt x="480707" y="546831"/>
                  <a:pt x="456771" y="546831"/>
                  <a:pt x="438724" y="534296"/>
                </a:cubicBezTo>
                <a:close/>
                <a:moveTo>
                  <a:pt x="457413" y="479514"/>
                </a:moveTo>
                <a:cubicBezTo>
                  <a:pt x="457413" y="473259"/>
                  <a:pt x="462484" y="468188"/>
                  <a:pt x="468739" y="468188"/>
                </a:cubicBezTo>
                <a:cubicBezTo>
                  <a:pt x="474994" y="468188"/>
                  <a:pt x="480066" y="473259"/>
                  <a:pt x="480066" y="479514"/>
                </a:cubicBezTo>
                <a:cubicBezTo>
                  <a:pt x="480066" y="485770"/>
                  <a:pt x="474994" y="490841"/>
                  <a:pt x="468739" y="490841"/>
                </a:cubicBezTo>
                <a:cubicBezTo>
                  <a:pt x="462484" y="490841"/>
                  <a:pt x="457413" y="485770"/>
                  <a:pt x="457413" y="479514"/>
                </a:cubicBezTo>
                <a:close/>
                <a:moveTo>
                  <a:pt x="521596" y="490841"/>
                </a:moveTo>
                <a:cubicBezTo>
                  <a:pt x="521593" y="501900"/>
                  <a:pt x="518100" y="512676"/>
                  <a:pt x="511613" y="521633"/>
                </a:cubicBezTo>
                <a:cubicBezTo>
                  <a:pt x="507811" y="510481"/>
                  <a:pt x="499832" y="501237"/>
                  <a:pt x="489353" y="495847"/>
                </a:cubicBezTo>
                <a:cubicBezTo>
                  <a:pt x="493090" y="491221"/>
                  <a:pt x="495141" y="485461"/>
                  <a:pt x="495167" y="479514"/>
                </a:cubicBezTo>
                <a:cubicBezTo>
                  <a:pt x="495167" y="464918"/>
                  <a:pt x="483335" y="453086"/>
                  <a:pt x="468739" y="453086"/>
                </a:cubicBezTo>
                <a:cubicBezTo>
                  <a:pt x="454143" y="453086"/>
                  <a:pt x="442311" y="464918"/>
                  <a:pt x="442311" y="479514"/>
                </a:cubicBezTo>
                <a:cubicBezTo>
                  <a:pt x="442338" y="485461"/>
                  <a:pt x="444388" y="491221"/>
                  <a:pt x="448125" y="495847"/>
                </a:cubicBezTo>
                <a:cubicBezTo>
                  <a:pt x="437647" y="501237"/>
                  <a:pt x="429668" y="510481"/>
                  <a:pt x="425865" y="521633"/>
                </a:cubicBezTo>
                <a:cubicBezTo>
                  <a:pt x="408792" y="497954"/>
                  <a:pt x="414147" y="464919"/>
                  <a:pt x="437826" y="447847"/>
                </a:cubicBezTo>
                <a:cubicBezTo>
                  <a:pt x="461505" y="430774"/>
                  <a:pt x="494541" y="436129"/>
                  <a:pt x="511613" y="459808"/>
                </a:cubicBezTo>
                <a:cubicBezTo>
                  <a:pt x="518128" y="468842"/>
                  <a:pt x="521621" y="479703"/>
                  <a:pt x="521596" y="490841"/>
                </a:cubicBezTo>
                <a:close/>
                <a:moveTo>
                  <a:pt x="353852" y="366409"/>
                </a:moveTo>
                <a:cubicBezTo>
                  <a:pt x="349008" y="348707"/>
                  <a:pt x="336470" y="334115"/>
                  <a:pt x="319699" y="326661"/>
                </a:cubicBezTo>
                <a:cubicBezTo>
                  <a:pt x="334275" y="313057"/>
                  <a:pt x="335064" y="290213"/>
                  <a:pt x="321461" y="275637"/>
                </a:cubicBezTo>
                <a:cubicBezTo>
                  <a:pt x="307858" y="261061"/>
                  <a:pt x="285013" y="260272"/>
                  <a:pt x="270437" y="273875"/>
                </a:cubicBezTo>
                <a:cubicBezTo>
                  <a:pt x="255860" y="287478"/>
                  <a:pt x="255071" y="310323"/>
                  <a:pt x="268675" y="324899"/>
                </a:cubicBezTo>
                <a:cubicBezTo>
                  <a:pt x="269241" y="325506"/>
                  <a:pt x="269830" y="326094"/>
                  <a:pt x="270437" y="326661"/>
                </a:cubicBezTo>
                <a:cubicBezTo>
                  <a:pt x="253665" y="334115"/>
                  <a:pt x="241128" y="348707"/>
                  <a:pt x="236284" y="366409"/>
                </a:cubicBezTo>
                <a:cubicBezTo>
                  <a:pt x="206901" y="333944"/>
                  <a:pt x="209400" y="283806"/>
                  <a:pt x="241866" y="254423"/>
                </a:cubicBezTo>
                <a:cubicBezTo>
                  <a:pt x="274331" y="225040"/>
                  <a:pt x="324469" y="227538"/>
                  <a:pt x="353852" y="260004"/>
                </a:cubicBezTo>
                <a:cubicBezTo>
                  <a:pt x="381186" y="290206"/>
                  <a:pt x="381186" y="336207"/>
                  <a:pt x="353852" y="366409"/>
                </a:cubicBezTo>
                <a:close/>
                <a:moveTo>
                  <a:pt x="491581" y="262463"/>
                </a:moveTo>
                <a:cubicBezTo>
                  <a:pt x="492492" y="245886"/>
                  <a:pt x="506669" y="233186"/>
                  <a:pt x="523246" y="234098"/>
                </a:cubicBezTo>
                <a:cubicBezTo>
                  <a:pt x="538549" y="234939"/>
                  <a:pt x="550769" y="247159"/>
                  <a:pt x="551611" y="262463"/>
                </a:cubicBezTo>
                <a:cubicBezTo>
                  <a:pt x="533564" y="274997"/>
                  <a:pt x="509627" y="274997"/>
                  <a:pt x="491581" y="262463"/>
                </a:cubicBezTo>
                <a:close/>
                <a:moveTo>
                  <a:pt x="510269" y="207681"/>
                </a:moveTo>
                <a:cubicBezTo>
                  <a:pt x="510269" y="201426"/>
                  <a:pt x="515340" y="196355"/>
                  <a:pt x="521596" y="196355"/>
                </a:cubicBezTo>
                <a:cubicBezTo>
                  <a:pt x="527851" y="196355"/>
                  <a:pt x="532922" y="201426"/>
                  <a:pt x="532922" y="207681"/>
                </a:cubicBezTo>
                <a:cubicBezTo>
                  <a:pt x="532922" y="213936"/>
                  <a:pt x="527851" y="219007"/>
                  <a:pt x="521596" y="219007"/>
                </a:cubicBezTo>
                <a:cubicBezTo>
                  <a:pt x="515340" y="219007"/>
                  <a:pt x="510269" y="213936"/>
                  <a:pt x="510269" y="207681"/>
                </a:cubicBezTo>
                <a:close/>
                <a:moveTo>
                  <a:pt x="521596" y="166151"/>
                </a:moveTo>
                <a:cubicBezTo>
                  <a:pt x="550738" y="166101"/>
                  <a:pt x="574402" y="189685"/>
                  <a:pt x="574452" y="218826"/>
                </a:cubicBezTo>
                <a:cubicBezTo>
                  <a:pt x="574471" y="229945"/>
                  <a:pt x="570977" y="240785"/>
                  <a:pt x="564470" y="249800"/>
                </a:cubicBezTo>
                <a:cubicBezTo>
                  <a:pt x="560667" y="238647"/>
                  <a:pt x="552688" y="229403"/>
                  <a:pt x="542210" y="224014"/>
                </a:cubicBezTo>
                <a:cubicBezTo>
                  <a:pt x="545947" y="219388"/>
                  <a:pt x="547997" y="213627"/>
                  <a:pt x="548024" y="207681"/>
                </a:cubicBezTo>
                <a:cubicBezTo>
                  <a:pt x="548024" y="193085"/>
                  <a:pt x="536192" y="181253"/>
                  <a:pt x="521596" y="181253"/>
                </a:cubicBezTo>
                <a:cubicBezTo>
                  <a:pt x="507000" y="181253"/>
                  <a:pt x="495167" y="193085"/>
                  <a:pt x="495167" y="207681"/>
                </a:cubicBezTo>
                <a:cubicBezTo>
                  <a:pt x="495195" y="213627"/>
                  <a:pt x="497245" y="219388"/>
                  <a:pt x="500982" y="224014"/>
                </a:cubicBezTo>
                <a:cubicBezTo>
                  <a:pt x="490503" y="229403"/>
                  <a:pt x="482524" y="238647"/>
                  <a:pt x="478721" y="249800"/>
                </a:cubicBezTo>
                <a:cubicBezTo>
                  <a:pt x="461665" y="226171"/>
                  <a:pt x="466993" y="193189"/>
                  <a:pt x="490622" y="176133"/>
                </a:cubicBezTo>
                <a:cubicBezTo>
                  <a:pt x="499637" y="169625"/>
                  <a:pt x="510477" y="166132"/>
                  <a:pt x="521596" y="166151"/>
                </a:cubicBezTo>
                <a:close/>
              </a:path>
            </a:pathLst>
          </a:custGeom>
          <a:solidFill>
            <a:schemeClr val="lt1"/>
          </a:solidFill>
          <a:ln w="10054" cap="flat">
            <a:solidFill>
              <a:schemeClr val="accent5"/>
            </a:solidFill>
            <a:prstDash val="solid"/>
            <a:miter/>
          </a:ln>
        </p:spPr>
        <p:txBody>
          <a:bodyPr rtlCol="0" anchor="ctr"/>
          <a:lstStyle/>
          <a:p>
            <a:endParaRPr lang="en-GB"/>
          </a:p>
        </p:txBody>
      </p:sp>
      <p:sp>
        <p:nvSpPr>
          <p:cNvPr id="144" name="Bild 128" descr="Hjärta kontur">
            <a:extLst>
              <a:ext uri="{FF2B5EF4-FFF2-40B4-BE49-F238E27FC236}">
                <a16:creationId xmlns:a16="http://schemas.microsoft.com/office/drawing/2014/main" id="{60805634-3D74-5216-CE7E-0E4E01A86621}"/>
              </a:ext>
            </a:extLst>
          </p:cNvPr>
          <p:cNvSpPr/>
          <p:nvPr/>
        </p:nvSpPr>
        <p:spPr>
          <a:xfrm>
            <a:off x="13488034" y="2020494"/>
            <a:ext cx="486370" cy="460835"/>
          </a:xfrm>
          <a:custGeom>
            <a:avLst/>
            <a:gdLst>
              <a:gd name="connsiteX0" fmla="*/ 364778 w 486370"/>
              <a:gd name="connsiteY0" fmla="*/ 0 h 460835"/>
              <a:gd name="connsiteX1" fmla="*/ 243185 w 486370"/>
              <a:gd name="connsiteY1" fmla="*/ 96058 h 460835"/>
              <a:gd name="connsiteX2" fmla="*/ 121593 w 486370"/>
              <a:gd name="connsiteY2" fmla="*/ 0 h 460835"/>
              <a:gd name="connsiteX3" fmla="*/ 0 w 486370"/>
              <a:gd name="connsiteY3" fmla="*/ 124668 h 460835"/>
              <a:gd name="connsiteX4" fmla="*/ 243185 w 486370"/>
              <a:gd name="connsiteY4" fmla="*/ 460836 h 460835"/>
              <a:gd name="connsiteX5" fmla="*/ 486370 w 486370"/>
              <a:gd name="connsiteY5" fmla="*/ 124668 h 460835"/>
              <a:gd name="connsiteX6" fmla="*/ 364778 w 486370"/>
              <a:gd name="connsiteY6" fmla="*/ 0 h 460835"/>
              <a:gd name="connsiteX7" fmla="*/ 243185 w 486370"/>
              <a:gd name="connsiteY7" fmla="*/ 442575 h 460835"/>
              <a:gd name="connsiteX8" fmla="*/ 14305 w 486370"/>
              <a:gd name="connsiteY8" fmla="*/ 124668 h 460835"/>
              <a:gd name="connsiteX9" fmla="*/ 46892 w 486370"/>
              <a:gd name="connsiteY9" fmla="*/ 49295 h 460835"/>
              <a:gd name="connsiteX10" fmla="*/ 121593 w 486370"/>
              <a:gd name="connsiteY10" fmla="*/ 14305 h 460835"/>
              <a:gd name="connsiteX11" fmla="*/ 230411 w 486370"/>
              <a:gd name="connsiteY11" fmla="*/ 102495 h 460835"/>
              <a:gd name="connsiteX12" fmla="*/ 243185 w 486370"/>
              <a:gd name="connsiteY12" fmla="*/ 127844 h 460835"/>
              <a:gd name="connsiteX13" fmla="*/ 255959 w 486370"/>
              <a:gd name="connsiteY13" fmla="*/ 102495 h 460835"/>
              <a:gd name="connsiteX14" fmla="*/ 364778 w 486370"/>
              <a:gd name="connsiteY14" fmla="*/ 14305 h 460835"/>
              <a:gd name="connsiteX15" fmla="*/ 472065 w 486370"/>
              <a:gd name="connsiteY15" fmla="*/ 124668 h 460835"/>
              <a:gd name="connsiteX16" fmla="*/ 243185 w 486370"/>
              <a:gd name="connsiteY16" fmla="*/ 442575 h 460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86370" h="460835">
                <a:moveTo>
                  <a:pt x="364778" y="0"/>
                </a:moveTo>
                <a:cubicBezTo>
                  <a:pt x="323221" y="0"/>
                  <a:pt x="278404" y="26178"/>
                  <a:pt x="243185" y="96058"/>
                </a:cubicBezTo>
                <a:cubicBezTo>
                  <a:pt x="207973" y="26192"/>
                  <a:pt x="163141" y="0"/>
                  <a:pt x="121593" y="0"/>
                </a:cubicBezTo>
                <a:cubicBezTo>
                  <a:pt x="56812" y="0"/>
                  <a:pt x="0" y="63657"/>
                  <a:pt x="0" y="124668"/>
                </a:cubicBezTo>
                <a:cubicBezTo>
                  <a:pt x="0" y="274871"/>
                  <a:pt x="243185" y="460836"/>
                  <a:pt x="243185" y="460836"/>
                </a:cubicBezTo>
                <a:cubicBezTo>
                  <a:pt x="243185" y="460836"/>
                  <a:pt x="486370" y="274871"/>
                  <a:pt x="486370" y="124668"/>
                </a:cubicBezTo>
                <a:cubicBezTo>
                  <a:pt x="486370" y="63664"/>
                  <a:pt x="429551" y="0"/>
                  <a:pt x="364778" y="0"/>
                </a:cubicBezTo>
                <a:close/>
                <a:moveTo>
                  <a:pt x="243185" y="442575"/>
                </a:moveTo>
                <a:cubicBezTo>
                  <a:pt x="200377" y="408000"/>
                  <a:pt x="14305" y="250430"/>
                  <a:pt x="14305" y="124668"/>
                </a:cubicBezTo>
                <a:cubicBezTo>
                  <a:pt x="15429" y="96368"/>
                  <a:pt x="27046" y="69501"/>
                  <a:pt x="46892" y="49295"/>
                </a:cubicBezTo>
                <a:cubicBezTo>
                  <a:pt x="65996" y="27956"/>
                  <a:pt x="92970" y="15321"/>
                  <a:pt x="121593" y="14305"/>
                </a:cubicBezTo>
                <a:cubicBezTo>
                  <a:pt x="163706" y="14305"/>
                  <a:pt x="201336" y="44803"/>
                  <a:pt x="230411" y="102495"/>
                </a:cubicBezTo>
                <a:lnTo>
                  <a:pt x="243185" y="127844"/>
                </a:lnTo>
                <a:lnTo>
                  <a:pt x="255959" y="102495"/>
                </a:lnTo>
                <a:cubicBezTo>
                  <a:pt x="285034" y="44803"/>
                  <a:pt x="322664" y="14305"/>
                  <a:pt x="364778" y="14305"/>
                </a:cubicBezTo>
                <a:cubicBezTo>
                  <a:pt x="418922" y="14305"/>
                  <a:pt x="472065" y="68972"/>
                  <a:pt x="472065" y="124668"/>
                </a:cubicBezTo>
                <a:cubicBezTo>
                  <a:pt x="472065" y="250430"/>
                  <a:pt x="285993" y="408000"/>
                  <a:pt x="243185" y="442575"/>
                </a:cubicBezTo>
                <a:close/>
              </a:path>
            </a:pathLst>
          </a:custGeom>
          <a:solidFill>
            <a:schemeClr val="lt1"/>
          </a:solidFill>
          <a:ln w="9525" cap="flat">
            <a:solidFill>
              <a:schemeClr val="accent5"/>
            </a:solidFill>
            <a:prstDash val="solid"/>
            <a:miter/>
          </a:ln>
        </p:spPr>
        <p:txBody>
          <a:bodyPr rtlCol="0" anchor="ctr"/>
          <a:lstStyle/>
          <a:p>
            <a:endParaRPr lang="en-GB"/>
          </a:p>
        </p:txBody>
      </p:sp>
      <p:sp>
        <p:nvSpPr>
          <p:cNvPr id="153" name="Bild 142" descr="Märke kontur">
            <a:extLst>
              <a:ext uri="{FF2B5EF4-FFF2-40B4-BE49-F238E27FC236}">
                <a16:creationId xmlns:a16="http://schemas.microsoft.com/office/drawing/2014/main" id="{ADF2A171-7FD3-F32A-AB7A-0B02282E73BB}"/>
              </a:ext>
            </a:extLst>
          </p:cNvPr>
          <p:cNvSpPr/>
          <p:nvPr/>
        </p:nvSpPr>
        <p:spPr>
          <a:xfrm>
            <a:off x="8103485" y="7397891"/>
            <a:ext cx="578685" cy="614286"/>
          </a:xfrm>
          <a:custGeom>
            <a:avLst/>
            <a:gdLst>
              <a:gd name="connsiteX0" fmla="*/ 569275 w 578685"/>
              <a:gd name="connsiteY0" fmla="*/ 370947 h 614286"/>
              <a:gd name="connsiteX1" fmla="*/ 335079 w 578685"/>
              <a:gd name="connsiteY1" fmla="*/ 136817 h 614286"/>
              <a:gd name="connsiteX2" fmla="*/ 311663 w 578685"/>
              <a:gd name="connsiteY2" fmla="*/ 126783 h 614286"/>
              <a:gd name="connsiteX3" fmla="*/ 157783 w 578685"/>
              <a:gd name="connsiteY3" fmla="*/ 126783 h 614286"/>
              <a:gd name="connsiteX4" fmla="*/ 151567 w 578685"/>
              <a:gd name="connsiteY4" fmla="*/ 127097 h 614286"/>
              <a:gd name="connsiteX5" fmla="*/ 109710 w 578685"/>
              <a:gd name="connsiteY5" fmla="*/ 92853 h 614286"/>
              <a:gd name="connsiteX6" fmla="*/ 53802 w 578685"/>
              <a:gd name="connsiteY6" fmla="*/ 81678 h 614286"/>
              <a:gd name="connsiteX7" fmla="*/ 20740 w 578685"/>
              <a:gd name="connsiteY7" fmla="*/ 45648 h 614286"/>
              <a:gd name="connsiteX8" fmla="*/ 16483 w 578685"/>
              <a:gd name="connsiteY8" fmla="*/ 7354 h 614286"/>
              <a:gd name="connsiteX9" fmla="*/ 7354 w 578685"/>
              <a:gd name="connsiteY9" fmla="*/ 51 h 614286"/>
              <a:gd name="connsiteX10" fmla="*/ 51 w 578685"/>
              <a:gd name="connsiteY10" fmla="*/ 9181 h 614286"/>
              <a:gd name="connsiteX11" fmla="*/ 4308 w 578685"/>
              <a:gd name="connsiteY11" fmla="*/ 47475 h 614286"/>
              <a:gd name="connsiteX12" fmla="*/ 50529 w 578685"/>
              <a:gd name="connsiteY12" fmla="*/ 97895 h 614286"/>
              <a:gd name="connsiteX13" fmla="*/ 106429 w 578685"/>
              <a:gd name="connsiteY13" fmla="*/ 109070 h 614286"/>
              <a:gd name="connsiteX14" fmla="*/ 135127 w 578685"/>
              <a:gd name="connsiteY14" fmla="*/ 130825 h 614286"/>
              <a:gd name="connsiteX15" fmla="*/ 90832 w 578685"/>
              <a:gd name="connsiteY15" fmla="*/ 193684 h 614286"/>
              <a:gd name="connsiteX16" fmla="*/ 90832 w 578685"/>
              <a:gd name="connsiteY16" fmla="*/ 346696 h 614286"/>
              <a:gd name="connsiteX17" fmla="*/ 100866 w 578685"/>
              <a:gd name="connsiteY17" fmla="*/ 370112 h 614286"/>
              <a:gd name="connsiteX18" fmla="*/ 335029 w 578685"/>
              <a:gd name="connsiteY18" fmla="*/ 604251 h 614286"/>
              <a:gd name="connsiteX19" fmla="*/ 382145 w 578685"/>
              <a:gd name="connsiteY19" fmla="*/ 604802 h 614286"/>
              <a:gd name="connsiteX20" fmla="*/ 382697 w 578685"/>
              <a:gd name="connsiteY20" fmla="*/ 604251 h 614286"/>
              <a:gd name="connsiteX21" fmla="*/ 569275 w 578685"/>
              <a:gd name="connsiteY21" fmla="*/ 417780 h 614286"/>
              <a:gd name="connsiteX22" fmla="*/ 569275 w 578685"/>
              <a:gd name="connsiteY22" fmla="*/ 370947 h 614286"/>
              <a:gd name="connsiteX23" fmla="*/ 557588 w 578685"/>
              <a:gd name="connsiteY23" fmla="*/ 406084 h 614286"/>
              <a:gd name="connsiteX24" fmla="*/ 371059 w 578685"/>
              <a:gd name="connsiteY24" fmla="*/ 592555 h 614286"/>
              <a:gd name="connsiteX25" fmla="*/ 347313 w 578685"/>
              <a:gd name="connsiteY25" fmla="*/ 593101 h 614286"/>
              <a:gd name="connsiteX26" fmla="*/ 346766 w 578685"/>
              <a:gd name="connsiteY26" fmla="*/ 592555 h 614286"/>
              <a:gd name="connsiteX27" fmla="*/ 112603 w 578685"/>
              <a:gd name="connsiteY27" fmla="*/ 358450 h 614286"/>
              <a:gd name="connsiteX28" fmla="*/ 112190 w 578685"/>
              <a:gd name="connsiteY28" fmla="*/ 358037 h 614286"/>
              <a:gd name="connsiteX29" fmla="*/ 111777 w 578685"/>
              <a:gd name="connsiteY29" fmla="*/ 357673 h 614286"/>
              <a:gd name="connsiteX30" fmla="*/ 107388 w 578685"/>
              <a:gd name="connsiteY30" fmla="*/ 346696 h 614286"/>
              <a:gd name="connsiteX31" fmla="*/ 107388 w 578685"/>
              <a:gd name="connsiteY31" fmla="*/ 193676 h 614286"/>
              <a:gd name="connsiteX32" fmla="*/ 139946 w 578685"/>
              <a:gd name="connsiteY32" fmla="*/ 146628 h 614286"/>
              <a:gd name="connsiteX33" fmla="*/ 144012 w 578685"/>
              <a:gd name="connsiteY33" fmla="*/ 166937 h 614286"/>
              <a:gd name="connsiteX34" fmla="*/ 136739 w 578685"/>
              <a:gd name="connsiteY34" fmla="*/ 172268 h 614286"/>
              <a:gd name="connsiteX35" fmla="*/ 136796 w 578685"/>
              <a:gd name="connsiteY35" fmla="*/ 219025 h 614286"/>
              <a:gd name="connsiteX36" fmla="*/ 183552 w 578685"/>
              <a:gd name="connsiteY36" fmla="*/ 218969 h 614286"/>
              <a:gd name="connsiteX37" fmla="*/ 183495 w 578685"/>
              <a:gd name="connsiteY37" fmla="*/ 172211 h 614286"/>
              <a:gd name="connsiteX38" fmla="*/ 160130 w 578685"/>
              <a:gd name="connsiteY38" fmla="*/ 162556 h 614286"/>
              <a:gd name="connsiteX39" fmla="*/ 160006 w 578685"/>
              <a:gd name="connsiteY39" fmla="*/ 162556 h 614286"/>
              <a:gd name="connsiteX40" fmla="*/ 156163 w 578685"/>
              <a:gd name="connsiteY40" fmla="*/ 143347 h 614286"/>
              <a:gd name="connsiteX41" fmla="*/ 157766 w 578685"/>
              <a:gd name="connsiteY41" fmla="*/ 143273 h 614286"/>
              <a:gd name="connsiteX42" fmla="*/ 311663 w 578685"/>
              <a:gd name="connsiteY42" fmla="*/ 143273 h 614286"/>
              <a:gd name="connsiteX43" fmla="*/ 323383 w 578685"/>
              <a:gd name="connsiteY43" fmla="*/ 148463 h 614286"/>
              <a:gd name="connsiteX44" fmla="*/ 557546 w 578685"/>
              <a:gd name="connsiteY44" fmla="*/ 382602 h 614286"/>
              <a:gd name="connsiteX45" fmla="*/ 557546 w 578685"/>
              <a:gd name="connsiteY45" fmla="*/ 406043 h 614286"/>
              <a:gd name="connsiteX46" fmla="*/ 163395 w 578685"/>
              <a:gd name="connsiteY46" fmla="*/ 179434 h 614286"/>
              <a:gd name="connsiteX47" fmla="*/ 176664 w 578685"/>
              <a:gd name="connsiteY47" fmla="*/ 198923 h 614286"/>
              <a:gd name="connsiteX48" fmla="*/ 157175 w 578685"/>
              <a:gd name="connsiteY48" fmla="*/ 212192 h 614286"/>
              <a:gd name="connsiteX49" fmla="*/ 143906 w 578685"/>
              <a:gd name="connsiteY49" fmla="*/ 192703 h 614286"/>
              <a:gd name="connsiteX50" fmla="*/ 147641 w 578685"/>
              <a:gd name="connsiteY50" fmla="*/ 184948 h 614286"/>
              <a:gd name="connsiteX51" fmla="*/ 148997 w 578685"/>
              <a:gd name="connsiteY51" fmla="*/ 191734 h 614286"/>
              <a:gd name="connsiteX52" fmla="*/ 157089 w 578685"/>
              <a:gd name="connsiteY52" fmla="*/ 198346 h 614286"/>
              <a:gd name="connsiteX53" fmla="*/ 158742 w 578685"/>
              <a:gd name="connsiteY53" fmla="*/ 198189 h 614286"/>
              <a:gd name="connsiteX54" fmla="*/ 165222 w 578685"/>
              <a:gd name="connsiteY54" fmla="*/ 188460 h 614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578685" h="614286">
                <a:moveTo>
                  <a:pt x="569275" y="370947"/>
                </a:moveTo>
                <a:lnTo>
                  <a:pt x="335079" y="136817"/>
                </a:lnTo>
                <a:cubicBezTo>
                  <a:pt x="328931" y="130473"/>
                  <a:pt x="320496" y="126859"/>
                  <a:pt x="311663" y="126783"/>
                </a:cubicBezTo>
                <a:lnTo>
                  <a:pt x="157783" y="126783"/>
                </a:lnTo>
                <a:cubicBezTo>
                  <a:pt x="155683" y="126783"/>
                  <a:pt x="153650" y="126907"/>
                  <a:pt x="151567" y="127097"/>
                </a:cubicBezTo>
                <a:cubicBezTo>
                  <a:pt x="144167" y="109439"/>
                  <a:pt x="128484" y="96609"/>
                  <a:pt x="109710" y="92853"/>
                </a:cubicBezTo>
                <a:lnTo>
                  <a:pt x="53802" y="81678"/>
                </a:lnTo>
                <a:cubicBezTo>
                  <a:pt x="36085" y="78195"/>
                  <a:pt x="22691" y="63599"/>
                  <a:pt x="20740" y="45648"/>
                </a:cubicBezTo>
                <a:lnTo>
                  <a:pt x="16483" y="7354"/>
                </a:lnTo>
                <a:cubicBezTo>
                  <a:pt x="15979" y="2816"/>
                  <a:pt x="11892" y="-453"/>
                  <a:pt x="7354" y="51"/>
                </a:cubicBezTo>
                <a:cubicBezTo>
                  <a:pt x="2816" y="556"/>
                  <a:pt x="-453" y="4643"/>
                  <a:pt x="51" y="9181"/>
                </a:cubicBezTo>
                <a:lnTo>
                  <a:pt x="4308" y="47475"/>
                </a:lnTo>
                <a:cubicBezTo>
                  <a:pt x="7030" y="72582"/>
                  <a:pt x="25753" y="93006"/>
                  <a:pt x="50529" y="97895"/>
                </a:cubicBezTo>
                <a:lnTo>
                  <a:pt x="106429" y="109070"/>
                </a:lnTo>
                <a:cubicBezTo>
                  <a:pt x="118823" y="111540"/>
                  <a:pt x="129400" y="119559"/>
                  <a:pt x="135127" y="130825"/>
                </a:cubicBezTo>
                <a:cubicBezTo>
                  <a:pt x="108629" y="140400"/>
                  <a:pt x="90935" y="165509"/>
                  <a:pt x="90832" y="193684"/>
                </a:cubicBezTo>
                <a:lnTo>
                  <a:pt x="90832" y="346696"/>
                </a:lnTo>
                <a:cubicBezTo>
                  <a:pt x="90584" y="355595"/>
                  <a:pt x="94252" y="364155"/>
                  <a:pt x="100866" y="370112"/>
                </a:cubicBezTo>
                <a:lnTo>
                  <a:pt x="335029" y="604251"/>
                </a:lnTo>
                <a:cubicBezTo>
                  <a:pt x="347888" y="617414"/>
                  <a:pt x="368983" y="617661"/>
                  <a:pt x="382145" y="604802"/>
                </a:cubicBezTo>
                <a:cubicBezTo>
                  <a:pt x="382331" y="604620"/>
                  <a:pt x="382515" y="604437"/>
                  <a:pt x="382697" y="604251"/>
                </a:cubicBezTo>
                <a:lnTo>
                  <a:pt x="569275" y="417780"/>
                </a:lnTo>
                <a:cubicBezTo>
                  <a:pt x="581822" y="404691"/>
                  <a:pt x="581822" y="384037"/>
                  <a:pt x="569275" y="370947"/>
                </a:cubicBezTo>
                <a:close/>
                <a:moveTo>
                  <a:pt x="557588" y="406084"/>
                </a:moveTo>
                <a:lnTo>
                  <a:pt x="371059" y="592555"/>
                </a:lnTo>
                <a:cubicBezTo>
                  <a:pt x="364652" y="599263"/>
                  <a:pt x="354021" y="599508"/>
                  <a:pt x="347313" y="593101"/>
                </a:cubicBezTo>
                <a:cubicBezTo>
                  <a:pt x="347126" y="592924"/>
                  <a:pt x="346944" y="592741"/>
                  <a:pt x="346766" y="592555"/>
                </a:cubicBezTo>
                <a:lnTo>
                  <a:pt x="112603" y="358450"/>
                </a:lnTo>
                <a:lnTo>
                  <a:pt x="112190" y="358037"/>
                </a:lnTo>
                <a:lnTo>
                  <a:pt x="111777" y="357673"/>
                </a:lnTo>
                <a:cubicBezTo>
                  <a:pt x="108795" y="354821"/>
                  <a:pt x="107194" y="350817"/>
                  <a:pt x="107388" y="346696"/>
                </a:cubicBezTo>
                <a:lnTo>
                  <a:pt x="107388" y="193676"/>
                </a:lnTo>
                <a:cubicBezTo>
                  <a:pt x="107468" y="172770"/>
                  <a:pt x="120408" y="154070"/>
                  <a:pt x="139946" y="146628"/>
                </a:cubicBezTo>
                <a:lnTo>
                  <a:pt x="144012" y="166937"/>
                </a:lnTo>
                <a:cubicBezTo>
                  <a:pt x="141353" y="168368"/>
                  <a:pt x="138904" y="170162"/>
                  <a:pt x="136739" y="172268"/>
                </a:cubicBezTo>
                <a:cubicBezTo>
                  <a:pt x="123843" y="185196"/>
                  <a:pt x="123868" y="206129"/>
                  <a:pt x="136796" y="219025"/>
                </a:cubicBezTo>
                <a:cubicBezTo>
                  <a:pt x="149722" y="231922"/>
                  <a:pt x="170656" y="231896"/>
                  <a:pt x="183552" y="218969"/>
                </a:cubicBezTo>
                <a:cubicBezTo>
                  <a:pt x="196448" y="206041"/>
                  <a:pt x="196423" y="185108"/>
                  <a:pt x="183495" y="172211"/>
                </a:cubicBezTo>
                <a:cubicBezTo>
                  <a:pt x="177294" y="166024"/>
                  <a:pt x="168890" y="162552"/>
                  <a:pt x="160130" y="162556"/>
                </a:cubicBezTo>
                <a:lnTo>
                  <a:pt x="160006" y="162556"/>
                </a:lnTo>
                <a:lnTo>
                  <a:pt x="156163" y="143347"/>
                </a:lnTo>
                <a:cubicBezTo>
                  <a:pt x="156700" y="143347"/>
                  <a:pt x="157229" y="143273"/>
                  <a:pt x="157766" y="143273"/>
                </a:cubicBezTo>
                <a:lnTo>
                  <a:pt x="311663" y="143273"/>
                </a:lnTo>
                <a:cubicBezTo>
                  <a:pt x="316110" y="143348"/>
                  <a:pt x="320338" y="145220"/>
                  <a:pt x="323383" y="148463"/>
                </a:cubicBezTo>
                <a:lnTo>
                  <a:pt x="557546" y="382602"/>
                </a:lnTo>
                <a:cubicBezTo>
                  <a:pt x="563619" y="389236"/>
                  <a:pt x="563619" y="399409"/>
                  <a:pt x="557546" y="406043"/>
                </a:cubicBezTo>
                <a:close/>
                <a:moveTo>
                  <a:pt x="163395" y="179434"/>
                </a:moveTo>
                <a:cubicBezTo>
                  <a:pt x="172441" y="181152"/>
                  <a:pt x="178381" y="189877"/>
                  <a:pt x="176664" y="198923"/>
                </a:cubicBezTo>
                <a:cubicBezTo>
                  <a:pt x="174946" y="207970"/>
                  <a:pt x="166221" y="213910"/>
                  <a:pt x="157175" y="212192"/>
                </a:cubicBezTo>
                <a:cubicBezTo>
                  <a:pt x="148130" y="210475"/>
                  <a:pt x="142188" y="201749"/>
                  <a:pt x="143906" y="192703"/>
                </a:cubicBezTo>
                <a:cubicBezTo>
                  <a:pt x="144451" y="189836"/>
                  <a:pt x="145738" y="187161"/>
                  <a:pt x="147641" y="184948"/>
                </a:cubicBezTo>
                <a:lnTo>
                  <a:pt x="148997" y="191734"/>
                </a:lnTo>
                <a:cubicBezTo>
                  <a:pt x="149782" y="195580"/>
                  <a:pt x="153163" y="198343"/>
                  <a:pt x="157089" y="198346"/>
                </a:cubicBezTo>
                <a:cubicBezTo>
                  <a:pt x="157643" y="198348"/>
                  <a:pt x="158197" y="198295"/>
                  <a:pt x="158742" y="198189"/>
                </a:cubicBezTo>
                <a:cubicBezTo>
                  <a:pt x="163217" y="197292"/>
                  <a:pt x="166119" y="192936"/>
                  <a:pt x="165222" y="188460"/>
                </a:cubicBezTo>
                <a:close/>
              </a:path>
            </a:pathLst>
          </a:custGeom>
          <a:solidFill>
            <a:schemeClr val="lt1"/>
          </a:solidFill>
          <a:ln w="10980" cap="flat">
            <a:solidFill>
              <a:schemeClr val="accent5"/>
            </a:solidFill>
            <a:prstDash val="solid"/>
            <a:miter/>
          </a:ln>
        </p:spPr>
        <p:txBody>
          <a:bodyPr rtlCol="0" anchor="ctr"/>
          <a:lstStyle/>
          <a:p>
            <a:endParaRPr lang="en-GB"/>
          </a:p>
        </p:txBody>
      </p:sp>
    </p:spTree>
    <p:extLst>
      <p:ext uri="{BB962C8B-B14F-4D97-AF65-F5344CB8AC3E}">
        <p14:creationId xmlns:p14="http://schemas.microsoft.com/office/powerpoint/2010/main" val="351350002"/>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1" name="Picture 12">
            <a:extLst>
              <a:ext uri="{FF2B5EF4-FFF2-40B4-BE49-F238E27FC236}">
                <a16:creationId xmlns:a16="http://schemas.microsoft.com/office/drawing/2014/main" id="{43802E0E-B79D-4EA7-8141-0CA3ED138B1A}"/>
              </a:ext>
            </a:extLst>
          </p:cNvPr>
          <p:cNvPicPr>
            <a:picLocks noChangeAspect="1"/>
          </p:cNvPicPr>
          <p:nvPr/>
        </p:nvPicPr>
        <p:blipFill>
          <a:blip r:embed="rId3"/>
          <a:srcRect/>
          <a:stretch>
            <a:fillRect/>
          </a:stretch>
        </p:blipFill>
        <p:spPr>
          <a:xfrm>
            <a:off x="0" y="8993140"/>
            <a:ext cx="5715000" cy="1385887"/>
          </a:xfrm>
          <a:prstGeom prst="rect">
            <a:avLst/>
          </a:prstGeom>
        </p:spPr>
      </p:pic>
      <p:grpSp>
        <p:nvGrpSpPr>
          <p:cNvPr id="132" name="Gruppo 2">
            <a:extLst>
              <a:ext uri="{FF2B5EF4-FFF2-40B4-BE49-F238E27FC236}">
                <a16:creationId xmlns:a16="http://schemas.microsoft.com/office/drawing/2014/main" id="{649928F6-6E82-4611-9715-AD3C75457C28}"/>
              </a:ext>
            </a:extLst>
          </p:cNvPr>
          <p:cNvGrpSpPr/>
          <p:nvPr/>
        </p:nvGrpSpPr>
        <p:grpSpPr>
          <a:xfrm>
            <a:off x="-12" y="138554"/>
            <a:ext cx="18288002" cy="681138"/>
            <a:chOff x="-12" y="138554"/>
            <a:chExt cx="18288002" cy="681138"/>
          </a:xfrm>
        </p:grpSpPr>
        <p:grpSp>
          <p:nvGrpSpPr>
            <p:cNvPr id="133" name="Gruppo 1">
              <a:extLst>
                <a:ext uri="{FF2B5EF4-FFF2-40B4-BE49-F238E27FC236}">
                  <a16:creationId xmlns:a16="http://schemas.microsoft.com/office/drawing/2014/main" id="{A8EB8794-E5C6-45EB-BAEC-2778E982797A}"/>
                </a:ext>
              </a:extLst>
            </p:cNvPr>
            <p:cNvGrpSpPr/>
            <p:nvPr/>
          </p:nvGrpSpPr>
          <p:grpSpPr>
            <a:xfrm>
              <a:off x="0" y="153125"/>
              <a:ext cx="17907000" cy="666567"/>
              <a:chOff x="0" y="153125"/>
              <a:chExt cx="17907000" cy="666567"/>
            </a:xfrm>
          </p:grpSpPr>
          <p:grpSp>
            <p:nvGrpSpPr>
              <p:cNvPr id="135" name="Gruppo 15">
                <a:extLst>
                  <a:ext uri="{FF2B5EF4-FFF2-40B4-BE49-F238E27FC236}">
                    <a16:creationId xmlns:a16="http://schemas.microsoft.com/office/drawing/2014/main" id="{AB129748-9FD7-458D-BD6E-304271C1814A}"/>
                  </a:ext>
                </a:extLst>
              </p:cNvPr>
              <p:cNvGrpSpPr/>
              <p:nvPr/>
            </p:nvGrpSpPr>
            <p:grpSpPr>
              <a:xfrm>
                <a:off x="0" y="153125"/>
                <a:ext cx="13958844" cy="666567"/>
                <a:chOff x="0" y="153125"/>
                <a:chExt cx="13958844" cy="666567"/>
              </a:xfrm>
            </p:grpSpPr>
            <p:pic>
              <p:nvPicPr>
                <p:cNvPr id="137" name="Picture 136">
                  <a:extLst>
                    <a:ext uri="{FF2B5EF4-FFF2-40B4-BE49-F238E27FC236}">
                      <a16:creationId xmlns:a16="http://schemas.microsoft.com/office/drawing/2014/main" id="{88E31CFD-796F-4F3F-A1EC-0E38F9D83456}"/>
                    </a:ext>
                  </a:extLst>
                </p:cNvPr>
                <p:cNvPicPr>
                  <a:picLocks noChangeAspect="1"/>
                </p:cNvPicPr>
                <p:nvPr/>
              </p:nvPicPr>
              <p:blipFill>
                <a:blip r:embed="rId4"/>
                <a:srcRect l="134" t="91287" b="3943"/>
                <a:stretch>
                  <a:fillRect/>
                </a:stretch>
              </p:blipFill>
              <p:spPr>
                <a:xfrm>
                  <a:off x="0" y="153125"/>
                  <a:ext cx="13958844" cy="666567"/>
                </a:xfrm>
                <a:prstGeom prst="rect">
                  <a:avLst/>
                </a:prstGeom>
              </p:spPr>
            </p:pic>
            <p:sp>
              <p:nvSpPr>
                <p:cNvPr id="138" name="TextBox 137">
                  <a:extLst>
                    <a:ext uri="{FF2B5EF4-FFF2-40B4-BE49-F238E27FC236}">
                      <a16:creationId xmlns:a16="http://schemas.microsoft.com/office/drawing/2014/main" id="{7694DADD-E227-40A7-A98D-244B0D207E54}"/>
                    </a:ext>
                  </a:extLst>
                </p:cNvPr>
                <p:cNvSpPr txBox="1"/>
                <p:nvPr/>
              </p:nvSpPr>
              <p:spPr>
                <a:xfrm>
                  <a:off x="228600" y="257980"/>
                  <a:ext cx="9296400" cy="456856"/>
                </a:xfrm>
                <a:prstGeom prst="rect">
                  <a:avLst/>
                </a:prstGeom>
              </p:spPr>
              <p:txBody>
                <a:bodyPr wrap="square" lIns="0" tIns="0" rIns="0" bIns="0" rtlCol="0" anchor="t">
                  <a:spAutoFit/>
                </a:bodyPr>
                <a:lstStyle/>
                <a:p>
                  <a:pPr marL="0" marR="0" lvl="0" indent="0" algn="l" defTabSz="914400" rtl="0" eaLnBrk="1" fontAlgn="auto" latinLnBrk="0" hangingPunct="1">
                    <a:lnSpc>
                      <a:spcPts val="3919"/>
                    </a:lnSpc>
                    <a:spcBef>
                      <a:spcPct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36" name="TextBox 135">
                <a:extLst>
                  <a:ext uri="{FF2B5EF4-FFF2-40B4-BE49-F238E27FC236}">
                    <a16:creationId xmlns:a16="http://schemas.microsoft.com/office/drawing/2014/main" id="{4B3CCEBB-60EF-4175-9878-F0D51FD80FF0}"/>
                  </a:ext>
                </a:extLst>
              </p:cNvPr>
              <p:cNvSpPr txBox="1"/>
              <p:nvPr/>
            </p:nvSpPr>
            <p:spPr>
              <a:xfrm>
                <a:off x="12154296" y="257980"/>
                <a:ext cx="5752704" cy="456856"/>
              </a:xfrm>
              <a:prstGeom prst="rect">
                <a:avLst/>
              </a:prstGeom>
            </p:spPr>
            <p:txBody>
              <a:bodyPr wrap="square" lIns="0" tIns="0" rIns="0" bIns="0" rtlCol="0" anchor="t">
                <a:spAutoFit/>
              </a:bodyPr>
              <a:lstStyle/>
              <a:p>
                <a:pPr marL="0" marR="0" lvl="0" indent="0" algn="r" defTabSz="914400" rtl="0" eaLnBrk="1" fontAlgn="auto" latinLnBrk="0" hangingPunct="1">
                  <a:lnSpc>
                    <a:spcPts val="3919"/>
                  </a:lnSpc>
                  <a:spcBef>
                    <a:spcPct val="0"/>
                  </a:spcBef>
                  <a:spcAft>
                    <a:spcPts val="0"/>
                  </a:spcAft>
                  <a:buClrTx/>
                  <a:buSzTx/>
                  <a:buFontTx/>
                  <a:buNone/>
                  <a:tabLst/>
                  <a:defRPr/>
                </a:pPr>
                <a:endParaRPr kumimoji="0" lang="en-US" sz="2800" b="0" i="0" u="none" strike="noStrike" kern="1200" cap="none" spc="0" normalizeH="0" baseline="0" noProof="0">
                  <a:ln>
                    <a:noFill/>
                  </a:ln>
                  <a:solidFill>
                    <a:srgbClr val="2F2F2F">
                      <a:lumMod val="75000"/>
                      <a:lumOff val="25000"/>
                    </a:srgbClr>
                  </a:solidFill>
                  <a:effectLst/>
                  <a:uLnTx/>
                  <a:uFillTx/>
                  <a:latin typeface="Arial" panose="020B0604020202020204" pitchFamily="34" charset="0"/>
                  <a:ea typeface="+mn-ea"/>
                  <a:cs typeface="Arial" panose="020B0604020202020204" pitchFamily="34" charset="0"/>
                </a:endParaRPr>
              </a:p>
            </p:txBody>
          </p:sp>
        </p:grpSp>
        <p:sp>
          <p:nvSpPr>
            <p:cNvPr id="134" name="Rettangolo 13">
              <a:extLst>
                <a:ext uri="{FF2B5EF4-FFF2-40B4-BE49-F238E27FC236}">
                  <a16:creationId xmlns:a16="http://schemas.microsoft.com/office/drawing/2014/main" id="{8F0CF2A7-592A-4287-9206-D3289F1B0C37}"/>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pic>
        <p:nvPicPr>
          <p:cNvPr id="139" name="Picture 12">
            <a:extLst>
              <a:ext uri="{FF2B5EF4-FFF2-40B4-BE49-F238E27FC236}">
                <a16:creationId xmlns:a16="http://schemas.microsoft.com/office/drawing/2014/main" id="{F047215A-40D8-4A57-BE02-5E03FCEEBB7B}"/>
              </a:ext>
            </a:extLst>
          </p:cNvPr>
          <p:cNvPicPr>
            <a:picLocks noChangeAspect="1"/>
          </p:cNvPicPr>
          <p:nvPr/>
        </p:nvPicPr>
        <p:blipFill>
          <a:blip r:embed="rId5"/>
          <a:srcRect l="134" t="91287" b="3943"/>
          <a:stretch>
            <a:fillRect/>
          </a:stretch>
        </p:blipFill>
        <p:spPr>
          <a:xfrm rot="10800000">
            <a:off x="4329146" y="9797731"/>
            <a:ext cx="13958844" cy="666567"/>
          </a:xfrm>
          <a:prstGeom prst="rect">
            <a:avLst/>
          </a:prstGeom>
        </p:spPr>
      </p:pic>
      <p:sp>
        <p:nvSpPr>
          <p:cNvPr id="140" name="TextBox 16">
            <a:extLst>
              <a:ext uri="{FF2B5EF4-FFF2-40B4-BE49-F238E27FC236}">
                <a16:creationId xmlns:a16="http://schemas.microsoft.com/office/drawing/2014/main" id="{C693B1DB-897C-4A9D-8CF3-F1423F6CB38D}"/>
              </a:ext>
            </a:extLst>
          </p:cNvPr>
          <p:cNvSpPr txBox="1"/>
          <p:nvPr/>
        </p:nvSpPr>
        <p:spPr>
          <a:xfrm>
            <a:off x="14400019" y="9762301"/>
            <a:ext cx="3636320" cy="448713"/>
          </a:xfrm>
          <a:prstGeom prst="rect">
            <a:avLst/>
          </a:prstGeom>
        </p:spPr>
        <p:txBody>
          <a:bodyPr wrap="square" lIns="0" tIns="0" rIns="0" bIns="0" rtlCol="0" anchor="t">
            <a:spAutoFit/>
          </a:bodyPr>
          <a:lstStyle/>
          <a:p>
            <a:pPr marL="0" marR="0" lvl="0" indent="0" algn="ctr" defTabSz="914400" rtl="0" eaLnBrk="1" fontAlgn="auto" latinLnBrk="0" hangingPunct="1">
              <a:lnSpc>
                <a:spcPts val="3919"/>
              </a:lnSpc>
              <a:spcBef>
                <a:spcPct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OCR A Extended" panose="02010509020102010303" pitchFamily="50" charset="0"/>
                <a:ea typeface="+mn-ea"/>
                <a:cs typeface="+mn-cs"/>
              </a:rPr>
              <a:t>www.retrofeed.eu</a:t>
            </a:r>
          </a:p>
        </p:txBody>
      </p:sp>
      <p:sp>
        <p:nvSpPr>
          <p:cNvPr id="4" name="TextBox 3">
            <a:extLst>
              <a:ext uri="{FF2B5EF4-FFF2-40B4-BE49-F238E27FC236}">
                <a16:creationId xmlns:a16="http://schemas.microsoft.com/office/drawing/2014/main" id="{E2A6C351-D084-461B-85B4-078A69C47372}"/>
              </a:ext>
            </a:extLst>
          </p:cNvPr>
          <p:cNvSpPr txBox="1"/>
          <p:nvPr/>
        </p:nvSpPr>
        <p:spPr>
          <a:xfrm>
            <a:off x="1073179" y="1087343"/>
            <a:ext cx="18552623" cy="769441"/>
          </a:xfrm>
          <a:prstGeom prst="rect">
            <a:avLst/>
          </a:prstGeom>
          <a:noFill/>
        </p:spPr>
        <p:txBody>
          <a:bodyPr wrap="square">
            <a:spAutoFit/>
          </a:bodyPr>
          <a:lstStyle>
            <a:defPPr>
              <a:defRPr lang="en-US"/>
            </a:defPPr>
            <a:lvl1pPr marR="0" lvl="0" indent="0" fontAlgn="auto">
              <a:lnSpc>
                <a:spcPct val="100000"/>
              </a:lnSpc>
              <a:spcBef>
                <a:spcPts val="0"/>
              </a:spcBef>
              <a:spcAft>
                <a:spcPts val="0"/>
              </a:spcAft>
              <a:buClrTx/>
              <a:buSzTx/>
              <a:buFontTx/>
              <a:buNone/>
              <a:tabLst/>
              <a:defRPr kumimoji="0" sz="4400" b="1" i="0" u="none" strike="noStrike" cap="none" spc="0" normalizeH="0" baseline="0">
                <a:ln>
                  <a:noFill/>
                </a:ln>
                <a:solidFill>
                  <a:srgbClr val="CC0033"/>
                </a:solidFill>
                <a:effectLst/>
                <a:uLnTx/>
                <a:uFillTx/>
                <a:latin typeface="Arial"/>
                <a:cs typeface="Arial" panose="020B0604020202020204" pitchFamily="34" charset="0"/>
              </a:defRPr>
            </a:lvl1pPr>
          </a:lstStyle>
          <a:p>
            <a:r>
              <a:rPr lang="en-GB" dirty="0"/>
              <a:t>BMC </a:t>
            </a:r>
            <a:r>
              <a:rPr lang="en-US" dirty="0"/>
              <a:t>of the CFD Based Digital Twins For Combustion Systems</a:t>
            </a:r>
            <a:endParaRPr lang="sv-SE" dirty="0"/>
          </a:p>
        </p:txBody>
      </p:sp>
      <p:graphicFrame>
        <p:nvGraphicFramePr>
          <p:cNvPr id="6" name="Tabell 5">
            <a:extLst>
              <a:ext uri="{FF2B5EF4-FFF2-40B4-BE49-F238E27FC236}">
                <a16:creationId xmlns:a16="http://schemas.microsoft.com/office/drawing/2014/main" id="{2B61A2CD-6F9E-7FF3-0C7D-1DDBDC135144}"/>
              </a:ext>
            </a:extLst>
          </p:cNvPr>
          <p:cNvGraphicFramePr>
            <a:graphicFrameLocks noGrp="1"/>
          </p:cNvGraphicFramePr>
          <p:nvPr>
            <p:extLst>
              <p:ext uri="{D42A27DB-BD31-4B8C-83A1-F6EECF244321}">
                <p14:modId xmlns:p14="http://schemas.microsoft.com/office/powerpoint/2010/main" val="910794475"/>
              </p:ext>
            </p:extLst>
          </p:nvPr>
        </p:nvGraphicFramePr>
        <p:xfrm>
          <a:off x="1198276" y="2334538"/>
          <a:ext cx="15865838" cy="5611425"/>
        </p:xfrm>
        <a:graphic>
          <a:graphicData uri="http://schemas.openxmlformats.org/drawingml/2006/table">
            <a:tbl>
              <a:tblPr firstRow="1" firstCol="1" bandRow="1">
                <a:tableStyleId>{5C22544A-7EE6-4342-B048-85BDC9FD1C3A}</a:tableStyleId>
              </a:tblPr>
              <a:tblGrid>
                <a:gridCol w="2853223">
                  <a:extLst>
                    <a:ext uri="{9D8B030D-6E8A-4147-A177-3AD203B41FA5}">
                      <a16:colId xmlns:a16="http://schemas.microsoft.com/office/drawing/2014/main" val="382711882"/>
                    </a:ext>
                  </a:extLst>
                </a:gridCol>
                <a:gridCol w="3502856">
                  <a:extLst>
                    <a:ext uri="{9D8B030D-6E8A-4147-A177-3AD203B41FA5}">
                      <a16:colId xmlns:a16="http://schemas.microsoft.com/office/drawing/2014/main" val="3047001043"/>
                    </a:ext>
                  </a:extLst>
                </a:gridCol>
                <a:gridCol w="1248672">
                  <a:extLst>
                    <a:ext uri="{9D8B030D-6E8A-4147-A177-3AD203B41FA5}">
                      <a16:colId xmlns:a16="http://schemas.microsoft.com/office/drawing/2014/main" val="860800738"/>
                    </a:ext>
                  </a:extLst>
                </a:gridCol>
                <a:gridCol w="1916559">
                  <a:extLst>
                    <a:ext uri="{9D8B030D-6E8A-4147-A177-3AD203B41FA5}">
                      <a16:colId xmlns:a16="http://schemas.microsoft.com/office/drawing/2014/main" val="3890161635"/>
                    </a:ext>
                  </a:extLst>
                </a:gridCol>
                <a:gridCol w="3502855">
                  <a:extLst>
                    <a:ext uri="{9D8B030D-6E8A-4147-A177-3AD203B41FA5}">
                      <a16:colId xmlns:a16="http://schemas.microsoft.com/office/drawing/2014/main" val="2658826809"/>
                    </a:ext>
                  </a:extLst>
                </a:gridCol>
                <a:gridCol w="2841673">
                  <a:extLst>
                    <a:ext uri="{9D8B030D-6E8A-4147-A177-3AD203B41FA5}">
                      <a16:colId xmlns:a16="http://schemas.microsoft.com/office/drawing/2014/main" val="1264386408"/>
                    </a:ext>
                  </a:extLst>
                </a:gridCol>
              </a:tblGrid>
              <a:tr h="645703">
                <a:tc>
                  <a:txBody>
                    <a:bodyPr/>
                    <a:lstStyle/>
                    <a:p>
                      <a:pPr fontAlgn="base"/>
                      <a:r>
                        <a:rPr lang="en-GB" sz="1800" kern="0" dirty="0">
                          <a:effectLst/>
                        </a:rPr>
                        <a:t>Key Partners </a:t>
                      </a:r>
                      <a:endParaRPr lang="sv-SE" sz="1800" kern="100" dirty="0">
                        <a:solidFill>
                          <a:srgbClr val="404040"/>
                        </a:solidFill>
                        <a:effectLst/>
                        <a:latin typeface="Liberation Serif"/>
                        <a:ea typeface="Noto Sans CJK SC"/>
                        <a:cs typeface="Lohit Devanagari"/>
                      </a:endParaRPr>
                    </a:p>
                  </a:txBody>
                  <a:tcPr marL="1114" marR="1114" marT="1114" marB="1114"/>
                </a:tc>
                <a:tc>
                  <a:txBody>
                    <a:bodyPr/>
                    <a:lstStyle/>
                    <a:p>
                      <a:pPr fontAlgn="base"/>
                      <a:r>
                        <a:rPr lang="en-GB" sz="1800" b="1" kern="0" dirty="0">
                          <a:solidFill>
                            <a:schemeClr val="bg1"/>
                          </a:solidFill>
                          <a:effectLst/>
                        </a:rPr>
                        <a:t>Key Activities </a:t>
                      </a:r>
                      <a:endParaRPr lang="sv-SE" sz="1800" b="1" kern="100" dirty="0">
                        <a:solidFill>
                          <a:schemeClr val="bg1"/>
                        </a:solidFill>
                        <a:effectLst/>
                        <a:latin typeface="Liberation Serif"/>
                        <a:ea typeface="Noto Sans CJK SC"/>
                        <a:cs typeface="Lohit Devanagari"/>
                      </a:endParaRPr>
                    </a:p>
                  </a:txBody>
                  <a:tcPr marL="1114" marR="1114" marT="1114" marB="1114">
                    <a:solidFill>
                      <a:schemeClr val="accent1"/>
                    </a:solidFill>
                  </a:tcPr>
                </a:tc>
                <a:tc gridSpan="2">
                  <a:txBody>
                    <a:bodyPr/>
                    <a:lstStyle/>
                    <a:p>
                      <a:pPr fontAlgn="base"/>
                      <a:r>
                        <a:rPr lang="en-GB" sz="1800" b="1" kern="0" dirty="0">
                          <a:solidFill>
                            <a:schemeClr val="bg1"/>
                          </a:solidFill>
                          <a:effectLst/>
                        </a:rPr>
                        <a:t>Value Proposition </a:t>
                      </a:r>
                      <a:endParaRPr lang="sv-SE" sz="1800" b="1" kern="100" dirty="0">
                        <a:solidFill>
                          <a:schemeClr val="bg1"/>
                        </a:solidFill>
                        <a:effectLst/>
                      </a:endParaRPr>
                    </a:p>
                    <a:p>
                      <a:pPr fontAlgn="base"/>
                      <a:r>
                        <a:rPr lang="en-GB" sz="1800" b="1" kern="0" dirty="0">
                          <a:solidFill>
                            <a:schemeClr val="bg1"/>
                          </a:solidFill>
                          <a:effectLst/>
                        </a:rPr>
                        <a:t> </a:t>
                      </a:r>
                      <a:endParaRPr lang="sv-SE" sz="1800" b="1" kern="100" dirty="0">
                        <a:solidFill>
                          <a:schemeClr val="bg1"/>
                        </a:solidFill>
                        <a:effectLst/>
                        <a:latin typeface="Liberation Serif"/>
                        <a:ea typeface="Noto Sans CJK SC"/>
                        <a:cs typeface="Lohit Devanagari"/>
                      </a:endParaRPr>
                    </a:p>
                  </a:txBody>
                  <a:tcPr marL="1114" marR="1114" marT="1114" marB="1114">
                    <a:solidFill>
                      <a:schemeClr val="accent1"/>
                    </a:solidFill>
                  </a:tcPr>
                </a:tc>
                <a:tc hMerge="1">
                  <a:txBody>
                    <a:bodyPr/>
                    <a:lstStyle/>
                    <a:p>
                      <a:endParaRPr lang="en-GB"/>
                    </a:p>
                  </a:txBody>
                  <a:tcPr/>
                </a:tc>
                <a:tc>
                  <a:txBody>
                    <a:bodyPr/>
                    <a:lstStyle/>
                    <a:p>
                      <a:r>
                        <a:rPr lang="en-GB" sz="1800" b="1" kern="0" dirty="0">
                          <a:solidFill>
                            <a:schemeClr val="bg1"/>
                          </a:solidFill>
                          <a:effectLst/>
                        </a:rPr>
                        <a:t>Customer Relationships </a:t>
                      </a:r>
                      <a:endParaRPr lang="en-GB" sz="2000" b="1" dirty="0">
                        <a:solidFill>
                          <a:schemeClr val="bg1"/>
                        </a:solidFill>
                      </a:endParaRPr>
                    </a:p>
                  </a:txBody>
                  <a:tcPr marL="1114" marR="1114" marT="1114" marB="1114">
                    <a:solidFill>
                      <a:schemeClr val="accent1"/>
                    </a:solidFill>
                  </a:tcPr>
                </a:tc>
                <a:tc>
                  <a:txBody>
                    <a:bodyPr/>
                    <a:lstStyle/>
                    <a:p>
                      <a:pPr fontAlgn="base"/>
                      <a:r>
                        <a:rPr lang="en-GB" sz="1800" b="1" kern="0" dirty="0">
                          <a:solidFill>
                            <a:schemeClr val="bg1"/>
                          </a:solidFill>
                          <a:effectLst/>
                        </a:rPr>
                        <a:t>Customer Segments </a:t>
                      </a:r>
                      <a:endParaRPr lang="sv-SE" sz="1800" b="1" kern="100" dirty="0">
                        <a:solidFill>
                          <a:schemeClr val="bg1"/>
                        </a:solidFill>
                        <a:effectLst/>
                        <a:latin typeface="Liberation Serif"/>
                        <a:ea typeface="Noto Sans CJK SC"/>
                        <a:cs typeface="Lohit Devanagari"/>
                      </a:endParaRPr>
                    </a:p>
                  </a:txBody>
                  <a:tcPr marL="1114" marR="1114" marT="1114" marB="1114">
                    <a:solidFill>
                      <a:schemeClr val="accent1"/>
                    </a:solidFill>
                  </a:tcPr>
                </a:tc>
                <a:extLst>
                  <a:ext uri="{0D108BD9-81ED-4DB2-BD59-A6C34878D82A}">
                    <a16:rowId xmlns:a16="http://schemas.microsoft.com/office/drawing/2014/main" val="4072493817"/>
                  </a:ext>
                </a:extLst>
              </a:tr>
              <a:tr h="1074865">
                <a:tc rowSpan="3">
                  <a:txBody>
                    <a:bodyPr/>
                    <a:lstStyle/>
                    <a:p>
                      <a:pPr marL="285750" indent="-285750" algn="l" defTabSz="914400" rtl="0" eaLnBrk="1" fontAlgn="base" latinLnBrk="0" hangingPunct="1">
                        <a:buFont typeface="Arial" panose="020B0604020202020204" pitchFamily="34" charset="0"/>
                        <a:buChar char="•"/>
                      </a:pPr>
                      <a:r>
                        <a:rPr lang="en-GB" sz="1400" b="0" kern="1200" dirty="0">
                          <a:solidFill>
                            <a:schemeClr val="dk1"/>
                          </a:solidFill>
                          <a:effectLst/>
                          <a:latin typeface="+mn-lt"/>
                          <a:ea typeface="+mn-ea"/>
                          <a:cs typeface="+mn-cs"/>
                        </a:rPr>
                        <a:t>RTOs  </a:t>
                      </a:r>
                      <a:endParaRPr lang="sv-SE" sz="1400" b="0" kern="1200" dirty="0">
                        <a:solidFill>
                          <a:schemeClr val="dk1"/>
                        </a:solidFill>
                        <a:effectLst/>
                        <a:latin typeface="+mn-lt"/>
                        <a:ea typeface="+mn-ea"/>
                        <a:cs typeface="+mn-cs"/>
                      </a:endParaRPr>
                    </a:p>
                    <a:p>
                      <a:pPr marL="285750" indent="-285750" algn="l" defTabSz="914400" rtl="0" eaLnBrk="1" fontAlgn="base" latinLnBrk="0" hangingPunct="1">
                        <a:buFont typeface="Arial" panose="020B0604020202020204" pitchFamily="34" charset="0"/>
                        <a:buChar char="•"/>
                      </a:pPr>
                      <a:r>
                        <a:rPr lang="en-GB" sz="1400" b="0" kern="1200" dirty="0">
                          <a:solidFill>
                            <a:schemeClr val="dk1"/>
                          </a:solidFill>
                          <a:effectLst/>
                          <a:latin typeface="+mn-lt"/>
                          <a:ea typeface="+mn-ea"/>
                          <a:cs typeface="+mn-cs"/>
                        </a:rPr>
                        <a:t>Financial bodies </a:t>
                      </a:r>
                      <a:endParaRPr lang="sv-SE" sz="1400" b="0" kern="1200" dirty="0">
                        <a:solidFill>
                          <a:schemeClr val="dk1"/>
                        </a:solidFill>
                        <a:effectLst/>
                        <a:latin typeface="+mn-lt"/>
                        <a:ea typeface="+mn-ea"/>
                        <a:cs typeface="+mn-cs"/>
                      </a:endParaRPr>
                    </a:p>
                    <a:p>
                      <a:pPr marL="285750" indent="-285750" algn="l" defTabSz="914400" rtl="0" eaLnBrk="1" fontAlgn="base" latinLnBrk="0" hangingPunct="1">
                        <a:buFont typeface="Arial" panose="020B0604020202020204" pitchFamily="34" charset="0"/>
                        <a:buChar char="•"/>
                      </a:pPr>
                      <a:r>
                        <a:rPr lang="en-GB" sz="1400" b="0" kern="1200" dirty="0">
                          <a:solidFill>
                            <a:schemeClr val="dk1"/>
                          </a:solidFill>
                          <a:effectLst/>
                          <a:latin typeface="+mn-lt"/>
                          <a:ea typeface="+mn-ea"/>
                          <a:cs typeface="+mn-cs"/>
                        </a:rPr>
                        <a:t>Engineering and equipment manufacturers </a:t>
                      </a:r>
                      <a:endParaRPr lang="sv-SE" sz="1400" b="0" kern="1200" dirty="0">
                        <a:solidFill>
                          <a:schemeClr val="dk1"/>
                        </a:solidFill>
                        <a:effectLst/>
                        <a:latin typeface="+mn-lt"/>
                        <a:ea typeface="+mn-ea"/>
                        <a:cs typeface="+mn-cs"/>
                      </a:endParaRPr>
                    </a:p>
                    <a:p>
                      <a:pPr marL="285750" indent="-285750" algn="l" defTabSz="914400" rtl="0" eaLnBrk="1" fontAlgn="base" latinLnBrk="0" hangingPunct="1">
                        <a:buFont typeface="Arial" panose="020B0604020202020204" pitchFamily="34" charset="0"/>
                        <a:buChar char="•"/>
                      </a:pPr>
                      <a:r>
                        <a:rPr lang="en-GB" sz="1400" b="0" kern="1200" dirty="0">
                          <a:solidFill>
                            <a:schemeClr val="dk1"/>
                          </a:solidFill>
                          <a:effectLst/>
                          <a:latin typeface="+mn-lt"/>
                          <a:ea typeface="+mn-ea"/>
                          <a:cs typeface="+mn-cs"/>
                        </a:rPr>
                        <a:t>End users of equipment such as furnaces, boilers. </a:t>
                      </a:r>
                      <a:endParaRPr lang="sv-SE" sz="1400" b="0" kern="1200" dirty="0">
                        <a:solidFill>
                          <a:schemeClr val="dk1"/>
                        </a:solidFill>
                        <a:effectLst/>
                        <a:latin typeface="+mn-lt"/>
                        <a:ea typeface="+mn-ea"/>
                        <a:cs typeface="+mn-cs"/>
                      </a:endParaRPr>
                    </a:p>
                  </a:txBody>
                  <a:tcPr marL="1114" marR="1114" marT="1114" marB="1114">
                    <a:solidFill>
                      <a:schemeClr val="accent3">
                        <a:lumMod val="20000"/>
                        <a:lumOff val="80000"/>
                      </a:schemeClr>
                    </a:solidFill>
                  </a:tcPr>
                </a:tc>
                <a:tc>
                  <a:txBody>
                    <a:bodyPr/>
                    <a:lstStyle/>
                    <a:p>
                      <a:pPr marL="285750" indent="-285750" algn="l" defTabSz="914400" rtl="0" eaLnBrk="1" fontAlgn="base" latinLnBrk="0" hangingPunct="1">
                        <a:buFont typeface="Arial" panose="020B0604020202020204" pitchFamily="34" charset="0"/>
                        <a:buChar char="•"/>
                      </a:pPr>
                      <a:r>
                        <a:rPr lang="en-GB" sz="1400" b="0" kern="1200" dirty="0">
                          <a:solidFill>
                            <a:schemeClr val="dk1"/>
                          </a:solidFill>
                          <a:effectLst/>
                          <a:latin typeface="+mn-lt"/>
                          <a:ea typeface="+mn-ea"/>
                          <a:cs typeface="+mn-cs"/>
                        </a:rPr>
                        <a:t>Further R&amp;D to improve the solutions </a:t>
                      </a:r>
                      <a:endParaRPr lang="sv-SE" sz="1400" b="0" kern="1200" dirty="0">
                        <a:solidFill>
                          <a:schemeClr val="dk1"/>
                        </a:solidFill>
                        <a:effectLst/>
                        <a:latin typeface="+mn-lt"/>
                        <a:ea typeface="+mn-ea"/>
                        <a:cs typeface="+mn-cs"/>
                      </a:endParaRPr>
                    </a:p>
                    <a:p>
                      <a:pPr marL="285750" indent="-285750" algn="l" defTabSz="914400" rtl="0" eaLnBrk="1" fontAlgn="base" latinLnBrk="0" hangingPunct="1">
                        <a:buFont typeface="Arial" panose="020B0604020202020204" pitchFamily="34" charset="0"/>
                        <a:buChar char="•"/>
                      </a:pPr>
                      <a:r>
                        <a:rPr lang="en-GB" sz="1400" b="0" kern="1200" dirty="0">
                          <a:solidFill>
                            <a:schemeClr val="dk1"/>
                          </a:solidFill>
                          <a:effectLst/>
                          <a:latin typeface="+mn-lt"/>
                          <a:ea typeface="+mn-ea"/>
                          <a:cs typeface="+mn-cs"/>
                        </a:rPr>
                        <a:t>Design of the solutions </a:t>
                      </a:r>
                      <a:endParaRPr lang="sv-SE" sz="1400" b="0" kern="1200" dirty="0">
                        <a:solidFill>
                          <a:schemeClr val="dk1"/>
                        </a:solidFill>
                        <a:effectLst/>
                        <a:latin typeface="+mn-lt"/>
                        <a:ea typeface="+mn-ea"/>
                        <a:cs typeface="+mn-cs"/>
                      </a:endParaRPr>
                    </a:p>
                    <a:p>
                      <a:pPr marL="285750" indent="-285750" algn="l" defTabSz="914400" rtl="0" eaLnBrk="1" fontAlgn="base" latinLnBrk="0" hangingPunct="1">
                        <a:buFont typeface="Arial" panose="020B0604020202020204" pitchFamily="34" charset="0"/>
                        <a:buChar char="•"/>
                      </a:pPr>
                      <a:r>
                        <a:rPr lang="en-US" sz="1400" b="0" kern="1200" dirty="0">
                          <a:solidFill>
                            <a:schemeClr val="dk1"/>
                          </a:solidFill>
                          <a:effectLst/>
                          <a:latin typeface="+mn-lt"/>
                          <a:ea typeface="+mn-ea"/>
                          <a:cs typeface="+mn-cs"/>
                        </a:rPr>
                        <a:t>Contact with potential customers</a:t>
                      </a:r>
                      <a:r>
                        <a:rPr lang="en-GB" sz="1400" b="0" kern="1200" dirty="0">
                          <a:solidFill>
                            <a:schemeClr val="dk1"/>
                          </a:solidFill>
                          <a:effectLst/>
                          <a:latin typeface="+mn-lt"/>
                          <a:ea typeface="+mn-ea"/>
                          <a:cs typeface="+mn-cs"/>
                        </a:rPr>
                        <a:t> </a:t>
                      </a:r>
                      <a:endParaRPr lang="sv-SE" sz="1400" b="0" kern="1200" dirty="0">
                        <a:solidFill>
                          <a:schemeClr val="dk1"/>
                        </a:solidFill>
                        <a:effectLst/>
                        <a:latin typeface="+mn-lt"/>
                        <a:ea typeface="+mn-ea"/>
                        <a:cs typeface="+mn-cs"/>
                      </a:endParaRPr>
                    </a:p>
                    <a:p>
                      <a:pPr marL="285750" indent="-285750" algn="l" defTabSz="914400" rtl="0" eaLnBrk="1" fontAlgn="base" latinLnBrk="0" hangingPunct="1">
                        <a:buFont typeface="Arial" panose="020B0604020202020204" pitchFamily="34" charset="0"/>
                        <a:buChar char="•"/>
                      </a:pPr>
                      <a:r>
                        <a:rPr lang="en-US" sz="1400" b="0" kern="1200" dirty="0">
                          <a:solidFill>
                            <a:schemeClr val="dk1"/>
                          </a:solidFill>
                          <a:effectLst/>
                          <a:latin typeface="+mn-lt"/>
                          <a:ea typeface="+mn-ea"/>
                          <a:cs typeface="+mn-cs"/>
                        </a:rPr>
                        <a:t>Continue technology validation</a:t>
                      </a:r>
                      <a:r>
                        <a:rPr lang="en-GB" sz="1400" b="0" kern="1200" dirty="0">
                          <a:solidFill>
                            <a:schemeClr val="dk1"/>
                          </a:solidFill>
                          <a:effectLst/>
                          <a:latin typeface="+mn-lt"/>
                          <a:ea typeface="+mn-ea"/>
                          <a:cs typeface="+mn-cs"/>
                        </a:rPr>
                        <a:t> </a:t>
                      </a:r>
                      <a:endParaRPr lang="sv-SE" sz="1400" b="0" kern="1200" dirty="0">
                        <a:solidFill>
                          <a:schemeClr val="dk1"/>
                        </a:solidFill>
                        <a:effectLst/>
                        <a:latin typeface="+mn-lt"/>
                        <a:ea typeface="+mn-ea"/>
                        <a:cs typeface="+mn-cs"/>
                      </a:endParaRPr>
                    </a:p>
                  </a:txBody>
                  <a:tcPr marL="1114" marR="1114" marT="1114" marB="1114">
                    <a:solidFill>
                      <a:schemeClr val="accent3">
                        <a:lumMod val="20000"/>
                        <a:lumOff val="80000"/>
                      </a:schemeClr>
                    </a:solidFill>
                  </a:tcPr>
                </a:tc>
                <a:tc rowSpan="3" gridSpan="2">
                  <a:txBody>
                    <a:bodyPr/>
                    <a:lstStyle/>
                    <a:p>
                      <a:pPr marL="285750" marR="0" lvl="0" indent="-2857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GB" sz="1400" b="0" kern="1200" dirty="0">
                          <a:solidFill>
                            <a:schemeClr val="dk1"/>
                          </a:solidFill>
                          <a:effectLst/>
                          <a:latin typeface="+mn-lt"/>
                          <a:ea typeface="+mn-ea"/>
                          <a:cs typeface="+mn-cs"/>
                        </a:rPr>
                        <a:t>These models allow to perform real-time simulation using data from the kiln and use the results to diagnose malfunction, problems or test new operation modes that can be passed to the kiln via the DSS.  </a:t>
                      </a:r>
                      <a:endParaRPr lang="sv-SE" sz="1400" b="0" kern="1200" dirty="0">
                        <a:solidFill>
                          <a:schemeClr val="dk1"/>
                        </a:solidFill>
                        <a:effectLst/>
                        <a:latin typeface="+mn-lt"/>
                        <a:ea typeface="+mn-ea"/>
                        <a:cs typeface="+mn-cs"/>
                      </a:endParaRPr>
                    </a:p>
                    <a:p>
                      <a:pPr marL="285750" marR="0" lvl="0" indent="-2857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GB" sz="1400" b="0" kern="1200" dirty="0">
                          <a:solidFill>
                            <a:schemeClr val="dk1"/>
                          </a:solidFill>
                          <a:effectLst/>
                          <a:latin typeface="+mn-lt"/>
                          <a:ea typeface="+mn-ea"/>
                          <a:cs typeface="+mn-cs"/>
                        </a:rPr>
                        <a:t>Depending on the specific equipment and needs, these models can be used as support for the decision-making process and/or for the generation of digital twins. </a:t>
                      </a:r>
                      <a:endParaRPr lang="sv-SE" sz="1400" b="0" kern="1200" dirty="0">
                        <a:solidFill>
                          <a:schemeClr val="dk1"/>
                        </a:solidFill>
                        <a:effectLst/>
                        <a:latin typeface="+mn-lt"/>
                        <a:ea typeface="+mn-ea"/>
                        <a:cs typeface="+mn-cs"/>
                      </a:endParaRPr>
                    </a:p>
                  </a:txBody>
                  <a:tcPr marL="1114" marR="1114" marT="1114" marB="1114">
                    <a:solidFill>
                      <a:schemeClr val="accent3">
                        <a:lumMod val="20000"/>
                        <a:lumOff val="80000"/>
                      </a:schemeClr>
                    </a:solidFill>
                  </a:tcPr>
                </a:tc>
                <a:tc rowSpan="3" hMerge="1">
                  <a:txBody>
                    <a:bodyPr/>
                    <a:lstStyle/>
                    <a:p>
                      <a:endParaRPr lang="en-GB"/>
                    </a:p>
                  </a:txBody>
                  <a:tcPr/>
                </a:tc>
                <a:tc>
                  <a:txBody>
                    <a:bodyPr/>
                    <a:lstStyle/>
                    <a:p>
                      <a:pPr marL="285750" indent="-285750" algn="l" defTabSz="914400" rtl="0" eaLnBrk="1" fontAlgn="base" latinLnBrk="0" hangingPunct="1">
                        <a:buFont typeface="Arial" panose="020B0604020202020204" pitchFamily="34" charset="0"/>
                        <a:buChar char="•"/>
                      </a:pPr>
                      <a:r>
                        <a:rPr lang="en-GB" sz="1400" b="0" kern="1200" dirty="0">
                          <a:solidFill>
                            <a:schemeClr val="dk1"/>
                          </a:solidFill>
                          <a:effectLst/>
                          <a:latin typeface="+mn-lt"/>
                          <a:ea typeface="+mn-ea"/>
                          <a:cs typeface="+mn-cs"/>
                        </a:rPr>
                        <a:t>Technical and consultancy service; </a:t>
                      </a:r>
                      <a:endParaRPr lang="sv-SE" sz="1400" b="0" kern="1200" dirty="0">
                        <a:solidFill>
                          <a:schemeClr val="dk1"/>
                        </a:solidFill>
                        <a:effectLst/>
                        <a:latin typeface="+mn-lt"/>
                        <a:ea typeface="+mn-ea"/>
                        <a:cs typeface="+mn-cs"/>
                      </a:endParaRPr>
                    </a:p>
                    <a:p>
                      <a:pPr marL="285750" indent="-285750" algn="l" defTabSz="914400" rtl="0" eaLnBrk="1" fontAlgn="base" latinLnBrk="0" hangingPunct="1">
                        <a:buFont typeface="Arial" panose="020B0604020202020204" pitchFamily="34" charset="0"/>
                        <a:buChar char="•"/>
                      </a:pPr>
                      <a:r>
                        <a:rPr lang="en-GB" sz="1400" b="0" kern="1200" dirty="0">
                          <a:solidFill>
                            <a:schemeClr val="dk1"/>
                          </a:solidFill>
                          <a:effectLst/>
                          <a:latin typeface="+mn-lt"/>
                          <a:ea typeface="+mn-ea"/>
                          <a:cs typeface="+mn-cs"/>
                        </a:rPr>
                        <a:t>DT updates with more accurate versions, new inputs/</a:t>
                      </a:r>
                      <a:r>
                        <a:rPr lang="en-GB" sz="1400" b="0" kern="1200" dirty="0" err="1">
                          <a:solidFill>
                            <a:schemeClr val="dk1"/>
                          </a:solidFill>
                          <a:effectLst/>
                          <a:latin typeface="+mn-lt"/>
                          <a:ea typeface="+mn-ea"/>
                          <a:cs typeface="+mn-cs"/>
                        </a:rPr>
                        <a:t>ouputs</a:t>
                      </a:r>
                      <a:r>
                        <a:rPr lang="en-GB" sz="1400" b="0" kern="1200" dirty="0">
                          <a:solidFill>
                            <a:schemeClr val="dk1"/>
                          </a:solidFill>
                          <a:effectLst/>
                          <a:latin typeface="+mn-lt"/>
                          <a:ea typeface="+mn-ea"/>
                          <a:cs typeface="+mn-cs"/>
                        </a:rPr>
                        <a:t> and new functionalities. </a:t>
                      </a:r>
                      <a:endParaRPr lang="sv-SE" sz="1400" b="0" kern="1200" dirty="0">
                        <a:solidFill>
                          <a:schemeClr val="dk1"/>
                        </a:solidFill>
                        <a:effectLst/>
                        <a:latin typeface="+mn-lt"/>
                        <a:ea typeface="+mn-ea"/>
                        <a:cs typeface="+mn-cs"/>
                      </a:endParaRPr>
                    </a:p>
                    <a:p>
                      <a:pPr marL="285750" indent="-285750" algn="l" defTabSz="914400" rtl="0" eaLnBrk="1" fontAlgn="base" latinLnBrk="0" hangingPunct="1">
                        <a:buFont typeface="Arial" panose="020B0604020202020204" pitchFamily="34" charset="0"/>
                        <a:buChar char="•"/>
                      </a:pPr>
                      <a:r>
                        <a:rPr lang="en-GB" sz="1400" b="0" kern="1200" dirty="0">
                          <a:solidFill>
                            <a:schemeClr val="dk1"/>
                          </a:solidFill>
                          <a:effectLst/>
                          <a:latin typeface="+mn-lt"/>
                          <a:ea typeface="+mn-ea"/>
                          <a:cs typeface="+mn-cs"/>
                        </a:rPr>
                        <a:t> </a:t>
                      </a:r>
                      <a:endParaRPr lang="sv-SE" sz="1400" b="0" kern="1200" dirty="0">
                        <a:solidFill>
                          <a:schemeClr val="dk1"/>
                        </a:solidFill>
                        <a:effectLst/>
                        <a:latin typeface="+mn-lt"/>
                        <a:ea typeface="+mn-ea"/>
                        <a:cs typeface="+mn-cs"/>
                      </a:endParaRPr>
                    </a:p>
                  </a:txBody>
                  <a:tcPr marL="9525" marR="9525" marT="9525" marB="9525">
                    <a:solidFill>
                      <a:schemeClr val="accent3">
                        <a:lumMod val="20000"/>
                        <a:lumOff val="80000"/>
                      </a:schemeClr>
                    </a:solidFill>
                  </a:tcPr>
                </a:tc>
                <a:tc rowSpan="3">
                  <a:txBody>
                    <a:bodyPr/>
                    <a:lstStyle/>
                    <a:p>
                      <a:pPr marL="285750" indent="-285750" algn="l" defTabSz="914400" rtl="0" eaLnBrk="1" fontAlgn="base" latinLnBrk="0" hangingPunct="1">
                        <a:buFont typeface="Arial" panose="020B0604020202020204" pitchFamily="34" charset="0"/>
                        <a:buChar char="•"/>
                      </a:pPr>
                      <a:r>
                        <a:rPr lang="en-GB" sz="1400" b="0" kern="1200" dirty="0">
                          <a:solidFill>
                            <a:schemeClr val="dk1"/>
                          </a:solidFill>
                          <a:effectLst/>
                          <a:latin typeface="+mn-lt"/>
                          <a:ea typeface="+mn-ea"/>
                          <a:cs typeface="+mn-cs"/>
                        </a:rPr>
                        <a:t>REIIs plants manager and operators.  </a:t>
                      </a:r>
                      <a:endParaRPr lang="sv-SE" sz="1400" b="0" kern="1200" dirty="0">
                        <a:solidFill>
                          <a:schemeClr val="dk1"/>
                        </a:solidFill>
                        <a:effectLst/>
                        <a:latin typeface="+mn-lt"/>
                        <a:ea typeface="+mn-ea"/>
                        <a:cs typeface="+mn-cs"/>
                      </a:endParaRPr>
                    </a:p>
                    <a:p>
                      <a:pPr marL="285750" indent="-285750" algn="l" defTabSz="914400" rtl="0" eaLnBrk="1" fontAlgn="base" latinLnBrk="0" hangingPunct="1">
                        <a:buFont typeface="Arial" panose="020B0604020202020204" pitchFamily="34" charset="0"/>
                        <a:buChar char="•"/>
                      </a:pPr>
                      <a:r>
                        <a:rPr lang="en-GB" sz="1400" b="0" kern="1200" dirty="0">
                          <a:solidFill>
                            <a:schemeClr val="dk1"/>
                          </a:solidFill>
                          <a:effectLst/>
                          <a:latin typeface="+mn-lt"/>
                          <a:ea typeface="+mn-ea"/>
                          <a:cs typeface="+mn-cs"/>
                        </a:rPr>
                        <a:t>Furnace and boilers providers (e.g. SUGIMAT), end users (e.g. </a:t>
                      </a:r>
                      <a:r>
                        <a:rPr lang="en-GB" sz="1400" b="0" kern="1200" dirty="0" err="1">
                          <a:solidFill>
                            <a:schemeClr val="dk1"/>
                          </a:solidFill>
                          <a:effectLst/>
                          <a:latin typeface="+mn-lt"/>
                          <a:ea typeface="+mn-ea"/>
                          <a:cs typeface="+mn-cs"/>
                        </a:rPr>
                        <a:t>Ebroacero</a:t>
                      </a:r>
                      <a:r>
                        <a:rPr lang="en-GB" sz="1400" b="0" kern="1200" dirty="0">
                          <a:solidFill>
                            <a:schemeClr val="dk1"/>
                          </a:solidFill>
                          <a:effectLst/>
                          <a:latin typeface="+mn-lt"/>
                          <a:ea typeface="+mn-ea"/>
                          <a:cs typeface="+mn-cs"/>
                        </a:rPr>
                        <a:t>), engineering companies (e.g. Solute), HVAC sector</a:t>
                      </a:r>
                      <a:r>
                        <a:rPr lang="en-GB" sz="1800" kern="1200" dirty="0">
                          <a:solidFill>
                            <a:schemeClr val="dk1"/>
                          </a:solidFill>
                          <a:effectLst/>
                          <a:latin typeface="+mn-lt"/>
                          <a:ea typeface="+mn-ea"/>
                          <a:cs typeface="+mn-cs"/>
                        </a:rPr>
                        <a:t>. </a:t>
                      </a:r>
                      <a:endParaRPr lang="sv-SE" sz="1400" kern="1200" dirty="0">
                        <a:solidFill>
                          <a:schemeClr val="dk1"/>
                        </a:solidFill>
                        <a:effectLst/>
                        <a:latin typeface="+mn-lt"/>
                        <a:ea typeface="+mn-ea"/>
                        <a:cs typeface="+mn-cs"/>
                      </a:endParaRPr>
                    </a:p>
                  </a:txBody>
                  <a:tcPr marL="1114" marR="1114" marT="1114" marB="1114">
                    <a:solidFill>
                      <a:schemeClr val="accent3">
                        <a:lumMod val="20000"/>
                        <a:lumOff val="80000"/>
                      </a:schemeClr>
                    </a:solidFill>
                  </a:tcPr>
                </a:tc>
                <a:extLst>
                  <a:ext uri="{0D108BD9-81ED-4DB2-BD59-A6C34878D82A}">
                    <a16:rowId xmlns:a16="http://schemas.microsoft.com/office/drawing/2014/main" val="3334709605"/>
                  </a:ext>
                </a:extLst>
              </a:tr>
              <a:tr h="216542">
                <a:tc vMerge="1">
                  <a:txBody>
                    <a:bodyPr/>
                    <a:lstStyle/>
                    <a:p>
                      <a:endParaRPr lang="en-GB"/>
                    </a:p>
                  </a:txBody>
                  <a:tcPr/>
                </a:tc>
                <a:tc>
                  <a:txBody>
                    <a:bodyPr/>
                    <a:lstStyle/>
                    <a:p>
                      <a:pPr fontAlgn="base"/>
                      <a:r>
                        <a:rPr lang="en-GB" sz="1800" b="1" kern="0" dirty="0">
                          <a:solidFill>
                            <a:schemeClr val="bg1"/>
                          </a:solidFill>
                          <a:effectLst/>
                        </a:rPr>
                        <a:t>Key Resources </a:t>
                      </a:r>
                      <a:endParaRPr lang="sv-SE" sz="1800" b="1" kern="100" dirty="0">
                        <a:solidFill>
                          <a:schemeClr val="bg1"/>
                        </a:solidFill>
                        <a:effectLst/>
                        <a:latin typeface="Liberation Serif"/>
                        <a:ea typeface="Noto Sans CJK SC"/>
                        <a:cs typeface="Lohit Devanagari"/>
                      </a:endParaRPr>
                    </a:p>
                  </a:txBody>
                  <a:tcPr marL="1114" marR="1114" marT="1114" marB="1114">
                    <a:solidFill>
                      <a:schemeClr val="accent1"/>
                    </a:solidFill>
                  </a:tcPr>
                </a:tc>
                <a:tc gridSpan="2" vMerge="1">
                  <a:txBody>
                    <a:bodyPr/>
                    <a:lstStyle/>
                    <a:p>
                      <a:endParaRPr lang="en-GB"/>
                    </a:p>
                  </a:txBody>
                  <a:tcPr/>
                </a:tc>
                <a:tc hMerge="1" vMerge="1">
                  <a:txBody>
                    <a:bodyPr/>
                    <a:lstStyle/>
                    <a:p>
                      <a:endParaRPr lang="en-GB" dirty="0"/>
                    </a:p>
                  </a:txBody>
                  <a:tcPr/>
                </a:tc>
                <a:tc>
                  <a:txBody>
                    <a:bodyPr/>
                    <a:lstStyle/>
                    <a:p>
                      <a:pPr fontAlgn="base"/>
                      <a:r>
                        <a:rPr lang="en-GB" sz="1800" b="1" kern="0" dirty="0">
                          <a:solidFill>
                            <a:schemeClr val="bg1"/>
                          </a:solidFill>
                          <a:effectLst/>
                        </a:rPr>
                        <a:t>Channels </a:t>
                      </a:r>
                    </a:p>
                    <a:p>
                      <a:pPr fontAlgn="base"/>
                      <a:endParaRPr lang="en-GB" sz="1600" b="1" kern="0" dirty="0">
                        <a:solidFill>
                          <a:schemeClr val="bg1"/>
                        </a:solidFill>
                        <a:effectLst/>
                        <a:latin typeface="Liberation Serif"/>
                        <a:ea typeface="Noto Sans CJK SC"/>
                        <a:cs typeface="Lohit Devanagari"/>
                      </a:endParaRPr>
                    </a:p>
                    <a:p>
                      <a:pPr fontAlgn="base"/>
                      <a:endParaRPr lang="sv-SE" sz="1600" b="1" kern="100" dirty="0">
                        <a:solidFill>
                          <a:schemeClr val="bg1"/>
                        </a:solidFill>
                        <a:effectLst/>
                        <a:latin typeface="Liberation Serif"/>
                        <a:ea typeface="Noto Sans CJK SC"/>
                        <a:cs typeface="Lohit Devanagari"/>
                      </a:endParaRPr>
                    </a:p>
                  </a:txBody>
                  <a:tcPr marL="1114" marR="1114" marT="1114" marB="1114">
                    <a:solidFill>
                      <a:schemeClr val="accent1"/>
                    </a:solidFill>
                  </a:tcPr>
                </a:tc>
                <a:tc vMerge="1">
                  <a:txBody>
                    <a:bodyPr/>
                    <a:lstStyle/>
                    <a:p>
                      <a:endParaRPr lang="en-GB"/>
                    </a:p>
                  </a:txBody>
                  <a:tcPr/>
                </a:tc>
                <a:extLst>
                  <a:ext uri="{0D108BD9-81ED-4DB2-BD59-A6C34878D82A}">
                    <a16:rowId xmlns:a16="http://schemas.microsoft.com/office/drawing/2014/main" val="2587219525"/>
                  </a:ext>
                </a:extLst>
              </a:tr>
              <a:tr h="0">
                <a:tc vMerge="1">
                  <a:txBody>
                    <a:bodyPr/>
                    <a:lstStyle/>
                    <a:p>
                      <a:endParaRPr lang="en-GB"/>
                    </a:p>
                  </a:txBody>
                  <a:tcPr/>
                </a:tc>
                <a:tc>
                  <a:txBody>
                    <a:bodyPr/>
                    <a:lstStyle/>
                    <a:p>
                      <a:pPr marL="285750" indent="-285750" algn="l" defTabSz="914400" rtl="0" eaLnBrk="1" fontAlgn="base" latinLnBrk="0" hangingPunct="1">
                        <a:buFont typeface="Arial" panose="020B0604020202020204" pitchFamily="34" charset="0"/>
                        <a:buChar char="•"/>
                      </a:pPr>
                      <a:r>
                        <a:rPr lang="en-GB" sz="1400" b="0" kern="1200" dirty="0">
                          <a:solidFill>
                            <a:schemeClr val="dk1"/>
                          </a:solidFill>
                          <a:effectLst/>
                          <a:latin typeface="+mn-lt"/>
                          <a:ea typeface="+mn-ea"/>
                          <a:cs typeface="+mn-cs"/>
                        </a:rPr>
                        <a:t>Know-how </a:t>
                      </a:r>
                      <a:endParaRPr lang="sv-SE" sz="1400" b="0" kern="1200" dirty="0">
                        <a:solidFill>
                          <a:schemeClr val="dk1"/>
                        </a:solidFill>
                        <a:effectLst/>
                        <a:latin typeface="+mn-lt"/>
                        <a:ea typeface="+mn-ea"/>
                        <a:cs typeface="+mn-cs"/>
                      </a:endParaRPr>
                    </a:p>
                    <a:p>
                      <a:pPr marL="285750" indent="-285750" algn="l" defTabSz="914400" rtl="0" eaLnBrk="1" fontAlgn="base" latinLnBrk="0" hangingPunct="1">
                        <a:buFont typeface="Arial" panose="020B0604020202020204" pitchFamily="34" charset="0"/>
                        <a:buChar char="•"/>
                      </a:pPr>
                      <a:r>
                        <a:rPr lang="en-GB" sz="1400" b="0" kern="1200" dirty="0">
                          <a:solidFill>
                            <a:schemeClr val="dk1"/>
                          </a:solidFill>
                          <a:effectLst/>
                          <a:latin typeface="+mn-lt"/>
                          <a:ea typeface="+mn-ea"/>
                          <a:cs typeface="+mn-cs"/>
                        </a:rPr>
                        <a:t>Highly qualified staff  </a:t>
                      </a:r>
                      <a:endParaRPr lang="sv-SE" sz="1400" b="0" kern="1200" dirty="0">
                        <a:solidFill>
                          <a:schemeClr val="dk1"/>
                        </a:solidFill>
                        <a:effectLst/>
                        <a:latin typeface="+mn-lt"/>
                        <a:ea typeface="+mn-ea"/>
                        <a:cs typeface="+mn-cs"/>
                      </a:endParaRPr>
                    </a:p>
                    <a:p>
                      <a:pPr marL="285750" indent="-285750" algn="l" defTabSz="914400" rtl="0" eaLnBrk="1" fontAlgn="base" latinLnBrk="0" hangingPunct="1">
                        <a:buFont typeface="Arial" panose="020B0604020202020204" pitchFamily="34" charset="0"/>
                        <a:buChar char="•"/>
                      </a:pPr>
                      <a:r>
                        <a:rPr lang="en-GB" sz="1400" b="0" kern="1200" dirty="0">
                          <a:solidFill>
                            <a:schemeClr val="dk1"/>
                          </a:solidFill>
                          <a:effectLst/>
                          <a:latin typeface="+mn-lt"/>
                          <a:ea typeface="+mn-ea"/>
                          <a:cs typeface="+mn-cs"/>
                        </a:rPr>
                        <a:t>Human resources  </a:t>
                      </a:r>
                      <a:endParaRPr lang="sv-SE" sz="1400" b="0" kern="1200" dirty="0">
                        <a:solidFill>
                          <a:schemeClr val="dk1"/>
                        </a:solidFill>
                        <a:effectLst/>
                        <a:latin typeface="+mn-lt"/>
                        <a:ea typeface="+mn-ea"/>
                        <a:cs typeface="+mn-cs"/>
                      </a:endParaRPr>
                    </a:p>
                  </a:txBody>
                  <a:tcPr marL="9525" marR="9525" marT="9525" marB="9525">
                    <a:solidFill>
                      <a:schemeClr val="accent3">
                        <a:lumMod val="20000"/>
                        <a:lumOff val="80000"/>
                      </a:schemeClr>
                    </a:solidFill>
                  </a:tcPr>
                </a:tc>
                <a:tc gridSpan="2" vMerge="1">
                  <a:txBody>
                    <a:bodyPr/>
                    <a:lstStyle/>
                    <a:p>
                      <a:endParaRPr lang="en-GB"/>
                    </a:p>
                  </a:txBody>
                  <a:tcPr/>
                </a:tc>
                <a:tc hMerge="1" vMerge="1">
                  <a:txBody>
                    <a:bodyPr/>
                    <a:lstStyle/>
                    <a:p>
                      <a:endParaRPr lang="en-GB" dirty="0"/>
                    </a:p>
                  </a:txBody>
                  <a:tcPr/>
                </a:tc>
                <a:tc>
                  <a:txBody>
                    <a:bodyPr/>
                    <a:lstStyle/>
                    <a:p>
                      <a:pPr marL="285750" indent="-285750" algn="l" defTabSz="914400" rtl="0" eaLnBrk="1" fontAlgn="base" latinLnBrk="0" hangingPunct="1">
                        <a:buFont typeface="Arial" panose="020B0604020202020204" pitchFamily="34" charset="0"/>
                        <a:buChar char="•"/>
                      </a:pPr>
                      <a:r>
                        <a:rPr lang="en-GB" sz="1400" b="0" kern="1200" dirty="0">
                          <a:solidFill>
                            <a:schemeClr val="dk1"/>
                          </a:solidFill>
                          <a:effectLst/>
                          <a:latin typeface="+mn-lt"/>
                          <a:ea typeface="+mn-ea"/>
                          <a:cs typeface="+mn-cs"/>
                        </a:rPr>
                        <a:t>RETROFEED network REIIs technology suppliers; </a:t>
                      </a:r>
                      <a:endParaRPr lang="sv-SE" sz="1400" b="0" kern="1200" dirty="0">
                        <a:solidFill>
                          <a:schemeClr val="dk1"/>
                        </a:solidFill>
                        <a:effectLst/>
                        <a:latin typeface="+mn-lt"/>
                        <a:ea typeface="+mn-ea"/>
                        <a:cs typeface="+mn-cs"/>
                      </a:endParaRPr>
                    </a:p>
                    <a:p>
                      <a:pPr marL="285750" indent="-285750" algn="l" defTabSz="914400" rtl="0" eaLnBrk="1" fontAlgn="base" latinLnBrk="0" hangingPunct="1">
                        <a:buFont typeface="Arial" panose="020B0604020202020204" pitchFamily="34" charset="0"/>
                        <a:buChar char="•"/>
                      </a:pPr>
                      <a:r>
                        <a:rPr lang="en-GB" sz="1400" b="0" kern="1200" dirty="0">
                          <a:solidFill>
                            <a:schemeClr val="dk1"/>
                          </a:solidFill>
                          <a:effectLst/>
                          <a:latin typeface="+mn-lt"/>
                          <a:ea typeface="+mn-ea"/>
                          <a:cs typeface="+mn-cs"/>
                        </a:rPr>
                        <a:t>Conferences and special sessions where the innovations are presented and where we can reach interested clients. </a:t>
                      </a:r>
                      <a:endParaRPr lang="sv-SE" sz="1400" b="0" kern="1200" dirty="0">
                        <a:solidFill>
                          <a:schemeClr val="dk1"/>
                        </a:solidFill>
                        <a:effectLst/>
                        <a:latin typeface="+mn-lt"/>
                        <a:ea typeface="+mn-ea"/>
                        <a:cs typeface="+mn-cs"/>
                      </a:endParaRPr>
                    </a:p>
                  </a:txBody>
                  <a:tcPr marL="1114" marR="1114" marT="1114" marB="1114">
                    <a:solidFill>
                      <a:schemeClr val="accent3">
                        <a:lumMod val="20000"/>
                        <a:lumOff val="80000"/>
                      </a:schemeClr>
                    </a:solidFill>
                  </a:tcPr>
                </a:tc>
                <a:tc vMerge="1">
                  <a:txBody>
                    <a:bodyPr/>
                    <a:lstStyle/>
                    <a:p>
                      <a:endParaRPr lang="en-GB"/>
                    </a:p>
                  </a:txBody>
                  <a:tcPr/>
                </a:tc>
                <a:extLst>
                  <a:ext uri="{0D108BD9-81ED-4DB2-BD59-A6C34878D82A}">
                    <a16:rowId xmlns:a16="http://schemas.microsoft.com/office/drawing/2014/main" val="1673436252"/>
                  </a:ext>
                </a:extLst>
              </a:tr>
              <a:tr h="337625">
                <a:tc gridSpan="3">
                  <a:txBody>
                    <a:bodyPr/>
                    <a:lstStyle/>
                    <a:p>
                      <a:pPr fontAlgn="base"/>
                      <a:r>
                        <a:rPr lang="en-GB" sz="1800" b="1" kern="0" dirty="0">
                          <a:solidFill>
                            <a:schemeClr val="bg1"/>
                          </a:solidFill>
                          <a:effectLst/>
                        </a:rPr>
                        <a:t>Cost Structure </a:t>
                      </a:r>
                    </a:p>
                    <a:p>
                      <a:pPr fontAlgn="base"/>
                      <a:endParaRPr lang="sv-SE" sz="1600" b="1" kern="100" dirty="0">
                        <a:solidFill>
                          <a:schemeClr val="bg1"/>
                        </a:solidFill>
                        <a:effectLst/>
                      </a:endParaRPr>
                    </a:p>
                  </a:txBody>
                  <a:tcPr marL="1114" marR="1114" marT="1114" marB="1114"/>
                </a:tc>
                <a:tc hMerge="1">
                  <a:txBody>
                    <a:bodyPr/>
                    <a:lstStyle/>
                    <a:p>
                      <a:endParaRPr lang="en-GB"/>
                    </a:p>
                  </a:txBody>
                  <a:tcPr/>
                </a:tc>
                <a:tc hMerge="1">
                  <a:txBody>
                    <a:bodyPr/>
                    <a:lstStyle/>
                    <a:p>
                      <a:endParaRPr lang="en-GB"/>
                    </a:p>
                  </a:txBody>
                  <a:tcPr/>
                </a:tc>
                <a:tc gridSpan="3">
                  <a:txBody>
                    <a:bodyPr/>
                    <a:lstStyle/>
                    <a:p>
                      <a:pPr fontAlgn="base"/>
                      <a:r>
                        <a:rPr lang="en-GB" sz="1800" b="1" kern="0" dirty="0">
                          <a:solidFill>
                            <a:schemeClr val="bg1"/>
                          </a:solidFill>
                          <a:effectLst/>
                        </a:rPr>
                        <a:t>Revenue Streams </a:t>
                      </a:r>
                    </a:p>
                    <a:p>
                      <a:pPr fontAlgn="base"/>
                      <a:endParaRPr lang="en-GB" sz="1600" b="1" kern="0" dirty="0">
                        <a:solidFill>
                          <a:schemeClr val="bg1"/>
                        </a:solidFill>
                        <a:effectLst/>
                      </a:endParaRPr>
                    </a:p>
                    <a:p>
                      <a:pPr fontAlgn="base"/>
                      <a:endParaRPr lang="sv-SE" sz="1600" b="1" kern="100" dirty="0">
                        <a:solidFill>
                          <a:schemeClr val="bg1"/>
                        </a:solidFill>
                        <a:effectLst/>
                      </a:endParaRPr>
                    </a:p>
                  </a:txBody>
                  <a:tcPr marL="1114" marR="1114" marT="1114" marB="1114">
                    <a:solidFill>
                      <a:schemeClr val="accent1"/>
                    </a:solidFill>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2457363146"/>
                  </a:ext>
                </a:extLst>
              </a:tr>
              <a:tr h="0">
                <a:tc gridSpan="3">
                  <a:txBody>
                    <a:bodyPr/>
                    <a:lstStyle/>
                    <a:p>
                      <a:pPr marL="285750" indent="-285750" fontAlgn="base">
                        <a:buFont typeface="Arial" panose="020B0604020202020204" pitchFamily="34" charset="0"/>
                        <a:buChar char="•"/>
                      </a:pPr>
                      <a:r>
                        <a:rPr lang="en-GB" sz="1400" b="0" kern="1200" dirty="0">
                          <a:solidFill>
                            <a:schemeClr val="dk1"/>
                          </a:solidFill>
                          <a:effectLst/>
                          <a:latin typeface="+mn-lt"/>
                          <a:ea typeface="+mn-ea"/>
                          <a:cs typeface="+mn-cs"/>
                        </a:rPr>
                        <a:t>Technology construction </a:t>
                      </a:r>
                      <a:endParaRPr lang="sv-SE" sz="1400" b="0" kern="1200" dirty="0">
                        <a:solidFill>
                          <a:schemeClr val="dk1"/>
                        </a:solidFill>
                        <a:effectLst/>
                        <a:latin typeface="+mn-lt"/>
                        <a:ea typeface="+mn-ea"/>
                        <a:cs typeface="+mn-cs"/>
                      </a:endParaRPr>
                    </a:p>
                    <a:p>
                      <a:pPr marL="285750" indent="-285750" fontAlgn="base">
                        <a:buFont typeface="Arial" panose="020B0604020202020204" pitchFamily="34" charset="0"/>
                        <a:buChar char="•"/>
                      </a:pPr>
                      <a:r>
                        <a:rPr lang="en-GB" sz="1400" b="0" kern="1200" dirty="0">
                          <a:solidFill>
                            <a:schemeClr val="dk1"/>
                          </a:solidFill>
                          <a:effectLst/>
                          <a:latin typeface="+mn-lt"/>
                          <a:ea typeface="+mn-ea"/>
                          <a:cs typeface="+mn-cs"/>
                        </a:rPr>
                        <a:t>IPR costs </a:t>
                      </a:r>
                    </a:p>
                    <a:p>
                      <a:pPr marL="285750" indent="-285750" fontAlgn="base">
                        <a:buFont typeface="Arial" panose="020B0604020202020204" pitchFamily="34" charset="0"/>
                        <a:buChar char="•"/>
                      </a:pPr>
                      <a:r>
                        <a:rPr lang="en-GB" sz="1400" b="0" kern="1200" dirty="0">
                          <a:solidFill>
                            <a:schemeClr val="dk1"/>
                          </a:solidFill>
                          <a:effectLst/>
                          <a:latin typeface="+mn-lt"/>
                          <a:ea typeface="+mn-ea"/>
                          <a:cs typeface="+mn-cs"/>
                        </a:rPr>
                        <a:t>Salaries </a:t>
                      </a:r>
                      <a:endParaRPr lang="sv-SE" sz="1400" b="0" kern="1200" dirty="0">
                        <a:solidFill>
                          <a:schemeClr val="dk1"/>
                        </a:solidFill>
                        <a:effectLst/>
                        <a:latin typeface="+mn-lt"/>
                        <a:ea typeface="+mn-ea"/>
                        <a:cs typeface="+mn-cs"/>
                      </a:endParaRPr>
                    </a:p>
                    <a:p>
                      <a:pPr marL="285750" indent="-285750" fontAlgn="base">
                        <a:buFont typeface="Arial" panose="020B0604020202020204" pitchFamily="34" charset="0"/>
                        <a:buChar char="•"/>
                      </a:pPr>
                      <a:r>
                        <a:rPr lang="en-GB" sz="1400" b="0" kern="1200" dirty="0">
                          <a:solidFill>
                            <a:schemeClr val="dk1"/>
                          </a:solidFill>
                          <a:effectLst/>
                          <a:latin typeface="+mn-lt"/>
                          <a:ea typeface="+mn-ea"/>
                          <a:cs typeface="+mn-cs"/>
                        </a:rPr>
                        <a:t>Marketing and commercial costs </a:t>
                      </a:r>
                      <a:endParaRPr lang="sv-SE" sz="1400" b="0" kern="1200" dirty="0">
                        <a:solidFill>
                          <a:schemeClr val="dk1"/>
                        </a:solidFill>
                        <a:effectLst/>
                        <a:latin typeface="+mn-lt"/>
                        <a:ea typeface="+mn-ea"/>
                        <a:cs typeface="+mn-cs"/>
                      </a:endParaRPr>
                    </a:p>
                    <a:p>
                      <a:pPr marL="285750" indent="-285750" fontAlgn="base">
                        <a:buFont typeface="Arial" panose="020B0604020202020204" pitchFamily="34" charset="0"/>
                        <a:buChar char="•"/>
                      </a:pPr>
                      <a:endParaRPr lang="sv-SE" sz="1400" b="0" kern="1200" dirty="0">
                        <a:solidFill>
                          <a:schemeClr val="dk1"/>
                        </a:solidFill>
                        <a:effectLst/>
                        <a:latin typeface="+mn-lt"/>
                        <a:ea typeface="+mn-ea"/>
                        <a:cs typeface="+mn-cs"/>
                      </a:endParaRPr>
                    </a:p>
                    <a:p>
                      <a:pPr marL="285750" indent="-285750" algn="l" defTabSz="914400" rtl="0" eaLnBrk="1" fontAlgn="base" latinLnBrk="0" hangingPunct="1">
                        <a:buFont typeface="Arial" panose="020B0604020202020204" pitchFamily="34" charset="0"/>
                        <a:buChar char="•"/>
                      </a:pPr>
                      <a:endParaRPr lang="sv-SE" sz="1400" b="0" kern="1200" dirty="0">
                        <a:solidFill>
                          <a:schemeClr val="dk1"/>
                        </a:solidFill>
                        <a:effectLst/>
                        <a:latin typeface="+mn-lt"/>
                        <a:ea typeface="+mn-ea"/>
                        <a:cs typeface="+mn-cs"/>
                      </a:endParaRPr>
                    </a:p>
                  </a:txBody>
                  <a:tcPr marL="1114" marR="1114" marT="1114" marB="1114">
                    <a:solidFill>
                      <a:schemeClr val="accent3">
                        <a:lumMod val="20000"/>
                        <a:lumOff val="80000"/>
                      </a:schemeClr>
                    </a:solidFill>
                  </a:tcPr>
                </a:tc>
                <a:tc hMerge="1">
                  <a:txBody>
                    <a:bodyPr/>
                    <a:lstStyle/>
                    <a:p>
                      <a:endParaRPr lang="en-GB"/>
                    </a:p>
                  </a:txBody>
                  <a:tcPr/>
                </a:tc>
                <a:tc hMerge="1">
                  <a:txBody>
                    <a:bodyPr/>
                    <a:lstStyle/>
                    <a:p>
                      <a:endParaRPr lang="en-GB"/>
                    </a:p>
                  </a:txBody>
                  <a:tcPr/>
                </a:tc>
                <a:tc gridSpan="3">
                  <a:txBody>
                    <a:bodyPr/>
                    <a:lstStyle/>
                    <a:p>
                      <a:pPr marL="285750" indent="-285750" fontAlgn="base">
                        <a:buFont typeface="Arial" panose="020B0604020202020204" pitchFamily="34" charset="0"/>
                        <a:buChar char="•"/>
                      </a:pPr>
                      <a:r>
                        <a:rPr lang="en-GB" sz="1400" b="0" kern="1200" dirty="0">
                          <a:solidFill>
                            <a:schemeClr val="dk1"/>
                          </a:solidFill>
                          <a:effectLst/>
                          <a:latin typeface="+mn-lt"/>
                          <a:ea typeface="+mn-ea"/>
                          <a:cs typeface="+mn-cs"/>
                        </a:rPr>
                        <a:t>Consultancy fees </a:t>
                      </a:r>
                      <a:endParaRPr lang="sv-SE" sz="1400" b="0" kern="1200" dirty="0">
                        <a:solidFill>
                          <a:schemeClr val="dk1"/>
                        </a:solidFill>
                        <a:effectLst/>
                        <a:latin typeface="+mn-lt"/>
                        <a:ea typeface="+mn-ea"/>
                        <a:cs typeface="+mn-cs"/>
                      </a:endParaRPr>
                    </a:p>
                    <a:p>
                      <a:pPr marL="285750" indent="-285750" fontAlgn="base">
                        <a:buFont typeface="Arial" panose="020B0604020202020204" pitchFamily="34" charset="0"/>
                        <a:buChar char="•"/>
                      </a:pPr>
                      <a:r>
                        <a:rPr lang="en-GB" sz="1400" b="0" kern="1200" dirty="0">
                          <a:solidFill>
                            <a:schemeClr val="dk1"/>
                          </a:solidFill>
                          <a:effectLst/>
                          <a:latin typeface="+mn-lt"/>
                          <a:ea typeface="+mn-ea"/>
                          <a:cs typeface="+mn-cs"/>
                        </a:rPr>
                        <a:t>Selling the solution </a:t>
                      </a:r>
                      <a:endParaRPr lang="sv-SE" sz="1400" b="0" kern="1200" dirty="0">
                        <a:solidFill>
                          <a:schemeClr val="dk1"/>
                        </a:solidFill>
                        <a:effectLst/>
                        <a:latin typeface="+mn-lt"/>
                        <a:ea typeface="+mn-ea"/>
                        <a:cs typeface="+mn-cs"/>
                      </a:endParaRPr>
                    </a:p>
                    <a:p>
                      <a:pPr marL="285750" indent="-285750">
                        <a:buFont typeface="Arial" panose="020B0604020202020204" pitchFamily="34" charset="0"/>
                        <a:buChar char="•"/>
                      </a:pPr>
                      <a:r>
                        <a:rPr lang="en-GB" sz="1400" b="0" kern="1200" dirty="0">
                          <a:solidFill>
                            <a:schemeClr val="dk1"/>
                          </a:solidFill>
                          <a:effectLst/>
                          <a:latin typeface="+mn-lt"/>
                          <a:ea typeface="+mn-ea"/>
                          <a:cs typeface="+mn-cs"/>
                        </a:rPr>
                        <a:t>Licensing, annual fee all-included </a:t>
                      </a:r>
                      <a:endParaRPr lang="sv-SE" sz="1400" b="0" kern="1200" dirty="0">
                        <a:solidFill>
                          <a:schemeClr val="dk1"/>
                        </a:solidFill>
                        <a:effectLst/>
                        <a:latin typeface="+mn-lt"/>
                        <a:ea typeface="+mn-ea"/>
                        <a:cs typeface="+mn-cs"/>
                      </a:endParaRPr>
                    </a:p>
                  </a:txBody>
                  <a:tcPr marL="1114" marR="1114" marT="1114" marB="1114">
                    <a:solidFill>
                      <a:schemeClr val="accent3">
                        <a:lumMod val="20000"/>
                        <a:lumOff val="80000"/>
                      </a:schemeClr>
                    </a:solidFill>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431393471"/>
                  </a:ext>
                </a:extLst>
              </a:tr>
            </a:tbl>
          </a:graphicData>
        </a:graphic>
      </p:graphicFrame>
      <p:grpSp>
        <p:nvGrpSpPr>
          <p:cNvPr id="7" name="Bild 18" descr="Fabrik kontur">
            <a:extLst>
              <a:ext uri="{FF2B5EF4-FFF2-40B4-BE49-F238E27FC236}">
                <a16:creationId xmlns:a16="http://schemas.microsoft.com/office/drawing/2014/main" id="{D3CDAB3B-6B33-37A9-E930-BDB49F85C0FB}"/>
              </a:ext>
            </a:extLst>
          </p:cNvPr>
          <p:cNvGrpSpPr/>
          <p:nvPr/>
        </p:nvGrpSpPr>
        <p:grpSpPr>
          <a:xfrm>
            <a:off x="6549529" y="4207254"/>
            <a:ext cx="500675" cy="500675"/>
            <a:chOff x="5846141" y="4275832"/>
            <a:chExt cx="500675" cy="500675"/>
          </a:xfrm>
          <a:solidFill>
            <a:schemeClr val="bg1"/>
          </a:solidFill>
        </p:grpSpPr>
        <p:sp>
          <p:nvSpPr>
            <p:cNvPr id="8" name="Frihandsfigur: Form 7">
              <a:extLst>
                <a:ext uri="{FF2B5EF4-FFF2-40B4-BE49-F238E27FC236}">
                  <a16:creationId xmlns:a16="http://schemas.microsoft.com/office/drawing/2014/main" id="{013CCFC9-8AE2-CA0A-7E46-767939482E9F}"/>
                </a:ext>
              </a:extLst>
            </p:cNvPr>
            <p:cNvSpPr/>
            <p:nvPr/>
          </p:nvSpPr>
          <p:spPr>
            <a:xfrm>
              <a:off x="5846141" y="4275832"/>
              <a:ext cx="500675" cy="500675"/>
            </a:xfrm>
            <a:custGeom>
              <a:avLst/>
              <a:gdLst>
                <a:gd name="connsiteX0" fmla="*/ 307558 w 500675"/>
                <a:gd name="connsiteY0" fmla="*/ 288639 h 500675"/>
                <a:gd name="connsiteX1" fmla="*/ 307558 w 500675"/>
                <a:gd name="connsiteY1" fmla="*/ 188504 h 500675"/>
                <a:gd name="connsiteX2" fmla="*/ 113632 w 500675"/>
                <a:gd name="connsiteY2" fmla="*/ 289061 h 500675"/>
                <a:gd name="connsiteX3" fmla="*/ 92482 w 500675"/>
                <a:gd name="connsiteY3" fmla="*/ 0 h 500675"/>
                <a:gd name="connsiteX4" fmla="*/ 21958 w 500675"/>
                <a:gd name="connsiteY4" fmla="*/ 0 h 500675"/>
                <a:gd name="connsiteX5" fmla="*/ 0 w 500675"/>
                <a:gd name="connsiteY5" fmla="*/ 300405 h 500675"/>
                <a:gd name="connsiteX6" fmla="*/ 0 w 500675"/>
                <a:gd name="connsiteY6" fmla="*/ 500675 h 500675"/>
                <a:gd name="connsiteX7" fmla="*/ 500675 w 500675"/>
                <a:gd name="connsiteY7" fmla="*/ 500675 h 500675"/>
                <a:gd name="connsiteX8" fmla="*/ 500675 w 500675"/>
                <a:gd name="connsiteY8" fmla="*/ 188504 h 500675"/>
                <a:gd name="connsiteX9" fmla="*/ 79178 w 500675"/>
                <a:gd name="connsiteY9" fmla="*/ 14305 h 500675"/>
                <a:gd name="connsiteX10" fmla="*/ 81796 w 500675"/>
                <a:gd name="connsiteY10" fmla="*/ 50068 h 500675"/>
                <a:gd name="connsiteX11" fmla="*/ 32644 w 500675"/>
                <a:gd name="connsiteY11" fmla="*/ 50068 h 500675"/>
                <a:gd name="connsiteX12" fmla="*/ 35262 w 500675"/>
                <a:gd name="connsiteY12" fmla="*/ 14305 h 500675"/>
                <a:gd name="connsiteX13" fmla="*/ 31593 w 500675"/>
                <a:gd name="connsiteY13" fmla="*/ 64373 h 500675"/>
                <a:gd name="connsiteX14" fmla="*/ 82847 w 500675"/>
                <a:gd name="connsiteY14" fmla="*/ 64373 h 500675"/>
                <a:gd name="connsiteX15" fmla="*/ 99591 w 500675"/>
                <a:gd name="connsiteY15" fmla="*/ 293253 h 500675"/>
                <a:gd name="connsiteX16" fmla="*/ 14849 w 500675"/>
                <a:gd name="connsiteY16" fmla="*/ 293253 h 500675"/>
                <a:gd name="connsiteX17" fmla="*/ 109433 w 500675"/>
                <a:gd name="connsiteY17" fmla="*/ 307336 h 500675"/>
                <a:gd name="connsiteX18" fmla="*/ 293253 w 500675"/>
                <a:gd name="connsiteY18" fmla="*/ 212036 h 500675"/>
                <a:gd name="connsiteX19" fmla="*/ 293253 w 500675"/>
                <a:gd name="connsiteY19" fmla="*/ 312171 h 500675"/>
                <a:gd name="connsiteX20" fmla="*/ 486370 w 500675"/>
                <a:gd name="connsiteY20" fmla="*/ 212036 h 500675"/>
                <a:gd name="connsiteX21" fmla="*/ 486370 w 500675"/>
                <a:gd name="connsiteY21" fmla="*/ 486370 h 500675"/>
                <a:gd name="connsiteX22" fmla="*/ 14305 w 500675"/>
                <a:gd name="connsiteY22" fmla="*/ 486370 h 500675"/>
                <a:gd name="connsiteX23" fmla="*/ 14305 w 500675"/>
                <a:gd name="connsiteY23" fmla="*/ 307558 h 500675"/>
                <a:gd name="connsiteX24" fmla="*/ 100636 w 500675"/>
                <a:gd name="connsiteY24" fmla="*/ 307558 h 500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00675" h="500675">
                  <a:moveTo>
                    <a:pt x="307558" y="288639"/>
                  </a:moveTo>
                  <a:lnTo>
                    <a:pt x="307558" y="188504"/>
                  </a:lnTo>
                  <a:lnTo>
                    <a:pt x="113632" y="289061"/>
                  </a:lnTo>
                  <a:lnTo>
                    <a:pt x="92482" y="0"/>
                  </a:lnTo>
                  <a:lnTo>
                    <a:pt x="21958" y="0"/>
                  </a:lnTo>
                  <a:lnTo>
                    <a:pt x="0" y="300405"/>
                  </a:lnTo>
                  <a:lnTo>
                    <a:pt x="0" y="500675"/>
                  </a:lnTo>
                  <a:lnTo>
                    <a:pt x="500675" y="500675"/>
                  </a:lnTo>
                  <a:lnTo>
                    <a:pt x="500675" y="188504"/>
                  </a:lnTo>
                  <a:close/>
                  <a:moveTo>
                    <a:pt x="79178" y="14305"/>
                  </a:moveTo>
                  <a:lnTo>
                    <a:pt x="81796" y="50068"/>
                  </a:lnTo>
                  <a:lnTo>
                    <a:pt x="32644" y="50068"/>
                  </a:lnTo>
                  <a:lnTo>
                    <a:pt x="35262" y="14305"/>
                  </a:lnTo>
                  <a:close/>
                  <a:moveTo>
                    <a:pt x="31593" y="64373"/>
                  </a:moveTo>
                  <a:lnTo>
                    <a:pt x="82847" y="64373"/>
                  </a:lnTo>
                  <a:lnTo>
                    <a:pt x="99591" y="293253"/>
                  </a:lnTo>
                  <a:lnTo>
                    <a:pt x="14849" y="293253"/>
                  </a:lnTo>
                  <a:close/>
                  <a:moveTo>
                    <a:pt x="109433" y="307336"/>
                  </a:moveTo>
                  <a:lnTo>
                    <a:pt x="293253" y="212036"/>
                  </a:lnTo>
                  <a:lnTo>
                    <a:pt x="293253" y="312171"/>
                  </a:lnTo>
                  <a:lnTo>
                    <a:pt x="486370" y="212036"/>
                  </a:lnTo>
                  <a:lnTo>
                    <a:pt x="486370" y="486370"/>
                  </a:lnTo>
                  <a:lnTo>
                    <a:pt x="14305" y="486370"/>
                  </a:lnTo>
                  <a:lnTo>
                    <a:pt x="14305" y="307558"/>
                  </a:lnTo>
                  <a:lnTo>
                    <a:pt x="100636" y="307558"/>
                  </a:lnTo>
                  <a:close/>
                </a:path>
              </a:pathLst>
            </a:custGeom>
            <a:solidFill>
              <a:schemeClr val="bg1"/>
            </a:solidFill>
            <a:ln w="7144" cap="flat">
              <a:solidFill>
                <a:schemeClr val="bg1"/>
              </a:solidFill>
              <a:prstDash val="solid"/>
              <a:miter/>
            </a:ln>
          </p:spPr>
          <p:txBody>
            <a:bodyPr rtlCol="0" anchor="ctr"/>
            <a:lstStyle/>
            <a:p>
              <a:endParaRPr lang="en-GB"/>
            </a:p>
          </p:txBody>
        </p:sp>
        <p:sp>
          <p:nvSpPr>
            <p:cNvPr id="9" name="Frihandsfigur: Form 8">
              <a:extLst>
                <a:ext uri="{FF2B5EF4-FFF2-40B4-BE49-F238E27FC236}">
                  <a16:creationId xmlns:a16="http://schemas.microsoft.com/office/drawing/2014/main" id="{C9C88383-F492-2648-7F7A-ADE70631DB0E}"/>
                </a:ext>
              </a:extLst>
            </p:cNvPr>
            <p:cNvSpPr/>
            <p:nvPr/>
          </p:nvSpPr>
          <p:spPr>
            <a:xfrm>
              <a:off x="5896209" y="4647762"/>
              <a:ext cx="114440" cy="71525"/>
            </a:xfrm>
            <a:custGeom>
              <a:avLst/>
              <a:gdLst>
                <a:gd name="connsiteX0" fmla="*/ 0 w 114440"/>
                <a:gd name="connsiteY0" fmla="*/ 71525 h 71525"/>
                <a:gd name="connsiteX1" fmla="*/ 114440 w 114440"/>
                <a:gd name="connsiteY1" fmla="*/ 71525 h 71525"/>
                <a:gd name="connsiteX2" fmla="*/ 114440 w 114440"/>
                <a:gd name="connsiteY2" fmla="*/ 0 h 71525"/>
                <a:gd name="connsiteX3" fmla="*/ 0 w 114440"/>
                <a:gd name="connsiteY3" fmla="*/ 0 h 71525"/>
                <a:gd name="connsiteX4" fmla="*/ 100135 w 114440"/>
                <a:gd name="connsiteY4" fmla="*/ 57220 h 71525"/>
                <a:gd name="connsiteX5" fmla="*/ 64373 w 114440"/>
                <a:gd name="connsiteY5" fmla="*/ 57220 h 71525"/>
                <a:gd name="connsiteX6" fmla="*/ 64373 w 114440"/>
                <a:gd name="connsiteY6" fmla="*/ 14305 h 71525"/>
                <a:gd name="connsiteX7" fmla="*/ 100135 w 114440"/>
                <a:gd name="connsiteY7" fmla="*/ 14305 h 71525"/>
                <a:gd name="connsiteX8" fmla="*/ 14305 w 114440"/>
                <a:gd name="connsiteY8" fmla="*/ 14305 h 71525"/>
                <a:gd name="connsiteX9" fmla="*/ 50068 w 114440"/>
                <a:gd name="connsiteY9" fmla="*/ 14305 h 71525"/>
                <a:gd name="connsiteX10" fmla="*/ 50068 w 114440"/>
                <a:gd name="connsiteY10" fmla="*/ 57220 h 71525"/>
                <a:gd name="connsiteX11" fmla="*/ 14305 w 114440"/>
                <a:gd name="connsiteY11" fmla="*/ 57220 h 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4440" h="71525">
                  <a:moveTo>
                    <a:pt x="0" y="71525"/>
                  </a:moveTo>
                  <a:lnTo>
                    <a:pt x="114440" y="71525"/>
                  </a:lnTo>
                  <a:lnTo>
                    <a:pt x="114440" y="0"/>
                  </a:lnTo>
                  <a:lnTo>
                    <a:pt x="0" y="0"/>
                  </a:lnTo>
                  <a:close/>
                  <a:moveTo>
                    <a:pt x="100135" y="57220"/>
                  </a:moveTo>
                  <a:lnTo>
                    <a:pt x="64373" y="57220"/>
                  </a:lnTo>
                  <a:lnTo>
                    <a:pt x="64373" y="14305"/>
                  </a:lnTo>
                  <a:lnTo>
                    <a:pt x="100135" y="14305"/>
                  </a:lnTo>
                  <a:close/>
                  <a:moveTo>
                    <a:pt x="14305" y="14305"/>
                  </a:moveTo>
                  <a:lnTo>
                    <a:pt x="50068" y="14305"/>
                  </a:lnTo>
                  <a:lnTo>
                    <a:pt x="50068" y="57220"/>
                  </a:lnTo>
                  <a:lnTo>
                    <a:pt x="14305" y="57220"/>
                  </a:lnTo>
                  <a:close/>
                </a:path>
              </a:pathLst>
            </a:custGeom>
            <a:solidFill>
              <a:schemeClr val="bg1"/>
            </a:solidFill>
            <a:ln w="7144" cap="flat">
              <a:solidFill>
                <a:schemeClr val="bg1"/>
              </a:solidFill>
              <a:prstDash val="solid"/>
              <a:miter/>
            </a:ln>
          </p:spPr>
          <p:txBody>
            <a:bodyPr rtlCol="0" anchor="ctr"/>
            <a:lstStyle/>
            <a:p>
              <a:endParaRPr lang="en-GB"/>
            </a:p>
          </p:txBody>
        </p:sp>
        <p:sp>
          <p:nvSpPr>
            <p:cNvPr id="10" name="Frihandsfigur: Form 9">
              <a:extLst>
                <a:ext uri="{FF2B5EF4-FFF2-40B4-BE49-F238E27FC236}">
                  <a16:creationId xmlns:a16="http://schemas.microsoft.com/office/drawing/2014/main" id="{8B7CE92C-7365-578D-4B6C-672C025CDEA9}"/>
                </a:ext>
              </a:extLst>
            </p:cNvPr>
            <p:cNvSpPr/>
            <p:nvPr/>
          </p:nvSpPr>
          <p:spPr>
            <a:xfrm>
              <a:off x="6039259" y="4647762"/>
              <a:ext cx="114440" cy="71525"/>
            </a:xfrm>
            <a:custGeom>
              <a:avLst/>
              <a:gdLst>
                <a:gd name="connsiteX0" fmla="*/ 0 w 114440"/>
                <a:gd name="connsiteY0" fmla="*/ 71525 h 71525"/>
                <a:gd name="connsiteX1" fmla="*/ 114440 w 114440"/>
                <a:gd name="connsiteY1" fmla="*/ 71525 h 71525"/>
                <a:gd name="connsiteX2" fmla="*/ 114440 w 114440"/>
                <a:gd name="connsiteY2" fmla="*/ 0 h 71525"/>
                <a:gd name="connsiteX3" fmla="*/ 0 w 114440"/>
                <a:gd name="connsiteY3" fmla="*/ 0 h 71525"/>
                <a:gd name="connsiteX4" fmla="*/ 100135 w 114440"/>
                <a:gd name="connsiteY4" fmla="*/ 57220 h 71525"/>
                <a:gd name="connsiteX5" fmla="*/ 64373 w 114440"/>
                <a:gd name="connsiteY5" fmla="*/ 57220 h 71525"/>
                <a:gd name="connsiteX6" fmla="*/ 64373 w 114440"/>
                <a:gd name="connsiteY6" fmla="*/ 14305 h 71525"/>
                <a:gd name="connsiteX7" fmla="*/ 100135 w 114440"/>
                <a:gd name="connsiteY7" fmla="*/ 14305 h 71525"/>
                <a:gd name="connsiteX8" fmla="*/ 14305 w 114440"/>
                <a:gd name="connsiteY8" fmla="*/ 14305 h 71525"/>
                <a:gd name="connsiteX9" fmla="*/ 50068 w 114440"/>
                <a:gd name="connsiteY9" fmla="*/ 14305 h 71525"/>
                <a:gd name="connsiteX10" fmla="*/ 50068 w 114440"/>
                <a:gd name="connsiteY10" fmla="*/ 57220 h 71525"/>
                <a:gd name="connsiteX11" fmla="*/ 14305 w 114440"/>
                <a:gd name="connsiteY11" fmla="*/ 57220 h 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4440" h="71525">
                  <a:moveTo>
                    <a:pt x="0" y="71525"/>
                  </a:moveTo>
                  <a:lnTo>
                    <a:pt x="114440" y="71525"/>
                  </a:lnTo>
                  <a:lnTo>
                    <a:pt x="114440" y="0"/>
                  </a:lnTo>
                  <a:lnTo>
                    <a:pt x="0" y="0"/>
                  </a:lnTo>
                  <a:close/>
                  <a:moveTo>
                    <a:pt x="100135" y="57220"/>
                  </a:moveTo>
                  <a:lnTo>
                    <a:pt x="64373" y="57220"/>
                  </a:lnTo>
                  <a:lnTo>
                    <a:pt x="64373" y="14305"/>
                  </a:lnTo>
                  <a:lnTo>
                    <a:pt x="100135" y="14305"/>
                  </a:lnTo>
                  <a:close/>
                  <a:moveTo>
                    <a:pt x="14305" y="14305"/>
                  </a:moveTo>
                  <a:lnTo>
                    <a:pt x="50068" y="14305"/>
                  </a:lnTo>
                  <a:lnTo>
                    <a:pt x="50068" y="57220"/>
                  </a:lnTo>
                  <a:lnTo>
                    <a:pt x="14305" y="57220"/>
                  </a:lnTo>
                  <a:close/>
                </a:path>
              </a:pathLst>
            </a:custGeom>
            <a:solidFill>
              <a:schemeClr val="bg1"/>
            </a:solidFill>
            <a:ln w="7144" cap="flat">
              <a:solidFill>
                <a:schemeClr val="bg1"/>
              </a:solidFill>
              <a:prstDash val="solid"/>
              <a:miter/>
            </a:ln>
          </p:spPr>
          <p:txBody>
            <a:bodyPr rtlCol="0" anchor="ctr"/>
            <a:lstStyle/>
            <a:p>
              <a:endParaRPr lang="en-GB"/>
            </a:p>
          </p:txBody>
        </p:sp>
        <p:sp>
          <p:nvSpPr>
            <p:cNvPr id="11" name="Frihandsfigur: Form 10">
              <a:extLst>
                <a:ext uri="{FF2B5EF4-FFF2-40B4-BE49-F238E27FC236}">
                  <a16:creationId xmlns:a16="http://schemas.microsoft.com/office/drawing/2014/main" id="{CE79BCD6-DDD2-64E7-9D3A-57F9616825A7}"/>
                </a:ext>
              </a:extLst>
            </p:cNvPr>
            <p:cNvSpPr/>
            <p:nvPr/>
          </p:nvSpPr>
          <p:spPr>
            <a:xfrm>
              <a:off x="6182309" y="4647762"/>
              <a:ext cx="114440" cy="71525"/>
            </a:xfrm>
            <a:custGeom>
              <a:avLst/>
              <a:gdLst>
                <a:gd name="connsiteX0" fmla="*/ 114440 w 114440"/>
                <a:gd name="connsiteY0" fmla="*/ 0 h 71525"/>
                <a:gd name="connsiteX1" fmla="*/ 0 w 114440"/>
                <a:gd name="connsiteY1" fmla="*/ 0 h 71525"/>
                <a:gd name="connsiteX2" fmla="*/ 0 w 114440"/>
                <a:gd name="connsiteY2" fmla="*/ 71525 h 71525"/>
                <a:gd name="connsiteX3" fmla="*/ 114440 w 114440"/>
                <a:gd name="connsiteY3" fmla="*/ 71525 h 71525"/>
                <a:gd name="connsiteX4" fmla="*/ 14305 w 114440"/>
                <a:gd name="connsiteY4" fmla="*/ 14305 h 71525"/>
                <a:gd name="connsiteX5" fmla="*/ 50068 w 114440"/>
                <a:gd name="connsiteY5" fmla="*/ 14305 h 71525"/>
                <a:gd name="connsiteX6" fmla="*/ 50068 w 114440"/>
                <a:gd name="connsiteY6" fmla="*/ 57220 h 71525"/>
                <a:gd name="connsiteX7" fmla="*/ 14305 w 114440"/>
                <a:gd name="connsiteY7" fmla="*/ 57220 h 71525"/>
                <a:gd name="connsiteX8" fmla="*/ 100135 w 114440"/>
                <a:gd name="connsiteY8" fmla="*/ 57220 h 71525"/>
                <a:gd name="connsiteX9" fmla="*/ 64373 w 114440"/>
                <a:gd name="connsiteY9" fmla="*/ 57220 h 71525"/>
                <a:gd name="connsiteX10" fmla="*/ 64373 w 114440"/>
                <a:gd name="connsiteY10" fmla="*/ 14305 h 71525"/>
                <a:gd name="connsiteX11" fmla="*/ 100135 w 114440"/>
                <a:gd name="connsiteY11" fmla="*/ 14305 h 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4440" h="71525">
                  <a:moveTo>
                    <a:pt x="114440" y="0"/>
                  </a:moveTo>
                  <a:lnTo>
                    <a:pt x="0" y="0"/>
                  </a:lnTo>
                  <a:lnTo>
                    <a:pt x="0" y="71525"/>
                  </a:lnTo>
                  <a:lnTo>
                    <a:pt x="114440" y="71525"/>
                  </a:lnTo>
                  <a:close/>
                  <a:moveTo>
                    <a:pt x="14305" y="14305"/>
                  </a:moveTo>
                  <a:lnTo>
                    <a:pt x="50068" y="14305"/>
                  </a:lnTo>
                  <a:lnTo>
                    <a:pt x="50068" y="57220"/>
                  </a:lnTo>
                  <a:lnTo>
                    <a:pt x="14305" y="57220"/>
                  </a:lnTo>
                  <a:close/>
                  <a:moveTo>
                    <a:pt x="100135" y="57220"/>
                  </a:moveTo>
                  <a:lnTo>
                    <a:pt x="64373" y="57220"/>
                  </a:lnTo>
                  <a:lnTo>
                    <a:pt x="64373" y="14305"/>
                  </a:lnTo>
                  <a:lnTo>
                    <a:pt x="100135" y="14305"/>
                  </a:lnTo>
                  <a:close/>
                </a:path>
              </a:pathLst>
            </a:custGeom>
            <a:solidFill>
              <a:schemeClr val="bg1"/>
            </a:solidFill>
            <a:ln w="7144" cap="flat">
              <a:solidFill>
                <a:schemeClr val="bg1"/>
              </a:solidFill>
              <a:prstDash val="solid"/>
              <a:miter/>
            </a:ln>
          </p:spPr>
          <p:txBody>
            <a:bodyPr rtlCol="0" anchor="ctr"/>
            <a:lstStyle/>
            <a:p>
              <a:endParaRPr lang="en-GB"/>
            </a:p>
          </p:txBody>
        </p:sp>
      </p:grpSp>
      <p:grpSp>
        <p:nvGrpSpPr>
          <p:cNvPr id="12" name="Bild 22" descr="Användare kontur">
            <a:extLst>
              <a:ext uri="{FF2B5EF4-FFF2-40B4-BE49-F238E27FC236}">
                <a16:creationId xmlns:a16="http://schemas.microsoft.com/office/drawing/2014/main" id="{7D9D3EB5-47E2-845E-69AF-35E6F5F7306E}"/>
              </a:ext>
            </a:extLst>
          </p:cNvPr>
          <p:cNvGrpSpPr/>
          <p:nvPr/>
        </p:nvGrpSpPr>
        <p:grpSpPr>
          <a:xfrm>
            <a:off x="6880942" y="4190394"/>
            <a:ext cx="524545" cy="318468"/>
            <a:chOff x="6177554" y="4258972"/>
            <a:chExt cx="524545" cy="318468"/>
          </a:xfrm>
          <a:solidFill>
            <a:schemeClr val="bg1"/>
          </a:solidFill>
        </p:grpSpPr>
        <p:sp>
          <p:nvSpPr>
            <p:cNvPr id="14" name="Frihandsfigur: Form 13">
              <a:extLst>
                <a:ext uri="{FF2B5EF4-FFF2-40B4-BE49-F238E27FC236}">
                  <a16:creationId xmlns:a16="http://schemas.microsoft.com/office/drawing/2014/main" id="{CF1E8E4B-DE17-467D-3F33-F1A5FD659284}"/>
                </a:ext>
              </a:extLst>
            </p:cNvPr>
            <p:cNvSpPr/>
            <p:nvPr/>
          </p:nvSpPr>
          <p:spPr>
            <a:xfrm>
              <a:off x="6233710" y="4258972"/>
              <a:ext cx="112411" cy="112411"/>
            </a:xfrm>
            <a:custGeom>
              <a:avLst/>
              <a:gdLst>
                <a:gd name="connsiteX0" fmla="*/ 56206 w 112411"/>
                <a:gd name="connsiteY0" fmla="*/ 112412 h 112411"/>
                <a:gd name="connsiteX1" fmla="*/ 112412 w 112411"/>
                <a:gd name="connsiteY1" fmla="*/ 56206 h 112411"/>
                <a:gd name="connsiteX2" fmla="*/ 56206 w 112411"/>
                <a:gd name="connsiteY2" fmla="*/ 0 h 112411"/>
                <a:gd name="connsiteX3" fmla="*/ 0 w 112411"/>
                <a:gd name="connsiteY3" fmla="*/ 56206 h 112411"/>
                <a:gd name="connsiteX4" fmla="*/ 56206 w 112411"/>
                <a:gd name="connsiteY4" fmla="*/ 112412 h 112411"/>
                <a:gd name="connsiteX5" fmla="*/ 56206 w 112411"/>
                <a:gd name="connsiteY5" fmla="*/ 12459 h 112411"/>
                <a:gd name="connsiteX6" fmla="*/ 99922 w 112411"/>
                <a:gd name="connsiteY6" fmla="*/ 56175 h 112411"/>
                <a:gd name="connsiteX7" fmla="*/ 56206 w 112411"/>
                <a:gd name="connsiteY7" fmla="*/ 99890 h 112411"/>
                <a:gd name="connsiteX8" fmla="*/ 12490 w 112411"/>
                <a:gd name="connsiteY8" fmla="*/ 56175 h 112411"/>
                <a:gd name="connsiteX9" fmla="*/ 56206 w 112411"/>
                <a:gd name="connsiteY9" fmla="*/ 12459 h 112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2411" h="112411">
                  <a:moveTo>
                    <a:pt x="56206" y="112412"/>
                  </a:moveTo>
                  <a:cubicBezTo>
                    <a:pt x="87248" y="112412"/>
                    <a:pt x="112412" y="87248"/>
                    <a:pt x="112412" y="56206"/>
                  </a:cubicBezTo>
                  <a:cubicBezTo>
                    <a:pt x="112412" y="25164"/>
                    <a:pt x="87248" y="0"/>
                    <a:pt x="56206" y="0"/>
                  </a:cubicBezTo>
                  <a:cubicBezTo>
                    <a:pt x="25164" y="0"/>
                    <a:pt x="0" y="25164"/>
                    <a:pt x="0" y="56206"/>
                  </a:cubicBezTo>
                  <a:cubicBezTo>
                    <a:pt x="0" y="87248"/>
                    <a:pt x="25164" y="112412"/>
                    <a:pt x="56206" y="112412"/>
                  </a:cubicBezTo>
                  <a:close/>
                  <a:moveTo>
                    <a:pt x="56206" y="12459"/>
                  </a:moveTo>
                  <a:cubicBezTo>
                    <a:pt x="80349" y="12459"/>
                    <a:pt x="99922" y="32031"/>
                    <a:pt x="99922" y="56175"/>
                  </a:cubicBezTo>
                  <a:cubicBezTo>
                    <a:pt x="99922" y="80318"/>
                    <a:pt x="80349" y="99890"/>
                    <a:pt x="56206" y="99890"/>
                  </a:cubicBezTo>
                  <a:cubicBezTo>
                    <a:pt x="32062" y="99890"/>
                    <a:pt x="12490" y="80318"/>
                    <a:pt x="12490" y="56175"/>
                  </a:cubicBezTo>
                  <a:cubicBezTo>
                    <a:pt x="12521" y="32044"/>
                    <a:pt x="32075" y="12490"/>
                    <a:pt x="56206" y="12459"/>
                  </a:cubicBezTo>
                  <a:close/>
                </a:path>
              </a:pathLst>
            </a:custGeom>
            <a:solidFill>
              <a:schemeClr val="bg1"/>
            </a:solidFill>
            <a:ln w="6152" cap="flat">
              <a:noFill/>
              <a:prstDash val="solid"/>
              <a:miter/>
            </a:ln>
          </p:spPr>
          <p:txBody>
            <a:bodyPr rtlCol="0" anchor="ctr"/>
            <a:lstStyle/>
            <a:p>
              <a:endParaRPr lang="en-GB"/>
            </a:p>
          </p:txBody>
        </p:sp>
        <p:sp>
          <p:nvSpPr>
            <p:cNvPr id="16" name="Frihandsfigur: Form 15">
              <a:extLst>
                <a:ext uri="{FF2B5EF4-FFF2-40B4-BE49-F238E27FC236}">
                  <a16:creationId xmlns:a16="http://schemas.microsoft.com/office/drawing/2014/main" id="{D12D5A32-F746-FF88-703E-6EF29404F1B1}"/>
                </a:ext>
              </a:extLst>
            </p:cNvPr>
            <p:cNvSpPr/>
            <p:nvPr/>
          </p:nvSpPr>
          <p:spPr>
            <a:xfrm>
              <a:off x="6533474" y="4258972"/>
              <a:ext cx="112411" cy="112411"/>
            </a:xfrm>
            <a:custGeom>
              <a:avLst/>
              <a:gdLst>
                <a:gd name="connsiteX0" fmla="*/ 56206 w 112411"/>
                <a:gd name="connsiteY0" fmla="*/ 112412 h 112411"/>
                <a:gd name="connsiteX1" fmla="*/ 112412 w 112411"/>
                <a:gd name="connsiteY1" fmla="*/ 56206 h 112411"/>
                <a:gd name="connsiteX2" fmla="*/ 56206 w 112411"/>
                <a:gd name="connsiteY2" fmla="*/ 0 h 112411"/>
                <a:gd name="connsiteX3" fmla="*/ 0 w 112411"/>
                <a:gd name="connsiteY3" fmla="*/ 56206 h 112411"/>
                <a:gd name="connsiteX4" fmla="*/ 56206 w 112411"/>
                <a:gd name="connsiteY4" fmla="*/ 112412 h 112411"/>
                <a:gd name="connsiteX5" fmla="*/ 56206 w 112411"/>
                <a:gd name="connsiteY5" fmla="*/ 12459 h 112411"/>
                <a:gd name="connsiteX6" fmla="*/ 99922 w 112411"/>
                <a:gd name="connsiteY6" fmla="*/ 56175 h 112411"/>
                <a:gd name="connsiteX7" fmla="*/ 56206 w 112411"/>
                <a:gd name="connsiteY7" fmla="*/ 99890 h 112411"/>
                <a:gd name="connsiteX8" fmla="*/ 12490 w 112411"/>
                <a:gd name="connsiteY8" fmla="*/ 56175 h 112411"/>
                <a:gd name="connsiteX9" fmla="*/ 56206 w 112411"/>
                <a:gd name="connsiteY9" fmla="*/ 12459 h 112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2411" h="112411">
                  <a:moveTo>
                    <a:pt x="56206" y="112412"/>
                  </a:moveTo>
                  <a:cubicBezTo>
                    <a:pt x="87248" y="112412"/>
                    <a:pt x="112412" y="87248"/>
                    <a:pt x="112412" y="56206"/>
                  </a:cubicBezTo>
                  <a:cubicBezTo>
                    <a:pt x="112412" y="25164"/>
                    <a:pt x="87248" y="0"/>
                    <a:pt x="56206" y="0"/>
                  </a:cubicBezTo>
                  <a:cubicBezTo>
                    <a:pt x="25164" y="0"/>
                    <a:pt x="0" y="25164"/>
                    <a:pt x="0" y="56206"/>
                  </a:cubicBezTo>
                  <a:cubicBezTo>
                    <a:pt x="0" y="87248"/>
                    <a:pt x="25164" y="112412"/>
                    <a:pt x="56206" y="112412"/>
                  </a:cubicBezTo>
                  <a:close/>
                  <a:moveTo>
                    <a:pt x="56206" y="12459"/>
                  </a:moveTo>
                  <a:cubicBezTo>
                    <a:pt x="80349" y="12459"/>
                    <a:pt x="99922" y="32031"/>
                    <a:pt x="99922" y="56175"/>
                  </a:cubicBezTo>
                  <a:cubicBezTo>
                    <a:pt x="99922" y="80318"/>
                    <a:pt x="80349" y="99890"/>
                    <a:pt x="56206" y="99890"/>
                  </a:cubicBezTo>
                  <a:cubicBezTo>
                    <a:pt x="32062" y="99890"/>
                    <a:pt x="12490" y="80318"/>
                    <a:pt x="12490" y="56175"/>
                  </a:cubicBezTo>
                  <a:cubicBezTo>
                    <a:pt x="12521" y="32044"/>
                    <a:pt x="32075" y="12490"/>
                    <a:pt x="56206" y="12459"/>
                  </a:cubicBezTo>
                  <a:close/>
                </a:path>
              </a:pathLst>
            </a:custGeom>
            <a:solidFill>
              <a:schemeClr val="bg1"/>
            </a:solidFill>
            <a:ln w="6152" cap="flat">
              <a:noFill/>
              <a:prstDash val="solid"/>
              <a:miter/>
            </a:ln>
          </p:spPr>
          <p:txBody>
            <a:bodyPr rtlCol="0" anchor="ctr"/>
            <a:lstStyle/>
            <a:p>
              <a:endParaRPr lang="en-GB"/>
            </a:p>
          </p:txBody>
        </p:sp>
        <p:sp>
          <p:nvSpPr>
            <p:cNvPr id="17" name="Frihandsfigur: Form 16">
              <a:extLst>
                <a:ext uri="{FF2B5EF4-FFF2-40B4-BE49-F238E27FC236}">
                  <a16:creationId xmlns:a16="http://schemas.microsoft.com/office/drawing/2014/main" id="{47AFBAEE-0CC1-E5CE-19AC-FC8070A6C8F9}"/>
                </a:ext>
              </a:extLst>
            </p:cNvPr>
            <p:cNvSpPr/>
            <p:nvPr/>
          </p:nvSpPr>
          <p:spPr>
            <a:xfrm>
              <a:off x="6512560" y="4385029"/>
              <a:ext cx="189539" cy="106166"/>
            </a:xfrm>
            <a:custGeom>
              <a:avLst/>
              <a:gdLst>
                <a:gd name="connsiteX0" fmla="*/ 176418 w 189539"/>
                <a:gd name="connsiteY0" fmla="*/ 33093 h 106166"/>
                <a:gd name="connsiteX1" fmla="*/ 122416 w 189539"/>
                <a:gd name="connsiteY1" fmla="*/ 7294 h 106166"/>
                <a:gd name="connsiteX2" fmla="*/ 77121 w 189539"/>
                <a:gd name="connsiteY2" fmla="*/ 0 h 106166"/>
                <a:gd name="connsiteX3" fmla="*/ 31962 w 189539"/>
                <a:gd name="connsiteY3" fmla="*/ 7263 h 106166"/>
                <a:gd name="connsiteX4" fmla="*/ 2048 w 189539"/>
                <a:gd name="connsiteY4" fmla="*/ 18660 h 106166"/>
                <a:gd name="connsiteX5" fmla="*/ 0 w 189539"/>
                <a:gd name="connsiteY5" fmla="*/ 33898 h 106166"/>
                <a:gd name="connsiteX6" fmla="*/ 35460 w 189539"/>
                <a:gd name="connsiteY6" fmla="*/ 19247 h 106166"/>
                <a:gd name="connsiteX7" fmla="*/ 77121 w 189539"/>
                <a:gd name="connsiteY7" fmla="*/ 12490 h 106166"/>
                <a:gd name="connsiteX8" fmla="*/ 119238 w 189539"/>
                <a:gd name="connsiteY8" fmla="*/ 19360 h 106166"/>
                <a:gd name="connsiteX9" fmla="*/ 168649 w 189539"/>
                <a:gd name="connsiteY9" fmla="*/ 42873 h 106166"/>
                <a:gd name="connsiteX10" fmla="*/ 169186 w 189539"/>
                <a:gd name="connsiteY10" fmla="*/ 43272 h 106166"/>
                <a:gd name="connsiteX11" fmla="*/ 177042 w 189539"/>
                <a:gd name="connsiteY11" fmla="*/ 59328 h 106166"/>
                <a:gd name="connsiteX12" fmla="*/ 177042 w 189539"/>
                <a:gd name="connsiteY12" fmla="*/ 106167 h 106166"/>
                <a:gd name="connsiteX13" fmla="*/ 189532 w 189539"/>
                <a:gd name="connsiteY13" fmla="*/ 106167 h 106166"/>
                <a:gd name="connsiteX14" fmla="*/ 189532 w 189539"/>
                <a:gd name="connsiteY14" fmla="*/ 59328 h 106166"/>
                <a:gd name="connsiteX15" fmla="*/ 176418 w 189539"/>
                <a:gd name="connsiteY15" fmla="*/ 33093 h 106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9539" h="106166">
                  <a:moveTo>
                    <a:pt x="176418" y="33093"/>
                  </a:moveTo>
                  <a:cubicBezTo>
                    <a:pt x="160500" y="20680"/>
                    <a:pt x="142074" y="11877"/>
                    <a:pt x="122416" y="7294"/>
                  </a:cubicBezTo>
                  <a:cubicBezTo>
                    <a:pt x="107700" y="2900"/>
                    <a:pt x="92472" y="447"/>
                    <a:pt x="77121" y="0"/>
                  </a:cubicBezTo>
                  <a:cubicBezTo>
                    <a:pt x="61778" y="16"/>
                    <a:pt x="46536" y="2467"/>
                    <a:pt x="31962" y="7263"/>
                  </a:cubicBezTo>
                  <a:cubicBezTo>
                    <a:pt x="21601" y="9945"/>
                    <a:pt x="11568" y="13768"/>
                    <a:pt x="2048" y="18660"/>
                  </a:cubicBezTo>
                  <a:cubicBezTo>
                    <a:pt x="1895" y="23797"/>
                    <a:pt x="1209" y="28904"/>
                    <a:pt x="0" y="33898"/>
                  </a:cubicBezTo>
                  <a:cubicBezTo>
                    <a:pt x="11106" y="27440"/>
                    <a:pt x="23034" y="22512"/>
                    <a:pt x="35460" y="19247"/>
                  </a:cubicBezTo>
                  <a:cubicBezTo>
                    <a:pt x="48907" y="14829"/>
                    <a:pt x="62966" y="12549"/>
                    <a:pt x="77121" y="12490"/>
                  </a:cubicBezTo>
                  <a:cubicBezTo>
                    <a:pt x="91398" y="12950"/>
                    <a:pt x="105555" y="15259"/>
                    <a:pt x="119238" y="19360"/>
                  </a:cubicBezTo>
                  <a:cubicBezTo>
                    <a:pt x="137227" y="23496"/>
                    <a:pt x="154092" y="31521"/>
                    <a:pt x="168649" y="42873"/>
                  </a:cubicBezTo>
                  <a:lnTo>
                    <a:pt x="169186" y="43272"/>
                  </a:lnTo>
                  <a:cubicBezTo>
                    <a:pt x="174322" y="46976"/>
                    <a:pt x="177270" y="53000"/>
                    <a:pt x="177042" y="59328"/>
                  </a:cubicBezTo>
                  <a:lnTo>
                    <a:pt x="177042" y="106167"/>
                  </a:lnTo>
                  <a:lnTo>
                    <a:pt x="189532" y="106167"/>
                  </a:lnTo>
                  <a:lnTo>
                    <a:pt x="189532" y="59328"/>
                  </a:lnTo>
                  <a:cubicBezTo>
                    <a:pt x="189760" y="48954"/>
                    <a:pt x="184852" y="39136"/>
                    <a:pt x="176418" y="33093"/>
                  </a:cubicBezTo>
                  <a:close/>
                </a:path>
              </a:pathLst>
            </a:custGeom>
            <a:solidFill>
              <a:schemeClr val="bg1"/>
            </a:solidFill>
            <a:ln w="6152" cap="flat">
              <a:noFill/>
              <a:prstDash val="solid"/>
              <a:miter/>
            </a:ln>
          </p:spPr>
          <p:txBody>
            <a:bodyPr rtlCol="0" anchor="ctr"/>
            <a:lstStyle/>
            <a:p>
              <a:endParaRPr lang="en-GB"/>
            </a:p>
          </p:txBody>
        </p:sp>
        <p:sp>
          <p:nvSpPr>
            <p:cNvPr id="18" name="Frihandsfigur: Form 17">
              <a:extLst>
                <a:ext uri="{FF2B5EF4-FFF2-40B4-BE49-F238E27FC236}">
                  <a16:creationId xmlns:a16="http://schemas.microsoft.com/office/drawing/2014/main" id="{903491FD-5F16-5260-5ECF-9091D3FF1990}"/>
                </a:ext>
              </a:extLst>
            </p:cNvPr>
            <p:cNvSpPr/>
            <p:nvPr/>
          </p:nvSpPr>
          <p:spPr>
            <a:xfrm>
              <a:off x="6177554" y="4385029"/>
              <a:ext cx="189220" cy="106166"/>
            </a:xfrm>
            <a:custGeom>
              <a:avLst/>
              <a:gdLst>
                <a:gd name="connsiteX0" fmla="*/ 189220 w 189220"/>
                <a:gd name="connsiteY0" fmla="*/ 32930 h 106166"/>
                <a:gd name="connsiteX1" fmla="*/ 187347 w 189220"/>
                <a:gd name="connsiteY1" fmla="*/ 17892 h 106166"/>
                <a:gd name="connsiteX2" fmla="*/ 157645 w 189220"/>
                <a:gd name="connsiteY2" fmla="*/ 7276 h 106166"/>
                <a:gd name="connsiteX3" fmla="*/ 112362 w 189220"/>
                <a:gd name="connsiteY3" fmla="*/ 0 h 106166"/>
                <a:gd name="connsiteX4" fmla="*/ 67203 w 189220"/>
                <a:gd name="connsiteY4" fmla="*/ 7263 h 106166"/>
                <a:gd name="connsiteX5" fmla="*/ 12827 w 189220"/>
                <a:gd name="connsiteY5" fmla="*/ 33299 h 106166"/>
                <a:gd name="connsiteX6" fmla="*/ 0 w 189220"/>
                <a:gd name="connsiteY6" fmla="*/ 59328 h 106166"/>
                <a:gd name="connsiteX7" fmla="*/ 0 w 189220"/>
                <a:gd name="connsiteY7" fmla="*/ 106167 h 106166"/>
                <a:gd name="connsiteX8" fmla="*/ 12490 w 189220"/>
                <a:gd name="connsiteY8" fmla="*/ 106167 h 106166"/>
                <a:gd name="connsiteX9" fmla="*/ 12490 w 189220"/>
                <a:gd name="connsiteY9" fmla="*/ 59328 h 106166"/>
                <a:gd name="connsiteX10" fmla="*/ 20409 w 189220"/>
                <a:gd name="connsiteY10" fmla="*/ 43229 h 106166"/>
                <a:gd name="connsiteX11" fmla="*/ 70726 w 189220"/>
                <a:gd name="connsiteY11" fmla="*/ 19247 h 106166"/>
                <a:gd name="connsiteX12" fmla="*/ 112362 w 189220"/>
                <a:gd name="connsiteY12" fmla="*/ 12490 h 106166"/>
                <a:gd name="connsiteX13" fmla="*/ 154479 w 189220"/>
                <a:gd name="connsiteY13" fmla="*/ 19360 h 106166"/>
                <a:gd name="connsiteX14" fmla="*/ 189220 w 189220"/>
                <a:gd name="connsiteY14" fmla="*/ 32930 h 106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9220" h="106166">
                  <a:moveTo>
                    <a:pt x="189220" y="32930"/>
                  </a:moveTo>
                  <a:cubicBezTo>
                    <a:pt x="188083" y="27995"/>
                    <a:pt x="187455" y="22956"/>
                    <a:pt x="187347" y="17892"/>
                  </a:cubicBezTo>
                  <a:cubicBezTo>
                    <a:pt x="177817" y="13393"/>
                    <a:pt x="167868" y="9837"/>
                    <a:pt x="157645" y="7276"/>
                  </a:cubicBezTo>
                  <a:cubicBezTo>
                    <a:pt x="142932" y="2888"/>
                    <a:pt x="127708" y="442"/>
                    <a:pt x="112362" y="0"/>
                  </a:cubicBezTo>
                  <a:cubicBezTo>
                    <a:pt x="97019" y="16"/>
                    <a:pt x="81777" y="2467"/>
                    <a:pt x="67203" y="7263"/>
                  </a:cubicBezTo>
                  <a:cubicBezTo>
                    <a:pt x="47657" y="12593"/>
                    <a:pt x="29235" y="21413"/>
                    <a:pt x="12827" y="33299"/>
                  </a:cubicBezTo>
                  <a:cubicBezTo>
                    <a:pt x="4748" y="39518"/>
                    <a:pt x="10" y="49133"/>
                    <a:pt x="0" y="59328"/>
                  </a:cubicBezTo>
                  <a:lnTo>
                    <a:pt x="0" y="106167"/>
                  </a:lnTo>
                  <a:lnTo>
                    <a:pt x="12490" y="106167"/>
                  </a:lnTo>
                  <a:lnTo>
                    <a:pt x="12490" y="59328"/>
                  </a:lnTo>
                  <a:cubicBezTo>
                    <a:pt x="12502" y="53027"/>
                    <a:pt x="15425" y="47084"/>
                    <a:pt x="20409" y="43229"/>
                  </a:cubicBezTo>
                  <a:cubicBezTo>
                    <a:pt x="35606" y="32280"/>
                    <a:pt x="52650" y="24156"/>
                    <a:pt x="70726" y="19247"/>
                  </a:cubicBezTo>
                  <a:cubicBezTo>
                    <a:pt x="84166" y="14831"/>
                    <a:pt x="98215" y="12551"/>
                    <a:pt x="112362" y="12490"/>
                  </a:cubicBezTo>
                  <a:cubicBezTo>
                    <a:pt x="126639" y="12950"/>
                    <a:pt x="140796" y="15260"/>
                    <a:pt x="154479" y="19360"/>
                  </a:cubicBezTo>
                  <a:cubicBezTo>
                    <a:pt x="166607" y="22332"/>
                    <a:pt x="178288" y="26896"/>
                    <a:pt x="189220" y="32930"/>
                  </a:cubicBezTo>
                  <a:close/>
                </a:path>
              </a:pathLst>
            </a:custGeom>
            <a:solidFill>
              <a:schemeClr val="bg1"/>
            </a:solidFill>
            <a:ln w="6152" cap="flat">
              <a:noFill/>
              <a:prstDash val="solid"/>
              <a:miter/>
            </a:ln>
          </p:spPr>
          <p:txBody>
            <a:bodyPr rtlCol="0" anchor="ctr"/>
            <a:lstStyle/>
            <a:p>
              <a:endParaRPr lang="en-GB"/>
            </a:p>
          </p:txBody>
        </p:sp>
        <p:sp>
          <p:nvSpPr>
            <p:cNvPr id="20" name="Frihandsfigur: Form 19">
              <a:extLst>
                <a:ext uri="{FF2B5EF4-FFF2-40B4-BE49-F238E27FC236}">
                  <a16:creationId xmlns:a16="http://schemas.microsoft.com/office/drawing/2014/main" id="{68786163-753C-E601-86BE-094BD111990C}"/>
                </a:ext>
              </a:extLst>
            </p:cNvPr>
            <p:cNvSpPr/>
            <p:nvPr/>
          </p:nvSpPr>
          <p:spPr>
            <a:xfrm>
              <a:off x="6327386" y="4471274"/>
              <a:ext cx="224830" cy="106166"/>
            </a:xfrm>
            <a:custGeom>
              <a:avLst/>
              <a:gdLst>
                <a:gd name="connsiteX0" fmla="*/ 211709 w 224830"/>
                <a:gd name="connsiteY0" fmla="*/ 33099 h 106166"/>
                <a:gd name="connsiteX1" fmla="*/ 157707 w 224830"/>
                <a:gd name="connsiteY1" fmla="*/ 7301 h 106166"/>
                <a:gd name="connsiteX2" fmla="*/ 112412 w 224830"/>
                <a:gd name="connsiteY2" fmla="*/ 0 h 106166"/>
                <a:gd name="connsiteX3" fmla="*/ 67266 w 224830"/>
                <a:gd name="connsiteY3" fmla="*/ 7263 h 106166"/>
                <a:gd name="connsiteX4" fmla="*/ 12890 w 224830"/>
                <a:gd name="connsiteY4" fmla="*/ 33299 h 106166"/>
                <a:gd name="connsiteX5" fmla="*/ 0 w 224830"/>
                <a:gd name="connsiteY5" fmla="*/ 59328 h 106166"/>
                <a:gd name="connsiteX6" fmla="*/ 0 w 224830"/>
                <a:gd name="connsiteY6" fmla="*/ 106167 h 106166"/>
                <a:gd name="connsiteX7" fmla="*/ 12490 w 224830"/>
                <a:gd name="connsiteY7" fmla="*/ 106167 h 106166"/>
                <a:gd name="connsiteX8" fmla="*/ 12490 w 224830"/>
                <a:gd name="connsiteY8" fmla="*/ 59328 h 106166"/>
                <a:gd name="connsiteX9" fmla="*/ 20415 w 224830"/>
                <a:gd name="connsiteY9" fmla="*/ 43229 h 106166"/>
                <a:gd name="connsiteX10" fmla="*/ 70726 w 224830"/>
                <a:gd name="connsiteY10" fmla="*/ 19247 h 106166"/>
                <a:gd name="connsiteX11" fmla="*/ 112412 w 224830"/>
                <a:gd name="connsiteY11" fmla="*/ 12490 h 106166"/>
                <a:gd name="connsiteX12" fmla="*/ 154535 w 224830"/>
                <a:gd name="connsiteY12" fmla="*/ 19360 h 106166"/>
                <a:gd name="connsiteX13" fmla="*/ 203940 w 224830"/>
                <a:gd name="connsiteY13" fmla="*/ 42866 h 106166"/>
                <a:gd name="connsiteX14" fmla="*/ 204477 w 224830"/>
                <a:gd name="connsiteY14" fmla="*/ 43266 h 106166"/>
                <a:gd name="connsiteX15" fmla="*/ 212333 w 224830"/>
                <a:gd name="connsiteY15" fmla="*/ 59328 h 106166"/>
                <a:gd name="connsiteX16" fmla="*/ 212333 w 224830"/>
                <a:gd name="connsiteY16" fmla="*/ 106167 h 106166"/>
                <a:gd name="connsiteX17" fmla="*/ 224823 w 224830"/>
                <a:gd name="connsiteY17" fmla="*/ 106167 h 106166"/>
                <a:gd name="connsiteX18" fmla="*/ 224823 w 224830"/>
                <a:gd name="connsiteY18" fmla="*/ 59328 h 106166"/>
                <a:gd name="connsiteX19" fmla="*/ 211709 w 224830"/>
                <a:gd name="connsiteY19" fmla="*/ 33099 h 106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24830" h="106166">
                  <a:moveTo>
                    <a:pt x="211709" y="33099"/>
                  </a:moveTo>
                  <a:cubicBezTo>
                    <a:pt x="195792" y="20684"/>
                    <a:pt x="177366" y="11881"/>
                    <a:pt x="157707" y="7301"/>
                  </a:cubicBezTo>
                  <a:cubicBezTo>
                    <a:pt x="142991" y="2906"/>
                    <a:pt x="127763" y="453"/>
                    <a:pt x="112412" y="0"/>
                  </a:cubicBezTo>
                  <a:cubicBezTo>
                    <a:pt x="97074" y="15"/>
                    <a:pt x="81835" y="2467"/>
                    <a:pt x="67266" y="7263"/>
                  </a:cubicBezTo>
                  <a:cubicBezTo>
                    <a:pt x="47718" y="12589"/>
                    <a:pt x="29295" y="21409"/>
                    <a:pt x="12890" y="33299"/>
                  </a:cubicBezTo>
                  <a:cubicBezTo>
                    <a:pt x="4784" y="39503"/>
                    <a:pt x="22" y="49121"/>
                    <a:pt x="0" y="59328"/>
                  </a:cubicBezTo>
                  <a:lnTo>
                    <a:pt x="0" y="106167"/>
                  </a:lnTo>
                  <a:lnTo>
                    <a:pt x="12490" y="106167"/>
                  </a:lnTo>
                  <a:lnTo>
                    <a:pt x="12490" y="59328"/>
                  </a:lnTo>
                  <a:cubicBezTo>
                    <a:pt x="12501" y="53025"/>
                    <a:pt x="15427" y="47082"/>
                    <a:pt x="20415" y="43229"/>
                  </a:cubicBezTo>
                  <a:cubicBezTo>
                    <a:pt x="35608" y="32277"/>
                    <a:pt x="52651" y="24154"/>
                    <a:pt x="70726" y="19247"/>
                  </a:cubicBezTo>
                  <a:cubicBezTo>
                    <a:pt x="84181" y="14826"/>
                    <a:pt x="98248" y="12546"/>
                    <a:pt x="112412" y="12490"/>
                  </a:cubicBezTo>
                  <a:cubicBezTo>
                    <a:pt x="126691" y="12948"/>
                    <a:pt x="140850" y="15257"/>
                    <a:pt x="154535" y="19360"/>
                  </a:cubicBezTo>
                  <a:cubicBezTo>
                    <a:pt x="172523" y="23490"/>
                    <a:pt x="189387" y="31514"/>
                    <a:pt x="203940" y="42866"/>
                  </a:cubicBezTo>
                  <a:lnTo>
                    <a:pt x="204477" y="43266"/>
                  </a:lnTo>
                  <a:cubicBezTo>
                    <a:pt x="209615" y="46972"/>
                    <a:pt x="212562" y="52998"/>
                    <a:pt x="212333" y="59328"/>
                  </a:cubicBezTo>
                  <a:lnTo>
                    <a:pt x="212333" y="106167"/>
                  </a:lnTo>
                  <a:lnTo>
                    <a:pt x="224823" y="106167"/>
                  </a:lnTo>
                  <a:lnTo>
                    <a:pt x="224823" y="59328"/>
                  </a:lnTo>
                  <a:cubicBezTo>
                    <a:pt x="225049" y="48957"/>
                    <a:pt x="220142" y="39141"/>
                    <a:pt x="211709" y="33099"/>
                  </a:cubicBezTo>
                  <a:close/>
                </a:path>
              </a:pathLst>
            </a:custGeom>
            <a:solidFill>
              <a:schemeClr val="bg1"/>
            </a:solidFill>
            <a:ln w="6152" cap="flat">
              <a:noFill/>
              <a:prstDash val="solid"/>
              <a:miter/>
            </a:ln>
          </p:spPr>
          <p:txBody>
            <a:bodyPr rtlCol="0" anchor="ctr"/>
            <a:lstStyle/>
            <a:p>
              <a:endParaRPr lang="en-GB"/>
            </a:p>
          </p:txBody>
        </p:sp>
        <p:sp>
          <p:nvSpPr>
            <p:cNvPr id="21" name="Frihandsfigur: Form 20">
              <a:extLst>
                <a:ext uri="{FF2B5EF4-FFF2-40B4-BE49-F238E27FC236}">
                  <a16:creationId xmlns:a16="http://schemas.microsoft.com/office/drawing/2014/main" id="{90E1BC5F-02A1-88AC-8C1F-5407253585B0}"/>
                </a:ext>
              </a:extLst>
            </p:cNvPr>
            <p:cNvSpPr/>
            <p:nvPr/>
          </p:nvSpPr>
          <p:spPr>
            <a:xfrm>
              <a:off x="6383592" y="4345217"/>
              <a:ext cx="112411" cy="112411"/>
            </a:xfrm>
            <a:custGeom>
              <a:avLst/>
              <a:gdLst>
                <a:gd name="connsiteX0" fmla="*/ 56206 w 112411"/>
                <a:gd name="connsiteY0" fmla="*/ 112412 h 112411"/>
                <a:gd name="connsiteX1" fmla="*/ 112412 w 112411"/>
                <a:gd name="connsiteY1" fmla="*/ 56206 h 112411"/>
                <a:gd name="connsiteX2" fmla="*/ 56206 w 112411"/>
                <a:gd name="connsiteY2" fmla="*/ 0 h 112411"/>
                <a:gd name="connsiteX3" fmla="*/ 0 w 112411"/>
                <a:gd name="connsiteY3" fmla="*/ 56206 h 112411"/>
                <a:gd name="connsiteX4" fmla="*/ 56206 w 112411"/>
                <a:gd name="connsiteY4" fmla="*/ 112412 h 112411"/>
                <a:gd name="connsiteX5" fmla="*/ 56206 w 112411"/>
                <a:gd name="connsiteY5" fmla="*/ 12490 h 112411"/>
                <a:gd name="connsiteX6" fmla="*/ 99922 w 112411"/>
                <a:gd name="connsiteY6" fmla="*/ 56206 h 112411"/>
                <a:gd name="connsiteX7" fmla="*/ 56206 w 112411"/>
                <a:gd name="connsiteY7" fmla="*/ 99922 h 112411"/>
                <a:gd name="connsiteX8" fmla="*/ 12490 w 112411"/>
                <a:gd name="connsiteY8" fmla="*/ 56206 h 112411"/>
                <a:gd name="connsiteX9" fmla="*/ 56206 w 112411"/>
                <a:gd name="connsiteY9" fmla="*/ 12459 h 112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2411" h="112411">
                  <a:moveTo>
                    <a:pt x="56206" y="112412"/>
                  </a:moveTo>
                  <a:cubicBezTo>
                    <a:pt x="87248" y="112412"/>
                    <a:pt x="112412" y="87248"/>
                    <a:pt x="112412" y="56206"/>
                  </a:cubicBezTo>
                  <a:cubicBezTo>
                    <a:pt x="112412" y="25164"/>
                    <a:pt x="87248" y="0"/>
                    <a:pt x="56206" y="0"/>
                  </a:cubicBezTo>
                  <a:cubicBezTo>
                    <a:pt x="25164" y="0"/>
                    <a:pt x="0" y="25164"/>
                    <a:pt x="0" y="56206"/>
                  </a:cubicBezTo>
                  <a:cubicBezTo>
                    <a:pt x="0" y="87248"/>
                    <a:pt x="25164" y="112412"/>
                    <a:pt x="56206" y="112412"/>
                  </a:cubicBezTo>
                  <a:close/>
                  <a:moveTo>
                    <a:pt x="56206" y="12490"/>
                  </a:moveTo>
                  <a:cubicBezTo>
                    <a:pt x="80349" y="12490"/>
                    <a:pt x="99922" y="32062"/>
                    <a:pt x="99922" y="56206"/>
                  </a:cubicBezTo>
                  <a:cubicBezTo>
                    <a:pt x="99922" y="80349"/>
                    <a:pt x="80349" y="99922"/>
                    <a:pt x="56206" y="99922"/>
                  </a:cubicBezTo>
                  <a:cubicBezTo>
                    <a:pt x="32062" y="99922"/>
                    <a:pt x="12490" y="80349"/>
                    <a:pt x="12490" y="56206"/>
                  </a:cubicBezTo>
                  <a:cubicBezTo>
                    <a:pt x="12508" y="32064"/>
                    <a:pt x="32064" y="12493"/>
                    <a:pt x="56206" y="12459"/>
                  </a:cubicBezTo>
                  <a:close/>
                </a:path>
              </a:pathLst>
            </a:custGeom>
            <a:solidFill>
              <a:schemeClr val="bg1"/>
            </a:solidFill>
            <a:ln w="6152" cap="flat">
              <a:noFill/>
              <a:prstDash val="solid"/>
              <a:miter/>
            </a:ln>
          </p:spPr>
          <p:txBody>
            <a:bodyPr rtlCol="0" anchor="ctr"/>
            <a:lstStyle/>
            <a:p>
              <a:endParaRPr lang="en-GB"/>
            </a:p>
          </p:txBody>
        </p:sp>
      </p:grpSp>
      <p:grpSp>
        <p:nvGrpSpPr>
          <p:cNvPr id="26" name="Bild 30" descr="Användare kontur">
            <a:extLst>
              <a:ext uri="{FF2B5EF4-FFF2-40B4-BE49-F238E27FC236}">
                <a16:creationId xmlns:a16="http://schemas.microsoft.com/office/drawing/2014/main" id="{15F151AF-C350-35F1-76E9-9485C13CCE74}"/>
              </a:ext>
            </a:extLst>
          </p:cNvPr>
          <p:cNvGrpSpPr/>
          <p:nvPr/>
        </p:nvGrpSpPr>
        <p:grpSpPr>
          <a:xfrm>
            <a:off x="16359558" y="2439240"/>
            <a:ext cx="524545" cy="318468"/>
            <a:chOff x="15656170" y="2577865"/>
            <a:chExt cx="524545" cy="318468"/>
          </a:xfrm>
          <a:solidFill>
            <a:schemeClr val="lt1"/>
          </a:solidFill>
        </p:grpSpPr>
        <p:sp>
          <p:nvSpPr>
            <p:cNvPr id="28" name="Frihandsfigur: Form 27">
              <a:extLst>
                <a:ext uri="{FF2B5EF4-FFF2-40B4-BE49-F238E27FC236}">
                  <a16:creationId xmlns:a16="http://schemas.microsoft.com/office/drawing/2014/main" id="{7D650F77-AFDA-31A6-8AC2-EA38A0676252}"/>
                </a:ext>
              </a:extLst>
            </p:cNvPr>
            <p:cNvSpPr/>
            <p:nvPr/>
          </p:nvSpPr>
          <p:spPr>
            <a:xfrm>
              <a:off x="15712326" y="2577865"/>
              <a:ext cx="112411" cy="112411"/>
            </a:xfrm>
            <a:custGeom>
              <a:avLst/>
              <a:gdLst>
                <a:gd name="connsiteX0" fmla="*/ 56206 w 112411"/>
                <a:gd name="connsiteY0" fmla="*/ 112412 h 112411"/>
                <a:gd name="connsiteX1" fmla="*/ 112412 w 112411"/>
                <a:gd name="connsiteY1" fmla="*/ 56206 h 112411"/>
                <a:gd name="connsiteX2" fmla="*/ 56206 w 112411"/>
                <a:gd name="connsiteY2" fmla="*/ 0 h 112411"/>
                <a:gd name="connsiteX3" fmla="*/ 0 w 112411"/>
                <a:gd name="connsiteY3" fmla="*/ 56206 h 112411"/>
                <a:gd name="connsiteX4" fmla="*/ 56206 w 112411"/>
                <a:gd name="connsiteY4" fmla="*/ 112412 h 112411"/>
                <a:gd name="connsiteX5" fmla="*/ 56206 w 112411"/>
                <a:gd name="connsiteY5" fmla="*/ 12459 h 112411"/>
                <a:gd name="connsiteX6" fmla="*/ 99922 w 112411"/>
                <a:gd name="connsiteY6" fmla="*/ 56175 h 112411"/>
                <a:gd name="connsiteX7" fmla="*/ 56206 w 112411"/>
                <a:gd name="connsiteY7" fmla="*/ 99890 h 112411"/>
                <a:gd name="connsiteX8" fmla="*/ 12490 w 112411"/>
                <a:gd name="connsiteY8" fmla="*/ 56175 h 112411"/>
                <a:gd name="connsiteX9" fmla="*/ 56206 w 112411"/>
                <a:gd name="connsiteY9" fmla="*/ 12459 h 112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2411" h="112411">
                  <a:moveTo>
                    <a:pt x="56206" y="112412"/>
                  </a:moveTo>
                  <a:cubicBezTo>
                    <a:pt x="87248" y="112412"/>
                    <a:pt x="112412" y="87248"/>
                    <a:pt x="112412" y="56206"/>
                  </a:cubicBezTo>
                  <a:cubicBezTo>
                    <a:pt x="112412" y="25164"/>
                    <a:pt x="87248" y="0"/>
                    <a:pt x="56206" y="0"/>
                  </a:cubicBezTo>
                  <a:cubicBezTo>
                    <a:pt x="25164" y="0"/>
                    <a:pt x="0" y="25164"/>
                    <a:pt x="0" y="56206"/>
                  </a:cubicBezTo>
                  <a:cubicBezTo>
                    <a:pt x="0" y="87248"/>
                    <a:pt x="25164" y="112412"/>
                    <a:pt x="56206" y="112412"/>
                  </a:cubicBezTo>
                  <a:close/>
                  <a:moveTo>
                    <a:pt x="56206" y="12459"/>
                  </a:moveTo>
                  <a:cubicBezTo>
                    <a:pt x="80349" y="12459"/>
                    <a:pt x="99922" y="32031"/>
                    <a:pt x="99922" y="56175"/>
                  </a:cubicBezTo>
                  <a:cubicBezTo>
                    <a:pt x="99922" y="80318"/>
                    <a:pt x="80349" y="99890"/>
                    <a:pt x="56206" y="99890"/>
                  </a:cubicBezTo>
                  <a:cubicBezTo>
                    <a:pt x="32062" y="99890"/>
                    <a:pt x="12490" y="80318"/>
                    <a:pt x="12490" y="56175"/>
                  </a:cubicBezTo>
                  <a:cubicBezTo>
                    <a:pt x="12521" y="32044"/>
                    <a:pt x="32075" y="12490"/>
                    <a:pt x="56206" y="12459"/>
                  </a:cubicBezTo>
                  <a:close/>
                </a:path>
              </a:pathLst>
            </a:custGeom>
            <a:solidFill>
              <a:schemeClr val="lt1"/>
            </a:solidFill>
            <a:ln w="8202" cap="flat">
              <a:solidFill>
                <a:schemeClr val="accent5"/>
              </a:solidFill>
              <a:prstDash val="solid"/>
              <a:miter/>
            </a:ln>
          </p:spPr>
          <p:txBody>
            <a:bodyPr rtlCol="0" anchor="ctr"/>
            <a:lstStyle/>
            <a:p>
              <a:endParaRPr lang="en-GB"/>
            </a:p>
          </p:txBody>
        </p:sp>
        <p:sp>
          <p:nvSpPr>
            <p:cNvPr id="29" name="Frihandsfigur: Form 28">
              <a:extLst>
                <a:ext uri="{FF2B5EF4-FFF2-40B4-BE49-F238E27FC236}">
                  <a16:creationId xmlns:a16="http://schemas.microsoft.com/office/drawing/2014/main" id="{4B99B03B-13CD-924C-966D-3205B0CD8460}"/>
                </a:ext>
              </a:extLst>
            </p:cNvPr>
            <p:cNvSpPr/>
            <p:nvPr/>
          </p:nvSpPr>
          <p:spPr>
            <a:xfrm>
              <a:off x="16012090" y="2577865"/>
              <a:ext cx="112411" cy="112411"/>
            </a:xfrm>
            <a:custGeom>
              <a:avLst/>
              <a:gdLst>
                <a:gd name="connsiteX0" fmla="*/ 56206 w 112411"/>
                <a:gd name="connsiteY0" fmla="*/ 112412 h 112411"/>
                <a:gd name="connsiteX1" fmla="*/ 112412 w 112411"/>
                <a:gd name="connsiteY1" fmla="*/ 56206 h 112411"/>
                <a:gd name="connsiteX2" fmla="*/ 56206 w 112411"/>
                <a:gd name="connsiteY2" fmla="*/ 0 h 112411"/>
                <a:gd name="connsiteX3" fmla="*/ 0 w 112411"/>
                <a:gd name="connsiteY3" fmla="*/ 56206 h 112411"/>
                <a:gd name="connsiteX4" fmla="*/ 56206 w 112411"/>
                <a:gd name="connsiteY4" fmla="*/ 112412 h 112411"/>
                <a:gd name="connsiteX5" fmla="*/ 56206 w 112411"/>
                <a:gd name="connsiteY5" fmla="*/ 12459 h 112411"/>
                <a:gd name="connsiteX6" fmla="*/ 99922 w 112411"/>
                <a:gd name="connsiteY6" fmla="*/ 56175 h 112411"/>
                <a:gd name="connsiteX7" fmla="*/ 56206 w 112411"/>
                <a:gd name="connsiteY7" fmla="*/ 99890 h 112411"/>
                <a:gd name="connsiteX8" fmla="*/ 12490 w 112411"/>
                <a:gd name="connsiteY8" fmla="*/ 56175 h 112411"/>
                <a:gd name="connsiteX9" fmla="*/ 56206 w 112411"/>
                <a:gd name="connsiteY9" fmla="*/ 12459 h 112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2411" h="112411">
                  <a:moveTo>
                    <a:pt x="56206" y="112412"/>
                  </a:moveTo>
                  <a:cubicBezTo>
                    <a:pt x="87248" y="112412"/>
                    <a:pt x="112412" y="87248"/>
                    <a:pt x="112412" y="56206"/>
                  </a:cubicBezTo>
                  <a:cubicBezTo>
                    <a:pt x="112412" y="25164"/>
                    <a:pt x="87248" y="0"/>
                    <a:pt x="56206" y="0"/>
                  </a:cubicBezTo>
                  <a:cubicBezTo>
                    <a:pt x="25164" y="0"/>
                    <a:pt x="0" y="25164"/>
                    <a:pt x="0" y="56206"/>
                  </a:cubicBezTo>
                  <a:cubicBezTo>
                    <a:pt x="0" y="87248"/>
                    <a:pt x="25164" y="112412"/>
                    <a:pt x="56206" y="112412"/>
                  </a:cubicBezTo>
                  <a:close/>
                  <a:moveTo>
                    <a:pt x="56206" y="12459"/>
                  </a:moveTo>
                  <a:cubicBezTo>
                    <a:pt x="80349" y="12459"/>
                    <a:pt x="99922" y="32031"/>
                    <a:pt x="99922" y="56175"/>
                  </a:cubicBezTo>
                  <a:cubicBezTo>
                    <a:pt x="99922" y="80318"/>
                    <a:pt x="80349" y="99890"/>
                    <a:pt x="56206" y="99890"/>
                  </a:cubicBezTo>
                  <a:cubicBezTo>
                    <a:pt x="32062" y="99890"/>
                    <a:pt x="12490" y="80318"/>
                    <a:pt x="12490" y="56175"/>
                  </a:cubicBezTo>
                  <a:cubicBezTo>
                    <a:pt x="12521" y="32044"/>
                    <a:pt x="32075" y="12490"/>
                    <a:pt x="56206" y="12459"/>
                  </a:cubicBezTo>
                  <a:close/>
                </a:path>
              </a:pathLst>
            </a:custGeom>
            <a:solidFill>
              <a:schemeClr val="lt1"/>
            </a:solidFill>
            <a:ln w="8202" cap="flat">
              <a:solidFill>
                <a:schemeClr val="accent5"/>
              </a:solidFill>
              <a:prstDash val="solid"/>
              <a:miter/>
            </a:ln>
          </p:spPr>
          <p:txBody>
            <a:bodyPr rtlCol="0" anchor="ctr"/>
            <a:lstStyle/>
            <a:p>
              <a:endParaRPr lang="en-GB"/>
            </a:p>
          </p:txBody>
        </p:sp>
        <p:sp>
          <p:nvSpPr>
            <p:cNvPr id="30" name="Frihandsfigur: Form 29">
              <a:extLst>
                <a:ext uri="{FF2B5EF4-FFF2-40B4-BE49-F238E27FC236}">
                  <a16:creationId xmlns:a16="http://schemas.microsoft.com/office/drawing/2014/main" id="{472C9CF1-AABD-DA28-61FF-C06ABA2CC6DA}"/>
                </a:ext>
              </a:extLst>
            </p:cNvPr>
            <p:cNvSpPr/>
            <p:nvPr/>
          </p:nvSpPr>
          <p:spPr>
            <a:xfrm>
              <a:off x="15991176" y="2703922"/>
              <a:ext cx="189539" cy="106166"/>
            </a:xfrm>
            <a:custGeom>
              <a:avLst/>
              <a:gdLst>
                <a:gd name="connsiteX0" fmla="*/ 176418 w 189539"/>
                <a:gd name="connsiteY0" fmla="*/ 33093 h 106166"/>
                <a:gd name="connsiteX1" fmla="*/ 122416 w 189539"/>
                <a:gd name="connsiteY1" fmla="*/ 7294 h 106166"/>
                <a:gd name="connsiteX2" fmla="*/ 77121 w 189539"/>
                <a:gd name="connsiteY2" fmla="*/ 0 h 106166"/>
                <a:gd name="connsiteX3" fmla="*/ 31962 w 189539"/>
                <a:gd name="connsiteY3" fmla="*/ 7263 h 106166"/>
                <a:gd name="connsiteX4" fmla="*/ 2048 w 189539"/>
                <a:gd name="connsiteY4" fmla="*/ 18660 h 106166"/>
                <a:gd name="connsiteX5" fmla="*/ 0 w 189539"/>
                <a:gd name="connsiteY5" fmla="*/ 33898 h 106166"/>
                <a:gd name="connsiteX6" fmla="*/ 35460 w 189539"/>
                <a:gd name="connsiteY6" fmla="*/ 19247 h 106166"/>
                <a:gd name="connsiteX7" fmla="*/ 77121 w 189539"/>
                <a:gd name="connsiteY7" fmla="*/ 12490 h 106166"/>
                <a:gd name="connsiteX8" fmla="*/ 119238 w 189539"/>
                <a:gd name="connsiteY8" fmla="*/ 19360 h 106166"/>
                <a:gd name="connsiteX9" fmla="*/ 168649 w 189539"/>
                <a:gd name="connsiteY9" fmla="*/ 42873 h 106166"/>
                <a:gd name="connsiteX10" fmla="*/ 169186 w 189539"/>
                <a:gd name="connsiteY10" fmla="*/ 43272 h 106166"/>
                <a:gd name="connsiteX11" fmla="*/ 177042 w 189539"/>
                <a:gd name="connsiteY11" fmla="*/ 59328 h 106166"/>
                <a:gd name="connsiteX12" fmla="*/ 177042 w 189539"/>
                <a:gd name="connsiteY12" fmla="*/ 106167 h 106166"/>
                <a:gd name="connsiteX13" fmla="*/ 189532 w 189539"/>
                <a:gd name="connsiteY13" fmla="*/ 106167 h 106166"/>
                <a:gd name="connsiteX14" fmla="*/ 189532 w 189539"/>
                <a:gd name="connsiteY14" fmla="*/ 59328 h 106166"/>
                <a:gd name="connsiteX15" fmla="*/ 176418 w 189539"/>
                <a:gd name="connsiteY15" fmla="*/ 33093 h 106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9539" h="106166">
                  <a:moveTo>
                    <a:pt x="176418" y="33093"/>
                  </a:moveTo>
                  <a:cubicBezTo>
                    <a:pt x="160500" y="20680"/>
                    <a:pt x="142074" y="11877"/>
                    <a:pt x="122416" y="7294"/>
                  </a:cubicBezTo>
                  <a:cubicBezTo>
                    <a:pt x="107700" y="2900"/>
                    <a:pt x="92472" y="447"/>
                    <a:pt x="77121" y="0"/>
                  </a:cubicBezTo>
                  <a:cubicBezTo>
                    <a:pt x="61778" y="16"/>
                    <a:pt x="46536" y="2467"/>
                    <a:pt x="31962" y="7263"/>
                  </a:cubicBezTo>
                  <a:cubicBezTo>
                    <a:pt x="21601" y="9945"/>
                    <a:pt x="11568" y="13768"/>
                    <a:pt x="2048" y="18660"/>
                  </a:cubicBezTo>
                  <a:cubicBezTo>
                    <a:pt x="1895" y="23797"/>
                    <a:pt x="1209" y="28904"/>
                    <a:pt x="0" y="33898"/>
                  </a:cubicBezTo>
                  <a:cubicBezTo>
                    <a:pt x="11106" y="27440"/>
                    <a:pt x="23034" y="22512"/>
                    <a:pt x="35460" y="19247"/>
                  </a:cubicBezTo>
                  <a:cubicBezTo>
                    <a:pt x="48907" y="14829"/>
                    <a:pt x="62966" y="12549"/>
                    <a:pt x="77121" y="12490"/>
                  </a:cubicBezTo>
                  <a:cubicBezTo>
                    <a:pt x="91398" y="12950"/>
                    <a:pt x="105555" y="15259"/>
                    <a:pt x="119238" y="19360"/>
                  </a:cubicBezTo>
                  <a:cubicBezTo>
                    <a:pt x="137227" y="23496"/>
                    <a:pt x="154092" y="31521"/>
                    <a:pt x="168649" y="42873"/>
                  </a:cubicBezTo>
                  <a:lnTo>
                    <a:pt x="169186" y="43272"/>
                  </a:lnTo>
                  <a:cubicBezTo>
                    <a:pt x="174322" y="46976"/>
                    <a:pt x="177270" y="53000"/>
                    <a:pt x="177042" y="59328"/>
                  </a:cubicBezTo>
                  <a:lnTo>
                    <a:pt x="177042" y="106167"/>
                  </a:lnTo>
                  <a:lnTo>
                    <a:pt x="189532" y="106167"/>
                  </a:lnTo>
                  <a:lnTo>
                    <a:pt x="189532" y="59328"/>
                  </a:lnTo>
                  <a:cubicBezTo>
                    <a:pt x="189760" y="48954"/>
                    <a:pt x="184852" y="39136"/>
                    <a:pt x="176418" y="33093"/>
                  </a:cubicBezTo>
                  <a:close/>
                </a:path>
              </a:pathLst>
            </a:custGeom>
            <a:solidFill>
              <a:schemeClr val="lt1"/>
            </a:solidFill>
            <a:ln w="8202" cap="flat">
              <a:solidFill>
                <a:schemeClr val="accent5"/>
              </a:solidFill>
              <a:prstDash val="solid"/>
              <a:miter/>
            </a:ln>
          </p:spPr>
          <p:txBody>
            <a:bodyPr rtlCol="0" anchor="ctr"/>
            <a:lstStyle/>
            <a:p>
              <a:endParaRPr lang="en-GB"/>
            </a:p>
          </p:txBody>
        </p:sp>
        <p:sp>
          <p:nvSpPr>
            <p:cNvPr id="128" name="Frihandsfigur: Form 127">
              <a:extLst>
                <a:ext uri="{FF2B5EF4-FFF2-40B4-BE49-F238E27FC236}">
                  <a16:creationId xmlns:a16="http://schemas.microsoft.com/office/drawing/2014/main" id="{1B4F580E-026C-061C-713B-BBD74BBB53B0}"/>
                </a:ext>
              </a:extLst>
            </p:cNvPr>
            <p:cNvSpPr/>
            <p:nvPr/>
          </p:nvSpPr>
          <p:spPr>
            <a:xfrm>
              <a:off x="15656170" y="2703922"/>
              <a:ext cx="189220" cy="106166"/>
            </a:xfrm>
            <a:custGeom>
              <a:avLst/>
              <a:gdLst>
                <a:gd name="connsiteX0" fmla="*/ 189220 w 189220"/>
                <a:gd name="connsiteY0" fmla="*/ 32930 h 106166"/>
                <a:gd name="connsiteX1" fmla="*/ 187347 w 189220"/>
                <a:gd name="connsiteY1" fmla="*/ 17892 h 106166"/>
                <a:gd name="connsiteX2" fmla="*/ 157645 w 189220"/>
                <a:gd name="connsiteY2" fmla="*/ 7276 h 106166"/>
                <a:gd name="connsiteX3" fmla="*/ 112362 w 189220"/>
                <a:gd name="connsiteY3" fmla="*/ 0 h 106166"/>
                <a:gd name="connsiteX4" fmla="*/ 67203 w 189220"/>
                <a:gd name="connsiteY4" fmla="*/ 7263 h 106166"/>
                <a:gd name="connsiteX5" fmla="*/ 12827 w 189220"/>
                <a:gd name="connsiteY5" fmla="*/ 33299 h 106166"/>
                <a:gd name="connsiteX6" fmla="*/ 0 w 189220"/>
                <a:gd name="connsiteY6" fmla="*/ 59328 h 106166"/>
                <a:gd name="connsiteX7" fmla="*/ 0 w 189220"/>
                <a:gd name="connsiteY7" fmla="*/ 106167 h 106166"/>
                <a:gd name="connsiteX8" fmla="*/ 12490 w 189220"/>
                <a:gd name="connsiteY8" fmla="*/ 106167 h 106166"/>
                <a:gd name="connsiteX9" fmla="*/ 12490 w 189220"/>
                <a:gd name="connsiteY9" fmla="*/ 59328 h 106166"/>
                <a:gd name="connsiteX10" fmla="*/ 20409 w 189220"/>
                <a:gd name="connsiteY10" fmla="*/ 43229 h 106166"/>
                <a:gd name="connsiteX11" fmla="*/ 70726 w 189220"/>
                <a:gd name="connsiteY11" fmla="*/ 19247 h 106166"/>
                <a:gd name="connsiteX12" fmla="*/ 112362 w 189220"/>
                <a:gd name="connsiteY12" fmla="*/ 12490 h 106166"/>
                <a:gd name="connsiteX13" fmla="*/ 154479 w 189220"/>
                <a:gd name="connsiteY13" fmla="*/ 19360 h 106166"/>
                <a:gd name="connsiteX14" fmla="*/ 189220 w 189220"/>
                <a:gd name="connsiteY14" fmla="*/ 32930 h 106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9220" h="106166">
                  <a:moveTo>
                    <a:pt x="189220" y="32930"/>
                  </a:moveTo>
                  <a:cubicBezTo>
                    <a:pt x="188083" y="27995"/>
                    <a:pt x="187455" y="22956"/>
                    <a:pt x="187347" y="17892"/>
                  </a:cubicBezTo>
                  <a:cubicBezTo>
                    <a:pt x="177817" y="13393"/>
                    <a:pt x="167868" y="9837"/>
                    <a:pt x="157645" y="7276"/>
                  </a:cubicBezTo>
                  <a:cubicBezTo>
                    <a:pt x="142932" y="2888"/>
                    <a:pt x="127708" y="442"/>
                    <a:pt x="112362" y="0"/>
                  </a:cubicBezTo>
                  <a:cubicBezTo>
                    <a:pt x="97019" y="16"/>
                    <a:pt x="81777" y="2467"/>
                    <a:pt x="67203" y="7263"/>
                  </a:cubicBezTo>
                  <a:cubicBezTo>
                    <a:pt x="47657" y="12593"/>
                    <a:pt x="29235" y="21413"/>
                    <a:pt x="12827" y="33299"/>
                  </a:cubicBezTo>
                  <a:cubicBezTo>
                    <a:pt x="4748" y="39518"/>
                    <a:pt x="10" y="49133"/>
                    <a:pt x="0" y="59328"/>
                  </a:cubicBezTo>
                  <a:lnTo>
                    <a:pt x="0" y="106167"/>
                  </a:lnTo>
                  <a:lnTo>
                    <a:pt x="12490" y="106167"/>
                  </a:lnTo>
                  <a:lnTo>
                    <a:pt x="12490" y="59328"/>
                  </a:lnTo>
                  <a:cubicBezTo>
                    <a:pt x="12502" y="53027"/>
                    <a:pt x="15425" y="47084"/>
                    <a:pt x="20409" y="43229"/>
                  </a:cubicBezTo>
                  <a:cubicBezTo>
                    <a:pt x="35606" y="32280"/>
                    <a:pt x="52650" y="24156"/>
                    <a:pt x="70726" y="19247"/>
                  </a:cubicBezTo>
                  <a:cubicBezTo>
                    <a:pt x="84166" y="14831"/>
                    <a:pt x="98215" y="12551"/>
                    <a:pt x="112362" y="12490"/>
                  </a:cubicBezTo>
                  <a:cubicBezTo>
                    <a:pt x="126639" y="12950"/>
                    <a:pt x="140796" y="15260"/>
                    <a:pt x="154479" y="19360"/>
                  </a:cubicBezTo>
                  <a:cubicBezTo>
                    <a:pt x="166607" y="22332"/>
                    <a:pt x="178288" y="26896"/>
                    <a:pt x="189220" y="32930"/>
                  </a:cubicBezTo>
                  <a:close/>
                </a:path>
              </a:pathLst>
            </a:custGeom>
            <a:solidFill>
              <a:schemeClr val="lt1"/>
            </a:solidFill>
            <a:ln w="8202" cap="flat">
              <a:solidFill>
                <a:schemeClr val="accent5"/>
              </a:solidFill>
              <a:prstDash val="solid"/>
              <a:miter/>
            </a:ln>
          </p:spPr>
          <p:txBody>
            <a:bodyPr rtlCol="0" anchor="ctr"/>
            <a:lstStyle/>
            <a:p>
              <a:endParaRPr lang="en-GB"/>
            </a:p>
          </p:txBody>
        </p:sp>
        <p:sp>
          <p:nvSpPr>
            <p:cNvPr id="130" name="Frihandsfigur: Form 129">
              <a:extLst>
                <a:ext uri="{FF2B5EF4-FFF2-40B4-BE49-F238E27FC236}">
                  <a16:creationId xmlns:a16="http://schemas.microsoft.com/office/drawing/2014/main" id="{1862E28E-2733-C802-F69F-271B853CBF67}"/>
                </a:ext>
              </a:extLst>
            </p:cNvPr>
            <p:cNvSpPr/>
            <p:nvPr/>
          </p:nvSpPr>
          <p:spPr>
            <a:xfrm>
              <a:off x="15806002" y="2790167"/>
              <a:ext cx="224830" cy="106166"/>
            </a:xfrm>
            <a:custGeom>
              <a:avLst/>
              <a:gdLst>
                <a:gd name="connsiteX0" fmla="*/ 211709 w 224830"/>
                <a:gd name="connsiteY0" fmla="*/ 33099 h 106166"/>
                <a:gd name="connsiteX1" fmla="*/ 157707 w 224830"/>
                <a:gd name="connsiteY1" fmla="*/ 7301 h 106166"/>
                <a:gd name="connsiteX2" fmla="*/ 112412 w 224830"/>
                <a:gd name="connsiteY2" fmla="*/ 0 h 106166"/>
                <a:gd name="connsiteX3" fmla="*/ 67266 w 224830"/>
                <a:gd name="connsiteY3" fmla="*/ 7263 h 106166"/>
                <a:gd name="connsiteX4" fmla="*/ 12890 w 224830"/>
                <a:gd name="connsiteY4" fmla="*/ 33299 h 106166"/>
                <a:gd name="connsiteX5" fmla="*/ 0 w 224830"/>
                <a:gd name="connsiteY5" fmla="*/ 59328 h 106166"/>
                <a:gd name="connsiteX6" fmla="*/ 0 w 224830"/>
                <a:gd name="connsiteY6" fmla="*/ 106167 h 106166"/>
                <a:gd name="connsiteX7" fmla="*/ 12490 w 224830"/>
                <a:gd name="connsiteY7" fmla="*/ 106167 h 106166"/>
                <a:gd name="connsiteX8" fmla="*/ 12490 w 224830"/>
                <a:gd name="connsiteY8" fmla="*/ 59328 h 106166"/>
                <a:gd name="connsiteX9" fmla="*/ 20415 w 224830"/>
                <a:gd name="connsiteY9" fmla="*/ 43229 h 106166"/>
                <a:gd name="connsiteX10" fmla="*/ 70726 w 224830"/>
                <a:gd name="connsiteY10" fmla="*/ 19247 h 106166"/>
                <a:gd name="connsiteX11" fmla="*/ 112412 w 224830"/>
                <a:gd name="connsiteY11" fmla="*/ 12490 h 106166"/>
                <a:gd name="connsiteX12" fmla="*/ 154535 w 224830"/>
                <a:gd name="connsiteY12" fmla="*/ 19360 h 106166"/>
                <a:gd name="connsiteX13" fmla="*/ 203940 w 224830"/>
                <a:gd name="connsiteY13" fmla="*/ 42866 h 106166"/>
                <a:gd name="connsiteX14" fmla="*/ 204477 w 224830"/>
                <a:gd name="connsiteY14" fmla="*/ 43266 h 106166"/>
                <a:gd name="connsiteX15" fmla="*/ 212333 w 224830"/>
                <a:gd name="connsiteY15" fmla="*/ 59328 h 106166"/>
                <a:gd name="connsiteX16" fmla="*/ 212333 w 224830"/>
                <a:gd name="connsiteY16" fmla="*/ 106167 h 106166"/>
                <a:gd name="connsiteX17" fmla="*/ 224823 w 224830"/>
                <a:gd name="connsiteY17" fmla="*/ 106167 h 106166"/>
                <a:gd name="connsiteX18" fmla="*/ 224823 w 224830"/>
                <a:gd name="connsiteY18" fmla="*/ 59328 h 106166"/>
                <a:gd name="connsiteX19" fmla="*/ 211709 w 224830"/>
                <a:gd name="connsiteY19" fmla="*/ 33099 h 106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24830" h="106166">
                  <a:moveTo>
                    <a:pt x="211709" y="33099"/>
                  </a:moveTo>
                  <a:cubicBezTo>
                    <a:pt x="195792" y="20684"/>
                    <a:pt x="177366" y="11881"/>
                    <a:pt x="157707" y="7301"/>
                  </a:cubicBezTo>
                  <a:cubicBezTo>
                    <a:pt x="142991" y="2906"/>
                    <a:pt x="127763" y="453"/>
                    <a:pt x="112412" y="0"/>
                  </a:cubicBezTo>
                  <a:cubicBezTo>
                    <a:pt x="97074" y="15"/>
                    <a:pt x="81835" y="2467"/>
                    <a:pt x="67266" y="7263"/>
                  </a:cubicBezTo>
                  <a:cubicBezTo>
                    <a:pt x="47718" y="12589"/>
                    <a:pt x="29295" y="21409"/>
                    <a:pt x="12890" y="33299"/>
                  </a:cubicBezTo>
                  <a:cubicBezTo>
                    <a:pt x="4784" y="39503"/>
                    <a:pt x="22" y="49121"/>
                    <a:pt x="0" y="59328"/>
                  </a:cubicBezTo>
                  <a:lnTo>
                    <a:pt x="0" y="106167"/>
                  </a:lnTo>
                  <a:lnTo>
                    <a:pt x="12490" y="106167"/>
                  </a:lnTo>
                  <a:lnTo>
                    <a:pt x="12490" y="59328"/>
                  </a:lnTo>
                  <a:cubicBezTo>
                    <a:pt x="12501" y="53025"/>
                    <a:pt x="15427" y="47082"/>
                    <a:pt x="20415" y="43229"/>
                  </a:cubicBezTo>
                  <a:cubicBezTo>
                    <a:pt x="35608" y="32277"/>
                    <a:pt x="52651" y="24154"/>
                    <a:pt x="70726" y="19247"/>
                  </a:cubicBezTo>
                  <a:cubicBezTo>
                    <a:pt x="84181" y="14826"/>
                    <a:pt x="98248" y="12546"/>
                    <a:pt x="112412" y="12490"/>
                  </a:cubicBezTo>
                  <a:cubicBezTo>
                    <a:pt x="126691" y="12948"/>
                    <a:pt x="140850" y="15257"/>
                    <a:pt x="154535" y="19360"/>
                  </a:cubicBezTo>
                  <a:cubicBezTo>
                    <a:pt x="172523" y="23490"/>
                    <a:pt x="189387" y="31514"/>
                    <a:pt x="203940" y="42866"/>
                  </a:cubicBezTo>
                  <a:lnTo>
                    <a:pt x="204477" y="43266"/>
                  </a:lnTo>
                  <a:cubicBezTo>
                    <a:pt x="209615" y="46972"/>
                    <a:pt x="212562" y="52998"/>
                    <a:pt x="212333" y="59328"/>
                  </a:cubicBezTo>
                  <a:lnTo>
                    <a:pt x="212333" y="106167"/>
                  </a:lnTo>
                  <a:lnTo>
                    <a:pt x="224823" y="106167"/>
                  </a:lnTo>
                  <a:lnTo>
                    <a:pt x="224823" y="59328"/>
                  </a:lnTo>
                  <a:cubicBezTo>
                    <a:pt x="225049" y="48957"/>
                    <a:pt x="220142" y="39141"/>
                    <a:pt x="211709" y="33099"/>
                  </a:cubicBezTo>
                  <a:close/>
                </a:path>
              </a:pathLst>
            </a:custGeom>
            <a:solidFill>
              <a:schemeClr val="lt1"/>
            </a:solidFill>
            <a:ln w="8202" cap="flat">
              <a:solidFill>
                <a:schemeClr val="accent5"/>
              </a:solidFill>
              <a:prstDash val="solid"/>
              <a:miter/>
            </a:ln>
          </p:spPr>
          <p:txBody>
            <a:bodyPr rtlCol="0" anchor="ctr"/>
            <a:lstStyle/>
            <a:p>
              <a:endParaRPr lang="en-GB"/>
            </a:p>
          </p:txBody>
        </p:sp>
        <p:sp>
          <p:nvSpPr>
            <p:cNvPr id="142" name="Frihandsfigur: Form 141">
              <a:extLst>
                <a:ext uri="{FF2B5EF4-FFF2-40B4-BE49-F238E27FC236}">
                  <a16:creationId xmlns:a16="http://schemas.microsoft.com/office/drawing/2014/main" id="{804D1714-488B-AE78-AA90-BDF9658689A4}"/>
                </a:ext>
              </a:extLst>
            </p:cNvPr>
            <p:cNvSpPr/>
            <p:nvPr/>
          </p:nvSpPr>
          <p:spPr>
            <a:xfrm>
              <a:off x="15862208" y="2664110"/>
              <a:ext cx="112411" cy="112411"/>
            </a:xfrm>
            <a:custGeom>
              <a:avLst/>
              <a:gdLst>
                <a:gd name="connsiteX0" fmla="*/ 56206 w 112411"/>
                <a:gd name="connsiteY0" fmla="*/ 112412 h 112411"/>
                <a:gd name="connsiteX1" fmla="*/ 112412 w 112411"/>
                <a:gd name="connsiteY1" fmla="*/ 56206 h 112411"/>
                <a:gd name="connsiteX2" fmla="*/ 56206 w 112411"/>
                <a:gd name="connsiteY2" fmla="*/ 0 h 112411"/>
                <a:gd name="connsiteX3" fmla="*/ 0 w 112411"/>
                <a:gd name="connsiteY3" fmla="*/ 56206 h 112411"/>
                <a:gd name="connsiteX4" fmla="*/ 56206 w 112411"/>
                <a:gd name="connsiteY4" fmla="*/ 112412 h 112411"/>
                <a:gd name="connsiteX5" fmla="*/ 56206 w 112411"/>
                <a:gd name="connsiteY5" fmla="*/ 12490 h 112411"/>
                <a:gd name="connsiteX6" fmla="*/ 99922 w 112411"/>
                <a:gd name="connsiteY6" fmla="*/ 56206 h 112411"/>
                <a:gd name="connsiteX7" fmla="*/ 56206 w 112411"/>
                <a:gd name="connsiteY7" fmla="*/ 99922 h 112411"/>
                <a:gd name="connsiteX8" fmla="*/ 12490 w 112411"/>
                <a:gd name="connsiteY8" fmla="*/ 56206 h 112411"/>
                <a:gd name="connsiteX9" fmla="*/ 56206 w 112411"/>
                <a:gd name="connsiteY9" fmla="*/ 12459 h 112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2411" h="112411">
                  <a:moveTo>
                    <a:pt x="56206" y="112412"/>
                  </a:moveTo>
                  <a:cubicBezTo>
                    <a:pt x="87248" y="112412"/>
                    <a:pt x="112412" y="87248"/>
                    <a:pt x="112412" y="56206"/>
                  </a:cubicBezTo>
                  <a:cubicBezTo>
                    <a:pt x="112412" y="25164"/>
                    <a:pt x="87248" y="0"/>
                    <a:pt x="56206" y="0"/>
                  </a:cubicBezTo>
                  <a:cubicBezTo>
                    <a:pt x="25164" y="0"/>
                    <a:pt x="0" y="25164"/>
                    <a:pt x="0" y="56206"/>
                  </a:cubicBezTo>
                  <a:cubicBezTo>
                    <a:pt x="0" y="87248"/>
                    <a:pt x="25164" y="112412"/>
                    <a:pt x="56206" y="112412"/>
                  </a:cubicBezTo>
                  <a:close/>
                  <a:moveTo>
                    <a:pt x="56206" y="12490"/>
                  </a:moveTo>
                  <a:cubicBezTo>
                    <a:pt x="80349" y="12490"/>
                    <a:pt x="99922" y="32062"/>
                    <a:pt x="99922" y="56206"/>
                  </a:cubicBezTo>
                  <a:cubicBezTo>
                    <a:pt x="99922" y="80349"/>
                    <a:pt x="80349" y="99922"/>
                    <a:pt x="56206" y="99922"/>
                  </a:cubicBezTo>
                  <a:cubicBezTo>
                    <a:pt x="32062" y="99922"/>
                    <a:pt x="12490" y="80349"/>
                    <a:pt x="12490" y="56206"/>
                  </a:cubicBezTo>
                  <a:cubicBezTo>
                    <a:pt x="12508" y="32064"/>
                    <a:pt x="32064" y="12493"/>
                    <a:pt x="56206" y="12459"/>
                  </a:cubicBezTo>
                  <a:close/>
                </a:path>
              </a:pathLst>
            </a:custGeom>
            <a:solidFill>
              <a:schemeClr val="lt1"/>
            </a:solidFill>
            <a:ln w="8202" cap="flat">
              <a:solidFill>
                <a:schemeClr val="accent5"/>
              </a:solidFill>
              <a:prstDash val="solid"/>
              <a:miter/>
            </a:ln>
          </p:spPr>
          <p:txBody>
            <a:bodyPr rtlCol="0" anchor="ctr"/>
            <a:lstStyle/>
            <a:p>
              <a:endParaRPr lang="en-GB"/>
            </a:p>
          </p:txBody>
        </p:sp>
      </p:grpSp>
      <p:grpSp>
        <p:nvGrpSpPr>
          <p:cNvPr id="146" name="Bild 140" descr="Frysbox för kassör kontur">
            <a:extLst>
              <a:ext uri="{FF2B5EF4-FFF2-40B4-BE49-F238E27FC236}">
                <a16:creationId xmlns:a16="http://schemas.microsoft.com/office/drawing/2014/main" id="{7FD52C25-4203-A4C1-6FE4-F53C720B20B3}"/>
              </a:ext>
            </a:extLst>
          </p:cNvPr>
          <p:cNvGrpSpPr/>
          <p:nvPr/>
        </p:nvGrpSpPr>
        <p:grpSpPr>
          <a:xfrm>
            <a:off x="16339831" y="5957727"/>
            <a:ext cx="571911" cy="505852"/>
            <a:chOff x="15636443" y="6959755"/>
            <a:chExt cx="571911" cy="505852"/>
          </a:xfrm>
          <a:solidFill>
            <a:schemeClr val="lt1"/>
          </a:solidFill>
        </p:grpSpPr>
        <p:sp>
          <p:nvSpPr>
            <p:cNvPr id="147" name="Frihandsfigur: Form 146">
              <a:extLst>
                <a:ext uri="{FF2B5EF4-FFF2-40B4-BE49-F238E27FC236}">
                  <a16:creationId xmlns:a16="http://schemas.microsoft.com/office/drawing/2014/main" id="{FEC7DFA2-7679-BB8B-C02D-77BC22B05978}"/>
                </a:ext>
              </a:extLst>
            </p:cNvPr>
            <p:cNvSpPr/>
            <p:nvPr/>
          </p:nvSpPr>
          <p:spPr>
            <a:xfrm>
              <a:off x="15636443" y="7128372"/>
              <a:ext cx="47468" cy="56205"/>
            </a:xfrm>
            <a:custGeom>
              <a:avLst/>
              <a:gdLst>
                <a:gd name="connsiteX0" fmla="*/ 23734 w 47468"/>
                <a:gd name="connsiteY0" fmla="*/ 0 h 56205"/>
                <a:gd name="connsiteX1" fmla="*/ 0 w 47468"/>
                <a:gd name="connsiteY1" fmla="*/ 28103 h 56205"/>
                <a:gd name="connsiteX2" fmla="*/ 23734 w 47468"/>
                <a:gd name="connsiteY2" fmla="*/ 56206 h 56205"/>
                <a:gd name="connsiteX3" fmla="*/ 47469 w 47468"/>
                <a:gd name="connsiteY3" fmla="*/ 28103 h 56205"/>
                <a:gd name="connsiteX4" fmla="*/ 23734 w 47468"/>
                <a:gd name="connsiteY4" fmla="*/ 0 h 56205"/>
                <a:gd name="connsiteX5" fmla="*/ 23734 w 47468"/>
                <a:gd name="connsiteY5" fmla="*/ 30711 h 56205"/>
                <a:gd name="connsiteX6" fmla="*/ 21354 w 47468"/>
                <a:gd name="connsiteY6" fmla="*/ 28103 h 56205"/>
                <a:gd name="connsiteX7" fmla="*/ 23734 w 47468"/>
                <a:gd name="connsiteY7" fmla="*/ 25495 h 56205"/>
                <a:gd name="connsiteX8" fmla="*/ 26114 w 47468"/>
                <a:gd name="connsiteY8" fmla="*/ 28103 h 56205"/>
                <a:gd name="connsiteX9" fmla="*/ 23734 w 47468"/>
                <a:gd name="connsiteY9" fmla="*/ 30711 h 56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468" h="56205">
                  <a:moveTo>
                    <a:pt x="23734" y="0"/>
                  </a:moveTo>
                  <a:cubicBezTo>
                    <a:pt x="20231" y="12344"/>
                    <a:pt x="11584" y="22583"/>
                    <a:pt x="0" y="28103"/>
                  </a:cubicBezTo>
                  <a:cubicBezTo>
                    <a:pt x="11584" y="33623"/>
                    <a:pt x="20231" y="43862"/>
                    <a:pt x="23734" y="56206"/>
                  </a:cubicBezTo>
                  <a:cubicBezTo>
                    <a:pt x="27238" y="43862"/>
                    <a:pt x="35885" y="33623"/>
                    <a:pt x="47469" y="28103"/>
                  </a:cubicBezTo>
                  <a:cubicBezTo>
                    <a:pt x="35885" y="22583"/>
                    <a:pt x="27238" y="12344"/>
                    <a:pt x="23734" y="0"/>
                  </a:cubicBezTo>
                  <a:close/>
                  <a:moveTo>
                    <a:pt x="23734" y="30711"/>
                  </a:moveTo>
                  <a:cubicBezTo>
                    <a:pt x="22965" y="29813"/>
                    <a:pt x="22172" y="28944"/>
                    <a:pt x="21354" y="28103"/>
                  </a:cubicBezTo>
                  <a:cubicBezTo>
                    <a:pt x="22172" y="27262"/>
                    <a:pt x="22965" y="26392"/>
                    <a:pt x="23734" y="25495"/>
                  </a:cubicBezTo>
                  <a:cubicBezTo>
                    <a:pt x="24504" y="26392"/>
                    <a:pt x="25297" y="27262"/>
                    <a:pt x="26114" y="28103"/>
                  </a:cubicBezTo>
                  <a:cubicBezTo>
                    <a:pt x="25297" y="28944"/>
                    <a:pt x="24504" y="29813"/>
                    <a:pt x="23734" y="30711"/>
                  </a:cubicBezTo>
                  <a:close/>
                </a:path>
              </a:pathLst>
            </a:custGeom>
            <a:solidFill>
              <a:schemeClr val="lt1"/>
            </a:solidFill>
            <a:ln w="8202" cap="flat">
              <a:solidFill>
                <a:schemeClr val="accent5"/>
              </a:solidFill>
              <a:prstDash val="solid"/>
              <a:miter/>
            </a:ln>
          </p:spPr>
          <p:txBody>
            <a:bodyPr rtlCol="0" anchor="ctr"/>
            <a:lstStyle/>
            <a:p>
              <a:endParaRPr lang="en-GB"/>
            </a:p>
          </p:txBody>
        </p:sp>
        <p:sp>
          <p:nvSpPr>
            <p:cNvPr id="148" name="Frihandsfigur: Form 147">
              <a:extLst>
                <a:ext uri="{FF2B5EF4-FFF2-40B4-BE49-F238E27FC236}">
                  <a16:creationId xmlns:a16="http://schemas.microsoft.com/office/drawing/2014/main" id="{C42105D3-8FC0-A393-E8CF-92424F0D2541}"/>
                </a:ext>
              </a:extLst>
            </p:cNvPr>
            <p:cNvSpPr/>
            <p:nvPr/>
          </p:nvSpPr>
          <p:spPr>
            <a:xfrm>
              <a:off x="16150338" y="7159598"/>
              <a:ext cx="58016" cy="68696"/>
            </a:xfrm>
            <a:custGeom>
              <a:avLst/>
              <a:gdLst>
                <a:gd name="connsiteX0" fmla="*/ 29008 w 58016"/>
                <a:gd name="connsiteY0" fmla="*/ 0 h 68696"/>
                <a:gd name="connsiteX1" fmla="*/ 0 w 58016"/>
                <a:gd name="connsiteY1" fmla="*/ 34348 h 68696"/>
                <a:gd name="connsiteX2" fmla="*/ 29008 w 58016"/>
                <a:gd name="connsiteY2" fmla="*/ 68696 h 68696"/>
                <a:gd name="connsiteX3" fmla="*/ 58017 w 58016"/>
                <a:gd name="connsiteY3" fmla="*/ 34348 h 68696"/>
                <a:gd name="connsiteX4" fmla="*/ 29008 w 58016"/>
                <a:gd name="connsiteY4" fmla="*/ 0 h 68696"/>
                <a:gd name="connsiteX5" fmla="*/ 29008 w 58016"/>
                <a:gd name="connsiteY5" fmla="*/ 41926 h 68696"/>
                <a:gd name="connsiteX6" fmla="*/ 22148 w 58016"/>
                <a:gd name="connsiteY6" fmla="*/ 34348 h 68696"/>
                <a:gd name="connsiteX7" fmla="*/ 29008 w 58016"/>
                <a:gd name="connsiteY7" fmla="*/ 26769 h 68696"/>
                <a:gd name="connsiteX8" fmla="*/ 35869 w 58016"/>
                <a:gd name="connsiteY8" fmla="*/ 34348 h 68696"/>
                <a:gd name="connsiteX9" fmla="*/ 29008 w 58016"/>
                <a:gd name="connsiteY9" fmla="*/ 41926 h 68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016" h="68696">
                  <a:moveTo>
                    <a:pt x="29008" y="0"/>
                  </a:moveTo>
                  <a:cubicBezTo>
                    <a:pt x="24726" y="15088"/>
                    <a:pt x="14158" y="27601"/>
                    <a:pt x="0" y="34348"/>
                  </a:cubicBezTo>
                  <a:cubicBezTo>
                    <a:pt x="14158" y="41095"/>
                    <a:pt x="24726" y="53609"/>
                    <a:pt x="29008" y="68696"/>
                  </a:cubicBezTo>
                  <a:cubicBezTo>
                    <a:pt x="33290" y="53609"/>
                    <a:pt x="43859" y="41095"/>
                    <a:pt x="58017" y="34348"/>
                  </a:cubicBezTo>
                  <a:cubicBezTo>
                    <a:pt x="43859" y="27601"/>
                    <a:pt x="33290" y="15088"/>
                    <a:pt x="29008" y="0"/>
                  </a:cubicBezTo>
                  <a:close/>
                  <a:moveTo>
                    <a:pt x="29008" y="41926"/>
                  </a:moveTo>
                  <a:cubicBezTo>
                    <a:pt x="26920" y="39227"/>
                    <a:pt x="24627" y="36694"/>
                    <a:pt x="22148" y="34348"/>
                  </a:cubicBezTo>
                  <a:cubicBezTo>
                    <a:pt x="24627" y="32002"/>
                    <a:pt x="26920" y="29469"/>
                    <a:pt x="29008" y="26769"/>
                  </a:cubicBezTo>
                  <a:cubicBezTo>
                    <a:pt x="31096" y="29469"/>
                    <a:pt x="33390" y="32002"/>
                    <a:pt x="35869" y="34348"/>
                  </a:cubicBezTo>
                  <a:cubicBezTo>
                    <a:pt x="33390" y="36694"/>
                    <a:pt x="31096" y="39227"/>
                    <a:pt x="29008" y="41926"/>
                  </a:cubicBezTo>
                  <a:close/>
                </a:path>
              </a:pathLst>
            </a:custGeom>
            <a:solidFill>
              <a:schemeClr val="lt1"/>
            </a:solidFill>
            <a:ln w="8202" cap="flat">
              <a:solidFill>
                <a:schemeClr val="accent5"/>
              </a:solidFill>
              <a:prstDash val="solid"/>
              <a:miter/>
            </a:ln>
          </p:spPr>
          <p:txBody>
            <a:bodyPr rtlCol="0" anchor="ctr"/>
            <a:lstStyle/>
            <a:p>
              <a:endParaRPr lang="en-GB"/>
            </a:p>
          </p:txBody>
        </p:sp>
        <p:sp>
          <p:nvSpPr>
            <p:cNvPr id="149" name="Frihandsfigur: Form 148">
              <a:extLst>
                <a:ext uri="{FF2B5EF4-FFF2-40B4-BE49-F238E27FC236}">
                  <a16:creationId xmlns:a16="http://schemas.microsoft.com/office/drawing/2014/main" id="{84031186-D3F3-852F-4B44-284B6F6A6D7A}"/>
                </a:ext>
              </a:extLst>
            </p:cNvPr>
            <p:cNvSpPr/>
            <p:nvPr/>
          </p:nvSpPr>
          <p:spPr>
            <a:xfrm>
              <a:off x="15943423" y="7103392"/>
              <a:ext cx="42194" cy="49960"/>
            </a:xfrm>
            <a:custGeom>
              <a:avLst/>
              <a:gdLst>
                <a:gd name="connsiteX0" fmla="*/ 21097 w 42194"/>
                <a:gd name="connsiteY0" fmla="*/ 49961 h 49960"/>
                <a:gd name="connsiteX1" fmla="*/ 42194 w 42194"/>
                <a:gd name="connsiteY1" fmla="*/ 24980 h 49960"/>
                <a:gd name="connsiteX2" fmla="*/ 21097 w 42194"/>
                <a:gd name="connsiteY2" fmla="*/ 0 h 49960"/>
                <a:gd name="connsiteX3" fmla="*/ 0 w 42194"/>
                <a:gd name="connsiteY3" fmla="*/ 24980 h 49960"/>
                <a:gd name="connsiteX4" fmla="*/ 21097 w 42194"/>
                <a:gd name="connsiteY4" fmla="*/ 49961 h 499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94" h="49960">
                  <a:moveTo>
                    <a:pt x="21097" y="49961"/>
                  </a:moveTo>
                  <a:cubicBezTo>
                    <a:pt x="24212" y="38988"/>
                    <a:pt x="31898" y="29887"/>
                    <a:pt x="42194" y="24980"/>
                  </a:cubicBezTo>
                  <a:cubicBezTo>
                    <a:pt x="31898" y="20074"/>
                    <a:pt x="24212" y="10973"/>
                    <a:pt x="21097" y="0"/>
                  </a:cubicBezTo>
                  <a:cubicBezTo>
                    <a:pt x="17983" y="10973"/>
                    <a:pt x="10297" y="20074"/>
                    <a:pt x="0" y="24980"/>
                  </a:cubicBezTo>
                  <a:cubicBezTo>
                    <a:pt x="10297" y="29887"/>
                    <a:pt x="17983" y="38988"/>
                    <a:pt x="21097" y="49961"/>
                  </a:cubicBezTo>
                  <a:close/>
                </a:path>
              </a:pathLst>
            </a:custGeom>
            <a:solidFill>
              <a:schemeClr val="lt1"/>
            </a:solidFill>
            <a:ln w="8202" cap="flat">
              <a:solidFill>
                <a:schemeClr val="accent5"/>
              </a:solidFill>
              <a:prstDash val="solid"/>
              <a:miter/>
            </a:ln>
          </p:spPr>
          <p:txBody>
            <a:bodyPr rtlCol="0" anchor="ctr"/>
            <a:lstStyle/>
            <a:p>
              <a:endParaRPr lang="en-GB"/>
            </a:p>
          </p:txBody>
        </p:sp>
        <p:sp>
          <p:nvSpPr>
            <p:cNvPr id="150" name="Frihandsfigur: Form 149">
              <a:extLst>
                <a:ext uri="{FF2B5EF4-FFF2-40B4-BE49-F238E27FC236}">
                  <a16:creationId xmlns:a16="http://schemas.microsoft.com/office/drawing/2014/main" id="{5EBBCDB4-0A94-1FA3-2725-2C3FE21A3E7B}"/>
                </a:ext>
              </a:extLst>
            </p:cNvPr>
            <p:cNvSpPr/>
            <p:nvPr/>
          </p:nvSpPr>
          <p:spPr>
            <a:xfrm>
              <a:off x="15803250" y="6959755"/>
              <a:ext cx="52742" cy="62450"/>
            </a:xfrm>
            <a:custGeom>
              <a:avLst/>
              <a:gdLst>
                <a:gd name="connsiteX0" fmla="*/ 26371 w 52742"/>
                <a:gd name="connsiteY0" fmla="*/ 62451 h 62450"/>
                <a:gd name="connsiteX1" fmla="*/ 52742 w 52742"/>
                <a:gd name="connsiteY1" fmla="*/ 31225 h 62450"/>
                <a:gd name="connsiteX2" fmla="*/ 26371 w 52742"/>
                <a:gd name="connsiteY2" fmla="*/ 0 h 62450"/>
                <a:gd name="connsiteX3" fmla="*/ 0 w 52742"/>
                <a:gd name="connsiteY3" fmla="*/ 31225 h 62450"/>
                <a:gd name="connsiteX4" fmla="*/ 26371 w 52742"/>
                <a:gd name="connsiteY4" fmla="*/ 62451 h 62450"/>
                <a:gd name="connsiteX5" fmla="*/ 26371 w 52742"/>
                <a:gd name="connsiteY5" fmla="*/ 26162 h 62450"/>
                <a:gd name="connsiteX6" fmla="*/ 30972 w 52742"/>
                <a:gd name="connsiteY6" fmla="*/ 31225 h 62450"/>
                <a:gd name="connsiteX7" fmla="*/ 26371 w 52742"/>
                <a:gd name="connsiteY7" fmla="*/ 36289 h 62450"/>
                <a:gd name="connsiteX8" fmla="*/ 21770 w 52742"/>
                <a:gd name="connsiteY8" fmla="*/ 31225 h 62450"/>
                <a:gd name="connsiteX9" fmla="*/ 26371 w 52742"/>
                <a:gd name="connsiteY9" fmla="*/ 26162 h 62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742" h="62450">
                  <a:moveTo>
                    <a:pt x="26371" y="62451"/>
                  </a:moveTo>
                  <a:cubicBezTo>
                    <a:pt x="30264" y="48735"/>
                    <a:pt x="39872" y="37359"/>
                    <a:pt x="52742" y="31225"/>
                  </a:cubicBezTo>
                  <a:cubicBezTo>
                    <a:pt x="39872" y="25092"/>
                    <a:pt x="30264" y="13716"/>
                    <a:pt x="26371" y="0"/>
                  </a:cubicBezTo>
                  <a:cubicBezTo>
                    <a:pt x="22478" y="13716"/>
                    <a:pt x="12871" y="25092"/>
                    <a:pt x="0" y="31225"/>
                  </a:cubicBezTo>
                  <a:cubicBezTo>
                    <a:pt x="12871" y="37359"/>
                    <a:pt x="22479" y="48735"/>
                    <a:pt x="26371" y="62451"/>
                  </a:cubicBezTo>
                  <a:close/>
                  <a:moveTo>
                    <a:pt x="26371" y="26162"/>
                  </a:moveTo>
                  <a:cubicBezTo>
                    <a:pt x="27809" y="27934"/>
                    <a:pt x="29346" y="29625"/>
                    <a:pt x="30972" y="31225"/>
                  </a:cubicBezTo>
                  <a:cubicBezTo>
                    <a:pt x="29346" y="32826"/>
                    <a:pt x="27809" y="34517"/>
                    <a:pt x="26371" y="36289"/>
                  </a:cubicBezTo>
                  <a:cubicBezTo>
                    <a:pt x="24933" y="34517"/>
                    <a:pt x="23397" y="32826"/>
                    <a:pt x="21770" y="31225"/>
                  </a:cubicBezTo>
                  <a:cubicBezTo>
                    <a:pt x="23397" y="29625"/>
                    <a:pt x="24933" y="27934"/>
                    <a:pt x="26371" y="26162"/>
                  </a:cubicBezTo>
                  <a:close/>
                </a:path>
              </a:pathLst>
            </a:custGeom>
            <a:solidFill>
              <a:schemeClr val="lt1"/>
            </a:solidFill>
            <a:ln w="8202" cap="flat">
              <a:solidFill>
                <a:schemeClr val="accent5"/>
              </a:solidFill>
              <a:prstDash val="solid"/>
              <a:miter/>
            </a:ln>
          </p:spPr>
          <p:txBody>
            <a:bodyPr rtlCol="0" anchor="ctr"/>
            <a:lstStyle/>
            <a:p>
              <a:endParaRPr lang="en-GB"/>
            </a:p>
          </p:txBody>
        </p:sp>
        <p:sp>
          <p:nvSpPr>
            <p:cNvPr id="151" name="Frihandsfigur: Form 150">
              <a:extLst>
                <a:ext uri="{FF2B5EF4-FFF2-40B4-BE49-F238E27FC236}">
                  <a16:creationId xmlns:a16="http://schemas.microsoft.com/office/drawing/2014/main" id="{36308BEA-F035-05D3-B877-B20A54DCFEF9}"/>
                </a:ext>
              </a:extLst>
            </p:cNvPr>
            <p:cNvSpPr/>
            <p:nvPr/>
          </p:nvSpPr>
          <p:spPr>
            <a:xfrm>
              <a:off x="15681142" y="7028451"/>
              <a:ext cx="474627" cy="437156"/>
            </a:xfrm>
            <a:custGeom>
              <a:avLst/>
              <a:gdLst>
                <a:gd name="connsiteX0" fmla="*/ 467897 w 474627"/>
                <a:gd name="connsiteY0" fmla="*/ 67371 h 437156"/>
                <a:gd name="connsiteX1" fmla="*/ 468370 w 474627"/>
                <a:gd name="connsiteY1" fmla="*/ 66268 h 437156"/>
                <a:gd name="connsiteX2" fmla="*/ 468370 w 474627"/>
                <a:gd name="connsiteY2" fmla="*/ 46809 h 437156"/>
                <a:gd name="connsiteX3" fmla="*/ 462208 w 474627"/>
                <a:gd name="connsiteY3" fmla="*/ 31405 h 437156"/>
                <a:gd name="connsiteX4" fmla="*/ 415821 w 474627"/>
                <a:gd name="connsiteY4" fmla="*/ 0 h 437156"/>
                <a:gd name="connsiteX5" fmla="*/ 58805 w 474627"/>
                <a:gd name="connsiteY5" fmla="*/ 0 h 437156"/>
                <a:gd name="connsiteX6" fmla="*/ 12418 w 474627"/>
                <a:gd name="connsiteY6" fmla="*/ 31405 h 437156"/>
                <a:gd name="connsiteX7" fmla="*/ 6233 w 474627"/>
                <a:gd name="connsiteY7" fmla="*/ 46868 h 437156"/>
                <a:gd name="connsiteX8" fmla="*/ 6233 w 474627"/>
                <a:gd name="connsiteY8" fmla="*/ 63762 h 437156"/>
                <a:gd name="connsiteX9" fmla="*/ 7780 w 474627"/>
                <a:gd name="connsiteY9" fmla="*/ 67371 h 437156"/>
                <a:gd name="connsiteX10" fmla="*/ 43608 w 474627"/>
                <a:gd name="connsiteY10" fmla="*/ 150968 h 437156"/>
                <a:gd name="connsiteX11" fmla="*/ 0 w 474627"/>
                <a:gd name="connsiteY11" fmla="*/ 235801 h 437156"/>
                <a:gd name="connsiteX12" fmla="*/ 0 w 474627"/>
                <a:gd name="connsiteY12" fmla="*/ 437157 h 437156"/>
                <a:gd name="connsiteX13" fmla="*/ 474627 w 474627"/>
                <a:gd name="connsiteY13" fmla="*/ 437157 h 437156"/>
                <a:gd name="connsiteX14" fmla="*/ 474627 w 474627"/>
                <a:gd name="connsiteY14" fmla="*/ 235801 h 437156"/>
                <a:gd name="connsiteX15" fmla="*/ 431582 w 474627"/>
                <a:gd name="connsiteY15" fmla="*/ 152106 h 437156"/>
                <a:gd name="connsiteX16" fmla="*/ 24014 w 474627"/>
                <a:gd name="connsiteY16" fmla="*/ 36044 h 437156"/>
                <a:gd name="connsiteX17" fmla="*/ 58805 w 474627"/>
                <a:gd name="connsiteY17" fmla="*/ 12490 h 437156"/>
                <a:gd name="connsiteX18" fmla="*/ 415821 w 474627"/>
                <a:gd name="connsiteY18" fmla="*/ 12490 h 437156"/>
                <a:gd name="connsiteX19" fmla="*/ 450612 w 474627"/>
                <a:gd name="connsiteY19" fmla="*/ 36044 h 437156"/>
                <a:gd name="connsiteX20" fmla="*/ 456178 w 474627"/>
                <a:gd name="connsiteY20" fmla="*/ 49961 h 437156"/>
                <a:gd name="connsiteX21" fmla="*/ 18448 w 474627"/>
                <a:gd name="connsiteY21" fmla="*/ 49961 h 437156"/>
                <a:gd name="connsiteX22" fmla="*/ 19259 w 474627"/>
                <a:gd name="connsiteY22" fmla="*/ 62452 h 437156"/>
                <a:gd name="connsiteX23" fmla="*/ 456416 w 474627"/>
                <a:gd name="connsiteY23" fmla="*/ 62452 h 437156"/>
                <a:gd name="connsiteX24" fmla="*/ 418945 w 474627"/>
                <a:gd name="connsiteY24" fmla="*/ 149883 h 437156"/>
                <a:gd name="connsiteX25" fmla="*/ 346521 w 474627"/>
                <a:gd name="connsiteY25" fmla="*/ 149883 h 437156"/>
                <a:gd name="connsiteX26" fmla="*/ 319724 w 474627"/>
                <a:gd name="connsiteY26" fmla="*/ 138586 h 437156"/>
                <a:gd name="connsiteX27" fmla="*/ 280232 w 474627"/>
                <a:gd name="connsiteY27" fmla="*/ 134641 h 437156"/>
                <a:gd name="connsiteX28" fmla="*/ 240076 w 474627"/>
                <a:gd name="connsiteY28" fmla="*/ 132918 h 437156"/>
                <a:gd name="connsiteX29" fmla="*/ 224718 w 474627"/>
                <a:gd name="connsiteY29" fmla="*/ 136031 h 437156"/>
                <a:gd name="connsiteX30" fmla="*/ 218954 w 474627"/>
                <a:gd name="connsiteY30" fmla="*/ 125853 h 437156"/>
                <a:gd name="connsiteX31" fmla="*/ 167581 w 474627"/>
                <a:gd name="connsiteY31" fmla="*/ 131547 h 437156"/>
                <a:gd name="connsiteX32" fmla="*/ 140282 w 474627"/>
                <a:gd name="connsiteY32" fmla="*/ 152776 h 437156"/>
                <a:gd name="connsiteX33" fmla="*/ 96078 w 474627"/>
                <a:gd name="connsiteY33" fmla="*/ 149883 h 437156"/>
                <a:gd name="connsiteX34" fmla="*/ 56730 w 474627"/>
                <a:gd name="connsiteY34" fmla="*/ 149883 h 437156"/>
                <a:gd name="connsiteX35" fmla="*/ 386914 w 474627"/>
                <a:gd name="connsiteY35" fmla="*/ 195259 h 437156"/>
                <a:gd name="connsiteX36" fmla="*/ 423016 w 474627"/>
                <a:gd name="connsiteY36" fmla="*/ 201811 h 437156"/>
                <a:gd name="connsiteX37" fmla="*/ 386902 w 474627"/>
                <a:gd name="connsiteY37" fmla="*/ 215696 h 437156"/>
                <a:gd name="connsiteX38" fmla="*/ 376283 w 474627"/>
                <a:gd name="connsiteY38" fmla="*/ 216305 h 437156"/>
                <a:gd name="connsiteX39" fmla="*/ 386914 w 474627"/>
                <a:gd name="connsiteY39" fmla="*/ 195259 h 437156"/>
                <a:gd name="connsiteX40" fmla="*/ 424423 w 474627"/>
                <a:gd name="connsiteY40" fmla="*/ 215722 h 437156"/>
                <a:gd name="connsiteX41" fmla="*/ 424724 w 474627"/>
                <a:gd name="connsiteY41" fmla="*/ 218692 h 437156"/>
                <a:gd name="connsiteX42" fmla="*/ 399239 w 474627"/>
                <a:gd name="connsiteY42" fmla="*/ 231068 h 437156"/>
                <a:gd name="connsiteX43" fmla="*/ 356995 w 474627"/>
                <a:gd name="connsiteY43" fmla="*/ 231068 h 437156"/>
                <a:gd name="connsiteX44" fmla="*/ 356211 w 474627"/>
                <a:gd name="connsiteY44" fmla="*/ 230845 h 437156"/>
                <a:gd name="connsiteX45" fmla="*/ 363753 w 474627"/>
                <a:gd name="connsiteY45" fmla="*/ 226105 h 437156"/>
                <a:gd name="connsiteX46" fmla="*/ 387927 w 474627"/>
                <a:gd name="connsiteY46" fmla="*/ 225825 h 437156"/>
                <a:gd name="connsiteX47" fmla="*/ 424423 w 474627"/>
                <a:gd name="connsiteY47" fmla="*/ 215722 h 437156"/>
                <a:gd name="connsiteX48" fmla="*/ 349103 w 474627"/>
                <a:gd name="connsiteY48" fmla="*/ 223196 h 437156"/>
                <a:gd name="connsiteX49" fmla="*/ 332415 w 474627"/>
                <a:gd name="connsiteY49" fmla="*/ 231068 h 437156"/>
                <a:gd name="connsiteX50" fmla="*/ 310663 w 474627"/>
                <a:gd name="connsiteY50" fmla="*/ 231068 h 437156"/>
                <a:gd name="connsiteX51" fmla="*/ 310135 w 474627"/>
                <a:gd name="connsiteY51" fmla="*/ 230134 h 437156"/>
                <a:gd name="connsiteX52" fmla="*/ 345759 w 474627"/>
                <a:gd name="connsiteY52" fmla="*/ 217291 h 437156"/>
                <a:gd name="connsiteX53" fmla="*/ 375098 w 474627"/>
                <a:gd name="connsiteY53" fmla="*/ 193347 h 437156"/>
                <a:gd name="connsiteX54" fmla="*/ 376569 w 474627"/>
                <a:gd name="connsiteY54" fmla="*/ 195944 h 437156"/>
                <a:gd name="connsiteX55" fmla="*/ 349103 w 474627"/>
                <a:gd name="connsiteY55" fmla="*/ 223196 h 437156"/>
                <a:gd name="connsiteX56" fmla="*/ 121715 w 474627"/>
                <a:gd name="connsiteY56" fmla="*/ 228406 h 437156"/>
                <a:gd name="connsiteX57" fmla="*/ 110553 w 474627"/>
                <a:gd name="connsiteY57" fmla="*/ 231068 h 437156"/>
                <a:gd name="connsiteX58" fmla="*/ 68315 w 474627"/>
                <a:gd name="connsiteY58" fmla="*/ 231068 h 437156"/>
                <a:gd name="connsiteX59" fmla="*/ 61878 w 474627"/>
                <a:gd name="connsiteY59" fmla="*/ 226206 h 437156"/>
                <a:gd name="connsiteX60" fmla="*/ 61577 w 474627"/>
                <a:gd name="connsiteY60" fmla="*/ 223236 h 437156"/>
                <a:gd name="connsiteX61" fmla="*/ 99358 w 474627"/>
                <a:gd name="connsiteY61" fmla="*/ 225825 h 437156"/>
                <a:gd name="connsiteX62" fmla="*/ 122404 w 474627"/>
                <a:gd name="connsiteY62" fmla="*/ 221507 h 437156"/>
                <a:gd name="connsiteX63" fmla="*/ 121715 w 474627"/>
                <a:gd name="connsiteY63" fmla="*/ 228406 h 437156"/>
                <a:gd name="connsiteX64" fmla="*/ 98333 w 474627"/>
                <a:gd name="connsiteY64" fmla="*/ 215696 h 437156"/>
                <a:gd name="connsiteX65" fmla="*/ 60170 w 474627"/>
                <a:gd name="connsiteY65" fmla="*/ 209325 h 437156"/>
                <a:gd name="connsiteX66" fmla="*/ 96284 w 474627"/>
                <a:gd name="connsiteY66" fmla="*/ 195439 h 437156"/>
                <a:gd name="connsiteX67" fmla="*/ 97548 w 474627"/>
                <a:gd name="connsiteY67" fmla="*/ 195337 h 437156"/>
                <a:gd name="connsiteX68" fmla="*/ 122748 w 474627"/>
                <a:gd name="connsiteY68" fmla="*/ 207767 h 437156"/>
                <a:gd name="connsiteX69" fmla="*/ 126605 w 474627"/>
                <a:gd name="connsiteY69" fmla="*/ 209117 h 437156"/>
                <a:gd name="connsiteX70" fmla="*/ 98333 w 474627"/>
                <a:gd name="connsiteY70" fmla="*/ 215696 h 437156"/>
                <a:gd name="connsiteX71" fmla="*/ 126250 w 474627"/>
                <a:gd name="connsiteY71" fmla="*/ 198208 h 437156"/>
                <a:gd name="connsiteX72" fmla="*/ 94702 w 474627"/>
                <a:gd name="connsiteY72" fmla="*/ 175807 h 437156"/>
                <a:gd name="connsiteX73" fmla="*/ 95730 w 474627"/>
                <a:gd name="connsiteY73" fmla="*/ 173005 h 437156"/>
                <a:gd name="connsiteX74" fmla="*/ 128585 w 474627"/>
                <a:gd name="connsiteY74" fmla="*/ 191835 h 437156"/>
                <a:gd name="connsiteX75" fmla="*/ 146210 w 474627"/>
                <a:gd name="connsiteY75" fmla="*/ 197032 h 437156"/>
                <a:gd name="connsiteX76" fmla="*/ 138997 w 474627"/>
                <a:gd name="connsiteY76" fmla="*/ 202136 h 437156"/>
                <a:gd name="connsiteX77" fmla="*/ 126250 w 474627"/>
                <a:gd name="connsiteY77" fmla="*/ 198208 h 437156"/>
                <a:gd name="connsiteX78" fmla="*/ 136274 w 474627"/>
                <a:gd name="connsiteY78" fmla="*/ 172674 h 437156"/>
                <a:gd name="connsiteX79" fmla="*/ 143795 w 474627"/>
                <a:gd name="connsiteY79" fmla="*/ 185955 h 437156"/>
                <a:gd name="connsiteX80" fmla="*/ 132087 w 474627"/>
                <a:gd name="connsiteY80" fmla="*/ 182276 h 437156"/>
                <a:gd name="connsiteX81" fmla="*/ 100540 w 474627"/>
                <a:gd name="connsiteY81" fmla="*/ 159876 h 437156"/>
                <a:gd name="connsiteX82" fmla="*/ 135225 w 474627"/>
                <a:gd name="connsiteY82" fmla="*/ 161810 h 437156"/>
                <a:gd name="connsiteX83" fmla="*/ 136274 w 474627"/>
                <a:gd name="connsiteY83" fmla="*/ 172674 h 437156"/>
                <a:gd name="connsiteX84" fmla="*/ 208602 w 474627"/>
                <a:gd name="connsiteY84" fmla="*/ 175299 h 437156"/>
                <a:gd name="connsiteX85" fmla="*/ 208166 w 474627"/>
                <a:gd name="connsiteY85" fmla="*/ 172346 h 437156"/>
                <a:gd name="connsiteX86" fmla="*/ 246025 w 474627"/>
                <a:gd name="connsiteY86" fmla="*/ 173203 h 437156"/>
                <a:gd name="connsiteX87" fmla="*/ 282022 w 474627"/>
                <a:gd name="connsiteY87" fmla="*/ 161440 h 437156"/>
                <a:gd name="connsiteX88" fmla="*/ 282457 w 474627"/>
                <a:gd name="connsiteY88" fmla="*/ 164393 h 437156"/>
                <a:gd name="connsiteX89" fmla="*/ 247017 w 474627"/>
                <a:gd name="connsiteY89" fmla="*/ 179917 h 437156"/>
                <a:gd name="connsiteX90" fmla="*/ 208602 w 474627"/>
                <a:gd name="connsiteY90" fmla="*/ 175299 h 437156"/>
                <a:gd name="connsiteX91" fmla="*/ 247590 w 474627"/>
                <a:gd name="connsiteY91" fmla="*/ 205209 h 437156"/>
                <a:gd name="connsiteX92" fmla="*/ 209269 w 474627"/>
                <a:gd name="connsiteY92" fmla="*/ 210546 h 437156"/>
                <a:gd name="connsiteX93" fmla="*/ 173543 w 474627"/>
                <a:gd name="connsiteY93" fmla="*/ 195690 h 437156"/>
                <a:gd name="connsiteX94" fmla="*/ 211865 w 474627"/>
                <a:gd name="connsiteY94" fmla="*/ 190352 h 437156"/>
                <a:gd name="connsiteX95" fmla="*/ 247590 w 474627"/>
                <a:gd name="connsiteY95" fmla="*/ 205209 h 437156"/>
                <a:gd name="connsiteX96" fmla="*/ 244539 w 474627"/>
                <a:gd name="connsiteY96" fmla="*/ 163132 h 437156"/>
                <a:gd name="connsiteX97" fmla="*/ 206124 w 474627"/>
                <a:gd name="connsiteY97" fmla="*/ 158514 h 437156"/>
                <a:gd name="connsiteX98" fmla="*/ 241564 w 474627"/>
                <a:gd name="connsiteY98" fmla="*/ 142989 h 437156"/>
                <a:gd name="connsiteX99" fmla="*/ 279979 w 474627"/>
                <a:gd name="connsiteY99" fmla="*/ 147607 h 437156"/>
                <a:gd name="connsiteX100" fmla="*/ 244539 w 474627"/>
                <a:gd name="connsiteY100" fmla="*/ 163132 h 437156"/>
                <a:gd name="connsiteX101" fmla="*/ 182630 w 474627"/>
                <a:gd name="connsiteY101" fmla="*/ 158122 h 437156"/>
                <a:gd name="connsiteX102" fmla="*/ 145132 w 474627"/>
                <a:gd name="connsiteY102" fmla="*/ 167657 h 437156"/>
                <a:gd name="connsiteX103" fmla="*/ 172598 w 474627"/>
                <a:gd name="connsiteY103" fmla="*/ 140405 h 437156"/>
                <a:gd name="connsiteX104" fmla="*/ 210096 w 474627"/>
                <a:gd name="connsiteY104" fmla="*/ 130870 h 437156"/>
                <a:gd name="connsiteX105" fmla="*/ 182630 w 474627"/>
                <a:gd name="connsiteY105" fmla="*/ 158122 h 437156"/>
                <a:gd name="connsiteX106" fmla="*/ 159579 w 474627"/>
                <a:gd name="connsiteY106" fmla="*/ 200804 h 437156"/>
                <a:gd name="connsiteX107" fmla="*/ 162844 w 474627"/>
                <a:gd name="connsiteY107" fmla="*/ 199076 h 437156"/>
                <a:gd name="connsiteX108" fmla="*/ 161283 w 474627"/>
                <a:gd name="connsiteY108" fmla="*/ 211221 h 437156"/>
                <a:gd name="connsiteX109" fmla="*/ 164196 w 474627"/>
                <a:gd name="connsiteY109" fmla="*/ 221394 h 437156"/>
                <a:gd name="connsiteX110" fmla="*/ 132114 w 474627"/>
                <a:gd name="connsiteY110" fmla="*/ 228056 h 437156"/>
                <a:gd name="connsiteX111" fmla="*/ 159579 w 474627"/>
                <a:gd name="connsiteY111" fmla="*/ 200804 h 437156"/>
                <a:gd name="connsiteX112" fmla="*/ 153493 w 474627"/>
                <a:gd name="connsiteY112" fmla="*/ 182422 h 437156"/>
                <a:gd name="connsiteX113" fmla="*/ 152022 w 474627"/>
                <a:gd name="connsiteY113" fmla="*/ 179825 h 437156"/>
                <a:gd name="connsiteX114" fmla="*/ 187647 w 474627"/>
                <a:gd name="connsiteY114" fmla="*/ 166981 h 437156"/>
                <a:gd name="connsiteX115" fmla="*/ 196299 w 474627"/>
                <a:gd name="connsiteY115" fmla="*/ 161672 h 437156"/>
                <a:gd name="connsiteX116" fmla="*/ 197374 w 474627"/>
                <a:gd name="connsiteY116" fmla="*/ 168952 h 437156"/>
                <a:gd name="connsiteX117" fmla="*/ 190991 w 474627"/>
                <a:gd name="connsiteY117" fmla="*/ 172887 h 437156"/>
                <a:gd name="connsiteX118" fmla="*/ 153493 w 474627"/>
                <a:gd name="connsiteY118" fmla="*/ 182422 h 437156"/>
                <a:gd name="connsiteX119" fmla="*/ 171760 w 474627"/>
                <a:gd name="connsiteY119" fmla="*/ 209558 h 437156"/>
                <a:gd name="connsiteX120" fmla="*/ 207970 w 474627"/>
                <a:gd name="connsiteY120" fmla="*/ 220644 h 437156"/>
                <a:gd name="connsiteX121" fmla="*/ 245807 w 474627"/>
                <a:gd name="connsiteY121" fmla="*/ 219077 h 437156"/>
                <a:gd name="connsiteX122" fmla="*/ 245427 w 474627"/>
                <a:gd name="connsiteY122" fmla="*/ 222037 h 437156"/>
                <a:gd name="connsiteX123" fmla="*/ 207105 w 474627"/>
                <a:gd name="connsiteY123" fmla="*/ 227376 h 437156"/>
                <a:gd name="connsiteX124" fmla="*/ 171380 w 474627"/>
                <a:gd name="connsiteY124" fmla="*/ 212519 h 437156"/>
                <a:gd name="connsiteX125" fmla="*/ 206087 w 474627"/>
                <a:gd name="connsiteY125" fmla="*/ 243559 h 437156"/>
                <a:gd name="connsiteX126" fmla="*/ 268538 w 474627"/>
                <a:gd name="connsiteY126" fmla="*/ 243559 h 437156"/>
                <a:gd name="connsiteX127" fmla="*/ 268538 w 474627"/>
                <a:gd name="connsiteY127" fmla="*/ 306010 h 437156"/>
                <a:gd name="connsiteX128" fmla="*/ 237313 w 474627"/>
                <a:gd name="connsiteY128" fmla="*/ 337235 h 437156"/>
                <a:gd name="connsiteX129" fmla="*/ 206087 w 474627"/>
                <a:gd name="connsiteY129" fmla="*/ 306010 h 437156"/>
                <a:gd name="connsiteX130" fmla="*/ 265948 w 474627"/>
                <a:gd name="connsiteY130" fmla="*/ 223231 h 437156"/>
                <a:gd name="connsiteX131" fmla="*/ 255758 w 474627"/>
                <a:gd name="connsiteY131" fmla="*/ 221517 h 437156"/>
                <a:gd name="connsiteX132" fmla="*/ 256622 w 474627"/>
                <a:gd name="connsiteY132" fmla="*/ 214801 h 437156"/>
                <a:gd name="connsiteX133" fmla="*/ 266814 w 474627"/>
                <a:gd name="connsiteY133" fmla="*/ 216500 h 437156"/>
                <a:gd name="connsiteX134" fmla="*/ 304650 w 474627"/>
                <a:gd name="connsiteY134" fmla="*/ 214933 h 437156"/>
                <a:gd name="connsiteX135" fmla="*/ 304269 w 474627"/>
                <a:gd name="connsiteY135" fmla="*/ 217893 h 437156"/>
                <a:gd name="connsiteX136" fmla="*/ 265948 w 474627"/>
                <a:gd name="connsiteY136" fmla="*/ 223231 h 437156"/>
                <a:gd name="connsiteX137" fmla="*/ 268111 w 474627"/>
                <a:gd name="connsiteY137" fmla="*/ 206403 h 437156"/>
                <a:gd name="connsiteX138" fmla="*/ 257711 w 474627"/>
                <a:gd name="connsiteY138" fmla="*/ 204635 h 437156"/>
                <a:gd name="connsiteX139" fmla="*/ 247419 w 474627"/>
                <a:gd name="connsiteY139" fmla="*/ 190138 h 437156"/>
                <a:gd name="connsiteX140" fmla="*/ 248505 w 474627"/>
                <a:gd name="connsiteY140" fmla="*/ 189988 h 437156"/>
                <a:gd name="connsiteX141" fmla="*/ 267523 w 474627"/>
                <a:gd name="connsiteY141" fmla="*/ 185843 h 437156"/>
                <a:gd name="connsiteX142" fmla="*/ 270707 w 474627"/>
                <a:gd name="connsiteY142" fmla="*/ 186208 h 437156"/>
                <a:gd name="connsiteX143" fmla="*/ 306433 w 474627"/>
                <a:gd name="connsiteY143" fmla="*/ 201065 h 437156"/>
                <a:gd name="connsiteX144" fmla="*/ 268111 w 474627"/>
                <a:gd name="connsiteY144" fmla="*/ 206403 h 437156"/>
                <a:gd name="connsiteX145" fmla="*/ 306334 w 474627"/>
                <a:gd name="connsiteY145" fmla="*/ 184168 h 437156"/>
                <a:gd name="connsiteX146" fmla="*/ 286657 w 474627"/>
                <a:gd name="connsiteY146" fmla="*/ 176533 h 437156"/>
                <a:gd name="connsiteX147" fmla="*/ 290975 w 474627"/>
                <a:gd name="connsiteY147" fmla="*/ 171343 h 437156"/>
                <a:gd name="connsiteX148" fmla="*/ 308247 w 474627"/>
                <a:gd name="connsiteY148" fmla="*/ 177657 h 437156"/>
                <a:gd name="connsiteX149" fmla="*/ 345859 w 474627"/>
                <a:gd name="connsiteY149" fmla="*/ 182058 h 437156"/>
                <a:gd name="connsiteX150" fmla="*/ 345018 w 474627"/>
                <a:gd name="connsiteY150" fmla="*/ 184921 h 437156"/>
                <a:gd name="connsiteX151" fmla="*/ 306334 w 474627"/>
                <a:gd name="connsiteY151" fmla="*/ 184168 h 437156"/>
                <a:gd name="connsiteX152" fmla="*/ 289423 w 474627"/>
                <a:gd name="connsiteY152" fmla="*/ 143779 h 437156"/>
                <a:gd name="connsiteX153" fmla="*/ 316855 w 474627"/>
                <a:gd name="connsiteY153" fmla="*/ 148353 h 437156"/>
                <a:gd name="connsiteX154" fmla="*/ 349800 w 474627"/>
                <a:gd name="connsiteY154" fmla="*/ 168642 h 437156"/>
                <a:gd name="connsiteX155" fmla="*/ 311116 w 474627"/>
                <a:gd name="connsiteY155" fmla="*/ 167889 h 437156"/>
                <a:gd name="connsiteX156" fmla="*/ 292190 w 474627"/>
                <a:gd name="connsiteY156" fmla="*/ 160608 h 437156"/>
                <a:gd name="connsiteX157" fmla="*/ 290050 w 474627"/>
                <a:gd name="connsiteY157" fmla="*/ 146121 h 437156"/>
                <a:gd name="connsiteX158" fmla="*/ 289423 w 474627"/>
                <a:gd name="connsiteY158" fmla="*/ 143778 h 437156"/>
                <a:gd name="connsiteX159" fmla="*/ 340743 w 474627"/>
                <a:gd name="connsiteY159" fmla="*/ 208432 h 437156"/>
                <a:gd name="connsiteX160" fmla="*/ 314345 w 474627"/>
                <a:gd name="connsiteY160" fmla="*/ 219281 h 437156"/>
                <a:gd name="connsiteX161" fmla="*/ 314367 w 474627"/>
                <a:gd name="connsiteY161" fmla="*/ 219191 h 437156"/>
                <a:gd name="connsiteX162" fmla="*/ 316530 w 474627"/>
                <a:gd name="connsiteY162" fmla="*/ 202363 h 437156"/>
                <a:gd name="connsiteX163" fmla="*/ 316561 w 474627"/>
                <a:gd name="connsiteY163" fmla="*/ 200010 h 437156"/>
                <a:gd name="connsiteX164" fmla="*/ 319669 w 474627"/>
                <a:gd name="connsiteY164" fmla="*/ 197715 h 437156"/>
                <a:gd name="connsiteX165" fmla="*/ 354786 w 474627"/>
                <a:gd name="connsiteY165" fmla="*/ 187791 h 437156"/>
                <a:gd name="connsiteX166" fmla="*/ 357100 w 474627"/>
                <a:gd name="connsiteY166" fmla="*/ 179914 h 437156"/>
                <a:gd name="connsiteX167" fmla="*/ 368208 w 474627"/>
                <a:gd name="connsiteY167" fmla="*/ 181180 h 437156"/>
                <a:gd name="connsiteX168" fmla="*/ 340743 w 474627"/>
                <a:gd name="connsiteY168" fmla="*/ 208432 h 437156"/>
                <a:gd name="connsiteX169" fmla="*/ 51785 w 474627"/>
                <a:gd name="connsiteY169" fmla="*/ 162373 h 437156"/>
                <a:gd name="connsiteX170" fmla="*/ 88783 w 474627"/>
                <a:gd name="connsiteY170" fmla="*/ 162373 h 437156"/>
                <a:gd name="connsiteX171" fmla="*/ 85144 w 474627"/>
                <a:gd name="connsiteY171" fmla="*/ 172305 h 437156"/>
                <a:gd name="connsiteX172" fmla="*/ 87730 w 474627"/>
                <a:gd name="connsiteY172" fmla="*/ 186269 h 437156"/>
                <a:gd name="connsiteX173" fmla="*/ 50041 w 474627"/>
                <a:gd name="connsiteY173" fmla="*/ 210350 h 437156"/>
                <a:gd name="connsiteX174" fmla="*/ 51749 w 474627"/>
                <a:gd name="connsiteY174" fmla="*/ 227231 h 437156"/>
                <a:gd name="connsiteX175" fmla="*/ 52777 w 474627"/>
                <a:gd name="connsiteY175" fmla="*/ 231068 h 437156"/>
                <a:gd name="connsiteX176" fmla="*/ 16477 w 474627"/>
                <a:gd name="connsiteY176" fmla="*/ 231068 h 437156"/>
                <a:gd name="connsiteX177" fmla="*/ 12490 w 474627"/>
                <a:gd name="connsiteY177" fmla="*/ 424666 h 437156"/>
                <a:gd name="connsiteX178" fmla="*/ 12490 w 474627"/>
                <a:gd name="connsiteY178" fmla="*/ 368777 h 437156"/>
                <a:gd name="connsiteX179" fmla="*/ 68379 w 474627"/>
                <a:gd name="connsiteY179" fmla="*/ 424666 h 437156"/>
                <a:gd name="connsiteX180" fmla="*/ 462137 w 474627"/>
                <a:gd name="connsiteY180" fmla="*/ 424666 h 437156"/>
                <a:gd name="connsiteX181" fmla="*/ 406247 w 474627"/>
                <a:gd name="connsiteY181" fmla="*/ 424666 h 437156"/>
                <a:gd name="connsiteX182" fmla="*/ 462137 w 474627"/>
                <a:gd name="connsiteY182" fmla="*/ 368777 h 437156"/>
                <a:gd name="connsiteX183" fmla="*/ 462137 w 474627"/>
                <a:gd name="connsiteY183" fmla="*/ 356287 h 437156"/>
                <a:gd name="connsiteX184" fmla="*/ 393757 w 474627"/>
                <a:gd name="connsiteY184" fmla="*/ 424666 h 437156"/>
                <a:gd name="connsiteX185" fmla="*/ 80870 w 474627"/>
                <a:gd name="connsiteY185" fmla="*/ 424666 h 437156"/>
                <a:gd name="connsiteX186" fmla="*/ 12490 w 474627"/>
                <a:gd name="connsiteY186" fmla="*/ 356287 h 437156"/>
                <a:gd name="connsiteX187" fmla="*/ 12490 w 474627"/>
                <a:gd name="connsiteY187" fmla="*/ 243559 h 437156"/>
                <a:gd name="connsiteX188" fmla="*/ 193597 w 474627"/>
                <a:gd name="connsiteY188" fmla="*/ 243559 h 437156"/>
                <a:gd name="connsiteX189" fmla="*/ 193597 w 474627"/>
                <a:gd name="connsiteY189" fmla="*/ 306010 h 437156"/>
                <a:gd name="connsiteX190" fmla="*/ 237313 w 474627"/>
                <a:gd name="connsiteY190" fmla="*/ 349725 h 437156"/>
                <a:gd name="connsiteX191" fmla="*/ 281029 w 474627"/>
                <a:gd name="connsiteY191" fmla="*/ 306010 h 437156"/>
                <a:gd name="connsiteX192" fmla="*/ 281029 w 474627"/>
                <a:gd name="connsiteY192" fmla="*/ 243559 h 437156"/>
                <a:gd name="connsiteX193" fmla="*/ 462137 w 474627"/>
                <a:gd name="connsiteY193" fmla="*/ 243559 h 437156"/>
                <a:gd name="connsiteX194" fmla="*/ 458147 w 474627"/>
                <a:gd name="connsiteY194" fmla="*/ 231068 h 437156"/>
                <a:gd name="connsiteX195" fmla="*/ 428199 w 474627"/>
                <a:gd name="connsiteY195" fmla="*/ 231068 h 437156"/>
                <a:gd name="connsiteX196" fmla="*/ 434853 w 474627"/>
                <a:gd name="connsiteY196" fmla="*/ 217667 h 437156"/>
                <a:gd name="connsiteX197" fmla="*/ 433145 w 474627"/>
                <a:gd name="connsiteY197" fmla="*/ 200786 h 437156"/>
                <a:gd name="connsiteX198" fmla="*/ 383828 w 474627"/>
                <a:gd name="connsiteY198" fmla="*/ 185311 h 437156"/>
                <a:gd name="connsiteX199" fmla="*/ 382347 w 474627"/>
                <a:gd name="connsiteY199" fmla="*/ 185488 h 437156"/>
                <a:gd name="connsiteX200" fmla="*/ 377066 w 474627"/>
                <a:gd name="connsiteY200" fmla="*/ 176163 h 437156"/>
                <a:gd name="connsiteX201" fmla="*/ 359972 w 474627"/>
                <a:gd name="connsiteY201" fmla="*/ 169166 h 437156"/>
                <a:gd name="connsiteX202" fmla="*/ 358746 w 474627"/>
                <a:gd name="connsiteY202" fmla="*/ 162081 h 437156"/>
                <a:gd name="connsiteX203" fmla="*/ 359380 w 474627"/>
                <a:gd name="connsiteY203" fmla="*/ 162373 h 437156"/>
                <a:gd name="connsiteX204" fmla="*/ 422817 w 474627"/>
                <a:gd name="connsiteY204" fmla="*/ 162373 h 437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Lst>
              <a:rect l="l" t="t" r="r" b="b"/>
              <a:pathLst>
                <a:path w="474627" h="437156">
                  <a:moveTo>
                    <a:pt x="467897" y="67371"/>
                  </a:moveTo>
                  <a:lnTo>
                    <a:pt x="468370" y="66268"/>
                  </a:lnTo>
                  <a:lnTo>
                    <a:pt x="468370" y="46809"/>
                  </a:lnTo>
                  <a:lnTo>
                    <a:pt x="462208" y="31405"/>
                  </a:lnTo>
                  <a:cubicBezTo>
                    <a:pt x="454621" y="12438"/>
                    <a:pt x="436250" y="0"/>
                    <a:pt x="415821" y="0"/>
                  </a:cubicBezTo>
                  <a:lnTo>
                    <a:pt x="58805" y="0"/>
                  </a:lnTo>
                  <a:cubicBezTo>
                    <a:pt x="38376" y="0"/>
                    <a:pt x="20005" y="12438"/>
                    <a:pt x="12418" y="31405"/>
                  </a:cubicBezTo>
                  <a:lnTo>
                    <a:pt x="6233" y="46868"/>
                  </a:lnTo>
                  <a:lnTo>
                    <a:pt x="6233" y="63762"/>
                  </a:lnTo>
                  <a:lnTo>
                    <a:pt x="7780" y="67371"/>
                  </a:lnTo>
                  <a:lnTo>
                    <a:pt x="43608" y="150968"/>
                  </a:lnTo>
                  <a:lnTo>
                    <a:pt x="0" y="235801"/>
                  </a:lnTo>
                  <a:lnTo>
                    <a:pt x="0" y="437157"/>
                  </a:lnTo>
                  <a:lnTo>
                    <a:pt x="474627" y="437157"/>
                  </a:lnTo>
                  <a:lnTo>
                    <a:pt x="474627" y="235801"/>
                  </a:lnTo>
                  <a:lnTo>
                    <a:pt x="431582" y="152106"/>
                  </a:lnTo>
                  <a:close/>
                  <a:moveTo>
                    <a:pt x="24014" y="36044"/>
                  </a:moveTo>
                  <a:cubicBezTo>
                    <a:pt x="29664" y="21785"/>
                    <a:pt x="43468" y="12440"/>
                    <a:pt x="58805" y="12490"/>
                  </a:cubicBezTo>
                  <a:lnTo>
                    <a:pt x="415821" y="12490"/>
                  </a:lnTo>
                  <a:cubicBezTo>
                    <a:pt x="431158" y="12440"/>
                    <a:pt x="444962" y="21785"/>
                    <a:pt x="450612" y="36044"/>
                  </a:cubicBezTo>
                  <a:lnTo>
                    <a:pt x="456178" y="49961"/>
                  </a:lnTo>
                  <a:lnTo>
                    <a:pt x="18448" y="49961"/>
                  </a:lnTo>
                  <a:close/>
                  <a:moveTo>
                    <a:pt x="19259" y="62452"/>
                  </a:moveTo>
                  <a:lnTo>
                    <a:pt x="456416" y="62452"/>
                  </a:lnTo>
                  <a:lnTo>
                    <a:pt x="418945" y="149883"/>
                  </a:lnTo>
                  <a:lnTo>
                    <a:pt x="346521" y="149883"/>
                  </a:lnTo>
                  <a:cubicBezTo>
                    <a:pt x="338096" y="145012"/>
                    <a:pt x="329093" y="141216"/>
                    <a:pt x="319724" y="138586"/>
                  </a:cubicBezTo>
                  <a:cubicBezTo>
                    <a:pt x="310391" y="135844"/>
                    <a:pt x="292410" y="131554"/>
                    <a:pt x="280232" y="134641"/>
                  </a:cubicBezTo>
                  <a:cubicBezTo>
                    <a:pt x="268626" y="129663"/>
                    <a:pt x="249826" y="131479"/>
                    <a:pt x="240076" y="132918"/>
                  </a:cubicBezTo>
                  <a:cubicBezTo>
                    <a:pt x="234905" y="133680"/>
                    <a:pt x="229778" y="134719"/>
                    <a:pt x="224718" y="136031"/>
                  </a:cubicBezTo>
                  <a:lnTo>
                    <a:pt x="218954" y="125853"/>
                  </a:lnTo>
                  <a:cubicBezTo>
                    <a:pt x="209899" y="109862"/>
                    <a:pt x="180011" y="124508"/>
                    <a:pt x="167581" y="131547"/>
                  </a:cubicBezTo>
                  <a:cubicBezTo>
                    <a:pt x="157345" y="137027"/>
                    <a:pt x="148114" y="144205"/>
                    <a:pt x="140282" y="152776"/>
                  </a:cubicBezTo>
                  <a:cubicBezTo>
                    <a:pt x="128377" y="148623"/>
                    <a:pt x="106690" y="142693"/>
                    <a:pt x="96078" y="149883"/>
                  </a:cubicBezTo>
                  <a:lnTo>
                    <a:pt x="56730" y="149883"/>
                  </a:lnTo>
                  <a:close/>
                  <a:moveTo>
                    <a:pt x="386914" y="195259"/>
                  </a:moveTo>
                  <a:cubicBezTo>
                    <a:pt x="406491" y="193575"/>
                    <a:pt x="422469" y="196406"/>
                    <a:pt x="423016" y="201811"/>
                  </a:cubicBezTo>
                  <a:cubicBezTo>
                    <a:pt x="423582" y="207405"/>
                    <a:pt x="407413" y="213622"/>
                    <a:pt x="386902" y="215696"/>
                  </a:cubicBezTo>
                  <a:cubicBezTo>
                    <a:pt x="383205" y="216070"/>
                    <a:pt x="379677" y="216240"/>
                    <a:pt x="376283" y="216305"/>
                  </a:cubicBezTo>
                  <a:cubicBezTo>
                    <a:pt x="383153" y="209870"/>
                    <a:pt x="388186" y="202481"/>
                    <a:pt x="386914" y="195259"/>
                  </a:cubicBezTo>
                  <a:close/>
                  <a:moveTo>
                    <a:pt x="424423" y="215722"/>
                  </a:moveTo>
                  <a:lnTo>
                    <a:pt x="424724" y="218692"/>
                  </a:lnTo>
                  <a:cubicBezTo>
                    <a:pt x="425187" y="223273"/>
                    <a:pt x="414418" y="228269"/>
                    <a:pt x="399239" y="231068"/>
                  </a:cubicBezTo>
                  <a:lnTo>
                    <a:pt x="356995" y="231068"/>
                  </a:lnTo>
                  <a:cubicBezTo>
                    <a:pt x="356744" y="230991"/>
                    <a:pt x="356451" y="230926"/>
                    <a:pt x="356211" y="230845"/>
                  </a:cubicBezTo>
                  <a:cubicBezTo>
                    <a:pt x="358468" y="229522"/>
                    <a:pt x="361049" y="227918"/>
                    <a:pt x="363753" y="226105"/>
                  </a:cubicBezTo>
                  <a:cubicBezTo>
                    <a:pt x="371802" y="226772"/>
                    <a:pt x="379896" y="226679"/>
                    <a:pt x="387927" y="225825"/>
                  </a:cubicBezTo>
                  <a:cubicBezTo>
                    <a:pt x="400656" y="224991"/>
                    <a:pt x="413078" y="221552"/>
                    <a:pt x="424423" y="215722"/>
                  </a:cubicBezTo>
                  <a:close/>
                  <a:moveTo>
                    <a:pt x="349103" y="223196"/>
                  </a:moveTo>
                  <a:cubicBezTo>
                    <a:pt x="343750" y="226244"/>
                    <a:pt x="338171" y="228875"/>
                    <a:pt x="332415" y="231068"/>
                  </a:cubicBezTo>
                  <a:lnTo>
                    <a:pt x="310663" y="231068"/>
                  </a:lnTo>
                  <a:lnTo>
                    <a:pt x="310135" y="230134"/>
                  </a:lnTo>
                  <a:cubicBezTo>
                    <a:pt x="322763" y="228336"/>
                    <a:pt x="334888" y="223965"/>
                    <a:pt x="345759" y="217291"/>
                  </a:cubicBezTo>
                  <a:cubicBezTo>
                    <a:pt x="357075" y="211402"/>
                    <a:pt x="367060" y="203252"/>
                    <a:pt x="375098" y="193347"/>
                  </a:cubicBezTo>
                  <a:lnTo>
                    <a:pt x="376569" y="195944"/>
                  </a:lnTo>
                  <a:cubicBezTo>
                    <a:pt x="379339" y="200837"/>
                    <a:pt x="367042" y="213038"/>
                    <a:pt x="349103" y="223196"/>
                  </a:cubicBezTo>
                  <a:close/>
                  <a:moveTo>
                    <a:pt x="121715" y="228406"/>
                  </a:moveTo>
                  <a:cubicBezTo>
                    <a:pt x="118048" y="229505"/>
                    <a:pt x="114321" y="230394"/>
                    <a:pt x="110553" y="231068"/>
                  </a:cubicBezTo>
                  <a:lnTo>
                    <a:pt x="68315" y="231068"/>
                  </a:lnTo>
                  <a:cubicBezTo>
                    <a:pt x="64447" y="229868"/>
                    <a:pt x="62081" y="228218"/>
                    <a:pt x="61878" y="226206"/>
                  </a:cubicBezTo>
                  <a:lnTo>
                    <a:pt x="61577" y="223236"/>
                  </a:lnTo>
                  <a:cubicBezTo>
                    <a:pt x="73861" y="226676"/>
                    <a:pt x="86720" y="227557"/>
                    <a:pt x="99358" y="225825"/>
                  </a:cubicBezTo>
                  <a:cubicBezTo>
                    <a:pt x="107155" y="225082"/>
                    <a:pt x="114868" y="223637"/>
                    <a:pt x="122404" y="221507"/>
                  </a:cubicBezTo>
                  <a:cubicBezTo>
                    <a:pt x="121621" y="223717"/>
                    <a:pt x="121385" y="226084"/>
                    <a:pt x="121715" y="228406"/>
                  </a:cubicBezTo>
                  <a:close/>
                  <a:moveTo>
                    <a:pt x="98333" y="215696"/>
                  </a:moveTo>
                  <a:cubicBezTo>
                    <a:pt x="77823" y="217771"/>
                    <a:pt x="60736" y="214919"/>
                    <a:pt x="60170" y="209325"/>
                  </a:cubicBezTo>
                  <a:cubicBezTo>
                    <a:pt x="59604" y="203731"/>
                    <a:pt x="75773" y="197514"/>
                    <a:pt x="96284" y="195439"/>
                  </a:cubicBezTo>
                  <a:cubicBezTo>
                    <a:pt x="96713" y="195395"/>
                    <a:pt x="97122" y="195375"/>
                    <a:pt x="97548" y="195337"/>
                  </a:cubicBezTo>
                  <a:cubicBezTo>
                    <a:pt x="105430" y="200455"/>
                    <a:pt x="113889" y="204627"/>
                    <a:pt x="122748" y="207767"/>
                  </a:cubicBezTo>
                  <a:cubicBezTo>
                    <a:pt x="123902" y="208190"/>
                    <a:pt x="125204" y="208647"/>
                    <a:pt x="126605" y="209117"/>
                  </a:cubicBezTo>
                  <a:cubicBezTo>
                    <a:pt x="117560" y="212702"/>
                    <a:pt x="108031" y="214919"/>
                    <a:pt x="98333" y="215696"/>
                  </a:cubicBezTo>
                  <a:close/>
                  <a:moveTo>
                    <a:pt x="126250" y="198208"/>
                  </a:moveTo>
                  <a:cubicBezTo>
                    <a:pt x="106894" y="191115"/>
                    <a:pt x="92769" y="181087"/>
                    <a:pt x="94702" y="175807"/>
                  </a:cubicBezTo>
                  <a:lnTo>
                    <a:pt x="95730" y="173005"/>
                  </a:lnTo>
                  <a:cubicBezTo>
                    <a:pt x="105277" y="181464"/>
                    <a:pt x="116460" y="187873"/>
                    <a:pt x="128585" y="191835"/>
                  </a:cubicBezTo>
                  <a:cubicBezTo>
                    <a:pt x="134340" y="193950"/>
                    <a:pt x="140228" y="195686"/>
                    <a:pt x="146210" y="197032"/>
                  </a:cubicBezTo>
                  <a:cubicBezTo>
                    <a:pt x="143866" y="198567"/>
                    <a:pt x="141416" y="200290"/>
                    <a:pt x="138997" y="202136"/>
                  </a:cubicBezTo>
                  <a:cubicBezTo>
                    <a:pt x="134683" y="201049"/>
                    <a:pt x="130428" y="199737"/>
                    <a:pt x="126250" y="198208"/>
                  </a:cubicBezTo>
                  <a:close/>
                  <a:moveTo>
                    <a:pt x="136274" y="172674"/>
                  </a:moveTo>
                  <a:lnTo>
                    <a:pt x="143795" y="185955"/>
                  </a:lnTo>
                  <a:cubicBezTo>
                    <a:pt x="140059" y="184975"/>
                    <a:pt x="136126" y="183756"/>
                    <a:pt x="132087" y="182276"/>
                  </a:cubicBezTo>
                  <a:cubicBezTo>
                    <a:pt x="112730" y="175184"/>
                    <a:pt x="98606" y="165155"/>
                    <a:pt x="100540" y="159876"/>
                  </a:cubicBezTo>
                  <a:cubicBezTo>
                    <a:pt x="102344" y="154951"/>
                    <a:pt x="117486" y="155904"/>
                    <a:pt x="135225" y="161810"/>
                  </a:cubicBezTo>
                  <a:cubicBezTo>
                    <a:pt x="134022" y="165416"/>
                    <a:pt x="134403" y="169364"/>
                    <a:pt x="136274" y="172674"/>
                  </a:cubicBezTo>
                  <a:close/>
                  <a:moveTo>
                    <a:pt x="208602" y="175299"/>
                  </a:moveTo>
                  <a:lnTo>
                    <a:pt x="208166" y="172346"/>
                  </a:lnTo>
                  <a:cubicBezTo>
                    <a:pt x="220594" y="175220"/>
                    <a:pt x="233480" y="175512"/>
                    <a:pt x="246025" y="173203"/>
                  </a:cubicBezTo>
                  <a:cubicBezTo>
                    <a:pt x="258703" y="171787"/>
                    <a:pt x="270954" y="167783"/>
                    <a:pt x="282022" y="161440"/>
                  </a:cubicBezTo>
                  <a:lnTo>
                    <a:pt x="282457" y="164393"/>
                  </a:lnTo>
                  <a:cubicBezTo>
                    <a:pt x="283279" y="169955"/>
                    <a:pt x="267411" y="176905"/>
                    <a:pt x="247017" y="179917"/>
                  </a:cubicBezTo>
                  <a:cubicBezTo>
                    <a:pt x="226623" y="182929"/>
                    <a:pt x="209424" y="180861"/>
                    <a:pt x="208602" y="175299"/>
                  </a:cubicBezTo>
                  <a:close/>
                  <a:moveTo>
                    <a:pt x="247590" y="205209"/>
                  </a:moveTo>
                  <a:cubicBezTo>
                    <a:pt x="246874" y="210785"/>
                    <a:pt x="229716" y="213175"/>
                    <a:pt x="209269" y="210546"/>
                  </a:cubicBezTo>
                  <a:cubicBezTo>
                    <a:pt x="188821" y="207918"/>
                    <a:pt x="172826" y="201266"/>
                    <a:pt x="173543" y="195690"/>
                  </a:cubicBezTo>
                  <a:cubicBezTo>
                    <a:pt x="174259" y="190114"/>
                    <a:pt x="191417" y="187724"/>
                    <a:pt x="211865" y="190352"/>
                  </a:cubicBezTo>
                  <a:cubicBezTo>
                    <a:pt x="232313" y="192981"/>
                    <a:pt x="248307" y="199632"/>
                    <a:pt x="247590" y="205209"/>
                  </a:cubicBezTo>
                  <a:close/>
                  <a:moveTo>
                    <a:pt x="244539" y="163132"/>
                  </a:moveTo>
                  <a:cubicBezTo>
                    <a:pt x="224144" y="166143"/>
                    <a:pt x="206945" y="164075"/>
                    <a:pt x="206124" y="158514"/>
                  </a:cubicBezTo>
                  <a:cubicBezTo>
                    <a:pt x="205302" y="152952"/>
                    <a:pt x="221169" y="146001"/>
                    <a:pt x="241564" y="142989"/>
                  </a:cubicBezTo>
                  <a:cubicBezTo>
                    <a:pt x="261959" y="139978"/>
                    <a:pt x="279158" y="142045"/>
                    <a:pt x="279979" y="147607"/>
                  </a:cubicBezTo>
                  <a:cubicBezTo>
                    <a:pt x="280800" y="153170"/>
                    <a:pt x="264933" y="160120"/>
                    <a:pt x="244539" y="163132"/>
                  </a:cubicBezTo>
                  <a:close/>
                  <a:moveTo>
                    <a:pt x="182630" y="158122"/>
                  </a:moveTo>
                  <a:cubicBezTo>
                    <a:pt x="164692" y="168280"/>
                    <a:pt x="147903" y="172549"/>
                    <a:pt x="145132" y="167657"/>
                  </a:cubicBezTo>
                  <a:cubicBezTo>
                    <a:pt x="142361" y="162765"/>
                    <a:pt x="154659" y="150564"/>
                    <a:pt x="172598" y="140405"/>
                  </a:cubicBezTo>
                  <a:cubicBezTo>
                    <a:pt x="190537" y="130246"/>
                    <a:pt x="207325" y="125977"/>
                    <a:pt x="210096" y="130870"/>
                  </a:cubicBezTo>
                  <a:cubicBezTo>
                    <a:pt x="212866" y="135763"/>
                    <a:pt x="200569" y="147964"/>
                    <a:pt x="182630" y="158122"/>
                  </a:cubicBezTo>
                  <a:close/>
                  <a:moveTo>
                    <a:pt x="159579" y="200804"/>
                  </a:moveTo>
                  <a:cubicBezTo>
                    <a:pt x="160681" y="200179"/>
                    <a:pt x="161754" y="199654"/>
                    <a:pt x="162844" y="199076"/>
                  </a:cubicBezTo>
                  <a:lnTo>
                    <a:pt x="161283" y="211221"/>
                  </a:lnTo>
                  <a:cubicBezTo>
                    <a:pt x="160813" y="214869"/>
                    <a:pt x="161867" y="218548"/>
                    <a:pt x="164196" y="221394"/>
                  </a:cubicBezTo>
                  <a:cubicBezTo>
                    <a:pt x="148414" y="229410"/>
                    <a:pt x="134602" y="232451"/>
                    <a:pt x="132114" y="228056"/>
                  </a:cubicBezTo>
                  <a:cubicBezTo>
                    <a:pt x="129343" y="223163"/>
                    <a:pt x="141640" y="210962"/>
                    <a:pt x="159579" y="200804"/>
                  </a:cubicBezTo>
                  <a:close/>
                  <a:moveTo>
                    <a:pt x="153493" y="182422"/>
                  </a:moveTo>
                  <a:lnTo>
                    <a:pt x="152022" y="179825"/>
                  </a:lnTo>
                  <a:cubicBezTo>
                    <a:pt x="164651" y="178027"/>
                    <a:pt x="176776" y="173655"/>
                    <a:pt x="187647" y="166981"/>
                  </a:cubicBezTo>
                  <a:cubicBezTo>
                    <a:pt x="190066" y="165611"/>
                    <a:pt x="193094" y="163783"/>
                    <a:pt x="196299" y="161672"/>
                  </a:cubicBezTo>
                  <a:lnTo>
                    <a:pt x="197374" y="168952"/>
                  </a:lnTo>
                  <a:cubicBezTo>
                    <a:pt x="195328" y="170279"/>
                    <a:pt x="193254" y="171605"/>
                    <a:pt x="190991" y="172887"/>
                  </a:cubicBezTo>
                  <a:cubicBezTo>
                    <a:pt x="173052" y="183045"/>
                    <a:pt x="156263" y="187314"/>
                    <a:pt x="153493" y="182422"/>
                  </a:cubicBezTo>
                  <a:close/>
                  <a:moveTo>
                    <a:pt x="171760" y="209558"/>
                  </a:moveTo>
                  <a:cubicBezTo>
                    <a:pt x="182944" y="215693"/>
                    <a:pt x="195269" y="219466"/>
                    <a:pt x="207970" y="220644"/>
                  </a:cubicBezTo>
                  <a:cubicBezTo>
                    <a:pt x="220557" y="222717"/>
                    <a:pt x="233435" y="222184"/>
                    <a:pt x="245807" y="219077"/>
                  </a:cubicBezTo>
                  <a:lnTo>
                    <a:pt x="245427" y="222037"/>
                  </a:lnTo>
                  <a:cubicBezTo>
                    <a:pt x="244710" y="227614"/>
                    <a:pt x="227553" y="230004"/>
                    <a:pt x="207105" y="227376"/>
                  </a:cubicBezTo>
                  <a:cubicBezTo>
                    <a:pt x="186658" y="224748"/>
                    <a:pt x="170663" y="218096"/>
                    <a:pt x="171380" y="212519"/>
                  </a:cubicBezTo>
                  <a:close/>
                  <a:moveTo>
                    <a:pt x="206087" y="243559"/>
                  </a:moveTo>
                  <a:lnTo>
                    <a:pt x="268538" y="243559"/>
                  </a:lnTo>
                  <a:lnTo>
                    <a:pt x="268538" y="306010"/>
                  </a:lnTo>
                  <a:cubicBezTo>
                    <a:pt x="268538" y="323255"/>
                    <a:pt x="254559" y="337235"/>
                    <a:pt x="237313" y="337235"/>
                  </a:cubicBezTo>
                  <a:cubicBezTo>
                    <a:pt x="220068" y="337235"/>
                    <a:pt x="206087" y="323255"/>
                    <a:pt x="206087" y="306010"/>
                  </a:cubicBezTo>
                  <a:close/>
                  <a:moveTo>
                    <a:pt x="265948" y="223231"/>
                  </a:moveTo>
                  <a:cubicBezTo>
                    <a:pt x="262390" y="222774"/>
                    <a:pt x="258975" y="222192"/>
                    <a:pt x="255758" y="221517"/>
                  </a:cubicBezTo>
                  <a:lnTo>
                    <a:pt x="256622" y="214801"/>
                  </a:lnTo>
                  <a:cubicBezTo>
                    <a:pt x="260456" y="215572"/>
                    <a:pt x="264012" y="216140"/>
                    <a:pt x="266814" y="216500"/>
                  </a:cubicBezTo>
                  <a:cubicBezTo>
                    <a:pt x="279400" y="218573"/>
                    <a:pt x="292279" y="218040"/>
                    <a:pt x="304650" y="214933"/>
                  </a:cubicBezTo>
                  <a:lnTo>
                    <a:pt x="304269" y="217893"/>
                  </a:lnTo>
                  <a:cubicBezTo>
                    <a:pt x="303553" y="223470"/>
                    <a:pt x="286396" y="225860"/>
                    <a:pt x="265948" y="223231"/>
                  </a:cubicBezTo>
                  <a:close/>
                  <a:moveTo>
                    <a:pt x="268111" y="206403"/>
                  </a:moveTo>
                  <a:cubicBezTo>
                    <a:pt x="264473" y="205935"/>
                    <a:pt x="260997" y="205329"/>
                    <a:pt x="257711" y="204635"/>
                  </a:cubicBezTo>
                  <a:cubicBezTo>
                    <a:pt x="257172" y="198290"/>
                    <a:pt x="253231" y="192739"/>
                    <a:pt x="247419" y="190138"/>
                  </a:cubicBezTo>
                  <a:cubicBezTo>
                    <a:pt x="247775" y="190088"/>
                    <a:pt x="248169" y="190038"/>
                    <a:pt x="248505" y="189988"/>
                  </a:cubicBezTo>
                  <a:cubicBezTo>
                    <a:pt x="254933" y="189053"/>
                    <a:pt x="261288" y="187668"/>
                    <a:pt x="267523" y="185843"/>
                  </a:cubicBezTo>
                  <a:cubicBezTo>
                    <a:pt x="268576" y="185954"/>
                    <a:pt x="269634" y="186070"/>
                    <a:pt x="270707" y="186208"/>
                  </a:cubicBezTo>
                  <a:cubicBezTo>
                    <a:pt x="291154" y="188836"/>
                    <a:pt x="307149" y="195488"/>
                    <a:pt x="306433" y="201065"/>
                  </a:cubicBezTo>
                  <a:cubicBezTo>
                    <a:pt x="305716" y="206641"/>
                    <a:pt x="288558" y="209031"/>
                    <a:pt x="268111" y="206403"/>
                  </a:cubicBezTo>
                  <a:close/>
                  <a:moveTo>
                    <a:pt x="306334" y="184168"/>
                  </a:moveTo>
                  <a:cubicBezTo>
                    <a:pt x="299558" y="182222"/>
                    <a:pt x="292972" y="179666"/>
                    <a:pt x="286657" y="176533"/>
                  </a:cubicBezTo>
                  <a:cubicBezTo>
                    <a:pt x="288397" y="175077"/>
                    <a:pt x="289859" y="173318"/>
                    <a:pt x="290975" y="171343"/>
                  </a:cubicBezTo>
                  <a:cubicBezTo>
                    <a:pt x="296587" y="173824"/>
                    <a:pt x="302357" y="175933"/>
                    <a:pt x="308247" y="177657"/>
                  </a:cubicBezTo>
                  <a:cubicBezTo>
                    <a:pt x="320351" y="181682"/>
                    <a:pt x="333153" y="183180"/>
                    <a:pt x="345859" y="182058"/>
                  </a:cubicBezTo>
                  <a:lnTo>
                    <a:pt x="345018" y="184921"/>
                  </a:lnTo>
                  <a:cubicBezTo>
                    <a:pt x="343433" y="190315"/>
                    <a:pt x="326114" y="189978"/>
                    <a:pt x="306334" y="184168"/>
                  </a:cubicBezTo>
                  <a:close/>
                  <a:moveTo>
                    <a:pt x="289423" y="143779"/>
                  </a:moveTo>
                  <a:cubicBezTo>
                    <a:pt x="298734" y="144032"/>
                    <a:pt x="307965" y="145572"/>
                    <a:pt x="316855" y="148353"/>
                  </a:cubicBezTo>
                  <a:cubicBezTo>
                    <a:pt x="336634" y="154164"/>
                    <a:pt x="351385" y="163247"/>
                    <a:pt x="349800" y="168642"/>
                  </a:cubicBezTo>
                  <a:cubicBezTo>
                    <a:pt x="348215" y="174036"/>
                    <a:pt x="330896" y="173699"/>
                    <a:pt x="311116" y="167889"/>
                  </a:cubicBezTo>
                  <a:cubicBezTo>
                    <a:pt x="304609" y="166011"/>
                    <a:pt x="298277" y="163576"/>
                    <a:pt x="292190" y="160608"/>
                  </a:cubicBezTo>
                  <a:lnTo>
                    <a:pt x="290050" y="146121"/>
                  </a:lnTo>
                  <a:cubicBezTo>
                    <a:pt x="289910" y="145323"/>
                    <a:pt x="289701" y="144539"/>
                    <a:pt x="289423" y="143778"/>
                  </a:cubicBezTo>
                  <a:close/>
                  <a:moveTo>
                    <a:pt x="340743" y="208432"/>
                  </a:moveTo>
                  <a:cubicBezTo>
                    <a:pt x="332515" y="213307"/>
                    <a:pt x="323623" y="216961"/>
                    <a:pt x="314345" y="219281"/>
                  </a:cubicBezTo>
                  <a:lnTo>
                    <a:pt x="314367" y="219191"/>
                  </a:lnTo>
                  <a:lnTo>
                    <a:pt x="316530" y="202363"/>
                  </a:lnTo>
                  <a:cubicBezTo>
                    <a:pt x="316608" y="201581"/>
                    <a:pt x="316618" y="200794"/>
                    <a:pt x="316561" y="200010"/>
                  </a:cubicBezTo>
                  <a:cubicBezTo>
                    <a:pt x="317556" y="199247"/>
                    <a:pt x="318588" y="198482"/>
                    <a:pt x="319669" y="197715"/>
                  </a:cubicBezTo>
                  <a:cubicBezTo>
                    <a:pt x="334222" y="200171"/>
                    <a:pt x="351164" y="200120"/>
                    <a:pt x="354786" y="187791"/>
                  </a:cubicBezTo>
                  <a:lnTo>
                    <a:pt x="357100" y="179914"/>
                  </a:lnTo>
                  <a:cubicBezTo>
                    <a:pt x="362846" y="178691"/>
                    <a:pt x="366964" y="178984"/>
                    <a:pt x="368208" y="181180"/>
                  </a:cubicBezTo>
                  <a:cubicBezTo>
                    <a:pt x="370979" y="186072"/>
                    <a:pt x="358681" y="198274"/>
                    <a:pt x="340743" y="208432"/>
                  </a:cubicBezTo>
                  <a:close/>
                  <a:moveTo>
                    <a:pt x="51785" y="162373"/>
                  </a:moveTo>
                  <a:lnTo>
                    <a:pt x="88783" y="162373"/>
                  </a:lnTo>
                  <a:lnTo>
                    <a:pt x="85144" y="172305"/>
                  </a:lnTo>
                  <a:cubicBezTo>
                    <a:pt x="83493" y="177091"/>
                    <a:pt x="84475" y="182392"/>
                    <a:pt x="87730" y="186269"/>
                  </a:cubicBezTo>
                  <a:cubicBezTo>
                    <a:pt x="71917" y="188657"/>
                    <a:pt x="48469" y="194817"/>
                    <a:pt x="50041" y="210350"/>
                  </a:cubicBezTo>
                  <a:lnTo>
                    <a:pt x="51749" y="227231"/>
                  </a:lnTo>
                  <a:cubicBezTo>
                    <a:pt x="51897" y="228555"/>
                    <a:pt x="52243" y="229848"/>
                    <a:pt x="52777" y="231068"/>
                  </a:cubicBezTo>
                  <a:lnTo>
                    <a:pt x="16477" y="231068"/>
                  </a:lnTo>
                  <a:close/>
                  <a:moveTo>
                    <a:pt x="12490" y="424666"/>
                  </a:moveTo>
                  <a:lnTo>
                    <a:pt x="12490" y="368777"/>
                  </a:lnTo>
                  <a:cubicBezTo>
                    <a:pt x="42021" y="371787"/>
                    <a:pt x="65370" y="395136"/>
                    <a:pt x="68379" y="424666"/>
                  </a:cubicBezTo>
                  <a:close/>
                  <a:moveTo>
                    <a:pt x="462137" y="424666"/>
                  </a:moveTo>
                  <a:lnTo>
                    <a:pt x="406247" y="424666"/>
                  </a:lnTo>
                  <a:cubicBezTo>
                    <a:pt x="409257" y="395136"/>
                    <a:pt x="432606" y="371787"/>
                    <a:pt x="462137" y="368777"/>
                  </a:cubicBezTo>
                  <a:close/>
                  <a:moveTo>
                    <a:pt x="462137" y="356287"/>
                  </a:moveTo>
                  <a:cubicBezTo>
                    <a:pt x="425727" y="359375"/>
                    <a:pt x="396846" y="388257"/>
                    <a:pt x="393757" y="424666"/>
                  </a:cubicBezTo>
                  <a:lnTo>
                    <a:pt x="80870" y="424666"/>
                  </a:lnTo>
                  <a:cubicBezTo>
                    <a:pt x="77781" y="388257"/>
                    <a:pt x="48899" y="359375"/>
                    <a:pt x="12490" y="356287"/>
                  </a:cubicBezTo>
                  <a:lnTo>
                    <a:pt x="12490" y="243559"/>
                  </a:lnTo>
                  <a:lnTo>
                    <a:pt x="193597" y="243559"/>
                  </a:lnTo>
                  <a:lnTo>
                    <a:pt x="193597" y="306010"/>
                  </a:lnTo>
                  <a:cubicBezTo>
                    <a:pt x="193597" y="330153"/>
                    <a:pt x="213170" y="349725"/>
                    <a:pt x="237313" y="349725"/>
                  </a:cubicBezTo>
                  <a:cubicBezTo>
                    <a:pt x="261456" y="349725"/>
                    <a:pt x="281029" y="330153"/>
                    <a:pt x="281029" y="306010"/>
                  </a:cubicBezTo>
                  <a:lnTo>
                    <a:pt x="281029" y="243559"/>
                  </a:lnTo>
                  <a:lnTo>
                    <a:pt x="462137" y="243559"/>
                  </a:lnTo>
                  <a:close/>
                  <a:moveTo>
                    <a:pt x="458147" y="231068"/>
                  </a:moveTo>
                  <a:lnTo>
                    <a:pt x="428199" y="231068"/>
                  </a:lnTo>
                  <a:cubicBezTo>
                    <a:pt x="432698" y="228152"/>
                    <a:pt x="435249" y="223015"/>
                    <a:pt x="434853" y="217667"/>
                  </a:cubicBezTo>
                  <a:lnTo>
                    <a:pt x="433145" y="200786"/>
                  </a:lnTo>
                  <a:cubicBezTo>
                    <a:pt x="431296" y="182502"/>
                    <a:pt x="398040" y="183872"/>
                    <a:pt x="383828" y="185311"/>
                  </a:cubicBezTo>
                  <a:cubicBezTo>
                    <a:pt x="383391" y="185355"/>
                    <a:pt x="382818" y="185436"/>
                    <a:pt x="382347" y="185488"/>
                  </a:cubicBezTo>
                  <a:lnTo>
                    <a:pt x="377066" y="176163"/>
                  </a:lnTo>
                  <a:cubicBezTo>
                    <a:pt x="373366" y="170517"/>
                    <a:pt x="366569" y="167734"/>
                    <a:pt x="359972" y="169166"/>
                  </a:cubicBezTo>
                  <a:cubicBezTo>
                    <a:pt x="360224" y="166737"/>
                    <a:pt x="359800" y="164285"/>
                    <a:pt x="358746" y="162081"/>
                  </a:cubicBezTo>
                  <a:lnTo>
                    <a:pt x="359380" y="162373"/>
                  </a:lnTo>
                  <a:lnTo>
                    <a:pt x="422817" y="162373"/>
                  </a:lnTo>
                  <a:close/>
                </a:path>
              </a:pathLst>
            </a:custGeom>
            <a:solidFill>
              <a:schemeClr val="lt1"/>
            </a:solidFill>
            <a:ln w="8202" cap="flat">
              <a:solidFill>
                <a:schemeClr val="accent5"/>
              </a:solidFill>
              <a:prstDash val="solid"/>
              <a:miter/>
            </a:ln>
          </p:spPr>
          <p:txBody>
            <a:bodyPr rtlCol="0" anchor="ctr"/>
            <a:lstStyle/>
            <a:p>
              <a:endParaRPr lang="en-GB"/>
            </a:p>
          </p:txBody>
        </p:sp>
        <p:sp>
          <p:nvSpPr>
            <p:cNvPr id="152" name="Frihandsfigur: Form 151">
              <a:extLst>
                <a:ext uri="{FF2B5EF4-FFF2-40B4-BE49-F238E27FC236}">
                  <a16:creationId xmlns:a16="http://schemas.microsoft.com/office/drawing/2014/main" id="{2A005AD6-8FC1-1E80-243E-8EEACBA8D1D5}"/>
                </a:ext>
              </a:extLst>
            </p:cNvPr>
            <p:cNvSpPr/>
            <p:nvPr/>
          </p:nvSpPr>
          <p:spPr>
            <a:xfrm>
              <a:off x="15899720" y="7309480"/>
              <a:ext cx="37470" cy="37470"/>
            </a:xfrm>
            <a:custGeom>
              <a:avLst/>
              <a:gdLst>
                <a:gd name="connsiteX0" fmla="*/ 18735 w 37470"/>
                <a:gd name="connsiteY0" fmla="*/ 37471 h 37470"/>
                <a:gd name="connsiteX1" fmla="*/ 37471 w 37470"/>
                <a:gd name="connsiteY1" fmla="*/ 18735 h 37470"/>
                <a:gd name="connsiteX2" fmla="*/ 18735 w 37470"/>
                <a:gd name="connsiteY2" fmla="*/ 0 h 37470"/>
                <a:gd name="connsiteX3" fmla="*/ 0 w 37470"/>
                <a:gd name="connsiteY3" fmla="*/ 18735 h 37470"/>
                <a:gd name="connsiteX4" fmla="*/ 18735 w 37470"/>
                <a:gd name="connsiteY4" fmla="*/ 37471 h 37470"/>
                <a:gd name="connsiteX5" fmla="*/ 18735 w 37470"/>
                <a:gd name="connsiteY5" fmla="*/ 12490 h 37470"/>
                <a:gd name="connsiteX6" fmla="*/ 24980 w 37470"/>
                <a:gd name="connsiteY6" fmla="*/ 18735 h 37470"/>
                <a:gd name="connsiteX7" fmla="*/ 18735 w 37470"/>
                <a:gd name="connsiteY7" fmla="*/ 24980 h 37470"/>
                <a:gd name="connsiteX8" fmla="*/ 12490 w 37470"/>
                <a:gd name="connsiteY8" fmla="*/ 18735 h 37470"/>
                <a:gd name="connsiteX9" fmla="*/ 18735 w 37470"/>
                <a:gd name="connsiteY9" fmla="*/ 12490 h 37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470" h="37470">
                  <a:moveTo>
                    <a:pt x="18735" y="37471"/>
                  </a:moveTo>
                  <a:cubicBezTo>
                    <a:pt x="29082" y="37471"/>
                    <a:pt x="37471" y="29083"/>
                    <a:pt x="37471" y="18735"/>
                  </a:cubicBezTo>
                  <a:cubicBezTo>
                    <a:pt x="37471" y="8388"/>
                    <a:pt x="29082" y="0"/>
                    <a:pt x="18735" y="0"/>
                  </a:cubicBezTo>
                  <a:cubicBezTo>
                    <a:pt x="8388" y="0"/>
                    <a:pt x="0" y="8388"/>
                    <a:pt x="0" y="18735"/>
                  </a:cubicBezTo>
                  <a:cubicBezTo>
                    <a:pt x="0" y="29083"/>
                    <a:pt x="8388" y="37471"/>
                    <a:pt x="18735" y="37471"/>
                  </a:cubicBezTo>
                  <a:close/>
                  <a:moveTo>
                    <a:pt x="18735" y="12490"/>
                  </a:moveTo>
                  <a:cubicBezTo>
                    <a:pt x="22184" y="12490"/>
                    <a:pt x="24980" y="15286"/>
                    <a:pt x="24980" y="18735"/>
                  </a:cubicBezTo>
                  <a:cubicBezTo>
                    <a:pt x="24980" y="22184"/>
                    <a:pt x="22184" y="24980"/>
                    <a:pt x="18735" y="24980"/>
                  </a:cubicBezTo>
                  <a:cubicBezTo>
                    <a:pt x="15286" y="24980"/>
                    <a:pt x="12490" y="22184"/>
                    <a:pt x="12490" y="18735"/>
                  </a:cubicBezTo>
                  <a:cubicBezTo>
                    <a:pt x="12494" y="15288"/>
                    <a:pt x="15288" y="12494"/>
                    <a:pt x="18735" y="12490"/>
                  </a:cubicBezTo>
                  <a:close/>
                </a:path>
              </a:pathLst>
            </a:custGeom>
            <a:solidFill>
              <a:schemeClr val="lt1"/>
            </a:solidFill>
            <a:ln w="8202" cap="flat">
              <a:solidFill>
                <a:schemeClr val="accent5"/>
              </a:solidFill>
              <a:prstDash val="solid"/>
              <a:miter/>
            </a:ln>
          </p:spPr>
          <p:txBody>
            <a:bodyPr rtlCol="0" anchor="ctr"/>
            <a:lstStyle/>
            <a:p>
              <a:endParaRPr lang="en-GB"/>
            </a:p>
          </p:txBody>
        </p:sp>
      </p:grpSp>
      <p:sp>
        <p:nvSpPr>
          <p:cNvPr id="154" name="Bild 144" descr="Euro med hel fyllning">
            <a:extLst>
              <a:ext uri="{FF2B5EF4-FFF2-40B4-BE49-F238E27FC236}">
                <a16:creationId xmlns:a16="http://schemas.microsoft.com/office/drawing/2014/main" id="{309838D4-4813-4E05-1460-54E48D9F9266}"/>
              </a:ext>
            </a:extLst>
          </p:cNvPr>
          <p:cNvSpPr/>
          <p:nvPr/>
        </p:nvSpPr>
        <p:spPr>
          <a:xfrm rot="18205641">
            <a:off x="8295704" y="6168401"/>
            <a:ext cx="206621" cy="278254"/>
          </a:xfrm>
          <a:custGeom>
            <a:avLst/>
            <a:gdLst>
              <a:gd name="connsiteX0" fmla="*/ 194885 w 206621"/>
              <a:gd name="connsiteY0" fmla="*/ 237586 h 278254"/>
              <a:gd name="connsiteX1" fmla="*/ 133776 w 206621"/>
              <a:gd name="connsiteY1" fmla="*/ 256850 h 278254"/>
              <a:gd name="connsiteX2" fmla="*/ 49051 w 206621"/>
              <a:gd name="connsiteY2" fmla="*/ 171234 h 278254"/>
              <a:gd name="connsiteX3" fmla="*/ 149829 w 206621"/>
              <a:gd name="connsiteY3" fmla="*/ 171234 h 278254"/>
              <a:gd name="connsiteX4" fmla="*/ 149829 w 206621"/>
              <a:gd name="connsiteY4" fmla="*/ 149829 h 278254"/>
              <a:gd name="connsiteX5" fmla="*/ 46590 w 206621"/>
              <a:gd name="connsiteY5" fmla="*/ 149829 h 278254"/>
              <a:gd name="connsiteX6" fmla="*/ 46376 w 206621"/>
              <a:gd name="connsiteY6" fmla="*/ 139127 h 278254"/>
              <a:gd name="connsiteX7" fmla="*/ 46661 w 206621"/>
              <a:gd name="connsiteY7" fmla="*/ 128425 h 278254"/>
              <a:gd name="connsiteX8" fmla="*/ 149829 w 206621"/>
              <a:gd name="connsiteY8" fmla="*/ 128425 h 278254"/>
              <a:gd name="connsiteX9" fmla="*/ 149829 w 206621"/>
              <a:gd name="connsiteY9" fmla="*/ 107021 h 278254"/>
              <a:gd name="connsiteX10" fmla="*/ 49051 w 206621"/>
              <a:gd name="connsiteY10" fmla="*/ 107021 h 278254"/>
              <a:gd name="connsiteX11" fmla="*/ 133776 w 206621"/>
              <a:gd name="connsiteY11" fmla="*/ 21404 h 278254"/>
              <a:gd name="connsiteX12" fmla="*/ 194885 w 206621"/>
              <a:gd name="connsiteY12" fmla="*/ 40668 h 278254"/>
              <a:gd name="connsiteX13" fmla="*/ 206622 w 206621"/>
              <a:gd name="connsiteY13" fmla="*/ 22831 h 278254"/>
              <a:gd name="connsiteX14" fmla="*/ 133776 w 206621"/>
              <a:gd name="connsiteY14" fmla="*/ 0 h 278254"/>
              <a:gd name="connsiteX15" fmla="*/ 27397 w 206621"/>
              <a:gd name="connsiteY15" fmla="*/ 107021 h 278254"/>
              <a:gd name="connsiteX16" fmla="*/ 0 w 206621"/>
              <a:gd name="connsiteY16" fmla="*/ 107021 h 278254"/>
              <a:gd name="connsiteX17" fmla="*/ 0 w 206621"/>
              <a:gd name="connsiteY17" fmla="*/ 128425 h 278254"/>
              <a:gd name="connsiteX18" fmla="*/ 25328 w 206621"/>
              <a:gd name="connsiteY18" fmla="*/ 128425 h 278254"/>
              <a:gd name="connsiteX19" fmla="*/ 25043 w 206621"/>
              <a:gd name="connsiteY19" fmla="*/ 139127 h 278254"/>
              <a:gd name="connsiteX20" fmla="*/ 25328 w 206621"/>
              <a:gd name="connsiteY20" fmla="*/ 149829 h 278254"/>
              <a:gd name="connsiteX21" fmla="*/ 0 w 206621"/>
              <a:gd name="connsiteY21" fmla="*/ 149829 h 278254"/>
              <a:gd name="connsiteX22" fmla="*/ 0 w 206621"/>
              <a:gd name="connsiteY22" fmla="*/ 171234 h 278254"/>
              <a:gd name="connsiteX23" fmla="*/ 27397 w 206621"/>
              <a:gd name="connsiteY23" fmla="*/ 171234 h 278254"/>
              <a:gd name="connsiteX24" fmla="*/ 133776 w 206621"/>
              <a:gd name="connsiteY24" fmla="*/ 278254 h 278254"/>
              <a:gd name="connsiteX25" fmla="*/ 206622 w 206621"/>
              <a:gd name="connsiteY25" fmla="*/ 255352 h 278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06621" h="278254">
                <a:moveTo>
                  <a:pt x="194885" y="237586"/>
                </a:moveTo>
                <a:cubicBezTo>
                  <a:pt x="176863" y="249897"/>
                  <a:pt x="155601" y="256600"/>
                  <a:pt x="133776" y="256850"/>
                </a:cubicBezTo>
                <a:cubicBezTo>
                  <a:pt x="81728" y="256850"/>
                  <a:pt x="56757" y="215683"/>
                  <a:pt x="49051" y="171234"/>
                </a:cubicBezTo>
                <a:lnTo>
                  <a:pt x="149829" y="171234"/>
                </a:lnTo>
                <a:lnTo>
                  <a:pt x="149829" y="149829"/>
                </a:lnTo>
                <a:lnTo>
                  <a:pt x="46590" y="149829"/>
                </a:lnTo>
                <a:cubicBezTo>
                  <a:pt x="46376" y="146262"/>
                  <a:pt x="46376" y="142695"/>
                  <a:pt x="46376" y="139127"/>
                </a:cubicBezTo>
                <a:cubicBezTo>
                  <a:pt x="46376" y="135560"/>
                  <a:pt x="46376" y="131992"/>
                  <a:pt x="46661" y="128425"/>
                </a:cubicBezTo>
                <a:lnTo>
                  <a:pt x="149829" y="128425"/>
                </a:lnTo>
                <a:lnTo>
                  <a:pt x="149829" y="107021"/>
                </a:lnTo>
                <a:lnTo>
                  <a:pt x="49051" y="107021"/>
                </a:lnTo>
                <a:cubicBezTo>
                  <a:pt x="56757" y="62572"/>
                  <a:pt x="81728" y="21404"/>
                  <a:pt x="133776" y="21404"/>
                </a:cubicBezTo>
                <a:cubicBezTo>
                  <a:pt x="155598" y="21667"/>
                  <a:pt x="176857" y="28369"/>
                  <a:pt x="194885" y="40668"/>
                </a:cubicBezTo>
                <a:lnTo>
                  <a:pt x="206622" y="22831"/>
                </a:lnTo>
                <a:cubicBezTo>
                  <a:pt x="185119" y="8212"/>
                  <a:pt x="159777" y="269"/>
                  <a:pt x="133776" y="0"/>
                </a:cubicBezTo>
                <a:cubicBezTo>
                  <a:pt x="77519" y="0"/>
                  <a:pt x="37243" y="41917"/>
                  <a:pt x="27397" y="107021"/>
                </a:cubicBezTo>
                <a:lnTo>
                  <a:pt x="0" y="107021"/>
                </a:lnTo>
                <a:lnTo>
                  <a:pt x="0" y="128425"/>
                </a:lnTo>
                <a:lnTo>
                  <a:pt x="25328" y="128425"/>
                </a:lnTo>
                <a:cubicBezTo>
                  <a:pt x="25150" y="131992"/>
                  <a:pt x="25043" y="135560"/>
                  <a:pt x="25043" y="139127"/>
                </a:cubicBezTo>
                <a:cubicBezTo>
                  <a:pt x="25043" y="142695"/>
                  <a:pt x="25043" y="146262"/>
                  <a:pt x="25328" y="149829"/>
                </a:cubicBezTo>
                <a:lnTo>
                  <a:pt x="0" y="149829"/>
                </a:lnTo>
                <a:lnTo>
                  <a:pt x="0" y="171234"/>
                </a:lnTo>
                <a:lnTo>
                  <a:pt x="27397" y="171234"/>
                </a:lnTo>
                <a:cubicBezTo>
                  <a:pt x="37243" y="236338"/>
                  <a:pt x="77340" y="278254"/>
                  <a:pt x="133776" y="278254"/>
                </a:cubicBezTo>
                <a:cubicBezTo>
                  <a:pt x="159784" y="277964"/>
                  <a:pt x="185127" y="269997"/>
                  <a:pt x="206622" y="255352"/>
                </a:cubicBezTo>
                <a:close/>
              </a:path>
            </a:pathLst>
          </a:custGeom>
          <a:solidFill>
            <a:schemeClr val="lt1"/>
          </a:solidFill>
          <a:ln w="4630" cap="flat">
            <a:solidFill>
              <a:schemeClr val="accent5"/>
            </a:solidFill>
            <a:prstDash val="solid"/>
            <a:miter/>
          </a:ln>
        </p:spPr>
        <p:txBody>
          <a:bodyPr rtlCol="0" anchor="ctr"/>
          <a:lstStyle/>
          <a:p>
            <a:endParaRPr lang="en-GB"/>
          </a:p>
        </p:txBody>
      </p:sp>
      <p:grpSp>
        <p:nvGrpSpPr>
          <p:cNvPr id="155" name="Bild 2" descr="Lastbil kontur">
            <a:extLst>
              <a:ext uri="{FF2B5EF4-FFF2-40B4-BE49-F238E27FC236}">
                <a16:creationId xmlns:a16="http://schemas.microsoft.com/office/drawing/2014/main" id="{E171C55C-A435-9747-D73F-283CCEFCB682}"/>
              </a:ext>
            </a:extLst>
          </p:cNvPr>
          <p:cNvGrpSpPr/>
          <p:nvPr/>
        </p:nvGrpSpPr>
        <p:grpSpPr>
          <a:xfrm>
            <a:off x="13253493" y="4261061"/>
            <a:ext cx="838200" cy="476345"/>
            <a:chOff x="12550105" y="4329639"/>
            <a:chExt cx="838200" cy="476345"/>
          </a:xfrm>
          <a:solidFill>
            <a:schemeClr val="lt1"/>
          </a:solidFill>
        </p:grpSpPr>
        <p:sp>
          <p:nvSpPr>
            <p:cNvPr id="156" name="Frihandsfigur: Form 155">
              <a:extLst>
                <a:ext uri="{FF2B5EF4-FFF2-40B4-BE49-F238E27FC236}">
                  <a16:creationId xmlns:a16="http://schemas.microsoft.com/office/drawing/2014/main" id="{9725CDBB-A822-789C-FEAC-D9888AB4204C}"/>
                </a:ext>
              </a:extLst>
            </p:cNvPr>
            <p:cNvSpPr/>
            <p:nvPr/>
          </p:nvSpPr>
          <p:spPr>
            <a:xfrm>
              <a:off x="12645355" y="4653584"/>
              <a:ext cx="152400" cy="152400"/>
            </a:xfrm>
            <a:custGeom>
              <a:avLst/>
              <a:gdLst>
                <a:gd name="connsiteX0" fmla="*/ 76200 w 152400"/>
                <a:gd name="connsiteY0" fmla="*/ 0 h 152400"/>
                <a:gd name="connsiteX1" fmla="*/ 0 w 152400"/>
                <a:gd name="connsiteY1" fmla="*/ 76200 h 152400"/>
                <a:gd name="connsiteX2" fmla="*/ 76200 w 152400"/>
                <a:gd name="connsiteY2" fmla="*/ 152400 h 152400"/>
                <a:gd name="connsiteX3" fmla="*/ 152400 w 152400"/>
                <a:gd name="connsiteY3" fmla="*/ 76200 h 152400"/>
                <a:gd name="connsiteX4" fmla="*/ 76200 w 152400"/>
                <a:gd name="connsiteY4" fmla="*/ 0 h 152400"/>
                <a:gd name="connsiteX5" fmla="*/ 76200 w 152400"/>
                <a:gd name="connsiteY5" fmla="*/ 133350 h 152400"/>
                <a:gd name="connsiteX6" fmla="*/ 19050 w 152400"/>
                <a:gd name="connsiteY6" fmla="*/ 76200 h 152400"/>
                <a:gd name="connsiteX7" fmla="*/ 76200 w 152400"/>
                <a:gd name="connsiteY7" fmla="*/ 19050 h 152400"/>
                <a:gd name="connsiteX8" fmla="*/ 133350 w 152400"/>
                <a:gd name="connsiteY8" fmla="*/ 76200 h 152400"/>
                <a:gd name="connsiteX9" fmla="*/ 76200 w 152400"/>
                <a:gd name="connsiteY9" fmla="*/ 133388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2400" h="152400">
                  <a:moveTo>
                    <a:pt x="76200" y="0"/>
                  </a:moveTo>
                  <a:cubicBezTo>
                    <a:pt x="34116" y="0"/>
                    <a:pt x="0" y="34116"/>
                    <a:pt x="0" y="76200"/>
                  </a:cubicBezTo>
                  <a:cubicBezTo>
                    <a:pt x="0" y="118284"/>
                    <a:pt x="34116" y="152400"/>
                    <a:pt x="76200" y="152400"/>
                  </a:cubicBezTo>
                  <a:cubicBezTo>
                    <a:pt x="118284" y="152400"/>
                    <a:pt x="152400" y="118284"/>
                    <a:pt x="152400" y="76200"/>
                  </a:cubicBezTo>
                  <a:cubicBezTo>
                    <a:pt x="152348" y="34138"/>
                    <a:pt x="118262" y="52"/>
                    <a:pt x="76200" y="0"/>
                  </a:cubicBezTo>
                  <a:close/>
                  <a:moveTo>
                    <a:pt x="76200" y="133350"/>
                  </a:moveTo>
                  <a:cubicBezTo>
                    <a:pt x="44637" y="133350"/>
                    <a:pt x="19050" y="107763"/>
                    <a:pt x="19050" y="76200"/>
                  </a:cubicBezTo>
                  <a:cubicBezTo>
                    <a:pt x="19050" y="44637"/>
                    <a:pt x="44637" y="19050"/>
                    <a:pt x="76200" y="19050"/>
                  </a:cubicBezTo>
                  <a:cubicBezTo>
                    <a:pt x="107763" y="19050"/>
                    <a:pt x="133350" y="44637"/>
                    <a:pt x="133350" y="76200"/>
                  </a:cubicBezTo>
                  <a:cubicBezTo>
                    <a:pt x="133329" y="107760"/>
                    <a:pt x="107760" y="133346"/>
                    <a:pt x="76200" y="133388"/>
                  </a:cubicBezTo>
                  <a:close/>
                </a:path>
              </a:pathLst>
            </a:custGeom>
            <a:solidFill>
              <a:schemeClr val="lt1"/>
            </a:solidFill>
            <a:ln w="12700" cap="flat">
              <a:solidFill>
                <a:schemeClr val="accent5"/>
              </a:solidFill>
              <a:prstDash val="solid"/>
              <a:miter/>
            </a:ln>
          </p:spPr>
          <p:txBody>
            <a:bodyPr rtlCol="0" anchor="ctr"/>
            <a:lstStyle/>
            <a:p>
              <a:endParaRPr lang="en-GB"/>
            </a:p>
          </p:txBody>
        </p:sp>
        <p:sp>
          <p:nvSpPr>
            <p:cNvPr id="157" name="Frihandsfigur: Form 156">
              <a:extLst>
                <a:ext uri="{FF2B5EF4-FFF2-40B4-BE49-F238E27FC236}">
                  <a16:creationId xmlns:a16="http://schemas.microsoft.com/office/drawing/2014/main" id="{CE87BD0E-B866-5032-6AFB-4860BACB3209}"/>
                </a:ext>
              </a:extLst>
            </p:cNvPr>
            <p:cNvSpPr/>
            <p:nvPr/>
          </p:nvSpPr>
          <p:spPr>
            <a:xfrm>
              <a:off x="12550105" y="4329639"/>
              <a:ext cx="838200" cy="400164"/>
            </a:xfrm>
            <a:custGeom>
              <a:avLst/>
              <a:gdLst>
                <a:gd name="connsiteX0" fmla="*/ 822960 w 838200"/>
                <a:gd name="connsiteY0" fmla="*/ 236287 h 400164"/>
                <a:gd name="connsiteX1" fmla="*/ 772478 w 838200"/>
                <a:gd name="connsiteY1" fmla="*/ 198187 h 400164"/>
                <a:gd name="connsiteX2" fmla="*/ 759143 w 838200"/>
                <a:gd name="connsiteY2" fmla="*/ 178184 h 400164"/>
                <a:gd name="connsiteX3" fmla="*/ 740093 w 838200"/>
                <a:gd name="connsiteY3" fmla="*/ 112462 h 400164"/>
                <a:gd name="connsiteX4" fmla="*/ 666750 w 838200"/>
                <a:gd name="connsiteY4" fmla="*/ 57150 h 400164"/>
                <a:gd name="connsiteX5" fmla="*/ 571500 w 838200"/>
                <a:gd name="connsiteY5" fmla="*/ 57150 h 400164"/>
                <a:gd name="connsiteX6" fmla="*/ 571500 w 838200"/>
                <a:gd name="connsiteY6" fmla="*/ 0 h 400164"/>
                <a:gd name="connsiteX7" fmla="*/ 0 w 838200"/>
                <a:gd name="connsiteY7" fmla="*/ 0 h 400164"/>
                <a:gd name="connsiteX8" fmla="*/ 0 w 838200"/>
                <a:gd name="connsiteY8" fmla="*/ 400164 h 400164"/>
                <a:gd name="connsiteX9" fmla="*/ 76200 w 838200"/>
                <a:gd name="connsiteY9" fmla="*/ 400164 h 400164"/>
                <a:gd name="connsiteX10" fmla="*/ 78105 w 838200"/>
                <a:gd name="connsiteY10" fmla="*/ 381114 h 400164"/>
                <a:gd name="connsiteX11" fmla="*/ 19050 w 838200"/>
                <a:gd name="connsiteY11" fmla="*/ 381114 h 400164"/>
                <a:gd name="connsiteX12" fmla="*/ 19050 w 838200"/>
                <a:gd name="connsiteY12" fmla="*/ 256670 h 400164"/>
                <a:gd name="connsiteX13" fmla="*/ 552450 w 838200"/>
                <a:gd name="connsiteY13" fmla="*/ 256670 h 400164"/>
                <a:gd name="connsiteX14" fmla="*/ 552450 w 838200"/>
                <a:gd name="connsiteY14" fmla="*/ 381114 h 400164"/>
                <a:gd name="connsiteX15" fmla="*/ 264795 w 838200"/>
                <a:gd name="connsiteY15" fmla="*/ 381114 h 400164"/>
                <a:gd name="connsiteX16" fmla="*/ 266700 w 838200"/>
                <a:gd name="connsiteY16" fmla="*/ 400164 h 400164"/>
                <a:gd name="connsiteX17" fmla="*/ 581025 w 838200"/>
                <a:gd name="connsiteY17" fmla="*/ 400164 h 400164"/>
                <a:gd name="connsiteX18" fmla="*/ 582930 w 838200"/>
                <a:gd name="connsiteY18" fmla="*/ 381114 h 400164"/>
                <a:gd name="connsiteX19" fmla="*/ 571500 w 838200"/>
                <a:gd name="connsiteY19" fmla="*/ 381114 h 400164"/>
                <a:gd name="connsiteX20" fmla="*/ 571500 w 838200"/>
                <a:gd name="connsiteY20" fmla="*/ 76200 h 400164"/>
                <a:gd name="connsiteX21" fmla="*/ 609600 w 838200"/>
                <a:gd name="connsiteY21" fmla="*/ 76200 h 400164"/>
                <a:gd name="connsiteX22" fmla="*/ 609600 w 838200"/>
                <a:gd name="connsiteY22" fmla="*/ 209045 h 400164"/>
                <a:gd name="connsiteX23" fmla="*/ 756095 w 838200"/>
                <a:gd name="connsiteY23" fmla="*/ 209045 h 400164"/>
                <a:gd name="connsiteX24" fmla="*/ 761209 w 838200"/>
                <a:gd name="connsiteY24" fmla="*/ 213512 h 400164"/>
                <a:gd name="connsiteX25" fmla="*/ 811282 w 838200"/>
                <a:gd name="connsiteY25" fmla="*/ 251317 h 400164"/>
                <a:gd name="connsiteX26" fmla="*/ 819150 w 838200"/>
                <a:gd name="connsiteY26" fmla="*/ 266776 h 400164"/>
                <a:gd name="connsiteX27" fmla="*/ 819150 w 838200"/>
                <a:gd name="connsiteY27" fmla="*/ 362026 h 400164"/>
                <a:gd name="connsiteX28" fmla="*/ 800100 w 838200"/>
                <a:gd name="connsiteY28" fmla="*/ 381076 h 400164"/>
                <a:gd name="connsiteX29" fmla="*/ 769620 w 838200"/>
                <a:gd name="connsiteY29" fmla="*/ 381076 h 400164"/>
                <a:gd name="connsiteX30" fmla="*/ 771525 w 838200"/>
                <a:gd name="connsiteY30" fmla="*/ 400126 h 400164"/>
                <a:gd name="connsiteX31" fmla="*/ 800100 w 838200"/>
                <a:gd name="connsiteY31" fmla="*/ 400126 h 400164"/>
                <a:gd name="connsiteX32" fmla="*/ 838200 w 838200"/>
                <a:gd name="connsiteY32" fmla="*/ 362026 h 400164"/>
                <a:gd name="connsiteX33" fmla="*/ 838200 w 838200"/>
                <a:gd name="connsiteY33" fmla="*/ 266776 h 400164"/>
                <a:gd name="connsiteX34" fmla="*/ 822960 w 838200"/>
                <a:gd name="connsiteY34" fmla="*/ 236287 h 400164"/>
                <a:gd name="connsiteX35" fmla="*/ 552450 w 838200"/>
                <a:gd name="connsiteY35" fmla="*/ 237620 h 400164"/>
                <a:gd name="connsiteX36" fmla="*/ 19050 w 838200"/>
                <a:gd name="connsiteY36" fmla="*/ 237620 h 400164"/>
                <a:gd name="connsiteX37" fmla="*/ 19050 w 838200"/>
                <a:gd name="connsiteY37" fmla="*/ 19050 h 400164"/>
                <a:gd name="connsiteX38" fmla="*/ 552450 w 838200"/>
                <a:gd name="connsiteY38" fmla="*/ 19050 h 400164"/>
                <a:gd name="connsiteX39" fmla="*/ 628650 w 838200"/>
                <a:gd name="connsiteY39" fmla="*/ 76200 h 400164"/>
                <a:gd name="connsiteX40" fmla="*/ 666750 w 838200"/>
                <a:gd name="connsiteY40" fmla="*/ 76200 h 400164"/>
                <a:gd name="connsiteX41" fmla="*/ 721805 w 838200"/>
                <a:gd name="connsiteY41" fmla="*/ 117710 h 400164"/>
                <a:gd name="connsiteX42" fmla="*/ 740769 w 838200"/>
                <a:gd name="connsiteY42" fmla="*/ 183147 h 400164"/>
                <a:gd name="connsiteX43" fmla="*/ 743169 w 838200"/>
                <a:gd name="connsiteY43" fmla="*/ 189976 h 400164"/>
                <a:gd name="connsiteX44" fmla="*/ 628650 w 838200"/>
                <a:gd name="connsiteY44" fmla="*/ 189976 h 400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838200" h="400164">
                  <a:moveTo>
                    <a:pt x="822960" y="236287"/>
                  </a:moveTo>
                  <a:lnTo>
                    <a:pt x="772478" y="198187"/>
                  </a:lnTo>
                  <a:cubicBezTo>
                    <a:pt x="765858" y="193258"/>
                    <a:pt x="761146" y="186191"/>
                    <a:pt x="759143" y="178184"/>
                  </a:cubicBezTo>
                  <a:lnTo>
                    <a:pt x="740093" y="112462"/>
                  </a:lnTo>
                  <a:cubicBezTo>
                    <a:pt x="730395" y="79953"/>
                    <a:pt x="700672" y="57537"/>
                    <a:pt x="666750" y="57150"/>
                  </a:cubicBezTo>
                  <a:lnTo>
                    <a:pt x="571500" y="57150"/>
                  </a:lnTo>
                  <a:lnTo>
                    <a:pt x="571500" y="0"/>
                  </a:lnTo>
                  <a:lnTo>
                    <a:pt x="0" y="0"/>
                  </a:lnTo>
                  <a:lnTo>
                    <a:pt x="0" y="400164"/>
                  </a:lnTo>
                  <a:lnTo>
                    <a:pt x="76200" y="400164"/>
                  </a:lnTo>
                  <a:cubicBezTo>
                    <a:pt x="76197" y="393766"/>
                    <a:pt x="76835" y="387385"/>
                    <a:pt x="78105" y="381114"/>
                  </a:cubicBezTo>
                  <a:lnTo>
                    <a:pt x="19050" y="381114"/>
                  </a:lnTo>
                  <a:lnTo>
                    <a:pt x="19050" y="256670"/>
                  </a:lnTo>
                  <a:lnTo>
                    <a:pt x="552450" y="256670"/>
                  </a:lnTo>
                  <a:lnTo>
                    <a:pt x="552450" y="381114"/>
                  </a:lnTo>
                  <a:lnTo>
                    <a:pt x="264795" y="381114"/>
                  </a:lnTo>
                  <a:cubicBezTo>
                    <a:pt x="266069" y="387384"/>
                    <a:pt x="266708" y="393766"/>
                    <a:pt x="266700" y="400164"/>
                  </a:cubicBezTo>
                  <a:lnTo>
                    <a:pt x="581025" y="400164"/>
                  </a:lnTo>
                  <a:cubicBezTo>
                    <a:pt x="581022" y="393766"/>
                    <a:pt x="581660" y="387385"/>
                    <a:pt x="582930" y="381114"/>
                  </a:cubicBezTo>
                  <a:lnTo>
                    <a:pt x="571500" y="381114"/>
                  </a:lnTo>
                  <a:lnTo>
                    <a:pt x="571500" y="76200"/>
                  </a:lnTo>
                  <a:lnTo>
                    <a:pt x="609600" y="76200"/>
                  </a:lnTo>
                  <a:lnTo>
                    <a:pt x="609600" y="209045"/>
                  </a:lnTo>
                  <a:lnTo>
                    <a:pt x="756095" y="209045"/>
                  </a:lnTo>
                  <a:cubicBezTo>
                    <a:pt x="757699" y="210645"/>
                    <a:pt x="759408" y="212138"/>
                    <a:pt x="761209" y="213512"/>
                  </a:cubicBezTo>
                  <a:lnTo>
                    <a:pt x="811282" y="251317"/>
                  </a:lnTo>
                  <a:cubicBezTo>
                    <a:pt x="816190" y="254947"/>
                    <a:pt x="819103" y="260673"/>
                    <a:pt x="819150" y="266776"/>
                  </a:cubicBezTo>
                  <a:lnTo>
                    <a:pt x="819150" y="362026"/>
                  </a:lnTo>
                  <a:cubicBezTo>
                    <a:pt x="819150" y="372548"/>
                    <a:pt x="810621" y="381076"/>
                    <a:pt x="800100" y="381076"/>
                  </a:cubicBezTo>
                  <a:lnTo>
                    <a:pt x="769620" y="381076"/>
                  </a:lnTo>
                  <a:cubicBezTo>
                    <a:pt x="770894" y="387346"/>
                    <a:pt x="771533" y="393728"/>
                    <a:pt x="771525" y="400126"/>
                  </a:cubicBezTo>
                  <a:lnTo>
                    <a:pt x="800100" y="400126"/>
                  </a:lnTo>
                  <a:cubicBezTo>
                    <a:pt x="821114" y="400059"/>
                    <a:pt x="838132" y="383040"/>
                    <a:pt x="838200" y="362026"/>
                  </a:cubicBezTo>
                  <a:lnTo>
                    <a:pt x="838200" y="266776"/>
                  </a:lnTo>
                  <a:cubicBezTo>
                    <a:pt x="838161" y="254791"/>
                    <a:pt x="832524" y="243511"/>
                    <a:pt x="822960" y="236287"/>
                  </a:cubicBezTo>
                  <a:close/>
                  <a:moveTo>
                    <a:pt x="552450" y="237620"/>
                  </a:moveTo>
                  <a:lnTo>
                    <a:pt x="19050" y="237620"/>
                  </a:lnTo>
                  <a:lnTo>
                    <a:pt x="19050" y="19050"/>
                  </a:lnTo>
                  <a:lnTo>
                    <a:pt x="552450" y="19050"/>
                  </a:lnTo>
                  <a:close/>
                  <a:moveTo>
                    <a:pt x="628650" y="76200"/>
                  </a:moveTo>
                  <a:lnTo>
                    <a:pt x="666750" y="76200"/>
                  </a:lnTo>
                  <a:cubicBezTo>
                    <a:pt x="692156" y="76649"/>
                    <a:pt x="714384" y="93407"/>
                    <a:pt x="721805" y="117710"/>
                  </a:cubicBezTo>
                  <a:lnTo>
                    <a:pt x="740769" y="183147"/>
                  </a:lnTo>
                  <a:cubicBezTo>
                    <a:pt x="741416" y="185474"/>
                    <a:pt x="742218" y="187756"/>
                    <a:pt x="743169" y="189976"/>
                  </a:cubicBezTo>
                  <a:lnTo>
                    <a:pt x="628650" y="189976"/>
                  </a:lnTo>
                  <a:close/>
                </a:path>
              </a:pathLst>
            </a:custGeom>
            <a:solidFill>
              <a:schemeClr val="lt1"/>
            </a:solidFill>
            <a:ln w="12700" cap="flat">
              <a:solidFill>
                <a:schemeClr val="accent5"/>
              </a:solidFill>
              <a:prstDash val="solid"/>
              <a:miter/>
            </a:ln>
          </p:spPr>
          <p:txBody>
            <a:bodyPr rtlCol="0" anchor="ctr"/>
            <a:lstStyle/>
            <a:p>
              <a:endParaRPr lang="en-GB"/>
            </a:p>
          </p:txBody>
        </p:sp>
        <p:sp>
          <p:nvSpPr>
            <p:cNvPr id="158" name="Frihandsfigur: Form 157">
              <a:extLst>
                <a:ext uri="{FF2B5EF4-FFF2-40B4-BE49-F238E27FC236}">
                  <a16:creationId xmlns:a16="http://schemas.microsoft.com/office/drawing/2014/main" id="{4C2E8776-EDB0-14FC-2861-F68861841265}"/>
                </a:ext>
              </a:extLst>
            </p:cNvPr>
            <p:cNvSpPr/>
            <p:nvPr/>
          </p:nvSpPr>
          <p:spPr>
            <a:xfrm>
              <a:off x="13150180" y="4653584"/>
              <a:ext cx="152400" cy="152400"/>
            </a:xfrm>
            <a:custGeom>
              <a:avLst/>
              <a:gdLst>
                <a:gd name="connsiteX0" fmla="*/ 76200 w 152400"/>
                <a:gd name="connsiteY0" fmla="*/ 0 h 152400"/>
                <a:gd name="connsiteX1" fmla="*/ 0 w 152400"/>
                <a:gd name="connsiteY1" fmla="*/ 76200 h 152400"/>
                <a:gd name="connsiteX2" fmla="*/ 76200 w 152400"/>
                <a:gd name="connsiteY2" fmla="*/ 152400 h 152400"/>
                <a:gd name="connsiteX3" fmla="*/ 152400 w 152400"/>
                <a:gd name="connsiteY3" fmla="*/ 76200 h 152400"/>
                <a:gd name="connsiteX4" fmla="*/ 76200 w 152400"/>
                <a:gd name="connsiteY4" fmla="*/ 0 h 152400"/>
                <a:gd name="connsiteX5" fmla="*/ 76200 w 152400"/>
                <a:gd name="connsiteY5" fmla="*/ 133350 h 152400"/>
                <a:gd name="connsiteX6" fmla="*/ 19050 w 152400"/>
                <a:gd name="connsiteY6" fmla="*/ 76200 h 152400"/>
                <a:gd name="connsiteX7" fmla="*/ 76200 w 152400"/>
                <a:gd name="connsiteY7" fmla="*/ 19050 h 152400"/>
                <a:gd name="connsiteX8" fmla="*/ 133350 w 152400"/>
                <a:gd name="connsiteY8" fmla="*/ 76200 h 152400"/>
                <a:gd name="connsiteX9" fmla="*/ 76200 w 152400"/>
                <a:gd name="connsiteY9" fmla="*/ 133388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2400" h="152400">
                  <a:moveTo>
                    <a:pt x="76200" y="0"/>
                  </a:moveTo>
                  <a:cubicBezTo>
                    <a:pt x="34116" y="0"/>
                    <a:pt x="0" y="34116"/>
                    <a:pt x="0" y="76200"/>
                  </a:cubicBezTo>
                  <a:cubicBezTo>
                    <a:pt x="0" y="118284"/>
                    <a:pt x="34116" y="152400"/>
                    <a:pt x="76200" y="152400"/>
                  </a:cubicBezTo>
                  <a:cubicBezTo>
                    <a:pt x="118284" y="152400"/>
                    <a:pt x="152400" y="118284"/>
                    <a:pt x="152400" y="76200"/>
                  </a:cubicBezTo>
                  <a:cubicBezTo>
                    <a:pt x="152348" y="34138"/>
                    <a:pt x="118262" y="52"/>
                    <a:pt x="76200" y="0"/>
                  </a:cubicBezTo>
                  <a:close/>
                  <a:moveTo>
                    <a:pt x="76200" y="133350"/>
                  </a:moveTo>
                  <a:cubicBezTo>
                    <a:pt x="44637" y="133350"/>
                    <a:pt x="19050" y="107763"/>
                    <a:pt x="19050" y="76200"/>
                  </a:cubicBezTo>
                  <a:cubicBezTo>
                    <a:pt x="19050" y="44637"/>
                    <a:pt x="44637" y="19050"/>
                    <a:pt x="76200" y="19050"/>
                  </a:cubicBezTo>
                  <a:cubicBezTo>
                    <a:pt x="107763" y="19050"/>
                    <a:pt x="133350" y="44637"/>
                    <a:pt x="133350" y="76200"/>
                  </a:cubicBezTo>
                  <a:cubicBezTo>
                    <a:pt x="133329" y="107760"/>
                    <a:pt x="107760" y="133346"/>
                    <a:pt x="76200" y="133388"/>
                  </a:cubicBezTo>
                  <a:close/>
                </a:path>
              </a:pathLst>
            </a:custGeom>
            <a:solidFill>
              <a:schemeClr val="lt1"/>
            </a:solidFill>
            <a:ln w="12700" cap="flat">
              <a:solidFill>
                <a:schemeClr val="accent5"/>
              </a:solidFill>
              <a:prstDash val="solid"/>
              <a:miter/>
            </a:ln>
          </p:spPr>
          <p:txBody>
            <a:bodyPr rtlCol="0" anchor="ctr"/>
            <a:lstStyle/>
            <a:p>
              <a:endParaRPr lang="en-GB"/>
            </a:p>
          </p:txBody>
        </p:sp>
      </p:grpSp>
      <p:sp>
        <p:nvSpPr>
          <p:cNvPr id="5" name="Bild 12" descr="Present kontur">
            <a:extLst>
              <a:ext uri="{FF2B5EF4-FFF2-40B4-BE49-F238E27FC236}">
                <a16:creationId xmlns:a16="http://schemas.microsoft.com/office/drawing/2014/main" id="{5C2503EA-64D6-0655-7807-8CEB19A9FAC5}"/>
              </a:ext>
            </a:extLst>
          </p:cNvPr>
          <p:cNvSpPr/>
          <p:nvPr/>
        </p:nvSpPr>
        <p:spPr>
          <a:xfrm>
            <a:off x="10092760" y="2363050"/>
            <a:ext cx="513463" cy="566320"/>
          </a:xfrm>
          <a:custGeom>
            <a:avLst/>
            <a:gdLst>
              <a:gd name="connsiteX0" fmla="*/ 390164 w 513463"/>
              <a:gd name="connsiteY0" fmla="*/ 128367 h 566320"/>
              <a:gd name="connsiteX1" fmla="*/ 400735 w 513463"/>
              <a:gd name="connsiteY1" fmla="*/ 71478 h 566320"/>
              <a:gd name="connsiteX2" fmla="*/ 399723 w 513463"/>
              <a:gd name="connsiteY2" fmla="*/ 69213 h 566320"/>
              <a:gd name="connsiteX3" fmla="*/ 331672 w 513463"/>
              <a:gd name="connsiteY3" fmla="*/ 42649 h 566320"/>
              <a:gd name="connsiteX4" fmla="*/ 315221 w 513463"/>
              <a:gd name="connsiteY4" fmla="*/ 54111 h 566320"/>
              <a:gd name="connsiteX5" fmla="*/ 308531 w 513463"/>
              <a:gd name="connsiteY5" fmla="*/ 61058 h 566320"/>
              <a:gd name="connsiteX6" fmla="*/ 267406 w 513463"/>
              <a:gd name="connsiteY6" fmla="*/ 888 h 566320"/>
              <a:gd name="connsiteX7" fmla="*/ 258068 w 513463"/>
              <a:gd name="connsiteY7" fmla="*/ 1 h 566320"/>
              <a:gd name="connsiteX8" fmla="*/ 255546 w 513463"/>
              <a:gd name="connsiteY8" fmla="*/ 1 h 566320"/>
              <a:gd name="connsiteX9" fmla="*/ 203678 w 513463"/>
              <a:gd name="connsiteY9" fmla="*/ 51247 h 566320"/>
              <a:gd name="connsiteX10" fmla="*/ 205967 w 513463"/>
              <a:gd name="connsiteY10" fmla="*/ 66751 h 566320"/>
              <a:gd name="connsiteX11" fmla="*/ 193779 w 513463"/>
              <a:gd name="connsiteY11" fmla="*/ 54096 h 566320"/>
              <a:gd name="connsiteX12" fmla="*/ 120739 w 513463"/>
              <a:gd name="connsiteY12" fmla="*/ 52746 h 566320"/>
              <a:gd name="connsiteX13" fmla="*/ 109277 w 513463"/>
              <a:gd name="connsiteY13" fmla="*/ 69198 h 566320"/>
              <a:gd name="connsiteX14" fmla="*/ 108265 w 513463"/>
              <a:gd name="connsiteY14" fmla="*/ 71463 h 566320"/>
              <a:gd name="connsiteX15" fmla="*/ 118746 w 513463"/>
              <a:gd name="connsiteY15" fmla="*/ 128367 h 566320"/>
              <a:gd name="connsiteX16" fmla="*/ 0 w 513463"/>
              <a:gd name="connsiteY16" fmla="*/ 128367 h 566320"/>
              <a:gd name="connsiteX17" fmla="*/ 0 w 513463"/>
              <a:gd name="connsiteY17" fmla="*/ 566321 h 566320"/>
              <a:gd name="connsiteX18" fmla="*/ 513463 w 513463"/>
              <a:gd name="connsiteY18" fmla="*/ 566321 h 566320"/>
              <a:gd name="connsiteX19" fmla="*/ 513463 w 513463"/>
              <a:gd name="connsiteY19" fmla="*/ 128367 h 566320"/>
              <a:gd name="connsiteX20" fmla="*/ 498361 w 513463"/>
              <a:gd name="connsiteY20" fmla="*/ 286936 h 566320"/>
              <a:gd name="connsiteX21" fmla="*/ 286935 w 513463"/>
              <a:gd name="connsiteY21" fmla="*/ 286936 h 566320"/>
              <a:gd name="connsiteX22" fmla="*/ 286935 w 513463"/>
              <a:gd name="connsiteY22" fmla="*/ 143469 h 566320"/>
              <a:gd name="connsiteX23" fmla="*/ 498361 w 513463"/>
              <a:gd name="connsiteY23" fmla="*/ 143469 h 566320"/>
              <a:gd name="connsiteX24" fmla="*/ 226528 w 513463"/>
              <a:gd name="connsiteY24" fmla="*/ 332242 h 566320"/>
              <a:gd name="connsiteX25" fmla="*/ 15102 w 513463"/>
              <a:gd name="connsiteY25" fmla="*/ 332242 h 566320"/>
              <a:gd name="connsiteX26" fmla="*/ 15102 w 513463"/>
              <a:gd name="connsiteY26" fmla="*/ 302038 h 566320"/>
              <a:gd name="connsiteX27" fmla="*/ 226528 w 513463"/>
              <a:gd name="connsiteY27" fmla="*/ 302038 h 566320"/>
              <a:gd name="connsiteX28" fmla="*/ 241630 w 513463"/>
              <a:gd name="connsiteY28" fmla="*/ 143469 h 566320"/>
              <a:gd name="connsiteX29" fmla="*/ 271833 w 513463"/>
              <a:gd name="connsiteY29" fmla="*/ 143469 h 566320"/>
              <a:gd name="connsiteX30" fmla="*/ 271833 w 513463"/>
              <a:gd name="connsiteY30" fmla="*/ 551219 h 566320"/>
              <a:gd name="connsiteX31" fmla="*/ 241630 w 513463"/>
              <a:gd name="connsiteY31" fmla="*/ 551219 h 566320"/>
              <a:gd name="connsiteX32" fmla="*/ 286935 w 513463"/>
              <a:gd name="connsiteY32" fmla="*/ 302038 h 566320"/>
              <a:gd name="connsiteX33" fmla="*/ 498361 w 513463"/>
              <a:gd name="connsiteY33" fmla="*/ 302038 h 566320"/>
              <a:gd name="connsiteX34" fmla="*/ 498361 w 513463"/>
              <a:gd name="connsiteY34" fmla="*/ 332242 h 566320"/>
              <a:gd name="connsiteX35" fmla="*/ 286935 w 513463"/>
              <a:gd name="connsiteY35" fmla="*/ 332242 h 566320"/>
              <a:gd name="connsiteX36" fmla="*/ 326094 w 513463"/>
              <a:gd name="connsiteY36" fmla="*/ 64576 h 566320"/>
              <a:gd name="connsiteX37" fmla="*/ 352190 w 513463"/>
              <a:gd name="connsiteY37" fmla="*/ 53356 h 566320"/>
              <a:gd name="connsiteX38" fmla="*/ 358843 w 513463"/>
              <a:gd name="connsiteY38" fmla="*/ 53952 h 566320"/>
              <a:gd name="connsiteX39" fmla="*/ 385890 w 513463"/>
              <a:gd name="connsiteY39" fmla="*/ 75246 h 566320"/>
              <a:gd name="connsiteX40" fmla="*/ 386902 w 513463"/>
              <a:gd name="connsiteY40" fmla="*/ 77511 h 566320"/>
              <a:gd name="connsiteX41" fmla="*/ 368096 w 513463"/>
              <a:gd name="connsiteY41" fmla="*/ 125676 h 566320"/>
              <a:gd name="connsiteX42" fmla="*/ 358964 w 513463"/>
              <a:gd name="connsiteY42" fmla="*/ 128329 h 566320"/>
              <a:gd name="connsiteX43" fmla="*/ 264970 w 513463"/>
              <a:gd name="connsiteY43" fmla="*/ 127974 h 566320"/>
              <a:gd name="connsiteX44" fmla="*/ 221416 w 513463"/>
              <a:gd name="connsiteY44" fmla="*/ 65400 h 566320"/>
              <a:gd name="connsiteX45" fmla="*/ 241527 w 513463"/>
              <a:gd name="connsiteY45" fmla="*/ 17788 h 566320"/>
              <a:gd name="connsiteX46" fmla="*/ 255267 w 513463"/>
              <a:gd name="connsiteY46" fmla="*/ 15103 h 566320"/>
              <a:gd name="connsiteX47" fmla="*/ 255463 w 513463"/>
              <a:gd name="connsiteY47" fmla="*/ 15103 h 566320"/>
              <a:gd name="connsiteX48" fmla="*/ 257993 w 513463"/>
              <a:gd name="connsiteY48" fmla="*/ 15103 h 566320"/>
              <a:gd name="connsiteX49" fmla="*/ 294351 w 513463"/>
              <a:gd name="connsiteY49" fmla="*/ 51836 h 566320"/>
              <a:gd name="connsiteX50" fmla="*/ 291526 w 513463"/>
              <a:gd name="connsiteY50" fmla="*/ 65739 h 566320"/>
              <a:gd name="connsiteX51" fmla="*/ 281982 w 513463"/>
              <a:gd name="connsiteY51" fmla="*/ 88581 h 566320"/>
              <a:gd name="connsiteX52" fmla="*/ 254466 w 513463"/>
              <a:gd name="connsiteY52" fmla="*/ 117131 h 566320"/>
              <a:gd name="connsiteX53" fmla="*/ 233611 w 513463"/>
              <a:gd name="connsiteY53" fmla="*/ 95445 h 566320"/>
              <a:gd name="connsiteX54" fmla="*/ 124764 w 513463"/>
              <a:gd name="connsiteY54" fmla="*/ 111868 h 566320"/>
              <a:gd name="connsiteX55" fmla="*/ 122114 w 513463"/>
              <a:gd name="connsiteY55" fmla="*/ 77549 h 566320"/>
              <a:gd name="connsiteX56" fmla="*/ 123125 w 513463"/>
              <a:gd name="connsiteY56" fmla="*/ 75284 h 566320"/>
              <a:gd name="connsiteX57" fmla="*/ 150173 w 513463"/>
              <a:gd name="connsiteY57" fmla="*/ 53990 h 566320"/>
              <a:gd name="connsiteX58" fmla="*/ 156825 w 513463"/>
              <a:gd name="connsiteY58" fmla="*/ 53394 h 566320"/>
              <a:gd name="connsiteX59" fmla="*/ 182929 w 513463"/>
              <a:gd name="connsiteY59" fmla="*/ 64614 h 566320"/>
              <a:gd name="connsiteX60" fmla="*/ 244038 w 513463"/>
              <a:gd name="connsiteY60" fmla="*/ 128042 h 566320"/>
              <a:gd name="connsiteX61" fmla="*/ 150014 w 513463"/>
              <a:gd name="connsiteY61" fmla="*/ 128367 h 566320"/>
              <a:gd name="connsiteX62" fmla="*/ 124741 w 513463"/>
              <a:gd name="connsiteY62" fmla="*/ 111868 h 566320"/>
              <a:gd name="connsiteX63" fmla="*/ 226528 w 513463"/>
              <a:gd name="connsiteY63" fmla="*/ 143469 h 566320"/>
              <a:gd name="connsiteX64" fmla="*/ 226528 w 513463"/>
              <a:gd name="connsiteY64" fmla="*/ 286936 h 566320"/>
              <a:gd name="connsiteX65" fmla="*/ 15102 w 513463"/>
              <a:gd name="connsiteY65" fmla="*/ 286936 h 566320"/>
              <a:gd name="connsiteX66" fmla="*/ 15102 w 513463"/>
              <a:gd name="connsiteY66" fmla="*/ 143469 h 566320"/>
              <a:gd name="connsiteX67" fmla="*/ 15102 w 513463"/>
              <a:gd name="connsiteY67" fmla="*/ 347344 h 566320"/>
              <a:gd name="connsiteX68" fmla="*/ 226528 w 513463"/>
              <a:gd name="connsiteY68" fmla="*/ 347344 h 566320"/>
              <a:gd name="connsiteX69" fmla="*/ 226528 w 513463"/>
              <a:gd name="connsiteY69" fmla="*/ 551219 h 566320"/>
              <a:gd name="connsiteX70" fmla="*/ 15102 w 513463"/>
              <a:gd name="connsiteY70" fmla="*/ 551219 h 566320"/>
              <a:gd name="connsiteX71" fmla="*/ 286935 w 513463"/>
              <a:gd name="connsiteY71" fmla="*/ 551219 h 566320"/>
              <a:gd name="connsiteX72" fmla="*/ 286935 w 513463"/>
              <a:gd name="connsiteY72" fmla="*/ 347344 h 566320"/>
              <a:gd name="connsiteX73" fmla="*/ 498361 w 513463"/>
              <a:gd name="connsiteY73" fmla="*/ 347344 h 566320"/>
              <a:gd name="connsiteX74" fmla="*/ 498361 w 513463"/>
              <a:gd name="connsiteY74" fmla="*/ 551219 h 566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513463" h="566320">
                <a:moveTo>
                  <a:pt x="390164" y="128367"/>
                </a:moveTo>
                <a:cubicBezTo>
                  <a:pt x="405211" y="113466"/>
                  <a:pt x="409426" y="90790"/>
                  <a:pt x="400735" y="71478"/>
                </a:cubicBezTo>
                <a:lnTo>
                  <a:pt x="399723" y="69213"/>
                </a:lnTo>
                <a:cubicBezTo>
                  <a:pt x="388267" y="43085"/>
                  <a:pt x="357799" y="31192"/>
                  <a:pt x="331672" y="42649"/>
                </a:cubicBezTo>
                <a:cubicBezTo>
                  <a:pt x="325493" y="45358"/>
                  <a:pt x="319903" y="49253"/>
                  <a:pt x="315221" y="54111"/>
                </a:cubicBezTo>
                <a:lnTo>
                  <a:pt x="308531" y="61058"/>
                </a:lnTo>
                <a:cubicBezTo>
                  <a:pt x="313790" y="33086"/>
                  <a:pt x="295377" y="6147"/>
                  <a:pt x="267406" y="888"/>
                </a:cubicBezTo>
                <a:cubicBezTo>
                  <a:pt x="264326" y="309"/>
                  <a:pt x="261201" y="12"/>
                  <a:pt x="258068" y="1"/>
                </a:cubicBezTo>
                <a:lnTo>
                  <a:pt x="255546" y="1"/>
                </a:lnTo>
                <a:cubicBezTo>
                  <a:pt x="227072" y="-171"/>
                  <a:pt x="203850" y="22772"/>
                  <a:pt x="203678" y="51247"/>
                </a:cubicBezTo>
                <a:cubicBezTo>
                  <a:pt x="203646" y="56502"/>
                  <a:pt x="204418" y="61730"/>
                  <a:pt x="205967" y="66751"/>
                </a:cubicBezTo>
                <a:lnTo>
                  <a:pt x="193779" y="54096"/>
                </a:lnTo>
                <a:cubicBezTo>
                  <a:pt x="173982" y="33554"/>
                  <a:pt x="141282" y="32949"/>
                  <a:pt x="120739" y="52746"/>
                </a:cubicBezTo>
                <a:cubicBezTo>
                  <a:pt x="115881" y="57429"/>
                  <a:pt x="111987" y="63018"/>
                  <a:pt x="109277" y="69198"/>
                </a:cubicBezTo>
                <a:lnTo>
                  <a:pt x="108265" y="71463"/>
                </a:lnTo>
                <a:cubicBezTo>
                  <a:pt x="99673" y="90775"/>
                  <a:pt x="103837" y="113383"/>
                  <a:pt x="118746" y="128367"/>
                </a:cubicBezTo>
                <a:lnTo>
                  <a:pt x="0" y="128367"/>
                </a:lnTo>
                <a:lnTo>
                  <a:pt x="0" y="566321"/>
                </a:lnTo>
                <a:lnTo>
                  <a:pt x="513463" y="566321"/>
                </a:lnTo>
                <a:lnTo>
                  <a:pt x="513463" y="128367"/>
                </a:lnTo>
                <a:close/>
                <a:moveTo>
                  <a:pt x="498361" y="286936"/>
                </a:moveTo>
                <a:lnTo>
                  <a:pt x="286935" y="286936"/>
                </a:lnTo>
                <a:lnTo>
                  <a:pt x="286935" y="143469"/>
                </a:lnTo>
                <a:lnTo>
                  <a:pt x="498361" y="143469"/>
                </a:lnTo>
                <a:close/>
                <a:moveTo>
                  <a:pt x="226528" y="332242"/>
                </a:moveTo>
                <a:lnTo>
                  <a:pt x="15102" y="332242"/>
                </a:lnTo>
                <a:lnTo>
                  <a:pt x="15102" y="302038"/>
                </a:lnTo>
                <a:lnTo>
                  <a:pt x="226528" y="302038"/>
                </a:lnTo>
                <a:close/>
                <a:moveTo>
                  <a:pt x="241630" y="143469"/>
                </a:moveTo>
                <a:lnTo>
                  <a:pt x="271833" y="143469"/>
                </a:lnTo>
                <a:lnTo>
                  <a:pt x="271833" y="551219"/>
                </a:lnTo>
                <a:lnTo>
                  <a:pt x="241630" y="551219"/>
                </a:lnTo>
                <a:close/>
                <a:moveTo>
                  <a:pt x="286935" y="302038"/>
                </a:moveTo>
                <a:lnTo>
                  <a:pt x="498361" y="302038"/>
                </a:lnTo>
                <a:lnTo>
                  <a:pt x="498361" y="332242"/>
                </a:lnTo>
                <a:lnTo>
                  <a:pt x="286935" y="332242"/>
                </a:lnTo>
                <a:close/>
                <a:moveTo>
                  <a:pt x="326094" y="64576"/>
                </a:moveTo>
                <a:cubicBezTo>
                  <a:pt x="332882" y="57409"/>
                  <a:pt x="342320" y="53351"/>
                  <a:pt x="352190" y="53356"/>
                </a:cubicBezTo>
                <a:cubicBezTo>
                  <a:pt x="354421" y="53357"/>
                  <a:pt x="356648" y="53557"/>
                  <a:pt x="358843" y="53952"/>
                </a:cubicBezTo>
                <a:cubicBezTo>
                  <a:pt x="370887" y="56002"/>
                  <a:pt x="381070" y="64019"/>
                  <a:pt x="385890" y="75246"/>
                </a:cubicBezTo>
                <a:lnTo>
                  <a:pt x="386902" y="77511"/>
                </a:lnTo>
                <a:cubicBezTo>
                  <a:pt x="395009" y="96005"/>
                  <a:pt x="386589" y="117569"/>
                  <a:pt x="368096" y="125676"/>
                </a:cubicBezTo>
                <a:cubicBezTo>
                  <a:pt x="365180" y="126954"/>
                  <a:pt x="362110" y="127846"/>
                  <a:pt x="358964" y="128329"/>
                </a:cubicBezTo>
                <a:lnTo>
                  <a:pt x="264970" y="127974"/>
                </a:lnTo>
                <a:close/>
                <a:moveTo>
                  <a:pt x="221416" y="65400"/>
                </a:moveTo>
                <a:cubicBezTo>
                  <a:pt x="213822" y="46699"/>
                  <a:pt x="222826" y="25382"/>
                  <a:pt x="241527" y="17788"/>
                </a:cubicBezTo>
                <a:cubicBezTo>
                  <a:pt x="245891" y="16016"/>
                  <a:pt x="250556" y="15104"/>
                  <a:pt x="255267" y="15103"/>
                </a:cubicBezTo>
                <a:lnTo>
                  <a:pt x="255463" y="15103"/>
                </a:lnTo>
                <a:lnTo>
                  <a:pt x="257993" y="15103"/>
                </a:lnTo>
                <a:cubicBezTo>
                  <a:pt x="278176" y="15206"/>
                  <a:pt x="294454" y="31652"/>
                  <a:pt x="294351" y="51836"/>
                </a:cubicBezTo>
                <a:cubicBezTo>
                  <a:pt x="294327" y="56610"/>
                  <a:pt x="293367" y="61334"/>
                  <a:pt x="291526" y="65739"/>
                </a:cubicBezTo>
                <a:lnTo>
                  <a:pt x="281982" y="88581"/>
                </a:lnTo>
                <a:lnTo>
                  <a:pt x="254466" y="117131"/>
                </a:lnTo>
                <a:lnTo>
                  <a:pt x="233611" y="95445"/>
                </a:lnTo>
                <a:close/>
                <a:moveTo>
                  <a:pt x="124764" y="111868"/>
                </a:moveTo>
                <a:cubicBezTo>
                  <a:pt x="118116" y="101618"/>
                  <a:pt x="117119" y="88698"/>
                  <a:pt x="122114" y="77549"/>
                </a:cubicBezTo>
                <a:lnTo>
                  <a:pt x="123125" y="75284"/>
                </a:lnTo>
                <a:cubicBezTo>
                  <a:pt x="127945" y="64057"/>
                  <a:pt x="138128" y="56040"/>
                  <a:pt x="150173" y="53990"/>
                </a:cubicBezTo>
                <a:cubicBezTo>
                  <a:pt x="152369" y="53594"/>
                  <a:pt x="154595" y="53395"/>
                  <a:pt x="156825" y="53394"/>
                </a:cubicBezTo>
                <a:cubicBezTo>
                  <a:pt x="166698" y="53389"/>
                  <a:pt x="176138" y="57447"/>
                  <a:pt x="182929" y="64614"/>
                </a:cubicBezTo>
                <a:lnTo>
                  <a:pt x="244038" y="128042"/>
                </a:lnTo>
                <a:lnTo>
                  <a:pt x="150014" y="128367"/>
                </a:lnTo>
                <a:cubicBezTo>
                  <a:pt x="139576" y="126846"/>
                  <a:pt x="130334" y="120813"/>
                  <a:pt x="124741" y="111868"/>
                </a:cubicBezTo>
                <a:close/>
                <a:moveTo>
                  <a:pt x="226528" y="143469"/>
                </a:moveTo>
                <a:lnTo>
                  <a:pt x="226528" y="286936"/>
                </a:lnTo>
                <a:lnTo>
                  <a:pt x="15102" y="286936"/>
                </a:lnTo>
                <a:lnTo>
                  <a:pt x="15102" y="143469"/>
                </a:lnTo>
                <a:close/>
                <a:moveTo>
                  <a:pt x="15102" y="347344"/>
                </a:moveTo>
                <a:lnTo>
                  <a:pt x="226528" y="347344"/>
                </a:lnTo>
                <a:lnTo>
                  <a:pt x="226528" y="551219"/>
                </a:lnTo>
                <a:lnTo>
                  <a:pt x="15102" y="551219"/>
                </a:lnTo>
                <a:close/>
                <a:moveTo>
                  <a:pt x="286935" y="551219"/>
                </a:moveTo>
                <a:lnTo>
                  <a:pt x="286935" y="347344"/>
                </a:lnTo>
                <a:lnTo>
                  <a:pt x="498361" y="347344"/>
                </a:lnTo>
                <a:lnTo>
                  <a:pt x="498361" y="551219"/>
                </a:lnTo>
                <a:close/>
              </a:path>
            </a:pathLst>
          </a:custGeom>
          <a:solidFill>
            <a:schemeClr val="bg1"/>
          </a:solidFill>
          <a:ln w="7541" cap="flat">
            <a:solidFill>
              <a:schemeClr val="bg1"/>
            </a:solidFill>
            <a:prstDash val="solid"/>
            <a:miter/>
          </a:ln>
        </p:spPr>
        <p:txBody>
          <a:bodyPr rtlCol="0" anchor="ctr"/>
          <a:lstStyle/>
          <a:p>
            <a:endParaRPr lang="en-GB"/>
          </a:p>
        </p:txBody>
      </p:sp>
      <p:sp>
        <p:nvSpPr>
          <p:cNvPr id="22" name="Bild 24" descr="Blixt kontur">
            <a:extLst>
              <a:ext uri="{FF2B5EF4-FFF2-40B4-BE49-F238E27FC236}">
                <a16:creationId xmlns:a16="http://schemas.microsoft.com/office/drawing/2014/main" id="{FF6582AA-7F85-BEF0-E43C-CE590DA38273}"/>
              </a:ext>
            </a:extLst>
          </p:cNvPr>
          <p:cNvSpPr/>
          <p:nvPr/>
        </p:nvSpPr>
        <p:spPr>
          <a:xfrm>
            <a:off x="7219901" y="2433761"/>
            <a:ext cx="270589" cy="552764"/>
          </a:xfrm>
          <a:custGeom>
            <a:avLst/>
            <a:gdLst>
              <a:gd name="connsiteX0" fmla="*/ 40709 w 270589"/>
              <a:gd name="connsiteY0" fmla="*/ 552678 h 552764"/>
              <a:gd name="connsiteX1" fmla="*/ 40755 w 270589"/>
              <a:gd name="connsiteY1" fmla="*/ 552762 h 552764"/>
              <a:gd name="connsiteX2" fmla="*/ 40776 w 270589"/>
              <a:gd name="connsiteY2" fmla="*/ 552765 h 552764"/>
              <a:gd name="connsiteX3" fmla="*/ 40831 w 270589"/>
              <a:gd name="connsiteY3" fmla="*/ 552736 h 552764"/>
              <a:gd name="connsiteX4" fmla="*/ 270589 w 270589"/>
              <a:gd name="connsiteY4" fmla="*/ 221613 h 552764"/>
              <a:gd name="connsiteX5" fmla="*/ 155589 w 270589"/>
              <a:gd name="connsiteY5" fmla="*/ 221613 h 552764"/>
              <a:gd name="connsiteX6" fmla="*/ 227160 w 270589"/>
              <a:gd name="connsiteY6" fmla="*/ 0 h 552764"/>
              <a:gd name="connsiteX7" fmla="*/ 56959 w 270589"/>
              <a:gd name="connsiteY7" fmla="*/ 0 h 552764"/>
              <a:gd name="connsiteX8" fmla="*/ 0 w 270589"/>
              <a:gd name="connsiteY8" fmla="*/ 302789 h 552764"/>
              <a:gd name="connsiteX9" fmla="*/ 115000 w 270589"/>
              <a:gd name="connsiteY9" fmla="*/ 302789 h 552764"/>
              <a:gd name="connsiteX10" fmla="*/ 16312 w 270589"/>
              <a:gd name="connsiteY10" fmla="*/ 289260 h 552764"/>
              <a:gd name="connsiteX11" fmla="*/ 68181 w 270589"/>
              <a:gd name="connsiteY11" fmla="*/ 13529 h 552764"/>
              <a:gd name="connsiteX12" fmla="*/ 208573 w 270589"/>
              <a:gd name="connsiteY12" fmla="*/ 13529 h 552764"/>
              <a:gd name="connsiteX13" fmla="*/ 142714 w 270589"/>
              <a:gd name="connsiteY13" fmla="*/ 217455 h 552764"/>
              <a:gd name="connsiteX14" fmla="*/ 137002 w 270589"/>
              <a:gd name="connsiteY14" fmla="*/ 235142 h 552764"/>
              <a:gd name="connsiteX15" fmla="*/ 244734 w 270589"/>
              <a:gd name="connsiteY15" fmla="*/ 235142 h 552764"/>
              <a:gd name="connsiteX16" fmla="*/ 77869 w 270589"/>
              <a:gd name="connsiteY16" fmla="*/ 475623 h 552764"/>
              <a:gd name="connsiteX17" fmla="*/ 77749 w 270589"/>
              <a:gd name="connsiteY17" fmla="*/ 475565 h 552764"/>
              <a:gd name="connsiteX18" fmla="*/ 127969 w 270589"/>
              <a:gd name="connsiteY18" fmla="*/ 306645 h 552764"/>
              <a:gd name="connsiteX19" fmla="*/ 133138 w 270589"/>
              <a:gd name="connsiteY19" fmla="*/ 289260 h 552764"/>
              <a:gd name="connsiteX20" fmla="*/ 16311 w 270589"/>
              <a:gd name="connsiteY20" fmla="*/ 289260 h 552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70589" h="552764">
                <a:moveTo>
                  <a:pt x="40709" y="552678"/>
                </a:moveTo>
                <a:cubicBezTo>
                  <a:pt x="40698" y="552714"/>
                  <a:pt x="40719" y="552752"/>
                  <a:pt x="40755" y="552762"/>
                </a:cubicBezTo>
                <a:cubicBezTo>
                  <a:pt x="40762" y="552764"/>
                  <a:pt x="40769" y="552765"/>
                  <a:pt x="40776" y="552765"/>
                </a:cubicBezTo>
                <a:lnTo>
                  <a:pt x="40831" y="552736"/>
                </a:lnTo>
                <a:lnTo>
                  <a:pt x="270589" y="221613"/>
                </a:lnTo>
                <a:lnTo>
                  <a:pt x="155589" y="221613"/>
                </a:lnTo>
                <a:lnTo>
                  <a:pt x="227160" y="0"/>
                </a:lnTo>
                <a:lnTo>
                  <a:pt x="56959" y="0"/>
                </a:lnTo>
                <a:lnTo>
                  <a:pt x="0" y="302789"/>
                </a:lnTo>
                <a:lnTo>
                  <a:pt x="115000" y="302789"/>
                </a:lnTo>
                <a:close/>
                <a:moveTo>
                  <a:pt x="16312" y="289260"/>
                </a:moveTo>
                <a:lnTo>
                  <a:pt x="68181" y="13529"/>
                </a:lnTo>
                <a:lnTo>
                  <a:pt x="208573" y="13529"/>
                </a:lnTo>
                <a:lnTo>
                  <a:pt x="142714" y="217455"/>
                </a:lnTo>
                <a:lnTo>
                  <a:pt x="137002" y="235142"/>
                </a:lnTo>
                <a:lnTo>
                  <a:pt x="244734" y="235142"/>
                </a:lnTo>
                <a:lnTo>
                  <a:pt x="77869" y="475623"/>
                </a:lnTo>
                <a:cubicBezTo>
                  <a:pt x="77734" y="475814"/>
                  <a:pt x="77683" y="475788"/>
                  <a:pt x="77749" y="475565"/>
                </a:cubicBezTo>
                <a:lnTo>
                  <a:pt x="127969" y="306645"/>
                </a:lnTo>
                <a:lnTo>
                  <a:pt x="133138" y="289260"/>
                </a:lnTo>
                <a:lnTo>
                  <a:pt x="16311" y="289260"/>
                </a:lnTo>
                <a:close/>
              </a:path>
            </a:pathLst>
          </a:custGeom>
          <a:solidFill>
            <a:schemeClr val="bg1"/>
          </a:solidFill>
          <a:ln w="6747" cap="flat">
            <a:solidFill>
              <a:schemeClr val="bg1"/>
            </a:solidFill>
            <a:prstDash val="solid"/>
            <a:miter/>
          </a:ln>
        </p:spPr>
        <p:txBody>
          <a:bodyPr rtlCol="0" anchor="ctr"/>
          <a:lstStyle/>
          <a:p>
            <a:endParaRPr lang="en-GB"/>
          </a:p>
        </p:txBody>
      </p:sp>
      <p:sp>
        <p:nvSpPr>
          <p:cNvPr id="24" name="Bild 26" descr="Socialt nätverk kontur">
            <a:extLst>
              <a:ext uri="{FF2B5EF4-FFF2-40B4-BE49-F238E27FC236}">
                <a16:creationId xmlns:a16="http://schemas.microsoft.com/office/drawing/2014/main" id="{FBFD27F1-6239-8930-4232-6BE88DD9D00E}"/>
              </a:ext>
            </a:extLst>
          </p:cNvPr>
          <p:cNvSpPr/>
          <p:nvPr/>
        </p:nvSpPr>
        <p:spPr>
          <a:xfrm>
            <a:off x="3318184" y="2347918"/>
            <a:ext cx="589749" cy="560223"/>
          </a:xfrm>
          <a:custGeom>
            <a:avLst/>
            <a:gdLst>
              <a:gd name="connsiteX0" fmla="*/ 521596 w 589749"/>
              <a:gd name="connsiteY0" fmla="*/ 286966 h 560223"/>
              <a:gd name="connsiteX1" fmla="*/ 589750 w 589749"/>
              <a:gd name="connsiteY1" fmla="*/ 219007 h 560223"/>
              <a:gd name="connsiteX2" fmla="*/ 521790 w 589749"/>
              <a:gd name="connsiteY2" fmla="*/ 150853 h 560223"/>
              <a:gd name="connsiteX3" fmla="*/ 453637 w 589749"/>
              <a:gd name="connsiteY3" fmla="*/ 218812 h 560223"/>
              <a:gd name="connsiteX4" fmla="*/ 456560 w 589749"/>
              <a:gd name="connsiteY4" fmla="*/ 238640 h 560223"/>
              <a:gd name="connsiteX5" fmla="*/ 379540 w 589749"/>
              <a:gd name="connsiteY5" fmla="*/ 271456 h 560223"/>
              <a:gd name="connsiteX6" fmla="*/ 302619 w 589749"/>
              <a:gd name="connsiteY6" fmla="*/ 219392 h 560223"/>
              <a:gd name="connsiteX7" fmla="*/ 302619 w 589749"/>
              <a:gd name="connsiteY7" fmla="*/ 135502 h 560223"/>
              <a:gd name="connsiteX8" fmla="*/ 362606 w 589749"/>
              <a:gd name="connsiteY8" fmla="*/ 60413 h 560223"/>
              <a:gd name="connsiteX9" fmla="*/ 287517 w 589749"/>
              <a:gd name="connsiteY9" fmla="*/ 427 h 560223"/>
              <a:gd name="connsiteX10" fmla="*/ 227530 w 589749"/>
              <a:gd name="connsiteY10" fmla="*/ 75515 h 560223"/>
              <a:gd name="connsiteX11" fmla="*/ 287517 w 589749"/>
              <a:gd name="connsiteY11" fmla="*/ 135502 h 560223"/>
              <a:gd name="connsiteX12" fmla="*/ 287517 w 589749"/>
              <a:gd name="connsiteY12" fmla="*/ 219392 h 560223"/>
              <a:gd name="connsiteX13" fmla="*/ 210633 w 589749"/>
              <a:gd name="connsiteY13" fmla="*/ 271456 h 560223"/>
              <a:gd name="connsiteX14" fmla="*/ 133576 w 589749"/>
              <a:gd name="connsiteY14" fmla="*/ 238640 h 560223"/>
              <a:gd name="connsiteX15" fmla="*/ 88229 w 589749"/>
              <a:gd name="connsiteY15" fmla="*/ 153407 h 560223"/>
              <a:gd name="connsiteX16" fmla="*/ 2996 w 589749"/>
              <a:gd name="connsiteY16" fmla="*/ 198754 h 560223"/>
              <a:gd name="connsiteX17" fmla="*/ 48344 w 589749"/>
              <a:gd name="connsiteY17" fmla="*/ 283987 h 560223"/>
              <a:gd name="connsiteX18" fmla="*/ 127596 w 589749"/>
              <a:gd name="connsiteY18" fmla="*/ 252503 h 560223"/>
              <a:gd name="connsiteX19" fmla="*/ 204910 w 589749"/>
              <a:gd name="connsiteY19" fmla="*/ 285456 h 560223"/>
              <a:gd name="connsiteX20" fmla="*/ 221522 w 589749"/>
              <a:gd name="connsiteY20" fmla="*/ 372480 h 560223"/>
              <a:gd name="connsiteX21" fmla="*/ 159415 w 589749"/>
              <a:gd name="connsiteY21" fmla="*/ 434586 h 560223"/>
              <a:gd name="connsiteX22" fmla="*/ 63697 w 589749"/>
              <a:gd name="connsiteY22" fmla="*/ 452430 h 560223"/>
              <a:gd name="connsiteX23" fmla="*/ 81540 w 589749"/>
              <a:gd name="connsiteY23" fmla="*/ 548149 h 560223"/>
              <a:gd name="connsiteX24" fmla="*/ 177259 w 589749"/>
              <a:gd name="connsiteY24" fmla="*/ 530305 h 560223"/>
              <a:gd name="connsiteX25" fmla="*/ 170885 w 589749"/>
              <a:gd name="connsiteY25" fmla="*/ 444470 h 560223"/>
              <a:gd name="connsiteX26" fmla="*/ 231942 w 589749"/>
              <a:gd name="connsiteY26" fmla="*/ 383414 h 560223"/>
              <a:gd name="connsiteX27" fmla="*/ 358133 w 589749"/>
              <a:gd name="connsiteY27" fmla="*/ 383414 h 560223"/>
              <a:gd name="connsiteX28" fmla="*/ 419190 w 589749"/>
              <a:gd name="connsiteY28" fmla="*/ 444470 h 560223"/>
              <a:gd name="connsiteX29" fmla="*/ 422874 w 589749"/>
              <a:gd name="connsiteY29" fmla="*/ 539438 h 560223"/>
              <a:gd name="connsiteX30" fmla="*/ 517842 w 589749"/>
              <a:gd name="connsiteY30" fmla="*/ 535755 h 560223"/>
              <a:gd name="connsiteX31" fmla="*/ 514158 w 589749"/>
              <a:gd name="connsiteY31" fmla="*/ 440786 h 560223"/>
              <a:gd name="connsiteX32" fmla="*/ 430660 w 589749"/>
              <a:gd name="connsiteY32" fmla="*/ 434586 h 560223"/>
              <a:gd name="connsiteX33" fmla="*/ 368553 w 589749"/>
              <a:gd name="connsiteY33" fmla="*/ 372480 h 560223"/>
              <a:gd name="connsiteX34" fmla="*/ 385226 w 589749"/>
              <a:gd name="connsiteY34" fmla="*/ 285456 h 560223"/>
              <a:gd name="connsiteX35" fmla="*/ 462540 w 589749"/>
              <a:gd name="connsiteY35" fmla="*/ 252526 h 560223"/>
              <a:gd name="connsiteX36" fmla="*/ 521596 w 589749"/>
              <a:gd name="connsiteY36" fmla="*/ 286966 h 560223"/>
              <a:gd name="connsiteX37" fmla="*/ 38525 w 589749"/>
              <a:gd name="connsiteY37" fmla="*/ 262463 h 560223"/>
              <a:gd name="connsiteX38" fmla="*/ 70190 w 589749"/>
              <a:gd name="connsiteY38" fmla="*/ 234098 h 560223"/>
              <a:gd name="connsiteX39" fmla="*/ 98555 w 589749"/>
              <a:gd name="connsiteY39" fmla="*/ 262463 h 560223"/>
              <a:gd name="connsiteX40" fmla="*/ 38525 w 589749"/>
              <a:gd name="connsiteY40" fmla="*/ 262463 h 560223"/>
              <a:gd name="connsiteX41" fmla="*/ 57214 w 589749"/>
              <a:gd name="connsiteY41" fmla="*/ 207681 h 560223"/>
              <a:gd name="connsiteX42" fmla="*/ 68540 w 589749"/>
              <a:gd name="connsiteY42" fmla="*/ 196355 h 560223"/>
              <a:gd name="connsiteX43" fmla="*/ 79866 w 589749"/>
              <a:gd name="connsiteY43" fmla="*/ 207681 h 560223"/>
              <a:gd name="connsiteX44" fmla="*/ 68540 w 589749"/>
              <a:gd name="connsiteY44" fmla="*/ 219007 h 560223"/>
              <a:gd name="connsiteX45" fmla="*/ 57214 w 589749"/>
              <a:gd name="connsiteY45" fmla="*/ 207681 h 560223"/>
              <a:gd name="connsiteX46" fmla="*/ 111414 w 589749"/>
              <a:gd name="connsiteY46" fmla="*/ 249800 h 560223"/>
              <a:gd name="connsiteX47" fmla="*/ 89154 w 589749"/>
              <a:gd name="connsiteY47" fmla="*/ 224014 h 560223"/>
              <a:gd name="connsiteX48" fmla="*/ 94968 w 589749"/>
              <a:gd name="connsiteY48" fmla="*/ 207681 h 560223"/>
              <a:gd name="connsiteX49" fmla="*/ 68540 w 589749"/>
              <a:gd name="connsiteY49" fmla="*/ 181253 h 560223"/>
              <a:gd name="connsiteX50" fmla="*/ 42112 w 589749"/>
              <a:gd name="connsiteY50" fmla="*/ 207681 h 560223"/>
              <a:gd name="connsiteX51" fmla="*/ 47926 w 589749"/>
              <a:gd name="connsiteY51" fmla="*/ 224014 h 560223"/>
              <a:gd name="connsiteX52" fmla="*/ 25666 w 589749"/>
              <a:gd name="connsiteY52" fmla="*/ 249800 h 560223"/>
              <a:gd name="connsiteX53" fmla="*/ 37627 w 589749"/>
              <a:gd name="connsiteY53" fmla="*/ 176013 h 560223"/>
              <a:gd name="connsiteX54" fmla="*/ 111414 w 589749"/>
              <a:gd name="connsiteY54" fmla="*/ 187974 h 560223"/>
              <a:gd name="connsiteX55" fmla="*/ 111414 w 589749"/>
              <a:gd name="connsiteY55" fmla="*/ 249800 h 560223"/>
              <a:gd name="connsiteX56" fmla="*/ 283741 w 589749"/>
              <a:gd name="connsiteY56" fmla="*/ 56662 h 560223"/>
              <a:gd name="connsiteX57" fmla="*/ 295068 w 589749"/>
              <a:gd name="connsiteY57" fmla="*/ 45336 h 560223"/>
              <a:gd name="connsiteX58" fmla="*/ 306394 w 589749"/>
              <a:gd name="connsiteY58" fmla="*/ 56662 h 560223"/>
              <a:gd name="connsiteX59" fmla="*/ 295068 w 589749"/>
              <a:gd name="connsiteY59" fmla="*/ 67989 h 560223"/>
              <a:gd name="connsiteX60" fmla="*/ 283741 w 589749"/>
              <a:gd name="connsiteY60" fmla="*/ 56662 h 560223"/>
              <a:gd name="connsiteX61" fmla="*/ 295068 w 589749"/>
              <a:gd name="connsiteY61" fmla="*/ 83091 h 560223"/>
              <a:gd name="connsiteX62" fmla="*/ 325083 w 589749"/>
              <a:gd name="connsiteY62" fmla="*/ 111444 h 560223"/>
              <a:gd name="connsiteX63" fmla="*/ 265053 w 589749"/>
              <a:gd name="connsiteY63" fmla="*/ 111444 h 560223"/>
              <a:gd name="connsiteX64" fmla="*/ 295068 w 589749"/>
              <a:gd name="connsiteY64" fmla="*/ 83091 h 560223"/>
              <a:gd name="connsiteX65" fmla="*/ 242211 w 589749"/>
              <a:gd name="connsiteY65" fmla="*/ 67989 h 560223"/>
              <a:gd name="connsiteX66" fmla="*/ 294948 w 589749"/>
              <a:gd name="connsiteY66" fmla="*/ 15012 h 560223"/>
              <a:gd name="connsiteX67" fmla="*/ 347924 w 589749"/>
              <a:gd name="connsiteY67" fmla="*/ 67749 h 560223"/>
              <a:gd name="connsiteX68" fmla="*/ 337942 w 589749"/>
              <a:gd name="connsiteY68" fmla="*/ 98781 h 560223"/>
              <a:gd name="connsiteX69" fmla="*/ 315682 w 589749"/>
              <a:gd name="connsiteY69" fmla="*/ 72995 h 560223"/>
              <a:gd name="connsiteX70" fmla="*/ 321496 w 589749"/>
              <a:gd name="connsiteY70" fmla="*/ 56662 h 560223"/>
              <a:gd name="connsiteX71" fmla="*/ 295068 w 589749"/>
              <a:gd name="connsiteY71" fmla="*/ 30234 h 560223"/>
              <a:gd name="connsiteX72" fmla="*/ 268640 w 589749"/>
              <a:gd name="connsiteY72" fmla="*/ 56662 h 560223"/>
              <a:gd name="connsiteX73" fmla="*/ 274454 w 589749"/>
              <a:gd name="connsiteY73" fmla="*/ 72995 h 560223"/>
              <a:gd name="connsiteX74" fmla="*/ 252194 w 589749"/>
              <a:gd name="connsiteY74" fmla="*/ 98781 h 560223"/>
              <a:gd name="connsiteX75" fmla="*/ 242211 w 589749"/>
              <a:gd name="connsiteY75" fmla="*/ 67989 h 560223"/>
              <a:gd name="connsiteX76" fmla="*/ 91382 w 589749"/>
              <a:gd name="connsiteY76" fmla="*/ 534296 h 560223"/>
              <a:gd name="connsiteX77" fmla="*/ 123046 w 589749"/>
              <a:gd name="connsiteY77" fmla="*/ 505931 h 560223"/>
              <a:gd name="connsiteX78" fmla="*/ 151411 w 589749"/>
              <a:gd name="connsiteY78" fmla="*/ 534296 h 560223"/>
              <a:gd name="connsiteX79" fmla="*/ 91382 w 589749"/>
              <a:gd name="connsiteY79" fmla="*/ 534296 h 560223"/>
              <a:gd name="connsiteX80" fmla="*/ 110070 w 589749"/>
              <a:gd name="connsiteY80" fmla="*/ 479514 h 560223"/>
              <a:gd name="connsiteX81" fmla="*/ 121397 w 589749"/>
              <a:gd name="connsiteY81" fmla="*/ 468188 h 560223"/>
              <a:gd name="connsiteX82" fmla="*/ 132723 w 589749"/>
              <a:gd name="connsiteY82" fmla="*/ 479514 h 560223"/>
              <a:gd name="connsiteX83" fmla="*/ 121397 w 589749"/>
              <a:gd name="connsiteY83" fmla="*/ 490841 h 560223"/>
              <a:gd name="connsiteX84" fmla="*/ 110070 w 589749"/>
              <a:gd name="connsiteY84" fmla="*/ 479514 h 560223"/>
              <a:gd name="connsiteX85" fmla="*/ 164271 w 589749"/>
              <a:gd name="connsiteY85" fmla="*/ 521633 h 560223"/>
              <a:gd name="connsiteX86" fmla="*/ 142011 w 589749"/>
              <a:gd name="connsiteY86" fmla="*/ 495847 h 560223"/>
              <a:gd name="connsiteX87" fmla="*/ 147825 w 589749"/>
              <a:gd name="connsiteY87" fmla="*/ 479514 h 560223"/>
              <a:gd name="connsiteX88" fmla="*/ 121397 w 589749"/>
              <a:gd name="connsiteY88" fmla="*/ 453086 h 560223"/>
              <a:gd name="connsiteX89" fmla="*/ 94968 w 589749"/>
              <a:gd name="connsiteY89" fmla="*/ 479514 h 560223"/>
              <a:gd name="connsiteX90" fmla="*/ 100782 w 589749"/>
              <a:gd name="connsiteY90" fmla="*/ 495847 h 560223"/>
              <a:gd name="connsiteX91" fmla="*/ 78522 w 589749"/>
              <a:gd name="connsiteY91" fmla="*/ 521633 h 560223"/>
              <a:gd name="connsiteX92" fmla="*/ 90484 w 589749"/>
              <a:gd name="connsiteY92" fmla="*/ 447847 h 560223"/>
              <a:gd name="connsiteX93" fmla="*/ 164271 w 589749"/>
              <a:gd name="connsiteY93" fmla="*/ 459807 h 560223"/>
              <a:gd name="connsiteX94" fmla="*/ 164271 w 589749"/>
              <a:gd name="connsiteY94" fmla="*/ 521633 h 560223"/>
              <a:gd name="connsiteX95" fmla="*/ 249407 w 589749"/>
              <a:gd name="connsiteY95" fmla="*/ 378098 h 560223"/>
              <a:gd name="connsiteX96" fmla="*/ 299388 w 589749"/>
              <a:gd name="connsiteY96" fmla="*/ 336757 h 560223"/>
              <a:gd name="connsiteX97" fmla="*/ 340728 w 589749"/>
              <a:gd name="connsiteY97" fmla="*/ 378098 h 560223"/>
              <a:gd name="connsiteX98" fmla="*/ 249407 w 589749"/>
              <a:gd name="connsiteY98" fmla="*/ 378098 h 560223"/>
              <a:gd name="connsiteX99" fmla="*/ 274069 w 589749"/>
              <a:gd name="connsiteY99" fmla="*/ 300414 h 560223"/>
              <a:gd name="connsiteX100" fmla="*/ 295075 w 589749"/>
              <a:gd name="connsiteY100" fmla="*/ 279422 h 560223"/>
              <a:gd name="connsiteX101" fmla="*/ 316067 w 589749"/>
              <a:gd name="connsiteY101" fmla="*/ 300429 h 560223"/>
              <a:gd name="connsiteX102" fmla="*/ 295068 w 589749"/>
              <a:gd name="connsiteY102" fmla="*/ 321421 h 560223"/>
              <a:gd name="connsiteX103" fmla="*/ 274069 w 589749"/>
              <a:gd name="connsiteY103" fmla="*/ 300414 h 560223"/>
              <a:gd name="connsiteX104" fmla="*/ 438724 w 589749"/>
              <a:gd name="connsiteY104" fmla="*/ 534296 h 560223"/>
              <a:gd name="connsiteX105" fmla="*/ 470389 w 589749"/>
              <a:gd name="connsiteY105" fmla="*/ 505931 h 560223"/>
              <a:gd name="connsiteX106" fmla="*/ 498754 w 589749"/>
              <a:gd name="connsiteY106" fmla="*/ 534296 h 560223"/>
              <a:gd name="connsiteX107" fmla="*/ 438724 w 589749"/>
              <a:gd name="connsiteY107" fmla="*/ 534296 h 560223"/>
              <a:gd name="connsiteX108" fmla="*/ 457413 w 589749"/>
              <a:gd name="connsiteY108" fmla="*/ 479514 h 560223"/>
              <a:gd name="connsiteX109" fmla="*/ 468739 w 589749"/>
              <a:gd name="connsiteY109" fmla="*/ 468188 h 560223"/>
              <a:gd name="connsiteX110" fmla="*/ 480066 w 589749"/>
              <a:gd name="connsiteY110" fmla="*/ 479514 h 560223"/>
              <a:gd name="connsiteX111" fmla="*/ 468739 w 589749"/>
              <a:gd name="connsiteY111" fmla="*/ 490841 h 560223"/>
              <a:gd name="connsiteX112" fmla="*/ 457413 w 589749"/>
              <a:gd name="connsiteY112" fmla="*/ 479514 h 560223"/>
              <a:gd name="connsiteX113" fmla="*/ 521596 w 589749"/>
              <a:gd name="connsiteY113" fmla="*/ 490841 h 560223"/>
              <a:gd name="connsiteX114" fmla="*/ 511613 w 589749"/>
              <a:gd name="connsiteY114" fmla="*/ 521633 h 560223"/>
              <a:gd name="connsiteX115" fmla="*/ 489353 w 589749"/>
              <a:gd name="connsiteY115" fmla="*/ 495847 h 560223"/>
              <a:gd name="connsiteX116" fmla="*/ 495167 w 589749"/>
              <a:gd name="connsiteY116" fmla="*/ 479514 h 560223"/>
              <a:gd name="connsiteX117" fmla="*/ 468739 w 589749"/>
              <a:gd name="connsiteY117" fmla="*/ 453086 h 560223"/>
              <a:gd name="connsiteX118" fmla="*/ 442311 w 589749"/>
              <a:gd name="connsiteY118" fmla="*/ 479514 h 560223"/>
              <a:gd name="connsiteX119" fmla="*/ 448125 w 589749"/>
              <a:gd name="connsiteY119" fmla="*/ 495847 h 560223"/>
              <a:gd name="connsiteX120" fmla="*/ 425865 w 589749"/>
              <a:gd name="connsiteY120" fmla="*/ 521633 h 560223"/>
              <a:gd name="connsiteX121" fmla="*/ 437826 w 589749"/>
              <a:gd name="connsiteY121" fmla="*/ 447847 h 560223"/>
              <a:gd name="connsiteX122" fmla="*/ 511613 w 589749"/>
              <a:gd name="connsiteY122" fmla="*/ 459808 h 560223"/>
              <a:gd name="connsiteX123" fmla="*/ 521596 w 589749"/>
              <a:gd name="connsiteY123" fmla="*/ 490841 h 560223"/>
              <a:gd name="connsiteX124" fmla="*/ 353852 w 589749"/>
              <a:gd name="connsiteY124" fmla="*/ 366409 h 560223"/>
              <a:gd name="connsiteX125" fmla="*/ 319699 w 589749"/>
              <a:gd name="connsiteY125" fmla="*/ 326661 h 560223"/>
              <a:gd name="connsiteX126" fmla="*/ 321461 w 589749"/>
              <a:gd name="connsiteY126" fmla="*/ 275637 h 560223"/>
              <a:gd name="connsiteX127" fmla="*/ 270437 w 589749"/>
              <a:gd name="connsiteY127" fmla="*/ 273875 h 560223"/>
              <a:gd name="connsiteX128" fmla="*/ 268675 w 589749"/>
              <a:gd name="connsiteY128" fmla="*/ 324899 h 560223"/>
              <a:gd name="connsiteX129" fmla="*/ 270437 w 589749"/>
              <a:gd name="connsiteY129" fmla="*/ 326661 h 560223"/>
              <a:gd name="connsiteX130" fmla="*/ 236284 w 589749"/>
              <a:gd name="connsiteY130" fmla="*/ 366409 h 560223"/>
              <a:gd name="connsiteX131" fmla="*/ 241866 w 589749"/>
              <a:gd name="connsiteY131" fmla="*/ 254423 h 560223"/>
              <a:gd name="connsiteX132" fmla="*/ 353852 w 589749"/>
              <a:gd name="connsiteY132" fmla="*/ 260004 h 560223"/>
              <a:gd name="connsiteX133" fmla="*/ 353852 w 589749"/>
              <a:gd name="connsiteY133" fmla="*/ 366409 h 560223"/>
              <a:gd name="connsiteX134" fmla="*/ 491581 w 589749"/>
              <a:gd name="connsiteY134" fmla="*/ 262463 h 560223"/>
              <a:gd name="connsiteX135" fmla="*/ 523246 w 589749"/>
              <a:gd name="connsiteY135" fmla="*/ 234098 h 560223"/>
              <a:gd name="connsiteX136" fmla="*/ 551611 w 589749"/>
              <a:gd name="connsiteY136" fmla="*/ 262463 h 560223"/>
              <a:gd name="connsiteX137" fmla="*/ 491581 w 589749"/>
              <a:gd name="connsiteY137" fmla="*/ 262463 h 560223"/>
              <a:gd name="connsiteX138" fmla="*/ 510269 w 589749"/>
              <a:gd name="connsiteY138" fmla="*/ 207681 h 560223"/>
              <a:gd name="connsiteX139" fmla="*/ 521596 w 589749"/>
              <a:gd name="connsiteY139" fmla="*/ 196355 h 560223"/>
              <a:gd name="connsiteX140" fmla="*/ 532922 w 589749"/>
              <a:gd name="connsiteY140" fmla="*/ 207681 h 560223"/>
              <a:gd name="connsiteX141" fmla="*/ 521596 w 589749"/>
              <a:gd name="connsiteY141" fmla="*/ 219007 h 560223"/>
              <a:gd name="connsiteX142" fmla="*/ 510269 w 589749"/>
              <a:gd name="connsiteY142" fmla="*/ 207681 h 560223"/>
              <a:gd name="connsiteX143" fmla="*/ 521596 w 589749"/>
              <a:gd name="connsiteY143" fmla="*/ 166151 h 560223"/>
              <a:gd name="connsiteX144" fmla="*/ 574452 w 589749"/>
              <a:gd name="connsiteY144" fmla="*/ 218826 h 560223"/>
              <a:gd name="connsiteX145" fmla="*/ 564470 w 589749"/>
              <a:gd name="connsiteY145" fmla="*/ 249800 h 560223"/>
              <a:gd name="connsiteX146" fmla="*/ 542210 w 589749"/>
              <a:gd name="connsiteY146" fmla="*/ 224014 h 560223"/>
              <a:gd name="connsiteX147" fmla="*/ 548024 w 589749"/>
              <a:gd name="connsiteY147" fmla="*/ 207681 h 560223"/>
              <a:gd name="connsiteX148" fmla="*/ 521596 w 589749"/>
              <a:gd name="connsiteY148" fmla="*/ 181253 h 560223"/>
              <a:gd name="connsiteX149" fmla="*/ 495167 w 589749"/>
              <a:gd name="connsiteY149" fmla="*/ 207681 h 560223"/>
              <a:gd name="connsiteX150" fmla="*/ 500982 w 589749"/>
              <a:gd name="connsiteY150" fmla="*/ 224014 h 560223"/>
              <a:gd name="connsiteX151" fmla="*/ 478721 w 589749"/>
              <a:gd name="connsiteY151" fmla="*/ 249800 h 560223"/>
              <a:gd name="connsiteX152" fmla="*/ 490622 w 589749"/>
              <a:gd name="connsiteY152" fmla="*/ 176133 h 560223"/>
              <a:gd name="connsiteX153" fmla="*/ 521596 w 589749"/>
              <a:gd name="connsiteY153" fmla="*/ 166151 h 560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589749" h="560223">
                <a:moveTo>
                  <a:pt x="521596" y="286966"/>
                </a:moveTo>
                <a:cubicBezTo>
                  <a:pt x="559182" y="287019"/>
                  <a:pt x="589696" y="256594"/>
                  <a:pt x="589750" y="219007"/>
                </a:cubicBezTo>
                <a:cubicBezTo>
                  <a:pt x="589803" y="181420"/>
                  <a:pt x="559377" y="150907"/>
                  <a:pt x="521790" y="150853"/>
                </a:cubicBezTo>
                <a:cubicBezTo>
                  <a:pt x="484204" y="150799"/>
                  <a:pt x="453691" y="181226"/>
                  <a:pt x="453637" y="218812"/>
                </a:cubicBezTo>
                <a:cubicBezTo>
                  <a:pt x="453627" y="225529"/>
                  <a:pt x="454612" y="232211"/>
                  <a:pt x="456560" y="238640"/>
                </a:cubicBezTo>
                <a:lnTo>
                  <a:pt x="379540" y="271456"/>
                </a:lnTo>
                <a:cubicBezTo>
                  <a:pt x="364798" y="241818"/>
                  <a:pt x="335613" y="222065"/>
                  <a:pt x="302619" y="219392"/>
                </a:cubicBezTo>
                <a:lnTo>
                  <a:pt x="302619" y="135502"/>
                </a:lnTo>
                <a:cubicBezTo>
                  <a:pt x="339919" y="131331"/>
                  <a:pt x="366776" y="97713"/>
                  <a:pt x="362606" y="60413"/>
                </a:cubicBezTo>
                <a:cubicBezTo>
                  <a:pt x="358435" y="23113"/>
                  <a:pt x="324817" y="-3743"/>
                  <a:pt x="287517" y="427"/>
                </a:cubicBezTo>
                <a:cubicBezTo>
                  <a:pt x="250217" y="4597"/>
                  <a:pt x="223360" y="38215"/>
                  <a:pt x="227530" y="75515"/>
                </a:cubicBezTo>
                <a:cubicBezTo>
                  <a:pt x="231058" y="107069"/>
                  <a:pt x="255964" y="131974"/>
                  <a:pt x="287517" y="135502"/>
                </a:cubicBezTo>
                <a:lnTo>
                  <a:pt x="287517" y="219392"/>
                </a:lnTo>
                <a:cubicBezTo>
                  <a:pt x="254537" y="222077"/>
                  <a:pt x="225369" y="241829"/>
                  <a:pt x="210633" y="271456"/>
                </a:cubicBezTo>
                <a:lnTo>
                  <a:pt x="133576" y="238640"/>
                </a:lnTo>
                <a:cubicBezTo>
                  <a:pt x="144590" y="202581"/>
                  <a:pt x="124288" y="164421"/>
                  <a:pt x="88229" y="153407"/>
                </a:cubicBezTo>
                <a:cubicBezTo>
                  <a:pt x="52170" y="142393"/>
                  <a:pt x="14010" y="162696"/>
                  <a:pt x="2996" y="198754"/>
                </a:cubicBezTo>
                <a:cubicBezTo>
                  <a:pt x="-8018" y="234813"/>
                  <a:pt x="12285" y="272973"/>
                  <a:pt x="48344" y="283987"/>
                </a:cubicBezTo>
                <a:cubicBezTo>
                  <a:pt x="78873" y="293312"/>
                  <a:pt x="111788" y="280236"/>
                  <a:pt x="127596" y="252503"/>
                </a:cubicBezTo>
                <a:lnTo>
                  <a:pt x="204910" y="285456"/>
                </a:lnTo>
                <a:cubicBezTo>
                  <a:pt x="195605" y="315420"/>
                  <a:pt x="201834" y="348050"/>
                  <a:pt x="221522" y="372480"/>
                </a:cubicBezTo>
                <a:lnTo>
                  <a:pt x="159415" y="434586"/>
                </a:lnTo>
                <a:cubicBezTo>
                  <a:pt x="128056" y="413082"/>
                  <a:pt x="85201" y="421071"/>
                  <a:pt x="63697" y="452430"/>
                </a:cubicBezTo>
                <a:cubicBezTo>
                  <a:pt x="42192" y="483790"/>
                  <a:pt x="50181" y="526644"/>
                  <a:pt x="81540" y="548149"/>
                </a:cubicBezTo>
                <a:cubicBezTo>
                  <a:pt x="112900" y="569654"/>
                  <a:pt x="155755" y="561665"/>
                  <a:pt x="177259" y="530305"/>
                </a:cubicBezTo>
                <a:cubicBezTo>
                  <a:pt x="195485" y="503728"/>
                  <a:pt x="192836" y="468064"/>
                  <a:pt x="170885" y="444470"/>
                </a:cubicBezTo>
                <a:lnTo>
                  <a:pt x="231942" y="383414"/>
                </a:lnTo>
                <a:cubicBezTo>
                  <a:pt x="267720" y="415935"/>
                  <a:pt x="322355" y="415935"/>
                  <a:pt x="358133" y="383414"/>
                </a:cubicBezTo>
                <a:lnTo>
                  <a:pt x="419190" y="444470"/>
                </a:lnTo>
                <a:cubicBezTo>
                  <a:pt x="393983" y="471713"/>
                  <a:pt x="395632" y="514231"/>
                  <a:pt x="422874" y="539438"/>
                </a:cubicBezTo>
                <a:cubicBezTo>
                  <a:pt x="450116" y="564647"/>
                  <a:pt x="492635" y="562997"/>
                  <a:pt x="517842" y="535755"/>
                </a:cubicBezTo>
                <a:cubicBezTo>
                  <a:pt x="543049" y="508513"/>
                  <a:pt x="541400" y="465994"/>
                  <a:pt x="514158" y="440786"/>
                </a:cubicBezTo>
                <a:cubicBezTo>
                  <a:pt x="491171" y="419515"/>
                  <a:pt x="456537" y="416944"/>
                  <a:pt x="430660" y="434586"/>
                </a:cubicBezTo>
                <a:lnTo>
                  <a:pt x="368553" y="372480"/>
                </a:lnTo>
                <a:cubicBezTo>
                  <a:pt x="388263" y="348061"/>
                  <a:pt x="394514" y="315430"/>
                  <a:pt x="385226" y="285456"/>
                </a:cubicBezTo>
                <a:lnTo>
                  <a:pt x="462540" y="252526"/>
                </a:lnTo>
                <a:cubicBezTo>
                  <a:pt x="474598" y="273792"/>
                  <a:pt x="497149" y="286944"/>
                  <a:pt x="521596" y="286966"/>
                </a:cubicBezTo>
                <a:close/>
                <a:moveTo>
                  <a:pt x="38525" y="262463"/>
                </a:moveTo>
                <a:cubicBezTo>
                  <a:pt x="39436" y="245886"/>
                  <a:pt x="53613" y="233186"/>
                  <a:pt x="70190" y="234098"/>
                </a:cubicBezTo>
                <a:cubicBezTo>
                  <a:pt x="85493" y="234939"/>
                  <a:pt x="97714" y="247159"/>
                  <a:pt x="98555" y="262463"/>
                </a:cubicBezTo>
                <a:cubicBezTo>
                  <a:pt x="80508" y="274997"/>
                  <a:pt x="56572" y="274997"/>
                  <a:pt x="38525" y="262463"/>
                </a:cubicBezTo>
                <a:close/>
                <a:moveTo>
                  <a:pt x="57214" y="207681"/>
                </a:moveTo>
                <a:cubicBezTo>
                  <a:pt x="57214" y="201426"/>
                  <a:pt x="62285" y="196355"/>
                  <a:pt x="68540" y="196355"/>
                </a:cubicBezTo>
                <a:cubicBezTo>
                  <a:pt x="74795" y="196355"/>
                  <a:pt x="79866" y="201426"/>
                  <a:pt x="79866" y="207681"/>
                </a:cubicBezTo>
                <a:cubicBezTo>
                  <a:pt x="79866" y="213936"/>
                  <a:pt x="74795" y="219007"/>
                  <a:pt x="68540" y="219007"/>
                </a:cubicBezTo>
                <a:cubicBezTo>
                  <a:pt x="62285" y="219007"/>
                  <a:pt x="57214" y="213936"/>
                  <a:pt x="57214" y="207681"/>
                </a:cubicBezTo>
                <a:close/>
                <a:moveTo>
                  <a:pt x="111414" y="249800"/>
                </a:moveTo>
                <a:cubicBezTo>
                  <a:pt x="107612" y="238647"/>
                  <a:pt x="99632" y="229403"/>
                  <a:pt x="89154" y="224014"/>
                </a:cubicBezTo>
                <a:cubicBezTo>
                  <a:pt x="92891" y="219388"/>
                  <a:pt x="94941" y="213627"/>
                  <a:pt x="94968" y="207681"/>
                </a:cubicBezTo>
                <a:cubicBezTo>
                  <a:pt x="94968" y="193085"/>
                  <a:pt x="83136" y="181253"/>
                  <a:pt x="68540" y="181253"/>
                </a:cubicBezTo>
                <a:cubicBezTo>
                  <a:pt x="53944" y="181253"/>
                  <a:pt x="42112" y="193085"/>
                  <a:pt x="42112" y="207681"/>
                </a:cubicBezTo>
                <a:cubicBezTo>
                  <a:pt x="42139" y="213627"/>
                  <a:pt x="44189" y="219388"/>
                  <a:pt x="47926" y="224014"/>
                </a:cubicBezTo>
                <a:cubicBezTo>
                  <a:pt x="37448" y="229403"/>
                  <a:pt x="29468" y="238647"/>
                  <a:pt x="25666" y="249800"/>
                </a:cubicBezTo>
                <a:cubicBezTo>
                  <a:pt x="8593" y="226121"/>
                  <a:pt x="13948" y="193086"/>
                  <a:pt x="37627" y="176013"/>
                </a:cubicBezTo>
                <a:cubicBezTo>
                  <a:pt x="61305" y="158940"/>
                  <a:pt x="94342" y="164296"/>
                  <a:pt x="111414" y="187974"/>
                </a:cubicBezTo>
                <a:cubicBezTo>
                  <a:pt x="124724" y="206434"/>
                  <a:pt x="124724" y="231340"/>
                  <a:pt x="111414" y="249800"/>
                </a:cubicBezTo>
                <a:close/>
                <a:moveTo>
                  <a:pt x="283741" y="56662"/>
                </a:moveTo>
                <a:cubicBezTo>
                  <a:pt x="283741" y="50407"/>
                  <a:pt x="288813" y="45336"/>
                  <a:pt x="295068" y="45336"/>
                </a:cubicBezTo>
                <a:cubicBezTo>
                  <a:pt x="301323" y="45336"/>
                  <a:pt x="306394" y="50407"/>
                  <a:pt x="306394" y="56662"/>
                </a:cubicBezTo>
                <a:cubicBezTo>
                  <a:pt x="306394" y="62918"/>
                  <a:pt x="301323" y="67989"/>
                  <a:pt x="295068" y="67989"/>
                </a:cubicBezTo>
                <a:cubicBezTo>
                  <a:pt x="288813" y="67989"/>
                  <a:pt x="283741" y="62918"/>
                  <a:pt x="283741" y="56662"/>
                </a:cubicBezTo>
                <a:close/>
                <a:moveTo>
                  <a:pt x="295068" y="83091"/>
                </a:moveTo>
                <a:cubicBezTo>
                  <a:pt x="310990" y="83134"/>
                  <a:pt x="324134" y="95550"/>
                  <a:pt x="325083" y="111444"/>
                </a:cubicBezTo>
                <a:cubicBezTo>
                  <a:pt x="307036" y="123979"/>
                  <a:pt x="283100" y="123979"/>
                  <a:pt x="265053" y="111444"/>
                </a:cubicBezTo>
                <a:cubicBezTo>
                  <a:pt x="266002" y="95550"/>
                  <a:pt x="279146" y="83134"/>
                  <a:pt x="295068" y="83091"/>
                </a:cubicBezTo>
                <a:close/>
                <a:moveTo>
                  <a:pt x="242211" y="67989"/>
                </a:moveTo>
                <a:cubicBezTo>
                  <a:pt x="242145" y="38797"/>
                  <a:pt x="265756" y="15079"/>
                  <a:pt x="294948" y="15012"/>
                </a:cubicBezTo>
                <a:cubicBezTo>
                  <a:pt x="324140" y="14946"/>
                  <a:pt x="347858" y="38557"/>
                  <a:pt x="347924" y="67749"/>
                </a:cubicBezTo>
                <a:cubicBezTo>
                  <a:pt x="347949" y="78886"/>
                  <a:pt x="344455" y="89748"/>
                  <a:pt x="337942" y="98781"/>
                </a:cubicBezTo>
                <a:cubicBezTo>
                  <a:pt x="334139" y="87629"/>
                  <a:pt x="326160" y="78385"/>
                  <a:pt x="315682" y="72995"/>
                </a:cubicBezTo>
                <a:cubicBezTo>
                  <a:pt x="319419" y="68369"/>
                  <a:pt x="321469" y="62609"/>
                  <a:pt x="321496" y="56662"/>
                </a:cubicBezTo>
                <a:cubicBezTo>
                  <a:pt x="321496" y="42066"/>
                  <a:pt x="309664" y="30234"/>
                  <a:pt x="295068" y="30234"/>
                </a:cubicBezTo>
                <a:cubicBezTo>
                  <a:pt x="280472" y="30234"/>
                  <a:pt x="268640" y="42066"/>
                  <a:pt x="268640" y="56662"/>
                </a:cubicBezTo>
                <a:cubicBezTo>
                  <a:pt x="268666" y="62609"/>
                  <a:pt x="270717" y="68369"/>
                  <a:pt x="274454" y="72995"/>
                </a:cubicBezTo>
                <a:cubicBezTo>
                  <a:pt x="263975" y="78385"/>
                  <a:pt x="255996" y="87629"/>
                  <a:pt x="252194" y="98781"/>
                </a:cubicBezTo>
                <a:cubicBezTo>
                  <a:pt x="245707" y="89824"/>
                  <a:pt x="242214" y="79048"/>
                  <a:pt x="242211" y="67989"/>
                </a:cubicBezTo>
                <a:close/>
                <a:moveTo>
                  <a:pt x="91382" y="534296"/>
                </a:moveTo>
                <a:cubicBezTo>
                  <a:pt x="92293" y="517720"/>
                  <a:pt x="106470" y="505020"/>
                  <a:pt x="123046" y="505931"/>
                </a:cubicBezTo>
                <a:cubicBezTo>
                  <a:pt x="138350" y="506772"/>
                  <a:pt x="150570" y="518993"/>
                  <a:pt x="151411" y="534296"/>
                </a:cubicBezTo>
                <a:cubicBezTo>
                  <a:pt x="133365" y="546831"/>
                  <a:pt x="109428" y="546831"/>
                  <a:pt x="91382" y="534296"/>
                </a:cubicBezTo>
                <a:close/>
                <a:moveTo>
                  <a:pt x="110070" y="479514"/>
                </a:moveTo>
                <a:cubicBezTo>
                  <a:pt x="110070" y="473259"/>
                  <a:pt x="115141" y="468188"/>
                  <a:pt x="121397" y="468188"/>
                </a:cubicBezTo>
                <a:cubicBezTo>
                  <a:pt x="127652" y="468188"/>
                  <a:pt x="132723" y="473259"/>
                  <a:pt x="132723" y="479514"/>
                </a:cubicBezTo>
                <a:cubicBezTo>
                  <a:pt x="132723" y="485770"/>
                  <a:pt x="127652" y="490841"/>
                  <a:pt x="121397" y="490841"/>
                </a:cubicBezTo>
                <a:cubicBezTo>
                  <a:pt x="115141" y="490841"/>
                  <a:pt x="110070" y="485770"/>
                  <a:pt x="110070" y="479514"/>
                </a:cubicBezTo>
                <a:close/>
                <a:moveTo>
                  <a:pt x="164271" y="521633"/>
                </a:moveTo>
                <a:cubicBezTo>
                  <a:pt x="160468" y="510481"/>
                  <a:pt x="152489" y="501237"/>
                  <a:pt x="142011" y="495847"/>
                </a:cubicBezTo>
                <a:cubicBezTo>
                  <a:pt x="145747" y="491221"/>
                  <a:pt x="147798" y="485461"/>
                  <a:pt x="147825" y="479514"/>
                </a:cubicBezTo>
                <a:cubicBezTo>
                  <a:pt x="147825" y="464918"/>
                  <a:pt x="135992" y="453086"/>
                  <a:pt x="121397" y="453086"/>
                </a:cubicBezTo>
                <a:cubicBezTo>
                  <a:pt x="106801" y="453086"/>
                  <a:pt x="94968" y="464918"/>
                  <a:pt x="94968" y="479514"/>
                </a:cubicBezTo>
                <a:cubicBezTo>
                  <a:pt x="94995" y="485461"/>
                  <a:pt x="97046" y="491221"/>
                  <a:pt x="100782" y="495847"/>
                </a:cubicBezTo>
                <a:cubicBezTo>
                  <a:pt x="90304" y="501237"/>
                  <a:pt x="82325" y="510481"/>
                  <a:pt x="78522" y="521633"/>
                </a:cubicBezTo>
                <a:cubicBezTo>
                  <a:pt x="61450" y="497954"/>
                  <a:pt x="66805" y="464919"/>
                  <a:pt x="90484" y="447847"/>
                </a:cubicBezTo>
                <a:cubicBezTo>
                  <a:pt x="114162" y="430774"/>
                  <a:pt x="147198" y="436129"/>
                  <a:pt x="164271" y="459807"/>
                </a:cubicBezTo>
                <a:cubicBezTo>
                  <a:pt x="177581" y="478267"/>
                  <a:pt x="177581" y="503174"/>
                  <a:pt x="164271" y="521633"/>
                </a:cubicBezTo>
                <a:close/>
                <a:moveTo>
                  <a:pt x="249407" y="378098"/>
                </a:moveTo>
                <a:cubicBezTo>
                  <a:pt x="251793" y="352880"/>
                  <a:pt x="274170" y="334371"/>
                  <a:pt x="299388" y="336757"/>
                </a:cubicBezTo>
                <a:cubicBezTo>
                  <a:pt x="321304" y="338831"/>
                  <a:pt x="338655" y="356182"/>
                  <a:pt x="340728" y="378098"/>
                </a:cubicBezTo>
                <a:cubicBezTo>
                  <a:pt x="313392" y="397538"/>
                  <a:pt x="276744" y="397538"/>
                  <a:pt x="249407" y="378098"/>
                </a:cubicBezTo>
                <a:close/>
                <a:moveTo>
                  <a:pt x="274069" y="300414"/>
                </a:moveTo>
                <a:cubicBezTo>
                  <a:pt x="274073" y="288816"/>
                  <a:pt x="283478" y="279418"/>
                  <a:pt x="295075" y="279422"/>
                </a:cubicBezTo>
                <a:cubicBezTo>
                  <a:pt x="306673" y="279427"/>
                  <a:pt x="316072" y="288832"/>
                  <a:pt x="316067" y="300429"/>
                </a:cubicBezTo>
                <a:cubicBezTo>
                  <a:pt x="316062" y="312023"/>
                  <a:pt x="306662" y="321421"/>
                  <a:pt x="295068" y="321421"/>
                </a:cubicBezTo>
                <a:cubicBezTo>
                  <a:pt x="283473" y="321408"/>
                  <a:pt x="274077" y="312009"/>
                  <a:pt x="274069" y="300414"/>
                </a:cubicBezTo>
                <a:close/>
                <a:moveTo>
                  <a:pt x="438724" y="534296"/>
                </a:moveTo>
                <a:cubicBezTo>
                  <a:pt x="439636" y="517720"/>
                  <a:pt x="453812" y="505020"/>
                  <a:pt x="470389" y="505931"/>
                </a:cubicBezTo>
                <a:cubicBezTo>
                  <a:pt x="485693" y="506772"/>
                  <a:pt x="497913" y="518993"/>
                  <a:pt x="498754" y="534296"/>
                </a:cubicBezTo>
                <a:cubicBezTo>
                  <a:pt x="480707" y="546831"/>
                  <a:pt x="456771" y="546831"/>
                  <a:pt x="438724" y="534296"/>
                </a:cubicBezTo>
                <a:close/>
                <a:moveTo>
                  <a:pt x="457413" y="479514"/>
                </a:moveTo>
                <a:cubicBezTo>
                  <a:pt x="457413" y="473259"/>
                  <a:pt x="462484" y="468188"/>
                  <a:pt x="468739" y="468188"/>
                </a:cubicBezTo>
                <a:cubicBezTo>
                  <a:pt x="474994" y="468188"/>
                  <a:pt x="480066" y="473259"/>
                  <a:pt x="480066" y="479514"/>
                </a:cubicBezTo>
                <a:cubicBezTo>
                  <a:pt x="480066" y="485770"/>
                  <a:pt x="474994" y="490841"/>
                  <a:pt x="468739" y="490841"/>
                </a:cubicBezTo>
                <a:cubicBezTo>
                  <a:pt x="462484" y="490841"/>
                  <a:pt x="457413" y="485770"/>
                  <a:pt x="457413" y="479514"/>
                </a:cubicBezTo>
                <a:close/>
                <a:moveTo>
                  <a:pt x="521596" y="490841"/>
                </a:moveTo>
                <a:cubicBezTo>
                  <a:pt x="521593" y="501900"/>
                  <a:pt x="518100" y="512676"/>
                  <a:pt x="511613" y="521633"/>
                </a:cubicBezTo>
                <a:cubicBezTo>
                  <a:pt x="507811" y="510481"/>
                  <a:pt x="499832" y="501237"/>
                  <a:pt x="489353" y="495847"/>
                </a:cubicBezTo>
                <a:cubicBezTo>
                  <a:pt x="493090" y="491221"/>
                  <a:pt x="495141" y="485461"/>
                  <a:pt x="495167" y="479514"/>
                </a:cubicBezTo>
                <a:cubicBezTo>
                  <a:pt x="495167" y="464918"/>
                  <a:pt x="483335" y="453086"/>
                  <a:pt x="468739" y="453086"/>
                </a:cubicBezTo>
                <a:cubicBezTo>
                  <a:pt x="454143" y="453086"/>
                  <a:pt x="442311" y="464918"/>
                  <a:pt x="442311" y="479514"/>
                </a:cubicBezTo>
                <a:cubicBezTo>
                  <a:pt x="442338" y="485461"/>
                  <a:pt x="444388" y="491221"/>
                  <a:pt x="448125" y="495847"/>
                </a:cubicBezTo>
                <a:cubicBezTo>
                  <a:pt x="437647" y="501237"/>
                  <a:pt x="429668" y="510481"/>
                  <a:pt x="425865" y="521633"/>
                </a:cubicBezTo>
                <a:cubicBezTo>
                  <a:pt x="408792" y="497954"/>
                  <a:pt x="414147" y="464919"/>
                  <a:pt x="437826" y="447847"/>
                </a:cubicBezTo>
                <a:cubicBezTo>
                  <a:pt x="461505" y="430774"/>
                  <a:pt x="494541" y="436129"/>
                  <a:pt x="511613" y="459808"/>
                </a:cubicBezTo>
                <a:cubicBezTo>
                  <a:pt x="518128" y="468842"/>
                  <a:pt x="521621" y="479703"/>
                  <a:pt x="521596" y="490841"/>
                </a:cubicBezTo>
                <a:close/>
                <a:moveTo>
                  <a:pt x="353852" y="366409"/>
                </a:moveTo>
                <a:cubicBezTo>
                  <a:pt x="349008" y="348707"/>
                  <a:pt x="336470" y="334115"/>
                  <a:pt x="319699" y="326661"/>
                </a:cubicBezTo>
                <a:cubicBezTo>
                  <a:pt x="334275" y="313057"/>
                  <a:pt x="335064" y="290213"/>
                  <a:pt x="321461" y="275637"/>
                </a:cubicBezTo>
                <a:cubicBezTo>
                  <a:pt x="307858" y="261061"/>
                  <a:pt x="285013" y="260272"/>
                  <a:pt x="270437" y="273875"/>
                </a:cubicBezTo>
                <a:cubicBezTo>
                  <a:pt x="255860" y="287478"/>
                  <a:pt x="255071" y="310323"/>
                  <a:pt x="268675" y="324899"/>
                </a:cubicBezTo>
                <a:cubicBezTo>
                  <a:pt x="269241" y="325506"/>
                  <a:pt x="269830" y="326094"/>
                  <a:pt x="270437" y="326661"/>
                </a:cubicBezTo>
                <a:cubicBezTo>
                  <a:pt x="253665" y="334115"/>
                  <a:pt x="241128" y="348707"/>
                  <a:pt x="236284" y="366409"/>
                </a:cubicBezTo>
                <a:cubicBezTo>
                  <a:pt x="206901" y="333944"/>
                  <a:pt x="209400" y="283806"/>
                  <a:pt x="241866" y="254423"/>
                </a:cubicBezTo>
                <a:cubicBezTo>
                  <a:pt x="274331" y="225040"/>
                  <a:pt x="324469" y="227538"/>
                  <a:pt x="353852" y="260004"/>
                </a:cubicBezTo>
                <a:cubicBezTo>
                  <a:pt x="381186" y="290206"/>
                  <a:pt x="381186" y="336207"/>
                  <a:pt x="353852" y="366409"/>
                </a:cubicBezTo>
                <a:close/>
                <a:moveTo>
                  <a:pt x="491581" y="262463"/>
                </a:moveTo>
                <a:cubicBezTo>
                  <a:pt x="492492" y="245886"/>
                  <a:pt x="506669" y="233186"/>
                  <a:pt x="523246" y="234098"/>
                </a:cubicBezTo>
                <a:cubicBezTo>
                  <a:pt x="538549" y="234939"/>
                  <a:pt x="550769" y="247159"/>
                  <a:pt x="551611" y="262463"/>
                </a:cubicBezTo>
                <a:cubicBezTo>
                  <a:pt x="533564" y="274997"/>
                  <a:pt x="509627" y="274997"/>
                  <a:pt x="491581" y="262463"/>
                </a:cubicBezTo>
                <a:close/>
                <a:moveTo>
                  <a:pt x="510269" y="207681"/>
                </a:moveTo>
                <a:cubicBezTo>
                  <a:pt x="510269" y="201426"/>
                  <a:pt x="515340" y="196355"/>
                  <a:pt x="521596" y="196355"/>
                </a:cubicBezTo>
                <a:cubicBezTo>
                  <a:pt x="527851" y="196355"/>
                  <a:pt x="532922" y="201426"/>
                  <a:pt x="532922" y="207681"/>
                </a:cubicBezTo>
                <a:cubicBezTo>
                  <a:pt x="532922" y="213936"/>
                  <a:pt x="527851" y="219007"/>
                  <a:pt x="521596" y="219007"/>
                </a:cubicBezTo>
                <a:cubicBezTo>
                  <a:pt x="515340" y="219007"/>
                  <a:pt x="510269" y="213936"/>
                  <a:pt x="510269" y="207681"/>
                </a:cubicBezTo>
                <a:close/>
                <a:moveTo>
                  <a:pt x="521596" y="166151"/>
                </a:moveTo>
                <a:cubicBezTo>
                  <a:pt x="550738" y="166101"/>
                  <a:pt x="574402" y="189685"/>
                  <a:pt x="574452" y="218826"/>
                </a:cubicBezTo>
                <a:cubicBezTo>
                  <a:pt x="574471" y="229945"/>
                  <a:pt x="570977" y="240785"/>
                  <a:pt x="564470" y="249800"/>
                </a:cubicBezTo>
                <a:cubicBezTo>
                  <a:pt x="560667" y="238647"/>
                  <a:pt x="552688" y="229403"/>
                  <a:pt x="542210" y="224014"/>
                </a:cubicBezTo>
                <a:cubicBezTo>
                  <a:pt x="545947" y="219388"/>
                  <a:pt x="547997" y="213627"/>
                  <a:pt x="548024" y="207681"/>
                </a:cubicBezTo>
                <a:cubicBezTo>
                  <a:pt x="548024" y="193085"/>
                  <a:pt x="536192" y="181253"/>
                  <a:pt x="521596" y="181253"/>
                </a:cubicBezTo>
                <a:cubicBezTo>
                  <a:pt x="507000" y="181253"/>
                  <a:pt x="495167" y="193085"/>
                  <a:pt x="495167" y="207681"/>
                </a:cubicBezTo>
                <a:cubicBezTo>
                  <a:pt x="495195" y="213627"/>
                  <a:pt x="497245" y="219388"/>
                  <a:pt x="500982" y="224014"/>
                </a:cubicBezTo>
                <a:cubicBezTo>
                  <a:pt x="490503" y="229403"/>
                  <a:pt x="482524" y="238647"/>
                  <a:pt x="478721" y="249800"/>
                </a:cubicBezTo>
                <a:cubicBezTo>
                  <a:pt x="461665" y="226171"/>
                  <a:pt x="466993" y="193189"/>
                  <a:pt x="490622" y="176133"/>
                </a:cubicBezTo>
                <a:cubicBezTo>
                  <a:pt x="499637" y="169625"/>
                  <a:pt x="510477" y="166132"/>
                  <a:pt x="521596" y="166151"/>
                </a:cubicBezTo>
                <a:close/>
              </a:path>
            </a:pathLst>
          </a:custGeom>
          <a:solidFill>
            <a:schemeClr val="lt1"/>
          </a:solidFill>
          <a:ln w="10054" cap="flat">
            <a:solidFill>
              <a:schemeClr val="accent5"/>
            </a:solidFill>
            <a:prstDash val="solid"/>
            <a:miter/>
          </a:ln>
        </p:spPr>
        <p:txBody>
          <a:bodyPr rtlCol="0" anchor="ctr"/>
          <a:lstStyle/>
          <a:p>
            <a:endParaRPr lang="en-GB"/>
          </a:p>
        </p:txBody>
      </p:sp>
      <p:sp>
        <p:nvSpPr>
          <p:cNvPr id="144" name="Bild 128" descr="Hjärta kontur">
            <a:extLst>
              <a:ext uri="{FF2B5EF4-FFF2-40B4-BE49-F238E27FC236}">
                <a16:creationId xmlns:a16="http://schemas.microsoft.com/office/drawing/2014/main" id="{60805634-3D74-5216-CE7E-0E4E01A86621}"/>
              </a:ext>
            </a:extLst>
          </p:cNvPr>
          <p:cNvSpPr/>
          <p:nvPr/>
        </p:nvSpPr>
        <p:spPr>
          <a:xfrm>
            <a:off x="13488034" y="2442319"/>
            <a:ext cx="486370" cy="460835"/>
          </a:xfrm>
          <a:custGeom>
            <a:avLst/>
            <a:gdLst>
              <a:gd name="connsiteX0" fmla="*/ 364778 w 486370"/>
              <a:gd name="connsiteY0" fmla="*/ 0 h 460835"/>
              <a:gd name="connsiteX1" fmla="*/ 243185 w 486370"/>
              <a:gd name="connsiteY1" fmla="*/ 96058 h 460835"/>
              <a:gd name="connsiteX2" fmla="*/ 121593 w 486370"/>
              <a:gd name="connsiteY2" fmla="*/ 0 h 460835"/>
              <a:gd name="connsiteX3" fmla="*/ 0 w 486370"/>
              <a:gd name="connsiteY3" fmla="*/ 124668 h 460835"/>
              <a:gd name="connsiteX4" fmla="*/ 243185 w 486370"/>
              <a:gd name="connsiteY4" fmla="*/ 460836 h 460835"/>
              <a:gd name="connsiteX5" fmla="*/ 486370 w 486370"/>
              <a:gd name="connsiteY5" fmla="*/ 124668 h 460835"/>
              <a:gd name="connsiteX6" fmla="*/ 364778 w 486370"/>
              <a:gd name="connsiteY6" fmla="*/ 0 h 460835"/>
              <a:gd name="connsiteX7" fmla="*/ 243185 w 486370"/>
              <a:gd name="connsiteY7" fmla="*/ 442575 h 460835"/>
              <a:gd name="connsiteX8" fmla="*/ 14305 w 486370"/>
              <a:gd name="connsiteY8" fmla="*/ 124668 h 460835"/>
              <a:gd name="connsiteX9" fmla="*/ 46892 w 486370"/>
              <a:gd name="connsiteY9" fmla="*/ 49295 h 460835"/>
              <a:gd name="connsiteX10" fmla="*/ 121593 w 486370"/>
              <a:gd name="connsiteY10" fmla="*/ 14305 h 460835"/>
              <a:gd name="connsiteX11" fmla="*/ 230411 w 486370"/>
              <a:gd name="connsiteY11" fmla="*/ 102495 h 460835"/>
              <a:gd name="connsiteX12" fmla="*/ 243185 w 486370"/>
              <a:gd name="connsiteY12" fmla="*/ 127844 h 460835"/>
              <a:gd name="connsiteX13" fmla="*/ 255959 w 486370"/>
              <a:gd name="connsiteY13" fmla="*/ 102495 h 460835"/>
              <a:gd name="connsiteX14" fmla="*/ 364778 w 486370"/>
              <a:gd name="connsiteY14" fmla="*/ 14305 h 460835"/>
              <a:gd name="connsiteX15" fmla="*/ 472065 w 486370"/>
              <a:gd name="connsiteY15" fmla="*/ 124668 h 460835"/>
              <a:gd name="connsiteX16" fmla="*/ 243185 w 486370"/>
              <a:gd name="connsiteY16" fmla="*/ 442575 h 460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86370" h="460835">
                <a:moveTo>
                  <a:pt x="364778" y="0"/>
                </a:moveTo>
                <a:cubicBezTo>
                  <a:pt x="323221" y="0"/>
                  <a:pt x="278404" y="26178"/>
                  <a:pt x="243185" y="96058"/>
                </a:cubicBezTo>
                <a:cubicBezTo>
                  <a:pt x="207973" y="26192"/>
                  <a:pt x="163141" y="0"/>
                  <a:pt x="121593" y="0"/>
                </a:cubicBezTo>
                <a:cubicBezTo>
                  <a:pt x="56812" y="0"/>
                  <a:pt x="0" y="63657"/>
                  <a:pt x="0" y="124668"/>
                </a:cubicBezTo>
                <a:cubicBezTo>
                  <a:pt x="0" y="274871"/>
                  <a:pt x="243185" y="460836"/>
                  <a:pt x="243185" y="460836"/>
                </a:cubicBezTo>
                <a:cubicBezTo>
                  <a:pt x="243185" y="460836"/>
                  <a:pt x="486370" y="274871"/>
                  <a:pt x="486370" y="124668"/>
                </a:cubicBezTo>
                <a:cubicBezTo>
                  <a:pt x="486370" y="63664"/>
                  <a:pt x="429551" y="0"/>
                  <a:pt x="364778" y="0"/>
                </a:cubicBezTo>
                <a:close/>
                <a:moveTo>
                  <a:pt x="243185" y="442575"/>
                </a:moveTo>
                <a:cubicBezTo>
                  <a:pt x="200377" y="408000"/>
                  <a:pt x="14305" y="250430"/>
                  <a:pt x="14305" y="124668"/>
                </a:cubicBezTo>
                <a:cubicBezTo>
                  <a:pt x="15429" y="96368"/>
                  <a:pt x="27046" y="69501"/>
                  <a:pt x="46892" y="49295"/>
                </a:cubicBezTo>
                <a:cubicBezTo>
                  <a:pt x="65996" y="27956"/>
                  <a:pt x="92970" y="15321"/>
                  <a:pt x="121593" y="14305"/>
                </a:cubicBezTo>
                <a:cubicBezTo>
                  <a:pt x="163706" y="14305"/>
                  <a:pt x="201336" y="44803"/>
                  <a:pt x="230411" y="102495"/>
                </a:cubicBezTo>
                <a:lnTo>
                  <a:pt x="243185" y="127844"/>
                </a:lnTo>
                <a:lnTo>
                  <a:pt x="255959" y="102495"/>
                </a:lnTo>
                <a:cubicBezTo>
                  <a:pt x="285034" y="44803"/>
                  <a:pt x="322664" y="14305"/>
                  <a:pt x="364778" y="14305"/>
                </a:cubicBezTo>
                <a:cubicBezTo>
                  <a:pt x="418922" y="14305"/>
                  <a:pt x="472065" y="68972"/>
                  <a:pt x="472065" y="124668"/>
                </a:cubicBezTo>
                <a:cubicBezTo>
                  <a:pt x="472065" y="250430"/>
                  <a:pt x="285993" y="408000"/>
                  <a:pt x="243185" y="442575"/>
                </a:cubicBezTo>
                <a:close/>
              </a:path>
            </a:pathLst>
          </a:custGeom>
          <a:solidFill>
            <a:schemeClr val="lt1"/>
          </a:solidFill>
          <a:ln w="9525" cap="flat">
            <a:solidFill>
              <a:schemeClr val="accent5"/>
            </a:solidFill>
            <a:prstDash val="solid"/>
            <a:miter/>
          </a:ln>
        </p:spPr>
        <p:txBody>
          <a:bodyPr rtlCol="0" anchor="ctr"/>
          <a:lstStyle/>
          <a:p>
            <a:endParaRPr lang="en-GB"/>
          </a:p>
        </p:txBody>
      </p:sp>
      <p:sp>
        <p:nvSpPr>
          <p:cNvPr id="153" name="Bild 142" descr="Märke kontur">
            <a:extLst>
              <a:ext uri="{FF2B5EF4-FFF2-40B4-BE49-F238E27FC236}">
                <a16:creationId xmlns:a16="http://schemas.microsoft.com/office/drawing/2014/main" id="{ADF2A171-7FD3-F32A-AB7A-0B02282E73BB}"/>
              </a:ext>
            </a:extLst>
          </p:cNvPr>
          <p:cNvSpPr/>
          <p:nvPr/>
        </p:nvSpPr>
        <p:spPr>
          <a:xfrm>
            <a:off x="8087156" y="5941929"/>
            <a:ext cx="578685" cy="614286"/>
          </a:xfrm>
          <a:custGeom>
            <a:avLst/>
            <a:gdLst>
              <a:gd name="connsiteX0" fmla="*/ 569275 w 578685"/>
              <a:gd name="connsiteY0" fmla="*/ 370947 h 614286"/>
              <a:gd name="connsiteX1" fmla="*/ 335079 w 578685"/>
              <a:gd name="connsiteY1" fmla="*/ 136817 h 614286"/>
              <a:gd name="connsiteX2" fmla="*/ 311663 w 578685"/>
              <a:gd name="connsiteY2" fmla="*/ 126783 h 614286"/>
              <a:gd name="connsiteX3" fmla="*/ 157783 w 578685"/>
              <a:gd name="connsiteY3" fmla="*/ 126783 h 614286"/>
              <a:gd name="connsiteX4" fmla="*/ 151567 w 578685"/>
              <a:gd name="connsiteY4" fmla="*/ 127097 h 614286"/>
              <a:gd name="connsiteX5" fmla="*/ 109710 w 578685"/>
              <a:gd name="connsiteY5" fmla="*/ 92853 h 614286"/>
              <a:gd name="connsiteX6" fmla="*/ 53802 w 578685"/>
              <a:gd name="connsiteY6" fmla="*/ 81678 h 614286"/>
              <a:gd name="connsiteX7" fmla="*/ 20740 w 578685"/>
              <a:gd name="connsiteY7" fmla="*/ 45648 h 614286"/>
              <a:gd name="connsiteX8" fmla="*/ 16483 w 578685"/>
              <a:gd name="connsiteY8" fmla="*/ 7354 h 614286"/>
              <a:gd name="connsiteX9" fmla="*/ 7354 w 578685"/>
              <a:gd name="connsiteY9" fmla="*/ 51 h 614286"/>
              <a:gd name="connsiteX10" fmla="*/ 51 w 578685"/>
              <a:gd name="connsiteY10" fmla="*/ 9181 h 614286"/>
              <a:gd name="connsiteX11" fmla="*/ 4308 w 578685"/>
              <a:gd name="connsiteY11" fmla="*/ 47475 h 614286"/>
              <a:gd name="connsiteX12" fmla="*/ 50529 w 578685"/>
              <a:gd name="connsiteY12" fmla="*/ 97895 h 614286"/>
              <a:gd name="connsiteX13" fmla="*/ 106429 w 578685"/>
              <a:gd name="connsiteY13" fmla="*/ 109070 h 614286"/>
              <a:gd name="connsiteX14" fmla="*/ 135127 w 578685"/>
              <a:gd name="connsiteY14" fmla="*/ 130825 h 614286"/>
              <a:gd name="connsiteX15" fmla="*/ 90832 w 578685"/>
              <a:gd name="connsiteY15" fmla="*/ 193684 h 614286"/>
              <a:gd name="connsiteX16" fmla="*/ 90832 w 578685"/>
              <a:gd name="connsiteY16" fmla="*/ 346696 h 614286"/>
              <a:gd name="connsiteX17" fmla="*/ 100866 w 578685"/>
              <a:gd name="connsiteY17" fmla="*/ 370112 h 614286"/>
              <a:gd name="connsiteX18" fmla="*/ 335029 w 578685"/>
              <a:gd name="connsiteY18" fmla="*/ 604251 h 614286"/>
              <a:gd name="connsiteX19" fmla="*/ 382145 w 578685"/>
              <a:gd name="connsiteY19" fmla="*/ 604802 h 614286"/>
              <a:gd name="connsiteX20" fmla="*/ 382697 w 578685"/>
              <a:gd name="connsiteY20" fmla="*/ 604251 h 614286"/>
              <a:gd name="connsiteX21" fmla="*/ 569275 w 578685"/>
              <a:gd name="connsiteY21" fmla="*/ 417780 h 614286"/>
              <a:gd name="connsiteX22" fmla="*/ 569275 w 578685"/>
              <a:gd name="connsiteY22" fmla="*/ 370947 h 614286"/>
              <a:gd name="connsiteX23" fmla="*/ 557588 w 578685"/>
              <a:gd name="connsiteY23" fmla="*/ 406084 h 614286"/>
              <a:gd name="connsiteX24" fmla="*/ 371059 w 578685"/>
              <a:gd name="connsiteY24" fmla="*/ 592555 h 614286"/>
              <a:gd name="connsiteX25" fmla="*/ 347313 w 578685"/>
              <a:gd name="connsiteY25" fmla="*/ 593101 h 614286"/>
              <a:gd name="connsiteX26" fmla="*/ 346766 w 578685"/>
              <a:gd name="connsiteY26" fmla="*/ 592555 h 614286"/>
              <a:gd name="connsiteX27" fmla="*/ 112603 w 578685"/>
              <a:gd name="connsiteY27" fmla="*/ 358450 h 614286"/>
              <a:gd name="connsiteX28" fmla="*/ 112190 w 578685"/>
              <a:gd name="connsiteY28" fmla="*/ 358037 h 614286"/>
              <a:gd name="connsiteX29" fmla="*/ 111777 w 578685"/>
              <a:gd name="connsiteY29" fmla="*/ 357673 h 614286"/>
              <a:gd name="connsiteX30" fmla="*/ 107388 w 578685"/>
              <a:gd name="connsiteY30" fmla="*/ 346696 h 614286"/>
              <a:gd name="connsiteX31" fmla="*/ 107388 w 578685"/>
              <a:gd name="connsiteY31" fmla="*/ 193676 h 614286"/>
              <a:gd name="connsiteX32" fmla="*/ 139946 w 578685"/>
              <a:gd name="connsiteY32" fmla="*/ 146628 h 614286"/>
              <a:gd name="connsiteX33" fmla="*/ 144012 w 578685"/>
              <a:gd name="connsiteY33" fmla="*/ 166937 h 614286"/>
              <a:gd name="connsiteX34" fmla="*/ 136739 w 578685"/>
              <a:gd name="connsiteY34" fmla="*/ 172268 h 614286"/>
              <a:gd name="connsiteX35" fmla="*/ 136796 w 578685"/>
              <a:gd name="connsiteY35" fmla="*/ 219025 h 614286"/>
              <a:gd name="connsiteX36" fmla="*/ 183552 w 578685"/>
              <a:gd name="connsiteY36" fmla="*/ 218969 h 614286"/>
              <a:gd name="connsiteX37" fmla="*/ 183495 w 578685"/>
              <a:gd name="connsiteY37" fmla="*/ 172211 h 614286"/>
              <a:gd name="connsiteX38" fmla="*/ 160130 w 578685"/>
              <a:gd name="connsiteY38" fmla="*/ 162556 h 614286"/>
              <a:gd name="connsiteX39" fmla="*/ 160006 w 578685"/>
              <a:gd name="connsiteY39" fmla="*/ 162556 h 614286"/>
              <a:gd name="connsiteX40" fmla="*/ 156163 w 578685"/>
              <a:gd name="connsiteY40" fmla="*/ 143347 h 614286"/>
              <a:gd name="connsiteX41" fmla="*/ 157766 w 578685"/>
              <a:gd name="connsiteY41" fmla="*/ 143273 h 614286"/>
              <a:gd name="connsiteX42" fmla="*/ 311663 w 578685"/>
              <a:gd name="connsiteY42" fmla="*/ 143273 h 614286"/>
              <a:gd name="connsiteX43" fmla="*/ 323383 w 578685"/>
              <a:gd name="connsiteY43" fmla="*/ 148463 h 614286"/>
              <a:gd name="connsiteX44" fmla="*/ 557546 w 578685"/>
              <a:gd name="connsiteY44" fmla="*/ 382602 h 614286"/>
              <a:gd name="connsiteX45" fmla="*/ 557546 w 578685"/>
              <a:gd name="connsiteY45" fmla="*/ 406043 h 614286"/>
              <a:gd name="connsiteX46" fmla="*/ 163395 w 578685"/>
              <a:gd name="connsiteY46" fmla="*/ 179434 h 614286"/>
              <a:gd name="connsiteX47" fmla="*/ 176664 w 578685"/>
              <a:gd name="connsiteY47" fmla="*/ 198923 h 614286"/>
              <a:gd name="connsiteX48" fmla="*/ 157175 w 578685"/>
              <a:gd name="connsiteY48" fmla="*/ 212192 h 614286"/>
              <a:gd name="connsiteX49" fmla="*/ 143906 w 578685"/>
              <a:gd name="connsiteY49" fmla="*/ 192703 h 614286"/>
              <a:gd name="connsiteX50" fmla="*/ 147641 w 578685"/>
              <a:gd name="connsiteY50" fmla="*/ 184948 h 614286"/>
              <a:gd name="connsiteX51" fmla="*/ 148997 w 578685"/>
              <a:gd name="connsiteY51" fmla="*/ 191734 h 614286"/>
              <a:gd name="connsiteX52" fmla="*/ 157089 w 578685"/>
              <a:gd name="connsiteY52" fmla="*/ 198346 h 614286"/>
              <a:gd name="connsiteX53" fmla="*/ 158742 w 578685"/>
              <a:gd name="connsiteY53" fmla="*/ 198189 h 614286"/>
              <a:gd name="connsiteX54" fmla="*/ 165222 w 578685"/>
              <a:gd name="connsiteY54" fmla="*/ 188460 h 614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578685" h="614286">
                <a:moveTo>
                  <a:pt x="569275" y="370947"/>
                </a:moveTo>
                <a:lnTo>
                  <a:pt x="335079" y="136817"/>
                </a:lnTo>
                <a:cubicBezTo>
                  <a:pt x="328931" y="130473"/>
                  <a:pt x="320496" y="126859"/>
                  <a:pt x="311663" y="126783"/>
                </a:cubicBezTo>
                <a:lnTo>
                  <a:pt x="157783" y="126783"/>
                </a:lnTo>
                <a:cubicBezTo>
                  <a:pt x="155683" y="126783"/>
                  <a:pt x="153650" y="126907"/>
                  <a:pt x="151567" y="127097"/>
                </a:cubicBezTo>
                <a:cubicBezTo>
                  <a:pt x="144167" y="109439"/>
                  <a:pt x="128484" y="96609"/>
                  <a:pt x="109710" y="92853"/>
                </a:cubicBezTo>
                <a:lnTo>
                  <a:pt x="53802" y="81678"/>
                </a:lnTo>
                <a:cubicBezTo>
                  <a:pt x="36085" y="78195"/>
                  <a:pt x="22691" y="63599"/>
                  <a:pt x="20740" y="45648"/>
                </a:cubicBezTo>
                <a:lnTo>
                  <a:pt x="16483" y="7354"/>
                </a:lnTo>
                <a:cubicBezTo>
                  <a:pt x="15979" y="2816"/>
                  <a:pt x="11892" y="-453"/>
                  <a:pt x="7354" y="51"/>
                </a:cubicBezTo>
                <a:cubicBezTo>
                  <a:pt x="2816" y="556"/>
                  <a:pt x="-453" y="4643"/>
                  <a:pt x="51" y="9181"/>
                </a:cubicBezTo>
                <a:lnTo>
                  <a:pt x="4308" y="47475"/>
                </a:lnTo>
                <a:cubicBezTo>
                  <a:pt x="7030" y="72582"/>
                  <a:pt x="25753" y="93006"/>
                  <a:pt x="50529" y="97895"/>
                </a:cubicBezTo>
                <a:lnTo>
                  <a:pt x="106429" y="109070"/>
                </a:lnTo>
                <a:cubicBezTo>
                  <a:pt x="118823" y="111540"/>
                  <a:pt x="129400" y="119559"/>
                  <a:pt x="135127" y="130825"/>
                </a:cubicBezTo>
                <a:cubicBezTo>
                  <a:pt x="108629" y="140400"/>
                  <a:pt x="90935" y="165509"/>
                  <a:pt x="90832" y="193684"/>
                </a:cubicBezTo>
                <a:lnTo>
                  <a:pt x="90832" y="346696"/>
                </a:lnTo>
                <a:cubicBezTo>
                  <a:pt x="90584" y="355595"/>
                  <a:pt x="94252" y="364155"/>
                  <a:pt x="100866" y="370112"/>
                </a:cubicBezTo>
                <a:lnTo>
                  <a:pt x="335029" y="604251"/>
                </a:lnTo>
                <a:cubicBezTo>
                  <a:pt x="347888" y="617414"/>
                  <a:pt x="368983" y="617661"/>
                  <a:pt x="382145" y="604802"/>
                </a:cubicBezTo>
                <a:cubicBezTo>
                  <a:pt x="382331" y="604620"/>
                  <a:pt x="382515" y="604437"/>
                  <a:pt x="382697" y="604251"/>
                </a:cubicBezTo>
                <a:lnTo>
                  <a:pt x="569275" y="417780"/>
                </a:lnTo>
                <a:cubicBezTo>
                  <a:pt x="581822" y="404691"/>
                  <a:pt x="581822" y="384037"/>
                  <a:pt x="569275" y="370947"/>
                </a:cubicBezTo>
                <a:close/>
                <a:moveTo>
                  <a:pt x="557588" y="406084"/>
                </a:moveTo>
                <a:lnTo>
                  <a:pt x="371059" y="592555"/>
                </a:lnTo>
                <a:cubicBezTo>
                  <a:pt x="364652" y="599263"/>
                  <a:pt x="354021" y="599508"/>
                  <a:pt x="347313" y="593101"/>
                </a:cubicBezTo>
                <a:cubicBezTo>
                  <a:pt x="347126" y="592924"/>
                  <a:pt x="346944" y="592741"/>
                  <a:pt x="346766" y="592555"/>
                </a:cubicBezTo>
                <a:lnTo>
                  <a:pt x="112603" y="358450"/>
                </a:lnTo>
                <a:lnTo>
                  <a:pt x="112190" y="358037"/>
                </a:lnTo>
                <a:lnTo>
                  <a:pt x="111777" y="357673"/>
                </a:lnTo>
                <a:cubicBezTo>
                  <a:pt x="108795" y="354821"/>
                  <a:pt x="107194" y="350817"/>
                  <a:pt x="107388" y="346696"/>
                </a:cubicBezTo>
                <a:lnTo>
                  <a:pt x="107388" y="193676"/>
                </a:lnTo>
                <a:cubicBezTo>
                  <a:pt x="107468" y="172770"/>
                  <a:pt x="120408" y="154070"/>
                  <a:pt x="139946" y="146628"/>
                </a:cubicBezTo>
                <a:lnTo>
                  <a:pt x="144012" y="166937"/>
                </a:lnTo>
                <a:cubicBezTo>
                  <a:pt x="141353" y="168368"/>
                  <a:pt x="138904" y="170162"/>
                  <a:pt x="136739" y="172268"/>
                </a:cubicBezTo>
                <a:cubicBezTo>
                  <a:pt x="123843" y="185196"/>
                  <a:pt x="123868" y="206129"/>
                  <a:pt x="136796" y="219025"/>
                </a:cubicBezTo>
                <a:cubicBezTo>
                  <a:pt x="149722" y="231922"/>
                  <a:pt x="170656" y="231896"/>
                  <a:pt x="183552" y="218969"/>
                </a:cubicBezTo>
                <a:cubicBezTo>
                  <a:pt x="196448" y="206041"/>
                  <a:pt x="196423" y="185108"/>
                  <a:pt x="183495" y="172211"/>
                </a:cubicBezTo>
                <a:cubicBezTo>
                  <a:pt x="177294" y="166024"/>
                  <a:pt x="168890" y="162552"/>
                  <a:pt x="160130" y="162556"/>
                </a:cubicBezTo>
                <a:lnTo>
                  <a:pt x="160006" y="162556"/>
                </a:lnTo>
                <a:lnTo>
                  <a:pt x="156163" y="143347"/>
                </a:lnTo>
                <a:cubicBezTo>
                  <a:pt x="156700" y="143347"/>
                  <a:pt x="157229" y="143273"/>
                  <a:pt x="157766" y="143273"/>
                </a:cubicBezTo>
                <a:lnTo>
                  <a:pt x="311663" y="143273"/>
                </a:lnTo>
                <a:cubicBezTo>
                  <a:pt x="316110" y="143348"/>
                  <a:pt x="320338" y="145220"/>
                  <a:pt x="323383" y="148463"/>
                </a:cubicBezTo>
                <a:lnTo>
                  <a:pt x="557546" y="382602"/>
                </a:lnTo>
                <a:cubicBezTo>
                  <a:pt x="563619" y="389236"/>
                  <a:pt x="563619" y="399409"/>
                  <a:pt x="557546" y="406043"/>
                </a:cubicBezTo>
                <a:close/>
                <a:moveTo>
                  <a:pt x="163395" y="179434"/>
                </a:moveTo>
                <a:cubicBezTo>
                  <a:pt x="172441" y="181152"/>
                  <a:pt x="178381" y="189877"/>
                  <a:pt x="176664" y="198923"/>
                </a:cubicBezTo>
                <a:cubicBezTo>
                  <a:pt x="174946" y="207970"/>
                  <a:pt x="166221" y="213910"/>
                  <a:pt x="157175" y="212192"/>
                </a:cubicBezTo>
                <a:cubicBezTo>
                  <a:pt x="148130" y="210475"/>
                  <a:pt x="142188" y="201749"/>
                  <a:pt x="143906" y="192703"/>
                </a:cubicBezTo>
                <a:cubicBezTo>
                  <a:pt x="144451" y="189836"/>
                  <a:pt x="145738" y="187161"/>
                  <a:pt x="147641" y="184948"/>
                </a:cubicBezTo>
                <a:lnTo>
                  <a:pt x="148997" y="191734"/>
                </a:lnTo>
                <a:cubicBezTo>
                  <a:pt x="149782" y="195580"/>
                  <a:pt x="153163" y="198343"/>
                  <a:pt x="157089" y="198346"/>
                </a:cubicBezTo>
                <a:cubicBezTo>
                  <a:pt x="157643" y="198348"/>
                  <a:pt x="158197" y="198295"/>
                  <a:pt x="158742" y="198189"/>
                </a:cubicBezTo>
                <a:cubicBezTo>
                  <a:pt x="163217" y="197292"/>
                  <a:pt x="166119" y="192936"/>
                  <a:pt x="165222" y="188460"/>
                </a:cubicBezTo>
                <a:close/>
              </a:path>
            </a:pathLst>
          </a:custGeom>
          <a:solidFill>
            <a:schemeClr val="lt1"/>
          </a:solidFill>
          <a:ln w="10980" cap="flat">
            <a:solidFill>
              <a:schemeClr val="accent5"/>
            </a:solidFill>
            <a:prstDash val="solid"/>
            <a:miter/>
          </a:ln>
        </p:spPr>
        <p:txBody>
          <a:bodyPr rtlCol="0" anchor="ctr"/>
          <a:lstStyle/>
          <a:p>
            <a:endParaRPr lang="en-GB"/>
          </a:p>
        </p:txBody>
      </p:sp>
    </p:spTree>
    <p:extLst>
      <p:ext uri="{BB962C8B-B14F-4D97-AF65-F5344CB8AC3E}">
        <p14:creationId xmlns:p14="http://schemas.microsoft.com/office/powerpoint/2010/main" val="3254911391"/>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1" name="Picture 12">
            <a:extLst>
              <a:ext uri="{FF2B5EF4-FFF2-40B4-BE49-F238E27FC236}">
                <a16:creationId xmlns:a16="http://schemas.microsoft.com/office/drawing/2014/main" id="{43802E0E-B79D-4EA7-8141-0CA3ED138B1A}"/>
              </a:ext>
            </a:extLst>
          </p:cNvPr>
          <p:cNvPicPr>
            <a:picLocks noChangeAspect="1"/>
          </p:cNvPicPr>
          <p:nvPr/>
        </p:nvPicPr>
        <p:blipFill>
          <a:blip r:embed="rId3"/>
          <a:srcRect/>
          <a:stretch>
            <a:fillRect/>
          </a:stretch>
        </p:blipFill>
        <p:spPr>
          <a:xfrm>
            <a:off x="0" y="8993140"/>
            <a:ext cx="5715000" cy="1385887"/>
          </a:xfrm>
          <a:prstGeom prst="rect">
            <a:avLst/>
          </a:prstGeom>
        </p:spPr>
      </p:pic>
      <p:grpSp>
        <p:nvGrpSpPr>
          <p:cNvPr id="132" name="Gruppo 2">
            <a:extLst>
              <a:ext uri="{FF2B5EF4-FFF2-40B4-BE49-F238E27FC236}">
                <a16:creationId xmlns:a16="http://schemas.microsoft.com/office/drawing/2014/main" id="{649928F6-6E82-4611-9715-AD3C75457C28}"/>
              </a:ext>
            </a:extLst>
          </p:cNvPr>
          <p:cNvGrpSpPr/>
          <p:nvPr/>
        </p:nvGrpSpPr>
        <p:grpSpPr>
          <a:xfrm>
            <a:off x="-12" y="138554"/>
            <a:ext cx="18288002" cy="681138"/>
            <a:chOff x="-12" y="138554"/>
            <a:chExt cx="18288002" cy="681138"/>
          </a:xfrm>
        </p:grpSpPr>
        <p:grpSp>
          <p:nvGrpSpPr>
            <p:cNvPr id="133" name="Gruppo 1">
              <a:extLst>
                <a:ext uri="{FF2B5EF4-FFF2-40B4-BE49-F238E27FC236}">
                  <a16:creationId xmlns:a16="http://schemas.microsoft.com/office/drawing/2014/main" id="{A8EB8794-E5C6-45EB-BAEC-2778E982797A}"/>
                </a:ext>
              </a:extLst>
            </p:cNvPr>
            <p:cNvGrpSpPr/>
            <p:nvPr/>
          </p:nvGrpSpPr>
          <p:grpSpPr>
            <a:xfrm>
              <a:off x="0" y="153125"/>
              <a:ext cx="17907000" cy="666567"/>
              <a:chOff x="0" y="153125"/>
              <a:chExt cx="17907000" cy="666567"/>
            </a:xfrm>
          </p:grpSpPr>
          <p:grpSp>
            <p:nvGrpSpPr>
              <p:cNvPr id="135" name="Gruppo 15">
                <a:extLst>
                  <a:ext uri="{FF2B5EF4-FFF2-40B4-BE49-F238E27FC236}">
                    <a16:creationId xmlns:a16="http://schemas.microsoft.com/office/drawing/2014/main" id="{AB129748-9FD7-458D-BD6E-304271C1814A}"/>
                  </a:ext>
                </a:extLst>
              </p:cNvPr>
              <p:cNvGrpSpPr/>
              <p:nvPr/>
            </p:nvGrpSpPr>
            <p:grpSpPr>
              <a:xfrm>
                <a:off x="0" y="153125"/>
                <a:ext cx="13958844" cy="666567"/>
                <a:chOff x="0" y="153125"/>
                <a:chExt cx="13958844" cy="666567"/>
              </a:xfrm>
            </p:grpSpPr>
            <p:pic>
              <p:nvPicPr>
                <p:cNvPr id="137" name="Picture 136">
                  <a:extLst>
                    <a:ext uri="{FF2B5EF4-FFF2-40B4-BE49-F238E27FC236}">
                      <a16:creationId xmlns:a16="http://schemas.microsoft.com/office/drawing/2014/main" id="{88E31CFD-796F-4F3F-A1EC-0E38F9D83456}"/>
                    </a:ext>
                  </a:extLst>
                </p:cNvPr>
                <p:cNvPicPr>
                  <a:picLocks noChangeAspect="1"/>
                </p:cNvPicPr>
                <p:nvPr/>
              </p:nvPicPr>
              <p:blipFill>
                <a:blip r:embed="rId4"/>
                <a:srcRect l="134" t="91287" b="3943"/>
                <a:stretch>
                  <a:fillRect/>
                </a:stretch>
              </p:blipFill>
              <p:spPr>
                <a:xfrm>
                  <a:off x="0" y="153125"/>
                  <a:ext cx="13958844" cy="666567"/>
                </a:xfrm>
                <a:prstGeom prst="rect">
                  <a:avLst/>
                </a:prstGeom>
              </p:spPr>
            </p:pic>
            <p:sp>
              <p:nvSpPr>
                <p:cNvPr id="138" name="TextBox 137">
                  <a:extLst>
                    <a:ext uri="{FF2B5EF4-FFF2-40B4-BE49-F238E27FC236}">
                      <a16:creationId xmlns:a16="http://schemas.microsoft.com/office/drawing/2014/main" id="{7694DADD-E227-40A7-A98D-244B0D207E54}"/>
                    </a:ext>
                  </a:extLst>
                </p:cNvPr>
                <p:cNvSpPr txBox="1"/>
                <p:nvPr/>
              </p:nvSpPr>
              <p:spPr>
                <a:xfrm>
                  <a:off x="228600" y="257980"/>
                  <a:ext cx="9296400" cy="456856"/>
                </a:xfrm>
                <a:prstGeom prst="rect">
                  <a:avLst/>
                </a:prstGeom>
              </p:spPr>
              <p:txBody>
                <a:bodyPr wrap="square" lIns="0" tIns="0" rIns="0" bIns="0" rtlCol="0" anchor="t">
                  <a:spAutoFit/>
                </a:bodyPr>
                <a:lstStyle/>
                <a:p>
                  <a:pPr marL="0" marR="0" lvl="0" indent="0" algn="l" defTabSz="914400" rtl="0" eaLnBrk="1" fontAlgn="auto" latinLnBrk="0" hangingPunct="1">
                    <a:lnSpc>
                      <a:spcPts val="3919"/>
                    </a:lnSpc>
                    <a:spcBef>
                      <a:spcPct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36" name="TextBox 135">
                <a:extLst>
                  <a:ext uri="{FF2B5EF4-FFF2-40B4-BE49-F238E27FC236}">
                    <a16:creationId xmlns:a16="http://schemas.microsoft.com/office/drawing/2014/main" id="{4B3CCEBB-60EF-4175-9878-F0D51FD80FF0}"/>
                  </a:ext>
                </a:extLst>
              </p:cNvPr>
              <p:cNvSpPr txBox="1"/>
              <p:nvPr/>
            </p:nvSpPr>
            <p:spPr>
              <a:xfrm>
                <a:off x="12154296" y="257980"/>
                <a:ext cx="5752704" cy="456856"/>
              </a:xfrm>
              <a:prstGeom prst="rect">
                <a:avLst/>
              </a:prstGeom>
            </p:spPr>
            <p:txBody>
              <a:bodyPr wrap="square" lIns="0" tIns="0" rIns="0" bIns="0" rtlCol="0" anchor="t">
                <a:spAutoFit/>
              </a:bodyPr>
              <a:lstStyle/>
              <a:p>
                <a:pPr marL="0" marR="0" lvl="0" indent="0" algn="r" defTabSz="914400" rtl="0" eaLnBrk="1" fontAlgn="auto" latinLnBrk="0" hangingPunct="1">
                  <a:lnSpc>
                    <a:spcPts val="3919"/>
                  </a:lnSpc>
                  <a:spcBef>
                    <a:spcPct val="0"/>
                  </a:spcBef>
                  <a:spcAft>
                    <a:spcPts val="0"/>
                  </a:spcAft>
                  <a:buClrTx/>
                  <a:buSzTx/>
                  <a:buFontTx/>
                  <a:buNone/>
                  <a:tabLst/>
                  <a:defRPr/>
                </a:pPr>
                <a:endParaRPr kumimoji="0" lang="en-US" sz="2800" b="0" i="0" u="none" strike="noStrike" kern="1200" cap="none" spc="0" normalizeH="0" baseline="0" noProof="0">
                  <a:ln>
                    <a:noFill/>
                  </a:ln>
                  <a:solidFill>
                    <a:srgbClr val="2F2F2F">
                      <a:lumMod val="75000"/>
                      <a:lumOff val="25000"/>
                    </a:srgbClr>
                  </a:solidFill>
                  <a:effectLst/>
                  <a:uLnTx/>
                  <a:uFillTx/>
                  <a:latin typeface="Arial" panose="020B0604020202020204" pitchFamily="34" charset="0"/>
                  <a:ea typeface="+mn-ea"/>
                  <a:cs typeface="Arial" panose="020B0604020202020204" pitchFamily="34" charset="0"/>
                </a:endParaRPr>
              </a:p>
            </p:txBody>
          </p:sp>
        </p:grpSp>
        <p:sp>
          <p:nvSpPr>
            <p:cNvPr id="134" name="Rettangolo 13">
              <a:extLst>
                <a:ext uri="{FF2B5EF4-FFF2-40B4-BE49-F238E27FC236}">
                  <a16:creationId xmlns:a16="http://schemas.microsoft.com/office/drawing/2014/main" id="{8F0CF2A7-592A-4287-9206-D3289F1B0C37}"/>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pic>
        <p:nvPicPr>
          <p:cNvPr id="139" name="Picture 12">
            <a:extLst>
              <a:ext uri="{FF2B5EF4-FFF2-40B4-BE49-F238E27FC236}">
                <a16:creationId xmlns:a16="http://schemas.microsoft.com/office/drawing/2014/main" id="{F047215A-40D8-4A57-BE02-5E03FCEEBB7B}"/>
              </a:ext>
            </a:extLst>
          </p:cNvPr>
          <p:cNvPicPr>
            <a:picLocks noChangeAspect="1"/>
          </p:cNvPicPr>
          <p:nvPr/>
        </p:nvPicPr>
        <p:blipFill>
          <a:blip r:embed="rId5"/>
          <a:srcRect l="134" t="91287" b="3943"/>
          <a:stretch>
            <a:fillRect/>
          </a:stretch>
        </p:blipFill>
        <p:spPr>
          <a:xfrm rot="10800000">
            <a:off x="4329146" y="9797731"/>
            <a:ext cx="13958844" cy="666567"/>
          </a:xfrm>
          <a:prstGeom prst="rect">
            <a:avLst/>
          </a:prstGeom>
        </p:spPr>
      </p:pic>
      <p:sp>
        <p:nvSpPr>
          <p:cNvPr id="140" name="TextBox 16">
            <a:extLst>
              <a:ext uri="{FF2B5EF4-FFF2-40B4-BE49-F238E27FC236}">
                <a16:creationId xmlns:a16="http://schemas.microsoft.com/office/drawing/2014/main" id="{C693B1DB-897C-4A9D-8CF3-F1423F6CB38D}"/>
              </a:ext>
            </a:extLst>
          </p:cNvPr>
          <p:cNvSpPr txBox="1"/>
          <p:nvPr/>
        </p:nvSpPr>
        <p:spPr>
          <a:xfrm>
            <a:off x="14400019" y="9762301"/>
            <a:ext cx="3636320" cy="448713"/>
          </a:xfrm>
          <a:prstGeom prst="rect">
            <a:avLst/>
          </a:prstGeom>
        </p:spPr>
        <p:txBody>
          <a:bodyPr wrap="square" lIns="0" tIns="0" rIns="0" bIns="0" rtlCol="0" anchor="t">
            <a:spAutoFit/>
          </a:bodyPr>
          <a:lstStyle/>
          <a:p>
            <a:pPr marL="0" marR="0" lvl="0" indent="0" algn="ctr" defTabSz="914400" rtl="0" eaLnBrk="1" fontAlgn="auto" latinLnBrk="0" hangingPunct="1">
              <a:lnSpc>
                <a:spcPts val="3919"/>
              </a:lnSpc>
              <a:spcBef>
                <a:spcPct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OCR A Extended" panose="02010509020102010303" pitchFamily="50" charset="0"/>
                <a:ea typeface="+mn-ea"/>
                <a:cs typeface="+mn-cs"/>
              </a:rPr>
              <a:t>www.retrofeed.eu</a:t>
            </a:r>
          </a:p>
        </p:txBody>
      </p:sp>
      <p:sp>
        <p:nvSpPr>
          <p:cNvPr id="4" name="TextBox 3">
            <a:extLst>
              <a:ext uri="{FF2B5EF4-FFF2-40B4-BE49-F238E27FC236}">
                <a16:creationId xmlns:a16="http://schemas.microsoft.com/office/drawing/2014/main" id="{E2A6C351-D084-461B-85B4-078A69C47372}"/>
              </a:ext>
            </a:extLst>
          </p:cNvPr>
          <p:cNvSpPr txBox="1"/>
          <p:nvPr/>
        </p:nvSpPr>
        <p:spPr>
          <a:xfrm>
            <a:off x="1073179" y="1087343"/>
            <a:ext cx="18552623" cy="769441"/>
          </a:xfrm>
          <a:prstGeom prst="rect">
            <a:avLst/>
          </a:prstGeom>
          <a:noFill/>
        </p:spPr>
        <p:txBody>
          <a:bodyPr wrap="square">
            <a:spAutoFit/>
          </a:bodyPr>
          <a:lstStyle>
            <a:defPPr>
              <a:defRPr lang="en-US"/>
            </a:defPPr>
            <a:lvl1pPr marR="0" lvl="0" indent="0" fontAlgn="auto">
              <a:lnSpc>
                <a:spcPct val="100000"/>
              </a:lnSpc>
              <a:spcBef>
                <a:spcPts val="0"/>
              </a:spcBef>
              <a:spcAft>
                <a:spcPts val="0"/>
              </a:spcAft>
              <a:buClrTx/>
              <a:buSzTx/>
              <a:buFontTx/>
              <a:buNone/>
              <a:tabLst/>
              <a:defRPr kumimoji="0" sz="4400" b="1" i="0" u="none" strike="noStrike" cap="none" spc="0" normalizeH="0" baseline="0">
                <a:ln>
                  <a:noFill/>
                </a:ln>
                <a:solidFill>
                  <a:srgbClr val="CC0033"/>
                </a:solidFill>
                <a:effectLst/>
                <a:uLnTx/>
                <a:uFillTx/>
                <a:latin typeface="Arial"/>
                <a:cs typeface="Arial" panose="020B0604020202020204" pitchFamily="34" charset="0"/>
              </a:defRPr>
            </a:lvl1pPr>
          </a:lstStyle>
          <a:p>
            <a:r>
              <a:rPr lang="en-GB" dirty="0"/>
              <a:t>BMC – RETROFEED Decision Support System (DSS)</a:t>
            </a:r>
            <a:endParaRPr lang="sv-SE" dirty="0"/>
          </a:p>
        </p:txBody>
      </p:sp>
      <p:graphicFrame>
        <p:nvGraphicFramePr>
          <p:cNvPr id="6" name="Tabell 5">
            <a:extLst>
              <a:ext uri="{FF2B5EF4-FFF2-40B4-BE49-F238E27FC236}">
                <a16:creationId xmlns:a16="http://schemas.microsoft.com/office/drawing/2014/main" id="{2B61A2CD-6F9E-7FF3-0C7D-1DDBDC135144}"/>
              </a:ext>
            </a:extLst>
          </p:cNvPr>
          <p:cNvGraphicFramePr>
            <a:graphicFrameLocks noGrp="1"/>
          </p:cNvGraphicFramePr>
          <p:nvPr>
            <p:extLst>
              <p:ext uri="{D42A27DB-BD31-4B8C-83A1-F6EECF244321}">
                <p14:modId xmlns:p14="http://schemas.microsoft.com/office/powerpoint/2010/main" val="3865432042"/>
              </p:ext>
            </p:extLst>
          </p:nvPr>
        </p:nvGraphicFramePr>
        <p:xfrm>
          <a:off x="1198276" y="2334538"/>
          <a:ext cx="15865838" cy="5173720"/>
        </p:xfrm>
        <a:graphic>
          <a:graphicData uri="http://schemas.openxmlformats.org/drawingml/2006/table">
            <a:tbl>
              <a:tblPr firstRow="1" firstCol="1" bandRow="1">
                <a:tableStyleId>{5C22544A-7EE6-4342-B048-85BDC9FD1C3A}</a:tableStyleId>
              </a:tblPr>
              <a:tblGrid>
                <a:gridCol w="2853223">
                  <a:extLst>
                    <a:ext uri="{9D8B030D-6E8A-4147-A177-3AD203B41FA5}">
                      <a16:colId xmlns:a16="http://schemas.microsoft.com/office/drawing/2014/main" val="382711882"/>
                    </a:ext>
                  </a:extLst>
                </a:gridCol>
                <a:gridCol w="3502856">
                  <a:extLst>
                    <a:ext uri="{9D8B030D-6E8A-4147-A177-3AD203B41FA5}">
                      <a16:colId xmlns:a16="http://schemas.microsoft.com/office/drawing/2014/main" val="3047001043"/>
                    </a:ext>
                  </a:extLst>
                </a:gridCol>
                <a:gridCol w="1248672">
                  <a:extLst>
                    <a:ext uri="{9D8B030D-6E8A-4147-A177-3AD203B41FA5}">
                      <a16:colId xmlns:a16="http://schemas.microsoft.com/office/drawing/2014/main" val="860800738"/>
                    </a:ext>
                  </a:extLst>
                </a:gridCol>
                <a:gridCol w="1916559">
                  <a:extLst>
                    <a:ext uri="{9D8B030D-6E8A-4147-A177-3AD203B41FA5}">
                      <a16:colId xmlns:a16="http://schemas.microsoft.com/office/drawing/2014/main" val="3890161635"/>
                    </a:ext>
                  </a:extLst>
                </a:gridCol>
                <a:gridCol w="3502855">
                  <a:extLst>
                    <a:ext uri="{9D8B030D-6E8A-4147-A177-3AD203B41FA5}">
                      <a16:colId xmlns:a16="http://schemas.microsoft.com/office/drawing/2014/main" val="2658826809"/>
                    </a:ext>
                  </a:extLst>
                </a:gridCol>
                <a:gridCol w="2841673">
                  <a:extLst>
                    <a:ext uri="{9D8B030D-6E8A-4147-A177-3AD203B41FA5}">
                      <a16:colId xmlns:a16="http://schemas.microsoft.com/office/drawing/2014/main" val="1264386408"/>
                    </a:ext>
                  </a:extLst>
                </a:gridCol>
              </a:tblGrid>
              <a:tr h="645703">
                <a:tc>
                  <a:txBody>
                    <a:bodyPr/>
                    <a:lstStyle/>
                    <a:p>
                      <a:pPr fontAlgn="base"/>
                      <a:r>
                        <a:rPr lang="en-GB" sz="1800" kern="0" dirty="0">
                          <a:effectLst/>
                        </a:rPr>
                        <a:t>Key Partners </a:t>
                      </a:r>
                      <a:endParaRPr lang="sv-SE" sz="1800" kern="100" dirty="0">
                        <a:solidFill>
                          <a:srgbClr val="404040"/>
                        </a:solidFill>
                        <a:effectLst/>
                        <a:latin typeface="Liberation Serif"/>
                        <a:ea typeface="Noto Sans CJK SC"/>
                        <a:cs typeface="Lohit Devanagari"/>
                      </a:endParaRPr>
                    </a:p>
                  </a:txBody>
                  <a:tcPr marL="1114" marR="1114" marT="1114" marB="1114"/>
                </a:tc>
                <a:tc>
                  <a:txBody>
                    <a:bodyPr/>
                    <a:lstStyle/>
                    <a:p>
                      <a:pPr fontAlgn="base"/>
                      <a:r>
                        <a:rPr lang="en-GB" sz="1800" b="1" kern="0" dirty="0">
                          <a:solidFill>
                            <a:schemeClr val="bg1"/>
                          </a:solidFill>
                          <a:effectLst/>
                        </a:rPr>
                        <a:t>Key Activities </a:t>
                      </a:r>
                      <a:endParaRPr lang="sv-SE" sz="1800" b="1" kern="100" dirty="0">
                        <a:solidFill>
                          <a:schemeClr val="bg1"/>
                        </a:solidFill>
                        <a:effectLst/>
                        <a:latin typeface="Liberation Serif"/>
                        <a:ea typeface="Noto Sans CJK SC"/>
                        <a:cs typeface="Lohit Devanagari"/>
                      </a:endParaRPr>
                    </a:p>
                  </a:txBody>
                  <a:tcPr marL="1114" marR="1114" marT="1114" marB="1114">
                    <a:solidFill>
                      <a:schemeClr val="accent1"/>
                    </a:solidFill>
                  </a:tcPr>
                </a:tc>
                <a:tc gridSpan="2">
                  <a:txBody>
                    <a:bodyPr/>
                    <a:lstStyle/>
                    <a:p>
                      <a:pPr fontAlgn="base"/>
                      <a:r>
                        <a:rPr lang="en-GB" sz="1800" b="1" kern="0" dirty="0">
                          <a:solidFill>
                            <a:schemeClr val="bg1"/>
                          </a:solidFill>
                          <a:effectLst/>
                        </a:rPr>
                        <a:t>Value Proposition </a:t>
                      </a:r>
                      <a:endParaRPr lang="sv-SE" sz="1800" b="1" kern="100" dirty="0">
                        <a:solidFill>
                          <a:schemeClr val="bg1"/>
                        </a:solidFill>
                        <a:effectLst/>
                      </a:endParaRPr>
                    </a:p>
                    <a:p>
                      <a:pPr fontAlgn="base"/>
                      <a:r>
                        <a:rPr lang="en-GB" sz="1800" b="1" kern="0" dirty="0">
                          <a:solidFill>
                            <a:schemeClr val="bg1"/>
                          </a:solidFill>
                          <a:effectLst/>
                        </a:rPr>
                        <a:t> </a:t>
                      </a:r>
                      <a:endParaRPr lang="sv-SE" sz="1800" b="1" kern="100" dirty="0">
                        <a:solidFill>
                          <a:schemeClr val="bg1"/>
                        </a:solidFill>
                        <a:effectLst/>
                        <a:latin typeface="Liberation Serif"/>
                        <a:ea typeface="Noto Sans CJK SC"/>
                        <a:cs typeface="Lohit Devanagari"/>
                      </a:endParaRPr>
                    </a:p>
                  </a:txBody>
                  <a:tcPr marL="1114" marR="1114" marT="1114" marB="1114">
                    <a:solidFill>
                      <a:schemeClr val="accent1"/>
                    </a:solidFill>
                  </a:tcPr>
                </a:tc>
                <a:tc hMerge="1">
                  <a:txBody>
                    <a:bodyPr/>
                    <a:lstStyle/>
                    <a:p>
                      <a:endParaRPr lang="en-GB"/>
                    </a:p>
                  </a:txBody>
                  <a:tcPr/>
                </a:tc>
                <a:tc>
                  <a:txBody>
                    <a:bodyPr/>
                    <a:lstStyle/>
                    <a:p>
                      <a:r>
                        <a:rPr lang="en-GB" sz="1800" b="1" kern="0" dirty="0">
                          <a:solidFill>
                            <a:schemeClr val="bg1"/>
                          </a:solidFill>
                          <a:effectLst/>
                        </a:rPr>
                        <a:t>Customer Relationships </a:t>
                      </a:r>
                      <a:endParaRPr lang="en-GB" sz="2000" b="1" dirty="0">
                        <a:solidFill>
                          <a:schemeClr val="bg1"/>
                        </a:solidFill>
                      </a:endParaRPr>
                    </a:p>
                  </a:txBody>
                  <a:tcPr marL="1114" marR="1114" marT="1114" marB="1114">
                    <a:solidFill>
                      <a:schemeClr val="accent1"/>
                    </a:solidFill>
                  </a:tcPr>
                </a:tc>
                <a:tc>
                  <a:txBody>
                    <a:bodyPr/>
                    <a:lstStyle/>
                    <a:p>
                      <a:pPr fontAlgn="base"/>
                      <a:r>
                        <a:rPr lang="en-GB" sz="1800" b="1" kern="0" dirty="0">
                          <a:solidFill>
                            <a:schemeClr val="bg1"/>
                          </a:solidFill>
                          <a:effectLst/>
                        </a:rPr>
                        <a:t>Customer Segments </a:t>
                      </a:r>
                      <a:endParaRPr lang="sv-SE" sz="1800" b="1" kern="100" dirty="0">
                        <a:solidFill>
                          <a:schemeClr val="bg1"/>
                        </a:solidFill>
                        <a:effectLst/>
                        <a:latin typeface="Liberation Serif"/>
                        <a:ea typeface="Noto Sans CJK SC"/>
                        <a:cs typeface="Lohit Devanagari"/>
                      </a:endParaRPr>
                    </a:p>
                  </a:txBody>
                  <a:tcPr marL="1114" marR="1114" marT="1114" marB="1114">
                    <a:solidFill>
                      <a:schemeClr val="accent1"/>
                    </a:solidFill>
                  </a:tcPr>
                </a:tc>
                <a:extLst>
                  <a:ext uri="{0D108BD9-81ED-4DB2-BD59-A6C34878D82A}">
                    <a16:rowId xmlns:a16="http://schemas.microsoft.com/office/drawing/2014/main" val="4072493817"/>
                  </a:ext>
                </a:extLst>
              </a:tr>
              <a:tr h="1074865">
                <a:tc rowSpan="3">
                  <a:txBody>
                    <a:bodyPr/>
                    <a:lstStyle/>
                    <a:p>
                      <a:pPr marL="285750" indent="-285750" algn="l" defTabSz="914400" rtl="0" eaLnBrk="1" fontAlgn="base" latinLnBrk="0" hangingPunct="1">
                        <a:buFont typeface="Arial" panose="020B0604020202020204" pitchFamily="34" charset="0"/>
                        <a:buChar char="•"/>
                      </a:pPr>
                      <a:r>
                        <a:rPr lang="en-GB" sz="1400" b="0" kern="1200" dirty="0">
                          <a:solidFill>
                            <a:schemeClr val="dk1"/>
                          </a:solidFill>
                          <a:effectLst/>
                          <a:latin typeface="+mn-lt"/>
                          <a:ea typeface="+mn-ea"/>
                          <a:cs typeface="+mn-cs"/>
                        </a:rPr>
                        <a:t>OPTIT</a:t>
                      </a:r>
                    </a:p>
                    <a:p>
                      <a:pPr marL="285750" indent="-285750" algn="l" defTabSz="914400" rtl="0" eaLnBrk="1" fontAlgn="base" latinLnBrk="0" hangingPunct="1">
                        <a:buFont typeface="Arial" panose="020B0604020202020204" pitchFamily="34" charset="0"/>
                        <a:buChar char="•"/>
                      </a:pPr>
                      <a:r>
                        <a:rPr lang="en-GB" sz="1400" b="0" kern="1200" dirty="0">
                          <a:solidFill>
                            <a:schemeClr val="dk1"/>
                          </a:solidFill>
                          <a:effectLst/>
                          <a:latin typeface="+mn-lt"/>
                          <a:ea typeface="+mn-ea"/>
                          <a:cs typeface="+mn-cs"/>
                        </a:rPr>
                        <a:t>RTDs</a:t>
                      </a:r>
                    </a:p>
                    <a:p>
                      <a:pPr marL="285750" indent="-285750" algn="l" defTabSz="914400" rtl="0" eaLnBrk="1" fontAlgn="base" latinLnBrk="0" hangingPunct="1">
                        <a:buFont typeface="Arial" panose="020B0604020202020204" pitchFamily="34" charset="0"/>
                        <a:buChar char="•"/>
                      </a:pPr>
                      <a:r>
                        <a:rPr lang="en-GB" sz="1400" b="0" kern="1200" dirty="0">
                          <a:solidFill>
                            <a:schemeClr val="dk1"/>
                          </a:solidFill>
                          <a:effectLst/>
                          <a:latin typeface="+mn-lt"/>
                          <a:ea typeface="+mn-ea"/>
                          <a:cs typeface="+mn-cs"/>
                        </a:rPr>
                        <a:t>Industrials</a:t>
                      </a:r>
                    </a:p>
                  </a:txBody>
                  <a:tcPr marL="1114" marR="1114" marT="1114" marB="1114">
                    <a:solidFill>
                      <a:schemeClr val="accent3">
                        <a:lumMod val="20000"/>
                        <a:lumOff val="80000"/>
                      </a:schemeClr>
                    </a:solidFill>
                  </a:tcPr>
                </a:tc>
                <a:tc>
                  <a:txBody>
                    <a:bodyPr/>
                    <a:lstStyle/>
                    <a:p>
                      <a:pPr marL="285750" indent="-285750" algn="l" defTabSz="914400" rtl="0" eaLnBrk="1" fontAlgn="base" latinLnBrk="0" hangingPunct="1">
                        <a:buFont typeface="Arial" panose="020B0604020202020204" pitchFamily="34" charset="0"/>
                        <a:buChar char="•"/>
                      </a:pPr>
                      <a:r>
                        <a:rPr lang="en-US" sz="1400" b="0" kern="1200" dirty="0">
                          <a:solidFill>
                            <a:schemeClr val="dk1"/>
                          </a:solidFill>
                          <a:effectLst/>
                          <a:latin typeface="+mn-lt"/>
                          <a:ea typeface="+mn-ea"/>
                          <a:cs typeface="+mn-cs"/>
                        </a:rPr>
                        <a:t>Digital Models Development</a:t>
                      </a:r>
                    </a:p>
                    <a:p>
                      <a:pPr marL="285750" indent="-285750" algn="l" defTabSz="914400" rtl="0" eaLnBrk="1" fontAlgn="base" latinLnBrk="0" hangingPunct="1">
                        <a:buFont typeface="Arial" panose="020B0604020202020204" pitchFamily="34" charset="0"/>
                        <a:buChar char="•"/>
                      </a:pPr>
                      <a:r>
                        <a:rPr lang="en-US" sz="1400" b="0" kern="1200" dirty="0">
                          <a:solidFill>
                            <a:schemeClr val="dk1"/>
                          </a:solidFill>
                          <a:effectLst/>
                          <a:latin typeface="+mn-lt"/>
                          <a:ea typeface="+mn-ea"/>
                          <a:cs typeface="+mn-cs"/>
                        </a:rPr>
                        <a:t>Software Development</a:t>
                      </a:r>
                    </a:p>
                    <a:p>
                      <a:pPr marL="285750" indent="-285750" algn="l" defTabSz="914400" rtl="0" eaLnBrk="1" fontAlgn="base" latinLnBrk="0" hangingPunct="1">
                        <a:buFont typeface="Arial" panose="020B0604020202020204" pitchFamily="34" charset="0"/>
                        <a:buChar char="•"/>
                      </a:pPr>
                      <a:r>
                        <a:rPr lang="en-US" sz="1400" b="0" kern="1200" dirty="0">
                          <a:solidFill>
                            <a:schemeClr val="dk1"/>
                          </a:solidFill>
                          <a:effectLst/>
                          <a:latin typeface="+mn-lt"/>
                          <a:ea typeface="+mn-ea"/>
                          <a:cs typeface="+mn-cs"/>
                        </a:rPr>
                        <a:t>Consulting</a:t>
                      </a:r>
                    </a:p>
                  </a:txBody>
                  <a:tcPr marL="1114" marR="1114" marT="1114" marB="1114">
                    <a:solidFill>
                      <a:schemeClr val="accent3">
                        <a:lumMod val="20000"/>
                        <a:lumOff val="80000"/>
                      </a:schemeClr>
                    </a:solidFill>
                  </a:tcPr>
                </a:tc>
                <a:tc rowSpan="3" gridSpan="2">
                  <a:txBody>
                    <a:bodyPr/>
                    <a:lstStyle/>
                    <a:p>
                      <a:pPr marL="285750" marR="0" lvl="0" indent="-2857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US" sz="1400" b="0" kern="1200" dirty="0">
                          <a:solidFill>
                            <a:schemeClr val="dk1"/>
                          </a:solidFill>
                          <a:effectLst/>
                          <a:latin typeface="+mn-lt"/>
                          <a:ea typeface="+mn-ea"/>
                          <a:cs typeface="+mn-cs"/>
                        </a:rPr>
                        <a:t>We help industrial plant managers optimize their energy efficiency and reduce costs by providing context-based decision support systems that leverage digital twins of their manufacturing processes.</a:t>
                      </a:r>
                      <a:endParaRPr lang="sv-SE" sz="1400" b="0" kern="1200" dirty="0">
                        <a:solidFill>
                          <a:schemeClr val="dk1"/>
                        </a:solidFill>
                        <a:effectLst/>
                        <a:latin typeface="+mn-lt"/>
                        <a:ea typeface="+mn-ea"/>
                        <a:cs typeface="+mn-cs"/>
                      </a:endParaRPr>
                    </a:p>
                  </a:txBody>
                  <a:tcPr marL="1114" marR="1114" marT="1114" marB="1114">
                    <a:solidFill>
                      <a:schemeClr val="accent3">
                        <a:lumMod val="20000"/>
                        <a:lumOff val="80000"/>
                      </a:schemeClr>
                    </a:solidFill>
                  </a:tcPr>
                </a:tc>
                <a:tc rowSpan="3" hMerge="1">
                  <a:txBody>
                    <a:bodyPr/>
                    <a:lstStyle/>
                    <a:p>
                      <a:endParaRPr lang="en-GB"/>
                    </a:p>
                  </a:txBody>
                  <a:tcPr/>
                </a:tc>
                <a:tc>
                  <a:txBody>
                    <a:bodyPr/>
                    <a:lstStyle/>
                    <a:p>
                      <a:pPr marL="285750" indent="-285750" algn="l" defTabSz="914400" rtl="0" eaLnBrk="1" fontAlgn="base" latinLnBrk="0" hangingPunct="1">
                        <a:buFont typeface="Arial" panose="020B0604020202020204" pitchFamily="34" charset="0"/>
                        <a:buChar char="•"/>
                      </a:pPr>
                      <a:r>
                        <a:rPr lang="en-US" sz="1400" b="0" kern="1200" dirty="0">
                          <a:solidFill>
                            <a:schemeClr val="dk1"/>
                          </a:solidFill>
                          <a:effectLst/>
                          <a:latin typeface="+mn-lt"/>
                          <a:ea typeface="+mn-ea"/>
                          <a:cs typeface="+mn-cs"/>
                        </a:rPr>
                        <a:t>Project Base plus SaaS for results navigation and what-if analysis</a:t>
                      </a:r>
                      <a:r>
                        <a:rPr lang="en-GB" sz="1400" b="0" kern="1200" dirty="0">
                          <a:solidFill>
                            <a:schemeClr val="dk1"/>
                          </a:solidFill>
                          <a:effectLst/>
                          <a:latin typeface="+mn-lt"/>
                          <a:ea typeface="+mn-ea"/>
                          <a:cs typeface="+mn-cs"/>
                        </a:rPr>
                        <a:t> </a:t>
                      </a:r>
                      <a:endParaRPr lang="sv-SE" sz="1400" b="0" kern="1200" dirty="0">
                        <a:solidFill>
                          <a:schemeClr val="dk1"/>
                        </a:solidFill>
                        <a:effectLst/>
                        <a:latin typeface="+mn-lt"/>
                        <a:ea typeface="+mn-ea"/>
                        <a:cs typeface="+mn-cs"/>
                      </a:endParaRPr>
                    </a:p>
                  </a:txBody>
                  <a:tcPr marL="9525" marR="9525" marT="9525" marB="9525">
                    <a:solidFill>
                      <a:schemeClr val="accent3">
                        <a:lumMod val="20000"/>
                        <a:lumOff val="80000"/>
                      </a:schemeClr>
                    </a:solidFill>
                  </a:tcPr>
                </a:tc>
                <a:tc rowSpan="3">
                  <a:txBody>
                    <a:bodyPr/>
                    <a:lstStyle/>
                    <a:p>
                      <a:pPr marL="285750" indent="-285750" algn="l" defTabSz="914400" rtl="0" eaLnBrk="1" fontAlgn="base" latinLnBrk="0" hangingPunct="1">
                        <a:buFont typeface="Arial" panose="020B0604020202020204" pitchFamily="34" charset="0"/>
                        <a:buChar char="•"/>
                      </a:pPr>
                      <a:r>
                        <a:rPr lang="en-US" sz="1400" b="0" kern="1200" dirty="0">
                          <a:solidFill>
                            <a:schemeClr val="dk1"/>
                          </a:solidFill>
                          <a:effectLst/>
                          <a:latin typeface="+mn-lt"/>
                          <a:ea typeface="+mn-ea"/>
                          <a:cs typeface="+mn-cs"/>
                        </a:rPr>
                        <a:t>Industrial Players</a:t>
                      </a:r>
                    </a:p>
                    <a:p>
                      <a:pPr marL="285750" indent="-285750" algn="l" defTabSz="914400" rtl="0" eaLnBrk="1" fontAlgn="base" latinLnBrk="0" hangingPunct="1">
                        <a:buFont typeface="Arial" panose="020B0604020202020204" pitchFamily="34" charset="0"/>
                        <a:buChar char="•"/>
                      </a:pPr>
                      <a:r>
                        <a:rPr lang="en-US" sz="1400" b="0" kern="1200" dirty="0">
                          <a:solidFill>
                            <a:schemeClr val="dk1"/>
                          </a:solidFill>
                          <a:effectLst/>
                          <a:latin typeface="+mn-lt"/>
                          <a:ea typeface="+mn-ea"/>
                          <a:cs typeface="+mn-cs"/>
                        </a:rPr>
                        <a:t>Research Centers</a:t>
                      </a:r>
                    </a:p>
                    <a:p>
                      <a:pPr marL="285750" indent="-285750" algn="l" defTabSz="914400" rtl="0" eaLnBrk="1" fontAlgn="base" latinLnBrk="0" hangingPunct="1">
                        <a:buFont typeface="Arial" panose="020B0604020202020204" pitchFamily="34" charset="0"/>
                        <a:buChar char="•"/>
                      </a:pPr>
                      <a:r>
                        <a:rPr lang="en-US" sz="1400" b="0" kern="1200" dirty="0">
                          <a:solidFill>
                            <a:schemeClr val="dk1"/>
                          </a:solidFill>
                          <a:effectLst/>
                          <a:latin typeface="+mn-lt"/>
                          <a:ea typeface="+mn-ea"/>
                          <a:cs typeface="+mn-cs"/>
                        </a:rPr>
                        <a:t>Original Equipment Manufacturer</a:t>
                      </a:r>
                    </a:p>
                  </a:txBody>
                  <a:tcPr marL="1114" marR="1114" marT="1114" marB="1114">
                    <a:solidFill>
                      <a:schemeClr val="accent3">
                        <a:lumMod val="20000"/>
                        <a:lumOff val="80000"/>
                      </a:schemeClr>
                    </a:solidFill>
                  </a:tcPr>
                </a:tc>
                <a:extLst>
                  <a:ext uri="{0D108BD9-81ED-4DB2-BD59-A6C34878D82A}">
                    <a16:rowId xmlns:a16="http://schemas.microsoft.com/office/drawing/2014/main" val="3334709605"/>
                  </a:ext>
                </a:extLst>
              </a:tr>
              <a:tr h="216542">
                <a:tc vMerge="1">
                  <a:txBody>
                    <a:bodyPr/>
                    <a:lstStyle/>
                    <a:p>
                      <a:endParaRPr lang="en-GB"/>
                    </a:p>
                  </a:txBody>
                  <a:tcPr/>
                </a:tc>
                <a:tc>
                  <a:txBody>
                    <a:bodyPr/>
                    <a:lstStyle/>
                    <a:p>
                      <a:pPr fontAlgn="base"/>
                      <a:r>
                        <a:rPr lang="en-GB" sz="1800" b="1" kern="0" dirty="0">
                          <a:solidFill>
                            <a:schemeClr val="bg1"/>
                          </a:solidFill>
                          <a:effectLst/>
                        </a:rPr>
                        <a:t>Key Resources </a:t>
                      </a:r>
                      <a:endParaRPr lang="sv-SE" sz="1800" b="1" kern="100" dirty="0">
                        <a:solidFill>
                          <a:schemeClr val="bg1"/>
                        </a:solidFill>
                        <a:effectLst/>
                        <a:latin typeface="Liberation Serif"/>
                        <a:ea typeface="Noto Sans CJK SC"/>
                        <a:cs typeface="Lohit Devanagari"/>
                      </a:endParaRPr>
                    </a:p>
                  </a:txBody>
                  <a:tcPr marL="1114" marR="1114" marT="1114" marB="1114">
                    <a:solidFill>
                      <a:schemeClr val="accent1"/>
                    </a:solidFill>
                  </a:tcPr>
                </a:tc>
                <a:tc gridSpan="2" vMerge="1">
                  <a:txBody>
                    <a:bodyPr/>
                    <a:lstStyle/>
                    <a:p>
                      <a:endParaRPr lang="en-GB"/>
                    </a:p>
                  </a:txBody>
                  <a:tcPr/>
                </a:tc>
                <a:tc hMerge="1" vMerge="1">
                  <a:txBody>
                    <a:bodyPr/>
                    <a:lstStyle/>
                    <a:p>
                      <a:endParaRPr lang="en-GB" dirty="0"/>
                    </a:p>
                  </a:txBody>
                  <a:tcPr/>
                </a:tc>
                <a:tc>
                  <a:txBody>
                    <a:bodyPr/>
                    <a:lstStyle/>
                    <a:p>
                      <a:pPr fontAlgn="base"/>
                      <a:r>
                        <a:rPr lang="en-GB" sz="1800" b="1" kern="0" dirty="0">
                          <a:solidFill>
                            <a:schemeClr val="bg1"/>
                          </a:solidFill>
                          <a:effectLst/>
                        </a:rPr>
                        <a:t>Channels </a:t>
                      </a:r>
                    </a:p>
                    <a:p>
                      <a:pPr fontAlgn="base"/>
                      <a:endParaRPr lang="en-GB" sz="1600" b="1" kern="0" dirty="0">
                        <a:solidFill>
                          <a:schemeClr val="bg1"/>
                        </a:solidFill>
                        <a:effectLst/>
                        <a:latin typeface="Liberation Serif"/>
                        <a:ea typeface="Noto Sans CJK SC"/>
                        <a:cs typeface="Lohit Devanagari"/>
                      </a:endParaRPr>
                    </a:p>
                    <a:p>
                      <a:pPr fontAlgn="base"/>
                      <a:endParaRPr lang="sv-SE" sz="1600" b="1" kern="100" dirty="0">
                        <a:solidFill>
                          <a:schemeClr val="bg1"/>
                        </a:solidFill>
                        <a:effectLst/>
                        <a:latin typeface="Liberation Serif"/>
                        <a:ea typeface="Noto Sans CJK SC"/>
                        <a:cs typeface="Lohit Devanagari"/>
                      </a:endParaRPr>
                    </a:p>
                  </a:txBody>
                  <a:tcPr marL="1114" marR="1114" marT="1114" marB="1114">
                    <a:solidFill>
                      <a:schemeClr val="accent1"/>
                    </a:solidFill>
                  </a:tcPr>
                </a:tc>
                <a:tc vMerge="1">
                  <a:txBody>
                    <a:bodyPr/>
                    <a:lstStyle/>
                    <a:p>
                      <a:endParaRPr lang="en-GB"/>
                    </a:p>
                  </a:txBody>
                  <a:tcPr/>
                </a:tc>
                <a:extLst>
                  <a:ext uri="{0D108BD9-81ED-4DB2-BD59-A6C34878D82A}">
                    <a16:rowId xmlns:a16="http://schemas.microsoft.com/office/drawing/2014/main" val="2587219525"/>
                  </a:ext>
                </a:extLst>
              </a:tr>
              <a:tr h="0">
                <a:tc vMerge="1">
                  <a:txBody>
                    <a:bodyPr/>
                    <a:lstStyle/>
                    <a:p>
                      <a:endParaRPr lang="en-GB"/>
                    </a:p>
                  </a:txBody>
                  <a:tcPr/>
                </a:tc>
                <a:tc>
                  <a:txBody>
                    <a:bodyPr/>
                    <a:lstStyle/>
                    <a:p>
                      <a:pPr marL="285750" indent="-285750" algn="l" defTabSz="914400" rtl="0" eaLnBrk="1" fontAlgn="base" latinLnBrk="0" hangingPunct="1">
                        <a:buFont typeface="Arial" panose="020B0604020202020204" pitchFamily="34" charset="0"/>
                        <a:buChar char="•"/>
                      </a:pPr>
                      <a:r>
                        <a:rPr lang="en-US" sz="1400" b="0" kern="1200" dirty="0">
                          <a:solidFill>
                            <a:schemeClr val="dk1"/>
                          </a:solidFill>
                          <a:effectLst/>
                          <a:latin typeface="+mn-lt"/>
                          <a:ea typeface="+mn-ea"/>
                          <a:cs typeface="+mn-cs"/>
                        </a:rPr>
                        <a:t>Specialized Personnel</a:t>
                      </a:r>
                    </a:p>
                    <a:p>
                      <a:pPr marL="285750" indent="-285750" algn="l" defTabSz="914400" rtl="0" eaLnBrk="1" fontAlgn="base" latinLnBrk="0" hangingPunct="1">
                        <a:buFont typeface="Arial" panose="020B0604020202020204" pitchFamily="34" charset="0"/>
                        <a:buChar char="•"/>
                      </a:pPr>
                      <a:r>
                        <a:rPr lang="en-US" sz="1400" b="0" kern="1200" dirty="0">
                          <a:solidFill>
                            <a:schemeClr val="dk1"/>
                          </a:solidFill>
                          <a:effectLst/>
                          <a:latin typeface="+mn-lt"/>
                          <a:ea typeface="+mn-ea"/>
                          <a:cs typeface="+mn-cs"/>
                        </a:rPr>
                        <a:t>Computing Power</a:t>
                      </a:r>
                    </a:p>
                    <a:p>
                      <a:pPr marL="285750" indent="-285750" algn="l" defTabSz="914400" rtl="0" eaLnBrk="1" fontAlgn="base" latinLnBrk="0" hangingPunct="1">
                        <a:buFont typeface="Arial" panose="020B0604020202020204" pitchFamily="34" charset="0"/>
                        <a:buChar char="•"/>
                      </a:pPr>
                      <a:r>
                        <a:rPr lang="en-US" sz="1400" b="0" kern="1200" dirty="0">
                          <a:solidFill>
                            <a:schemeClr val="dk1"/>
                          </a:solidFill>
                          <a:effectLst/>
                          <a:latin typeface="+mn-lt"/>
                          <a:ea typeface="+mn-ea"/>
                          <a:cs typeface="+mn-cs"/>
                        </a:rPr>
                        <a:t>External Databases</a:t>
                      </a:r>
                    </a:p>
                    <a:p>
                      <a:pPr marL="285750" indent="-285750" algn="l" defTabSz="914400" rtl="0" eaLnBrk="1" fontAlgn="base" latinLnBrk="0" hangingPunct="1">
                        <a:buFont typeface="Arial" panose="020B0604020202020204" pitchFamily="34" charset="0"/>
                        <a:buChar char="•"/>
                      </a:pPr>
                      <a:r>
                        <a:rPr lang="en-US" sz="1400" b="0" kern="1200" dirty="0">
                          <a:solidFill>
                            <a:schemeClr val="dk1"/>
                          </a:solidFill>
                          <a:effectLst/>
                          <a:latin typeface="+mn-lt"/>
                          <a:ea typeface="+mn-ea"/>
                          <a:cs typeface="+mn-cs"/>
                        </a:rPr>
                        <a:t>Updated third party data</a:t>
                      </a:r>
                    </a:p>
                  </a:txBody>
                  <a:tcPr marL="9525" marR="9525" marT="9525" marB="9525">
                    <a:solidFill>
                      <a:schemeClr val="accent3">
                        <a:lumMod val="20000"/>
                        <a:lumOff val="80000"/>
                      </a:schemeClr>
                    </a:solidFill>
                  </a:tcPr>
                </a:tc>
                <a:tc gridSpan="2" vMerge="1">
                  <a:txBody>
                    <a:bodyPr/>
                    <a:lstStyle/>
                    <a:p>
                      <a:endParaRPr lang="en-GB"/>
                    </a:p>
                  </a:txBody>
                  <a:tcPr/>
                </a:tc>
                <a:tc hMerge="1" vMerge="1">
                  <a:txBody>
                    <a:bodyPr/>
                    <a:lstStyle/>
                    <a:p>
                      <a:endParaRPr lang="en-GB" dirty="0"/>
                    </a:p>
                  </a:txBody>
                  <a:tcPr/>
                </a:tc>
                <a:tc>
                  <a:txBody>
                    <a:bodyPr/>
                    <a:lstStyle/>
                    <a:p>
                      <a:pPr marL="285750" indent="-285750" algn="l" defTabSz="914400" rtl="0" eaLnBrk="1" fontAlgn="base" latinLnBrk="0" hangingPunct="1">
                        <a:buFont typeface="Arial" panose="020B0604020202020204" pitchFamily="34" charset="0"/>
                        <a:buChar char="•"/>
                      </a:pPr>
                      <a:r>
                        <a:rPr lang="en-US" sz="1400" b="0" kern="1200" dirty="0">
                          <a:solidFill>
                            <a:schemeClr val="dk1"/>
                          </a:solidFill>
                          <a:effectLst/>
                          <a:latin typeface="+mn-lt"/>
                          <a:ea typeface="+mn-ea"/>
                          <a:cs typeface="+mn-cs"/>
                        </a:rPr>
                        <a:t>Direct qualified contacts</a:t>
                      </a:r>
                    </a:p>
                    <a:p>
                      <a:pPr marL="285750" indent="-285750" algn="l" defTabSz="914400" rtl="0" eaLnBrk="1" fontAlgn="base" latinLnBrk="0" hangingPunct="1">
                        <a:buFont typeface="Arial" panose="020B0604020202020204" pitchFamily="34" charset="0"/>
                        <a:buChar char="•"/>
                      </a:pPr>
                      <a:r>
                        <a:rPr lang="en-US" sz="1400" b="0" kern="1200" dirty="0">
                          <a:solidFill>
                            <a:schemeClr val="dk1"/>
                          </a:solidFill>
                          <a:effectLst/>
                          <a:latin typeface="+mn-lt"/>
                          <a:ea typeface="+mn-ea"/>
                          <a:cs typeface="+mn-cs"/>
                        </a:rPr>
                        <a:t>Website</a:t>
                      </a:r>
                    </a:p>
                    <a:p>
                      <a:pPr marL="285750" indent="-285750" algn="l" defTabSz="914400" rtl="0" eaLnBrk="1" fontAlgn="base" latinLnBrk="0" hangingPunct="1">
                        <a:buFont typeface="Arial" panose="020B0604020202020204" pitchFamily="34" charset="0"/>
                        <a:buChar char="•"/>
                      </a:pPr>
                      <a:r>
                        <a:rPr lang="en-US" sz="1400" b="0" kern="1200" dirty="0">
                          <a:solidFill>
                            <a:schemeClr val="dk1"/>
                          </a:solidFill>
                          <a:effectLst/>
                          <a:latin typeface="+mn-lt"/>
                          <a:ea typeface="+mn-ea"/>
                          <a:cs typeface="+mn-cs"/>
                        </a:rPr>
                        <a:t>Partner’s website</a:t>
                      </a:r>
                    </a:p>
                    <a:p>
                      <a:pPr marL="285750" indent="-285750" algn="l" defTabSz="914400" rtl="0" eaLnBrk="1" fontAlgn="base" latinLnBrk="0" hangingPunct="1">
                        <a:buFont typeface="Arial" panose="020B0604020202020204" pitchFamily="34" charset="0"/>
                        <a:buChar char="•"/>
                      </a:pPr>
                      <a:r>
                        <a:rPr lang="en-US" sz="1400" b="0" kern="1200" dirty="0">
                          <a:solidFill>
                            <a:schemeClr val="dk1"/>
                          </a:solidFill>
                          <a:effectLst/>
                          <a:latin typeface="+mn-lt"/>
                          <a:ea typeface="+mn-ea"/>
                          <a:cs typeface="+mn-cs"/>
                        </a:rPr>
                        <a:t>Social Media</a:t>
                      </a:r>
                    </a:p>
                    <a:p>
                      <a:pPr marL="285750" indent="-285750" algn="l" defTabSz="914400" rtl="0" eaLnBrk="1" fontAlgn="base" latinLnBrk="0" hangingPunct="1">
                        <a:buFont typeface="Arial" panose="020B0604020202020204" pitchFamily="34" charset="0"/>
                        <a:buChar char="•"/>
                      </a:pPr>
                      <a:r>
                        <a:rPr lang="en-US" sz="1400" b="0" kern="1200" dirty="0">
                          <a:solidFill>
                            <a:schemeClr val="dk1"/>
                          </a:solidFill>
                          <a:effectLst/>
                          <a:latin typeface="+mn-lt"/>
                          <a:ea typeface="+mn-ea"/>
                          <a:cs typeface="+mn-cs"/>
                        </a:rPr>
                        <a:t>Fair / Conferences</a:t>
                      </a:r>
                    </a:p>
                  </a:txBody>
                  <a:tcPr marL="1114" marR="1114" marT="1114" marB="1114">
                    <a:solidFill>
                      <a:schemeClr val="accent3">
                        <a:lumMod val="20000"/>
                        <a:lumOff val="80000"/>
                      </a:schemeClr>
                    </a:solidFill>
                  </a:tcPr>
                </a:tc>
                <a:tc vMerge="1">
                  <a:txBody>
                    <a:bodyPr/>
                    <a:lstStyle/>
                    <a:p>
                      <a:endParaRPr lang="en-GB"/>
                    </a:p>
                  </a:txBody>
                  <a:tcPr/>
                </a:tc>
                <a:extLst>
                  <a:ext uri="{0D108BD9-81ED-4DB2-BD59-A6C34878D82A}">
                    <a16:rowId xmlns:a16="http://schemas.microsoft.com/office/drawing/2014/main" val="1673436252"/>
                  </a:ext>
                </a:extLst>
              </a:tr>
              <a:tr h="337625">
                <a:tc gridSpan="3">
                  <a:txBody>
                    <a:bodyPr/>
                    <a:lstStyle/>
                    <a:p>
                      <a:pPr fontAlgn="base"/>
                      <a:r>
                        <a:rPr lang="en-GB" sz="1800" b="1" kern="0" dirty="0">
                          <a:solidFill>
                            <a:schemeClr val="bg1"/>
                          </a:solidFill>
                          <a:effectLst/>
                        </a:rPr>
                        <a:t>Cost Structure </a:t>
                      </a:r>
                    </a:p>
                    <a:p>
                      <a:pPr fontAlgn="base"/>
                      <a:endParaRPr lang="sv-SE" sz="1600" b="1" kern="100" dirty="0">
                        <a:solidFill>
                          <a:schemeClr val="bg1"/>
                        </a:solidFill>
                        <a:effectLst/>
                      </a:endParaRPr>
                    </a:p>
                  </a:txBody>
                  <a:tcPr marL="1114" marR="1114" marT="1114" marB="1114"/>
                </a:tc>
                <a:tc hMerge="1">
                  <a:txBody>
                    <a:bodyPr/>
                    <a:lstStyle/>
                    <a:p>
                      <a:endParaRPr lang="en-GB"/>
                    </a:p>
                  </a:txBody>
                  <a:tcPr/>
                </a:tc>
                <a:tc hMerge="1">
                  <a:txBody>
                    <a:bodyPr/>
                    <a:lstStyle/>
                    <a:p>
                      <a:endParaRPr lang="en-GB"/>
                    </a:p>
                  </a:txBody>
                  <a:tcPr/>
                </a:tc>
                <a:tc gridSpan="3">
                  <a:txBody>
                    <a:bodyPr/>
                    <a:lstStyle/>
                    <a:p>
                      <a:pPr fontAlgn="base"/>
                      <a:r>
                        <a:rPr lang="en-GB" sz="1800" b="1" kern="0" dirty="0">
                          <a:solidFill>
                            <a:schemeClr val="bg1"/>
                          </a:solidFill>
                          <a:effectLst/>
                        </a:rPr>
                        <a:t>Revenue Streams </a:t>
                      </a:r>
                    </a:p>
                    <a:p>
                      <a:pPr fontAlgn="base"/>
                      <a:endParaRPr lang="en-GB" sz="1600" b="1" kern="0" dirty="0">
                        <a:solidFill>
                          <a:schemeClr val="bg1"/>
                        </a:solidFill>
                        <a:effectLst/>
                      </a:endParaRPr>
                    </a:p>
                    <a:p>
                      <a:pPr fontAlgn="base"/>
                      <a:endParaRPr lang="sv-SE" sz="1600" b="1" kern="100" dirty="0">
                        <a:solidFill>
                          <a:schemeClr val="bg1"/>
                        </a:solidFill>
                        <a:effectLst/>
                      </a:endParaRPr>
                    </a:p>
                  </a:txBody>
                  <a:tcPr marL="1114" marR="1114" marT="1114" marB="1114">
                    <a:solidFill>
                      <a:schemeClr val="accent1"/>
                    </a:solidFill>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2457363146"/>
                  </a:ext>
                </a:extLst>
              </a:tr>
              <a:tr h="0">
                <a:tc gridSpan="3">
                  <a:txBody>
                    <a:bodyPr/>
                    <a:lstStyle/>
                    <a:p>
                      <a:pPr marL="285750" indent="-285750" fontAlgn="base">
                        <a:buFont typeface="Arial" panose="020B0604020202020204" pitchFamily="34" charset="0"/>
                        <a:buChar char="•"/>
                      </a:pPr>
                      <a:r>
                        <a:rPr lang="en-US" sz="1400" b="0" kern="1200" dirty="0">
                          <a:solidFill>
                            <a:schemeClr val="dk1"/>
                          </a:solidFill>
                          <a:effectLst/>
                          <a:latin typeface="+mn-lt"/>
                          <a:ea typeface="+mn-ea"/>
                          <a:cs typeface="+mn-cs"/>
                        </a:rPr>
                        <a:t>Hardware</a:t>
                      </a:r>
                    </a:p>
                    <a:p>
                      <a:pPr marL="285750" indent="-285750" fontAlgn="base">
                        <a:buFont typeface="Arial" panose="020B0604020202020204" pitchFamily="34" charset="0"/>
                        <a:buChar char="•"/>
                      </a:pPr>
                      <a:r>
                        <a:rPr lang="en-US" sz="1400" b="0" kern="1200" dirty="0">
                          <a:solidFill>
                            <a:schemeClr val="dk1"/>
                          </a:solidFill>
                          <a:effectLst/>
                          <a:latin typeface="+mn-lt"/>
                          <a:ea typeface="+mn-ea"/>
                          <a:cs typeface="+mn-cs"/>
                        </a:rPr>
                        <a:t>Highly Specialized personnel</a:t>
                      </a:r>
                    </a:p>
                    <a:p>
                      <a:pPr marL="285750" indent="-285750" fontAlgn="base">
                        <a:buFont typeface="Arial" panose="020B0604020202020204" pitchFamily="34" charset="0"/>
                        <a:buChar char="•"/>
                      </a:pPr>
                      <a:r>
                        <a:rPr lang="en-US" sz="1400" b="0" kern="1200" dirty="0">
                          <a:solidFill>
                            <a:schemeClr val="dk1"/>
                          </a:solidFill>
                          <a:effectLst/>
                          <a:latin typeface="+mn-lt"/>
                          <a:ea typeface="+mn-ea"/>
                          <a:cs typeface="+mn-cs"/>
                        </a:rPr>
                        <a:t>Third party licensing (e.g. commercial solvers)</a:t>
                      </a:r>
                    </a:p>
                    <a:p>
                      <a:pPr marL="285750" indent="-285750" fontAlgn="base">
                        <a:buFont typeface="Arial" panose="020B0604020202020204" pitchFamily="34" charset="0"/>
                        <a:buChar char="•"/>
                      </a:pPr>
                      <a:r>
                        <a:rPr lang="en-US" sz="1400" b="0" kern="1200" dirty="0">
                          <a:solidFill>
                            <a:schemeClr val="dk1"/>
                          </a:solidFill>
                          <a:effectLst/>
                          <a:latin typeface="+mn-lt"/>
                          <a:ea typeface="+mn-ea"/>
                          <a:cs typeface="+mn-cs"/>
                        </a:rPr>
                        <a:t>Data purchase from external sources</a:t>
                      </a:r>
                    </a:p>
                  </a:txBody>
                  <a:tcPr marL="1114" marR="1114" marT="1114" marB="1114">
                    <a:solidFill>
                      <a:schemeClr val="accent3">
                        <a:lumMod val="20000"/>
                        <a:lumOff val="80000"/>
                      </a:schemeClr>
                    </a:solidFill>
                  </a:tcPr>
                </a:tc>
                <a:tc hMerge="1">
                  <a:txBody>
                    <a:bodyPr/>
                    <a:lstStyle/>
                    <a:p>
                      <a:endParaRPr lang="en-GB"/>
                    </a:p>
                  </a:txBody>
                  <a:tcPr/>
                </a:tc>
                <a:tc hMerge="1">
                  <a:txBody>
                    <a:bodyPr/>
                    <a:lstStyle/>
                    <a:p>
                      <a:endParaRPr lang="en-GB"/>
                    </a:p>
                  </a:txBody>
                  <a:tcPr/>
                </a:tc>
                <a:tc gridSpan="3">
                  <a:txBody>
                    <a:bodyPr/>
                    <a:lstStyle/>
                    <a:p>
                      <a:pPr marL="285750" indent="-285750" fontAlgn="base">
                        <a:buFont typeface="Arial" panose="020B0604020202020204" pitchFamily="34" charset="0"/>
                        <a:buChar char="•"/>
                      </a:pPr>
                      <a:r>
                        <a:rPr lang="en-US" sz="1400" b="0" kern="1200" dirty="0">
                          <a:solidFill>
                            <a:schemeClr val="dk1"/>
                          </a:solidFill>
                          <a:effectLst/>
                          <a:latin typeface="+mn-lt"/>
                          <a:ea typeface="+mn-ea"/>
                          <a:cs typeface="+mn-cs"/>
                        </a:rPr>
                        <a:t>Consulting Fees for specific project </a:t>
                      </a:r>
                    </a:p>
                    <a:p>
                      <a:pPr marL="285750" indent="-285750" fontAlgn="base">
                        <a:buFont typeface="Arial" panose="020B0604020202020204" pitchFamily="34" charset="0"/>
                        <a:buChar char="•"/>
                      </a:pPr>
                      <a:r>
                        <a:rPr lang="en-US" sz="1400" b="0" kern="1200" dirty="0">
                          <a:solidFill>
                            <a:schemeClr val="dk1"/>
                          </a:solidFill>
                          <a:effectLst/>
                          <a:latin typeface="+mn-lt"/>
                          <a:ea typeface="+mn-ea"/>
                          <a:cs typeface="+mn-cs"/>
                        </a:rPr>
                        <a:t>SaaS recurrent fee for the use of the tool </a:t>
                      </a:r>
                    </a:p>
                  </a:txBody>
                  <a:tcPr marL="1114" marR="1114" marT="1114" marB="1114">
                    <a:solidFill>
                      <a:schemeClr val="accent3">
                        <a:lumMod val="20000"/>
                        <a:lumOff val="80000"/>
                      </a:schemeClr>
                    </a:solidFill>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431393471"/>
                  </a:ext>
                </a:extLst>
              </a:tr>
            </a:tbl>
          </a:graphicData>
        </a:graphic>
      </p:graphicFrame>
      <p:grpSp>
        <p:nvGrpSpPr>
          <p:cNvPr id="7" name="Bild 18" descr="Fabrik kontur">
            <a:extLst>
              <a:ext uri="{FF2B5EF4-FFF2-40B4-BE49-F238E27FC236}">
                <a16:creationId xmlns:a16="http://schemas.microsoft.com/office/drawing/2014/main" id="{D3CDAB3B-6B33-37A9-E930-BDB49F85C0FB}"/>
              </a:ext>
            </a:extLst>
          </p:cNvPr>
          <p:cNvGrpSpPr/>
          <p:nvPr/>
        </p:nvGrpSpPr>
        <p:grpSpPr>
          <a:xfrm>
            <a:off x="6549529" y="4207254"/>
            <a:ext cx="500675" cy="500675"/>
            <a:chOff x="5846141" y="4275832"/>
            <a:chExt cx="500675" cy="500675"/>
          </a:xfrm>
          <a:solidFill>
            <a:schemeClr val="bg1"/>
          </a:solidFill>
        </p:grpSpPr>
        <p:sp>
          <p:nvSpPr>
            <p:cNvPr id="8" name="Frihandsfigur: Form 7">
              <a:extLst>
                <a:ext uri="{FF2B5EF4-FFF2-40B4-BE49-F238E27FC236}">
                  <a16:creationId xmlns:a16="http://schemas.microsoft.com/office/drawing/2014/main" id="{013CCFC9-8AE2-CA0A-7E46-767939482E9F}"/>
                </a:ext>
              </a:extLst>
            </p:cNvPr>
            <p:cNvSpPr/>
            <p:nvPr/>
          </p:nvSpPr>
          <p:spPr>
            <a:xfrm>
              <a:off x="5846141" y="4275832"/>
              <a:ext cx="500675" cy="500675"/>
            </a:xfrm>
            <a:custGeom>
              <a:avLst/>
              <a:gdLst>
                <a:gd name="connsiteX0" fmla="*/ 307558 w 500675"/>
                <a:gd name="connsiteY0" fmla="*/ 288639 h 500675"/>
                <a:gd name="connsiteX1" fmla="*/ 307558 w 500675"/>
                <a:gd name="connsiteY1" fmla="*/ 188504 h 500675"/>
                <a:gd name="connsiteX2" fmla="*/ 113632 w 500675"/>
                <a:gd name="connsiteY2" fmla="*/ 289061 h 500675"/>
                <a:gd name="connsiteX3" fmla="*/ 92482 w 500675"/>
                <a:gd name="connsiteY3" fmla="*/ 0 h 500675"/>
                <a:gd name="connsiteX4" fmla="*/ 21958 w 500675"/>
                <a:gd name="connsiteY4" fmla="*/ 0 h 500675"/>
                <a:gd name="connsiteX5" fmla="*/ 0 w 500675"/>
                <a:gd name="connsiteY5" fmla="*/ 300405 h 500675"/>
                <a:gd name="connsiteX6" fmla="*/ 0 w 500675"/>
                <a:gd name="connsiteY6" fmla="*/ 500675 h 500675"/>
                <a:gd name="connsiteX7" fmla="*/ 500675 w 500675"/>
                <a:gd name="connsiteY7" fmla="*/ 500675 h 500675"/>
                <a:gd name="connsiteX8" fmla="*/ 500675 w 500675"/>
                <a:gd name="connsiteY8" fmla="*/ 188504 h 500675"/>
                <a:gd name="connsiteX9" fmla="*/ 79178 w 500675"/>
                <a:gd name="connsiteY9" fmla="*/ 14305 h 500675"/>
                <a:gd name="connsiteX10" fmla="*/ 81796 w 500675"/>
                <a:gd name="connsiteY10" fmla="*/ 50068 h 500675"/>
                <a:gd name="connsiteX11" fmla="*/ 32644 w 500675"/>
                <a:gd name="connsiteY11" fmla="*/ 50068 h 500675"/>
                <a:gd name="connsiteX12" fmla="*/ 35262 w 500675"/>
                <a:gd name="connsiteY12" fmla="*/ 14305 h 500675"/>
                <a:gd name="connsiteX13" fmla="*/ 31593 w 500675"/>
                <a:gd name="connsiteY13" fmla="*/ 64373 h 500675"/>
                <a:gd name="connsiteX14" fmla="*/ 82847 w 500675"/>
                <a:gd name="connsiteY14" fmla="*/ 64373 h 500675"/>
                <a:gd name="connsiteX15" fmla="*/ 99591 w 500675"/>
                <a:gd name="connsiteY15" fmla="*/ 293253 h 500675"/>
                <a:gd name="connsiteX16" fmla="*/ 14849 w 500675"/>
                <a:gd name="connsiteY16" fmla="*/ 293253 h 500675"/>
                <a:gd name="connsiteX17" fmla="*/ 109433 w 500675"/>
                <a:gd name="connsiteY17" fmla="*/ 307336 h 500675"/>
                <a:gd name="connsiteX18" fmla="*/ 293253 w 500675"/>
                <a:gd name="connsiteY18" fmla="*/ 212036 h 500675"/>
                <a:gd name="connsiteX19" fmla="*/ 293253 w 500675"/>
                <a:gd name="connsiteY19" fmla="*/ 312171 h 500675"/>
                <a:gd name="connsiteX20" fmla="*/ 486370 w 500675"/>
                <a:gd name="connsiteY20" fmla="*/ 212036 h 500675"/>
                <a:gd name="connsiteX21" fmla="*/ 486370 w 500675"/>
                <a:gd name="connsiteY21" fmla="*/ 486370 h 500675"/>
                <a:gd name="connsiteX22" fmla="*/ 14305 w 500675"/>
                <a:gd name="connsiteY22" fmla="*/ 486370 h 500675"/>
                <a:gd name="connsiteX23" fmla="*/ 14305 w 500675"/>
                <a:gd name="connsiteY23" fmla="*/ 307558 h 500675"/>
                <a:gd name="connsiteX24" fmla="*/ 100636 w 500675"/>
                <a:gd name="connsiteY24" fmla="*/ 307558 h 500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00675" h="500675">
                  <a:moveTo>
                    <a:pt x="307558" y="288639"/>
                  </a:moveTo>
                  <a:lnTo>
                    <a:pt x="307558" y="188504"/>
                  </a:lnTo>
                  <a:lnTo>
                    <a:pt x="113632" y="289061"/>
                  </a:lnTo>
                  <a:lnTo>
                    <a:pt x="92482" y="0"/>
                  </a:lnTo>
                  <a:lnTo>
                    <a:pt x="21958" y="0"/>
                  </a:lnTo>
                  <a:lnTo>
                    <a:pt x="0" y="300405"/>
                  </a:lnTo>
                  <a:lnTo>
                    <a:pt x="0" y="500675"/>
                  </a:lnTo>
                  <a:lnTo>
                    <a:pt x="500675" y="500675"/>
                  </a:lnTo>
                  <a:lnTo>
                    <a:pt x="500675" y="188504"/>
                  </a:lnTo>
                  <a:close/>
                  <a:moveTo>
                    <a:pt x="79178" y="14305"/>
                  </a:moveTo>
                  <a:lnTo>
                    <a:pt x="81796" y="50068"/>
                  </a:lnTo>
                  <a:lnTo>
                    <a:pt x="32644" y="50068"/>
                  </a:lnTo>
                  <a:lnTo>
                    <a:pt x="35262" y="14305"/>
                  </a:lnTo>
                  <a:close/>
                  <a:moveTo>
                    <a:pt x="31593" y="64373"/>
                  </a:moveTo>
                  <a:lnTo>
                    <a:pt x="82847" y="64373"/>
                  </a:lnTo>
                  <a:lnTo>
                    <a:pt x="99591" y="293253"/>
                  </a:lnTo>
                  <a:lnTo>
                    <a:pt x="14849" y="293253"/>
                  </a:lnTo>
                  <a:close/>
                  <a:moveTo>
                    <a:pt x="109433" y="307336"/>
                  </a:moveTo>
                  <a:lnTo>
                    <a:pt x="293253" y="212036"/>
                  </a:lnTo>
                  <a:lnTo>
                    <a:pt x="293253" y="312171"/>
                  </a:lnTo>
                  <a:lnTo>
                    <a:pt x="486370" y="212036"/>
                  </a:lnTo>
                  <a:lnTo>
                    <a:pt x="486370" y="486370"/>
                  </a:lnTo>
                  <a:lnTo>
                    <a:pt x="14305" y="486370"/>
                  </a:lnTo>
                  <a:lnTo>
                    <a:pt x="14305" y="307558"/>
                  </a:lnTo>
                  <a:lnTo>
                    <a:pt x="100636" y="307558"/>
                  </a:lnTo>
                  <a:close/>
                </a:path>
              </a:pathLst>
            </a:custGeom>
            <a:solidFill>
              <a:schemeClr val="bg1"/>
            </a:solidFill>
            <a:ln w="7144" cap="flat">
              <a:solidFill>
                <a:schemeClr val="bg1"/>
              </a:solidFill>
              <a:prstDash val="solid"/>
              <a:miter/>
            </a:ln>
          </p:spPr>
          <p:txBody>
            <a:bodyPr rtlCol="0" anchor="ctr"/>
            <a:lstStyle/>
            <a:p>
              <a:endParaRPr lang="en-GB"/>
            </a:p>
          </p:txBody>
        </p:sp>
        <p:sp>
          <p:nvSpPr>
            <p:cNvPr id="9" name="Frihandsfigur: Form 8">
              <a:extLst>
                <a:ext uri="{FF2B5EF4-FFF2-40B4-BE49-F238E27FC236}">
                  <a16:creationId xmlns:a16="http://schemas.microsoft.com/office/drawing/2014/main" id="{C9C88383-F492-2648-7F7A-ADE70631DB0E}"/>
                </a:ext>
              </a:extLst>
            </p:cNvPr>
            <p:cNvSpPr/>
            <p:nvPr/>
          </p:nvSpPr>
          <p:spPr>
            <a:xfrm>
              <a:off x="5896209" y="4647762"/>
              <a:ext cx="114440" cy="71525"/>
            </a:xfrm>
            <a:custGeom>
              <a:avLst/>
              <a:gdLst>
                <a:gd name="connsiteX0" fmla="*/ 0 w 114440"/>
                <a:gd name="connsiteY0" fmla="*/ 71525 h 71525"/>
                <a:gd name="connsiteX1" fmla="*/ 114440 w 114440"/>
                <a:gd name="connsiteY1" fmla="*/ 71525 h 71525"/>
                <a:gd name="connsiteX2" fmla="*/ 114440 w 114440"/>
                <a:gd name="connsiteY2" fmla="*/ 0 h 71525"/>
                <a:gd name="connsiteX3" fmla="*/ 0 w 114440"/>
                <a:gd name="connsiteY3" fmla="*/ 0 h 71525"/>
                <a:gd name="connsiteX4" fmla="*/ 100135 w 114440"/>
                <a:gd name="connsiteY4" fmla="*/ 57220 h 71525"/>
                <a:gd name="connsiteX5" fmla="*/ 64373 w 114440"/>
                <a:gd name="connsiteY5" fmla="*/ 57220 h 71525"/>
                <a:gd name="connsiteX6" fmla="*/ 64373 w 114440"/>
                <a:gd name="connsiteY6" fmla="*/ 14305 h 71525"/>
                <a:gd name="connsiteX7" fmla="*/ 100135 w 114440"/>
                <a:gd name="connsiteY7" fmla="*/ 14305 h 71525"/>
                <a:gd name="connsiteX8" fmla="*/ 14305 w 114440"/>
                <a:gd name="connsiteY8" fmla="*/ 14305 h 71525"/>
                <a:gd name="connsiteX9" fmla="*/ 50068 w 114440"/>
                <a:gd name="connsiteY9" fmla="*/ 14305 h 71525"/>
                <a:gd name="connsiteX10" fmla="*/ 50068 w 114440"/>
                <a:gd name="connsiteY10" fmla="*/ 57220 h 71525"/>
                <a:gd name="connsiteX11" fmla="*/ 14305 w 114440"/>
                <a:gd name="connsiteY11" fmla="*/ 57220 h 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4440" h="71525">
                  <a:moveTo>
                    <a:pt x="0" y="71525"/>
                  </a:moveTo>
                  <a:lnTo>
                    <a:pt x="114440" y="71525"/>
                  </a:lnTo>
                  <a:lnTo>
                    <a:pt x="114440" y="0"/>
                  </a:lnTo>
                  <a:lnTo>
                    <a:pt x="0" y="0"/>
                  </a:lnTo>
                  <a:close/>
                  <a:moveTo>
                    <a:pt x="100135" y="57220"/>
                  </a:moveTo>
                  <a:lnTo>
                    <a:pt x="64373" y="57220"/>
                  </a:lnTo>
                  <a:lnTo>
                    <a:pt x="64373" y="14305"/>
                  </a:lnTo>
                  <a:lnTo>
                    <a:pt x="100135" y="14305"/>
                  </a:lnTo>
                  <a:close/>
                  <a:moveTo>
                    <a:pt x="14305" y="14305"/>
                  </a:moveTo>
                  <a:lnTo>
                    <a:pt x="50068" y="14305"/>
                  </a:lnTo>
                  <a:lnTo>
                    <a:pt x="50068" y="57220"/>
                  </a:lnTo>
                  <a:lnTo>
                    <a:pt x="14305" y="57220"/>
                  </a:lnTo>
                  <a:close/>
                </a:path>
              </a:pathLst>
            </a:custGeom>
            <a:solidFill>
              <a:schemeClr val="bg1"/>
            </a:solidFill>
            <a:ln w="7144" cap="flat">
              <a:solidFill>
                <a:schemeClr val="bg1"/>
              </a:solidFill>
              <a:prstDash val="solid"/>
              <a:miter/>
            </a:ln>
          </p:spPr>
          <p:txBody>
            <a:bodyPr rtlCol="0" anchor="ctr"/>
            <a:lstStyle/>
            <a:p>
              <a:endParaRPr lang="en-GB"/>
            </a:p>
          </p:txBody>
        </p:sp>
        <p:sp>
          <p:nvSpPr>
            <p:cNvPr id="10" name="Frihandsfigur: Form 9">
              <a:extLst>
                <a:ext uri="{FF2B5EF4-FFF2-40B4-BE49-F238E27FC236}">
                  <a16:creationId xmlns:a16="http://schemas.microsoft.com/office/drawing/2014/main" id="{8B7CE92C-7365-578D-4B6C-672C025CDEA9}"/>
                </a:ext>
              </a:extLst>
            </p:cNvPr>
            <p:cNvSpPr/>
            <p:nvPr/>
          </p:nvSpPr>
          <p:spPr>
            <a:xfrm>
              <a:off x="6039259" y="4647762"/>
              <a:ext cx="114440" cy="71525"/>
            </a:xfrm>
            <a:custGeom>
              <a:avLst/>
              <a:gdLst>
                <a:gd name="connsiteX0" fmla="*/ 0 w 114440"/>
                <a:gd name="connsiteY0" fmla="*/ 71525 h 71525"/>
                <a:gd name="connsiteX1" fmla="*/ 114440 w 114440"/>
                <a:gd name="connsiteY1" fmla="*/ 71525 h 71525"/>
                <a:gd name="connsiteX2" fmla="*/ 114440 w 114440"/>
                <a:gd name="connsiteY2" fmla="*/ 0 h 71525"/>
                <a:gd name="connsiteX3" fmla="*/ 0 w 114440"/>
                <a:gd name="connsiteY3" fmla="*/ 0 h 71525"/>
                <a:gd name="connsiteX4" fmla="*/ 100135 w 114440"/>
                <a:gd name="connsiteY4" fmla="*/ 57220 h 71525"/>
                <a:gd name="connsiteX5" fmla="*/ 64373 w 114440"/>
                <a:gd name="connsiteY5" fmla="*/ 57220 h 71525"/>
                <a:gd name="connsiteX6" fmla="*/ 64373 w 114440"/>
                <a:gd name="connsiteY6" fmla="*/ 14305 h 71525"/>
                <a:gd name="connsiteX7" fmla="*/ 100135 w 114440"/>
                <a:gd name="connsiteY7" fmla="*/ 14305 h 71525"/>
                <a:gd name="connsiteX8" fmla="*/ 14305 w 114440"/>
                <a:gd name="connsiteY8" fmla="*/ 14305 h 71525"/>
                <a:gd name="connsiteX9" fmla="*/ 50068 w 114440"/>
                <a:gd name="connsiteY9" fmla="*/ 14305 h 71525"/>
                <a:gd name="connsiteX10" fmla="*/ 50068 w 114440"/>
                <a:gd name="connsiteY10" fmla="*/ 57220 h 71525"/>
                <a:gd name="connsiteX11" fmla="*/ 14305 w 114440"/>
                <a:gd name="connsiteY11" fmla="*/ 57220 h 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4440" h="71525">
                  <a:moveTo>
                    <a:pt x="0" y="71525"/>
                  </a:moveTo>
                  <a:lnTo>
                    <a:pt x="114440" y="71525"/>
                  </a:lnTo>
                  <a:lnTo>
                    <a:pt x="114440" y="0"/>
                  </a:lnTo>
                  <a:lnTo>
                    <a:pt x="0" y="0"/>
                  </a:lnTo>
                  <a:close/>
                  <a:moveTo>
                    <a:pt x="100135" y="57220"/>
                  </a:moveTo>
                  <a:lnTo>
                    <a:pt x="64373" y="57220"/>
                  </a:lnTo>
                  <a:lnTo>
                    <a:pt x="64373" y="14305"/>
                  </a:lnTo>
                  <a:lnTo>
                    <a:pt x="100135" y="14305"/>
                  </a:lnTo>
                  <a:close/>
                  <a:moveTo>
                    <a:pt x="14305" y="14305"/>
                  </a:moveTo>
                  <a:lnTo>
                    <a:pt x="50068" y="14305"/>
                  </a:lnTo>
                  <a:lnTo>
                    <a:pt x="50068" y="57220"/>
                  </a:lnTo>
                  <a:lnTo>
                    <a:pt x="14305" y="57220"/>
                  </a:lnTo>
                  <a:close/>
                </a:path>
              </a:pathLst>
            </a:custGeom>
            <a:solidFill>
              <a:schemeClr val="bg1"/>
            </a:solidFill>
            <a:ln w="7144" cap="flat">
              <a:solidFill>
                <a:schemeClr val="bg1"/>
              </a:solidFill>
              <a:prstDash val="solid"/>
              <a:miter/>
            </a:ln>
          </p:spPr>
          <p:txBody>
            <a:bodyPr rtlCol="0" anchor="ctr"/>
            <a:lstStyle/>
            <a:p>
              <a:endParaRPr lang="en-GB"/>
            </a:p>
          </p:txBody>
        </p:sp>
        <p:sp>
          <p:nvSpPr>
            <p:cNvPr id="11" name="Frihandsfigur: Form 10">
              <a:extLst>
                <a:ext uri="{FF2B5EF4-FFF2-40B4-BE49-F238E27FC236}">
                  <a16:creationId xmlns:a16="http://schemas.microsoft.com/office/drawing/2014/main" id="{CE79BCD6-DDD2-64E7-9D3A-57F9616825A7}"/>
                </a:ext>
              </a:extLst>
            </p:cNvPr>
            <p:cNvSpPr/>
            <p:nvPr/>
          </p:nvSpPr>
          <p:spPr>
            <a:xfrm>
              <a:off x="6182309" y="4647762"/>
              <a:ext cx="114440" cy="71525"/>
            </a:xfrm>
            <a:custGeom>
              <a:avLst/>
              <a:gdLst>
                <a:gd name="connsiteX0" fmla="*/ 114440 w 114440"/>
                <a:gd name="connsiteY0" fmla="*/ 0 h 71525"/>
                <a:gd name="connsiteX1" fmla="*/ 0 w 114440"/>
                <a:gd name="connsiteY1" fmla="*/ 0 h 71525"/>
                <a:gd name="connsiteX2" fmla="*/ 0 w 114440"/>
                <a:gd name="connsiteY2" fmla="*/ 71525 h 71525"/>
                <a:gd name="connsiteX3" fmla="*/ 114440 w 114440"/>
                <a:gd name="connsiteY3" fmla="*/ 71525 h 71525"/>
                <a:gd name="connsiteX4" fmla="*/ 14305 w 114440"/>
                <a:gd name="connsiteY4" fmla="*/ 14305 h 71525"/>
                <a:gd name="connsiteX5" fmla="*/ 50068 w 114440"/>
                <a:gd name="connsiteY5" fmla="*/ 14305 h 71525"/>
                <a:gd name="connsiteX6" fmla="*/ 50068 w 114440"/>
                <a:gd name="connsiteY6" fmla="*/ 57220 h 71525"/>
                <a:gd name="connsiteX7" fmla="*/ 14305 w 114440"/>
                <a:gd name="connsiteY7" fmla="*/ 57220 h 71525"/>
                <a:gd name="connsiteX8" fmla="*/ 100135 w 114440"/>
                <a:gd name="connsiteY8" fmla="*/ 57220 h 71525"/>
                <a:gd name="connsiteX9" fmla="*/ 64373 w 114440"/>
                <a:gd name="connsiteY9" fmla="*/ 57220 h 71525"/>
                <a:gd name="connsiteX10" fmla="*/ 64373 w 114440"/>
                <a:gd name="connsiteY10" fmla="*/ 14305 h 71525"/>
                <a:gd name="connsiteX11" fmla="*/ 100135 w 114440"/>
                <a:gd name="connsiteY11" fmla="*/ 14305 h 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4440" h="71525">
                  <a:moveTo>
                    <a:pt x="114440" y="0"/>
                  </a:moveTo>
                  <a:lnTo>
                    <a:pt x="0" y="0"/>
                  </a:lnTo>
                  <a:lnTo>
                    <a:pt x="0" y="71525"/>
                  </a:lnTo>
                  <a:lnTo>
                    <a:pt x="114440" y="71525"/>
                  </a:lnTo>
                  <a:close/>
                  <a:moveTo>
                    <a:pt x="14305" y="14305"/>
                  </a:moveTo>
                  <a:lnTo>
                    <a:pt x="50068" y="14305"/>
                  </a:lnTo>
                  <a:lnTo>
                    <a:pt x="50068" y="57220"/>
                  </a:lnTo>
                  <a:lnTo>
                    <a:pt x="14305" y="57220"/>
                  </a:lnTo>
                  <a:close/>
                  <a:moveTo>
                    <a:pt x="100135" y="57220"/>
                  </a:moveTo>
                  <a:lnTo>
                    <a:pt x="64373" y="57220"/>
                  </a:lnTo>
                  <a:lnTo>
                    <a:pt x="64373" y="14305"/>
                  </a:lnTo>
                  <a:lnTo>
                    <a:pt x="100135" y="14305"/>
                  </a:lnTo>
                  <a:close/>
                </a:path>
              </a:pathLst>
            </a:custGeom>
            <a:solidFill>
              <a:schemeClr val="bg1"/>
            </a:solidFill>
            <a:ln w="7144" cap="flat">
              <a:solidFill>
                <a:schemeClr val="bg1"/>
              </a:solidFill>
              <a:prstDash val="solid"/>
              <a:miter/>
            </a:ln>
          </p:spPr>
          <p:txBody>
            <a:bodyPr rtlCol="0" anchor="ctr"/>
            <a:lstStyle/>
            <a:p>
              <a:endParaRPr lang="en-GB"/>
            </a:p>
          </p:txBody>
        </p:sp>
      </p:grpSp>
      <p:grpSp>
        <p:nvGrpSpPr>
          <p:cNvPr id="12" name="Bild 22" descr="Användare kontur">
            <a:extLst>
              <a:ext uri="{FF2B5EF4-FFF2-40B4-BE49-F238E27FC236}">
                <a16:creationId xmlns:a16="http://schemas.microsoft.com/office/drawing/2014/main" id="{7D9D3EB5-47E2-845E-69AF-35E6F5F7306E}"/>
              </a:ext>
            </a:extLst>
          </p:cNvPr>
          <p:cNvGrpSpPr/>
          <p:nvPr/>
        </p:nvGrpSpPr>
        <p:grpSpPr>
          <a:xfrm>
            <a:off x="6880942" y="4190394"/>
            <a:ext cx="524545" cy="318468"/>
            <a:chOff x="6177554" y="4258972"/>
            <a:chExt cx="524545" cy="318468"/>
          </a:xfrm>
          <a:solidFill>
            <a:schemeClr val="bg1"/>
          </a:solidFill>
        </p:grpSpPr>
        <p:sp>
          <p:nvSpPr>
            <p:cNvPr id="14" name="Frihandsfigur: Form 13">
              <a:extLst>
                <a:ext uri="{FF2B5EF4-FFF2-40B4-BE49-F238E27FC236}">
                  <a16:creationId xmlns:a16="http://schemas.microsoft.com/office/drawing/2014/main" id="{CF1E8E4B-DE17-467D-3F33-F1A5FD659284}"/>
                </a:ext>
              </a:extLst>
            </p:cNvPr>
            <p:cNvSpPr/>
            <p:nvPr/>
          </p:nvSpPr>
          <p:spPr>
            <a:xfrm>
              <a:off x="6233710" y="4258972"/>
              <a:ext cx="112411" cy="112411"/>
            </a:xfrm>
            <a:custGeom>
              <a:avLst/>
              <a:gdLst>
                <a:gd name="connsiteX0" fmla="*/ 56206 w 112411"/>
                <a:gd name="connsiteY0" fmla="*/ 112412 h 112411"/>
                <a:gd name="connsiteX1" fmla="*/ 112412 w 112411"/>
                <a:gd name="connsiteY1" fmla="*/ 56206 h 112411"/>
                <a:gd name="connsiteX2" fmla="*/ 56206 w 112411"/>
                <a:gd name="connsiteY2" fmla="*/ 0 h 112411"/>
                <a:gd name="connsiteX3" fmla="*/ 0 w 112411"/>
                <a:gd name="connsiteY3" fmla="*/ 56206 h 112411"/>
                <a:gd name="connsiteX4" fmla="*/ 56206 w 112411"/>
                <a:gd name="connsiteY4" fmla="*/ 112412 h 112411"/>
                <a:gd name="connsiteX5" fmla="*/ 56206 w 112411"/>
                <a:gd name="connsiteY5" fmla="*/ 12459 h 112411"/>
                <a:gd name="connsiteX6" fmla="*/ 99922 w 112411"/>
                <a:gd name="connsiteY6" fmla="*/ 56175 h 112411"/>
                <a:gd name="connsiteX7" fmla="*/ 56206 w 112411"/>
                <a:gd name="connsiteY7" fmla="*/ 99890 h 112411"/>
                <a:gd name="connsiteX8" fmla="*/ 12490 w 112411"/>
                <a:gd name="connsiteY8" fmla="*/ 56175 h 112411"/>
                <a:gd name="connsiteX9" fmla="*/ 56206 w 112411"/>
                <a:gd name="connsiteY9" fmla="*/ 12459 h 112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2411" h="112411">
                  <a:moveTo>
                    <a:pt x="56206" y="112412"/>
                  </a:moveTo>
                  <a:cubicBezTo>
                    <a:pt x="87248" y="112412"/>
                    <a:pt x="112412" y="87248"/>
                    <a:pt x="112412" y="56206"/>
                  </a:cubicBezTo>
                  <a:cubicBezTo>
                    <a:pt x="112412" y="25164"/>
                    <a:pt x="87248" y="0"/>
                    <a:pt x="56206" y="0"/>
                  </a:cubicBezTo>
                  <a:cubicBezTo>
                    <a:pt x="25164" y="0"/>
                    <a:pt x="0" y="25164"/>
                    <a:pt x="0" y="56206"/>
                  </a:cubicBezTo>
                  <a:cubicBezTo>
                    <a:pt x="0" y="87248"/>
                    <a:pt x="25164" y="112412"/>
                    <a:pt x="56206" y="112412"/>
                  </a:cubicBezTo>
                  <a:close/>
                  <a:moveTo>
                    <a:pt x="56206" y="12459"/>
                  </a:moveTo>
                  <a:cubicBezTo>
                    <a:pt x="80349" y="12459"/>
                    <a:pt x="99922" y="32031"/>
                    <a:pt x="99922" y="56175"/>
                  </a:cubicBezTo>
                  <a:cubicBezTo>
                    <a:pt x="99922" y="80318"/>
                    <a:pt x="80349" y="99890"/>
                    <a:pt x="56206" y="99890"/>
                  </a:cubicBezTo>
                  <a:cubicBezTo>
                    <a:pt x="32062" y="99890"/>
                    <a:pt x="12490" y="80318"/>
                    <a:pt x="12490" y="56175"/>
                  </a:cubicBezTo>
                  <a:cubicBezTo>
                    <a:pt x="12521" y="32044"/>
                    <a:pt x="32075" y="12490"/>
                    <a:pt x="56206" y="12459"/>
                  </a:cubicBezTo>
                  <a:close/>
                </a:path>
              </a:pathLst>
            </a:custGeom>
            <a:solidFill>
              <a:schemeClr val="bg1"/>
            </a:solidFill>
            <a:ln w="6152" cap="flat">
              <a:noFill/>
              <a:prstDash val="solid"/>
              <a:miter/>
            </a:ln>
          </p:spPr>
          <p:txBody>
            <a:bodyPr rtlCol="0" anchor="ctr"/>
            <a:lstStyle/>
            <a:p>
              <a:endParaRPr lang="en-GB"/>
            </a:p>
          </p:txBody>
        </p:sp>
        <p:sp>
          <p:nvSpPr>
            <p:cNvPr id="16" name="Frihandsfigur: Form 15">
              <a:extLst>
                <a:ext uri="{FF2B5EF4-FFF2-40B4-BE49-F238E27FC236}">
                  <a16:creationId xmlns:a16="http://schemas.microsoft.com/office/drawing/2014/main" id="{D12D5A32-F746-FF88-703E-6EF29404F1B1}"/>
                </a:ext>
              </a:extLst>
            </p:cNvPr>
            <p:cNvSpPr/>
            <p:nvPr/>
          </p:nvSpPr>
          <p:spPr>
            <a:xfrm>
              <a:off x="6533474" y="4258972"/>
              <a:ext cx="112411" cy="112411"/>
            </a:xfrm>
            <a:custGeom>
              <a:avLst/>
              <a:gdLst>
                <a:gd name="connsiteX0" fmla="*/ 56206 w 112411"/>
                <a:gd name="connsiteY0" fmla="*/ 112412 h 112411"/>
                <a:gd name="connsiteX1" fmla="*/ 112412 w 112411"/>
                <a:gd name="connsiteY1" fmla="*/ 56206 h 112411"/>
                <a:gd name="connsiteX2" fmla="*/ 56206 w 112411"/>
                <a:gd name="connsiteY2" fmla="*/ 0 h 112411"/>
                <a:gd name="connsiteX3" fmla="*/ 0 w 112411"/>
                <a:gd name="connsiteY3" fmla="*/ 56206 h 112411"/>
                <a:gd name="connsiteX4" fmla="*/ 56206 w 112411"/>
                <a:gd name="connsiteY4" fmla="*/ 112412 h 112411"/>
                <a:gd name="connsiteX5" fmla="*/ 56206 w 112411"/>
                <a:gd name="connsiteY5" fmla="*/ 12459 h 112411"/>
                <a:gd name="connsiteX6" fmla="*/ 99922 w 112411"/>
                <a:gd name="connsiteY6" fmla="*/ 56175 h 112411"/>
                <a:gd name="connsiteX7" fmla="*/ 56206 w 112411"/>
                <a:gd name="connsiteY7" fmla="*/ 99890 h 112411"/>
                <a:gd name="connsiteX8" fmla="*/ 12490 w 112411"/>
                <a:gd name="connsiteY8" fmla="*/ 56175 h 112411"/>
                <a:gd name="connsiteX9" fmla="*/ 56206 w 112411"/>
                <a:gd name="connsiteY9" fmla="*/ 12459 h 112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2411" h="112411">
                  <a:moveTo>
                    <a:pt x="56206" y="112412"/>
                  </a:moveTo>
                  <a:cubicBezTo>
                    <a:pt x="87248" y="112412"/>
                    <a:pt x="112412" y="87248"/>
                    <a:pt x="112412" y="56206"/>
                  </a:cubicBezTo>
                  <a:cubicBezTo>
                    <a:pt x="112412" y="25164"/>
                    <a:pt x="87248" y="0"/>
                    <a:pt x="56206" y="0"/>
                  </a:cubicBezTo>
                  <a:cubicBezTo>
                    <a:pt x="25164" y="0"/>
                    <a:pt x="0" y="25164"/>
                    <a:pt x="0" y="56206"/>
                  </a:cubicBezTo>
                  <a:cubicBezTo>
                    <a:pt x="0" y="87248"/>
                    <a:pt x="25164" y="112412"/>
                    <a:pt x="56206" y="112412"/>
                  </a:cubicBezTo>
                  <a:close/>
                  <a:moveTo>
                    <a:pt x="56206" y="12459"/>
                  </a:moveTo>
                  <a:cubicBezTo>
                    <a:pt x="80349" y="12459"/>
                    <a:pt x="99922" y="32031"/>
                    <a:pt x="99922" y="56175"/>
                  </a:cubicBezTo>
                  <a:cubicBezTo>
                    <a:pt x="99922" y="80318"/>
                    <a:pt x="80349" y="99890"/>
                    <a:pt x="56206" y="99890"/>
                  </a:cubicBezTo>
                  <a:cubicBezTo>
                    <a:pt x="32062" y="99890"/>
                    <a:pt x="12490" y="80318"/>
                    <a:pt x="12490" y="56175"/>
                  </a:cubicBezTo>
                  <a:cubicBezTo>
                    <a:pt x="12521" y="32044"/>
                    <a:pt x="32075" y="12490"/>
                    <a:pt x="56206" y="12459"/>
                  </a:cubicBezTo>
                  <a:close/>
                </a:path>
              </a:pathLst>
            </a:custGeom>
            <a:solidFill>
              <a:schemeClr val="bg1"/>
            </a:solidFill>
            <a:ln w="6152" cap="flat">
              <a:noFill/>
              <a:prstDash val="solid"/>
              <a:miter/>
            </a:ln>
          </p:spPr>
          <p:txBody>
            <a:bodyPr rtlCol="0" anchor="ctr"/>
            <a:lstStyle/>
            <a:p>
              <a:endParaRPr lang="en-GB"/>
            </a:p>
          </p:txBody>
        </p:sp>
        <p:sp>
          <p:nvSpPr>
            <p:cNvPr id="17" name="Frihandsfigur: Form 16">
              <a:extLst>
                <a:ext uri="{FF2B5EF4-FFF2-40B4-BE49-F238E27FC236}">
                  <a16:creationId xmlns:a16="http://schemas.microsoft.com/office/drawing/2014/main" id="{47AFBAEE-0CC1-E5CE-19AC-FC8070A6C8F9}"/>
                </a:ext>
              </a:extLst>
            </p:cNvPr>
            <p:cNvSpPr/>
            <p:nvPr/>
          </p:nvSpPr>
          <p:spPr>
            <a:xfrm>
              <a:off x="6512560" y="4385029"/>
              <a:ext cx="189539" cy="106166"/>
            </a:xfrm>
            <a:custGeom>
              <a:avLst/>
              <a:gdLst>
                <a:gd name="connsiteX0" fmla="*/ 176418 w 189539"/>
                <a:gd name="connsiteY0" fmla="*/ 33093 h 106166"/>
                <a:gd name="connsiteX1" fmla="*/ 122416 w 189539"/>
                <a:gd name="connsiteY1" fmla="*/ 7294 h 106166"/>
                <a:gd name="connsiteX2" fmla="*/ 77121 w 189539"/>
                <a:gd name="connsiteY2" fmla="*/ 0 h 106166"/>
                <a:gd name="connsiteX3" fmla="*/ 31962 w 189539"/>
                <a:gd name="connsiteY3" fmla="*/ 7263 h 106166"/>
                <a:gd name="connsiteX4" fmla="*/ 2048 w 189539"/>
                <a:gd name="connsiteY4" fmla="*/ 18660 h 106166"/>
                <a:gd name="connsiteX5" fmla="*/ 0 w 189539"/>
                <a:gd name="connsiteY5" fmla="*/ 33898 h 106166"/>
                <a:gd name="connsiteX6" fmla="*/ 35460 w 189539"/>
                <a:gd name="connsiteY6" fmla="*/ 19247 h 106166"/>
                <a:gd name="connsiteX7" fmla="*/ 77121 w 189539"/>
                <a:gd name="connsiteY7" fmla="*/ 12490 h 106166"/>
                <a:gd name="connsiteX8" fmla="*/ 119238 w 189539"/>
                <a:gd name="connsiteY8" fmla="*/ 19360 h 106166"/>
                <a:gd name="connsiteX9" fmla="*/ 168649 w 189539"/>
                <a:gd name="connsiteY9" fmla="*/ 42873 h 106166"/>
                <a:gd name="connsiteX10" fmla="*/ 169186 w 189539"/>
                <a:gd name="connsiteY10" fmla="*/ 43272 h 106166"/>
                <a:gd name="connsiteX11" fmla="*/ 177042 w 189539"/>
                <a:gd name="connsiteY11" fmla="*/ 59328 h 106166"/>
                <a:gd name="connsiteX12" fmla="*/ 177042 w 189539"/>
                <a:gd name="connsiteY12" fmla="*/ 106167 h 106166"/>
                <a:gd name="connsiteX13" fmla="*/ 189532 w 189539"/>
                <a:gd name="connsiteY13" fmla="*/ 106167 h 106166"/>
                <a:gd name="connsiteX14" fmla="*/ 189532 w 189539"/>
                <a:gd name="connsiteY14" fmla="*/ 59328 h 106166"/>
                <a:gd name="connsiteX15" fmla="*/ 176418 w 189539"/>
                <a:gd name="connsiteY15" fmla="*/ 33093 h 106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9539" h="106166">
                  <a:moveTo>
                    <a:pt x="176418" y="33093"/>
                  </a:moveTo>
                  <a:cubicBezTo>
                    <a:pt x="160500" y="20680"/>
                    <a:pt x="142074" y="11877"/>
                    <a:pt x="122416" y="7294"/>
                  </a:cubicBezTo>
                  <a:cubicBezTo>
                    <a:pt x="107700" y="2900"/>
                    <a:pt x="92472" y="447"/>
                    <a:pt x="77121" y="0"/>
                  </a:cubicBezTo>
                  <a:cubicBezTo>
                    <a:pt x="61778" y="16"/>
                    <a:pt x="46536" y="2467"/>
                    <a:pt x="31962" y="7263"/>
                  </a:cubicBezTo>
                  <a:cubicBezTo>
                    <a:pt x="21601" y="9945"/>
                    <a:pt x="11568" y="13768"/>
                    <a:pt x="2048" y="18660"/>
                  </a:cubicBezTo>
                  <a:cubicBezTo>
                    <a:pt x="1895" y="23797"/>
                    <a:pt x="1209" y="28904"/>
                    <a:pt x="0" y="33898"/>
                  </a:cubicBezTo>
                  <a:cubicBezTo>
                    <a:pt x="11106" y="27440"/>
                    <a:pt x="23034" y="22512"/>
                    <a:pt x="35460" y="19247"/>
                  </a:cubicBezTo>
                  <a:cubicBezTo>
                    <a:pt x="48907" y="14829"/>
                    <a:pt x="62966" y="12549"/>
                    <a:pt x="77121" y="12490"/>
                  </a:cubicBezTo>
                  <a:cubicBezTo>
                    <a:pt x="91398" y="12950"/>
                    <a:pt x="105555" y="15259"/>
                    <a:pt x="119238" y="19360"/>
                  </a:cubicBezTo>
                  <a:cubicBezTo>
                    <a:pt x="137227" y="23496"/>
                    <a:pt x="154092" y="31521"/>
                    <a:pt x="168649" y="42873"/>
                  </a:cubicBezTo>
                  <a:lnTo>
                    <a:pt x="169186" y="43272"/>
                  </a:lnTo>
                  <a:cubicBezTo>
                    <a:pt x="174322" y="46976"/>
                    <a:pt x="177270" y="53000"/>
                    <a:pt x="177042" y="59328"/>
                  </a:cubicBezTo>
                  <a:lnTo>
                    <a:pt x="177042" y="106167"/>
                  </a:lnTo>
                  <a:lnTo>
                    <a:pt x="189532" y="106167"/>
                  </a:lnTo>
                  <a:lnTo>
                    <a:pt x="189532" y="59328"/>
                  </a:lnTo>
                  <a:cubicBezTo>
                    <a:pt x="189760" y="48954"/>
                    <a:pt x="184852" y="39136"/>
                    <a:pt x="176418" y="33093"/>
                  </a:cubicBezTo>
                  <a:close/>
                </a:path>
              </a:pathLst>
            </a:custGeom>
            <a:solidFill>
              <a:schemeClr val="bg1"/>
            </a:solidFill>
            <a:ln w="6152" cap="flat">
              <a:noFill/>
              <a:prstDash val="solid"/>
              <a:miter/>
            </a:ln>
          </p:spPr>
          <p:txBody>
            <a:bodyPr rtlCol="0" anchor="ctr"/>
            <a:lstStyle/>
            <a:p>
              <a:endParaRPr lang="en-GB"/>
            </a:p>
          </p:txBody>
        </p:sp>
        <p:sp>
          <p:nvSpPr>
            <p:cNvPr id="18" name="Frihandsfigur: Form 17">
              <a:extLst>
                <a:ext uri="{FF2B5EF4-FFF2-40B4-BE49-F238E27FC236}">
                  <a16:creationId xmlns:a16="http://schemas.microsoft.com/office/drawing/2014/main" id="{903491FD-5F16-5260-5ECF-9091D3FF1990}"/>
                </a:ext>
              </a:extLst>
            </p:cNvPr>
            <p:cNvSpPr/>
            <p:nvPr/>
          </p:nvSpPr>
          <p:spPr>
            <a:xfrm>
              <a:off x="6177554" y="4385029"/>
              <a:ext cx="189220" cy="106166"/>
            </a:xfrm>
            <a:custGeom>
              <a:avLst/>
              <a:gdLst>
                <a:gd name="connsiteX0" fmla="*/ 189220 w 189220"/>
                <a:gd name="connsiteY0" fmla="*/ 32930 h 106166"/>
                <a:gd name="connsiteX1" fmla="*/ 187347 w 189220"/>
                <a:gd name="connsiteY1" fmla="*/ 17892 h 106166"/>
                <a:gd name="connsiteX2" fmla="*/ 157645 w 189220"/>
                <a:gd name="connsiteY2" fmla="*/ 7276 h 106166"/>
                <a:gd name="connsiteX3" fmla="*/ 112362 w 189220"/>
                <a:gd name="connsiteY3" fmla="*/ 0 h 106166"/>
                <a:gd name="connsiteX4" fmla="*/ 67203 w 189220"/>
                <a:gd name="connsiteY4" fmla="*/ 7263 h 106166"/>
                <a:gd name="connsiteX5" fmla="*/ 12827 w 189220"/>
                <a:gd name="connsiteY5" fmla="*/ 33299 h 106166"/>
                <a:gd name="connsiteX6" fmla="*/ 0 w 189220"/>
                <a:gd name="connsiteY6" fmla="*/ 59328 h 106166"/>
                <a:gd name="connsiteX7" fmla="*/ 0 w 189220"/>
                <a:gd name="connsiteY7" fmla="*/ 106167 h 106166"/>
                <a:gd name="connsiteX8" fmla="*/ 12490 w 189220"/>
                <a:gd name="connsiteY8" fmla="*/ 106167 h 106166"/>
                <a:gd name="connsiteX9" fmla="*/ 12490 w 189220"/>
                <a:gd name="connsiteY9" fmla="*/ 59328 h 106166"/>
                <a:gd name="connsiteX10" fmla="*/ 20409 w 189220"/>
                <a:gd name="connsiteY10" fmla="*/ 43229 h 106166"/>
                <a:gd name="connsiteX11" fmla="*/ 70726 w 189220"/>
                <a:gd name="connsiteY11" fmla="*/ 19247 h 106166"/>
                <a:gd name="connsiteX12" fmla="*/ 112362 w 189220"/>
                <a:gd name="connsiteY12" fmla="*/ 12490 h 106166"/>
                <a:gd name="connsiteX13" fmla="*/ 154479 w 189220"/>
                <a:gd name="connsiteY13" fmla="*/ 19360 h 106166"/>
                <a:gd name="connsiteX14" fmla="*/ 189220 w 189220"/>
                <a:gd name="connsiteY14" fmla="*/ 32930 h 106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9220" h="106166">
                  <a:moveTo>
                    <a:pt x="189220" y="32930"/>
                  </a:moveTo>
                  <a:cubicBezTo>
                    <a:pt x="188083" y="27995"/>
                    <a:pt x="187455" y="22956"/>
                    <a:pt x="187347" y="17892"/>
                  </a:cubicBezTo>
                  <a:cubicBezTo>
                    <a:pt x="177817" y="13393"/>
                    <a:pt x="167868" y="9837"/>
                    <a:pt x="157645" y="7276"/>
                  </a:cubicBezTo>
                  <a:cubicBezTo>
                    <a:pt x="142932" y="2888"/>
                    <a:pt x="127708" y="442"/>
                    <a:pt x="112362" y="0"/>
                  </a:cubicBezTo>
                  <a:cubicBezTo>
                    <a:pt x="97019" y="16"/>
                    <a:pt x="81777" y="2467"/>
                    <a:pt x="67203" y="7263"/>
                  </a:cubicBezTo>
                  <a:cubicBezTo>
                    <a:pt x="47657" y="12593"/>
                    <a:pt x="29235" y="21413"/>
                    <a:pt x="12827" y="33299"/>
                  </a:cubicBezTo>
                  <a:cubicBezTo>
                    <a:pt x="4748" y="39518"/>
                    <a:pt x="10" y="49133"/>
                    <a:pt x="0" y="59328"/>
                  </a:cubicBezTo>
                  <a:lnTo>
                    <a:pt x="0" y="106167"/>
                  </a:lnTo>
                  <a:lnTo>
                    <a:pt x="12490" y="106167"/>
                  </a:lnTo>
                  <a:lnTo>
                    <a:pt x="12490" y="59328"/>
                  </a:lnTo>
                  <a:cubicBezTo>
                    <a:pt x="12502" y="53027"/>
                    <a:pt x="15425" y="47084"/>
                    <a:pt x="20409" y="43229"/>
                  </a:cubicBezTo>
                  <a:cubicBezTo>
                    <a:pt x="35606" y="32280"/>
                    <a:pt x="52650" y="24156"/>
                    <a:pt x="70726" y="19247"/>
                  </a:cubicBezTo>
                  <a:cubicBezTo>
                    <a:pt x="84166" y="14831"/>
                    <a:pt x="98215" y="12551"/>
                    <a:pt x="112362" y="12490"/>
                  </a:cubicBezTo>
                  <a:cubicBezTo>
                    <a:pt x="126639" y="12950"/>
                    <a:pt x="140796" y="15260"/>
                    <a:pt x="154479" y="19360"/>
                  </a:cubicBezTo>
                  <a:cubicBezTo>
                    <a:pt x="166607" y="22332"/>
                    <a:pt x="178288" y="26896"/>
                    <a:pt x="189220" y="32930"/>
                  </a:cubicBezTo>
                  <a:close/>
                </a:path>
              </a:pathLst>
            </a:custGeom>
            <a:solidFill>
              <a:schemeClr val="bg1"/>
            </a:solidFill>
            <a:ln w="6152" cap="flat">
              <a:noFill/>
              <a:prstDash val="solid"/>
              <a:miter/>
            </a:ln>
          </p:spPr>
          <p:txBody>
            <a:bodyPr rtlCol="0" anchor="ctr"/>
            <a:lstStyle/>
            <a:p>
              <a:endParaRPr lang="en-GB"/>
            </a:p>
          </p:txBody>
        </p:sp>
        <p:sp>
          <p:nvSpPr>
            <p:cNvPr id="20" name="Frihandsfigur: Form 19">
              <a:extLst>
                <a:ext uri="{FF2B5EF4-FFF2-40B4-BE49-F238E27FC236}">
                  <a16:creationId xmlns:a16="http://schemas.microsoft.com/office/drawing/2014/main" id="{68786163-753C-E601-86BE-094BD111990C}"/>
                </a:ext>
              </a:extLst>
            </p:cNvPr>
            <p:cNvSpPr/>
            <p:nvPr/>
          </p:nvSpPr>
          <p:spPr>
            <a:xfrm>
              <a:off x="6327386" y="4471274"/>
              <a:ext cx="224830" cy="106166"/>
            </a:xfrm>
            <a:custGeom>
              <a:avLst/>
              <a:gdLst>
                <a:gd name="connsiteX0" fmla="*/ 211709 w 224830"/>
                <a:gd name="connsiteY0" fmla="*/ 33099 h 106166"/>
                <a:gd name="connsiteX1" fmla="*/ 157707 w 224830"/>
                <a:gd name="connsiteY1" fmla="*/ 7301 h 106166"/>
                <a:gd name="connsiteX2" fmla="*/ 112412 w 224830"/>
                <a:gd name="connsiteY2" fmla="*/ 0 h 106166"/>
                <a:gd name="connsiteX3" fmla="*/ 67266 w 224830"/>
                <a:gd name="connsiteY3" fmla="*/ 7263 h 106166"/>
                <a:gd name="connsiteX4" fmla="*/ 12890 w 224830"/>
                <a:gd name="connsiteY4" fmla="*/ 33299 h 106166"/>
                <a:gd name="connsiteX5" fmla="*/ 0 w 224830"/>
                <a:gd name="connsiteY5" fmla="*/ 59328 h 106166"/>
                <a:gd name="connsiteX6" fmla="*/ 0 w 224830"/>
                <a:gd name="connsiteY6" fmla="*/ 106167 h 106166"/>
                <a:gd name="connsiteX7" fmla="*/ 12490 w 224830"/>
                <a:gd name="connsiteY7" fmla="*/ 106167 h 106166"/>
                <a:gd name="connsiteX8" fmla="*/ 12490 w 224830"/>
                <a:gd name="connsiteY8" fmla="*/ 59328 h 106166"/>
                <a:gd name="connsiteX9" fmla="*/ 20415 w 224830"/>
                <a:gd name="connsiteY9" fmla="*/ 43229 h 106166"/>
                <a:gd name="connsiteX10" fmla="*/ 70726 w 224830"/>
                <a:gd name="connsiteY10" fmla="*/ 19247 h 106166"/>
                <a:gd name="connsiteX11" fmla="*/ 112412 w 224830"/>
                <a:gd name="connsiteY11" fmla="*/ 12490 h 106166"/>
                <a:gd name="connsiteX12" fmla="*/ 154535 w 224830"/>
                <a:gd name="connsiteY12" fmla="*/ 19360 h 106166"/>
                <a:gd name="connsiteX13" fmla="*/ 203940 w 224830"/>
                <a:gd name="connsiteY13" fmla="*/ 42866 h 106166"/>
                <a:gd name="connsiteX14" fmla="*/ 204477 w 224830"/>
                <a:gd name="connsiteY14" fmla="*/ 43266 h 106166"/>
                <a:gd name="connsiteX15" fmla="*/ 212333 w 224830"/>
                <a:gd name="connsiteY15" fmla="*/ 59328 h 106166"/>
                <a:gd name="connsiteX16" fmla="*/ 212333 w 224830"/>
                <a:gd name="connsiteY16" fmla="*/ 106167 h 106166"/>
                <a:gd name="connsiteX17" fmla="*/ 224823 w 224830"/>
                <a:gd name="connsiteY17" fmla="*/ 106167 h 106166"/>
                <a:gd name="connsiteX18" fmla="*/ 224823 w 224830"/>
                <a:gd name="connsiteY18" fmla="*/ 59328 h 106166"/>
                <a:gd name="connsiteX19" fmla="*/ 211709 w 224830"/>
                <a:gd name="connsiteY19" fmla="*/ 33099 h 106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24830" h="106166">
                  <a:moveTo>
                    <a:pt x="211709" y="33099"/>
                  </a:moveTo>
                  <a:cubicBezTo>
                    <a:pt x="195792" y="20684"/>
                    <a:pt x="177366" y="11881"/>
                    <a:pt x="157707" y="7301"/>
                  </a:cubicBezTo>
                  <a:cubicBezTo>
                    <a:pt x="142991" y="2906"/>
                    <a:pt x="127763" y="453"/>
                    <a:pt x="112412" y="0"/>
                  </a:cubicBezTo>
                  <a:cubicBezTo>
                    <a:pt x="97074" y="15"/>
                    <a:pt x="81835" y="2467"/>
                    <a:pt x="67266" y="7263"/>
                  </a:cubicBezTo>
                  <a:cubicBezTo>
                    <a:pt x="47718" y="12589"/>
                    <a:pt x="29295" y="21409"/>
                    <a:pt x="12890" y="33299"/>
                  </a:cubicBezTo>
                  <a:cubicBezTo>
                    <a:pt x="4784" y="39503"/>
                    <a:pt x="22" y="49121"/>
                    <a:pt x="0" y="59328"/>
                  </a:cubicBezTo>
                  <a:lnTo>
                    <a:pt x="0" y="106167"/>
                  </a:lnTo>
                  <a:lnTo>
                    <a:pt x="12490" y="106167"/>
                  </a:lnTo>
                  <a:lnTo>
                    <a:pt x="12490" y="59328"/>
                  </a:lnTo>
                  <a:cubicBezTo>
                    <a:pt x="12501" y="53025"/>
                    <a:pt x="15427" y="47082"/>
                    <a:pt x="20415" y="43229"/>
                  </a:cubicBezTo>
                  <a:cubicBezTo>
                    <a:pt x="35608" y="32277"/>
                    <a:pt x="52651" y="24154"/>
                    <a:pt x="70726" y="19247"/>
                  </a:cubicBezTo>
                  <a:cubicBezTo>
                    <a:pt x="84181" y="14826"/>
                    <a:pt x="98248" y="12546"/>
                    <a:pt x="112412" y="12490"/>
                  </a:cubicBezTo>
                  <a:cubicBezTo>
                    <a:pt x="126691" y="12948"/>
                    <a:pt x="140850" y="15257"/>
                    <a:pt x="154535" y="19360"/>
                  </a:cubicBezTo>
                  <a:cubicBezTo>
                    <a:pt x="172523" y="23490"/>
                    <a:pt x="189387" y="31514"/>
                    <a:pt x="203940" y="42866"/>
                  </a:cubicBezTo>
                  <a:lnTo>
                    <a:pt x="204477" y="43266"/>
                  </a:lnTo>
                  <a:cubicBezTo>
                    <a:pt x="209615" y="46972"/>
                    <a:pt x="212562" y="52998"/>
                    <a:pt x="212333" y="59328"/>
                  </a:cubicBezTo>
                  <a:lnTo>
                    <a:pt x="212333" y="106167"/>
                  </a:lnTo>
                  <a:lnTo>
                    <a:pt x="224823" y="106167"/>
                  </a:lnTo>
                  <a:lnTo>
                    <a:pt x="224823" y="59328"/>
                  </a:lnTo>
                  <a:cubicBezTo>
                    <a:pt x="225049" y="48957"/>
                    <a:pt x="220142" y="39141"/>
                    <a:pt x="211709" y="33099"/>
                  </a:cubicBezTo>
                  <a:close/>
                </a:path>
              </a:pathLst>
            </a:custGeom>
            <a:solidFill>
              <a:schemeClr val="bg1"/>
            </a:solidFill>
            <a:ln w="6152" cap="flat">
              <a:noFill/>
              <a:prstDash val="solid"/>
              <a:miter/>
            </a:ln>
          </p:spPr>
          <p:txBody>
            <a:bodyPr rtlCol="0" anchor="ctr"/>
            <a:lstStyle/>
            <a:p>
              <a:endParaRPr lang="en-GB"/>
            </a:p>
          </p:txBody>
        </p:sp>
        <p:sp>
          <p:nvSpPr>
            <p:cNvPr id="21" name="Frihandsfigur: Form 20">
              <a:extLst>
                <a:ext uri="{FF2B5EF4-FFF2-40B4-BE49-F238E27FC236}">
                  <a16:creationId xmlns:a16="http://schemas.microsoft.com/office/drawing/2014/main" id="{90E1BC5F-02A1-88AC-8C1F-5407253585B0}"/>
                </a:ext>
              </a:extLst>
            </p:cNvPr>
            <p:cNvSpPr/>
            <p:nvPr/>
          </p:nvSpPr>
          <p:spPr>
            <a:xfrm>
              <a:off x="6383592" y="4345217"/>
              <a:ext cx="112411" cy="112411"/>
            </a:xfrm>
            <a:custGeom>
              <a:avLst/>
              <a:gdLst>
                <a:gd name="connsiteX0" fmla="*/ 56206 w 112411"/>
                <a:gd name="connsiteY0" fmla="*/ 112412 h 112411"/>
                <a:gd name="connsiteX1" fmla="*/ 112412 w 112411"/>
                <a:gd name="connsiteY1" fmla="*/ 56206 h 112411"/>
                <a:gd name="connsiteX2" fmla="*/ 56206 w 112411"/>
                <a:gd name="connsiteY2" fmla="*/ 0 h 112411"/>
                <a:gd name="connsiteX3" fmla="*/ 0 w 112411"/>
                <a:gd name="connsiteY3" fmla="*/ 56206 h 112411"/>
                <a:gd name="connsiteX4" fmla="*/ 56206 w 112411"/>
                <a:gd name="connsiteY4" fmla="*/ 112412 h 112411"/>
                <a:gd name="connsiteX5" fmla="*/ 56206 w 112411"/>
                <a:gd name="connsiteY5" fmla="*/ 12490 h 112411"/>
                <a:gd name="connsiteX6" fmla="*/ 99922 w 112411"/>
                <a:gd name="connsiteY6" fmla="*/ 56206 h 112411"/>
                <a:gd name="connsiteX7" fmla="*/ 56206 w 112411"/>
                <a:gd name="connsiteY7" fmla="*/ 99922 h 112411"/>
                <a:gd name="connsiteX8" fmla="*/ 12490 w 112411"/>
                <a:gd name="connsiteY8" fmla="*/ 56206 h 112411"/>
                <a:gd name="connsiteX9" fmla="*/ 56206 w 112411"/>
                <a:gd name="connsiteY9" fmla="*/ 12459 h 112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2411" h="112411">
                  <a:moveTo>
                    <a:pt x="56206" y="112412"/>
                  </a:moveTo>
                  <a:cubicBezTo>
                    <a:pt x="87248" y="112412"/>
                    <a:pt x="112412" y="87248"/>
                    <a:pt x="112412" y="56206"/>
                  </a:cubicBezTo>
                  <a:cubicBezTo>
                    <a:pt x="112412" y="25164"/>
                    <a:pt x="87248" y="0"/>
                    <a:pt x="56206" y="0"/>
                  </a:cubicBezTo>
                  <a:cubicBezTo>
                    <a:pt x="25164" y="0"/>
                    <a:pt x="0" y="25164"/>
                    <a:pt x="0" y="56206"/>
                  </a:cubicBezTo>
                  <a:cubicBezTo>
                    <a:pt x="0" y="87248"/>
                    <a:pt x="25164" y="112412"/>
                    <a:pt x="56206" y="112412"/>
                  </a:cubicBezTo>
                  <a:close/>
                  <a:moveTo>
                    <a:pt x="56206" y="12490"/>
                  </a:moveTo>
                  <a:cubicBezTo>
                    <a:pt x="80349" y="12490"/>
                    <a:pt x="99922" y="32062"/>
                    <a:pt x="99922" y="56206"/>
                  </a:cubicBezTo>
                  <a:cubicBezTo>
                    <a:pt x="99922" y="80349"/>
                    <a:pt x="80349" y="99922"/>
                    <a:pt x="56206" y="99922"/>
                  </a:cubicBezTo>
                  <a:cubicBezTo>
                    <a:pt x="32062" y="99922"/>
                    <a:pt x="12490" y="80349"/>
                    <a:pt x="12490" y="56206"/>
                  </a:cubicBezTo>
                  <a:cubicBezTo>
                    <a:pt x="12508" y="32064"/>
                    <a:pt x="32064" y="12493"/>
                    <a:pt x="56206" y="12459"/>
                  </a:cubicBezTo>
                  <a:close/>
                </a:path>
              </a:pathLst>
            </a:custGeom>
            <a:solidFill>
              <a:schemeClr val="bg1"/>
            </a:solidFill>
            <a:ln w="6152" cap="flat">
              <a:noFill/>
              <a:prstDash val="solid"/>
              <a:miter/>
            </a:ln>
          </p:spPr>
          <p:txBody>
            <a:bodyPr rtlCol="0" anchor="ctr"/>
            <a:lstStyle/>
            <a:p>
              <a:endParaRPr lang="en-GB"/>
            </a:p>
          </p:txBody>
        </p:sp>
      </p:grpSp>
      <p:grpSp>
        <p:nvGrpSpPr>
          <p:cNvPr id="26" name="Bild 30" descr="Användare kontur">
            <a:extLst>
              <a:ext uri="{FF2B5EF4-FFF2-40B4-BE49-F238E27FC236}">
                <a16:creationId xmlns:a16="http://schemas.microsoft.com/office/drawing/2014/main" id="{15F151AF-C350-35F1-76E9-9485C13CCE74}"/>
              </a:ext>
            </a:extLst>
          </p:cNvPr>
          <p:cNvGrpSpPr/>
          <p:nvPr/>
        </p:nvGrpSpPr>
        <p:grpSpPr>
          <a:xfrm>
            <a:off x="16359558" y="2439240"/>
            <a:ext cx="524545" cy="318468"/>
            <a:chOff x="15656170" y="2577865"/>
            <a:chExt cx="524545" cy="318468"/>
          </a:xfrm>
          <a:solidFill>
            <a:schemeClr val="lt1"/>
          </a:solidFill>
        </p:grpSpPr>
        <p:sp>
          <p:nvSpPr>
            <p:cNvPr id="28" name="Frihandsfigur: Form 27">
              <a:extLst>
                <a:ext uri="{FF2B5EF4-FFF2-40B4-BE49-F238E27FC236}">
                  <a16:creationId xmlns:a16="http://schemas.microsoft.com/office/drawing/2014/main" id="{7D650F77-AFDA-31A6-8AC2-EA38A0676252}"/>
                </a:ext>
              </a:extLst>
            </p:cNvPr>
            <p:cNvSpPr/>
            <p:nvPr/>
          </p:nvSpPr>
          <p:spPr>
            <a:xfrm>
              <a:off x="15712326" y="2577865"/>
              <a:ext cx="112411" cy="112411"/>
            </a:xfrm>
            <a:custGeom>
              <a:avLst/>
              <a:gdLst>
                <a:gd name="connsiteX0" fmla="*/ 56206 w 112411"/>
                <a:gd name="connsiteY0" fmla="*/ 112412 h 112411"/>
                <a:gd name="connsiteX1" fmla="*/ 112412 w 112411"/>
                <a:gd name="connsiteY1" fmla="*/ 56206 h 112411"/>
                <a:gd name="connsiteX2" fmla="*/ 56206 w 112411"/>
                <a:gd name="connsiteY2" fmla="*/ 0 h 112411"/>
                <a:gd name="connsiteX3" fmla="*/ 0 w 112411"/>
                <a:gd name="connsiteY3" fmla="*/ 56206 h 112411"/>
                <a:gd name="connsiteX4" fmla="*/ 56206 w 112411"/>
                <a:gd name="connsiteY4" fmla="*/ 112412 h 112411"/>
                <a:gd name="connsiteX5" fmla="*/ 56206 w 112411"/>
                <a:gd name="connsiteY5" fmla="*/ 12459 h 112411"/>
                <a:gd name="connsiteX6" fmla="*/ 99922 w 112411"/>
                <a:gd name="connsiteY6" fmla="*/ 56175 h 112411"/>
                <a:gd name="connsiteX7" fmla="*/ 56206 w 112411"/>
                <a:gd name="connsiteY7" fmla="*/ 99890 h 112411"/>
                <a:gd name="connsiteX8" fmla="*/ 12490 w 112411"/>
                <a:gd name="connsiteY8" fmla="*/ 56175 h 112411"/>
                <a:gd name="connsiteX9" fmla="*/ 56206 w 112411"/>
                <a:gd name="connsiteY9" fmla="*/ 12459 h 112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2411" h="112411">
                  <a:moveTo>
                    <a:pt x="56206" y="112412"/>
                  </a:moveTo>
                  <a:cubicBezTo>
                    <a:pt x="87248" y="112412"/>
                    <a:pt x="112412" y="87248"/>
                    <a:pt x="112412" y="56206"/>
                  </a:cubicBezTo>
                  <a:cubicBezTo>
                    <a:pt x="112412" y="25164"/>
                    <a:pt x="87248" y="0"/>
                    <a:pt x="56206" y="0"/>
                  </a:cubicBezTo>
                  <a:cubicBezTo>
                    <a:pt x="25164" y="0"/>
                    <a:pt x="0" y="25164"/>
                    <a:pt x="0" y="56206"/>
                  </a:cubicBezTo>
                  <a:cubicBezTo>
                    <a:pt x="0" y="87248"/>
                    <a:pt x="25164" y="112412"/>
                    <a:pt x="56206" y="112412"/>
                  </a:cubicBezTo>
                  <a:close/>
                  <a:moveTo>
                    <a:pt x="56206" y="12459"/>
                  </a:moveTo>
                  <a:cubicBezTo>
                    <a:pt x="80349" y="12459"/>
                    <a:pt x="99922" y="32031"/>
                    <a:pt x="99922" y="56175"/>
                  </a:cubicBezTo>
                  <a:cubicBezTo>
                    <a:pt x="99922" y="80318"/>
                    <a:pt x="80349" y="99890"/>
                    <a:pt x="56206" y="99890"/>
                  </a:cubicBezTo>
                  <a:cubicBezTo>
                    <a:pt x="32062" y="99890"/>
                    <a:pt x="12490" y="80318"/>
                    <a:pt x="12490" y="56175"/>
                  </a:cubicBezTo>
                  <a:cubicBezTo>
                    <a:pt x="12521" y="32044"/>
                    <a:pt x="32075" y="12490"/>
                    <a:pt x="56206" y="12459"/>
                  </a:cubicBezTo>
                  <a:close/>
                </a:path>
              </a:pathLst>
            </a:custGeom>
            <a:solidFill>
              <a:schemeClr val="lt1"/>
            </a:solidFill>
            <a:ln w="8202" cap="flat">
              <a:solidFill>
                <a:schemeClr val="accent5"/>
              </a:solidFill>
              <a:prstDash val="solid"/>
              <a:miter/>
            </a:ln>
          </p:spPr>
          <p:txBody>
            <a:bodyPr rtlCol="0" anchor="ctr"/>
            <a:lstStyle/>
            <a:p>
              <a:endParaRPr lang="en-GB"/>
            </a:p>
          </p:txBody>
        </p:sp>
        <p:sp>
          <p:nvSpPr>
            <p:cNvPr id="29" name="Frihandsfigur: Form 28">
              <a:extLst>
                <a:ext uri="{FF2B5EF4-FFF2-40B4-BE49-F238E27FC236}">
                  <a16:creationId xmlns:a16="http://schemas.microsoft.com/office/drawing/2014/main" id="{4B99B03B-13CD-924C-966D-3205B0CD8460}"/>
                </a:ext>
              </a:extLst>
            </p:cNvPr>
            <p:cNvSpPr/>
            <p:nvPr/>
          </p:nvSpPr>
          <p:spPr>
            <a:xfrm>
              <a:off x="16012090" y="2577865"/>
              <a:ext cx="112411" cy="112411"/>
            </a:xfrm>
            <a:custGeom>
              <a:avLst/>
              <a:gdLst>
                <a:gd name="connsiteX0" fmla="*/ 56206 w 112411"/>
                <a:gd name="connsiteY0" fmla="*/ 112412 h 112411"/>
                <a:gd name="connsiteX1" fmla="*/ 112412 w 112411"/>
                <a:gd name="connsiteY1" fmla="*/ 56206 h 112411"/>
                <a:gd name="connsiteX2" fmla="*/ 56206 w 112411"/>
                <a:gd name="connsiteY2" fmla="*/ 0 h 112411"/>
                <a:gd name="connsiteX3" fmla="*/ 0 w 112411"/>
                <a:gd name="connsiteY3" fmla="*/ 56206 h 112411"/>
                <a:gd name="connsiteX4" fmla="*/ 56206 w 112411"/>
                <a:gd name="connsiteY4" fmla="*/ 112412 h 112411"/>
                <a:gd name="connsiteX5" fmla="*/ 56206 w 112411"/>
                <a:gd name="connsiteY5" fmla="*/ 12459 h 112411"/>
                <a:gd name="connsiteX6" fmla="*/ 99922 w 112411"/>
                <a:gd name="connsiteY6" fmla="*/ 56175 h 112411"/>
                <a:gd name="connsiteX7" fmla="*/ 56206 w 112411"/>
                <a:gd name="connsiteY7" fmla="*/ 99890 h 112411"/>
                <a:gd name="connsiteX8" fmla="*/ 12490 w 112411"/>
                <a:gd name="connsiteY8" fmla="*/ 56175 h 112411"/>
                <a:gd name="connsiteX9" fmla="*/ 56206 w 112411"/>
                <a:gd name="connsiteY9" fmla="*/ 12459 h 112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2411" h="112411">
                  <a:moveTo>
                    <a:pt x="56206" y="112412"/>
                  </a:moveTo>
                  <a:cubicBezTo>
                    <a:pt x="87248" y="112412"/>
                    <a:pt x="112412" y="87248"/>
                    <a:pt x="112412" y="56206"/>
                  </a:cubicBezTo>
                  <a:cubicBezTo>
                    <a:pt x="112412" y="25164"/>
                    <a:pt x="87248" y="0"/>
                    <a:pt x="56206" y="0"/>
                  </a:cubicBezTo>
                  <a:cubicBezTo>
                    <a:pt x="25164" y="0"/>
                    <a:pt x="0" y="25164"/>
                    <a:pt x="0" y="56206"/>
                  </a:cubicBezTo>
                  <a:cubicBezTo>
                    <a:pt x="0" y="87248"/>
                    <a:pt x="25164" y="112412"/>
                    <a:pt x="56206" y="112412"/>
                  </a:cubicBezTo>
                  <a:close/>
                  <a:moveTo>
                    <a:pt x="56206" y="12459"/>
                  </a:moveTo>
                  <a:cubicBezTo>
                    <a:pt x="80349" y="12459"/>
                    <a:pt x="99922" y="32031"/>
                    <a:pt x="99922" y="56175"/>
                  </a:cubicBezTo>
                  <a:cubicBezTo>
                    <a:pt x="99922" y="80318"/>
                    <a:pt x="80349" y="99890"/>
                    <a:pt x="56206" y="99890"/>
                  </a:cubicBezTo>
                  <a:cubicBezTo>
                    <a:pt x="32062" y="99890"/>
                    <a:pt x="12490" y="80318"/>
                    <a:pt x="12490" y="56175"/>
                  </a:cubicBezTo>
                  <a:cubicBezTo>
                    <a:pt x="12521" y="32044"/>
                    <a:pt x="32075" y="12490"/>
                    <a:pt x="56206" y="12459"/>
                  </a:cubicBezTo>
                  <a:close/>
                </a:path>
              </a:pathLst>
            </a:custGeom>
            <a:solidFill>
              <a:schemeClr val="lt1"/>
            </a:solidFill>
            <a:ln w="8202" cap="flat">
              <a:solidFill>
                <a:schemeClr val="accent5"/>
              </a:solidFill>
              <a:prstDash val="solid"/>
              <a:miter/>
            </a:ln>
          </p:spPr>
          <p:txBody>
            <a:bodyPr rtlCol="0" anchor="ctr"/>
            <a:lstStyle/>
            <a:p>
              <a:endParaRPr lang="en-GB"/>
            </a:p>
          </p:txBody>
        </p:sp>
        <p:sp>
          <p:nvSpPr>
            <p:cNvPr id="30" name="Frihandsfigur: Form 29">
              <a:extLst>
                <a:ext uri="{FF2B5EF4-FFF2-40B4-BE49-F238E27FC236}">
                  <a16:creationId xmlns:a16="http://schemas.microsoft.com/office/drawing/2014/main" id="{472C9CF1-AABD-DA28-61FF-C06ABA2CC6DA}"/>
                </a:ext>
              </a:extLst>
            </p:cNvPr>
            <p:cNvSpPr/>
            <p:nvPr/>
          </p:nvSpPr>
          <p:spPr>
            <a:xfrm>
              <a:off x="15991176" y="2703922"/>
              <a:ext cx="189539" cy="106166"/>
            </a:xfrm>
            <a:custGeom>
              <a:avLst/>
              <a:gdLst>
                <a:gd name="connsiteX0" fmla="*/ 176418 w 189539"/>
                <a:gd name="connsiteY0" fmla="*/ 33093 h 106166"/>
                <a:gd name="connsiteX1" fmla="*/ 122416 w 189539"/>
                <a:gd name="connsiteY1" fmla="*/ 7294 h 106166"/>
                <a:gd name="connsiteX2" fmla="*/ 77121 w 189539"/>
                <a:gd name="connsiteY2" fmla="*/ 0 h 106166"/>
                <a:gd name="connsiteX3" fmla="*/ 31962 w 189539"/>
                <a:gd name="connsiteY3" fmla="*/ 7263 h 106166"/>
                <a:gd name="connsiteX4" fmla="*/ 2048 w 189539"/>
                <a:gd name="connsiteY4" fmla="*/ 18660 h 106166"/>
                <a:gd name="connsiteX5" fmla="*/ 0 w 189539"/>
                <a:gd name="connsiteY5" fmla="*/ 33898 h 106166"/>
                <a:gd name="connsiteX6" fmla="*/ 35460 w 189539"/>
                <a:gd name="connsiteY6" fmla="*/ 19247 h 106166"/>
                <a:gd name="connsiteX7" fmla="*/ 77121 w 189539"/>
                <a:gd name="connsiteY7" fmla="*/ 12490 h 106166"/>
                <a:gd name="connsiteX8" fmla="*/ 119238 w 189539"/>
                <a:gd name="connsiteY8" fmla="*/ 19360 h 106166"/>
                <a:gd name="connsiteX9" fmla="*/ 168649 w 189539"/>
                <a:gd name="connsiteY9" fmla="*/ 42873 h 106166"/>
                <a:gd name="connsiteX10" fmla="*/ 169186 w 189539"/>
                <a:gd name="connsiteY10" fmla="*/ 43272 h 106166"/>
                <a:gd name="connsiteX11" fmla="*/ 177042 w 189539"/>
                <a:gd name="connsiteY11" fmla="*/ 59328 h 106166"/>
                <a:gd name="connsiteX12" fmla="*/ 177042 w 189539"/>
                <a:gd name="connsiteY12" fmla="*/ 106167 h 106166"/>
                <a:gd name="connsiteX13" fmla="*/ 189532 w 189539"/>
                <a:gd name="connsiteY13" fmla="*/ 106167 h 106166"/>
                <a:gd name="connsiteX14" fmla="*/ 189532 w 189539"/>
                <a:gd name="connsiteY14" fmla="*/ 59328 h 106166"/>
                <a:gd name="connsiteX15" fmla="*/ 176418 w 189539"/>
                <a:gd name="connsiteY15" fmla="*/ 33093 h 106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9539" h="106166">
                  <a:moveTo>
                    <a:pt x="176418" y="33093"/>
                  </a:moveTo>
                  <a:cubicBezTo>
                    <a:pt x="160500" y="20680"/>
                    <a:pt x="142074" y="11877"/>
                    <a:pt x="122416" y="7294"/>
                  </a:cubicBezTo>
                  <a:cubicBezTo>
                    <a:pt x="107700" y="2900"/>
                    <a:pt x="92472" y="447"/>
                    <a:pt x="77121" y="0"/>
                  </a:cubicBezTo>
                  <a:cubicBezTo>
                    <a:pt x="61778" y="16"/>
                    <a:pt x="46536" y="2467"/>
                    <a:pt x="31962" y="7263"/>
                  </a:cubicBezTo>
                  <a:cubicBezTo>
                    <a:pt x="21601" y="9945"/>
                    <a:pt x="11568" y="13768"/>
                    <a:pt x="2048" y="18660"/>
                  </a:cubicBezTo>
                  <a:cubicBezTo>
                    <a:pt x="1895" y="23797"/>
                    <a:pt x="1209" y="28904"/>
                    <a:pt x="0" y="33898"/>
                  </a:cubicBezTo>
                  <a:cubicBezTo>
                    <a:pt x="11106" y="27440"/>
                    <a:pt x="23034" y="22512"/>
                    <a:pt x="35460" y="19247"/>
                  </a:cubicBezTo>
                  <a:cubicBezTo>
                    <a:pt x="48907" y="14829"/>
                    <a:pt x="62966" y="12549"/>
                    <a:pt x="77121" y="12490"/>
                  </a:cubicBezTo>
                  <a:cubicBezTo>
                    <a:pt x="91398" y="12950"/>
                    <a:pt x="105555" y="15259"/>
                    <a:pt x="119238" y="19360"/>
                  </a:cubicBezTo>
                  <a:cubicBezTo>
                    <a:pt x="137227" y="23496"/>
                    <a:pt x="154092" y="31521"/>
                    <a:pt x="168649" y="42873"/>
                  </a:cubicBezTo>
                  <a:lnTo>
                    <a:pt x="169186" y="43272"/>
                  </a:lnTo>
                  <a:cubicBezTo>
                    <a:pt x="174322" y="46976"/>
                    <a:pt x="177270" y="53000"/>
                    <a:pt x="177042" y="59328"/>
                  </a:cubicBezTo>
                  <a:lnTo>
                    <a:pt x="177042" y="106167"/>
                  </a:lnTo>
                  <a:lnTo>
                    <a:pt x="189532" y="106167"/>
                  </a:lnTo>
                  <a:lnTo>
                    <a:pt x="189532" y="59328"/>
                  </a:lnTo>
                  <a:cubicBezTo>
                    <a:pt x="189760" y="48954"/>
                    <a:pt x="184852" y="39136"/>
                    <a:pt x="176418" y="33093"/>
                  </a:cubicBezTo>
                  <a:close/>
                </a:path>
              </a:pathLst>
            </a:custGeom>
            <a:solidFill>
              <a:schemeClr val="lt1"/>
            </a:solidFill>
            <a:ln w="8202" cap="flat">
              <a:solidFill>
                <a:schemeClr val="accent5"/>
              </a:solidFill>
              <a:prstDash val="solid"/>
              <a:miter/>
            </a:ln>
          </p:spPr>
          <p:txBody>
            <a:bodyPr rtlCol="0" anchor="ctr"/>
            <a:lstStyle/>
            <a:p>
              <a:endParaRPr lang="en-GB"/>
            </a:p>
          </p:txBody>
        </p:sp>
        <p:sp>
          <p:nvSpPr>
            <p:cNvPr id="128" name="Frihandsfigur: Form 127">
              <a:extLst>
                <a:ext uri="{FF2B5EF4-FFF2-40B4-BE49-F238E27FC236}">
                  <a16:creationId xmlns:a16="http://schemas.microsoft.com/office/drawing/2014/main" id="{1B4F580E-026C-061C-713B-BBD74BBB53B0}"/>
                </a:ext>
              </a:extLst>
            </p:cNvPr>
            <p:cNvSpPr/>
            <p:nvPr/>
          </p:nvSpPr>
          <p:spPr>
            <a:xfrm>
              <a:off x="15656170" y="2703922"/>
              <a:ext cx="189220" cy="106166"/>
            </a:xfrm>
            <a:custGeom>
              <a:avLst/>
              <a:gdLst>
                <a:gd name="connsiteX0" fmla="*/ 189220 w 189220"/>
                <a:gd name="connsiteY0" fmla="*/ 32930 h 106166"/>
                <a:gd name="connsiteX1" fmla="*/ 187347 w 189220"/>
                <a:gd name="connsiteY1" fmla="*/ 17892 h 106166"/>
                <a:gd name="connsiteX2" fmla="*/ 157645 w 189220"/>
                <a:gd name="connsiteY2" fmla="*/ 7276 h 106166"/>
                <a:gd name="connsiteX3" fmla="*/ 112362 w 189220"/>
                <a:gd name="connsiteY3" fmla="*/ 0 h 106166"/>
                <a:gd name="connsiteX4" fmla="*/ 67203 w 189220"/>
                <a:gd name="connsiteY4" fmla="*/ 7263 h 106166"/>
                <a:gd name="connsiteX5" fmla="*/ 12827 w 189220"/>
                <a:gd name="connsiteY5" fmla="*/ 33299 h 106166"/>
                <a:gd name="connsiteX6" fmla="*/ 0 w 189220"/>
                <a:gd name="connsiteY6" fmla="*/ 59328 h 106166"/>
                <a:gd name="connsiteX7" fmla="*/ 0 w 189220"/>
                <a:gd name="connsiteY7" fmla="*/ 106167 h 106166"/>
                <a:gd name="connsiteX8" fmla="*/ 12490 w 189220"/>
                <a:gd name="connsiteY8" fmla="*/ 106167 h 106166"/>
                <a:gd name="connsiteX9" fmla="*/ 12490 w 189220"/>
                <a:gd name="connsiteY9" fmla="*/ 59328 h 106166"/>
                <a:gd name="connsiteX10" fmla="*/ 20409 w 189220"/>
                <a:gd name="connsiteY10" fmla="*/ 43229 h 106166"/>
                <a:gd name="connsiteX11" fmla="*/ 70726 w 189220"/>
                <a:gd name="connsiteY11" fmla="*/ 19247 h 106166"/>
                <a:gd name="connsiteX12" fmla="*/ 112362 w 189220"/>
                <a:gd name="connsiteY12" fmla="*/ 12490 h 106166"/>
                <a:gd name="connsiteX13" fmla="*/ 154479 w 189220"/>
                <a:gd name="connsiteY13" fmla="*/ 19360 h 106166"/>
                <a:gd name="connsiteX14" fmla="*/ 189220 w 189220"/>
                <a:gd name="connsiteY14" fmla="*/ 32930 h 106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9220" h="106166">
                  <a:moveTo>
                    <a:pt x="189220" y="32930"/>
                  </a:moveTo>
                  <a:cubicBezTo>
                    <a:pt x="188083" y="27995"/>
                    <a:pt x="187455" y="22956"/>
                    <a:pt x="187347" y="17892"/>
                  </a:cubicBezTo>
                  <a:cubicBezTo>
                    <a:pt x="177817" y="13393"/>
                    <a:pt x="167868" y="9837"/>
                    <a:pt x="157645" y="7276"/>
                  </a:cubicBezTo>
                  <a:cubicBezTo>
                    <a:pt x="142932" y="2888"/>
                    <a:pt x="127708" y="442"/>
                    <a:pt x="112362" y="0"/>
                  </a:cubicBezTo>
                  <a:cubicBezTo>
                    <a:pt x="97019" y="16"/>
                    <a:pt x="81777" y="2467"/>
                    <a:pt x="67203" y="7263"/>
                  </a:cubicBezTo>
                  <a:cubicBezTo>
                    <a:pt x="47657" y="12593"/>
                    <a:pt x="29235" y="21413"/>
                    <a:pt x="12827" y="33299"/>
                  </a:cubicBezTo>
                  <a:cubicBezTo>
                    <a:pt x="4748" y="39518"/>
                    <a:pt x="10" y="49133"/>
                    <a:pt x="0" y="59328"/>
                  </a:cubicBezTo>
                  <a:lnTo>
                    <a:pt x="0" y="106167"/>
                  </a:lnTo>
                  <a:lnTo>
                    <a:pt x="12490" y="106167"/>
                  </a:lnTo>
                  <a:lnTo>
                    <a:pt x="12490" y="59328"/>
                  </a:lnTo>
                  <a:cubicBezTo>
                    <a:pt x="12502" y="53027"/>
                    <a:pt x="15425" y="47084"/>
                    <a:pt x="20409" y="43229"/>
                  </a:cubicBezTo>
                  <a:cubicBezTo>
                    <a:pt x="35606" y="32280"/>
                    <a:pt x="52650" y="24156"/>
                    <a:pt x="70726" y="19247"/>
                  </a:cubicBezTo>
                  <a:cubicBezTo>
                    <a:pt x="84166" y="14831"/>
                    <a:pt x="98215" y="12551"/>
                    <a:pt x="112362" y="12490"/>
                  </a:cubicBezTo>
                  <a:cubicBezTo>
                    <a:pt x="126639" y="12950"/>
                    <a:pt x="140796" y="15260"/>
                    <a:pt x="154479" y="19360"/>
                  </a:cubicBezTo>
                  <a:cubicBezTo>
                    <a:pt x="166607" y="22332"/>
                    <a:pt x="178288" y="26896"/>
                    <a:pt x="189220" y="32930"/>
                  </a:cubicBezTo>
                  <a:close/>
                </a:path>
              </a:pathLst>
            </a:custGeom>
            <a:solidFill>
              <a:schemeClr val="lt1"/>
            </a:solidFill>
            <a:ln w="8202" cap="flat">
              <a:solidFill>
                <a:schemeClr val="accent5"/>
              </a:solidFill>
              <a:prstDash val="solid"/>
              <a:miter/>
            </a:ln>
          </p:spPr>
          <p:txBody>
            <a:bodyPr rtlCol="0" anchor="ctr"/>
            <a:lstStyle/>
            <a:p>
              <a:endParaRPr lang="en-GB"/>
            </a:p>
          </p:txBody>
        </p:sp>
        <p:sp>
          <p:nvSpPr>
            <p:cNvPr id="130" name="Frihandsfigur: Form 129">
              <a:extLst>
                <a:ext uri="{FF2B5EF4-FFF2-40B4-BE49-F238E27FC236}">
                  <a16:creationId xmlns:a16="http://schemas.microsoft.com/office/drawing/2014/main" id="{1862E28E-2733-C802-F69F-271B853CBF67}"/>
                </a:ext>
              </a:extLst>
            </p:cNvPr>
            <p:cNvSpPr/>
            <p:nvPr/>
          </p:nvSpPr>
          <p:spPr>
            <a:xfrm>
              <a:off x="15806002" y="2790167"/>
              <a:ext cx="224830" cy="106166"/>
            </a:xfrm>
            <a:custGeom>
              <a:avLst/>
              <a:gdLst>
                <a:gd name="connsiteX0" fmla="*/ 211709 w 224830"/>
                <a:gd name="connsiteY0" fmla="*/ 33099 h 106166"/>
                <a:gd name="connsiteX1" fmla="*/ 157707 w 224830"/>
                <a:gd name="connsiteY1" fmla="*/ 7301 h 106166"/>
                <a:gd name="connsiteX2" fmla="*/ 112412 w 224830"/>
                <a:gd name="connsiteY2" fmla="*/ 0 h 106166"/>
                <a:gd name="connsiteX3" fmla="*/ 67266 w 224830"/>
                <a:gd name="connsiteY3" fmla="*/ 7263 h 106166"/>
                <a:gd name="connsiteX4" fmla="*/ 12890 w 224830"/>
                <a:gd name="connsiteY4" fmla="*/ 33299 h 106166"/>
                <a:gd name="connsiteX5" fmla="*/ 0 w 224830"/>
                <a:gd name="connsiteY5" fmla="*/ 59328 h 106166"/>
                <a:gd name="connsiteX6" fmla="*/ 0 w 224830"/>
                <a:gd name="connsiteY6" fmla="*/ 106167 h 106166"/>
                <a:gd name="connsiteX7" fmla="*/ 12490 w 224830"/>
                <a:gd name="connsiteY7" fmla="*/ 106167 h 106166"/>
                <a:gd name="connsiteX8" fmla="*/ 12490 w 224830"/>
                <a:gd name="connsiteY8" fmla="*/ 59328 h 106166"/>
                <a:gd name="connsiteX9" fmla="*/ 20415 w 224830"/>
                <a:gd name="connsiteY9" fmla="*/ 43229 h 106166"/>
                <a:gd name="connsiteX10" fmla="*/ 70726 w 224830"/>
                <a:gd name="connsiteY10" fmla="*/ 19247 h 106166"/>
                <a:gd name="connsiteX11" fmla="*/ 112412 w 224830"/>
                <a:gd name="connsiteY11" fmla="*/ 12490 h 106166"/>
                <a:gd name="connsiteX12" fmla="*/ 154535 w 224830"/>
                <a:gd name="connsiteY12" fmla="*/ 19360 h 106166"/>
                <a:gd name="connsiteX13" fmla="*/ 203940 w 224830"/>
                <a:gd name="connsiteY13" fmla="*/ 42866 h 106166"/>
                <a:gd name="connsiteX14" fmla="*/ 204477 w 224830"/>
                <a:gd name="connsiteY14" fmla="*/ 43266 h 106166"/>
                <a:gd name="connsiteX15" fmla="*/ 212333 w 224830"/>
                <a:gd name="connsiteY15" fmla="*/ 59328 h 106166"/>
                <a:gd name="connsiteX16" fmla="*/ 212333 w 224830"/>
                <a:gd name="connsiteY16" fmla="*/ 106167 h 106166"/>
                <a:gd name="connsiteX17" fmla="*/ 224823 w 224830"/>
                <a:gd name="connsiteY17" fmla="*/ 106167 h 106166"/>
                <a:gd name="connsiteX18" fmla="*/ 224823 w 224830"/>
                <a:gd name="connsiteY18" fmla="*/ 59328 h 106166"/>
                <a:gd name="connsiteX19" fmla="*/ 211709 w 224830"/>
                <a:gd name="connsiteY19" fmla="*/ 33099 h 106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24830" h="106166">
                  <a:moveTo>
                    <a:pt x="211709" y="33099"/>
                  </a:moveTo>
                  <a:cubicBezTo>
                    <a:pt x="195792" y="20684"/>
                    <a:pt x="177366" y="11881"/>
                    <a:pt x="157707" y="7301"/>
                  </a:cubicBezTo>
                  <a:cubicBezTo>
                    <a:pt x="142991" y="2906"/>
                    <a:pt x="127763" y="453"/>
                    <a:pt x="112412" y="0"/>
                  </a:cubicBezTo>
                  <a:cubicBezTo>
                    <a:pt x="97074" y="15"/>
                    <a:pt x="81835" y="2467"/>
                    <a:pt x="67266" y="7263"/>
                  </a:cubicBezTo>
                  <a:cubicBezTo>
                    <a:pt x="47718" y="12589"/>
                    <a:pt x="29295" y="21409"/>
                    <a:pt x="12890" y="33299"/>
                  </a:cubicBezTo>
                  <a:cubicBezTo>
                    <a:pt x="4784" y="39503"/>
                    <a:pt x="22" y="49121"/>
                    <a:pt x="0" y="59328"/>
                  </a:cubicBezTo>
                  <a:lnTo>
                    <a:pt x="0" y="106167"/>
                  </a:lnTo>
                  <a:lnTo>
                    <a:pt x="12490" y="106167"/>
                  </a:lnTo>
                  <a:lnTo>
                    <a:pt x="12490" y="59328"/>
                  </a:lnTo>
                  <a:cubicBezTo>
                    <a:pt x="12501" y="53025"/>
                    <a:pt x="15427" y="47082"/>
                    <a:pt x="20415" y="43229"/>
                  </a:cubicBezTo>
                  <a:cubicBezTo>
                    <a:pt x="35608" y="32277"/>
                    <a:pt x="52651" y="24154"/>
                    <a:pt x="70726" y="19247"/>
                  </a:cubicBezTo>
                  <a:cubicBezTo>
                    <a:pt x="84181" y="14826"/>
                    <a:pt x="98248" y="12546"/>
                    <a:pt x="112412" y="12490"/>
                  </a:cubicBezTo>
                  <a:cubicBezTo>
                    <a:pt x="126691" y="12948"/>
                    <a:pt x="140850" y="15257"/>
                    <a:pt x="154535" y="19360"/>
                  </a:cubicBezTo>
                  <a:cubicBezTo>
                    <a:pt x="172523" y="23490"/>
                    <a:pt x="189387" y="31514"/>
                    <a:pt x="203940" y="42866"/>
                  </a:cubicBezTo>
                  <a:lnTo>
                    <a:pt x="204477" y="43266"/>
                  </a:lnTo>
                  <a:cubicBezTo>
                    <a:pt x="209615" y="46972"/>
                    <a:pt x="212562" y="52998"/>
                    <a:pt x="212333" y="59328"/>
                  </a:cubicBezTo>
                  <a:lnTo>
                    <a:pt x="212333" y="106167"/>
                  </a:lnTo>
                  <a:lnTo>
                    <a:pt x="224823" y="106167"/>
                  </a:lnTo>
                  <a:lnTo>
                    <a:pt x="224823" y="59328"/>
                  </a:lnTo>
                  <a:cubicBezTo>
                    <a:pt x="225049" y="48957"/>
                    <a:pt x="220142" y="39141"/>
                    <a:pt x="211709" y="33099"/>
                  </a:cubicBezTo>
                  <a:close/>
                </a:path>
              </a:pathLst>
            </a:custGeom>
            <a:solidFill>
              <a:schemeClr val="lt1"/>
            </a:solidFill>
            <a:ln w="8202" cap="flat">
              <a:solidFill>
                <a:schemeClr val="accent5"/>
              </a:solidFill>
              <a:prstDash val="solid"/>
              <a:miter/>
            </a:ln>
          </p:spPr>
          <p:txBody>
            <a:bodyPr rtlCol="0" anchor="ctr"/>
            <a:lstStyle/>
            <a:p>
              <a:endParaRPr lang="en-GB"/>
            </a:p>
          </p:txBody>
        </p:sp>
        <p:sp>
          <p:nvSpPr>
            <p:cNvPr id="142" name="Frihandsfigur: Form 141">
              <a:extLst>
                <a:ext uri="{FF2B5EF4-FFF2-40B4-BE49-F238E27FC236}">
                  <a16:creationId xmlns:a16="http://schemas.microsoft.com/office/drawing/2014/main" id="{804D1714-488B-AE78-AA90-BDF9658689A4}"/>
                </a:ext>
              </a:extLst>
            </p:cNvPr>
            <p:cNvSpPr/>
            <p:nvPr/>
          </p:nvSpPr>
          <p:spPr>
            <a:xfrm>
              <a:off x="15862208" y="2664110"/>
              <a:ext cx="112411" cy="112411"/>
            </a:xfrm>
            <a:custGeom>
              <a:avLst/>
              <a:gdLst>
                <a:gd name="connsiteX0" fmla="*/ 56206 w 112411"/>
                <a:gd name="connsiteY0" fmla="*/ 112412 h 112411"/>
                <a:gd name="connsiteX1" fmla="*/ 112412 w 112411"/>
                <a:gd name="connsiteY1" fmla="*/ 56206 h 112411"/>
                <a:gd name="connsiteX2" fmla="*/ 56206 w 112411"/>
                <a:gd name="connsiteY2" fmla="*/ 0 h 112411"/>
                <a:gd name="connsiteX3" fmla="*/ 0 w 112411"/>
                <a:gd name="connsiteY3" fmla="*/ 56206 h 112411"/>
                <a:gd name="connsiteX4" fmla="*/ 56206 w 112411"/>
                <a:gd name="connsiteY4" fmla="*/ 112412 h 112411"/>
                <a:gd name="connsiteX5" fmla="*/ 56206 w 112411"/>
                <a:gd name="connsiteY5" fmla="*/ 12490 h 112411"/>
                <a:gd name="connsiteX6" fmla="*/ 99922 w 112411"/>
                <a:gd name="connsiteY6" fmla="*/ 56206 h 112411"/>
                <a:gd name="connsiteX7" fmla="*/ 56206 w 112411"/>
                <a:gd name="connsiteY7" fmla="*/ 99922 h 112411"/>
                <a:gd name="connsiteX8" fmla="*/ 12490 w 112411"/>
                <a:gd name="connsiteY8" fmla="*/ 56206 h 112411"/>
                <a:gd name="connsiteX9" fmla="*/ 56206 w 112411"/>
                <a:gd name="connsiteY9" fmla="*/ 12459 h 112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2411" h="112411">
                  <a:moveTo>
                    <a:pt x="56206" y="112412"/>
                  </a:moveTo>
                  <a:cubicBezTo>
                    <a:pt x="87248" y="112412"/>
                    <a:pt x="112412" y="87248"/>
                    <a:pt x="112412" y="56206"/>
                  </a:cubicBezTo>
                  <a:cubicBezTo>
                    <a:pt x="112412" y="25164"/>
                    <a:pt x="87248" y="0"/>
                    <a:pt x="56206" y="0"/>
                  </a:cubicBezTo>
                  <a:cubicBezTo>
                    <a:pt x="25164" y="0"/>
                    <a:pt x="0" y="25164"/>
                    <a:pt x="0" y="56206"/>
                  </a:cubicBezTo>
                  <a:cubicBezTo>
                    <a:pt x="0" y="87248"/>
                    <a:pt x="25164" y="112412"/>
                    <a:pt x="56206" y="112412"/>
                  </a:cubicBezTo>
                  <a:close/>
                  <a:moveTo>
                    <a:pt x="56206" y="12490"/>
                  </a:moveTo>
                  <a:cubicBezTo>
                    <a:pt x="80349" y="12490"/>
                    <a:pt x="99922" y="32062"/>
                    <a:pt x="99922" y="56206"/>
                  </a:cubicBezTo>
                  <a:cubicBezTo>
                    <a:pt x="99922" y="80349"/>
                    <a:pt x="80349" y="99922"/>
                    <a:pt x="56206" y="99922"/>
                  </a:cubicBezTo>
                  <a:cubicBezTo>
                    <a:pt x="32062" y="99922"/>
                    <a:pt x="12490" y="80349"/>
                    <a:pt x="12490" y="56206"/>
                  </a:cubicBezTo>
                  <a:cubicBezTo>
                    <a:pt x="12508" y="32064"/>
                    <a:pt x="32064" y="12493"/>
                    <a:pt x="56206" y="12459"/>
                  </a:cubicBezTo>
                  <a:close/>
                </a:path>
              </a:pathLst>
            </a:custGeom>
            <a:solidFill>
              <a:schemeClr val="lt1"/>
            </a:solidFill>
            <a:ln w="8202" cap="flat">
              <a:solidFill>
                <a:schemeClr val="accent5"/>
              </a:solidFill>
              <a:prstDash val="solid"/>
              <a:miter/>
            </a:ln>
          </p:spPr>
          <p:txBody>
            <a:bodyPr rtlCol="0" anchor="ctr"/>
            <a:lstStyle/>
            <a:p>
              <a:endParaRPr lang="en-GB"/>
            </a:p>
          </p:txBody>
        </p:sp>
      </p:grpSp>
      <p:grpSp>
        <p:nvGrpSpPr>
          <p:cNvPr id="146" name="Bild 140" descr="Frysbox för kassör kontur">
            <a:extLst>
              <a:ext uri="{FF2B5EF4-FFF2-40B4-BE49-F238E27FC236}">
                <a16:creationId xmlns:a16="http://schemas.microsoft.com/office/drawing/2014/main" id="{7FD52C25-4203-A4C1-6FE4-F53C720B20B3}"/>
              </a:ext>
            </a:extLst>
          </p:cNvPr>
          <p:cNvGrpSpPr/>
          <p:nvPr/>
        </p:nvGrpSpPr>
        <p:grpSpPr>
          <a:xfrm>
            <a:off x="16339831" y="5957727"/>
            <a:ext cx="571911" cy="505852"/>
            <a:chOff x="15636443" y="6959755"/>
            <a:chExt cx="571911" cy="505852"/>
          </a:xfrm>
          <a:solidFill>
            <a:schemeClr val="lt1"/>
          </a:solidFill>
        </p:grpSpPr>
        <p:sp>
          <p:nvSpPr>
            <p:cNvPr id="147" name="Frihandsfigur: Form 146">
              <a:extLst>
                <a:ext uri="{FF2B5EF4-FFF2-40B4-BE49-F238E27FC236}">
                  <a16:creationId xmlns:a16="http://schemas.microsoft.com/office/drawing/2014/main" id="{FEC7DFA2-7679-BB8B-C02D-77BC22B05978}"/>
                </a:ext>
              </a:extLst>
            </p:cNvPr>
            <p:cNvSpPr/>
            <p:nvPr/>
          </p:nvSpPr>
          <p:spPr>
            <a:xfrm>
              <a:off x="15636443" y="7128372"/>
              <a:ext cx="47468" cy="56205"/>
            </a:xfrm>
            <a:custGeom>
              <a:avLst/>
              <a:gdLst>
                <a:gd name="connsiteX0" fmla="*/ 23734 w 47468"/>
                <a:gd name="connsiteY0" fmla="*/ 0 h 56205"/>
                <a:gd name="connsiteX1" fmla="*/ 0 w 47468"/>
                <a:gd name="connsiteY1" fmla="*/ 28103 h 56205"/>
                <a:gd name="connsiteX2" fmla="*/ 23734 w 47468"/>
                <a:gd name="connsiteY2" fmla="*/ 56206 h 56205"/>
                <a:gd name="connsiteX3" fmla="*/ 47469 w 47468"/>
                <a:gd name="connsiteY3" fmla="*/ 28103 h 56205"/>
                <a:gd name="connsiteX4" fmla="*/ 23734 w 47468"/>
                <a:gd name="connsiteY4" fmla="*/ 0 h 56205"/>
                <a:gd name="connsiteX5" fmla="*/ 23734 w 47468"/>
                <a:gd name="connsiteY5" fmla="*/ 30711 h 56205"/>
                <a:gd name="connsiteX6" fmla="*/ 21354 w 47468"/>
                <a:gd name="connsiteY6" fmla="*/ 28103 h 56205"/>
                <a:gd name="connsiteX7" fmla="*/ 23734 w 47468"/>
                <a:gd name="connsiteY7" fmla="*/ 25495 h 56205"/>
                <a:gd name="connsiteX8" fmla="*/ 26114 w 47468"/>
                <a:gd name="connsiteY8" fmla="*/ 28103 h 56205"/>
                <a:gd name="connsiteX9" fmla="*/ 23734 w 47468"/>
                <a:gd name="connsiteY9" fmla="*/ 30711 h 56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468" h="56205">
                  <a:moveTo>
                    <a:pt x="23734" y="0"/>
                  </a:moveTo>
                  <a:cubicBezTo>
                    <a:pt x="20231" y="12344"/>
                    <a:pt x="11584" y="22583"/>
                    <a:pt x="0" y="28103"/>
                  </a:cubicBezTo>
                  <a:cubicBezTo>
                    <a:pt x="11584" y="33623"/>
                    <a:pt x="20231" y="43862"/>
                    <a:pt x="23734" y="56206"/>
                  </a:cubicBezTo>
                  <a:cubicBezTo>
                    <a:pt x="27238" y="43862"/>
                    <a:pt x="35885" y="33623"/>
                    <a:pt x="47469" y="28103"/>
                  </a:cubicBezTo>
                  <a:cubicBezTo>
                    <a:pt x="35885" y="22583"/>
                    <a:pt x="27238" y="12344"/>
                    <a:pt x="23734" y="0"/>
                  </a:cubicBezTo>
                  <a:close/>
                  <a:moveTo>
                    <a:pt x="23734" y="30711"/>
                  </a:moveTo>
                  <a:cubicBezTo>
                    <a:pt x="22965" y="29813"/>
                    <a:pt x="22172" y="28944"/>
                    <a:pt x="21354" y="28103"/>
                  </a:cubicBezTo>
                  <a:cubicBezTo>
                    <a:pt x="22172" y="27262"/>
                    <a:pt x="22965" y="26392"/>
                    <a:pt x="23734" y="25495"/>
                  </a:cubicBezTo>
                  <a:cubicBezTo>
                    <a:pt x="24504" y="26392"/>
                    <a:pt x="25297" y="27262"/>
                    <a:pt x="26114" y="28103"/>
                  </a:cubicBezTo>
                  <a:cubicBezTo>
                    <a:pt x="25297" y="28944"/>
                    <a:pt x="24504" y="29813"/>
                    <a:pt x="23734" y="30711"/>
                  </a:cubicBezTo>
                  <a:close/>
                </a:path>
              </a:pathLst>
            </a:custGeom>
            <a:solidFill>
              <a:schemeClr val="lt1"/>
            </a:solidFill>
            <a:ln w="8202" cap="flat">
              <a:solidFill>
                <a:schemeClr val="accent5"/>
              </a:solidFill>
              <a:prstDash val="solid"/>
              <a:miter/>
            </a:ln>
          </p:spPr>
          <p:txBody>
            <a:bodyPr rtlCol="0" anchor="ctr"/>
            <a:lstStyle/>
            <a:p>
              <a:endParaRPr lang="en-GB"/>
            </a:p>
          </p:txBody>
        </p:sp>
        <p:sp>
          <p:nvSpPr>
            <p:cNvPr id="148" name="Frihandsfigur: Form 147">
              <a:extLst>
                <a:ext uri="{FF2B5EF4-FFF2-40B4-BE49-F238E27FC236}">
                  <a16:creationId xmlns:a16="http://schemas.microsoft.com/office/drawing/2014/main" id="{C42105D3-8FC0-A393-E8CF-92424F0D2541}"/>
                </a:ext>
              </a:extLst>
            </p:cNvPr>
            <p:cNvSpPr/>
            <p:nvPr/>
          </p:nvSpPr>
          <p:spPr>
            <a:xfrm>
              <a:off x="16150338" y="7159598"/>
              <a:ext cx="58016" cy="68696"/>
            </a:xfrm>
            <a:custGeom>
              <a:avLst/>
              <a:gdLst>
                <a:gd name="connsiteX0" fmla="*/ 29008 w 58016"/>
                <a:gd name="connsiteY0" fmla="*/ 0 h 68696"/>
                <a:gd name="connsiteX1" fmla="*/ 0 w 58016"/>
                <a:gd name="connsiteY1" fmla="*/ 34348 h 68696"/>
                <a:gd name="connsiteX2" fmla="*/ 29008 w 58016"/>
                <a:gd name="connsiteY2" fmla="*/ 68696 h 68696"/>
                <a:gd name="connsiteX3" fmla="*/ 58017 w 58016"/>
                <a:gd name="connsiteY3" fmla="*/ 34348 h 68696"/>
                <a:gd name="connsiteX4" fmla="*/ 29008 w 58016"/>
                <a:gd name="connsiteY4" fmla="*/ 0 h 68696"/>
                <a:gd name="connsiteX5" fmla="*/ 29008 w 58016"/>
                <a:gd name="connsiteY5" fmla="*/ 41926 h 68696"/>
                <a:gd name="connsiteX6" fmla="*/ 22148 w 58016"/>
                <a:gd name="connsiteY6" fmla="*/ 34348 h 68696"/>
                <a:gd name="connsiteX7" fmla="*/ 29008 w 58016"/>
                <a:gd name="connsiteY7" fmla="*/ 26769 h 68696"/>
                <a:gd name="connsiteX8" fmla="*/ 35869 w 58016"/>
                <a:gd name="connsiteY8" fmla="*/ 34348 h 68696"/>
                <a:gd name="connsiteX9" fmla="*/ 29008 w 58016"/>
                <a:gd name="connsiteY9" fmla="*/ 41926 h 68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016" h="68696">
                  <a:moveTo>
                    <a:pt x="29008" y="0"/>
                  </a:moveTo>
                  <a:cubicBezTo>
                    <a:pt x="24726" y="15088"/>
                    <a:pt x="14158" y="27601"/>
                    <a:pt x="0" y="34348"/>
                  </a:cubicBezTo>
                  <a:cubicBezTo>
                    <a:pt x="14158" y="41095"/>
                    <a:pt x="24726" y="53609"/>
                    <a:pt x="29008" y="68696"/>
                  </a:cubicBezTo>
                  <a:cubicBezTo>
                    <a:pt x="33290" y="53609"/>
                    <a:pt x="43859" y="41095"/>
                    <a:pt x="58017" y="34348"/>
                  </a:cubicBezTo>
                  <a:cubicBezTo>
                    <a:pt x="43859" y="27601"/>
                    <a:pt x="33290" y="15088"/>
                    <a:pt x="29008" y="0"/>
                  </a:cubicBezTo>
                  <a:close/>
                  <a:moveTo>
                    <a:pt x="29008" y="41926"/>
                  </a:moveTo>
                  <a:cubicBezTo>
                    <a:pt x="26920" y="39227"/>
                    <a:pt x="24627" y="36694"/>
                    <a:pt x="22148" y="34348"/>
                  </a:cubicBezTo>
                  <a:cubicBezTo>
                    <a:pt x="24627" y="32002"/>
                    <a:pt x="26920" y="29469"/>
                    <a:pt x="29008" y="26769"/>
                  </a:cubicBezTo>
                  <a:cubicBezTo>
                    <a:pt x="31096" y="29469"/>
                    <a:pt x="33390" y="32002"/>
                    <a:pt x="35869" y="34348"/>
                  </a:cubicBezTo>
                  <a:cubicBezTo>
                    <a:pt x="33390" y="36694"/>
                    <a:pt x="31096" y="39227"/>
                    <a:pt x="29008" y="41926"/>
                  </a:cubicBezTo>
                  <a:close/>
                </a:path>
              </a:pathLst>
            </a:custGeom>
            <a:solidFill>
              <a:schemeClr val="lt1"/>
            </a:solidFill>
            <a:ln w="8202" cap="flat">
              <a:solidFill>
                <a:schemeClr val="accent5"/>
              </a:solidFill>
              <a:prstDash val="solid"/>
              <a:miter/>
            </a:ln>
          </p:spPr>
          <p:txBody>
            <a:bodyPr rtlCol="0" anchor="ctr"/>
            <a:lstStyle/>
            <a:p>
              <a:endParaRPr lang="en-GB"/>
            </a:p>
          </p:txBody>
        </p:sp>
        <p:sp>
          <p:nvSpPr>
            <p:cNvPr id="149" name="Frihandsfigur: Form 148">
              <a:extLst>
                <a:ext uri="{FF2B5EF4-FFF2-40B4-BE49-F238E27FC236}">
                  <a16:creationId xmlns:a16="http://schemas.microsoft.com/office/drawing/2014/main" id="{84031186-D3F3-852F-4B44-284B6F6A6D7A}"/>
                </a:ext>
              </a:extLst>
            </p:cNvPr>
            <p:cNvSpPr/>
            <p:nvPr/>
          </p:nvSpPr>
          <p:spPr>
            <a:xfrm>
              <a:off x="15943423" y="7103392"/>
              <a:ext cx="42194" cy="49960"/>
            </a:xfrm>
            <a:custGeom>
              <a:avLst/>
              <a:gdLst>
                <a:gd name="connsiteX0" fmla="*/ 21097 w 42194"/>
                <a:gd name="connsiteY0" fmla="*/ 49961 h 49960"/>
                <a:gd name="connsiteX1" fmla="*/ 42194 w 42194"/>
                <a:gd name="connsiteY1" fmla="*/ 24980 h 49960"/>
                <a:gd name="connsiteX2" fmla="*/ 21097 w 42194"/>
                <a:gd name="connsiteY2" fmla="*/ 0 h 49960"/>
                <a:gd name="connsiteX3" fmla="*/ 0 w 42194"/>
                <a:gd name="connsiteY3" fmla="*/ 24980 h 49960"/>
                <a:gd name="connsiteX4" fmla="*/ 21097 w 42194"/>
                <a:gd name="connsiteY4" fmla="*/ 49961 h 499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94" h="49960">
                  <a:moveTo>
                    <a:pt x="21097" y="49961"/>
                  </a:moveTo>
                  <a:cubicBezTo>
                    <a:pt x="24212" y="38988"/>
                    <a:pt x="31898" y="29887"/>
                    <a:pt x="42194" y="24980"/>
                  </a:cubicBezTo>
                  <a:cubicBezTo>
                    <a:pt x="31898" y="20074"/>
                    <a:pt x="24212" y="10973"/>
                    <a:pt x="21097" y="0"/>
                  </a:cubicBezTo>
                  <a:cubicBezTo>
                    <a:pt x="17983" y="10973"/>
                    <a:pt x="10297" y="20074"/>
                    <a:pt x="0" y="24980"/>
                  </a:cubicBezTo>
                  <a:cubicBezTo>
                    <a:pt x="10297" y="29887"/>
                    <a:pt x="17983" y="38988"/>
                    <a:pt x="21097" y="49961"/>
                  </a:cubicBezTo>
                  <a:close/>
                </a:path>
              </a:pathLst>
            </a:custGeom>
            <a:solidFill>
              <a:schemeClr val="lt1"/>
            </a:solidFill>
            <a:ln w="8202" cap="flat">
              <a:solidFill>
                <a:schemeClr val="accent5"/>
              </a:solidFill>
              <a:prstDash val="solid"/>
              <a:miter/>
            </a:ln>
          </p:spPr>
          <p:txBody>
            <a:bodyPr rtlCol="0" anchor="ctr"/>
            <a:lstStyle/>
            <a:p>
              <a:endParaRPr lang="en-GB"/>
            </a:p>
          </p:txBody>
        </p:sp>
        <p:sp>
          <p:nvSpPr>
            <p:cNvPr id="150" name="Frihandsfigur: Form 149">
              <a:extLst>
                <a:ext uri="{FF2B5EF4-FFF2-40B4-BE49-F238E27FC236}">
                  <a16:creationId xmlns:a16="http://schemas.microsoft.com/office/drawing/2014/main" id="{5EBBCDB4-0A94-1FA3-2725-2C3FE21A3E7B}"/>
                </a:ext>
              </a:extLst>
            </p:cNvPr>
            <p:cNvSpPr/>
            <p:nvPr/>
          </p:nvSpPr>
          <p:spPr>
            <a:xfrm>
              <a:off x="15803250" y="6959755"/>
              <a:ext cx="52742" cy="62450"/>
            </a:xfrm>
            <a:custGeom>
              <a:avLst/>
              <a:gdLst>
                <a:gd name="connsiteX0" fmla="*/ 26371 w 52742"/>
                <a:gd name="connsiteY0" fmla="*/ 62451 h 62450"/>
                <a:gd name="connsiteX1" fmla="*/ 52742 w 52742"/>
                <a:gd name="connsiteY1" fmla="*/ 31225 h 62450"/>
                <a:gd name="connsiteX2" fmla="*/ 26371 w 52742"/>
                <a:gd name="connsiteY2" fmla="*/ 0 h 62450"/>
                <a:gd name="connsiteX3" fmla="*/ 0 w 52742"/>
                <a:gd name="connsiteY3" fmla="*/ 31225 h 62450"/>
                <a:gd name="connsiteX4" fmla="*/ 26371 w 52742"/>
                <a:gd name="connsiteY4" fmla="*/ 62451 h 62450"/>
                <a:gd name="connsiteX5" fmla="*/ 26371 w 52742"/>
                <a:gd name="connsiteY5" fmla="*/ 26162 h 62450"/>
                <a:gd name="connsiteX6" fmla="*/ 30972 w 52742"/>
                <a:gd name="connsiteY6" fmla="*/ 31225 h 62450"/>
                <a:gd name="connsiteX7" fmla="*/ 26371 w 52742"/>
                <a:gd name="connsiteY7" fmla="*/ 36289 h 62450"/>
                <a:gd name="connsiteX8" fmla="*/ 21770 w 52742"/>
                <a:gd name="connsiteY8" fmla="*/ 31225 h 62450"/>
                <a:gd name="connsiteX9" fmla="*/ 26371 w 52742"/>
                <a:gd name="connsiteY9" fmla="*/ 26162 h 62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742" h="62450">
                  <a:moveTo>
                    <a:pt x="26371" y="62451"/>
                  </a:moveTo>
                  <a:cubicBezTo>
                    <a:pt x="30264" y="48735"/>
                    <a:pt x="39872" y="37359"/>
                    <a:pt x="52742" y="31225"/>
                  </a:cubicBezTo>
                  <a:cubicBezTo>
                    <a:pt x="39872" y="25092"/>
                    <a:pt x="30264" y="13716"/>
                    <a:pt x="26371" y="0"/>
                  </a:cubicBezTo>
                  <a:cubicBezTo>
                    <a:pt x="22478" y="13716"/>
                    <a:pt x="12871" y="25092"/>
                    <a:pt x="0" y="31225"/>
                  </a:cubicBezTo>
                  <a:cubicBezTo>
                    <a:pt x="12871" y="37359"/>
                    <a:pt x="22479" y="48735"/>
                    <a:pt x="26371" y="62451"/>
                  </a:cubicBezTo>
                  <a:close/>
                  <a:moveTo>
                    <a:pt x="26371" y="26162"/>
                  </a:moveTo>
                  <a:cubicBezTo>
                    <a:pt x="27809" y="27934"/>
                    <a:pt x="29346" y="29625"/>
                    <a:pt x="30972" y="31225"/>
                  </a:cubicBezTo>
                  <a:cubicBezTo>
                    <a:pt x="29346" y="32826"/>
                    <a:pt x="27809" y="34517"/>
                    <a:pt x="26371" y="36289"/>
                  </a:cubicBezTo>
                  <a:cubicBezTo>
                    <a:pt x="24933" y="34517"/>
                    <a:pt x="23397" y="32826"/>
                    <a:pt x="21770" y="31225"/>
                  </a:cubicBezTo>
                  <a:cubicBezTo>
                    <a:pt x="23397" y="29625"/>
                    <a:pt x="24933" y="27934"/>
                    <a:pt x="26371" y="26162"/>
                  </a:cubicBezTo>
                  <a:close/>
                </a:path>
              </a:pathLst>
            </a:custGeom>
            <a:solidFill>
              <a:schemeClr val="lt1"/>
            </a:solidFill>
            <a:ln w="8202" cap="flat">
              <a:solidFill>
                <a:schemeClr val="accent5"/>
              </a:solidFill>
              <a:prstDash val="solid"/>
              <a:miter/>
            </a:ln>
          </p:spPr>
          <p:txBody>
            <a:bodyPr rtlCol="0" anchor="ctr"/>
            <a:lstStyle/>
            <a:p>
              <a:endParaRPr lang="en-GB"/>
            </a:p>
          </p:txBody>
        </p:sp>
        <p:sp>
          <p:nvSpPr>
            <p:cNvPr id="151" name="Frihandsfigur: Form 150">
              <a:extLst>
                <a:ext uri="{FF2B5EF4-FFF2-40B4-BE49-F238E27FC236}">
                  <a16:creationId xmlns:a16="http://schemas.microsoft.com/office/drawing/2014/main" id="{36308BEA-F035-05D3-B877-B20A54DCFEF9}"/>
                </a:ext>
              </a:extLst>
            </p:cNvPr>
            <p:cNvSpPr/>
            <p:nvPr/>
          </p:nvSpPr>
          <p:spPr>
            <a:xfrm>
              <a:off x="15681142" y="7028451"/>
              <a:ext cx="474627" cy="437156"/>
            </a:xfrm>
            <a:custGeom>
              <a:avLst/>
              <a:gdLst>
                <a:gd name="connsiteX0" fmla="*/ 467897 w 474627"/>
                <a:gd name="connsiteY0" fmla="*/ 67371 h 437156"/>
                <a:gd name="connsiteX1" fmla="*/ 468370 w 474627"/>
                <a:gd name="connsiteY1" fmla="*/ 66268 h 437156"/>
                <a:gd name="connsiteX2" fmla="*/ 468370 w 474627"/>
                <a:gd name="connsiteY2" fmla="*/ 46809 h 437156"/>
                <a:gd name="connsiteX3" fmla="*/ 462208 w 474627"/>
                <a:gd name="connsiteY3" fmla="*/ 31405 h 437156"/>
                <a:gd name="connsiteX4" fmla="*/ 415821 w 474627"/>
                <a:gd name="connsiteY4" fmla="*/ 0 h 437156"/>
                <a:gd name="connsiteX5" fmla="*/ 58805 w 474627"/>
                <a:gd name="connsiteY5" fmla="*/ 0 h 437156"/>
                <a:gd name="connsiteX6" fmla="*/ 12418 w 474627"/>
                <a:gd name="connsiteY6" fmla="*/ 31405 h 437156"/>
                <a:gd name="connsiteX7" fmla="*/ 6233 w 474627"/>
                <a:gd name="connsiteY7" fmla="*/ 46868 h 437156"/>
                <a:gd name="connsiteX8" fmla="*/ 6233 w 474627"/>
                <a:gd name="connsiteY8" fmla="*/ 63762 h 437156"/>
                <a:gd name="connsiteX9" fmla="*/ 7780 w 474627"/>
                <a:gd name="connsiteY9" fmla="*/ 67371 h 437156"/>
                <a:gd name="connsiteX10" fmla="*/ 43608 w 474627"/>
                <a:gd name="connsiteY10" fmla="*/ 150968 h 437156"/>
                <a:gd name="connsiteX11" fmla="*/ 0 w 474627"/>
                <a:gd name="connsiteY11" fmla="*/ 235801 h 437156"/>
                <a:gd name="connsiteX12" fmla="*/ 0 w 474627"/>
                <a:gd name="connsiteY12" fmla="*/ 437157 h 437156"/>
                <a:gd name="connsiteX13" fmla="*/ 474627 w 474627"/>
                <a:gd name="connsiteY13" fmla="*/ 437157 h 437156"/>
                <a:gd name="connsiteX14" fmla="*/ 474627 w 474627"/>
                <a:gd name="connsiteY14" fmla="*/ 235801 h 437156"/>
                <a:gd name="connsiteX15" fmla="*/ 431582 w 474627"/>
                <a:gd name="connsiteY15" fmla="*/ 152106 h 437156"/>
                <a:gd name="connsiteX16" fmla="*/ 24014 w 474627"/>
                <a:gd name="connsiteY16" fmla="*/ 36044 h 437156"/>
                <a:gd name="connsiteX17" fmla="*/ 58805 w 474627"/>
                <a:gd name="connsiteY17" fmla="*/ 12490 h 437156"/>
                <a:gd name="connsiteX18" fmla="*/ 415821 w 474627"/>
                <a:gd name="connsiteY18" fmla="*/ 12490 h 437156"/>
                <a:gd name="connsiteX19" fmla="*/ 450612 w 474627"/>
                <a:gd name="connsiteY19" fmla="*/ 36044 h 437156"/>
                <a:gd name="connsiteX20" fmla="*/ 456178 w 474627"/>
                <a:gd name="connsiteY20" fmla="*/ 49961 h 437156"/>
                <a:gd name="connsiteX21" fmla="*/ 18448 w 474627"/>
                <a:gd name="connsiteY21" fmla="*/ 49961 h 437156"/>
                <a:gd name="connsiteX22" fmla="*/ 19259 w 474627"/>
                <a:gd name="connsiteY22" fmla="*/ 62452 h 437156"/>
                <a:gd name="connsiteX23" fmla="*/ 456416 w 474627"/>
                <a:gd name="connsiteY23" fmla="*/ 62452 h 437156"/>
                <a:gd name="connsiteX24" fmla="*/ 418945 w 474627"/>
                <a:gd name="connsiteY24" fmla="*/ 149883 h 437156"/>
                <a:gd name="connsiteX25" fmla="*/ 346521 w 474627"/>
                <a:gd name="connsiteY25" fmla="*/ 149883 h 437156"/>
                <a:gd name="connsiteX26" fmla="*/ 319724 w 474627"/>
                <a:gd name="connsiteY26" fmla="*/ 138586 h 437156"/>
                <a:gd name="connsiteX27" fmla="*/ 280232 w 474627"/>
                <a:gd name="connsiteY27" fmla="*/ 134641 h 437156"/>
                <a:gd name="connsiteX28" fmla="*/ 240076 w 474627"/>
                <a:gd name="connsiteY28" fmla="*/ 132918 h 437156"/>
                <a:gd name="connsiteX29" fmla="*/ 224718 w 474627"/>
                <a:gd name="connsiteY29" fmla="*/ 136031 h 437156"/>
                <a:gd name="connsiteX30" fmla="*/ 218954 w 474627"/>
                <a:gd name="connsiteY30" fmla="*/ 125853 h 437156"/>
                <a:gd name="connsiteX31" fmla="*/ 167581 w 474627"/>
                <a:gd name="connsiteY31" fmla="*/ 131547 h 437156"/>
                <a:gd name="connsiteX32" fmla="*/ 140282 w 474627"/>
                <a:gd name="connsiteY32" fmla="*/ 152776 h 437156"/>
                <a:gd name="connsiteX33" fmla="*/ 96078 w 474627"/>
                <a:gd name="connsiteY33" fmla="*/ 149883 h 437156"/>
                <a:gd name="connsiteX34" fmla="*/ 56730 w 474627"/>
                <a:gd name="connsiteY34" fmla="*/ 149883 h 437156"/>
                <a:gd name="connsiteX35" fmla="*/ 386914 w 474627"/>
                <a:gd name="connsiteY35" fmla="*/ 195259 h 437156"/>
                <a:gd name="connsiteX36" fmla="*/ 423016 w 474627"/>
                <a:gd name="connsiteY36" fmla="*/ 201811 h 437156"/>
                <a:gd name="connsiteX37" fmla="*/ 386902 w 474627"/>
                <a:gd name="connsiteY37" fmla="*/ 215696 h 437156"/>
                <a:gd name="connsiteX38" fmla="*/ 376283 w 474627"/>
                <a:gd name="connsiteY38" fmla="*/ 216305 h 437156"/>
                <a:gd name="connsiteX39" fmla="*/ 386914 w 474627"/>
                <a:gd name="connsiteY39" fmla="*/ 195259 h 437156"/>
                <a:gd name="connsiteX40" fmla="*/ 424423 w 474627"/>
                <a:gd name="connsiteY40" fmla="*/ 215722 h 437156"/>
                <a:gd name="connsiteX41" fmla="*/ 424724 w 474627"/>
                <a:gd name="connsiteY41" fmla="*/ 218692 h 437156"/>
                <a:gd name="connsiteX42" fmla="*/ 399239 w 474627"/>
                <a:gd name="connsiteY42" fmla="*/ 231068 h 437156"/>
                <a:gd name="connsiteX43" fmla="*/ 356995 w 474627"/>
                <a:gd name="connsiteY43" fmla="*/ 231068 h 437156"/>
                <a:gd name="connsiteX44" fmla="*/ 356211 w 474627"/>
                <a:gd name="connsiteY44" fmla="*/ 230845 h 437156"/>
                <a:gd name="connsiteX45" fmla="*/ 363753 w 474627"/>
                <a:gd name="connsiteY45" fmla="*/ 226105 h 437156"/>
                <a:gd name="connsiteX46" fmla="*/ 387927 w 474627"/>
                <a:gd name="connsiteY46" fmla="*/ 225825 h 437156"/>
                <a:gd name="connsiteX47" fmla="*/ 424423 w 474627"/>
                <a:gd name="connsiteY47" fmla="*/ 215722 h 437156"/>
                <a:gd name="connsiteX48" fmla="*/ 349103 w 474627"/>
                <a:gd name="connsiteY48" fmla="*/ 223196 h 437156"/>
                <a:gd name="connsiteX49" fmla="*/ 332415 w 474627"/>
                <a:gd name="connsiteY49" fmla="*/ 231068 h 437156"/>
                <a:gd name="connsiteX50" fmla="*/ 310663 w 474627"/>
                <a:gd name="connsiteY50" fmla="*/ 231068 h 437156"/>
                <a:gd name="connsiteX51" fmla="*/ 310135 w 474627"/>
                <a:gd name="connsiteY51" fmla="*/ 230134 h 437156"/>
                <a:gd name="connsiteX52" fmla="*/ 345759 w 474627"/>
                <a:gd name="connsiteY52" fmla="*/ 217291 h 437156"/>
                <a:gd name="connsiteX53" fmla="*/ 375098 w 474627"/>
                <a:gd name="connsiteY53" fmla="*/ 193347 h 437156"/>
                <a:gd name="connsiteX54" fmla="*/ 376569 w 474627"/>
                <a:gd name="connsiteY54" fmla="*/ 195944 h 437156"/>
                <a:gd name="connsiteX55" fmla="*/ 349103 w 474627"/>
                <a:gd name="connsiteY55" fmla="*/ 223196 h 437156"/>
                <a:gd name="connsiteX56" fmla="*/ 121715 w 474627"/>
                <a:gd name="connsiteY56" fmla="*/ 228406 h 437156"/>
                <a:gd name="connsiteX57" fmla="*/ 110553 w 474627"/>
                <a:gd name="connsiteY57" fmla="*/ 231068 h 437156"/>
                <a:gd name="connsiteX58" fmla="*/ 68315 w 474627"/>
                <a:gd name="connsiteY58" fmla="*/ 231068 h 437156"/>
                <a:gd name="connsiteX59" fmla="*/ 61878 w 474627"/>
                <a:gd name="connsiteY59" fmla="*/ 226206 h 437156"/>
                <a:gd name="connsiteX60" fmla="*/ 61577 w 474627"/>
                <a:gd name="connsiteY60" fmla="*/ 223236 h 437156"/>
                <a:gd name="connsiteX61" fmla="*/ 99358 w 474627"/>
                <a:gd name="connsiteY61" fmla="*/ 225825 h 437156"/>
                <a:gd name="connsiteX62" fmla="*/ 122404 w 474627"/>
                <a:gd name="connsiteY62" fmla="*/ 221507 h 437156"/>
                <a:gd name="connsiteX63" fmla="*/ 121715 w 474627"/>
                <a:gd name="connsiteY63" fmla="*/ 228406 h 437156"/>
                <a:gd name="connsiteX64" fmla="*/ 98333 w 474627"/>
                <a:gd name="connsiteY64" fmla="*/ 215696 h 437156"/>
                <a:gd name="connsiteX65" fmla="*/ 60170 w 474627"/>
                <a:gd name="connsiteY65" fmla="*/ 209325 h 437156"/>
                <a:gd name="connsiteX66" fmla="*/ 96284 w 474627"/>
                <a:gd name="connsiteY66" fmla="*/ 195439 h 437156"/>
                <a:gd name="connsiteX67" fmla="*/ 97548 w 474627"/>
                <a:gd name="connsiteY67" fmla="*/ 195337 h 437156"/>
                <a:gd name="connsiteX68" fmla="*/ 122748 w 474627"/>
                <a:gd name="connsiteY68" fmla="*/ 207767 h 437156"/>
                <a:gd name="connsiteX69" fmla="*/ 126605 w 474627"/>
                <a:gd name="connsiteY69" fmla="*/ 209117 h 437156"/>
                <a:gd name="connsiteX70" fmla="*/ 98333 w 474627"/>
                <a:gd name="connsiteY70" fmla="*/ 215696 h 437156"/>
                <a:gd name="connsiteX71" fmla="*/ 126250 w 474627"/>
                <a:gd name="connsiteY71" fmla="*/ 198208 h 437156"/>
                <a:gd name="connsiteX72" fmla="*/ 94702 w 474627"/>
                <a:gd name="connsiteY72" fmla="*/ 175807 h 437156"/>
                <a:gd name="connsiteX73" fmla="*/ 95730 w 474627"/>
                <a:gd name="connsiteY73" fmla="*/ 173005 h 437156"/>
                <a:gd name="connsiteX74" fmla="*/ 128585 w 474627"/>
                <a:gd name="connsiteY74" fmla="*/ 191835 h 437156"/>
                <a:gd name="connsiteX75" fmla="*/ 146210 w 474627"/>
                <a:gd name="connsiteY75" fmla="*/ 197032 h 437156"/>
                <a:gd name="connsiteX76" fmla="*/ 138997 w 474627"/>
                <a:gd name="connsiteY76" fmla="*/ 202136 h 437156"/>
                <a:gd name="connsiteX77" fmla="*/ 126250 w 474627"/>
                <a:gd name="connsiteY77" fmla="*/ 198208 h 437156"/>
                <a:gd name="connsiteX78" fmla="*/ 136274 w 474627"/>
                <a:gd name="connsiteY78" fmla="*/ 172674 h 437156"/>
                <a:gd name="connsiteX79" fmla="*/ 143795 w 474627"/>
                <a:gd name="connsiteY79" fmla="*/ 185955 h 437156"/>
                <a:gd name="connsiteX80" fmla="*/ 132087 w 474627"/>
                <a:gd name="connsiteY80" fmla="*/ 182276 h 437156"/>
                <a:gd name="connsiteX81" fmla="*/ 100540 w 474627"/>
                <a:gd name="connsiteY81" fmla="*/ 159876 h 437156"/>
                <a:gd name="connsiteX82" fmla="*/ 135225 w 474627"/>
                <a:gd name="connsiteY82" fmla="*/ 161810 h 437156"/>
                <a:gd name="connsiteX83" fmla="*/ 136274 w 474627"/>
                <a:gd name="connsiteY83" fmla="*/ 172674 h 437156"/>
                <a:gd name="connsiteX84" fmla="*/ 208602 w 474627"/>
                <a:gd name="connsiteY84" fmla="*/ 175299 h 437156"/>
                <a:gd name="connsiteX85" fmla="*/ 208166 w 474627"/>
                <a:gd name="connsiteY85" fmla="*/ 172346 h 437156"/>
                <a:gd name="connsiteX86" fmla="*/ 246025 w 474627"/>
                <a:gd name="connsiteY86" fmla="*/ 173203 h 437156"/>
                <a:gd name="connsiteX87" fmla="*/ 282022 w 474627"/>
                <a:gd name="connsiteY87" fmla="*/ 161440 h 437156"/>
                <a:gd name="connsiteX88" fmla="*/ 282457 w 474627"/>
                <a:gd name="connsiteY88" fmla="*/ 164393 h 437156"/>
                <a:gd name="connsiteX89" fmla="*/ 247017 w 474627"/>
                <a:gd name="connsiteY89" fmla="*/ 179917 h 437156"/>
                <a:gd name="connsiteX90" fmla="*/ 208602 w 474627"/>
                <a:gd name="connsiteY90" fmla="*/ 175299 h 437156"/>
                <a:gd name="connsiteX91" fmla="*/ 247590 w 474627"/>
                <a:gd name="connsiteY91" fmla="*/ 205209 h 437156"/>
                <a:gd name="connsiteX92" fmla="*/ 209269 w 474627"/>
                <a:gd name="connsiteY92" fmla="*/ 210546 h 437156"/>
                <a:gd name="connsiteX93" fmla="*/ 173543 w 474627"/>
                <a:gd name="connsiteY93" fmla="*/ 195690 h 437156"/>
                <a:gd name="connsiteX94" fmla="*/ 211865 w 474627"/>
                <a:gd name="connsiteY94" fmla="*/ 190352 h 437156"/>
                <a:gd name="connsiteX95" fmla="*/ 247590 w 474627"/>
                <a:gd name="connsiteY95" fmla="*/ 205209 h 437156"/>
                <a:gd name="connsiteX96" fmla="*/ 244539 w 474627"/>
                <a:gd name="connsiteY96" fmla="*/ 163132 h 437156"/>
                <a:gd name="connsiteX97" fmla="*/ 206124 w 474627"/>
                <a:gd name="connsiteY97" fmla="*/ 158514 h 437156"/>
                <a:gd name="connsiteX98" fmla="*/ 241564 w 474627"/>
                <a:gd name="connsiteY98" fmla="*/ 142989 h 437156"/>
                <a:gd name="connsiteX99" fmla="*/ 279979 w 474627"/>
                <a:gd name="connsiteY99" fmla="*/ 147607 h 437156"/>
                <a:gd name="connsiteX100" fmla="*/ 244539 w 474627"/>
                <a:gd name="connsiteY100" fmla="*/ 163132 h 437156"/>
                <a:gd name="connsiteX101" fmla="*/ 182630 w 474627"/>
                <a:gd name="connsiteY101" fmla="*/ 158122 h 437156"/>
                <a:gd name="connsiteX102" fmla="*/ 145132 w 474627"/>
                <a:gd name="connsiteY102" fmla="*/ 167657 h 437156"/>
                <a:gd name="connsiteX103" fmla="*/ 172598 w 474627"/>
                <a:gd name="connsiteY103" fmla="*/ 140405 h 437156"/>
                <a:gd name="connsiteX104" fmla="*/ 210096 w 474627"/>
                <a:gd name="connsiteY104" fmla="*/ 130870 h 437156"/>
                <a:gd name="connsiteX105" fmla="*/ 182630 w 474627"/>
                <a:gd name="connsiteY105" fmla="*/ 158122 h 437156"/>
                <a:gd name="connsiteX106" fmla="*/ 159579 w 474627"/>
                <a:gd name="connsiteY106" fmla="*/ 200804 h 437156"/>
                <a:gd name="connsiteX107" fmla="*/ 162844 w 474627"/>
                <a:gd name="connsiteY107" fmla="*/ 199076 h 437156"/>
                <a:gd name="connsiteX108" fmla="*/ 161283 w 474627"/>
                <a:gd name="connsiteY108" fmla="*/ 211221 h 437156"/>
                <a:gd name="connsiteX109" fmla="*/ 164196 w 474627"/>
                <a:gd name="connsiteY109" fmla="*/ 221394 h 437156"/>
                <a:gd name="connsiteX110" fmla="*/ 132114 w 474627"/>
                <a:gd name="connsiteY110" fmla="*/ 228056 h 437156"/>
                <a:gd name="connsiteX111" fmla="*/ 159579 w 474627"/>
                <a:gd name="connsiteY111" fmla="*/ 200804 h 437156"/>
                <a:gd name="connsiteX112" fmla="*/ 153493 w 474627"/>
                <a:gd name="connsiteY112" fmla="*/ 182422 h 437156"/>
                <a:gd name="connsiteX113" fmla="*/ 152022 w 474627"/>
                <a:gd name="connsiteY113" fmla="*/ 179825 h 437156"/>
                <a:gd name="connsiteX114" fmla="*/ 187647 w 474627"/>
                <a:gd name="connsiteY114" fmla="*/ 166981 h 437156"/>
                <a:gd name="connsiteX115" fmla="*/ 196299 w 474627"/>
                <a:gd name="connsiteY115" fmla="*/ 161672 h 437156"/>
                <a:gd name="connsiteX116" fmla="*/ 197374 w 474627"/>
                <a:gd name="connsiteY116" fmla="*/ 168952 h 437156"/>
                <a:gd name="connsiteX117" fmla="*/ 190991 w 474627"/>
                <a:gd name="connsiteY117" fmla="*/ 172887 h 437156"/>
                <a:gd name="connsiteX118" fmla="*/ 153493 w 474627"/>
                <a:gd name="connsiteY118" fmla="*/ 182422 h 437156"/>
                <a:gd name="connsiteX119" fmla="*/ 171760 w 474627"/>
                <a:gd name="connsiteY119" fmla="*/ 209558 h 437156"/>
                <a:gd name="connsiteX120" fmla="*/ 207970 w 474627"/>
                <a:gd name="connsiteY120" fmla="*/ 220644 h 437156"/>
                <a:gd name="connsiteX121" fmla="*/ 245807 w 474627"/>
                <a:gd name="connsiteY121" fmla="*/ 219077 h 437156"/>
                <a:gd name="connsiteX122" fmla="*/ 245427 w 474627"/>
                <a:gd name="connsiteY122" fmla="*/ 222037 h 437156"/>
                <a:gd name="connsiteX123" fmla="*/ 207105 w 474627"/>
                <a:gd name="connsiteY123" fmla="*/ 227376 h 437156"/>
                <a:gd name="connsiteX124" fmla="*/ 171380 w 474627"/>
                <a:gd name="connsiteY124" fmla="*/ 212519 h 437156"/>
                <a:gd name="connsiteX125" fmla="*/ 206087 w 474627"/>
                <a:gd name="connsiteY125" fmla="*/ 243559 h 437156"/>
                <a:gd name="connsiteX126" fmla="*/ 268538 w 474627"/>
                <a:gd name="connsiteY126" fmla="*/ 243559 h 437156"/>
                <a:gd name="connsiteX127" fmla="*/ 268538 w 474627"/>
                <a:gd name="connsiteY127" fmla="*/ 306010 h 437156"/>
                <a:gd name="connsiteX128" fmla="*/ 237313 w 474627"/>
                <a:gd name="connsiteY128" fmla="*/ 337235 h 437156"/>
                <a:gd name="connsiteX129" fmla="*/ 206087 w 474627"/>
                <a:gd name="connsiteY129" fmla="*/ 306010 h 437156"/>
                <a:gd name="connsiteX130" fmla="*/ 265948 w 474627"/>
                <a:gd name="connsiteY130" fmla="*/ 223231 h 437156"/>
                <a:gd name="connsiteX131" fmla="*/ 255758 w 474627"/>
                <a:gd name="connsiteY131" fmla="*/ 221517 h 437156"/>
                <a:gd name="connsiteX132" fmla="*/ 256622 w 474627"/>
                <a:gd name="connsiteY132" fmla="*/ 214801 h 437156"/>
                <a:gd name="connsiteX133" fmla="*/ 266814 w 474627"/>
                <a:gd name="connsiteY133" fmla="*/ 216500 h 437156"/>
                <a:gd name="connsiteX134" fmla="*/ 304650 w 474627"/>
                <a:gd name="connsiteY134" fmla="*/ 214933 h 437156"/>
                <a:gd name="connsiteX135" fmla="*/ 304269 w 474627"/>
                <a:gd name="connsiteY135" fmla="*/ 217893 h 437156"/>
                <a:gd name="connsiteX136" fmla="*/ 265948 w 474627"/>
                <a:gd name="connsiteY136" fmla="*/ 223231 h 437156"/>
                <a:gd name="connsiteX137" fmla="*/ 268111 w 474627"/>
                <a:gd name="connsiteY137" fmla="*/ 206403 h 437156"/>
                <a:gd name="connsiteX138" fmla="*/ 257711 w 474627"/>
                <a:gd name="connsiteY138" fmla="*/ 204635 h 437156"/>
                <a:gd name="connsiteX139" fmla="*/ 247419 w 474627"/>
                <a:gd name="connsiteY139" fmla="*/ 190138 h 437156"/>
                <a:gd name="connsiteX140" fmla="*/ 248505 w 474627"/>
                <a:gd name="connsiteY140" fmla="*/ 189988 h 437156"/>
                <a:gd name="connsiteX141" fmla="*/ 267523 w 474627"/>
                <a:gd name="connsiteY141" fmla="*/ 185843 h 437156"/>
                <a:gd name="connsiteX142" fmla="*/ 270707 w 474627"/>
                <a:gd name="connsiteY142" fmla="*/ 186208 h 437156"/>
                <a:gd name="connsiteX143" fmla="*/ 306433 w 474627"/>
                <a:gd name="connsiteY143" fmla="*/ 201065 h 437156"/>
                <a:gd name="connsiteX144" fmla="*/ 268111 w 474627"/>
                <a:gd name="connsiteY144" fmla="*/ 206403 h 437156"/>
                <a:gd name="connsiteX145" fmla="*/ 306334 w 474627"/>
                <a:gd name="connsiteY145" fmla="*/ 184168 h 437156"/>
                <a:gd name="connsiteX146" fmla="*/ 286657 w 474627"/>
                <a:gd name="connsiteY146" fmla="*/ 176533 h 437156"/>
                <a:gd name="connsiteX147" fmla="*/ 290975 w 474627"/>
                <a:gd name="connsiteY147" fmla="*/ 171343 h 437156"/>
                <a:gd name="connsiteX148" fmla="*/ 308247 w 474627"/>
                <a:gd name="connsiteY148" fmla="*/ 177657 h 437156"/>
                <a:gd name="connsiteX149" fmla="*/ 345859 w 474627"/>
                <a:gd name="connsiteY149" fmla="*/ 182058 h 437156"/>
                <a:gd name="connsiteX150" fmla="*/ 345018 w 474627"/>
                <a:gd name="connsiteY150" fmla="*/ 184921 h 437156"/>
                <a:gd name="connsiteX151" fmla="*/ 306334 w 474627"/>
                <a:gd name="connsiteY151" fmla="*/ 184168 h 437156"/>
                <a:gd name="connsiteX152" fmla="*/ 289423 w 474627"/>
                <a:gd name="connsiteY152" fmla="*/ 143779 h 437156"/>
                <a:gd name="connsiteX153" fmla="*/ 316855 w 474627"/>
                <a:gd name="connsiteY153" fmla="*/ 148353 h 437156"/>
                <a:gd name="connsiteX154" fmla="*/ 349800 w 474627"/>
                <a:gd name="connsiteY154" fmla="*/ 168642 h 437156"/>
                <a:gd name="connsiteX155" fmla="*/ 311116 w 474627"/>
                <a:gd name="connsiteY155" fmla="*/ 167889 h 437156"/>
                <a:gd name="connsiteX156" fmla="*/ 292190 w 474627"/>
                <a:gd name="connsiteY156" fmla="*/ 160608 h 437156"/>
                <a:gd name="connsiteX157" fmla="*/ 290050 w 474627"/>
                <a:gd name="connsiteY157" fmla="*/ 146121 h 437156"/>
                <a:gd name="connsiteX158" fmla="*/ 289423 w 474627"/>
                <a:gd name="connsiteY158" fmla="*/ 143778 h 437156"/>
                <a:gd name="connsiteX159" fmla="*/ 340743 w 474627"/>
                <a:gd name="connsiteY159" fmla="*/ 208432 h 437156"/>
                <a:gd name="connsiteX160" fmla="*/ 314345 w 474627"/>
                <a:gd name="connsiteY160" fmla="*/ 219281 h 437156"/>
                <a:gd name="connsiteX161" fmla="*/ 314367 w 474627"/>
                <a:gd name="connsiteY161" fmla="*/ 219191 h 437156"/>
                <a:gd name="connsiteX162" fmla="*/ 316530 w 474627"/>
                <a:gd name="connsiteY162" fmla="*/ 202363 h 437156"/>
                <a:gd name="connsiteX163" fmla="*/ 316561 w 474627"/>
                <a:gd name="connsiteY163" fmla="*/ 200010 h 437156"/>
                <a:gd name="connsiteX164" fmla="*/ 319669 w 474627"/>
                <a:gd name="connsiteY164" fmla="*/ 197715 h 437156"/>
                <a:gd name="connsiteX165" fmla="*/ 354786 w 474627"/>
                <a:gd name="connsiteY165" fmla="*/ 187791 h 437156"/>
                <a:gd name="connsiteX166" fmla="*/ 357100 w 474627"/>
                <a:gd name="connsiteY166" fmla="*/ 179914 h 437156"/>
                <a:gd name="connsiteX167" fmla="*/ 368208 w 474627"/>
                <a:gd name="connsiteY167" fmla="*/ 181180 h 437156"/>
                <a:gd name="connsiteX168" fmla="*/ 340743 w 474627"/>
                <a:gd name="connsiteY168" fmla="*/ 208432 h 437156"/>
                <a:gd name="connsiteX169" fmla="*/ 51785 w 474627"/>
                <a:gd name="connsiteY169" fmla="*/ 162373 h 437156"/>
                <a:gd name="connsiteX170" fmla="*/ 88783 w 474627"/>
                <a:gd name="connsiteY170" fmla="*/ 162373 h 437156"/>
                <a:gd name="connsiteX171" fmla="*/ 85144 w 474627"/>
                <a:gd name="connsiteY171" fmla="*/ 172305 h 437156"/>
                <a:gd name="connsiteX172" fmla="*/ 87730 w 474627"/>
                <a:gd name="connsiteY172" fmla="*/ 186269 h 437156"/>
                <a:gd name="connsiteX173" fmla="*/ 50041 w 474627"/>
                <a:gd name="connsiteY173" fmla="*/ 210350 h 437156"/>
                <a:gd name="connsiteX174" fmla="*/ 51749 w 474627"/>
                <a:gd name="connsiteY174" fmla="*/ 227231 h 437156"/>
                <a:gd name="connsiteX175" fmla="*/ 52777 w 474627"/>
                <a:gd name="connsiteY175" fmla="*/ 231068 h 437156"/>
                <a:gd name="connsiteX176" fmla="*/ 16477 w 474627"/>
                <a:gd name="connsiteY176" fmla="*/ 231068 h 437156"/>
                <a:gd name="connsiteX177" fmla="*/ 12490 w 474627"/>
                <a:gd name="connsiteY177" fmla="*/ 424666 h 437156"/>
                <a:gd name="connsiteX178" fmla="*/ 12490 w 474627"/>
                <a:gd name="connsiteY178" fmla="*/ 368777 h 437156"/>
                <a:gd name="connsiteX179" fmla="*/ 68379 w 474627"/>
                <a:gd name="connsiteY179" fmla="*/ 424666 h 437156"/>
                <a:gd name="connsiteX180" fmla="*/ 462137 w 474627"/>
                <a:gd name="connsiteY180" fmla="*/ 424666 h 437156"/>
                <a:gd name="connsiteX181" fmla="*/ 406247 w 474627"/>
                <a:gd name="connsiteY181" fmla="*/ 424666 h 437156"/>
                <a:gd name="connsiteX182" fmla="*/ 462137 w 474627"/>
                <a:gd name="connsiteY182" fmla="*/ 368777 h 437156"/>
                <a:gd name="connsiteX183" fmla="*/ 462137 w 474627"/>
                <a:gd name="connsiteY183" fmla="*/ 356287 h 437156"/>
                <a:gd name="connsiteX184" fmla="*/ 393757 w 474627"/>
                <a:gd name="connsiteY184" fmla="*/ 424666 h 437156"/>
                <a:gd name="connsiteX185" fmla="*/ 80870 w 474627"/>
                <a:gd name="connsiteY185" fmla="*/ 424666 h 437156"/>
                <a:gd name="connsiteX186" fmla="*/ 12490 w 474627"/>
                <a:gd name="connsiteY186" fmla="*/ 356287 h 437156"/>
                <a:gd name="connsiteX187" fmla="*/ 12490 w 474627"/>
                <a:gd name="connsiteY187" fmla="*/ 243559 h 437156"/>
                <a:gd name="connsiteX188" fmla="*/ 193597 w 474627"/>
                <a:gd name="connsiteY188" fmla="*/ 243559 h 437156"/>
                <a:gd name="connsiteX189" fmla="*/ 193597 w 474627"/>
                <a:gd name="connsiteY189" fmla="*/ 306010 h 437156"/>
                <a:gd name="connsiteX190" fmla="*/ 237313 w 474627"/>
                <a:gd name="connsiteY190" fmla="*/ 349725 h 437156"/>
                <a:gd name="connsiteX191" fmla="*/ 281029 w 474627"/>
                <a:gd name="connsiteY191" fmla="*/ 306010 h 437156"/>
                <a:gd name="connsiteX192" fmla="*/ 281029 w 474627"/>
                <a:gd name="connsiteY192" fmla="*/ 243559 h 437156"/>
                <a:gd name="connsiteX193" fmla="*/ 462137 w 474627"/>
                <a:gd name="connsiteY193" fmla="*/ 243559 h 437156"/>
                <a:gd name="connsiteX194" fmla="*/ 458147 w 474627"/>
                <a:gd name="connsiteY194" fmla="*/ 231068 h 437156"/>
                <a:gd name="connsiteX195" fmla="*/ 428199 w 474627"/>
                <a:gd name="connsiteY195" fmla="*/ 231068 h 437156"/>
                <a:gd name="connsiteX196" fmla="*/ 434853 w 474627"/>
                <a:gd name="connsiteY196" fmla="*/ 217667 h 437156"/>
                <a:gd name="connsiteX197" fmla="*/ 433145 w 474627"/>
                <a:gd name="connsiteY197" fmla="*/ 200786 h 437156"/>
                <a:gd name="connsiteX198" fmla="*/ 383828 w 474627"/>
                <a:gd name="connsiteY198" fmla="*/ 185311 h 437156"/>
                <a:gd name="connsiteX199" fmla="*/ 382347 w 474627"/>
                <a:gd name="connsiteY199" fmla="*/ 185488 h 437156"/>
                <a:gd name="connsiteX200" fmla="*/ 377066 w 474627"/>
                <a:gd name="connsiteY200" fmla="*/ 176163 h 437156"/>
                <a:gd name="connsiteX201" fmla="*/ 359972 w 474627"/>
                <a:gd name="connsiteY201" fmla="*/ 169166 h 437156"/>
                <a:gd name="connsiteX202" fmla="*/ 358746 w 474627"/>
                <a:gd name="connsiteY202" fmla="*/ 162081 h 437156"/>
                <a:gd name="connsiteX203" fmla="*/ 359380 w 474627"/>
                <a:gd name="connsiteY203" fmla="*/ 162373 h 437156"/>
                <a:gd name="connsiteX204" fmla="*/ 422817 w 474627"/>
                <a:gd name="connsiteY204" fmla="*/ 162373 h 437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Lst>
              <a:rect l="l" t="t" r="r" b="b"/>
              <a:pathLst>
                <a:path w="474627" h="437156">
                  <a:moveTo>
                    <a:pt x="467897" y="67371"/>
                  </a:moveTo>
                  <a:lnTo>
                    <a:pt x="468370" y="66268"/>
                  </a:lnTo>
                  <a:lnTo>
                    <a:pt x="468370" y="46809"/>
                  </a:lnTo>
                  <a:lnTo>
                    <a:pt x="462208" y="31405"/>
                  </a:lnTo>
                  <a:cubicBezTo>
                    <a:pt x="454621" y="12438"/>
                    <a:pt x="436250" y="0"/>
                    <a:pt x="415821" y="0"/>
                  </a:cubicBezTo>
                  <a:lnTo>
                    <a:pt x="58805" y="0"/>
                  </a:lnTo>
                  <a:cubicBezTo>
                    <a:pt x="38376" y="0"/>
                    <a:pt x="20005" y="12438"/>
                    <a:pt x="12418" y="31405"/>
                  </a:cubicBezTo>
                  <a:lnTo>
                    <a:pt x="6233" y="46868"/>
                  </a:lnTo>
                  <a:lnTo>
                    <a:pt x="6233" y="63762"/>
                  </a:lnTo>
                  <a:lnTo>
                    <a:pt x="7780" y="67371"/>
                  </a:lnTo>
                  <a:lnTo>
                    <a:pt x="43608" y="150968"/>
                  </a:lnTo>
                  <a:lnTo>
                    <a:pt x="0" y="235801"/>
                  </a:lnTo>
                  <a:lnTo>
                    <a:pt x="0" y="437157"/>
                  </a:lnTo>
                  <a:lnTo>
                    <a:pt x="474627" y="437157"/>
                  </a:lnTo>
                  <a:lnTo>
                    <a:pt x="474627" y="235801"/>
                  </a:lnTo>
                  <a:lnTo>
                    <a:pt x="431582" y="152106"/>
                  </a:lnTo>
                  <a:close/>
                  <a:moveTo>
                    <a:pt x="24014" y="36044"/>
                  </a:moveTo>
                  <a:cubicBezTo>
                    <a:pt x="29664" y="21785"/>
                    <a:pt x="43468" y="12440"/>
                    <a:pt x="58805" y="12490"/>
                  </a:cubicBezTo>
                  <a:lnTo>
                    <a:pt x="415821" y="12490"/>
                  </a:lnTo>
                  <a:cubicBezTo>
                    <a:pt x="431158" y="12440"/>
                    <a:pt x="444962" y="21785"/>
                    <a:pt x="450612" y="36044"/>
                  </a:cubicBezTo>
                  <a:lnTo>
                    <a:pt x="456178" y="49961"/>
                  </a:lnTo>
                  <a:lnTo>
                    <a:pt x="18448" y="49961"/>
                  </a:lnTo>
                  <a:close/>
                  <a:moveTo>
                    <a:pt x="19259" y="62452"/>
                  </a:moveTo>
                  <a:lnTo>
                    <a:pt x="456416" y="62452"/>
                  </a:lnTo>
                  <a:lnTo>
                    <a:pt x="418945" y="149883"/>
                  </a:lnTo>
                  <a:lnTo>
                    <a:pt x="346521" y="149883"/>
                  </a:lnTo>
                  <a:cubicBezTo>
                    <a:pt x="338096" y="145012"/>
                    <a:pt x="329093" y="141216"/>
                    <a:pt x="319724" y="138586"/>
                  </a:cubicBezTo>
                  <a:cubicBezTo>
                    <a:pt x="310391" y="135844"/>
                    <a:pt x="292410" y="131554"/>
                    <a:pt x="280232" y="134641"/>
                  </a:cubicBezTo>
                  <a:cubicBezTo>
                    <a:pt x="268626" y="129663"/>
                    <a:pt x="249826" y="131479"/>
                    <a:pt x="240076" y="132918"/>
                  </a:cubicBezTo>
                  <a:cubicBezTo>
                    <a:pt x="234905" y="133680"/>
                    <a:pt x="229778" y="134719"/>
                    <a:pt x="224718" y="136031"/>
                  </a:cubicBezTo>
                  <a:lnTo>
                    <a:pt x="218954" y="125853"/>
                  </a:lnTo>
                  <a:cubicBezTo>
                    <a:pt x="209899" y="109862"/>
                    <a:pt x="180011" y="124508"/>
                    <a:pt x="167581" y="131547"/>
                  </a:cubicBezTo>
                  <a:cubicBezTo>
                    <a:pt x="157345" y="137027"/>
                    <a:pt x="148114" y="144205"/>
                    <a:pt x="140282" y="152776"/>
                  </a:cubicBezTo>
                  <a:cubicBezTo>
                    <a:pt x="128377" y="148623"/>
                    <a:pt x="106690" y="142693"/>
                    <a:pt x="96078" y="149883"/>
                  </a:cubicBezTo>
                  <a:lnTo>
                    <a:pt x="56730" y="149883"/>
                  </a:lnTo>
                  <a:close/>
                  <a:moveTo>
                    <a:pt x="386914" y="195259"/>
                  </a:moveTo>
                  <a:cubicBezTo>
                    <a:pt x="406491" y="193575"/>
                    <a:pt x="422469" y="196406"/>
                    <a:pt x="423016" y="201811"/>
                  </a:cubicBezTo>
                  <a:cubicBezTo>
                    <a:pt x="423582" y="207405"/>
                    <a:pt x="407413" y="213622"/>
                    <a:pt x="386902" y="215696"/>
                  </a:cubicBezTo>
                  <a:cubicBezTo>
                    <a:pt x="383205" y="216070"/>
                    <a:pt x="379677" y="216240"/>
                    <a:pt x="376283" y="216305"/>
                  </a:cubicBezTo>
                  <a:cubicBezTo>
                    <a:pt x="383153" y="209870"/>
                    <a:pt x="388186" y="202481"/>
                    <a:pt x="386914" y="195259"/>
                  </a:cubicBezTo>
                  <a:close/>
                  <a:moveTo>
                    <a:pt x="424423" y="215722"/>
                  </a:moveTo>
                  <a:lnTo>
                    <a:pt x="424724" y="218692"/>
                  </a:lnTo>
                  <a:cubicBezTo>
                    <a:pt x="425187" y="223273"/>
                    <a:pt x="414418" y="228269"/>
                    <a:pt x="399239" y="231068"/>
                  </a:cubicBezTo>
                  <a:lnTo>
                    <a:pt x="356995" y="231068"/>
                  </a:lnTo>
                  <a:cubicBezTo>
                    <a:pt x="356744" y="230991"/>
                    <a:pt x="356451" y="230926"/>
                    <a:pt x="356211" y="230845"/>
                  </a:cubicBezTo>
                  <a:cubicBezTo>
                    <a:pt x="358468" y="229522"/>
                    <a:pt x="361049" y="227918"/>
                    <a:pt x="363753" y="226105"/>
                  </a:cubicBezTo>
                  <a:cubicBezTo>
                    <a:pt x="371802" y="226772"/>
                    <a:pt x="379896" y="226679"/>
                    <a:pt x="387927" y="225825"/>
                  </a:cubicBezTo>
                  <a:cubicBezTo>
                    <a:pt x="400656" y="224991"/>
                    <a:pt x="413078" y="221552"/>
                    <a:pt x="424423" y="215722"/>
                  </a:cubicBezTo>
                  <a:close/>
                  <a:moveTo>
                    <a:pt x="349103" y="223196"/>
                  </a:moveTo>
                  <a:cubicBezTo>
                    <a:pt x="343750" y="226244"/>
                    <a:pt x="338171" y="228875"/>
                    <a:pt x="332415" y="231068"/>
                  </a:cubicBezTo>
                  <a:lnTo>
                    <a:pt x="310663" y="231068"/>
                  </a:lnTo>
                  <a:lnTo>
                    <a:pt x="310135" y="230134"/>
                  </a:lnTo>
                  <a:cubicBezTo>
                    <a:pt x="322763" y="228336"/>
                    <a:pt x="334888" y="223965"/>
                    <a:pt x="345759" y="217291"/>
                  </a:cubicBezTo>
                  <a:cubicBezTo>
                    <a:pt x="357075" y="211402"/>
                    <a:pt x="367060" y="203252"/>
                    <a:pt x="375098" y="193347"/>
                  </a:cubicBezTo>
                  <a:lnTo>
                    <a:pt x="376569" y="195944"/>
                  </a:lnTo>
                  <a:cubicBezTo>
                    <a:pt x="379339" y="200837"/>
                    <a:pt x="367042" y="213038"/>
                    <a:pt x="349103" y="223196"/>
                  </a:cubicBezTo>
                  <a:close/>
                  <a:moveTo>
                    <a:pt x="121715" y="228406"/>
                  </a:moveTo>
                  <a:cubicBezTo>
                    <a:pt x="118048" y="229505"/>
                    <a:pt x="114321" y="230394"/>
                    <a:pt x="110553" y="231068"/>
                  </a:cubicBezTo>
                  <a:lnTo>
                    <a:pt x="68315" y="231068"/>
                  </a:lnTo>
                  <a:cubicBezTo>
                    <a:pt x="64447" y="229868"/>
                    <a:pt x="62081" y="228218"/>
                    <a:pt x="61878" y="226206"/>
                  </a:cubicBezTo>
                  <a:lnTo>
                    <a:pt x="61577" y="223236"/>
                  </a:lnTo>
                  <a:cubicBezTo>
                    <a:pt x="73861" y="226676"/>
                    <a:pt x="86720" y="227557"/>
                    <a:pt x="99358" y="225825"/>
                  </a:cubicBezTo>
                  <a:cubicBezTo>
                    <a:pt x="107155" y="225082"/>
                    <a:pt x="114868" y="223637"/>
                    <a:pt x="122404" y="221507"/>
                  </a:cubicBezTo>
                  <a:cubicBezTo>
                    <a:pt x="121621" y="223717"/>
                    <a:pt x="121385" y="226084"/>
                    <a:pt x="121715" y="228406"/>
                  </a:cubicBezTo>
                  <a:close/>
                  <a:moveTo>
                    <a:pt x="98333" y="215696"/>
                  </a:moveTo>
                  <a:cubicBezTo>
                    <a:pt x="77823" y="217771"/>
                    <a:pt x="60736" y="214919"/>
                    <a:pt x="60170" y="209325"/>
                  </a:cubicBezTo>
                  <a:cubicBezTo>
                    <a:pt x="59604" y="203731"/>
                    <a:pt x="75773" y="197514"/>
                    <a:pt x="96284" y="195439"/>
                  </a:cubicBezTo>
                  <a:cubicBezTo>
                    <a:pt x="96713" y="195395"/>
                    <a:pt x="97122" y="195375"/>
                    <a:pt x="97548" y="195337"/>
                  </a:cubicBezTo>
                  <a:cubicBezTo>
                    <a:pt x="105430" y="200455"/>
                    <a:pt x="113889" y="204627"/>
                    <a:pt x="122748" y="207767"/>
                  </a:cubicBezTo>
                  <a:cubicBezTo>
                    <a:pt x="123902" y="208190"/>
                    <a:pt x="125204" y="208647"/>
                    <a:pt x="126605" y="209117"/>
                  </a:cubicBezTo>
                  <a:cubicBezTo>
                    <a:pt x="117560" y="212702"/>
                    <a:pt x="108031" y="214919"/>
                    <a:pt x="98333" y="215696"/>
                  </a:cubicBezTo>
                  <a:close/>
                  <a:moveTo>
                    <a:pt x="126250" y="198208"/>
                  </a:moveTo>
                  <a:cubicBezTo>
                    <a:pt x="106894" y="191115"/>
                    <a:pt x="92769" y="181087"/>
                    <a:pt x="94702" y="175807"/>
                  </a:cubicBezTo>
                  <a:lnTo>
                    <a:pt x="95730" y="173005"/>
                  </a:lnTo>
                  <a:cubicBezTo>
                    <a:pt x="105277" y="181464"/>
                    <a:pt x="116460" y="187873"/>
                    <a:pt x="128585" y="191835"/>
                  </a:cubicBezTo>
                  <a:cubicBezTo>
                    <a:pt x="134340" y="193950"/>
                    <a:pt x="140228" y="195686"/>
                    <a:pt x="146210" y="197032"/>
                  </a:cubicBezTo>
                  <a:cubicBezTo>
                    <a:pt x="143866" y="198567"/>
                    <a:pt x="141416" y="200290"/>
                    <a:pt x="138997" y="202136"/>
                  </a:cubicBezTo>
                  <a:cubicBezTo>
                    <a:pt x="134683" y="201049"/>
                    <a:pt x="130428" y="199737"/>
                    <a:pt x="126250" y="198208"/>
                  </a:cubicBezTo>
                  <a:close/>
                  <a:moveTo>
                    <a:pt x="136274" y="172674"/>
                  </a:moveTo>
                  <a:lnTo>
                    <a:pt x="143795" y="185955"/>
                  </a:lnTo>
                  <a:cubicBezTo>
                    <a:pt x="140059" y="184975"/>
                    <a:pt x="136126" y="183756"/>
                    <a:pt x="132087" y="182276"/>
                  </a:cubicBezTo>
                  <a:cubicBezTo>
                    <a:pt x="112730" y="175184"/>
                    <a:pt x="98606" y="165155"/>
                    <a:pt x="100540" y="159876"/>
                  </a:cubicBezTo>
                  <a:cubicBezTo>
                    <a:pt x="102344" y="154951"/>
                    <a:pt x="117486" y="155904"/>
                    <a:pt x="135225" y="161810"/>
                  </a:cubicBezTo>
                  <a:cubicBezTo>
                    <a:pt x="134022" y="165416"/>
                    <a:pt x="134403" y="169364"/>
                    <a:pt x="136274" y="172674"/>
                  </a:cubicBezTo>
                  <a:close/>
                  <a:moveTo>
                    <a:pt x="208602" y="175299"/>
                  </a:moveTo>
                  <a:lnTo>
                    <a:pt x="208166" y="172346"/>
                  </a:lnTo>
                  <a:cubicBezTo>
                    <a:pt x="220594" y="175220"/>
                    <a:pt x="233480" y="175512"/>
                    <a:pt x="246025" y="173203"/>
                  </a:cubicBezTo>
                  <a:cubicBezTo>
                    <a:pt x="258703" y="171787"/>
                    <a:pt x="270954" y="167783"/>
                    <a:pt x="282022" y="161440"/>
                  </a:cubicBezTo>
                  <a:lnTo>
                    <a:pt x="282457" y="164393"/>
                  </a:lnTo>
                  <a:cubicBezTo>
                    <a:pt x="283279" y="169955"/>
                    <a:pt x="267411" y="176905"/>
                    <a:pt x="247017" y="179917"/>
                  </a:cubicBezTo>
                  <a:cubicBezTo>
                    <a:pt x="226623" y="182929"/>
                    <a:pt x="209424" y="180861"/>
                    <a:pt x="208602" y="175299"/>
                  </a:cubicBezTo>
                  <a:close/>
                  <a:moveTo>
                    <a:pt x="247590" y="205209"/>
                  </a:moveTo>
                  <a:cubicBezTo>
                    <a:pt x="246874" y="210785"/>
                    <a:pt x="229716" y="213175"/>
                    <a:pt x="209269" y="210546"/>
                  </a:cubicBezTo>
                  <a:cubicBezTo>
                    <a:pt x="188821" y="207918"/>
                    <a:pt x="172826" y="201266"/>
                    <a:pt x="173543" y="195690"/>
                  </a:cubicBezTo>
                  <a:cubicBezTo>
                    <a:pt x="174259" y="190114"/>
                    <a:pt x="191417" y="187724"/>
                    <a:pt x="211865" y="190352"/>
                  </a:cubicBezTo>
                  <a:cubicBezTo>
                    <a:pt x="232313" y="192981"/>
                    <a:pt x="248307" y="199632"/>
                    <a:pt x="247590" y="205209"/>
                  </a:cubicBezTo>
                  <a:close/>
                  <a:moveTo>
                    <a:pt x="244539" y="163132"/>
                  </a:moveTo>
                  <a:cubicBezTo>
                    <a:pt x="224144" y="166143"/>
                    <a:pt x="206945" y="164075"/>
                    <a:pt x="206124" y="158514"/>
                  </a:cubicBezTo>
                  <a:cubicBezTo>
                    <a:pt x="205302" y="152952"/>
                    <a:pt x="221169" y="146001"/>
                    <a:pt x="241564" y="142989"/>
                  </a:cubicBezTo>
                  <a:cubicBezTo>
                    <a:pt x="261959" y="139978"/>
                    <a:pt x="279158" y="142045"/>
                    <a:pt x="279979" y="147607"/>
                  </a:cubicBezTo>
                  <a:cubicBezTo>
                    <a:pt x="280800" y="153170"/>
                    <a:pt x="264933" y="160120"/>
                    <a:pt x="244539" y="163132"/>
                  </a:cubicBezTo>
                  <a:close/>
                  <a:moveTo>
                    <a:pt x="182630" y="158122"/>
                  </a:moveTo>
                  <a:cubicBezTo>
                    <a:pt x="164692" y="168280"/>
                    <a:pt x="147903" y="172549"/>
                    <a:pt x="145132" y="167657"/>
                  </a:cubicBezTo>
                  <a:cubicBezTo>
                    <a:pt x="142361" y="162765"/>
                    <a:pt x="154659" y="150564"/>
                    <a:pt x="172598" y="140405"/>
                  </a:cubicBezTo>
                  <a:cubicBezTo>
                    <a:pt x="190537" y="130246"/>
                    <a:pt x="207325" y="125977"/>
                    <a:pt x="210096" y="130870"/>
                  </a:cubicBezTo>
                  <a:cubicBezTo>
                    <a:pt x="212866" y="135763"/>
                    <a:pt x="200569" y="147964"/>
                    <a:pt x="182630" y="158122"/>
                  </a:cubicBezTo>
                  <a:close/>
                  <a:moveTo>
                    <a:pt x="159579" y="200804"/>
                  </a:moveTo>
                  <a:cubicBezTo>
                    <a:pt x="160681" y="200179"/>
                    <a:pt x="161754" y="199654"/>
                    <a:pt x="162844" y="199076"/>
                  </a:cubicBezTo>
                  <a:lnTo>
                    <a:pt x="161283" y="211221"/>
                  </a:lnTo>
                  <a:cubicBezTo>
                    <a:pt x="160813" y="214869"/>
                    <a:pt x="161867" y="218548"/>
                    <a:pt x="164196" y="221394"/>
                  </a:cubicBezTo>
                  <a:cubicBezTo>
                    <a:pt x="148414" y="229410"/>
                    <a:pt x="134602" y="232451"/>
                    <a:pt x="132114" y="228056"/>
                  </a:cubicBezTo>
                  <a:cubicBezTo>
                    <a:pt x="129343" y="223163"/>
                    <a:pt x="141640" y="210962"/>
                    <a:pt x="159579" y="200804"/>
                  </a:cubicBezTo>
                  <a:close/>
                  <a:moveTo>
                    <a:pt x="153493" y="182422"/>
                  </a:moveTo>
                  <a:lnTo>
                    <a:pt x="152022" y="179825"/>
                  </a:lnTo>
                  <a:cubicBezTo>
                    <a:pt x="164651" y="178027"/>
                    <a:pt x="176776" y="173655"/>
                    <a:pt x="187647" y="166981"/>
                  </a:cubicBezTo>
                  <a:cubicBezTo>
                    <a:pt x="190066" y="165611"/>
                    <a:pt x="193094" y="163783"/>
                    <a:pt x="196299" y="161672"/>
                  </a:cubicBezTo>
                  <a:lnTo>
                    <a:pt x="197374" y="168952"/>
                  </a:lnTo>
                  <a:cubicBezTo>
                    <a:pt x="195328" y="170279"/>
                    <a:pt x="193254" y="171605"/>
                    <a:pt x="190991" y="172887"/>
                  </a:cubicBezTo>
                  <a:cubicBezTo>
                    <a:pt x="173052" y="183045"/>
                    <a:pt x="156263" y="187314"/>
                    <a:pt x="153493" y="182422"/>
                  </a:cubicBezTo>
                  <a:close/>
                  <a:moveTo>
                    <a:pt x="171760" y="209558"/>
                  </a:moveTo>
                  <a:cubicBezTo>
                    <a:pt x="182944" y="215693"/>
                    <a:pt x="195269" y="219466"/>
                    <a:pt x="207970" y="220644"/>
                  </a:cubicBezTo>
                  <a:cubicBezTo>
                    <a:pt x="220557" y="222717"/>
                    <a:pt x="233435" y="222184"/>
                    <a:pt x="245807" y="219077"/>
                  </a:cubicBezTo>
                  <a:lnTo>
                    <a:pt x="245427" y="222037"/>
                  </a:lnTo>
                  <a:cubicBezTo>
                    <a:pt x="244710" y="227614"/>
                    <a:pt x="227553" y="230004"/>
                    <a:pt x="207105" y="227376"/>
                  </a:cubicBezTo>
                  <a:cubicBezTo>
                    <a:pt x="186658" y="224748"/>
                    <a:pt x="170663" y="218096"/>
                    <a:pt x="171380" y="212519"/>
                  </a:cubicBezTo>
                  <a:close/>
                  <a:moveTo>
                    <a:pt x="206087" y="243559"/>
                  </a:moveTo>
                  <a:lnTo>
                    <a:pt x="268538" y="243559"/>
                  </a:lnTo>
                  <a:lnTo>
                    <a:pt x="268538" y="306010"/>
                  </a:lnTo>
                  <a:cubicBezTo>
                    <a:pt x="268538" y="323255"/>
                    <a:pt x="254559" y="337235"/>
                    <a:pt x="237313" y="337235"/>
                  </a:cubicBezTo>
                  <a:cubicBezTo>
                    <a:pt x="220068" y="337235"/>
                    <a:pt x="206087" y="323255"/>
                    <a:pt x="206087" y="306010"/>
                  </a:cubicBezTo>
                  <a:close/>
                  <a:moveTo>
                    <a:pt x="265948" y="223231"/>
                  </a:moveTo>
                  <a:cubicBezTo>
                    <a:pt x="262390" y="222774"/>
                    <a:pt x="258975" y="222192"/>
                    <a:pt x="255758" y="221517"/>
                  </a:cubicBezTo>
                  <a:lnTo>
                    <a:pt x="256622" y="214801"/>
                  </a:lnTo>
                  <a:cubicBezTo>
                    <a:pt x="260456" y="215572"/>
                    <a:pt x="264012" y="216140"/>
                    <a:pt x="266814" y="216500"/>
                  </a:cubicBezTo>
                  <a:cubicBezTo>
                    <a:pt x="279400" y="218573"/>
                    <a:pt x="292279" y="218040"/>
                    <a:pt x="304650" y="214933"/>
                  </a:cubicBezTo>
                  <a:lnTo>
                    <a:pt x="304269" y="217893"/>
                  </a:lnTo>
                  <a:cubicBezTo>
                    <a:pt x="303553" y="223470"/>
                    <a:pt x="286396" y="225860"/>
                    <a:pt x="265948" y="223231"/>
                  </a:cubicBezTo>
                  <a:close/>
                  <a:moveTo>
                    <a:pt x="268111" y="206403"/>
                  </a:moveTo>
                  <a:cubicBezTo>
                    <a:pt x="264473" y="205935"/>
                    <a:pt x="260997" y="205329"/>
                    <a:pt x="257711" y="204635"/>
                  </a:cubicBezTo>
                  <a:cubicBezTo>
                    <a:pt x="257172" y="198290"/>
                    <a:pt x="253231" y="192739"/>
                    <a:pt x="247419" y="190138"/>
                  </a:cubicBezTo>
                  <a:cubicBezTo>
                    <a:pt x="247775" y="190088"/>
                    <a:pt x="248169" y="190038"/>
                    <a:pt x="248505" y="189988"/>
                  </a:cubicBezTo>
                  <a:cubicBezTo>
                    <a:pt x="254933" y="189053"/>
                    <a:pt x="261288" y="187668"/>
                    <a:pt x="267523" y="185843"/>
                  </a:cubicBezTo>
                  <a:cubicBezTo>
                    <a:pt x="268576" y="185954"/>
                    <a:pt x="269634" y="186070"/>
                    <a:pt x="270707" y="186208"/>
                  </a:cubicBezTo>
                  <a:cubicBezTo>
                    <a:pt x="291154" y="188836"/>
                    <a:pt x="307149" y="195488"/>
                    <a:pt x="306433" y="201065"/>
                  </a:cubicBezTo>
                  <a:cubicBezTo>
                    <a:pt x="305716" y="206641"/>
                    <a:pt x="288558" y="209031"/>
                    <a:pt x="268111" y="206403"/>
                  </a:cubicBezTo>
                  <a:close/>
                  <a:moveTo>
                    <a:pt x="306334" y="184168"/>
                  </a:moveTo>
                  <a:cubicBezTo>
                    <a:pt x="299558" y="182222"/>
                    <a:pt x="292972" y="179666"/>
                    <a:pt x="286657" y="176533"/>
                  </a:cubicBezTo>
                  <a:cubicBezTo>
                    <a:pt x="288397" y="175077"/>
                    <a:pt x="289859" y="173318"/>
                    <a:pt x="290975" y="171343"/>
                  </a:cubicBezTo>
                  <a:cubicBezTo>
                    <a:pt x="296587" y="173824"/>
                    <a:pt x="302357" y="175933"/>
                    <a:pt x="308247" y="177657"/>
                  </a:cubicBezTo>
                  <a:cubicBezTo>
                    <a:pt x="320351" y="181682"/>
                    <a:pt x="333153" y="183180"/>
                    <a:pt x="345859" y="182058"/>
                  </a:cubicBezTo>
                  <a:lnTo>
                    <a:pt x="345018" y="184921"/>
                  </a:lnTo>
                  <a:cubicBezTo>
                    <a:pt x="343433" y="190315"/>
                    <a:pt x="326114" y="189978"/>
                    <a:pt x="306334" y="184168"/>
                  </a:cubicBezTo>
                  <a:close/>
                  <a:moveTo>
                    <a:pt x="289423" y="143779"/>
                  </a:moveTo>
                  <a:cubicBezTo>
                    <a:pt x="298734" y="144032"/>
                    <a:pt x="307965" y="145572"/>
                    <a:pt x="316855" y="148353"/>
                  </a:cubicBezTo>
                  <a:cubicBezTo>
                    <a:pt x="336634" y="154164"/>
                    <a:pt x="351385" y="163247"/>
                    <a:pt x="349800" y="168642"/>
                  </a:cubicBezTo>
                  <a:cubicBezTo>
                    <a:pt x="348215" y="174036"/>
                    <a:pt x="330896" y="173699"/>
                    <a:pt x="311116" y="167889"/>
                  </a:cubicBezTo>
                  <a:cubicBezTo>
                    <a:pt x="304609" y="166011"/>
                    <a:pt x="298277" y="163576"/>
                    <a:pt x="292190" y="160608"/>
                  </a:cubicBezTo>
                  <a:lnTo>
                    <a:pt x="290050" y="146121"/>
                  </a:lnTo>
                  <a:cubicBezTo>
                    <a:pt x="289910" y="145323"/>
                    <a:pt x="289701" y="144539"/>
                    <a:pt x="289423" y="143778"/>
                  </a:cubicBezTo>
                  <a:close/>
                  <a:moveTo>
                    <a:pt x="340743" y="208432"/>
                  </a:moveTo>
                  <a:cubicBezTo>
                    <a:pt x="332515" y="213307"/>
                    <a:pt x="323623" y="216961"/>
                    <a:pt x="314345" y="219281"/>
                  </a:cubicBezTo>
                  <a:lnTo>
                    <a:pt x="314367" y="219191"/>
                  </a:lnTo>
                  <a:lnTo>
                    <a:pt x="316530" y="202363"/>
                  </a:lnTo>
                  <a:cubicBezTo>
                    <a:pt x="316608" y="201581"/>
                    <a:pt x="316618" y="200794"/>
                    <a:pt x="316561" y="200010"/>
                  </a:cubicBezTo>
                  <a:cubicBezTo>
                    <a:pt x="317556" y="199247"/>
                    <a:pt x="318588" y="198482"/>
                    <a:pt x="319669" y="197715"/>
                  </a:cubicBezTo>
                  <a:cubicBezTo>
                    <a:pt x="334222" y="200171"/>
                    <a:pt x="351164" y="200120"/>
                    <a:pt x="354786" y="187791"/>
                  </a:cubicBezTo>
                  <a:lnTo>
                    <a:pt x="357100" y="179914"/>
                  </a:lnTo>
                  <a:cubicBezTo>
                    <a:pt x="362846" y="178691"/>
                    <a:pt x="366964" y="178984"/>
                    <a:pt x="368208" y="181180"/>
                  </a:cubicBezTo>
                  <a:cubicBezTo>
                    <a:pt x="370979" y="186072"/>
                    <a:pt x="358681" y="198274"/>
                    <a:pt x="340743" y="208432"/>
                  </a:cubicBezTo>
                  <a:close/>
                  <a:moveTo>
                    <a:pt x="51785" y="162373"/>
                  </a:moveTo>
                  <a:lnTo>
                    <a:pt x="88783" y="162373"/>
                  </a:lnTo>
                  <a:lnTo>
                    <a:pt x="85144" y="172305"/>
                  </a:lnTo>
                  <a:cubicBezTo>
                    <a:pt x="83493" y="177091"/>
                    <a:pt x="84475" y="182392"/>
                    <a:pt x="87730" y="186269"/>
                  </a:cubicBezTo>
                  <a:cubicBezTo>
                    <a:pt x="71917" y="188657"/>
                    <a:pt x="48469" y="194817"/>
                    <a:pt x="50041" y="210350"/>
                  </a:cubicBezTo>
                  <a:lnTo>
                    <a:pt x="51749" y="227231"/>
                  </a:lnTo>
                  <a:cubicBezTo>
                    <a:pt x="51897" y="228555"/>
                    <a:pt x="52243" y="229848"/>
                    <a:pt x="52777" y="231068"/>
                  </a:cubicBezTo>
                  <a:lnTo>
                    <a:pt x="16477" y="231068"/>
                  </a:lnTo>
                  <a:close/>
                  <a:moveTo>
                    <a:pt x="12490" y="424666"/>
                  </a:moveTo>
                  <a:lnTo>
                    <a:pt x="12490" y="368777"/>
                  </a:lnTo>
                  <a:cubicBezTo>
                    <a:pt x="42021" y="371787"/>
                    <a:pt x="65370" y="395136"/>
                    <a:pt x="68379" y="424666"/>
                  </a:cubicBezTo>
                  <a:close/>
                  <a:moveTo>
                    <a:pt x="462137" y="424666"/>
                  </a:moveTo>
                  <a:lnTo>
                    <a:pt x="406247" y="424666"/>
                  </a:lnTo>
                  <a:cubicBezTo>
                    <a:pt x="409257" y="395136"/>
                    <a:pt x="432606" y="371787"/>
                    <a:pt x="462137" y="368777"/>
                  </a:cubicBezTo>
                  <a:close/>
                  <a:moveTo>
                    <a:pt x="462137" y="356287"/>
                  </a:moveTo>
                  <a:cubicBezTo>
                    <a:pt x="425727" y="359375"/>
                    <a:pt x="396846" y="388257"/>
                    <a:pt x="393757" y="424666"/>
                  </a:cubicBezTo>
                  <a:lnTo>
                    <a:pt x="80870" y="424666"/>
                  </a:lnTo>
                  <a:cubicBezTo>
                    <a:pt x="77781" y="388257"/>
                    <a:pt x="48899" y="359375"/>
                    <a:pt x="12490" y="356287"/>
                  </a:cubicBezTo>
                  <a:lnTo>
                    <a:pt x="12490" y="243559"/>
                  </a:lnTo>
                  <a:lnTo>
                    <a:pt x="193597" y="243559"/>
                  </a:lnTo>
                  <a:lnTo>
                    <a:pt x="193597" y="306010"/>
                  </a:lnTo>
                  <a:cubicBezTo>
                    <a:pt x="193597" y="330153"/>
                    <a:pt x="213170" y="349725"/>
                    <a:pt x="237313" y="349725"/>
                  </a:cubicBezTo>
                  <a:cubicBezTo>
                    <a:pt x="261456" y="349725"/>
                    <a:pt x="281029" y="330153"/>
                    <a:pt x="281029" y="306010"/>
                  </a:cubicBezTo>
                  <a:lnTo>
                    <a:pt x="281029" y="243559"/>
                  </a:lnTo>
                  <a:lnTo>
                    <a:pt x="462137" y="243559"/>
                  </a:lnTo>
                  <a:close/>
                  <a:moveTo>
                    <a:pt x="458147" y="231068"/>
                  </a:moveTo>
                  <a:lnTo>
                    <a:pt x="428199" y="231068"/>
                  </a:lnTo>
                  <a:cubicBezTo>
                    <a:pt x="432698" y="228152"/>
                    <a:pt x="435249" y="223015"/>
                    <a:pt x="434853" y="217667"/>
                  </a:cubicBezTo>
                  <a:lnTo>
                    <a:pt x="433145" y="200786"/>
                  </a:lnTo>
                  <a:cubicBezTo>
                    <a:pt x="431296" y="182502"/>
                    <a:pt x="398040" y="183872"/>
                    <a:pt x="383828" y="185311"/>
                  </a:cubicBezTo>
                  <a:cubicBezTo>
                    <a:pt x="383391" y="185355"/>
                    <a:pt x="382818" y="185436"/>
                    <a:pt x="382347" y="185488"/>
                  </a:cubicBezTo>
                  <a:lnTo>
                    <a:pt x="377066" y="176163"/>
                  </a:lnTo>
                  <a:cubicBezTo>
                    <a:pt x="373366" y="170517"/>
                    <a:pt x="366569" y="167734"/>
                    <a:pt x="359972" y="169166"/>
                  </a:cubicBezTo>
                  <a:cubicBezTo>
                    <a:pt x="360224" y="166737"/>
                    <a:pt x="359800" y="164285"/>
                    <a:pt x="358746" y="162081"/>
                  </a:cubicBezTo>
                  <a:lnTo>
                    <a:pt x="359380" y="162373"/>
                  </a:lnTo>
                  <a:lnTo>
                    <a:pt x="422817" y="162373"/>
                  </a:lnTo>
                  <a:close/>
                </a:path>
              </a:pathLst>
            </a:custGeom>
            <a:solidFill>
              <a:schemeClr val="lt1"/>
            </a:solidFill>
            <a:ln w="8202" cap="flat">
              <a:solidFill>
                <a:schemeClr val="accent5"/>
              </a:solidFill>
              <a:prstDash val="solid"/>
              <a:miter/>
            </a:ln>
          </p:spPr>
          <p:txBody>
            <a:bodyPr rtlCol="0" anchor="ctr"/>
            <a:lstStyle/>
            <a:p>
              <a:endParaRPr lang="en-GB"/>
            </a:p>
          </p:txBody>
        </p:sp>
        <p:sp>
          <p:nvSpPr>
            <p:cNvPr id="152" name="Frihandsfigur: Form 151">
              <a:extLst>
                <a:ext uri="{FF2B5EF4-FFF2-40B4-BE49-F238E27FC236}">
                  <a16:creationId xmlns:a16="http://schemas.microsoft.com/office/drawing/2014/main" id="{2A005AD6-8FC1-1E80-243E-8EEACBA8D1D5}"/>
                </a:ext>
              </a:extLst>
            </p:cNvPr>
            <p:cNvSpPr/>
            <p:nvPr/>
          </p:nvSpPr>
          <p:spPr>
            <a:xfrm>
              <a:off x="15899720" y="7309480"/>
              <a:ext cx="37470" cy="37470"/>
            </a:xfrm>
            <a:custGeom>
              <a:avLst/>
              <a:gdLst>
                <a:gd name="connsiteX0" fmla="*/ 18735 w 37470"/>
                <a:gd name="connsiteY0" fmla="*/ 37471 h 37470"/>
                <a:gd name="connsiteX1" fmla="*/ 37471 w 37470"/>
                <a:gd name="connsiteY1" fmla="*/ 18735 h 37470"/>
                <a:gd name="connsiteX2" fmla="*/ 18735 w 37470"/>
                <a:gd name="connsiteY2" fmla="*/ 0 h 37470"/>
                <a:gd name="connsiteX3" fmla="*/ 0 w 37470"/>
                <a:gd name="connsiteY3" fmla="*/ 18735 h 37470"/>
                <a:gd name="connsiteX4" fmla="*/ 18735 w 37470"/>
                <a:gd name="connsiteY4" fmla="*/ 37471 h 37470"/>
                <a:gd name="connsiteX5" fmla="*/ 18735 w 37470"/>
                <a:gd name="connsiteY5" fmla="*/ 12490 h 37470"/>
                <a:gd name="connsiteX6" fmla="*/ 24980 w 37470"/>
                <a:gd name="connsiteY6" fmla="*/ 18735 h 37470"/>
                <a:gd name="connsiteX7" fmla="*/ 18735 w 37470"/>
                <a:gd name="connsiteY7" fmla="*/ 24980 h 37470"/>
                <a:gd name="connsiteX8" fmla="*/ 12490 w 37470"/>
                <a:gd name="connsiteY8" fmla="*/ 18735 h 37470"/>
                <a:gd name="connsiteX9" fmla="*/ 18735 w 37470"/>
                <a:gd name="connsiteY9" fmla="*/ 12490 h 37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470" h="37470">
                  <a:moveTo>
                    <a:pt x="18735" y="37471"/>
                  </a:moveTo>
                  <a:cubicBezTo>
                    <a:pt x="29082" y="37471"/>
                    <a:pt x="37471" y="29083"/>
                    <a:pt x="37471" y="18735"/>
                  </a:cubicBezTo>
                  <a:cubicBezTo>
                    <a:pt x="37471" y="8388"/>
                    <a:pt x="29082" y="0"/>
                    <a:pt x="18735" y="0"/>
                  </a:cubicBezTo>
                  <a:cubicBezTo>
                    <a:pt x="8388" y="0"/>
                    <a:pt x="0" y="8388"/>
                    <a:pt x="0" y="18735"/>
                  </a:cubicBezTo>
                  <a:cubicBezTo>
                    <a:pt x="0" y="29083"/>
                    <a:pt x="8388" y="37471"/>
                    <a:pt x="18735" y="37471"/>
                  </a:cubicBezTo>
                  <a:close/>
                  <a:moveTo>
                    <a:pt x="18735" y="12490"/>
                  </a:moveTo>
                  <a:cubicBezTo>
                    <a:pt x="22184" y="12490"/>
                    <a:pt x="24980" y="15286"/>
                    <a:pt x="24980" y="18735"/>
                  </a:cubicBezTo>
                  <a:cubicBezTo>
                    <a:pt x="24980" y="22184"/>
                    <a:pt x="22184" y="24980"/>
                    <a:pt x="18735" y="24980"/>
                  </a:cubicBezTo>
                  <a:cubicBezTo>
                    <a:pt x="15286" y="24980"/>
                    <a:pt x="12490" y="22184"/>
                    <a:pt x="12490" y="18735"/>
                  </a:cubicBezTo>
                  <a:cubicBezTo>
                    <a:pt x="12494" y="15288"/>
                    <a:pt x="15288" y="12494"/>
                    <a:pt x="18735" y="12490"/>
                  </a:cubicBezTo>
                  <a:close/>
                </a:path>
              </a:pathLst>
            </a:custGeom>
            <a:solidFill>
              <a:schemeClr val="lt1"/>
            </a:solidFill>
            <a:ln w="8202" cap="flat">
              <a:solidFill>
                <a:schemeClr val="accent5"/>
              </a:solidFill>
              <a:prstDash val="solid"/>
              <a:miter/>
            </a:ln>
          </p:spPr>
          <p:txBody>
            <a:bodyPr rtlCol="0" anchor="ctr"/>
            <a:lstStyle/>
            <a:p>
              <a:endParaRPr lang="en-GB"/>
            </a:p>
          </p:txBody>
        </p:sp>
      </p:grpSp>
      <p:sp>
        <p:nvSpPr>
          <p:cNvPr id="154" name="Bild 144" descr="Euro med hel fyllning">
            <a:extLst>
              <a:ext uri="{FF2B5EF4-FFF2-40B4-BE49-F238E27FC236}">
                <a16:creationId xmlns:a16="http://schemas.microsoft.com/office/drawing/2014/main" id="{309838D4-4813-4E05-1460-54E48D9F9266}"/>
              </a:ext>
            </a:extLst>
          </p:cNvPr>
          <p:cNvSpPr/>
          <p:nvPr/>
        </p:nvSpPr>
        <p:spPr>
          <a:xfrm rot="18205641">
            <a:off x="8295704" y="6168401"/>
            <a:ext cx="206621" cy="278254"/>
          </a:xfrm>
          <a:custGeom>
            <a:avLst/>
            <a:gdLst>
              <a:gd name="connsiteX0" fmla="*/ 194885 w 206621"/>
              <a:gd name="connsiteY0" fmla="*/ 237586 h 278254"/>
              <a:gd name="connsiteX1" fmla="*/ 133776 w 206621"/>
              <a:gd name="connsiteY1" fmla="*/ 256850 h 278254"/>
              <a:gd name="connsiteX2" fmla="*/ 49051 w 206621"/>
              <a:gd name="connsiteY2" fmla="*/ 171234 h 278254"/>
              <a:gd name="connsiteX3" fmla="*/ 149829 w 206621"/>
              <a:gd name="connsiteY3" fmla="*/ 171234 h 278254"/>
              <a:gd name="connsiteX4" fmla="*/ 149829 w 206621"/>
              <a:gd name="connsiteY4" fmla="*/ 149829 h 278254"/>
              <a:gd name="connsiteX5" fmla="*/ 46590 w 206621"/>
              <a:gd name="connsiteY5" fmla="*/ 149829 h 278254"/>
              <a:gd name="connsiteX6" fmla="*/ 46376 w 206621"/>
              <a:gd name="connsiteY6" fmla="*/ 139127 h 278254"/>
              <a:gd name="connsiteX7" fmla="*/ 46661 w 206621"/>
              <a:gd name="connsiteY7" fmla="*/ 128425 h 278254"/>
              <a:gd name="connsiteX8" fmla="*/ 149829 w 206621"/>
              <a:gd name="connsiteY8" fmla="*/ 128425 h 278254"/>
              <a:gd name="connsiteX9" fmla="*/ 149829 w 206621"/>
              <a:gd name="connsiteY9" fmla="*/ 107021 h 278254"/>
              <a:gd name="connsiteX10" fmla="*/ 49051 w 206621"/>
              <a:gd name="connsiteY10" fmla="*/ 107021 h 278254"/>
              <a:gd name="connsiteX11" fmla="*/ 133776 w 206621"/>
              <a:gd name="connsiteY11" fmla="*/ 21404 h 278254"/>
              <a:gd name="connsiteX12" fmla="*/ 194885 w 206621"/>
              <a:gd name="connsiteY12" fmla="*/ 40668 h 278254"/>
              <a:gd name="connsiteX13" fmla="*/ 206622 w 206621"/>
              <a:gd name="connsiteY13" fmla="*/ 22831 h 278254"/>
              <a:gd name="connsiteX14" fmla="*/ 133776 w 206621"/>
              <a:gd name="connsiteY14" fmla="*/ 0 h 278254"/>
              <a:gd name="connsiteX15" fmla="*/ 27397 w 206621"/>
              <a:gd name="connsiteY15" fmla="*/ 107021 h 278254"/>
              <a:gd name="connsiteX16" fmla="*/ 0 w 206621"/>
              <a:gd name="connsiteY16" fmla="*/ 107021 h 278254"/>
              <a:gd name="connsiteX17" fmla="*/ 0 w 206621"/>
              <a:gd name="connsiteY17" fmla="*/ 128425 h 278254"/>
              <a:gd name="connsiteX18" fmla="*/ 25328 w 206621"/>
              <a:gd name="connsiteY18" fmla="*/ 128425 h 278254"/>
              <a:gd name="connsiteX19" fmla="*/ 25043 w 206621"/>
              <a:gd name="connsiteY19" fmla="*/ 139127 h 278254"/>
              <a:gd name="connsiteX20" fmla="*/ 25328 w 206621"/>
              <a:gd name="connsiteY20" fmla="*/ 149829 h 278254"/>
              <a:gd name="connsiteX21" fmla="*/ 0 w 206621"/>
              <a:gd name="connsiteY21" fmla="*/ 149829 h 278254"/>
              <a:gd name="connsiteX22" fmla="*/ 0 w 206621"/>
              <a:gd name="connsiteY22" fmla="*/ 171234 h 278254"/>
              <a:gd name="connsiteX23" fmla="*/ 27397 w 206621"/>
              <a:gd name="connsiteY23" fmla="*/ 171234 h 278254"/>
              <a:gd name="connsiteX24" fmla="*/ 133776 w 206621"/>
              <a:gd name="connsiteY24" fmla="*/ 278254 h 278254"/>
              <a:gd name="connsiteX25" fmla="*/ 206622 w 206621"/>
              <a:gd name="connsiteY25" fmla="*/ 255352 h 278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06621" h="278254">
                <a:moveTo>
                  <a:pt x="194885" y="237586"/>
                </a:moveTo>
                <a:cubicBezTo>
                  <a:pt x="176863" y="249897"/>
                  <a:pt x="155601" y="256600"/>
                  <a:pt x="133776" y="256850"/>
                </a:cubicBezTo>
                <a:cubicBezTo>
                  <a:pt x="81728" y="256850"/>
                  <a:pt x="56757" y="215683"/>
                  <a:pt x="49051" y="171234"/>
                </a:cubicBezTo>
                <a:lnTo>
                  <a:pt x="149829" y="171234"/>
                </a:lnTo>
                <a:lnTo>
                  <a:pt x="149829" y="149829"/>
                </a:lnTo>
                <a:lnTo>
                  <a:pt x="46590" y="149829"/>
                </a:lnTo>
                <a:cubicBezTo>
                  <a:pt x="46376" y="146262"/>
                  <a:pt x="46376" y="142695"/>
                  <a:pt x="46376" y="139127"/>
                </a:cubicBezTo>
                <a:cubicBezTo>
                  <a:pt x="46376" y="135560"/>
                  <a:pt x="46376" y="131992"/>
                  <a:pt x="46661" y="128425"/>
                </a:cubicBezTo>
                <a:lnTo>
                  <a:pt x="149829" y="128425"/>
                </a:lnTo>
                <a:lnTo>
                  <a:pt x="149829" y="107021"/>
                </a:lnTo>
                <a:lnTo>
                  <a:pt x="49051" y="107021"/>
                </a:lnTo>
                <a:cubicBezTo>
                  <a:pt x="56757" y="62572"/>
                  <a:pt x="81728" y="21404"/>
                  <a:pt x="133776" y="21404"/>
                </a:cubicBezTo>
                <a:cubicBezTo>
                  <a:pt x="155598" y="21667"/>
                  <a:pt x="176857" y="28369"/>
                  <a:pt x="194885" y="40668"/>
                </a:cubicBezTo>
                <a:lnTo>
                  <a:pt x="206622" y="22831"/>
                </a:lnTo>
                <a:cubicBezTo>
                  <a:pt x="185119" y="8212"/>
                  <a:pt x="159777" y="269"/>
                  <a:pt x="133776" y="0"/>
                </a:cubicBezTo>
                <a:cubicBezTo>
                  <a:pt x="77519" y="0"/>
                  <a:pt x="37243" y="41917"/>
                  <a:pt x="27397" y="107021"/>
                </a:cubicBezTo>
                <a:lnTo>
                  <a:pt x="0" y="107021"/>
                </a:lnTo>
                <a:lnTo>
                  <a:pt x="0" y="128425"/>
                </a:lnTo>
                <a:lnTo>
                  <a:pt x="25328" y="128425"/>
                </a:lnTo>
                <a:cubicBezTo>
                  <a:pt x="25150" y="131992"/>
                  <a:pt x="25043" y="135560"/>
                  <a:pt x="25043" y="139127"/>
                </a:cubicBezTo>
                <a:cubicBezTo>
                  <a:pt x="25043" y="142695"/>
                  <a:pt x="25043" y="146262"/>
                  <a:pt x="25328" y="149829"/>
                </a:cubicBezTo>
                <a:lnTo>
                  <a:pt x="0" y="149829"/>
                </a:lnTo>
                <a:lnTo>
                  <a:pt x="0" y="171234"/>
                </a:lnTo>
                <a:lnTo>
                  <a:pt x="27397" y="171234"/>
                </a:lnTo>
                <a:cubicBezTo>
                  <a:pt x="37243" y="236338"/>
                  <a:pt x="77340" y="278254"/>
                  <a:pt x="133776" y="278254"/>
                </a:cubicBezTo>
                <a:cubicBezTo>
                  <a:pt x="159784" y="277964"/>
                  <a:pt x="185127" y="269997"/>
                  <a:pt x="206622" y="255352"/>
                </a:cubicBezTo>
                <a:close/>
              </a:path>
            </a:pathLst>
          </a:custGeom>
          <a:solidFill>
            <a:schemeClr val="lt1"/>
          </a:solidFill>
          <a:ln w="4630" cap="flat">
            <a:solidFill>
              <a:schemeClr val="accent5"/>
            </a:solidFill>
            <a:prstDash val="solid"/>
            <a:miter/>
          </a:ln>
        </p:spPr>
        <p:txBody>
          <a:bodyPr rtlCol="0" anchor="ctr"/>
          <a:lstStyle/>
          <a:p>
            <a:endParaRPr lang="en-GB"/>
          </a:p>
        </p:txBody>
      </p:sp>
      <p:grpSp>
        <p:nvGrpSpPr>
          <p:cNvPr id="155" name="Bild 2" descr="Lastbil kontur">
            <a:extLst>
              <a:ext uri="{FF2B5EF4-FFF2-40B4-BE49-F238E27FC236}">
                <a16:creationId xmlns:a16="http://schemas.microsoft.com/office/drawing/2014/main" id="{E171C55C-A435-9747-D73F-283CCEFCB682}"/>
              </a:ext>
            </a:extLst>
          </p:cNvPr>
          <p:cNvGrpSpPr/>
          <p:nvPr/>
        </p:nvGrpSpPr>
        <p:grpSpPr>
          <a:xfrm>
            <a:off x="13253493" y="4261061"/>
            <a:ext cx="838200" cy="476345"/>
            <a:chOff x="12550105" y="4329639"/>
            <a:chExt cx="838200" cy="476345"/>
          </a:xfrm>
          <a:solidFill>
            <a:schemeClr val="lt1"/>
          </a:solidFill>
        </p:grpSpPr>
        <p:sp>
          <p:nvSpPr>
            <p:cNvPr id="156" name="Frihandsfigur: Form 155">
              <a:extLst>
                <a:ext uri="{FF2B5EF4-FFF2-40B4-BE49-F238E27FC236}">
                  <a16:creationId xmlns:a16="http://schemas.microsoft.com/office/drawing/2014/main" id="{9725CDBB-A822-789C-FEAC-D9888AB4204C}"/>
                </a:ext>
              </a:extLst>
            </p:cNvPr>
            <p:cNvSpPr/>
            <p:nvPr/>
          </p:nvSpPr>
          <p:spPr>
            <a:xfrm>
              <a:off x="12645355" y="4653584"/>
              <a:ext cx="152400" cy="152400"/>
            </a:xfrm>
            <a:custGeom>
              <a:avLst/>
              <a:gdLst>
                <a:gd name="connsiteX0" fmla="*/ 76200 w 152400"/>
                <a:gd name="connsiteY0" fmla="*/ 0 h 152400"/>
                <a:gd name="connsiteX1" fmla="*/ 0 w 152400"/>
                <a:gd name="connsiteY1" fmla="*/ 76200 h 152400"/>
                <a:gd name="connsiteX2" fmla="*/ 76200 w 152400"/>
                <a:gd name="connsiteY2" fmla="*/ 152400 h 152400"/>
                <a:gd name="connsiteX3" fmla="*/ 152400 w 152400"/>
                <a:gd name="connsiteY3" fmla="*/ 76200 h 152400"/>
                <a:gd name="connsiteX4" fmla="*/ 76200 w 152400"/>
                <a:gd name="connsiteY4" fmla="*/ 0 h 152400"/>
                <a:gd name="connsiteX5" fmla="*/ 76200 w 152400"/>
                <a:gd name="connsiteY5" fmla="*/ 133350 h 152400"/>
                <a:gd name="connsiteX6" fmla="*/ 19050 w 152400"/>
                <a:gd name="connsiteY6" fmla="*/ 76200 h 152400"/>
                <a:gd name="connsiteX7" fmla="*/ 76200 w 152400"/>
                <a:gd name="connsiteY7" fmla="*/ 19050 h 152400"/>
                <a:gd name="connsiteX8" fmla="*/ 133350 w 152400"/>
                <a:gd name="connsiteY8" fmla="*/ 76200 h 152400"/>
                <a:gd name="connsiteX9" fmla="*/ 76200 w 152400"/>
                <a:gd name="connsiteY9" fmla="*/ 133388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2400" h="152400">
                  <a:moveTo>
                    <a:pt x="76200" y="0"/>
                  </a:moveTo>
                  <a:cubicBezTo>
                    <a:pt x="34116" y="0"/>
                    <a:pt x="0" y="34116"/>
                    <a:pt x="0" y="76200"/>
                  </a:cubicBezTo>
                  <a:cubicBezTo>
                    <a:pt x="0" y="118284"/>
                    <a:pt x="34116" y="152400"/>
                    <a:pt x="76200" y="152400"/>
                  </a:cubicBezTo>
                  <a:cubicBezTo>
                    <a:pt x="118284" y="152400"/>
                    <a:pt x="152400" y="118284"/>
                    <a:pt x="152400" y="76200"/>
                  </a:cubicBezTo>
                  <a:cubicBezTo>
                    <a:pt x="152348" y="34138"/>
                    <a:pt x="118262" y="52"/>
                    <a:pt x="76200" y="0"/>
                  </a:cubicBezTo>
                  <a:close/>
                  <a:moveTo>
                    <a:pt x="76200" y="133350"/>
                  </a:moveTo>
                  <a:cubicBezTo>
                    <a:pt x="44637" y="133350"/>
                    <a:pt x="19050" y="107763"/>
                    <a:pt x="19050" y="76200"/>
                  </a:cubicBezTo>
                  <a:cubicBezTo>
                    <a:pt x="19050" y="44637"/>
                    <a:pt x="44637" y="19050"/>
                    <a:pt x="76200" y="19050"/>
                  </a:cubicBezTo>
                  <a:cubicBezTo>
                    <a:pt x="107763" y="19050"/>
                    <a:pt x="133350" y="44637"/>
                    <a:pt x="133350" y="76200"/>
                  </a:cubicBezTo>
                  <a:cubicBezTo>
                    <a:pt x="133329" y="107760"/>
                    <a:pt x="107760" y="133346"/>
                    <a:pt x="76200" y="133388"/>
                  </a:cubicBezTo>
                  <a:close/>
                </a:path>
              </a:pathLst>
            </a:custGeom>
            <a:solidFill>
              <a:schemeClr val="lt1"/>
            </a:solidFill>
            <a:ln w="12700" cap="flat">
              <a:solidFill>
                <a:schemeClr val="accent5"/>
              </a:solidFill>
              <a:prstDash val="solid"/>
              <a:miter/>
            </a:ln>
          </p:spPr>
          <p:txBody>
            <a:bodyPr rtlCol="0" anchor="ctr"/>
            <a:lstStyle/>
            <a:p>
              <a:endParaRPr lang="en-GB"/>
            </a:p>
          </p:txBody>
        </p:sp>
        <p:sp>
          <p:nvSpPr>
            <p:cNvPr id="157" name="Frihandsfigur: Form 156">
              <a:extLst>
                <a:ext uri="{FF2B5EF4-FFF2-40B4-BE49-F238E27FC236}">
                  <a16:creationId xmlns:a16="http://schemas.microsoft.com/office/drawing/2014/main" id="{CE87BD0E-B866-5032-6AFB-4860BACB3209}"/>
                </a:ext>
              </a:extLst>
            </p:cNvPr>
            <p:cNvSpPr/>
            <p:nvPr/>
          </p:nvSpPr>
          <p:spPr>
            <a:xfrm>
              <a:off x="12550105" y="4329639"/>
              <a:ext cx="838200" cy="400164"/>
            </a:xfrm>
            <a:custGeom>
              <a:avLst/>
              <a:gdLst>
                <a:gd name="connsiteX0" fmla="*/ 822960 w 838200"/>
                <a:gd name="connsiteY0" fmla="*/ 236287 h 400164"/>
                <a:gd name="connsiteX1" fmla="*/ 772478 w 838200"/>
                <a:gd name="connsiteY1" fmla="*/ 198187 h 400164"/>
                <a:gd name="connsiteX2" fmla="*/ 759143 w 838200"/>
                <a:gd name="connsiteY2" fmla="*/ 178184 h 400164"/>
                <a:gd name="connsiteX3" fmla="*/ 740093 w 838200"/>
                <a:gd name="connsiteY3" fmla="*/ 112462 h 400164"/>
                <a:gd name="connsiteX4" fmla="*/ 666750 w 838200"/>
                <a:gd name="connsiteY4" fmla="*/ 57150 h 400164"/>
                <a:gd name="connsiteX5" fmla="*/ 571500 w 838200"/>
                <a:gd name="connsiteY5" fmla="*/ 57150 h 400164"/>
                <a:gd name="connsiteX6" fmla="*/ 571500 w 838200"/>
                <a:gd name="connsiteY6" fmla="*/ 0 h 400164"/>
                <a:gd name="connsiteX7" fmla="*/ 0 w 838200"/>
                <a:gd name="connsiteY7" fmla="*/ 0 h 400164"/>
                <a:gd name="connsiteX8" fmla="*/ 0 w 838200"/>
                <a:gd name="connsiteY8" fmla="*/ 400164 h 400164"/>
                <a:gd name="connsiteX9" fmla="*/ 76200 w 838200"/>
                <a:gd name="connsiteY9" fmla="*/ 400164 h 400164"/>
                <a:gd name="connsiteX10" fmla="*/ 78105 w 838200"/>
                <a:gd name="connsiteY10" fmla="*/ 381114 h 400164"/>
                <a:gd name="connsiteX11" fmla="*/ 19050 w 838200"/>
                <a:gd name="connsiteY11" fmla="*/ 381114 h 400164"/>
                <a:gd name="connsiteX12" fmla="*/ 19050 w 838200"/>
                <a:gd name="connsiteY12" fmla="*/ 256670 h 400164"/>
                <a:gd name="connsiteX13" fmla="*/ 552450 w 838200"/>
                <a:gd name="connsiteY13" fmla="*/ 256670 h 400164"/>
                <a:gd name="connsiteX14" fmla="*/ 552450 w 838200"/>
                <a:gd name="connsiteY14" fmla="*/ 381114 h 400164"/>
                <a:gd name="connsiteX15" fmla="*/ 264795 w 838200"/>
                <a:gd name="connsiteY15" fmla="*/ 381114 h 400164"/>
                <a:gd name="connsiteX16" fmla="*/ 266700 w 838200"/>
                <a:gd name="connsiteY16" fmla="*/ 400164 h 400164"/>
                <a:gd name="connsiteX17" fmla="*/ 581025 w 838200"/>
                <a:gd name="connsiteY17" fmla="*/ 400164 h 400164"/>
                <a:gd name="connsiteX18" fmla="*/ 582930 w 838200"/>
                <a:gd name="connsiteY18" fmla="*/ 381114 h 400164"/>
                <a:gd name="connsiteX19" fmla="*/ 571500 w 838200"/>
                <a:gd name="connsiteY19" fmla="*/ 381114 h 400164"/>
                <a:gd name="connsiteX20" fmla="*/ 571500 w 838200"/>
                <a:gd name="connsiteY20" fmla="*/ 76200 h 400164"/>
                <a:gd name="connsiteX21" fmla="*/ 609600 w 838200"/>
                <a:gd name="connsiteY21" fmla="*/ 76200 h 400164"/>
                <a:gd name="connsiteX22" fmla="*/ 609600 w 838200"/>
                <a:gd name="connsiteY22" fmla="*/ 209045 h 400164"/>
                <a:gd name="connsiteX23" fmla="*/ 756095 w 838200"/>
                <a:gd name="connsiteY23" fmla="*/ 209045 h 400164"/>
                <a:gd name="connsiteX24" fmla="*/ 761209 w 838200"/>
                <a:gd name="connsiteY24" fmla="*/ 213512 h 400164"/>
                <a:gd name="connsiteX25" fmla="*/ 811282 w 838200"/>
                <a:gd name="connsiteY25" fmla="*/ 251317 h 400164"/>
                <a:gd name="connsiteX26" fmla="*/ 819150 w 838200"/>
                <a:gd name="connsiteY26" fmla="*/ 266776 h 400164"/>
                <a:gd name="connsiteX27" fmla="*/ 819150 w 838200"/>
                <a:gd name="connsiteY27" fmla="*/ 362026 h 400164"/>
                <a:gd name="connsiteX28" fmla="*/ 800100 w 838200"/>
                <a:gd name="connsiteY28" fmla="*/ 381076 h 400164"/>
                <a:gd name="connsiteX29" fmla="*/ 769620 w 838200"/>
                <a:gd name="connsiteY29" fmla="*/ 381076 h 400164"/>
                <a:gd name="connsiteX30" fmla="*/ 771525 w 838200"/>
                <a:gd name="connsiteY30" fmla="*/ 400126 h 400164"/>
                <a:gd name="connsiteX31" fmla="*/ 800100 w 838200"/>
                <a:gd name="connsiteY31" fmla="*/ 400126 h 400164"/>
                <a:gd name="connsiteX32" fmla="*/ 838200 w 838200"/>
                <a:gd name="connsiteY32" fmla="*/ 362026 h 400164"/>
                <a:gd name="connsiteX33" fmla="*/ 838200 w 838200"/>
                <a:gd name="connsiteY33" fmla="*/ 266776 h 400164"/>
                <a:gd name="connsiteX34" fmla="*/ 822960 w 838200"/>
                <a:gd name="connsiteY34" fmla="*/ 236287 h 400164"/>
                <a:gd name="connsiteX35" fmla="*/ 552450 w 838200"/>
                <a:gd name="connsiteY35" fmla="*/ 237620 h 400164"/>
                <a:gd name="connsiteX36" fmla="*/ 19050 w 838200"/>
                <a:gd name="connsiteY36" fmla="*/ 237620 h 400164"/>
                <a:gd name="connsiteX37" fmla="*/ 19050 w 838200"/>
                <a:gd name="connsiteY37" fmla="*/ 19050 h 400164"/>
                <a:gd name="connsiteX38" fmla="*/ 552450 w 838200"/>
                <a:gd name="connsiteY38" fmla="*/ 19050 h 400164"/>
                <a:gd name="connsiteX39" fmla="*/ 628650 w 838200"/>
                <a:gd name="connsiteY39" fmla="*/ 76200 h 400164"/>
                <a:gd name="connsiteX40" fmla="*/ 666750 w 838200"/>
                <a:gd name="connsiteY40" fmla="*/ 76200 h 400164"/>
                <a:gd name="connsiteX41" fmla="*/ 721805 w 838200"/>
                <a:gd name="connsiteY41" fmla="*/ 117710 h 400164"/>
                <a:gd name="connsiteX42" fmla="*/ 740769 w 838200"/>
                <a:gd name="connsiteY42" fmla="*/ 183147 h 400164"/>
                <a:gd name="connsiteX43" fmla="*/ 743169 w 838200"/>
                <a:gd name="connsiteY43" fmla="*/ 189976 h 400164"/>
                <a:gd name="connsiteX44" fmla="*/ 628650 w 838200"/>
                <a:gd name="connsiteY44" fmla="*/ 189976 h 400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838200" h="400164">
                  <a:moveTo>
                    <a:pt x="822960" y="236287"/>
                  </a:moveTo>
                  <a:lnTo>
                    <a:pt x="772478" y="198187"/>
                  </a:lnTo>
                  <a:cubicBezTo>
                    <a:pt x="765858" y="193258"/>
                    <a:pt x="761146" y="186191"/>
                    <a:pt x="759143" y="178184"/>
                  </a:cubicBezTo>
                  <a:lnTo>
                    <a:pt x="740093" y="112462"/>
                  </a:lnTo>
                  <a:cubicBezTo>
                    <a:pt x="730395" y="79953"/>
                    <a:pt x="700672" y="57537"/>
                    <a:pt x="666750" y="57150"/>
                  </a:cubicBezTo>
                  <a:lnTo>
                    <a:pt x="571500" y="57150"/>
                  </a:lnTo>
                  <a:lnTo>
                    <a:pt x="571500" y="0"/>
                  </a:lnTo>
                  <a:lnTo>
                    <a:pt x="0" y="0"/>
                  </a:lnTo>
                  <a:lnTo>
                    <a:pt x="0" y="400164"/>
                  </a:lnTo>
                  <a:lnTo>
                    <a:pt x="76200" y="400164"/>
                  </a:lnTo>
                  <a:cubicBezTo>
                    <a:pt x="76197" y="393766"/>
                    <a:pt x="76835" y="387385"/>
                    <a:pt x="78105" y="381114"/>
                  </a:cubicBezTo>
                  <a:lnTo>
                    <a:pt x="19050" y="381114"/>
                  </a:lnTo>
                  <a:lnTo>
                    <a:pt x="19050" y="256670"/>
                  </a:lnTo>
                  <a:lnTo>
                    <a:pt x="552450" y="256670"/>
                  </a:lnTo>
                  <a:lnTo>
                    <a:pt x="552450" y="381114"/>
                  </a:lnTo>
                  <a:lnTo>
                    <a:pt x="264795" y="381114"/>
                  </a:lnTo>
                  <a:cubicBezTo>
                    <a:pt x="266069" y="387384"/>
                    <a:pt x="266708" y="393766"/>
                    <a:pt x="266700" y="400164"/>
                  </a:cubicBezTo>
                  <a:lnTo>
                    <a:pt x="581025" y="400164"/>
                  </a:lnTo>
                  <a:cubicBezTo>
                    <a:pt x="581022" y="393766"/>
                    <a:pt x="581660" y="387385"/>
                    <a:pt x="582930" y="381114"/>
                  </a:cubicBezTo>
                  <a:lnTo>
                    <a:pt x="571500" y="381114"/>
                  </a:lnTo>
                  <a:lnTo>
                    <a:pt x="571500" y="76200"/>
                  </a:lnTo>
                  <a:lnTo>
                    <a:pt x="609600" y="76200"/>
                  </a:lnTo>
                  <a:lnTo>
                    <a:pt x="609600" y="209045"/>
                  </a:lnTo>
                  <a:lnTo>
                    <a:pt x="756095" y="209045"/>
                  </a:lnTo>
                  <a:cubicBezTo>
                    <a:pt x="757699" y="210645"/>
                    <a:pt x="759408" y="212138"/>
                    <a:pt x="761209" y="213512"/>
                  </a:cubicBezTo>
                  <a:lnTo>
                    <a:pt x="811282" y="251317"/>
                  </a:lnTo>
                  <a:cubicBezTo>
                    <a:pt x="816190" y="254947"/>
                    <a:pt x="819103" y="260673"/>
                    <a:pt x="819150" y="266776"/>
                  </a:cubicBezTo>
                  <a:lnTo>
                    <a:pt x="819150" y="362026"/>
                  </a:lnTo>
                  <a:cubicBezTo>
                    <a:pt x="819150" y="372548"/>
                    <a:pt x="810621" y="381076"/>
                    <a:pt x="800100" y="381076"/>
                  </a:cubicBezTo>
                  <a:lnTo>
                    <a:pt x="769620" y="381076"/>
                  </a:lnTo>
                  <a:cubicBezTo>
                    <a:pt x="770894" y="387346"/>
                    <a:pt x="771533" y="393728"/>
                    <a:pt x="771525" y="400126"/>
                  </a:cubicBezTo>
                  <a:lnTo>
                    <a:pt x="800100" y="400126"/>
                  </a:lnTo>
                  <a:cubicBezTo>
                    <a:pt x="821114" y="400059"/>
                    <a:pt x="838132" y="383040"/>
                    <a:pt x="838200" y="362026"/>
                  </a:cubicBezTo>
                  <a:lnTo>
                    <a:pt x="838200" y="266776"/>
                  </a:lnTo>
                  <a:cubicBezTo>
                    <a:pt x="838161" y="254791"/>
                    <a:pt x="832524" y="243511"/>
                    <a:pt x="822960" y="236287"/>
                  </a:cubicBezTo>
                  <a:close/>
                  <a:moveTo>
                    <a:pt x="552450" y="237620"/>
                  </a:moveTo>
                  <a:lnTo>
                    <a:pt x="19050" y="237620"/>
                  </a:lnTo>
                  <a:lnTo>
                    <a:pt x="19050" y="19050"/>
                  </a:lnTo>
                  <a:lnTo>
                    <a:pt x="552450" y="19050"/>
                  </a:lnTo>
                  <a:close/>
                  <a:moveTo>
                    <a:pt x="628650" y="76200"/>
                  </a:moveTo>
                  <a:lnTo>
                    <a:pt x="666750" y="76200"/>
                  </a:lnTo>
                  <a:cubicBezTo>
                    <a:pt x="692156" y="76649"/>
                    <a:pt x="714384" y="93407"/>
                    <a:pt x="721805" y="117710"/>
                  </a:cubicBezTo>
                  <a:lnTo>
                    <a:pt x="740769" y="183147"/>
                  </a:lnTo>
                  <a:cubicBezTo>
                    <a:pt x="741416" y="185474"/>
                    <a:pt x="742218" y="187756"/>
                    <a:pt x="743169" y="189976"/>
                  </a:cubicBezTo>
                  <a:lnTo>
                    <a:pt x="628650" y="189976"/>
                  </a:lnTo>
                  <a:close/>
                </a:path>
              </a:pathLst>
            </a:custGeom>
            <a:solidFill>
              <a:schemeClr val="lt1"/>
            </a:solidFill>
            <a:ln w="12700" cap="flat">
              <a:solidFill>
                <a:schemeClr val="accent5"/>
              </a:solidFill>
              <a:prstDash val="solid"/>
              <a:miter/>
            </a:ln>
          </p:spPr>
          <p:txBody>
            <a:bodyPr rtlCol="0" anchor="ctr"/>
            <a:lstStyle/>
            <a:p>
              <a:endParaRPr lang="en-GB"/>
            </a:p>
          </p:txBody>
        </p:sp>
        <p:sp>
          <p:nvSpPr>
            <p:cNvPr id="158" name="Frihandsfigur: Form 157">
              <a:extLst>
                <a:ext uri="{FF2B5EF4-FFF2-40B4-BE49-F238E27FC236}">
                  <a16:creationId xmlns:a16="http://schemas.microsoft.com/office/drawing/2014/main" id="{4C2E8776-EDB0-14FC-2861-F68861841265}"/>
                </a:ext>
              </a:extLst>
            </p:cNvPr>
            <p:cNvSpPr/>
            <p:nvPr/>
          </p:nvSpPr>
          <p:spPr>
            <a:xfrm>
              <a:off x="13150180" y="4653584"/>
              <a:ext cx="152400" cy="152400"/>
            </a:xfrm>
            <a:custGeom>
              <a:avLst/>
              <a:gdLst>
                <a:gd name="connsiteX0" fmla="*/ 76200 w 152400"/>
                <a:gd name="connsiteY0" fmla="*/ 0 h 152400"/>
                <a:gd name="connsiteX1" fmla="*/ 0 w 152400"/>
                <a:gd name="connsiteY1" fmla="*/ 76200 h 152400"/>
                <a:gd name="connsiteX2" fmla="*/ 76200 w 152400"/>
                <a:gd name="connsiteY2" fmla="*/ 152400 h 152400"/>
                <a:gd name="connsiteX3" fmla="*/ 152400 w 152400"/>
                <a:gd name="connsiteY3" fmla="*/ 76200 h 152400"/>
                <a:gd name="connsiteX4" fmla="*/ 76200 w 152400"/>
                <a:gd name="connsiteY4" fmla="*/ 0 h 152400"/>
                <a:gd name="connsiteX5" fmla="*/ 76200 w 152400"/>
                <a:gd name="connsiteY5" fmla="*/ 133350 h 152400"/>
                <a:gd name="connsiteX6" fmla="*/ 19050 w 152400"/>
                <a:gd name="connsiteY6" fmla="*/ 76200 h 152400"/>
                <a:gd name="connsiteX7" fmla="*/ 76200 w 152400"/>
                <a:gd name="connsiteY7" fmla="*/ 19050 h 152400"/>
                <a:gd name="connsiteX8" fmla="*/ 133350 w 152400"/>
                <a:gd name="connsiteY8" fmla="*/ 76200 h 152400"/>
                <a:gd name="connsiteX9" fmla="*/ 76200 w 152400"/>
                <a:gd name="connsiteY9" fmla="*/ 133388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2400" h="152400">
                  <a:moveTo>
                    <a:pt x="76200" y="0"/>
                  </a:moveTo>
                  <a:cubicBezTo>
                    <a:pt x="34116" y="0"/>
                    <a:pt x="0" y="34116"/>
                    <a:pt x="0" y="76200"/>
                  </a:cubicBezTo>
                  <a:cubicBezTo>
                    <a:pt x="0" y="118284"/>
                    <a:pt x="34116" y="152400"/>
                    <a:pt x="76200" y="152400"/>
                  </a:cubicBezTo>
                  <a:cubicBezTo>
                    <a:pt x="118284" y="152400"/>
                    <a:pt x="152400" y="118284"/>
                    <a:pt x="152400" y="76200"/>
                  </a:cubicBezTo>
                  <a:cubicBezTo>
                    <a:pt x="152348" y="34138"/>
                    <a:pt x="118262" y="52"/>
                    <a:pt x="76200" y="0"/>
                  </a:cubicBezTo>
                  <a:close/>
                  <a:moveTo>
                    <a:pt x="76200" y="133350"/>
                  </a:moveTo>
                  <a:cubicBezTo>
                    <a:pt x="44637" y="133350"/>
                    <a:pt x="19050" y="107763"/>
                    <a:pt x="19050" y="76200"/>
                  </a:cubicBezTo>
                  <a:cubicBezTo>
                    <a:pt x="19050" y="44637"/>
                    <a:pt x="44637" y="19050"/>
                    <a:pt x="76200" y="19050"/>
                  </a:cubicBezTo>
                  <a:cubicBezTo>
                    <a:pt x="107763" y="19050"/>
                    <a:pt x="133350" y="44637"/>
                    <a:pt x="133350" y="76200"/>
                  </a:cubicBezTo>
                  <a:cubicBezTo>
                    <a:pt x="133329" y="107760"/>
                    <a:pt x="107760" y="133346"/>
                    <a:pt x="76200" y="133388"/>
                  </a:cubicBezTo>
                  <a:close/>
                </a:path>
              </a:pathLst>
            </a:custGeom>
            <a:solidFill>
              <a:schemeClr val="lt1"/>
            </a:solidFill>
            <a:ln w="12700" cap="flat">
              <a:solidFill>
                <a:schemeClr val="accent5"/>
              </a:solidFill>
              <a:prstDash val="solid"/>
              <a:miter/>
            </a:ln>
          </p:spPr>
          <p:txBody>
            <a:bodyPr rtlCol="0" anchor="ctr"/>
            <a:lstStyle/>
            <a:p>
              <a:endParaRPr lang="en-GB"/>
            </a:p>
          </p:txBody>
        </p:sp>
      </p:grpSp>
      <p:sp>
        <p:nvSpPr>
          <p:cNvPr id="5" name="Bild 12" descr="Present kontur">
            <a:extLst>
              <a:ext uri="{FF2B5EF4-FFF2-40B4-BE49-F238E27FC236}">
                <a16:creationId xmlns:a16="http://schemas.microsoft.com/office/drawing/2014/main" id="{5C2503EA-64D6-0655-7807-8CEB19A9FAC5}"/>
              </a:ext>
            </a:extLst>
          </p:cNvPr>
          <p:cNvSpPr/>
          <p:nvPr/>
        </p:nvSpPr>
        <p:spPr>
          <a:xfrm>
            <a:off x="10092760" y="2363050"/>
            <a:ext cx="513463" cy="566320"/>
          </a:xfrm>
          <a:custGeom>
            <a:avLst/>
            <a:gdLst>
              <a:gd name="connsiteX0" fmla="*/ 390164 w 513463"/>
              <a:gd name="connsiteY0" fmla="*/ 128367 h 566320"/>
              <a:gd name="connsiteX1" fmla="*/ 400735 w 513463"/>
              <a:gd name="connsiteY1" fmla="*/ 71478 h 566320"/>
              <a:gd name="connsiteX2" fmla="*/ 399723 w 513463"/>
              <a:gd name="connsiteY2" fmla="*/ 69213 h 566320"/>
              <a:gd name="connsiteX3" fmla="*/ 331672 w 513463"/>
              <a:gd name="connsiteY3" fmla="*/ 42649 h 566320"/>
              <a:gd name="connsiteX4" fmla="*/ 315221 w 513463"/>
              <a:gd name="connsiteY4" fmla="*/ 54111 h 566320"/>
              <a:gd name="connsiteX5" fmla="*/ 308531 w 513463"/>
              <a:gd name="connsiteY5" fmla="*/ 61058 h 566320"/>
              <a:gd name="connsiteX6" fmla="*/ 267406 w 513463"/>
              <a:gd name="connsiteY6" fmla="*/ 888 h 566320"/>
              <a:gd name="connsiteX7" fmla="*/ 258068 w 513463"/>
              <a:gd name="connsiteY7" fmla="*/ 1 h 566320"/>
              <a:gd name="connsiteX8" fmla="*/ 255546 w 513463"/>
              <a:gd name="connsiteY8" fmla="*/ 1 h 566320"/>
              <a:gd name="connsiteX9" fmla="*/ 203678 w 513463"/>
              <a:gd name="connsiteY9" fmla="*/ 51247 h 566320"/>
              <a:gd name="connsiteX10" fmla="*/ 205967 w 513463"/>
              <a:gd name="connsiteY10" fmla="*/ 66751 h 566320"/>
              <a:gd name="connsiteX11" fmla="*/ 193779 w 513463"/>
              <a:gd name="connsiteY11" fmla="*/ 54096 h 566320"/>
              <a:gd name="connsiteX12" fmla="*/ 120739 w 513463"/>
              <a:gd name="connsiteY12" fmla="*/ 52746 h 566320"/>
              <a:gd name="connsiteX13" fmla="*/ 109277 w 513463"/>
              <a:gd name="connsiteY13" fmla="*/ 69198 h 566320"/>
              <a:gd name="connsiteX14" fmla="*/ 108265 w 513463"/>
              <a:gd name="connsiteY14" fmla="*/ 71463 h 566320"/>
              <a:gd name="connsiteX15" fmla="*/ 118746 w 513463"/>
              <a:gd name="connsiteY15" fmla="*/ 128367 h 566320"/>
              <a:gd name="connsiteX16" fmla="*/ 0 w 513463"/>
              <a:gd name="connsiteY16" fmla="*/ 128367 h 566320"/>
              <a:gd name="connsiteX17" fmla="*/ 0 w 513463"/>
              <a:gd name="connsiteY17" fmla="*/ 566321 h 566320"/>
              <a:gd name="connsiteX18" fmla="*/ 513463 w 513463"/>
              <a:gd name="connsiteY18" fmla="*/ 566321 h 566320"/>
              <a:gd name="connsiteX19" fmla="*/ 513463 w 513463"/>
              <a:gd name="connsiteY19" fmla="*/ 128367 h 566320"/>
              <a:gd name="connsiteX20" fmla="*/ 498361 w 513463"/>
              <a:gd name="connsiteY20" fmla="*/ 286936 h 566320"/>
              <a:gd name="connsiteX21" fmla="*/ 286935 w 513463"/>
              <a:gd name="connsiteY21" fmla="*/ 286936 h 566320"/>
              <a:gd name="connsiteX22" fmla="*/ 286935 w 513463"/>
              <a:gd name="connsiteY22" fmla="*/ 143469 h 566320"/>
              <a:gd name="connsiteX23" fmla="*/ 498361 w 513463"/>
              <a:gd name="connsiteY23" fmla="*/ 143469 h 566320"/>
              <a:gd name="connsiteX24" fmla="*/ 226528 w 513463"/>
              <a:gd name="connsiteY24" fmla="*/ 332242 h 566320"/>
              <a:gd name="connsiteX25" fmla="*/ 15102 w 513463"/>
              <a:gd name="connsiteY25" fmla="*/ 332242 h 566320"/>
              <a:gd name="connsiteX26" fmla="*/ 15102 w 513463"/>
              <a:gd name="connsiteY26" fmla="*/ 302038 h 566320"/>
              <a:gd name="connsiteX27" fmla="*/ 226528 w 513463"/>
              <a:gd name="connsiteY27" fmla="*/ 302038 h 566320"/>
              <a:gd name="connsiteX28" fmla="*/ 241630 w 513463"/>
              <a:gd name="connsiteY28" fmla="*/ 143469 h 566320"/>
              <a:gd name="connsiteX29" fmla="*/ 271833 w 513463"/>
              <a:gd name="connsiteY29" fmla="*/ 143469 h 566320"/>
              <a:gd name="connsiteX30" fmla="*/ 271833 w 513463"/>
              <a:gd name="connsiteY30" fmla="*/ 551219 h 566320"/>
              <a:gd name="connsiteX31" fmla="*/ 241630 w 513463"/>
              <a:gd name="connsiteY31" fmla="*/ 551219 h 566320"/>
              <a:gd name="connsiteX32" fmla="*/ 286935 w 513463"/>
              <a:gd name="connsiteY32" fmla="*/ 302038 h 566320"/>
              <a:gd name="connsiteX33" fmla="*/ 498361 w 513463"/>
              <a:gd name="connsiteY33" fmla="*/ 302038 h 566320"/>
              <a:gd name="connsiteX34" fmla="*/ 498361 w 513463"/>
              <a:gd name="connsiteY34" fmla="*/ 332242 h 566320"/>
              <a:gd name="connsiteX35" fmla="*/ 286935 w 513463"/>
              <a:gd name="connsiteY35" fmla="*/ 332242 h 566320"/>
              <a:gd name="connsiteX36" fmla="*/ 326094 w 513463"/>
              <a:gd name="connsiteY36" fmla="*/ 64576 h 566320"/>
              <a:gd name="connsiteX37" fmla="*/ 352190 w 513463"/>
              <a:gd name="connsiteY37" fmla="*/ 53356 h 566320"/>
              <a:gd name="connsiteX38" fmla="*/ 358843 w 513463"/>
              <a:gd name="connsiteY38" fmla="*/ 53952 h 566320"/>
              <a:gd name="connsiteX39" fmla="*/ 385890 w 513463"/>
              <a:gd name="connsiteY39" fmla="*/ 75246 h 566320"/>
              <a:gd name="connsiteX40" fmla="*/ 386902 w 513463"/>
              <a:gd name="connsiteY40" fmla="*/ 77511 h 566320"/>
              <a:gd name="connsiteX41" fmla="*/ 368096 w 513463"/>
              <a:gd name="connsiteY41" fmla="*/ 125676 h 566320"/>
              <a:gd name="connsiteX42" fmla="*/ 358964 w 513463"/>
              <a:gd name="connsiteY42" fmla="*/ 128329 h 566320"/>
              <a:gd name="connsiteX43" fmla="*/ 264970 w 513463"/>
              <a:gd name="connsiteY43" fmla="*/ 127974 h 566320"/>
              <a:gd name="connsiteX44" fmla="*/ 221416 w 513463"/>
              <a:gd name="connsiteY44" fmla="*/ 65400 h 566320"/>
              <a:gd name="connsiteX45" fmla="*/ 241527 w 513463"/>
              <a:gd name="connsiteY45" fmla="*/ 17788 h 566320"/>
              <a:gd name="connsiteX46" fmla="*/ 255267 w 513463"/>
              <a:gd name="connsiteY46" fmla="*/ 15103 h 566320"/>
              <a:gd name="connsiteX47" fmla="*/ 255463 w 513463"/>
              <a:gd name="connsiteY47" fmla="*/ 15103 h 566320"/>
              <a:gd name="connsiteX48" fmla="*/ 257993 w 513463"/>
              <a:gd name="connsiteY48" fmla="*/ 15103 h 566320"/>
              <a:gd name="connsiteX49" fmla="*/ 294351 w 513463"/>
              <a:gd name="connsiteY49" fmla="*/ 51836 h 566320"/>
              <a:gd name="connsiteX50" fmla="*/ 291526 w 513463"/>
              <a:gd name="connsiteY50" fmla="*/ 65739 h 566320"/>
              <a:gd name="connsiteX51" fmla="*/ 281982 w 513463"/>
              <a:gd name="connsiteY51" fmla="*/ 88581 h 566320"/>
              <a:gd name="connsiteX52" fmla="*/ 254466 w 513463"/>
              <a:gd name="connsiteY52" fmla="*/ 117131 h 566320"/>
              <a:gd name="connsiteX53" fmla="*/ 233611 w 513463"/>
              <a:gd name="connsiteY53" fmla="*/ 95445 h 566320"/>
              <a:gd name="connsiteX54" fmla="*/ 124764 w 513463"/>
              <a:gd name="connsiteY54" fmla="*/ 111868 h 566320"/>
              <a:gd name="connsiteX55" fmla="*/ 122114 w 513463"/>
              <a:gd name="connsiteY55" fmla="*/ 77549 h 566320"/>
              <a:gd name="connsiteX56" fmla="*/ 123125 w 513463"/>
              <a:gd name="connsiteY56" fmla="*/ 75284 h 566320"/>
              <a:gd name="connsiteX57" fmla="*/ 150173 w 513463"/>
              <a:gd name="connsiteY57" fmla="*/ 53990 h 566320"/>
              <a:gd name="connsiteX58" fmla="*/ 156825 w 513463"/>
              <a:gd name="connsiteY58" fmla="*/ 53394 h 566320"/>
              <a:gd name="connsiteX59" fmla="*/ 182929 w 513463"/>
              <a:gd name="connsiteY59" fmla="*/ 64614 h 566320"/>
              <a:gd name="connsiteX60" fmla="*/ 244038 w 513463"/>
              <a:gd name="connsiteY60" fmla="*/ 128042 h 566320"/>
              <a:gd name="connsiteX61" fmla="*/ 150014 w 513463"/>
              <a:gd name="connsiteY61" fmla="*/ 128367 h 566320"/>
              <a:gd name="connsiteX62" fmla="*/ 124741 w 513463"/>
              <a:gd name="connsiteY62" fmla="*/ 111868 h 566320"/>
              <a:gd name="connsiteX63" fmla="*/ 226528 w 513463"/>
              <a:gd name="connsiteY63" fmla="*/ 143469 h 566320"/>
              <a:gd name="connsiteX64" fmla="*/ 226528 w 513463"/>
              <a:gd name="connsiteY64" fmla="*/ 286936 h 566320"/>
              <a:gd name="connsiteX65" fmla="*/ 15102 w 513463"/>
              <a:gd name="connsiteY65" fmla="*/ 286936 h 566320"/>
              <a:gd name="connsiteX66" fmla="*/ 15102 w 513463"/>
              <a:gd name="connsiteY66" fmla="*/ 143469 h 566320"/>
              <a:gd name="connsiteX67" fmla="*/ 15102 w 513463"/>
              <a:gd name="connsiteY67" fmla="*/ 347344 h 566320"/>
              <a:gd name="connsiteX68" fmla="*/ 226528 w 513463"/>
              <a:gd name="connsiteY68" fmla="*/ 347344 h 566320"/>
              <a:gd name="connsiteX69" fmla="*/ 226528 w 513463"/>
              <a:gd name="connsiteY69" fmla="*/ 551219 h 566320"/>
              <a:gd name="connsiteX70" fmla="*/ 15102 w 513463"/>
              <a:gd name="connsiteY70" fmla="*/ 551219 h 566320"/>
              <a:gd name="connsiteX71" fmla="*/ 286935 w 513463"/>
              <a:gd name="connsiteY71" fmla="*/ 551219 h 566320"/>
              <a:gd name="connsiteX72" fmla="*/ 286935 w 513463"/>
              <a:gd name="connsiteY72" fmla="*/ 347344 h 566320"/>
              <a:gd name="connsiteX73" fmla="*/ 498361 w 513463"/>
              <a:gd name="connsiteY73" fmla="*/ 347344 h 566320"/>
              <a:gd name="connsiteX74" fmla="*/ 498361 w 513463"/>
              <a:gd name="connsiteY74" fmla="*/ 551219 h 566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513463" h="566320">
                <a:moveTo>
                  <a:pt x="390164" y="128367"/>
                </a:moveTo>
                <a:cubicBezTo>
                  <a:pt x="405211" y="113466"/>
                  <a:pt x="409426" y="90790"/>
                  <a:pt x="400735" y="71478"/>
                </a:cubicBezTo>
                <a:lnTo>
                  <a:pt x="399723" y="69213"/>
                </a:lnTo>
                <a:cubicBezTo>
                  <a:pt x="388267" y="43085"/>
                  <a:pt x="357799" y="31192"/>
                  <a:pt x="331672" y="42649"/>
                </a:cubicBezTo>
                <a:cubicBezTo>
                  <a:pt x="325493" y="45358"/>
                  <a:pt x="319903" y="49253"/>
                  <a:pt x="315221" y="54111"/>
                </a:cubicBezTo>
                <a:lnTo>
                  <a:pt x="308531" y="61058"/>
                </a:lnTo>
                <a:cubicBezTo>
                  <a:pt x="313790" y="33086"/>
                  <a:pt x="295377" y="6147"/>
                  <a:pt x="267406" y="888"/>
                </a:cubicBezTo>
                <a:cubicBezTo>
                  <a:pt x="264326" y="309"/>
                  <a:pt x="261201" y="12"/>
                  <a:pt x="258068" y="1"/>
                </a:cubicBezTo>
                <a:lnTo>
                  <a:pt x="255546" y="1"/>
                </a:lnTo>
                <a:cubicBezTo>
                  <a:pt x="227072" y="-171"/>
                  <a:pt x="203850" y="22772"/>
                  <a:pt x="203678" y="51247"/>
                </a:cubicBezTo>
                <a:cubicBezTo>
                  <a:pt x="203646" y="56502"/>
                  <a:pt x="204418" y="61730"/>
                  <a:pt x="205967" y="66751"/>
                </a:cubicBezTo>
                <a:lnTo>
                  <a:pt x="193779" y="54096"/>
                </a:lnTo>
                <a:cubicBezTo>
                  <a:pt x="173982" y="33554"/>
                  <a:pt x="141282" y="32949"/>
                  <a:pt x="120739" y="52746"/>
                </a:cubicBezTo>
                <a:cubicBezTo>
                  <a:pt x="115881" y="57429"/>
                  <a:pt x="111987" y="63018"/>
                  <a:pt x="109277" y="69198"/>
                </a:cubicBezTo>
                <a:lnTo>
                  <a:pt x="108265" y="71463"/>
                </a:lnTo>
                <a:cubicBezTo>
                  <a:pt x="99673" y="90775"/>
                  <a:pt x="103837" y="113383"/>
                  <a:pt x="118746" y="128367"/>
                </a:cubicBezTo>
                <a:lnTo>
                  <a:pt x="0" y="128367"/>
                </a:lnTo>
                <a:lnTo>
                  <a:pt x="0" y="566321"/>
                </a:lnTo>
                <a:lnTo>
                  <a:pt x="513463" y="566321"/>
                </a:lnTo>
                <a:lnTo>
                  <a:pt x="513463" y="128367"/>
                </a:lnTo>
                <a:close/>
                <a:moveTo>
                  <a:pt x="498361" y="286936"/>
                </a:moveTo>
                <a:lnTo>
                  <a:pt x="286935" y="286936"/>
                </a:lnTo>
                <a:lnTo>
                  <a:pt x="286935" y="143469"/>
                </a:lnTo>
                <a:lnTo>
                  <a:pt x="498361" y="143469"/>
                </a:lnTo>
                <a:close/>
                <a:moveTo>
                  <a:pt x="226528" y="332242"/>
                </a:moveTo>
                <a:lnTo>
                  <a:pt x="15102" y="332242"/>
                </a:lnTo>
                <a:lnTo>
                  <a:pt x="15102" y="302038"/>
                </a:lnTo>
                <a:lnTo>
                  <a:pt x="226528" y="302038"/>
                </a:lnTo>
                <a:close/>
                <a:moveTo>
                  <a:pt x="241630" y="143469"/>
                </a:moveTo>
                <a:lnTo>
                  <a:pt x="271833" y="143469"/>
                </a:lnTo>
                <a:lnTo>
                  <a:pt x="271833" y="551219"/>
                </a:lnTo>
                <a:lnTo>
                  <a:pt x="241630" y="551219"/>
                </a:lnTo>
                <a:close/>
                <a:moveTo>
                  <a:pt x="286935" y="302038"/>
                </a:moveTo>
                <a:lnTo>
                  <a:pt x="498361" y="302038"/>
                </a:lnTo>
                <a:lnTo>
                  <a:pt x="498361" y="332242"/>
                </a:lnTo>
                <a:lnTo>
                  <a:pt x="286935" y="332242"/>
                </a:lnTo>
                <a:close/>
                <a:moveTo>
                  <a:pt x="326094" y="64576"/>
                </a:moveTo>
                <a:cubicBezTo>
                  <a:pt x="332882" y="57409"/>
                  <a:pt x="342320" y="53351"/>
                  <a:pt x="352190" y="53356"/>
                </a:cubicBezTo>
                <a:cubicBezTo>
                  <a:pt x="354421" y="53357"/>
                  <a:pt x="356648" y="53557"/>
                  <a:pt x="358843" y="53952"/>
                </a:cubicBezTo>
                <a:cubicBezTo>
                  <a:pt x="370887" y="56002"/>
                  <a:pt x="381070" y="64019"/>
                  <a:pt x="385890" y="75246"/>
                </a:cubicBezTo>
                <a:lnTo>
                  <a:pt x="386902" y="77511"/>
                </a:lnTo>
                <a:cubicBezTo>
                  <a:pt x="395009" y="96005"/>
                  <a:pt x="386589" y="117569"/>
                  <a:pt x="368096" y="125676"/>
                </a:cubicBezTo>
                <a:cubicBezTo>
                  <a:pt x="365180" y="126954"/>
                  <a:pt x="362110" y="127846"/>
                  <a:pt x="358964" y="128329"/>
                </a:cubicBezTo>
                <a:lnTo>
                  <a:pt x="264970" y="127974"/>
                </a:lnTo>
                <a:close/>
                <a:moveTo>
                  <a:pt x="221416" y="65400"/>
                </a:moveTo>
                <a:cubicBezTo>
                  <a:pt x="213822" y="46699"/>
                  <a:pt x="222826" y="25382"/>
                  <a:pt x="241527" y="17788"/>
                </a:cubicBezTo>
                <a:cubicBezTo>
                  <a:pt x="245891" y="16016"/>
                  <a:pt x="250556" y="15104"/>
                  <a:pt x="255267" y="15103"/>
                </a:cubicBezTo>
                <a:lnTo>
                  <a:pt x="255463" y="15103"/>
                </a:lnTo>
                <a:lnTo>
                  <a:pt x="257993" y="15103"/>
                </a:lnTo>
                <a:cubicBezTo>
                  <a:pt x="278176" y="15206"/>
                  <a:pt x="294454" y="31652"/>
                  <a:pt x="294351" y="51836"/>
                </a:cubicBezTo>
                <a:cubicBezTo>
                  <a:pt x="294327" y="56610"/>
                  <a:pt x="293367" y="61334"/>
                  <a:pt x="291526" y="65739"/>
                </a:cubicBezTo>
                <a:lnTo>
                  <a:pt x="281982" y="88581"/>
                </a:lnTo>
                <a:lnTo>
                  <a:pt x="254466" y="117131"/>
                </a:lnTo>
                <a:lnTo>
                  <a:pt x="233611" y="95445"/>
                </a:lnTo>
                <a:close/>
                <a:moveTo>
                  <a:pt x="124764" y="111868"/>
                </a:moveTo>
                <a:cubicBezTo>
                  <a:pt x="118116" y="101618"/>
                  <a:pt x="117119" y="88698"/>
                  <a:pt x="122114" y="77549"/>
                </a:cubicBezTo>
                <a:lnTo>
                  <a:pt x="123125" y="75284"/>
                </a:lnTo>
                <a:cubicBezTo>
                  <a:pt x="127945" y="64057"/>
                  <a:pt x="138128" y="56040"/>
                  <a:pt x="150173" y="53990"/>
                </a:cubicBezTo>
                <a:cubicBezTo>
                  <a:pt x="152369" y="53594"/>
                  <a:pt x="154595" y="53395"/>
                  <a:pt x="156825" y="53394"/>
                </a:cubicBezTo>
                <a:cubicBezTo>
                  <a:pt x="166698" y="53389"/>
                  <a:pt x="176138" y="57447"/>
                  <a:pt x="182929" y="64614"/>
                </a:cubicBezTo>
                <a:lnTo>
                  <a:pt x="244038" y="128042"/>
                </a:lnTo>
                <a:lnTo>
                  <a:pt x="150014" y="128367"/>
                </a:lnTo>
                <a:cubicBezTo>
                  <a:pt x="139576" y="126846"/>
                  <a:pt x="130334" y="120813"/>
                  <a:pt x="124741" y="111868"/>
                </a:cubicBezTo>
                <a:close/>
                <a:moveTo>
                  <a:pt x="226528" y="143469"/>
                </a:moveTo>
                <a:lnTo>
                  <a:pt x="226528" y="286936"/>
                </a:lnTo>
                <a:lnTo>
                  <a:pt x="15102" y="286936"/>
                </a:lnTo>
                <a:lnTo>
                  <a:pt x="15102" y="143469"/>
                </a:lnTo>
                <a:close/>
                <a:moveTo>
                  <a:pt x="15102" y="347344"/>
                </a:moveTo>
                <a:lnTo>
                  <a:pt x="226528" y="347344"/>
                </a:lnTo>
                <a:lnTo>
                  <a:pt x="226528" y="551219"/>
                </a:lnTo>
                <a:lnTo>
                  <a:pt x="15102" y="551219"/>
                </a:lnTo>
                <a:close/>
                <a:moveTo>
                  <a:pt x="286935" y="551219"/>
                </a:moveTo>
                <a:lnTo>
                  <a:pt x="286935" y="347344"/>
                </a:lnTo>
                <a:lnTo>
                  <a:pt x="498361" y="347344"/>
                </a:lnTo>
                <a:lnTo>
                  <a:pt x="498361" y="551219"/>
                </a:lnTo>
                <a:close/>
              </a:path>
            </a:pathLst>
          </a:custGeom>
          <a:solidFill>
            <a:schemeClr val="bg1"/>
          </a:solidFill>
          <a:ln w="7541" cap="flat">
            <a:solidFill>
              <a:schemeClr val="bg1"/>
            </a:solidFill>
            <a:prstDash val="solid"/>
            <a:miter/>
          </a:ln>
        </p:spPr>
        <p:txBody>
          <a:bodyPr rtlCol="0" anchor="ctr"/>
          <a:lstStyle/>
          <a:p>
            <a:endParaRPr lang="en-GB"/>
          </a:p>
        </p:txBody>
      </p:sp>
      <p:sp>
        <p:nvSpPr>
          <p:cNvPr id="22" name="Bild 24" descr="Blixt kontur">
            <a:extLst>
              <a:ext uri="{FF2B5EF4-FFF2-40B4-BE49-F238E27FC236}">
                <a16:creationId xmlns:a16="http://schemas.microsoft.com/office/drawing/2014/main" id="{FF6582AA-7F85-BEF0-E43C-CE590DA38273}"/>
              </a:ext>
            </a:extLst>
          </p:cNvPr>
          <p:cNvSpPr/>
          <p:nvPr/>
        </p:nvSpPr>
        <p:spPr>
          <a:xfrm>
            <a:off x="7219901" y="2433761"/>
            <a:ext cx="270589" cy="552764"/>
          </a:xfrm>
          <a:custGeom>
            <a:avLst/>
            <a:gdLst>
              <a:gd name="connsiteX0" fmla="*/ 40709 w 270589"/>
              <a:gd name="connsiteY0" fmla="*/ 552678 h 552764"/>
              <a:gd name="connsiteX1" fmla="*/ 40755 w 270589"/>
              <a:gd name="connsiteY1" fmla="*/ 552762 h 552764"/>
              <a:gd name="connsiteX2" fmla="*/ 40776 w 270589"/>
              <a:gd name="connsiteY2" fmla="*/ 552765 h 552764"/>
              <a:gd name="connsiteX3" fmla="*/ 40831 w 270589"/>
              <a:gd name="connsiteY3" fmla="*/ 552736 h 552764"/>
              <a:gd name="connsiteX4" fmla="*/ 270589 w 270589"/>
              <a:gd name="connsiteY4" fmla="*/ 221613 h 552764"/>
              <a:gd name="connsiteX5" fmla="*/ 155589 w 270589"/>
              <a:gd name="connsiteY5" fmla="*/ 221613 h 552764"/>
              <a:gd name="connsiteX6" fmla="*/ 227160 w 270589"/>
              <a:gd name="connsiteY6" fmla="*/ 0 h 552764"/>
              <a:gd name="connsiteX7" fmla="*/ 56959 w 270589"/>
              <a:gd name="connsiteY7" fmla="*/ 0 h 552764"/>
              <a:gd name="connsiteX8" fmla="*/ 0 w 270589"/>
              <a:gd name="connsiteY8" fmla="*/ 302789 h 552764"/>
              <a:gd name="connsiteX9" fmla="*/ 115000 w 270589"/>
              <a:gd name="connsiteY9" fmla="*/ 302789 h 552764"/>
              <a:gd name="connsiteX10" fmla="*/ 16312 w 270589"/>
              <a:gd name="connsiteY10" fmla="*/ 289260 h 552764"/>
              <a:gd name="connsiteX11" fmla="*/ 68181 w 270589"/>
              <a:gd name="connsiteY11" fmla="*/ 13529 h 552764"/>
              <a:gd name="connsiteX12" fmla="*/ 208573 w 270589"/>
              <a:gd name="connsiteY12" fmla="*/ 13529 h 552764"/>
              <a:gd name="connsiteX13" fmla="*/ 142714 w 270589"/>
              <a:gd name="connsiteY13" fmla="*/ 217455 h 552764"/>
              <a:gd name="connsiteX14" fmla="*/ 137002 w 270589"/>
              <a:gd name="connsiteY14" fmla="*/ 235142 h 552764"/>
              <a:gd name="connsiteX15" fmla="*/ 244734 w 270589"/>
              <a:gd name="connsiteY15" fmla="*/ 235142 h 552764"/>
              <a:gd name="connsiteX16" fmla="*/ 77869 w 270589"/>
              <a:gd name="connsiteY16" fmla="*/ 475623 h 552764"/>
              <a:gd name="connsiteX17" fmla="*/ 77749 w 270589"/>
              <a:gd name="connsiteY17" fmla="*/ 475565 h 552764"/>
              <a:gd name="connsiteX18" fmla="*/ 127969 w 270589"/>
              <a:gd name="connsiteY18" fmla="*/ 306645 h 552764"/>
              <a:gd name="connsiteX19" fmla="*/ 133138 w 270589"/>
              <a:gd name="connsiteY19" fmla="*/ 289260 h 552764"/>
              <a:gd name="connsiteX20" fmla="*/ 16311 w 270589"/>
              <a:gd name="connsiteY20" fmla="*/ 289260 h 552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70589" h="552764">
                <a:moveTo>
                  <a:pt x="40709" y="552678"/>
                </a:moveTo>
                <a:cubicBezTo>
                  <a:pt x="40698" y="552714"/>
                  <a:pt x="40719" y="552752"/>
                  <a:pt x="40755" y="552762"/>
                </a:cubicBezTo>
                <a:cubicBezTo>
                  <a:pt x="40762" y="552764"/>
                  <a:pt x="40769" y="552765"/>
                  <a:pt x="40776" y="552765"/>
                </a:cubicBezTo>
                <a:lnTo>
                  <a:pt x="40831" y="552736"/>
                </a:lnTo>
                <a:lnTo>
                  <a:pt x="270589" y="221613"/>
                </a:lnTo>
                <a:lnTo>
                  <a:pt x="155589" y="221613"/>
                </a:lnTo>
                <a:lnTo>
                  <a:pt x="227160" y="0"/>
                </a:lnTo>
                <a:lnTo>
                  <a:pt x="56959" y="0"/>
                </a:lnTo>
                <a:lnTo>
                  <a:pt x="0" y="302789"/>
                </a:lnTo>
                <a:lnTo>
                  <a:pt x="115000" y="302789"/>
                </a:lnTo>
                <a:close/>
                <a:moveTo>
                  <a:pt x="16312" y="289260"/>
                </a:moveTo>
                <a:lnTo>
                  <a:pt x="68181" y="13529"/>
                </a:lnTo>
                <a:lnTo>
                  <a:pt x="208573" y="13529"/>
                </a:lnTo>
                <a:lnTo>
                  <a:pt x="142714" y="217455"/>
                </a:lnTo>
                <a:lnTo>
                  <a:pt x="137002" y="235142"/>
                </a:lnTo>
                <a:lnTo>
                  <a:pt x="244734" y="235142"/>
                </a:lnTo>
                <a:lnTo>
                  <a:pt x="77869" y="475623"/>
                </a:lnTo>
                <a:cubicBezTo>
                  <a:pt x="77734" y="475814"/>
                  <a:pt x="77683" y="475788"/>
                  <a:pt x="77749" y="475565"/>
                </a:cubicBezTo>
                <a:lnTo>
                  <a:pt x="127969" y="306645"/>
                </a:lnTo>
                <a:lnTo>
                  <a:pt x="133138" y="289260"/>
                </a:lnTo>
                <a:lnTo>
                  <a:pt x="16311" y="289260"/>
                </a:lnTo>
                <a:close/>
              </a:path>
            </a:pathLst>
          </a:custGeom>
          <a:solidFill>
            <a:schemeClr val="bg1"/>
          </a:solidFill>
          <a:ln w="6747" cap="flat">
            <a:solidFill>
              <a:schemeClr val="bg1"/>
            </a:solidFill>
            <a:prstDash val="solid"/>
            <a:miter/>
          </a:ln>
        </p:spPr>
        <p:txBody>
          <a:bodyPr rtlCol="0" anchor="ctr"/>
          <a:lstStyle/>
          <a:p>
            <a:endParaRPr lang="en-GB"/>
          </a:p>
        </p:txBody>
      </p:sp>
      <p:sp>
        <p:nvSpPr>
          <p:cNvPr id="24" name="Bild 26" descr="Socialt nätverk kontur">
            <a:extLst>
              <a:ext uri="{FF2B5EF4-FFF2-40B4-BE49-F238E27FC236}">
                <a16:creationId xmlns:a16="http://schemas.microsoft.com/office/drawing/2014/main" id="{FBFD27F1-6239-8930-4232-6BE88DD9D00E}"/>
              </a:ext>
            </a:extLst>
          </p:cNvPr>
          <p:cNvSpPr/>
          <p:nvPr/>
        </p:nvSpPr>
        <p:spPr>
          <a:xfrm>
            <a:off x="3318184" y="2347918"/>
            <a:ext cx="589749" cy="560223"/>
          </a:xfrm>
          <a:custGeom>
            <a:avLst/>
            <a:gdLst>
              <a:gd name="connsiteX0" fmla="*/ 521596 w 589749"/>
              <a:gd name="connsiteY0" fmla="*/ 286966 h 560223"/>
              <a:gd name="connsiteX1" fmla="*/ 589750 w 589749"/>
              <a:gd name="connsiteY1" fmla="*/ 219007 h 560223"/>
              <a:gd name="connsiteX2" fmla="*/ 521790 w 589749"/>
              <a:gd name="connsiteY2" fmla="*/ 150853 h 560223"/>
              <a:gd name="connsiteX3" fmla="*/ 453637 w 589749"/>
              <a:gd name="connsiteY3" fmla="*/ 218812 h 560223"/>
              <a:gd name="connsiteX4" fmla="*/ 456560 w 589749"/>
              <a:gd name="connsiteY4" fmla="*/ 238640 h 560223"/>
              <a:gd name="connsiteX5" fmla="*/ 379540 w 589749"/>
              <a:gd name="connsiteY5" fmla="*/ 271456 h 560223"/>
              <a:gd name="connsiteX6" fmla="*/ 302619 w 589749"/>
              <a:gd name="connsiteY6" fmla="*/ 219392 h 560223"/>
              <a:gd name="connsiteX7" fmla="*/ 302619 w 589749"/>
              <a:gd name="connsiteY7" fmla="*/ 135502 h 560223"/>
              <a:gd name="connsiteX8" fmla="*/ 362606 w 589749"/>
              <a:gd name="connsiteY8" fmla="*/ 60413 h 560223"/>
              <a:gd name="connsiteX9" fmla="*/ 287517 w 589749"/>
              <a:gd name="connsiteY9" fmla="*/ 427 h 560223"/>
              <a:gd name="connsiteX10" fmla="*/ 227530 w 589749"/>
              <a:gd name="connsiteY10" fmla="*/ 75515 h 560223"/>
              <a:gd name="connsiteX11" fmla="*/ 287517 w 589749"/>
              <a:gd name="connsiteY11" fmla="*/ 135502 h 560223"/>
              <a:gd name="connsiteX12" fmla="*/ 287517 w 589749"/>
              <a:gd name="connsiteY12" fmla="*/ 219392 h 560223"/>
              <a:gd name="connsiteX13" fmla="*/ 210633 w 589749"/>
              <a:gd name="connsiteY13" fmla="*/ 271456 h 560223"/>
              <a:gd name="connsiteX14" fmla="*/ 133576 w 589749"/>
              <a:gd name="connsiteY14" fmla="*/ 238640 h 560223"/>
              <a:gd name="connsiteX15" fmla="*/ 88229 w 589749"/>
              <a:gd name="connsiteY15" fmla="*/ 153407 h 560223"/>
              <a:gd name="connsiteX16" fmla="*/ 2996 w 589749"/>
              <a:gd name="connsiteY16" fmla="*/ 198754 h 560223"/>
              <a:gd name="connsiteX17" fmla="*/ 48344 w 589749"/>
              <a:gd name="connsiteY17" fmla="*/ 283987 h 560223"/>
              <a:gd name="connsiteX18" fmla="*/ 127596 w 589749"/>
              <a:gd name="connsiteY18" fmla="*/ 252503 h 560223"/>
              <a:gd name="connsiteX19" fmla="*/ 204910 w 589749"/>
              <a:gd name="connsiteY19" fmla="*/ 285456 h 560223"/>
              <a:gd name="connsiteX20" fmla="*/ 221522 w 589749"/>
              <a:gd name="connsiteY20" fmla="*/ 372480 h 560223"/>
              <a:gd name="connsiteX21" fmla="*/ 159415 w 589749"/>
              <a:gd name="connsiteY21" fmla="*/ 434586 h 560223"/>
              <a:gd name="connsiteX22" fmla="*/ 63697 w 589749"/>
              <a:gd name="connsiteY22" fmla="*/ 452430 h 560223"/>
              <a:gd name="connsiteX23" fmla="*/ 81540 w 589749"/>
              <a:gd name="connsiteY23" fmla="*/ 548149 h 560223"/>
              <a:gd name="connsiteX24" fmla="*/ 177259 w 589749"/>
              <a:gd name="connsiteY24" fmla="*/ 530305 h 560223"/>
              <a:gd name="connsiteX25" fmla="*/ 170885 w 589749"/>
              <a:gd name="connsiteY25" fmla="*/ 444470 h 560223"/>
              <a:gd name="connsiteX26" fmla="*/ 231942 w 589749"/>
              <a:gd name="connsiteY26" fmla="*/ 383414 h 560223"/>
              <a:gd name="connsiteX27" fmla="*/ 358133 w 589749"/>
              <a:gd name="connsiteY27" fmla="*/ 383414 h 560223"/>
              <a:gd name="connsiteX28" fmla="*/ 419190 w 589749"/>
              <a:gd name="connsiteY28" fmla="*/ 444470 h 560223"/>
              <a:gd name="connsiteX29" fmla="*/ 422874 w 589749"/>
              <a:gd name="connsiteY29" fmla="*/ 539438 h 560223"/>
              <a:gd name="connsiteX30" fmla="*/ 517842 w 589749"/>
              <a:gd name="connsiteY30" fmla="*/ 535755 h 560223"/>
              <a:gd name="connsiteX31" fmla="*/ 514158 w 589749"/>
              <a:gd name="connsiteY31" fmla="*/ 440786 h 560223"/>
              <a:gd name="connsiteX32" fmla="*/ 430660 w 589749"/>
              <a:gd name="connsiteY32" fmla="*/ 434586 h 560223"/>
              <a:gd name="connsiteX33" fmla="*/ 368553 w 589749"/>
              <a:gd name="connsiteY33" fmla="*/ 372480 h 560223"/>
              <a:gd name="connsiteX34" fmla="*/ 385226 w 589749"/>
              <a:gd name="connsiteY34" fmla="*/ 285456 h 560223"/>
              <a:gd name="connsiteX35" fmla="*/ 462540 w 589749"/>
              <a:gd name="connsiteY35" fmla="*/ 252526 h 560223"/>
              <a:gd name="connsiteX36" fmla="*/ 521596 w 589749"/>
              <a:gd name="connsiteY36" fmla="*/ 286966 h 560223"/>
              <a:gd name="connsiteX37" fmla="*/ 38525 w 589749"/>
              <a:gd name="connsiteY37" fmla="*/ 262463 h 560223"/>
              <a:gd name="connsiteX38" fmla="*/ 70190 w 589749"/>
              <a:gd name="connsiteY38" fmla="*/ 234098 h 560223"/>
              <a:gd name="connsiteX39" fmla="*/ 98555 w 589749"/>
              <a:gd name="connsiteY39" fmla="*/ 262463 h 560223"/>
              <a:gd name="connsiteX40" fmla="*/ 38525 w 589749"/>
              <a:gd name="connsiteY40" fmla="*/ 262463 h 560223"/>
              <a:gd name="connsiteX41" fmla="*/ 57214 w 589749"/>
              <a:gd name="connsiteY41" fmla="*/ 207681 h 560223"/>
              <a:gd name="connsiteX42" fmla="*/ 68540 w 589749"/>
              <a:gd name="connsiteY42" fmla="*/ 196355 h 560223"/>
              <a:gd name="connsiteX43" fmla="*/ 79866 w 589749"/>
              <a:gd name="connsiteY43" fmla="*/ 207681 h 560223"/>
              <a:gd name="connsiteX44" fmla="*/ 68540 w 589749"/>
              <a:gd name="connsiteY44" fmla="*/ 219007 h 560223"/>
              <a:gd name="connsiteX45" fmla="*/ 57214 w 589749"/>
              <a:gd name="connsiteY45" fmla="*/ 207681 h 560223"/>
              <a:gd name="connsiteX46" fmla="*/ 111414 w 589749"/>
              <a:gd name="connsiteY46" fmla="*/ 249800 h 560223"/>
              <a:gd name="connsiteX47" fmla="*/ 89154 w 589749"/>
              <a:gd name="connsiteY47" fmla="*/ 224014 h 560223"/>
              <a:gd name="connsiteX48" fmla="*/ 94968 w 589749"/>
              <a:gd name="connsiteY48" fmla="*/ 207681 h 560223"/>
              <a:gd name="connsiteX49" fmla="*/ 68540 w 589749"/>
              <a:gd name="connsiteY49" fmla="*/ 181253 h 560223"/>
              <a:gd name="connsiteX50" fmla="*/ 42112 w 589749"/>
              <a:gd name="connsiteY50" fmla="*/ 207681 h 560223"/>
              <a:gd name="connsiteX51" fmla="*/ 47926 w 589749"/>
              <a:gd name="connsiteY51" fmla="*/ 224014 h 560223"/>
              <a:gd name="connsiteX52" fmla="*/ 25666 w 589749"/>
              <a:gd name="connsiteY52" fmla="*/ 249800 h 560223"/>
              <a:gd name="connsiteX53" fmla="*/ 37627 w 589749"/>
              <a:gd name="connsiteY53" fmla="*/ 176013 h 560223"/>
              <a:gd name="connsiteX54" fmla="*/ 111414 w 589749"/>
              <a:gd name="connsiteY54" fmla="*/ 187974 h 560223"/>
              <a:gd name="connsiteX55" fmla="*/ 111414 w 589749"/>
              <a:gd name="connsiteY55" fmla="*/ 249800 h 560223"/>
              <a:gd name="connsiteX56" fmla="*/ 283741 w 589749"/>
              <a:gd name="connsiteY56" fmla="*/ 56662 h 560223"/>
              <a:gd name="connsiteX57" fmla="*/ 295068 w 589749"/>
              <a:gd name="connsiteY57" fmla="*/ 45336 h 560223"/>
              <a:gd name="connsiteX58" fmla="*/ 306394 w 589749"/>
              <a:gd name="connsiteY58" fmla="*/ 56662 h 560223"/>
              <a:gd name="connsiteX59" fmla="*/ 295068 w 589749"/>
              <a:gd name="connsiteY59" fmla="*/ 67989 h 560223"/>
              <a:gd name="connsiteX60" fmla="*/ 283741 w 589749"/>
              <a:gd name="connsiteY60" fmla="*/ 56662 h 560223"/>
              <a:gd name="connsiteX61" fmla="*/ 295068 w 589749"/>
              <a:gd name="connsiteY61" fmla="*/ 83091 h 560223"/>
              <a:gd name="connsiteX62" fmla="*/ 325083 w 589749"/>
              <a:gd name="connsiteY62" fmla="*/ 111444 h 560223"/>
              <a:gd name="connsiteX63" fmla="*/ 265053 w 589749"/>
              <a:gd name="connsiteY63" fmla="*/ 111444 h 560223"/>
              <a:gd name="connsiteX64" fmla="*/ 295068 w 589749"/>
              <a:gd name="connsiteY64" fmla="*/ 83091 h 560223"/>
              <a:gd name="connsiteX65" fmla="*/ 242211 w 589749"/>
              <a:gd name="connsiteY65" fmla="*/ 67989 h 560223"/>
              <a:gd name="connsiteX66" fmla="*/ 294948 w 589749"/>
              <a:gd name="connsiteY66" fmla="*/ 15012 h 560223"/>
              <a:gd name="connsiteX67" fmla="*/ 347924 w 589749"/>
              <a:gd name="connsiteY67" fmla="*/ 67749 h 560223"/>
              <a:gd name="connsiteX68" fmla="*/ 337942 w 589749"/>
              <a:gd name="connsiteY68" fmla="*/ 98781 h 560223"/>
              <a:gd name="connsiteX69" fmla="*/ 315682 w 589749"/>
              <a:gd name="connsiteY69" fmla="*/ 72995 h 560223"/>
              <a:gd name="connsiteX70" fmla="*/ 321496 w 589749"/>
              <a:gd name="connsiteY70" fmla="*/ 56662 h 560223"/>
              <a:gd name="connsiteX71" fmla="*/ 295068 w 589749"/>
              <a:gd name="connsiteY71" fmla="*/ 30234 h 560223"/>
              <a:gd name="connsiteX72" fmla="*/ 268640 w 589749"/>
              <a:gd name="connsiteY72" fmla="*/ 56662 h 560223"/>
              <a:gd name="connsiteX73" fmla="*/ 274454 w 589749"/>
              <a:gd name="connsiteY73" fmla="*/ 72995 h 560223"/>
              <a:gd name="connsiteX74" fmla="*/ 252194 w 589749"/>
              <a:gd name="connsiteY74" fmla="*/ 98781 h 560223"/>
              <a:gd name="connsiteX75" fmla="*/ 242211 w 589749"/>
              <a:gd name="connsiteY75" fmla="*/ 67989 h 560223"/>
              <a:gd name="connsiteX76" fmla="*/ 91382 w 589749"/>
              <a:gd name="connsiteY76" fmla="*/ 534296 h 560223"/>
              <a:gd name="connsiteX77" fmla="*/ 123046 w 589749"/>
              <a:gd name="connsiteY77" fmla="*/ 505931 h 560223"/>
              <a:gd name="connsiteX78" fmla="*/ 151411 w 589749"/>
              <a:gd name="connsiteY78" fmla="*/ 534296 h 560223"/>
              <a:gd name="connsiteX79" fmla="*/ 91382 w 589749"/>
              <a:gd name="connsiteY79" fmla="*/ 534296 h 560223"/>
              <a:gd name="connsiteX80" fmla="*/ 110070 w 589749"/>
              <a:gd name="connsiteY80" fmla="*/ 479514 h 560223"/>
              <a:gd name="connsiteX81" fmla="*/ 121397 w 589749"/>
              <a:gd name="connsiteY81" fmla="*/ 468188 h 560223"/>
              <a:gd name="connsiteX82" fmla="*/ 132723 w 589749"/>
              <a:gd name="connsiteY82" fmla="*/ 479514 h 560223"/>
              <a:gd name="connsiteX83" fmla="*/ 121397 w 589749"/>
              <a:gd name="connsiteY83" fmla="*/ 490841 h 560223"/>
              <a:gd name="connsiteX84" fmla="*/ 110070 w 589749"/>
              <a:gd name="connsiteY84" fmla="*/ 479514 h 560223"/>
              <a:gd name="connsiteX85" fmla="*/ 164271 w 589749"/>
              <a:gd name="connsiteY85" fmla="*/ 521633 h 560223"/>
              <a:gd name="connsiteX86" fmla="*/ 142011 w 589749"/>
              <a:gd name="connsiteY86" fmla="*/ 495847 h 560223"/>
              <a:gd name="connsiteX87" fmla="*/ 147825 w 589749"/>
              <a:gd name="connsiteY87" fmla="*/ 479514 h 560223"/>
              <a:gd name="connsiteX88" fmla="*/ 121397 w 589749"/>
              <a:gd name="connsiteY88" fmla="*/ 453086 h 560223"/>
              <a:gd name="connsiteX89" fmla="*/ 94968 w 589749"/>
              <a:gd name="connsiteY89" fmla="*/ 479514 h 560223"/>
              <a:gd name="connsiteX90" fmla="*/ 100782 w 589749"/>
              <a:gd name="connsiteY90" fmla="*/ 495847 h 560223"/>
              <a:gd name="connsiteX91" fmla="*/ 78522 w 589749"/>
              <a:gd name="connsiteY91" fmla="*/ 521633 h 560223"/>
              <a:gd name="connsiteX92" fmla="*/ 90484 w 589749"/>
              <a:gd name="connsiteY92" fmla="*/ 447847 h 560223"/>
              <a:gd name="connsiteX93" fmla="*/ 164271 w 589749"/>
              <a:gd name="connsiteY93" fmla="*/ 459807 h 560223"/>
              <a:gd name="connsiteX94" fmla="*/ 164271 w 589749"/>
              <a:gd name="connsiteY94" fmla="*/ 521633 h 560223"/>
              <a:gd name="connsiteX95" fmla="*/ 249407 w 589749"/>
              <a:gd name="connsiteY95" fmla="*/ 378098 h 560223"/>
              <a:gd name="connsiteX96" fmla="*/ 299388 w 589749"/>
              <a:gd name="connsiteY96" fmla="*/ 336757 h 560223"/>
              <a:gd name="connsiteX97" fmla="*/ 340728 w 589749"/>
              <a:gd name="connsiteY97" fmla="*/ 378098 h 560223"/>
              <a:gd name="connsiteX98" fmla="*/ 249407 w 589749"/>
              <a:gd name="connsiteY98" fmla="*/ 378098 h 560223"/>
              <a:gd name="connsiteX99" fmla="*/ 274069 w 589749"/>
              <a:gd name="connsiteY99" fmla="*/ 300414 h 560223"/>
              <a:gd name="connsiteX100" fmla="*/ 295075 w 589749"/>
              <a:gd name="connsiteY100" fmla="*/ 279422 h 560223"/>
              <a:gd name="connsiteX101" fmla="*/ 316067 w 589749"/>
              <a:gd name="connsiteY101" fmla="*/ 300429 h 560223"/>
              <a:gd name="connsiteX102" fmla="*/ 295068 w 589749"/>
              <a:gd name="connsiteY102" fmla="*/ 321421 h 560223"/>
              <a:gd name="connsiteX103" fmla="*/ 274069 w 589749"/>
              <a:gd name="connsiteY103" fmla="*/ 300414 h 560223"/>
              <a:gd name="connsiteX104" fmla="*/ 438724 w 589749"/>
              <a:gd name="connsiteY104" fmla="*/ 534296 h 560223"/>
              <a:gd name="connsiteX105" fmla="*/ 470389 w 589749"/>
              <a:gd name="connsiteY105" fmla="*/ 505931 h 560223"/>
              <a:gd name="connsiteX106" fmla="*/ 498754 w 589749"/>
              <a:gd name="connsiteY106" fmla="*/ 534296 h 560223"/>
              <a:gd name="connsiteX107" fmla="*/ 438724 w 589749"/>
              <a:gd name="connsiteY107" fmla="*/ 534296 h 560223"/>
              <a:gd name="connsiteX108" fmla="*/ 457413 w 589749"/>
              <a:gd name="connsiteY108" fmla="*/ 479514 h 560223"/>
              <a:gd name="connsiteX109" fmla="*/ 468739 w 589749"/>
              <a:gd name="connsiteY109" fmla="*/ 468188 h 560223"/>
              <a:gd name="connsiteX110" fmla="*/ 480066 w 589749"/>
              <a:gd name="connsiteY110" fmla="*/ 479514 h 560223"/>
              <a:gd name="connsiteX111" fmla="*/ 468739 w 589749"/>
              <a:gd name="connsiteY111" fmla="*/ 490841 h 560223"/>
              <a:gd name="connsiteX112" fmla="*/ 457413 w 589749"/>
              <a:gd name="connsiteY112" fmla="*/ 479514 h 560223"/>
              <a:gd name="connsiteX113" fmla="*/ 521596 w 589749"/>
              <a:gd name="connsiteY113" fmla="*/ 490841 h 560223"/>
              <a:gd name="connsiteX114" fmla="*/ 511613 w 589749"/>
              <a:gd name="connsiteY114" fmla="*/ 521633 h 560223"/>
              <a:gd name="connsiteX115" fmla="*/ 489353 w 589749"/>
              <a:gd name="connsiteY115" fmla="*/ 495847 h 560223"/>
              <a:gd name="connsiteX116" fmla="*/ 495167 w 589749"/>
              <a:gd name="connsiteY116" fmla="*/ 479514 h 560223"/>
              <a:gd name="connsiteX117" fmla="*/ 468739 w 589749"/>
              <a:gd name="connsiteY117" fmla="*/ 453086 h 560223"/>
              <a:gd name="connsiteX118" fmla="*/ 442311 w 589749"/>
              <a:gd name="connsiteY118" fmla="*/ 479514 h 560223"/>
              <a:gd name="connsiteX119" fmla="*/ 448125 w 589749"/>
              <a:gd name="connsiteY119" fmla="*/ 495847 h 560223"/>
              <a:gd name="connsiteX120" fmla="*/ 425865 w 589749"/>
              <a:gd name="connsiteY120" fmla="*/ 521633 h 560223"/>
              <a:gd name="connsiteX121" fmla="*/ 437826 w 589749"/>
              <a:gd name="connsiteY121" fmla="*/ 447847 h 560223"/>
              <a:gd name="connsiteX122" fmla="*/ 511613 w 589749"/>
              <a:gd name="connsiteY122" fmla="*/ 459808 h 560223"/>
              <a:gd name="connsiteX123" fmla="*/ 521596 w 589749"/>
              <a:gd name="connsiteY123" fmla="*/ 490841 h 560223"/>
              <a:gd name="connsiteX124" fmla="*/ 353852 w 589749"/>
              <a:gd name="connsiteY124" fmla="*/ 366409 h 560223"/>
              <a:gd name="connsiteX125" fmla="*/ 319699 w 589749"/>
              <a:gd name="connsiteY125" fmla="*/ 326661 h 560223"/>
              <a:gd name="connsiteX126" fmla="*/ 321461 w 589749"/>
              <a:gd name="connsiteY126" fmla="*/ 275637 h 560223"/>
              <a:gd name="connsiteX127" fmla="*/ 270437 w 589749"/>
              <a:gd name="connsiteY127" fmla="*/ 273875 h 560223"/>
              <a:gd name="connsiteX128" fmla="*/ 268675 w 589749"/>
              <a:gd name="connsiteY128" fmla="*/ 324899 h 560223"/>
              <a:gd name="connsiteX129" fmla="*/ 270437 w 589749"/>
              <a:gd name="connsiteY129" fmla="*/ 326661 h 560223"/>
              <a:gd name="connsiteX130" fmla="*/ 236284 w 589749"/>
              <a:gd name="connsiteY130" fmla="*/ 366409 h 560223"/>
              <a:gd name="connsiteX131" fmla="*/ 241866 w 589749"/>
              <a:gd name="connsiteY131" fmla="*/ 254423 h 560223"/>
              <a:gd name="connsiteX132" fmla="*/ 353852 w 589749"/>
              <a:gd name="connsiteY132" fmla="*/ 260004 h 560223"/>
              <a:gd name="connsiteX133" fmla="*/ 353852 w 589749"/>
              <a:gd name="connsiteY133" fmla="*/ 366409 h 560223"/>
              <a:gd name="connsiteX134" fmla="*/ 491581 w 589749"/>
              <a:gd name="connsiteY134" fmla="*/ 262463 h 560223"/>
              <a:gd name="connsiteX135" fmla="*/ 523246 w 589749"/>
              <a:gd name="connsiteY135" fmla="*/ 234098 h 560223"/>
              <a:gd name="connsiteX136" fmla="*/ 551611 w 589749"/>
              <a:gd name="connsiteY136" fmla="*/ 262463 h 560223"/>
              <a:gd name="connsiteX137" fmla="*/ 491581 w 589749"/>
              <a:gd name="connsiteY137" fmla="*/ 262463 h 560223"/>
              <a:gd name="connsiteX138" fmla="*/ 510269 w 589749"/>
              <a:gd name="connsiteY138" fmla="*/ 207681 h 560223"/>
              <a:gd name="connsiteX139" fmla="*/ 521596 w 589749"/>
              <a:gd name="connsiteY139" fmla="*/ 196355 h 560223"/>
              <a:gd name="connsiteX140" fmla="*/ 532922 w 589749"/>
              <a:gd name="connsiteY140" fmla="*/ 207681 h 560223"/>
              <a:gd name="connsiteX141" fmla="*/ 521596 w 589749"/>
              <a:gd name="connsiteY141" fmla="*/ 219007 h 560223"/>
              <a:gd name="connsiteX142" fmla="*/ 510269 w 589749"/>
              <a:gd name="connsiteY142" fmla="*/ 207681 h 560223"/>
              <a:gd name="connsiteX143" fmla="*/ 521596 w 589749"/>
              <a:gd name="connsiteY143" fmla="*/ 166151 h 560223"/>
              <a:gd name="connsiteX144" fmla="*/ 574452 w 589749"/>
              <a:gd name="connsiteY144" fmla="*/ 218826 h 560223"/>
              <a:gd name="connsiteX145" fmla="*/ 564470 w 589749"/>
              <a:gd name="connsiteY145" fmla="*/ 249800 h 560223"/>
              <a:gd name="connsiteX146" fmla="*/ 542210 w 589749"/>
              <a:gd name="connsiteY146" fmla="*/ 224014 h 560223"/>
              <a:gd name="connsiteX147" fmla="*/ 548024 w 589749"/>
              <a:gd name="connsiteY147" fmla="*/ 207681 h 560223"/>
              <a:gd name="connsiteX148" fmla="*/ 521596 w 589749"/>
              <a:gd name="connsiteY148" fmla="*/ 181253 h 560223"/>
              <a:gd name="connsiteX149" fmla="*/ 495167 w 589749"/>
              <a:gd name="connsiteY149" fmla="*/ 207681 h 560223"/>
              <a:gd name="connsiteX150" fmla="*/ 500982 w 589749"/>
              <a:gd name="connsiteY150" fmla="*/ 224014 h 560223"/>
              <a:gd name="connsiteX151" fmla="*/ 478721 w 589749"/>
              <a:gd name="connsiteY151" fmla="*/ 249800 h 560223"/>
              <a:gd name="connsiteX152" fmla="*/ 490622 w 589749"/>
              <a:gd name="connsiteY152" fmla="*/ 176133 h 560223"/>
              <a:gd name="connsiteX153" fmla="*/ 521596 w 589749"/>
              <a:gd name="connsiteY153" fmla="*/ 166151 h 560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589749" h="560223">
                <a:moveTo>
                  <a:pt x="521596" y="286966"/>
                </a:moveTo>
                <a:cubicBezTo>
                  <a:pt x="559182" y="287019"/>
                  <a:pt x="589696" y="256594"/>
                  <a:pt x="589750" y="219007"/>
                </a:cubicBezTo>
                <a:cubicBezTo>
                  <a:pt x="589803" y="181420"/>
                  <a:pt x="559377" y="150907"/>
                  <a:pt x="521790" y="150853"/>
                </a:cubicBezTo>
                <a:cubicBezTo>
                  <a:pt x="484204" y="150799"/>
                  <a:pt x="453691" y="181226"/>
                  <a:pt x="453637" y="218812"/>
                </a:cubicBezTo>
                <a:cubicBezTo>
                  <a:pt x="453627" y="225529"/>
                  <a:pt x="454612" y="232211"/>
                  <a:pt x="456560" y="238640"/>
                </a:cubicBezTo>
                <a:lnTo>
                  <a:pt x="379540" y="271456"/>
                </a:lnTo>
                <a:cubicBezTo>
                  <a:pt x="364798" y="241818"/>
                  <a:pt x="335613" y="222065"/>
                  <a:pt x="302619" y="219392"/>
                </a:cubicBezTo>
                <a:lnTo>
                  <a:pt x="302619" y="135502"/>
                </a:lnTo>
                <a:cubicBezTo>
                  <a:pt x="339919" y="131331"/>
                  <a:pt x="366776" y="97713"/>
                  <a:pt x="362606" y="60413"/>
                </a:cubicBezTo>
                <a:cubicBezTo>
                  <a:pt x="358435" y="23113"/>
                  <a:pt x="324817" y="-3743"/>
                  <a:pt x="287517" y="427"/>
                </a:cubicBezTo>
                <a:cubicBezTo>
                  <a:pt x="250217" y="4597"/>
                  <a:pt x="223360" y="38215"/>
                  <a:pt x="227530" y="75515"/>
                </a:cubicBezTo>
                <a:cubicBezTo>
                  <a:pt x="231058" y="107069"/>
                  <a:pt x="255964" y="131974"/>
                  <a:pt x="287517" y="135502"/>
                </a:cubicBezTo>
                <a:lnTo>
                  <a:pt x="287517" y="219392"/>
                </a:lnTo>
                <a:cubicBezTo>
                  <a:pt x="254537" y="222077"/>
                  <a:pt x="225369" y="241829"/>
                  <a:pt x="210633" y="271456"/>
                </a:cubicBezTo>
                <a:lnTo>
                  <a:pt x="133576" y="238640"/>
                </a:lnTo>
                <a:cubicBezTo>
                  <a:pt x="144590" y="202581"/>
                  <a:pt x="124288" y="164421"/>
                  <a:pt x="88229" y="153407"/>
                </a:cubicBezTo>
                <a:cubicBezTo>
                  <a:pt x="52170" y="142393"/>
                  <a:pt x="14010" y="162696"/>
                  <a:pt x="2996" y="198754"/>
                </a:cubicBezTo>
                <a:cubicBezTo>
                  <a:pt x="-8018" y="234813"/>
                  <a:pt x="12285" y="272973"/>
                  <a:pt x="48344" y="283987"/>
                </a:cubicBezTo>
                <a:cubicBezTo>
                  <a:pt x="78873" y="293312"/>
                  <a:pt x="111788" y="280236"/>
                  <a:pt x="127596" y="252503"/>
                </a:cubicBezTo>
                <a:lnTo>
                  <a:pt x="204910" y="285456"/>
                </a:lnTo>
                <a:cubicBezTo>
                  <a:pt x="195605" y="315420"/>
                  <a:pt x="201834" y="348050"/>
                  <a:pt x="221522" y="372480"/>
                </a:cubicBezTo>
                <a:lnTo>
                  <a:pt x="159415" y="434586"/>
                </a:lnTo>
                <a:cubicBezTo>
                  <a:pt x="128056" y="413082"/>
                  <a:pt x="85201" y="421071"/>
                  <a:pt x="63697" y="452430"/>
                </a:cubicBezTo>
                <a:cubicBezTo>
                  <a:pt x="42192" y="483790"/>
                  <a:pt x="50181" y="526644"/>
                  <a:pt x="81540" y="548149"/>
                </a:cubicBezTo>
                <a:cubicBezTo>
                  <a:pt x="112900" y="569654"/>
                  <a:pt x="155755" y="561665"/>
                  <a:pt x="177259" y="530305"/>
                </a:cubicBezTo>
                <a:cubicBezTo>
                  <a:pt x="195485" y="503728"/>
                  <a:pt x="192836" y="468064"/>
                  <a:pt x="170885" y="444470"/>
                </a:cubicBezTo>
                <a:lnTo>
                  <a:pt x="231942" y="383414"/>
                </a:lnTo>
                <a:cubicBezTo>
                  <a:pt x="267720" y="415935"/>
                  <a:pt x="322355" y="415935"/>
                  <a:pt x="358133" y="383414"/>
                </a:cubicBezTo>
                <a:lnTo>
                  <a:pt x="419190" y="444470"/>
                </a:lnTo>
                <a:cubicBezTo>
                  <a:pt x="393983" y="471713"/>
                  <a:pt x="395632" y="514231"/>
                  <a:pt x="422874" y="539438"/>
                </a:cubicBezTo>
                <a:cubicBezTo>
                  <a:pt x="450116" y="564647"/>
                  <a:pt x="492635" y="562997"/>
                  <a:pt x="517842" y="535755"/>
                </a:cubicBezTo>
                <a:cubicBezTo>
                  <a:pt x="543049" y="508513"/>
                  <a:pt x="541400" y="465994"/>
                  <a:pt x="514158" y="440786"/>
                </a:cubicBezTo>
                <a:cubicBezTo>
                  <a:pt x="491171" y="419515"/>
                  <a:pt x="456537" y="416944"/>
                  <a:pt x="430660" y="434586"/>
                </a:cubicBezTo>
                <a:lnTo>
                  <a:pt x="368553" y="372480"/>
                </a:lnTo>
                <a:cubicBezTo>
                  <a:pt x="388263" y="348061"/>
                  <a:pt x="394514" y="315430"/>
                  <a:pt x="385226" y="285456"/>
                </a:cubicBezTo>
                <a:lnTo>
                  <a:pt x="462540" y="252526"/>
                </a:lnTo>
                <a:cubicBezTo>
                  <a:pt x="474598" y="273792"/>
                  <a:pt x="497149" y="286944"/>
                  <a:pt x="521596" y="286966"/>
                </a:cubicBezTo>
                <a:close/>
                <a:moveTo>
                  <a:pt x="38525" y="262463"/>
                </a:moveTo>
                <a:cubicBezTo>
                  <a:pt x="39436" y="245886"/>
                  <a:pt x="53613" y="233186"/>
                  <a:pt x="70190" y="234098"/>
                </a:cubicBezTo>
                <a:cubicBezTo>
                  <a:pt x="85493" y="234939"/>
                  <a:pt x="97714" y="247159"/>
                  <a:pt x="98555" y="262463"/>
                </a:cubicBezTo>
                <a:cubicBezTo>
                  <a:pt x="80508" y="274997"/>
                  <a:pt x="56572" y="274997"/>
                  <a:pt x="38525" y="262463"/>
                </a:cubicBezTo>
                <a:close/>
                <a:moveTo>
                  <a:pt x="57214" y="207681"/>
                </a:moveTo>
                <a:cubicBezTo>
                  <a:pt x="57214" y="201426"/>
                  <a:pt x="62285" y="196355"/>
                  <a:pt x="68540" y="196355"/>
                </a:cubicBezTo>
                <a:cubicBezTo>
                  <a:pt x="74795" y="196355"/>
                  <a:pt x="79866" y="201426"/>
                  <a:pt x="79866" y="207681"/>
                </a:cubicBezTo>
                <a:cubicBezTo>
                  <a:pt x="79866" y="213936"/>
                  <a:pt x="74795" y="219007"/>
                  <a:pt x="68540" y="219007"/>
                </a:cubicBezTo>
                <a:cubicBezTo>
                  <a:pt x="62285" y="219007"/>
                  <a:pt x="57214" y="213936"/>
                  <a:pt x="57214" y="207681"/>
                </a:cubicBezTo>
                <a:close/>
                <a:moveTo>
                  <a:pt x="111414" y="249800"/>
                </a:moveTo>
                <a:cubicBezTo>
                  <a:pt x="107612" y="238647"/>
                  <a:pt x="99632" y="229403"/>
                  <a:pt x="89154" y="224014"/>
                </a:cubicBezTo>
                <a:cubicBezTo>
                  <a:pt x="92891" y="219388"/>
                  <a:pt x="94941" y="213627"/>
                  <a:pt x="94968" y="207681"/>
                </a:cubicBezTo>
                <a:cubicBezTo>
                  <a:pt x="94968" y="193085"/>
                  <a:pt x="83136" y="181253"/>
                  <a:pt x="68540" y="181253"/>
                </a:cubicBezTo>
                <a:cubicBezTo>
                  <a:pt x="53944" y="181253"/>
                  <a:pt x="42112" y="193085"/>
                  <a:pt x="42112" y="207681"/>
                </a:cubicBezTo>
                <a:cubicBezTo>
                  <a:pt x="42139" y="213627"/>
                  <a:pt x="44189" y="219388"/>
                  <a:pt x="47926" y="224014"/>
                </a:cubicBezTo>
                <a:cubicBezTo>
                  <a:pt x="37448" y="229403"/>
                  <a:pt x="29468" y="238647"/>
                  <a:pt x="25666" y="249800"/>
                </a:cubicBezTo>
                <a:cubicBezTo>
                  <a:pt x="8593" y="226121"/>
                  <a:pt x="13948" y="193086"/>
                  <a:pt x="37627" y="176013"/>
                </a:cubicBezTo>
                <a:cubicBezTo>
                  <a:pt x="61305" y="158940"/>
                  <a:pt x="94342" y="164296"/>
                  <a:pt x="111414" y="187974"/>
                </a:cubicBezTo>
                <a:cubicBezTo>
                  <a:pt x="124724" y="206434"/>
                  <a:pt x="124724" y="231340"/>
                  <a:pt x="111414" y="249800"/>
                </a:cubicBezTo>
                <a:close/>
                <a:moveTo>
                  <a:pt x="283741" y="56662"/>
                </a:moveTo>
                <a:cubicBezTo>
                  <a:pt x="283741" y="50407"/>
                  <a:pt x="288813" y="45336"/>
                  <a:pt x="295068" y="45336"/>
                </a:cubicBezTo>
                <a:cubicBezTo>
                  <a:pt x="301323" y="45336"/>
                  <a:pt x="306394" y="50407"/>
                  <a:pt x="306394" y="56662"/>
                </a:cubicBezTo>
                <a:cubicBezTo>
                  <a:pt x="306394" y="62918"/>
                  <a:pt x="301323" y="67989"/>
                  <a:pt x="295068" y="67989"/>
                </a:cubicBezTo>
                <a:cubicBezTo>
                  <a:pt x="288813" y="67989"/>
                  <a:pt x="283741" y="62918"/>
                  <a:pt x="283741" y="56662"/>
                </a:cubicBezTo>
                <a:close/>
                <a:moveTo>
                  <a:pt x="295068" y="83091"/>
                </a:moveTo>
                <a:cubicBezTo>
                  <a:pt x="310990" y="83134"/>
                  <a:pt x="324134" y="95550"/>
                  <a:pt x="325083" y="111444"/>
                </a:cubicBezTo>
                <a:cubicBezTo>
                  <a:pt x="307036" y="123979"/>
                  <a:pt x="283100" y="123979"/>
                  <a:pt x="265053" y="111444"/>
                </a:cubicBezTo>
                <a:cubicBezTo>
                  <a:pt x="266002" y="95550"/>
                  <a:pt x="279146" y="83134"/>
                  <a:pt x="295068" y="83091"/>
                </a:cubicBezTo>
                <a:close/>
                <a:moveTo>
                  <a:pt x="242211" y="67989"/>
                </a:moveTo>
                <a:cubicBezTo>
                  <a:pt x="242145" y="38797"/>
                  <a:pt x="265756" y="15079"/>
                  <a:pt x="294948" y="15012"/>
                </a:cubicBezTo>
                <a:cubicBezTo>
                  <a:pt x="324140" y="14946"/>
                  <a:pt x="347858" y="38557"/>
                  <a:pt x="347924" y="67749"/>
                </a:cubicBezTo>
                <a:cubicBezTo>
                  <a:pt x="347949" y="78886"/>
                  <a:pt x="344455" y="89748"/>
                  <a:pt x="337942" y="98781"/>
                </a:cubicBezTo>
                <a:cubicBezTo>
                  <a:pt x="334139" y="87629"/>
                  <a:pt x="326160" y="78385"/>
                  <a:pt x="315682" y="72995"/>
                </a:cubicBezTo>
                <a:cubicBezTo>
                  <a:pt x="319419" y="68369"/>
                  <a:pt x="321469" y="62609"/>
                  <a:pt x="321496" y="56662"/>
                </a:cubicBezTo>
                <a:cubicBezTo>
                  <a:pt x="321496" y="42066"/>
                  <a:pt x="309664" y="30234"/>
                  <a:pt x="295068" y="30234"/>
                </a:cubicBezTo>
                <a:cubicBezTo>
                  <a:pt x="280472" y="30234"/>
                  <a:pt x="268640" y="42066"/>
                  <a:pt x="268640" y="56662"/>
                </a:cubicBezTo>
                <a:cubicBezTo>
                  <a:pt x="268666" y="62609"/>
                  <a:pt x="270717" y="68369"/>
                  <a:pt x="274454" y="72995"/>
                </a:cubicBezTo>
                <a:cubicBezTo>
                  <a:pt x="263975" y="78385"/>
                  <a:pt x="255996" y="87629"/>
                  <a:pt x="252194" y="98781"/>
                </a:cubicBezTo>
                <a:cubicBezTo>
                  <a:pt x="245707" y="89824"/>
                  <a:pt x="242214" y="79048"/>
                  <a:pt x="242211" y="67989"/>
                </a:cubicBezTo>
                <a:close/>
                <a:moveTo>
                  <a:pt x="91382" y="534296"/>
                </a:moveTo>
                <a:cubicBezTo>
                  <a:pt x="92293" y="517720"/>
                  <a:pt x="106470" y="505020"/>
                  <a:pt x="123046" y="505931"/>
                </a:cubicBezTo>
                <a:cubicBezTo>
                  <a:pt x="138350" y="506772"/>
                  <a:pt x="150570" y="518993"/>
                  <a:pt x="151411" y="534296"/>
                </a:cubicBezTo>
                <a:cubicBezTo>
                  <a:pt x="133365" y="546831"/>
                  <a:pt x="109428" y="546831"/>
                  <a:pt x="91382" y="534296"/>
                </a:cubicBezTo>
                <a:close/>
                <a:moveTo>
                  <a:pt x="110070" y="479514"/>
                </a:moveTo>
                <a:cubicBezTo>
                  <a:pt x="110070" y="473259"/>
                  <a:pt x="115141" y="468188"/>
                  <a:pt x="121397" y="468188"/>
                </a:cubicBezTo>
                <a:cubicBezTo>
                  <a:pt x="127652" y="468188"/>
                  <a:pt x="132723" y="473259"/>
                  <a:pt x="132723" y="479514"/>
                </a:cubicBezTo>
                <a:cubicBezTo>
                  <a:pt x="132723" y="485770"/>
                  <a:pt x="127652" y="490841"/>
                  <a:pt x="121397" y="490841"/>
                </a:cubicBezTo>
                <a:cubicBezTo>
                  <a:pt x="115141" y="490841"/>
                  <a:pt x="110070" y="485770"/>
                  <a:pt x="110070" y="479514"/>
                </a:cubicBezTo>
                <a:close/>
                <a:moveTo>
                  <a:pt x="164271" y="521633"/>
                </a:moveTo>
                <a:cubicBezTo>
                  <a:pt x="160468" y="510481"/>
                  <a:pt x="152489" y="501237"/>
                  <a:pt x="142011" y="495847"/>
                </a:cubicBezTo>
                <a:cubicBezTo>
                  <a:pt x="145747" y="491221"/>
                  <a:pt x="147798" y="485461"/>
                  <a:pt x="147825" y="479514"/>
                </a:cubicBezTo>
                <a:cubicBezTo>
                  <a:pt x="147825" y="464918"/>
                  <a:pt x="135992" y="453086"/>
                  <a:pt x="121397" y="453086"/>
                </a:cubicBezTo>
                <a:cubicBezTo>
                  <a:pt x="106801" y="453086"/>
                  <a:pt x="94968" y="464918"/>
                  <a:pt x="94968" y="479514"/>
                </a:cubicBezTo>
                <a:cubicBezTo>
                  <a:pt x="94995" y="485461"/>
                  <a:pt x="97046" y="491221"/>
                  <a:pt x="100782" y="495847"/>
                </a:cubicBezTo>
                <a:cubicBezTo>
                  <a:pt x="90304" y="501237"/>
                  <a:pt x="82325" y="510481"/>
                  <a:pt x="78522" y="521633"/>
                </a:cubicBezTo>
                <a:cubicBezTo>
                  <a:pt x="61450" y="497954"/>
                  <a:pt x="66805" y="464919"/>
                  <a:pt x="90484" y="447847"/>
                </a:cubicBezTo>
                <a:cubicBezTo>
                  <a:pt x="114162" y="430774"/>
                  <a:pt x="147198" y="436129"/>
                  <a:pt x="164271" y="459807"/>
                </a:cubicBezTo>
                <a:cubicBezTo>
                  <a:pt x="177581" y="478267"/>
                  <a:pt x="177581" y="503174"/>
                  <a:pt x="164271" y="521633"/>
                </a:cubicBezTo>
                <a:close/>
                <a:moveTo>
                  <a:pt x="249407" y="378098"/>
                </a:moveTo>
                <a:cubicBezTo>
                  <a:pt x="251793" y="352880"/>
                  <a:pt x="274170" y="334371"/>
                  <a:pt x="299388" y="336757"/>
                </a:cubicBezTo>
                <a:cubicBezTo>
                  <a:pt x="321304" y="338831"/>
                  <a:pt x="338655" y="356182"/>
                  <a:pt x="340728" y="378098"/>
                </a:cubicBezTo>
                <a:cubicBezTo>
                  <a:pt x="313392" y="397538"/>
                  <a:pt x="276744" y="397538"/>
                  <a:pt x="249407" y="378098"/>
                </a:cubicBezTo>
                <a:close/>
                <a:moveTo>
                  <a:pt x="274069" y="300414"/>
                </a:moveTo>
                <a:cubicBezTo>
                  <a:pt x="274073" y="288816"/>
                  <a:pt x="283478" y="279418"/>
                  <a:pt x="295075" y="279422"/>
                </a:cubicBezTo>
                <a:cubicBezTo>
                  <a:pt x="306673" y="279427"/>
                  <a:pt x="316072" y="288832"/>
                  <a:pt x="316067" y="300429"/>
                </a:cubicBezTo>
                <a:cubicBezTo>
                  <a:pt x="316062" y="312023"/>
                  <a:pt x="306662" y="321421"/>
                  <a:pt x="295068" y="321421"/>
                </a:cubicBezTo>
                <a:cubicBezTo>
                  <a:pt x="283473" y="321408"/>
                  <a:pt x="274077" y="312009"/>
                  <a:pt x="274069" y="300414"/>
                </a:cubicBezTo>
                <a:close/>
                <a:moveTo>
                  <a:pt x="438724" y="534296"/>
                </a:moveTo>
                <a:cubicBezTo>
                  <a:pt x="439636" y="517720"/>
                  <a:pt x="453812" y="505020"/>
                  <a:pt x="470389" y="505931"/>
                </a:cubicBezTo>
                <a:cubicBezTo>
                  <a:pt x="485693" y="506772"/>
                  <a:pt x="497913" y="518993"/>
                  <a:pt x="498754" y="534296"/>
                </a:cubicBezTo>
                <a:cubicBezTo>
                  <a:pt x="480707" y="546831"/>
                  <a:pt x="456771" y="546831"/>
                  <a:pt x="438724" y="534296"/>
                </a:cubicBezTo>
                <a:close/>
                <a:moveTo>
                  <a:pt x="457413" y="479514"/>
                </a:moveTo>
                <a:cubicBezTo>
                  <a:pt x="457413" y="473259"/>
                  <a:pt x="462484" y="468188"/>
                  <a:pt x="468739" y="468188"/>
                </a:cubicBezTo>
                <a:cubicBezTo>
                  <a:pt x="474994" y="468188"/>
                  <a:pt x="480066" y="473259"/>
                  <a:pt x="480066" y="479514"/>
                </a:cubicBezTo>
                <a:cubicBezTo>
                  <a:pt x="480066" y="485770"/>
                  <a:pt x="474994" y="490841"/>
                  <a:pt x="468739" y="490841"/>
                </a:cubicBezTo>
                <a:cubicBezTo>
                  <a:pt x="462484" y="490841"/>
                  <a:pt x="457413" y="485770"/>
                  <a:pt x="457413" y="479514"/>
                </a:cubicBezTo>
                <a:close/>
                <a:moveTo>
                  <a:pt x="521596" y="490841"/>
                </a:moveTo>
                <a:cubicBezTo>
                  <a:pt x="521593" y="501900"/>
                  <a:pt x="518100" y="512676"/>
                  <a:pt x="511613" y="521633"/>
                </a:cubicBezTo>
                <a:cubicBezTo>
                  <a:pt x="507811" y="510481"/>
                  <a:pt x="499832" y="501237"/>
                  <a:pt x="489353" y="495847"/>
                </a:cubicBezTo>
                <a:cubicBezTo>
                  <a:pt x="493090" y="491221"/>
                  <a:pt x="495141" y="485461"/>
                  <a:pt x="495167" y="479514"/>
                </a:cubicBezTo>
                <a:cubicBezTo>
                  <a:pt x="495167" y="464918"/>
                  <a:pt x="483335" y="453086"/>
                  <a:pt x="468739" y="453086"/>
                </a:cubicBezTo>
                <a:cubicBezTo>
                  <a:pt x="454143" y="453086"/>
                  <a:pt x="442311" y="464918"/>
                  <a:pt x="442311" y="479514"/>
                </a:cubicBezTo>
                <a:cubicBezTo>
                  <a:pt x="442338" y="485461"/>
                  <a:pt x="444388" y="491221"/>
                  <a:pt x="448125" y="495847"/>
                </a:cubicBezTo>
                <a:cubicBezTo>
                  <a:pt x="437647" y="501237"/>
                  <a:pt x="429668" y="510481"/>
                  <a:pt x="425865" y="521633"/>
                </a:cubicBezTo>
                <a:cubicBezTo>
                  <a:pt x="408792" y="497954"/>
                  <a:pt x="414147" y="464919"/>
                  <a:pt x="437826" y="447847"/>
                </a:cubicBezTo>
                <a:cubicBezTo>
                  <a:pt x="461505" y="430774"/>
                  <a:pt x="494541" y="436129"/>
                  <a:pt x="511613" y="459808"/>
                </a:cubicBezTo>
                <a:cubicBezTo>
                  <a:pt x="518128" y="468842"/>
                  <a:pt x="521621" y="479703"/>
                  <a:pt x="521596" y="490841"/>
                </a:cubicBezTo>
                <a:close/>
                <a:moveTo>
                  <a:pt x="353852" y="366409"/>
                </a:moveTo>
                <a:cubicBezTo>
                  <a:pt x="349008" y="348707"/>
                  <a:pt x="336470" y="334115"/>
                  <a:pt x="319699" y="326661"/>
                </a:cubicBezTo>
                <a:cubicBezTo>
                  <a:pt x="334275" y="313057"/>
                  <a:pt x="335064" y="290213"/>
                  <a:pt x="321461" y="275637"/>
                </a:cubicBezTo>
                <a:cubicBezTo>
                  <a:pt x="307858" y="261061"/>
                  <a:pt x="285013" y="260272"/>
                  <a:pt x="270437" y="273875"/>
                </a:cubicBezTo>
                <a:cubicBezTo>
                  <a:pt x="255860" y="287478"/>
                  <a:pt x="255071" y="310323"/>
                  <a:pt x="268675" y="324899"/>
                </a:cubicBezTo>
                <a:cubicBezTo>
                  <a:pt x="269241" y="325506"/>
                  <a:pt x="269830" y="326094"/>
                  <a:pt x="270437" y="326661"/>
                </a:cubicBezTo>
                <a:cubicBezTo>
                  <a:pt x="253665" y="334115"/>
                  <a:pt x="241128" y="348707"/>
                  <a:pt x="236284" y="366409"/>
                </a:cubicBezTo>
                <a:cubicBezTo>
                  <a:pt x="206901" y="333944"/>
                  <a:pt x="209400" y="283806"/>
                  <a:pt x="241866" y="254423"/>
                </a:cubicBezTo>
                <a:cubicBezTo>
                  <a:pt x="274331" y="225040"/>
                  <a:pt x="324469" y="227538"/>
                  <a:pt x="353852" y="260004"/>
                </a:cubicBezTo>
                <a:cubicBezTo>
                  <a:pt x="381186" y="290206"/>
                  <a:pt x="381186" y="336207"/>
                  <a:pt x="353852" y="366409"/>
                </a:cubicBezTo>
                <a:close/>
                <a:moveTo>
                  <a:pt x="491581" y="262463"/>
                </a:moveTo>
                <a:cubicBezTo>
                  <a:pt x="492492" y="245886"/>
                  <a:pt x="506669" y="233186"/>
                  <a:pt x="523246" y="234098"/>
                </a:cubicBezTo>
                <a:cubicBezTo>
                  <a:pt x="538549" y="234939"/>
                  <a:pt x="550769" y="247159"/>
                  <a:pt x="551611" y="262463"/>
                </a:cubicBezTo>
                <a:cubicBezTo>
                  <a:pt x="533564" y="274997"/>
                  <a:pt x="509627" y="274997"/>
                  <a:pt x="491581" y="262463"/>
                </a:cubicBezTo>
                <a:close/>
                <a:moveTo>
                  <a:pt x="510269" y="207681"/>
                </a:moveTo>
                <a:cubicBezTo>
                  <a:pt x="510269" y="201426"/>
                  <a:pt x="515340" y="196355"/>
                  <a:pt x="521596" y="196355"/>
                </a:cubicBezTo>
                <a:cubicBezTo>
                  <a:pt x="527851" y="196355"/>
                  <a:pt x="532922" y="201426"/>
                  <a:pt x="532922" y="207681"/>
                </a:cubicBezTo>
                <a:cubicBezTo>
                  <a:pt x="532922" y="213936"/>
                  <a:pt x="527851" y="219007"/>
                  <a:pt x="521596" y="219007"/>
                </a:cubicBezTo>
                <a:cubicBezTo>
                  <a:pt x="515340" y="219007"/>
                  <a:pt x="510269" y="213936"/>
                  <a:pt x="510269" y="207681"/>
                </a:cubicBezTo>
                <a:close/>
                <a:moveTo>
                  <a:pt x="521596" y="166151"/>
                </a:moveTo>
                <a:cubicBezTo>
                  <a:pt x="550738" y="166101"/>
                  <a:pt x="574402" y="189685"/>
                  <a:pt x="574452" y="218826"/>
                </a:cubicBezTo>
                <a:cubicBezTo>
                  <a:pt x="574471" y="229945"/>
                  <a:pt x="570977" y="240785"/>
                  <a:pt x="564470" y="249800"/>
                </a:cubicBezTo>
                <a:cubicBezTo>
                  <a:pt x="560667" y="238647"/>
                  <a:pt x="552688" y="229403"/>
                  <a:pt x="542210" y="224014"/>
                </a:cubicBezTo>
                <a:cubicBezTo>
                  <a:pt x="545947" y="219388"/>
                  <a:pt x="547997" y="213627"/>
                  <a:pt x="548024" y="207681"/>
                </a:cubicBezTo>
                <a:cubicBezTo>
                  <a:pt x="548024" y="193085"/>
                  <a:pt x="536192" y="181253"/>
                  <a:pt x="521596" y="181253"/>
                </a:cubicBezTo>
                <a:cubicBezTo>
                  <a:pt x="507000" y="181253"/>
                  <a:pt x="495167" y="193085"/>
                  <a:pt x="495167" y="207681"/>
                </a:cubicBezTo>
                <a:cubicBezTo>
                  <a:pt x="495195" y="213627"/>
                  <a:pt x="497245" y="219388"/>
                  <a:pt x="500982" y="224014"/>
                </a:cubicBezTo>
                <a:cubicBezTo>
                  <a:pt x="490503" y="229403"/>
                  <a:pt x="482524" y="238647"/>
                  <a:pt x="478721" y="249800"/>
                </a:cubicBezTo>
                <a:cubicBezTo>
                  <a:pt x="461665" y="226171"/>
                  <a:pt x="466993" y="193189"/>
                  <a:pt x="490622" y="176133"/>
                </a:cubicBezTo>
                <a:cubicBezTo>
                  <a:pt x="499637" y="169625"/>
                  <a:pt x="510477" y="166132"/>
                  <a:pt x="521596" y="166151"/>
                </a:cubicBezTo>
                <a:close/>
              </a:path>
            </a:pathLst>
          </a:custGeom>
          <a:solidFill>
            <a:schemeClr val="lt1"/>
          </a:solidFill>
          <a:ln w="10054" cap="flat">
            <a:solidFill>
              <a:schemeClr val="accent5"/>
            </a:solidFill>
            <a:prstDash val="solid"/>
            <a:miter/>
          </a:ln>
        </p:spPr>
        <p:txBody>
          <a:bodyPr rtlCol="0" anchor="ctr"/>
          <a:lstStyle/>
          <a:p>
            <a:endParaRPr lang="en-GB"/>
          </a:p>
        </p:txBody>
      </p:sp>
      <p:sp>
        <p:nvSpPr>
          <p:cNvPr id="144" name="Bild 128" descr="Hjärta kontur">
            <a:extLst>
              <a:ext uri="{FF2B5EF4-FFF2-40B4-BE49-F238E27FC236}">
                <a16:creationId xmlns:a16="http://schemas.microsoft.com/office/drawing/2014/main" id="{60805634-3D74-5216-CE7E-0E4E01A86621}"/>
              </a:ext>
            </a:extLst>
          </p:cNvPr>
          <p:cNvSpPr/>
          <p:nvPr/>
        </p:nvSpPr>
        <p:spPr>
          <a:xfrm>
            <a:off x="13488034" y="2442319"/>
            <a:ext cx="486370" cy="460835"/>
          </a:xfrm>
          <a:custGeom>
            <a:avLst/>
            <a:gdLst>
              <a:gd name="connsiteX0" fmla="*/ 364778 w 486370"/>
              <a:gd name="connsiteY0" fmla="*/ 0 h 460835"/>
              <a:gd name="connsiteX1" fmla="*/ 243185 w 486370"/>
              <a:gd name="connsiteY1" fmla="*/ 96058 h 460835"/>
              <a:gd name="connsiteX2" fmla="*/ 121593 w 486370"/>
              <a:gd name="connsiteY2" fmla="*/ 0 h 460835"/>
              <a:gd name="connsiteX3" fmla="*/ 0 w 486370"/>
              <a:gd name="connsiteY3" fmla="*/ 124668 h 460835"/>
              <a:gd name="connsiteX4" fmla="*/ 243185 w 486370"/>
              <a:gd name="connsiteY4" fmla="*/ 460836 h 460835"/>
              <a:gd name="connsiteX5" fmla="*/ 486370 w 486370"/>
              <a:gd name="connsiteY5" fmla="*/ 124668 h 460835"/>
              <a:gd name="connsiteX6" fmla="*/ 364778 w 486370"/>
              <a:gd name="connsiteY6" fmla="*/ 0 h 460835"/>
              <a:gd name="connsiteX7" fmla="*/ 243185 w 486370"/>
              <a:gd name="connsiteY7" fmla="*/ 442575 h 460835"/>
              <a:gd name="connsiteX8" fmla="*/ 14305 w 486370"/>
              <a:gd name="connsiteY8" fmla="*/ 124668 h 460835"/>
              <a:gd name="connsiteX9" fmla="*/ 46892 w 486370"/>
              <a:gd name="connsiteY9" fmla="*/ 49295 h 460835"/>
              <a:gd name="connsiteX10" fmla="*/ 121593 w 486370"/>
              <a:gd name="connsiteY10" fmla="*/ 14305 h 460835"/>
              <a:gd name="connsiteX11" fmla="*/ 230411 w 486370"/>
              <a:gd name="connsiteY11" fmla="*/ 102495 h 460835"/>
              <a:gd name="connsiteX12" fmla="*/ 243185 w 486370"/>
              <a:gd name="connsiteY12" fmla="*/ 127844 h 460835"/>
              <a:gd name="connsiteX13" fmla="*/ 255959 w 486370"/>
              <a:gd name="connsiteY13" fmla="*/ 102495 h 460835"/>
              <a:gd name="connsiteX14" fmla="*/ 364778 w 486370"/>
              <a:gd name="connsiteY14" fmla="*/ 14305 h 460835"/>
              <a:gd name="connsiteX15" fmla="*/ 472065 w 486370"/>
              <a:gd name="connsiteY15" fmla="*/ 124668 h 460835"/>
              <a:gd name="connsiteX16" fmla="*/ 243185 w 486370"/>
              <a:gd name="connsiteY16" fmla="*/ 442575 h 460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86370" h="460835">
                <a:moveTo>
                  <a:pt x="364778" y="0"/>
                </a:moveTo>
                <a:cubicBezTo>
                  <a:pt x="323221" y="0"/>
                  <a:pt x="278404" y="26178"/>
                  <a:pt x="243185" y="96058"/>
                </a:cubicBezTo>
                <a:cubicBezTo>
                  <a:pt x="207973" y="26192"/>
                  <a:pt x="163141" y="0"/>
                  <a:pt x="121593" y="0"/>
                </a:cubicBezTo>
                <a:cubicBezTo>
                  <a:pt x="56812" y="0"/>
                  <a:pt x="0" y="63657"/>
                  <a:pt x="0" y="124668"/>
                </a:cubicBezTo>
                <a:cubicBezTo>
                  <a:pt x="0" y="274871"/>
                  <a:pt x="243185" y="460836"/>
                  <a:pt x="243185" y="460836"/>
                </a:cubicBezTo>
                <a:cubicBezTo>
                  <a:pt x="243185" y="460836"/>
                  <a:pt x="486370" y="274871"/>
                  <a:pt x="486370" y="124668"/>
                </a:cubicBezTo>
                <a:cubicBezTo>
                  <a:pt x="486370" y="63664"/>
                  <a:pt x="429551" y="0"/>
                  <a:pt x="364778" y="0"/>
                </a:cubicBezTo>
                <a:close/>
                <a:moveTo>
                  <a:pt x="243185" y="442575"/>
                </a:moveTo>
                <a:cubicBezTo>
                  <a:pt x="200377" y="408000"/>
                  <a:pt x="14305" y="250430"/>
                  <a:pt x="14305" y="124668"/>
                </a:cubicBezTo>
                <a:cubicBezTo>
                  <a:pt x="15429" y="96368"/>
                  <a:pt x="27046" y="69501"/>
                  <a:pt x="46892" y="49295"/>
                </a:cubicBezTo>
                <a:cubicBezTo>
                  <a:pt x="65996" y="27956"/>
                  <a:pt x="92970" y="15321"/>
                  <a:pt x="121593" y="14305"/>
                </a:cubicBezTo>
                <a:cubicBezTo>
                  <a:pt x="163706" y="14305"/>
                  <a:pt x="201336" y="44803"/>
                  <a:pt x="230411" y="102495"/>
                </a:cubicBezTo>
                <a:lnTo>
                  <a:pt x="243185" y="127844"/>
                </a:lnTo>
                <a:lnTo>
                  <a:pt x="255959" y="102495"/>
                </a:lnTo>
                <a:cubicBezTo>
                  <a:pt x="285034" y="44803"/>
                  <a:pt x="322664" y="14305"/>
                  <a:pt x="364778" y="14305"/>
                </a:cubicBezTo>
                <a:cubicBezTo>
                  <a:pt x="418922" y="14305"/>
                  <a:pt x="472065" y="68972"/>
                  <a:pt x="472065" y="124668"/>
                </a:cubicBezTo>
                <a:cubicBezTo>
                  <a:pt x="472065" y="250430"/>
                  <a:pt x="285993" y="408000"/>
                  <a:pt x="243185" y="442575"/>
                </a:cubicBezTo>
                <a:close/>
              </a:path>
            </a:pathLst>
          </a:custGeom>
          <a:solidFill>
            <a:schemeClr val="lt1"/>
          </a:solidFill>
          <a:ln w="9525" cap="flat">
            <a:solidFill>
              <a:schemeClr val="accent5"/>
            </a:solidFill>
            <a:prstDash val="solid"/>
            <a:miter/>
          </a:ln>
        </p:spPr>
        <p:txBody>
          <a:bodyPr rtlCol="0" anchor="ctr"/>
          <a:lstStyle/>
          <a:p>
            <a:endParaRPr lang="en-GB"/>
          </a:p>
        </p:txBody>
      </p:sp>
      <p:sp>
        <p:nvSpPr>
          <p:cNvPr id="153" name="Bild 142" descr="Märke kontur">
            <a:extLst>
              <a:ext uri="{FF2B5EF4-FFF2-40B4-BE49-F238E27FC236}">
                <a16:creationId xmlns:a16="http://schemas.microsoft.com/office/drawing/2014/main" id="{ADF2A171-7FD3-F32A-AB7A-0B02282E73BB}"/>
              </a:ext>
            </a:extLst>
          </p:cNvPr>
          <p:cNvSpPr/>
          <p:nvPr/>
        </p:nvSpPr>
        <p:spPr>
          <a:xfrm>
            <a:off x="8087156" y="5941929"/>
            <a:ext cx="578685" cy="614286"/>
          </a:xfrm>
          <a:custGeom>
            <a:avLst/>
            <a:gdLst>
              <a:gd name="connsiteX0" fmla="*/ 569275 w 578685"/>
              <a:gd name="connsiteY0" fmla="*/ 370947 h 614286"/>
              <a:gd name="connsiteX1" fmla="*/ 335079 w 578685"/>
              <a:gd name="connsiteY1" fmla="*/ 136817 h 614286"/>
              <a:gd name="connsiteX2" fmla="*/ 311663 w 578685"/>
              <a:gd name="connsiteY2" fmla="*/ 126783 h 614286"/>
              <a:gd name="connsiteX3" fmla="*/ 157783 w 578685"/>
              <a:gd name="connsiteY3" fmla="*/ 126783 h 614286"/>
              <a:gd name="connsiteX4" fmla="*/ 151567 w 578685"/>
              <a:gd name="connsiteY4" fmla="*/ 127097 h 614286"/>
              <a:gd name="connsiteX5" fmla="*/ 109710 w 578685"/>
              <a:gd name="connsiteY5" fmla="*/ 92853 h 614286"/>
              <a:gd name="connsiteX6" fmla="*/ 53802 w 578685"/>
              <a:gd name="connsiteY6" fmla="*/ 81678 h 614286"/>
              <a:gd name="connsiteX7" fmla="*/ 20740 w 578685"/>
              <a:gd name="connsiteY7" fmla="*/ 45648 h 614286"/>
              <a:gd name="connsiteX8" fmla="*/ 16483 w 578685"/>
              <a:gd name="connsiteY8" fmla="*/ 7354 h 614286"/>
              <a:gd name="connsiteX9" fmla="*/ 7354 w 578685"/>
              <a:gd name="connsiteY9" fmla="*/ 51 h 614286"/>
              <a:gd name="connsiteX10" fmla="*/ 51 w 578685"/>
              <a:gd name="connsiteY10" fmla="*/ 9181 h 614286"/>
              <a:gd name="connsiteX11" fmla="*/ 4308 w 578685"/>
              <a:gd name="connsiteY11" fmla="*/ 47475 h 614286"/>
              <a:gd name="connsiteX12" fmla="*/ 50529 w 578685"/>
              <a:gd name="connsiteY12" fmla="*/ 97895 h 614286"/>
              <a:gd name="connsiteX13" fmla="*/ 106429 w 578685"/>
              <a:gd name="connsiteY13" fmla="*/ 109070 h 614286"/>
              <a:gd name="connsiteX14" fmla="*/ 135127 w 578685"/>
              <a:gd name="connsiteY14" fmla="*/ 130825 h 614286"/>
              <a:gd name="connsiteX15" fmla="*/ 90832 w 578685"/>
              <a:gd name="connsiteY15" fmla="*/ 193684 h 614286"/>
              <a:gd name="connsiteX16" fmla="*/ 90832 w 578685"/>
              <a:gd name="connsiteY16" fmla="*/ 346696 h 614286"/>
              <a:gd name="connsiteX17" fmla="*/ 100866 w 578685"/>
              <a:gd name="connsiteY17" fmla="*/ 370112 h 614286"/>
              <a:gd name="connsiteX18" fmla="*/ 335029 w 578685"/>
              <a:gd name="connsiteY18" fmla="*/ 604251 h 614286"/>
              <a:gd name="connsiteX19" fmla="*/ 382145 w 578685"/>
              <a:gd name="connsiteY19" fmla="*/ 604802 h 614286"/>
              <a:gd name="connsiteX20" fmla="*/ 382697 w 578685"/>
              <a:gd name="connsiteY20" fmla="*/ 604251 h 614286"/>
              <a:gd name="connsiteX21" fmla="*/ 569275 w 578685"/>
              <a:gd name="connsiteY21" fmla="*/ 417780 h 614286"/>
              <a:gd name="connsiteX22" fmla="*/ 569275 w 578685"/>
              <a:gd name="connsiteY22" fmla="*/ 370947 h 614286"/>
              <a:gd name="connsiteX23" fmla="*/ 557588 w 578685"/>
              <a:gd name="connsiteY23" fmla="*/ 406084 h 614286"/>
              <a:gd name="connsiteX24" fmla="*/ 371059 w 578685"/>
              <a:gd name="connsiteY24" fmla="*/ 592555 h 614286"/>
              <a:gd name="connsiteX25" fmla="*/ 347313 w 578685"/>
              <a:gd name="connsiteY25" fmla="*/ 593101 h 614286"/>
              <a:gd name="connsiteX26" fmla="*/ 346766 w 578685"/>
              <a:gd name="connsiteY26" fmla="*/ 592555 h 614286"/>
              <a:gd name="connsiteX27" fmla="*/ 112603 w 578685"/>
              <a:gd name="connsiteY27" fmla="*/ 358450 h 614286"/>
              <a:gd name="connsiteX28" fmla="*/ 112190 w 578685"/>
              <a:gd name="connsiteY28" fmla="*/ 358037 h 614286"/>
              <a:gd name="connsiteX29" fmla="*/ 111777 w 578685"/>
              <a:gd name="connsiteY29" fmla="*/ 357673 h 614286"/>
              <a:gd name="connsiteX30" fmla="*/ 107388 w 578685"/>
              <a:gd name="connsiteY30" fmla="*/ 346696 h 614286"/>
              <a:gd name="connsiteX31" fmla="*/ 107388 w 578685"/>
              <a:gd name="connsiteY31" fmla="*/ 193676 h 614286"/>
              <a:gd name="connsiteX32" fmla="*/ 139946 w 578685"/>
              <a:gd name="connsiteY32" fmla="*/ 146628 h 614286"/>
              <a:gd name="connsiteX33" fmla="*/ 144012 w 578685"/>
              <a:gd name="connsiteY33" fmla="*/ 166937 h 614286"/>
              <a:gd name="connsiteX34" fmla="*/ 136739 w 578685"/>
              <a:gd name="connsiteY34" fmla="*/ 172268 h 614286"/>
              <a:gd name="connsiteX35" fmla="*/ 136796 w 578685"/>
              <a:gd name="connsiteY35" fmla="*/ 219025 h 614286"/>
              <a:gd name="connsiteX36" fmla="*/ 183552 w 578685"/>
              <a:gd name="connsiteY36" fmla="*/ 218969 h 614286"/>
              <a:gd name="connsiteX37" fmla="*/ 183495 w 578685"/>
              <a:gd name="connsiteY37" fmla="*/ 172211 h 614286"/>
              <a:gd name="connsiteX38" fmla="*/ 160130 w 578685"/>
              <a:gd name="connsiteY38" fmla="*/ 162556 h 614286"/>
              <a:gd name="connsiteX39" fmla="*/ 160006 w 578685"/>
              <a:gd name="connsiteY39" fmla="*/ 162556 h 614286"/>
              <a:gd name="connsiteX40" fmla="*/ 156163 w 578685"/>
              <a:gd name="connsiteY40" fmla="*/ 143347 h 614286"/>
              <a:gd name="connsiteX41" fmla="*/ 157766 w 578685"/>
              <a:gd name="connsiteY41" fmla="*/ 143273 h 614286"/>
              <a:gd name="connsiteX42" fmla="*/ 311663 w 578685"/>
              <a:gd name="connsiteY42" fmla="*/ 143273 h 614286"/>
              <a:gd name="connsiteX43" fmla="*/ 323383 w 578685"/>
              <a:gd name="connsiteY43" fmla="*/ 148463 h 614286"/>
              <a:gd name="connsiteX44" fmla="*/ 557546 w 578685"/>
              <a:gd name="connsiteY44" fmla="*/ 382602 h 614286"/>
              <a:gd name="connsiteX45" fmla="*/ 557546 w 578685"/>
              <a:gd name="connsiteY45" fmla="*/ 406043 h 614286"/>
              <a:gd name="connsiteX46" fmla="*/ 163395 w 578685"/>
              <a:gd name="connsiteY46" fmla="*/ 179434 h 614286"/>
              <a:gd name="connsiteX47" fmla="*/ 176664 w 578685"/>
              <a:gd name="connsiteY47" fmla="*/ 198923 h 614286"/>
              <a:gd name="connsiteX48" fmla="*/ 157175 w 578685"/>
              <a:gd name="connsiteY48" fmla="*/ 212192 h 614286"/>
              <a:gd name="connsiteX49" fmla="*/ 143906 w 578685"/>
              <a:gd name="connsiteY49" fmla="*/ 192703 h 614286"/>
              <a:gd name="connsiteX50" fmla="*/ 147641 w 578685"/>
              <a:gd name="connsiteY50" fmla="*/ 184948 h 614286"/>
              <a:gd name="connsiteX51" fmla="*/ 148997 w 578685"/>
              <a:gd name="connsiteY51" fmla="*/ 191734 h 614286"/>
              <a:gd name="connsiteX52" fmla="*/ 157089 w 578685"/>
              <a:gd name="connsiteY52" fmla="*/ 198346 h 614286"/>
              <a:gd name="connsiteX53" fmla="*/ 158742 w 578685"/>
              <a:gd name="connsiteY53" fmla="*/ 198189 h 614286"/>
              <a:gd name="connsiteX54" fmla="*/ 165222 w 578685"/>
              <a:gd name="connsiteY54" fmla="*/ 188460 h 614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578685" h="614286">
                <a:moveTo>
                  <a:pt x="569275" y="370947"/>
                </a:moveTo>
                <a:lnTo>
                  <a:pt x="335079" y="136817"/>
                </a:lnTo>
                <a:cubicBezTo>
                  <a:pt x="328931" y="130473"/>
                  <a:pt x="320496" y="126859"/>
                  <a:pt x="311663" y="126783"/>
                </a:cubicBezTo>
                <a:lnTo>
                  <a:pt x="157783" y="126783"/>
                </a:lnTo>
                <a:cubicBezTo>
                  <a:pt x="155683" y="126783"/>
                  <a:pt x="153650" y="126907"/>
                  <a:pt x="151567" y="127097"/>
                </a:cubicBezTo>
                <a:cubicBezTo>
                  <a:pt x="144167" y="109439"/>
                  <a:pt x="128484" y="96609"/>
                  <a:pt x="109710" y="92853"/>
                </a:cubicBezTo>
                <a:lnTo>
                  <a:pt x="53802" y="81678"/>
                </a:lnTo>
                <a:cubicBezTo>
                  <a:pt x="36085" y="78195"/>
                  <a:pt x="22691" y="63599"/>
                  <a:pt x="20740" y="45648"/>
                </a:cubicBezTo>
                <a:lnTo>
                  <a:pt x="16483" y="7354"/>
                </a:lnTo>
                <a:cubicBezTo>
                  <a:pt x="15979" y="2816"/>
                  <a:pt x="11892" y="-453"/>
                  <a:pt x="7354" y="51"/>
                </a:cubicBezTo>
                <a:cubicBezTo>
                  <a:pt x="2816" y="556"/>
                  <a:pt x="-453" y="4643"/>
                  <a:pt x="51" y="9181"/>
                </a:cubicBezTo>
                <a:lnTo>
                  <a:pt x="4308" y="47475"/>
                </a:lnTo>
                <a:cubicBezTo>
                  <a:pt x="7030" y="72582"/>
                  <a:pt x="25753" y="93006"/>
                  <a:pt x="50529" y="97895"/>
                </a:cubicBezTo>
                <a:lnTo>
                  <a:pt x="106429" y="109070"/>
                </a:lnTo>
                <a:cubicBezTo>
                  <a:pt x="118823" y="111540"/>
                  <a:pt x="129400" y="119559"/>
                  <a:pt x="135127" y="130825"/>
                </a:cubicBezTo>
                <a:cubicBezTo>
                  <a:pt x="108629" y="140400"/>
                  <a:pt x="90935" y="165509"/>
                  <a:pt x="90832" y="193684"/>
                </a:cubicBezTo>
                <a:lnTo>
                  <a:pt x="90832" y="346696"/>
                </a:lnTo>
                <a:cubicBezTo>
                  <a:pt x="90584" y="355595"/>
                  <a:pt x="94252" y="364155"/>
                  <a:pt x="100866" y="370112"/>
                </a:cubicBezTo>
                <a:lnTo>
                  <a:pt x="335029" y="604251"/>
                </a:lnTo>
                <a:cubicBezTo>
                  <a:pt x="347888" y="617414"/>
                  <a:pt x="368983" y="617661"/>
                  <a:pt x="382145" y="604802"/>
                </a:cubicBezTo>
                <a:cubicBezTo>
                  <a:pt x="382331" y="604620"/>
                  <a:pt x="382515" y="604437"/>
                  <a:pt x="382697" y="604251"/>
                </a:cubicBezTo>
                <a:lnTo>
                  <a:pt x="569275" y="417780"/>
                </a:lnTo>
                <a:cubicBezTo>
                  <a:pt x="581822" y="404691"/>
                  <a:pt x="581822" y="384037"/>
                  <a:pt x="569275" y="370947"/>
                </a:cubicBezTo>
                <a:close/>
                <a:moveTo>
                  <a:pt x="557588" y="406084"/>
                </a:moveTo>
                <a:lnTo>
                  <a:pt x="371059" y="592555"/>
                </a:lnTo>
                <a:cubicBezTo>
                  <a:pt x="364652" y="599263"/>
                  <a:pt x="354021" y="599508"/>
                  <a:pt x="347313" y="593101"/>
                </a:cubicBezTo>
                <a:cubicBezTo>
                  <a:pt x="347126" y="592924"/>
                  <a:pt x="346944" y="592741"/>
                  <a:pt x="346766" y="592555"/>
                </a:cubicBezTo>
                <a:lnTo>
                  <a:pt x="112603" y="358450"/>
                </a:lnTo>
                <a:lnTo>
                  <a:pt x="112190" y="358037"/>
                </a:lnTo>
                <a:lnTo>
                  <a:pt x="111777" y="357673"/>
                </a:lnTo>
                <a:cubicBezTo>
                  <a:pt x="108795" y="354821"/>
                  <a:pt x="107194" y="350817"/>
                  <a:pt x="107388" y="346696"/>
                </a:cubicBezTo>
                <a:lnTo>
                  <a:pt x="107388" y="193676"/>
                </a:lnTo>
                <a:cubicBezTo>
                  <a:pt x="107468" y="172770"/>
                  <a:pt x="120408" y="154070"/>
                  <a:pt x="139946" y="146628"/>
                </a:cubicBezTo>
                <a:lnTo>
                  <a:pt x="144012" y="166937"/>
                </a:lnTo>
                <a:cubicBezTo>
                  <a:pt x="141353" y="168368"/>
                  <a:pt x="138904" y="170162"/>
                  <a:pt x="136739" y="172268"/>
                </a:cubicBezTo>
                <a:cubicBezTo>
                  <a:pt x="123843" y="185196"/>
                  <a:pt x="123868" y="206129"/>
                  <a:pt x="136796" y="219025"/>
                </a:cubicBezTo>
                <a:cubicBezTo>
                  <a:pt x="149722" y="231922"/>
                  <a:pt x="170656" y="231896"/>
                  <a:pt x="183552" y="218969"/>
                </a:cubicBezTo>
                <a:cubicBezTo>
                  <a:pt x="196448" y="206041"/>
                  <a:pt x="196423" y="185108"/>
                  <a:pt x="183495" y="172211"/>
                </a:cubicBezTo>
                <a:cubicBezTo>
                  <a:pt x="177294" y="166024"/>
                  <a:pt x="168890" y="162552"/>
                  <a:pt x="160130" y="162556"/>
                </a:cubicBezTo>
                <a:lnTo>
                  <a:pt x="160006" y="162556"/>
                </a:lnTo>
                <a:lnTo>
                  <a:pt x="156163" y="143347"/>
                </a:lnTo>
                <a:cubicBezTo>
                  <a:pt x="156700" y="143347"/>
                  <a:pt x="157229" y="143273"/>
                  <a:pt x="157766" y="143273"/>
                </a:cubicBezTo>
                <a:lnTo>
                  <a:pt x="311663" y="143273"/>
                </a:lnTo>
                <a:cubicBezTo>
                  <a:pt x="316110" y="143348"/>
                  <a:pt x="320338" y="145220"/>
                  <a:pt x="323383" y="148463"/>
                </a:cubicBezTo>
                <a:lnTo>
                  <a:pt x="557546" y="382602"/>
                </a:lnTo>
                <a:cubicBezTo>
                  <a:pt x="563619" y="389236"/>
                  <a:pt x="563619" y="399409"/>
                  <a:pt x="557546" y="406043"/>
                </a:cubicBezTo>
                <a:close/>
                <a:moveTo>
                  <a:pt x="163395" y="179434"/>
                </a:moveTo>
                <a:cubicBezTo>
                  <a:pt x="172441" y="181152"/>
                  <a:pt x="178381" y="189877"/>
                  <a:pt x="176664" y="198923"/>
                </a:cubicBezTo>
                <a:cubicBezTo>
                  <a:pt x="174946" y="207970"/>
                  <a:pt x="166221" y="213910"/>
                  <a:pt x="157175" y="212192"/>
                </a:cubicBezTo>
                <a:cubicBezTo>
                  <a:pt x="148130" y="210475"/>
                  <a:pt x="142188" y="201749"/>
                  <a:pt x="143906" y="192703"/>
                </a:cubicBezTo>
                <a:cubicBezTo>
                  <a:pt x="144451" y="189836"/>
                  <a:pt x="145738" y="187161"/>
                  <a:pt x="147641" y="184948"/>
                </a:cubicBezTo>
                <a:lnTo>
                  <a:pt x="148997" y="191734"/>
                </a:lnTo>
                <a:cubicBezTo>
                  <a:pt x="149782" y="195580"/>
                  <a:pt x="153163" y="198343"/>
                  <a:pt x="157089" y="198346"/>
                </a:cubicBezTo>
                <a:cubicBezTo>
                  <a:pt x="157643" y="198348"/>
                  <a:pt x="158197" y="198295"/>
                  <a:pt x="158742" y="198189"/>
                </a:cubicBezTo>
                <a:cubicBezTo>
                  <a:pt x="163217" y="197292"/>
                  <a:pt x="166119" y="192936"/>
                  <a:pt x="165222" y="188460"/>
                </a:cubicBezTo>
                <a:close/>
              </a:path>
            </a:pathLst>
          </a:custGeom>
          <a:solidFill>
            <a:schemeClr val="lt1"/>
          </a:solidFill>
          <a:ln w="10980" cap="flat">
            <a:solidFill>
              <a:schemeClr val="accent5"/>
            </a:solidFill>
            <a:prstDash val="solid"/>
            <a:miter/>
          </a:ln>
        </p:spPr>
        <p:txBody>
          <a:bodyPr rtlCol="0" anchor="ctr"/>
          <a:lstStyle/>
          <a:p>
            <a:endParaRPr lang="en-GB"/>
          </a:p>
        </p:txBody>
      </p:sp>
    </p:spTree>
    <p:extLst>
      <p:ext uri="{BB962C8B-B14F-4D97-AF65-F5344CB8AC3E}">
        <p14:creationId xmlns:p14="http://schemas.microsoft.com/office/powerpoint/2010/main" val="3705492065"/>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1" name="Picture 12">
            <a:extLst>
              <a:ext uri="{FF2B5EF4-FFF2-40B4-BE49-F238E27FC236}">
                <a16:creationId xmlns:a16="http://schemas.microsoft.com/office/drawing/2014/main" id="{43802E0E-B79D-4EA7-8141-0CA3ED138B1A}"/>
              </a:ext>
            </a:extLst>
          </p:cNvPr>
          <p:cNvPicPr>
            <a:picLocks noChangeAspect="1"/>
          </p:cNvPicPr>
          <p:nvPr/>
        </p:nvPicPr>
        <p:blipFill>
          <a:blip r:embed="rId3"/>
          <a:srcRect/>
          <a:stretch>
            <a:fillRect/>
          </a:stretch>
        </p:blipFill>
        <p:spPr>
          <a:xfrm>
            <a:off x="0" y="8993140"/>
            <a:ext cx="5715000" cy="1385887"/>
          </a:xfrm>
          <a:prstGeom prst="rect">
            <a:avLst/>
          </a:prstGeom>
        </p:spPr>
      </p:pic>
      <p:grpSp>
        <p:nvGrpSpPr>
          <p:cNvPr id="132" name="Gruppo 2">
            <a:extLst>
              <a:ext uri="{FF2B5EF4-FFF2-40B4-BE49-F238E27FC236}">
                <a16:creationId xmlns:a16="http://schemas.microsoft.com/office/drawing/2014/main" id="{649928F6-6E82-4611-9715-AD3C75457C28}"/>
              </a:ext>
            </a:extLst>
          </p:cNvPr>
          <p:cNvGrpSpPr/>
          <p:nvPr/>
        </p:nvGrpSpPr>
        <p:grpSpPr>
          <a:xfrm>
            <a:off x="-12" y="138554"/>
            <a:ext cx="18288002" cy="681138"/>
            <a:chOff x="-12" y="138554"/>
            <a:chExt cx="18288002" cy="681138"/>
          </a:xfrm>
        </p:grpSpPr>
        <p:grpSp>
          <p:nvGrpSpPr>
            <p:cNvPr id="133" name="Gruppo 1">
              <a:extLst>
                <a:ext uri="{FF2B5EF4-FFF2-40B4-BE49-F238E27FC236}">
                  <a16:creationId xmlns:a16="http://schemas.microsoft.com/office/drawing/2014/main" id="{A8EB8794-E5C6-45EB-BAEC-2778E982797A}"/>
                </a:ext>
              </a:extLst>
            </p:cNvPr>
            <p:cNvGrpSpPr/>
            <p:nvPr/>
          </p:nvGrpSpPr>
          <p:grpSpPr>
            <a:xfrm>
              <a:off x="0" y="153125"/>
              <a:ext cx="17907000" cy="666567"/>
              <a:chOff x="0" y="153125"/>
              <a:chExt cx="17907000" cy="666567"/>
            </a:xfrm>
          </p:grpSpPr>
          <p:grpSp>
            <p:nvGrpSpPr>
              <p:cNvPr id="135" name="Gruppo 15">
                <a:extLst>
                  <a:ext uri="{FF2B5EF4-FFF2-40B4-BE49-F238E27FC236}">
                    <a16:creationId xmlns:a16="http://schemas.microsoft.com/office/drawing/2014/main" id="{AB129748-9FD7-458D-BD6E-304271C1814A}"/>
                  </a:ext>
                </a:extLst>
              </p:cNvPr>
              <p:cNvGrpSpPr/>
              <p:nvPr/>
            </p:nvGrpSpPr>
            <p:grpSpPr>
              <a:xfrm>
                <a:off x="0" y="153125"/>
                <a:ext cx="13958844" cy="666567"/>
                <a:chOff x="0" y="153125"/>
                <a:chExt cx="13958844" cy="666567"/>
              </a:xfrm>
            </p:grpSpPr>
            <p:pic>
              <p:nvPicPr>
                <p:cNvPr id="137" name="Picture 136">
                  <a:extLst>
                    <a:ext uri="{FF2B5EF4-FFF2-40B4-BE49-F238E27FC236}">
                      <a16:creationId xmlns:a16="http://schemas.microsoft.com/office/drawing/2014/main" id="{88E31CFD-796F-4F3F-A1EC-0E38F9D83456}"/>
                    </a:ext>
                  </a:extLst>
                </p:cNvPr>
                <p:cNvPicPr>
                  <a:picLocks noChangeAspect="1"/>
                </p:cNvPicPr>
                <p:nvPr/>
              </p:nvPicPr>
              <p:blipFill>
                <a:blip r:embed="rId4"/>
                <a:srcRect l="134" t="91287" b="3943"/>
                <a:stretch>
                  <a:fillRect/>
                </a:stretch>
              </p:blipFill>
              <p:spPr>
                <a:xfrm>
                  <a:off x="0" y="153125"/>
                  <a:ext cx="13958844" cy="666567"/>
                </a:xfrm>
                <a:prstGeom prst="rect">
                  <a:avLst/>
                </a:prstGeom>
              </p:spPr>
            </p:pic>
            <p:sp>
              <p:nvSpPr>
                <p:cNvPr id="138" name="TextBox 137">
                  <a:extLst>
                    <a:ext uri="{FF2B5EF4-FFF2-40B4-BE49-F238E27FC236}">
                      <a16:creationId xmlns:a16="http://schemas.microsoft.com/office/drawing/2014/main" id="{7694DADD-E227-40A7-A98D-244B0D207E54}"/>
                    </a:ext>
                  </a:extLst>
                </p:cNvPr>
                <p:cNvSpPr txBox="1"/>
                <p:nvPr/>
              </p:nvSpPr>
              <p:spPr>
                <a:xfrm>
                  <a:off x="228600" y="257980"/>
                  <a:ext cx="9296400" cy="456856"/>
                </a:xfrm>
                <a:prstGeom prst="rect">
                  <a:avLst/>
                </a:prstGeom>
              </p:spPr>
              <p:txBody>
                <a:bodyPr wrap="square" lIns="0" tIns="0" rIns="0" bIns="0" rtlCol="0" anchor="t">
                  <a:spAutoFit/>
                </a:bodyPr>
                <a:lstStyle/>
                <a:p>
                  <a:pPr marL="0" marR="0" lvl="0" indent="0" algn="l" defTabSz="914400" rtl="0" eaLnBrk="1" fontAlgn="auto" latinLnBrk="0" hangingPunct="1">
                    <a:lnSpc>
                      <a:spcPts val="3919"/>
                    </a:lnSpc>
                    <a:spcBef>
                      <a:spcPct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36" name="TextBox 135">
                <a:extLst>
                  <a:ext uri="{FF2B5EF4-FFF2-40B4-BE49-F238E27FC236}">
                    <a16:creationId xmlns:a16="http://schemas.microsoft.com/office/drawing/2014/main" id="{4B3CCEBB-60EF-4175-9878-F0D51FD80FF0}"/>
                  </a:ext>
                </a:extLst>
              </p:cNvPr>
              <p:cNvSpPr txBox="1"/>
              <p:nvPr/>
            </p:nvSpPr>
            <p:spPr>
              <a:xfrm>
                <a:off x="12154296" y="257980"/>
                <a:ext cx="5752704" cy="456856"/>
              </a:xfrm>
              <a:prstGeom prst="rect">
                <a:avLst/>
              </a:prstGeom>
            </p:spPr>
            <p:txBody>
              <a:bodyPr wrap="square" lIns="0" tIns="0" rIns="0" bIns="0" rtlCol="0" anchor="t">
                <a:spAutoFit/>
              </a:bodyPr>
              <a:lstStyle/>
              <a:p>
                <a:pPr marL="0" marR="0" lvl="0" indent="0" algn="r" defTabSz="914400" rtl="0" eaLnBrk="1" fontAlgn="auto" latinLnBrk="0" hangingPunct="1">
                  <a:lnSpc>
                    <a:spcPts val="3919"/>
                  </a:lnSpc>
                  <a:spcBef>
                    <a:spcPct val="0"/>
                  </a:spcBef>
                  <a:spcAft>
                    <a:spcPts val="0"/>
                  </a:spcAft>
                  <a:buClrTx/>
                  <a:buSzTx/>
                  <a:buFontTx/>
                  <a:buNone/>
                  <a:tabLst/>
                  <a:defRPr/>
                </a:pPr>
                <a:endParaRPr kumimoji="0" lang="en-US" sz="2800" b="0" i="0" u="none" strike="noStrike" kern="1200" cap="none" spc="0" normalizeH="0" baseline="0" noProof="0">
                  <a:ln>
                    <a:noFill/>
                  </a:ln>
                  <a:solidFill>
                    <a:srgbClr val="2F2F2F">
                      <a:lumMod val="75000"/>
                      <a:lumOff val="25000"/>
                    </a:srgbClr>
                  </a:solidFill>
                  <a:effectLst/>
                  <a:uLnTx/>
                  <a:uFillTx/>
                  <a:latin typeface="Arial" panose="020B0604020202020204" pitchFamily="34" charset="0"/>
                  <a:ea typeface="+mn-ea"/>
                  <a:cs typeface="Arial" panose="020B0604020202020204" pitchFamily="34" charset="0"/>
                </a:endParaRPr>
              </a:p>
            </p:txBody>
          </p:sp>
        </p:grpSp>
        <p:sp>
          <p:nvSpPr>
            <p:cNvPr id="134" name="Rettangolo 13">
              <a:extLst>
                <a:ext uri="{FF2B5EF4-FFF2-40B4-BE49-F238E27FC236}">
                  <a16:creationId xmlns:a16="http://schemas.microsoft.com/office/drawing/2014/main" id="{8F0CF2A7-592A-4287-9206-D3289F1B0C37}"/>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pic>
        <p:nvPicPr>
          <p:cNvPr id="139" name="Picture 12">
            <a:extLst>
              <a:ext uri="{FF2B5EF4-FFF2-40B4-BE49-F238E27FC236}">
                <a16:creationId xmlns:a16="http://schemas.microsoft.com/office/drawing/2014/main" id="{F047215A-40D8-4A57-BE02-5E03FCEEBB7B}"/>
              </a:ext>
            </a:extLst>
          </p:cNvPr>
          <p:cNvPicPr>
            <a:picLocks noChangeAspect="1"/>
          </p:cNvPicPr>
          <p:nvPr/>
        </p:nvPicPr>
        <p:blipFill>
          <a:blip r:embed="rId5"/>
          <a:srcRect l="134" t="91287" b="3943"/>
          <a:stretch>
            <a:fillRect/>
          </a:stretch>
        </p:blipFill>
        <p:spPr>
          <a:xfrm rot="10800000">
            <a:off x="4329146" y="9797731"/>
            <a:ext cx="13958844" cy="666567"/>
          </a:xfrm>
          <a:prstGeom prst="rect">
            <a:avLst/>
          </a:prstGeom>
        </p:spPr>
      </p:pic>
      <p:sp>
        <p:nvSpPr>
          <p:cNvPr id="140" name="TextBox 16">
            <a:extLst>
              <a:ext uri="{FF2B5EF4-FFF2-40B4-BE49-F238E27FC236}">
                <a16:creationId xmlns:a16="http://schemas.microsoft.com/office/drawing/2014/main" id="{C693B1DB-897C-4A9D-8CF3-F1423F6CB38D}"/>
              </a:ext>
            </a:extLst>
          </p:cNvPr>
          <p:cNvSpPr txBox="1"/>
          <p:nvPr/>
        </p:nvSpPr>
        <p:spPr>
          <a:xfrm>
            <a:off x="14400019" y="9762301"/>
            <a:ext cx="3636320" cy="448713"/>
          </a:xfrm>
          <a:prstGeom prst="rect">
            <a:avLst/>
          </a:prstGeom>
        </p:spPr>
        <p:txBody>
          <a:bodyPr wrap="square" lIns="0" tIns="0" rIns="0" bIns="0" rtlCol="0" anchor="t">
            <a:spAutoFit/>
          </a:bodyPr>
          <a:lstStyle/>
          <a:p>
            <a:pPr marL="0" marR="0" lvl="0" indent="0" algn="ctr" defTabSz="914400" rtl="0" eaLnBrk="1" fontAlgn="auto" latinLnBrk="0" hangingPunct="1">
              <a:lnSpc>
                <a:spcPts val="3919"/>
              </a:lnSpc>
              <a:spcBef>
                <a:spcPct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OCR A Extended" panose="02010509020102010303" pitchFamily="50" charset="0"/>
                <a:ea typeface="+mn-ea"/>
                <a:cs typeface="+mn-cs"/>
              </a:rPr>
              <a:t>www.retrofeed.eu</a:t>
            </a:r>
          </a:p>
        </p:txBody>
      </p:sp>
      <p:sp>
        <p:nvSpPr>
          <p:cNvPr id="4" name="TextBox 3">
            <a:extLst>
              <a:ext uri="{FF2B5EF4-FFF2-40B4-BE49-F238E27FC236}">
                <a16:creationId xmlns:a16="http://schemas.microsoft.com/office/drawing/2014/main" id="{E2A6C351-D084-461B-85B4-078A69C47372}"/>
              </a:ext>
            </a:extLst>
          </p:cNvPr>
          <p:cNvSpPr txBox="1"/>
          <p:nvPr/>
        </p:nvSpPr>
        <p:spPr>
          <a:xfrm>
            <a:off x="1073179" y="1087343"/>
            <a:ext cx="18552623" cy="769441"/>
          </a:xfrm>
          <a:prstGeom prst="rect">
            <a:avLst/>
          </a:prstGeom>
          <a:noFill/>
        </p:spPr>
        <p:txBody>
          <a:bodyPr wrap="square">
            <a:spAutoFit/>
          </a:bodyPr>
          <a:lstStyle>
            <a:defPPr>
              <a:defRPr lang="en-US"/>
            </a:defPPr>
            <a:lvl1pPr marR="0" lvl="0" indent="0" fontAlgn="auto">
              <a:lnSpc>
                <a:spcPct val="100000"/>
              </a:lnSpc>
              <a:spcBef>
                <a:spcPts val="0"/>
              </a:spcBef>
              <a:spcAft>
                <a:spcPts val="0"/>
              </a:spcAft>
              <a:buClrTx/>
              <a:buSzTx/>
              <a:buFontTx/>
              <a:buNone/>
              <a:tabLst/>
              <a:defRPr kumimoji="0" sz="4400" b="1" i="0" u="none" strike="noStrike" cap="none" spc="0" normalizeH="0" baseline="0">
                <a:ln>
                  <a:noFill/>
                </a:ln>
                <a:solidFill>
                  <a:srgbClr val="CC0033"/>
                </a:solidFill>
                <a:effectLst/>
                <a:uLnTx/>
                <a:uFillTx/>
                <a:latin typeface="Arial"/>
                <a:cs typeface="Arial" panose="020B0604020202020204" pitchFamily="34" charset="0"/>
              </a:defRPr>
            </a:lvl1pPr>
          </a:lstStyle>
          <a:p>
            <a:r>
              <a:rPr lang="sv-SE" dirty="0" err="1"/>
              <a:t>Delivery</a:t>
            </a:r>
            <a:r>
              <a:rPr lang="sv-SE" dirty="0"/>
              <a:t> process </a:t>
            </a:r>
            <a:r>
              <a:rPr lang="sv-SE" dirty="0" err="1"/>
              <a:t>of</a:t>
            </a:r>
            <a:r>
              <a:rPr lang="sv-SE" dirty="0"/>
              <a:t> </a:t>
            </a:r>
            <a:r>
              <a:rPr lang="sv-SE" dirty="0" err="1"/>
              <a:t>Retrofeed</a:t>
            </a:r>
            <a:r>
              <a:rPr lang="sv-SE" dirty="0"/>
              <a:t> </a:t>
            </a:r>
            <a:r>
              <a:rPr lang="sv-SE" dirty="0" err="1"/>
              <a:t>projects</a:t>
            </a:r>
            <a:endParaRPr lang="sv-SE" dirty="0"/>
          </a:p>
        </p:txBody>
      </p:sp>
      <p:grpSp>
        <p:nvGrpSpPr>
          <p:cNvPr id="7" name="Bild 18" descr="Fabrik kontur">
            <a:extLst>
              <a:ext uri="{FF2B5EF4-FFF2-40B4-BE49-F238E27FC236}">
                <a16:creationId xmlns:a16="http://schemas.microsoft.com/office/drawing/2014/main" id="{D3CDAB3B-6B33-37A9-E930-BDB49F85C0FB}"/>
              </a:ext>
            </a:extLst>
          </p:cNvPr>
          <p:cNvGrpSpPr/>
          <p:nvPr/>
        </p:nvGrpSpPr>
        <p:grpSpPr>
          <a:xfrm>
            <a:off x="6549529" y="4207254"/>
            <a:ext cx="500675" cy="500675"/>
            <a:chOff x="5846141" y="4275832"/>
            <a:chExt cx="500675" cy="500675"/>
          </a:xfrm>
          <a:solidFill>
            <a:schemeClr val="bg1"/>
          </a:solidFill>
        </p:grpSpPr>
        <p:sp>
          <p:nvSpPr>
            <p:cNvPr id="8" name="Frihandsfigur: Form 7">
              <a:extLst>
                <a:ext uri="{FF2B5EF4-FFF2-40B4-BE49-F238E27FC236}">
                  <a16:creationId xmlns:a16="http://schemas.microsoft.com/office/drawing/2014/main" id="{013CCFC9-8AE2-CA0A-7E46-767939482E9F}"/>
                </a:ext>
              </a:extLst>
            </p:cNvPr>
            <p:cNvSpPr/>
            <p:nvPr/>
          </p:nvSpPr>
          <p:spPr>
            <a:xfrm>
              <a:off x="5846141" y="4275832"/>
              <a:ext cx="500675" cy="500675"/>
            </a:xfrm>
            <a:custGeom>
              <a:avLst/>
              <a:gdLst>
                <a:gd name="connsiteX0" fmla="*/ 307558 w 500675"/>
                <a:gd name="connsiteY0" fmla="*/ 288639 h 500675"/>
                <a:gd name="connsiteX1" fmla="*/ 307558 w 500675"/>
                <a:gd name="connsiteY1" fmla="*/ 188504 h 500675"/>
                <a:gd name="connsiteX2" fmla="*/ 113632 w 500675"/>
                <a:gd name="connsiteY2" fmla="*/ 289061 h 500675"/>
                <a:gd name="connsiteX3" fmla="*/ 92482 w 500675"/>
                <a:gd name="connsiteY3" fmla="*/ 0 h 500675"/>
                <a:gd name="connsiteX4" fmla="*/ 21958 w 500675"/>
                <a:gd name="connsiteY4" fmla="*/ 0 h 500675"/>
                <a:gd name="connsiteX5" fmla="*/ 0 w 500675"/>
                <a:gd name="connsiteY5" fmla="*/ 300405 h 500675"/>
                <a:gd name="connsiteX6" fmla="*/ 0 w 500675"/>
                <a:gd name="connsiteY6" fmla="*/ 500675 h 500675"/>
                <a:gd name="connsiteX7" fmla="*/ 500675 w 500675"/>
                <a:gd name="connsiteY7" fmla="*/ 500675 h 500675"/>
                <a:gd name="connsiteX8" fmla="*/ 500675 w 500675"/>
                <a:gd name="connsiteY8" fmla="*/ 188504 h 500675"/>
                <a:gd name="connsiteX9" fmla="*/ 79178 w 500675"/>
                <a:gd name="connsiteY9" fmla="*/ 14305 h 500675"/>
                <a:gd name="connsiteX10" fmla="*/ 81796 w 500675"/>
                <a:gd name="connsiteY10" fmla="*/ 50068 h 500675"/>
                <a:gd name="connsiteX11" fmla="*/ 32644 w 500675"/>
                <a:gd name="connsiteY11" fmla="*/ 50068 h 500675"/>
                <a:gd name="connsiteX12" fmla="*/ 35262 w 500675"/>
                <a:gd name="connsiteY12" fmla="*/ 14305 h 500675"/>
                <a:gd name="connsiteX13" fmla="*/ 31593 w 500675"/>
                <a:gd name="connsiteY13" fmla="*/ 64373 h 500675"/>
                <a:gd name="connsiteX14" fmla="*/ 82847 w 500675"/>
                <a:gd name="connsiteY14" fmla="*/ 64373 h 500675"/>
                <a:gd name="connsiteX15" fmla="*/ 99591 w 500675"/>
                <a:gd name="connsiteY15" fmla="*/ 293253 h 500675"/>
                <a:gd name="connsiteX16" fmla="*/ 14849 w 500675"/>
                <a:gd name="connsiteY16" fmla="*/ 293253 h 500675"/>
                <a:gd name="connsiteX17" fmla="*/ 109433 w 500675"/>
                <a:gd name="connsiteY17" fmla="*/ 307336 h 500675"/>
                <a:gd name="connsiteX18" fmla="*/ 293253 w 500675"/>
                <a:gd name="connsiteY18" fmla="*/ 212036 h 500675"/>
                <a:gd name="connsiteX19" fmla="*/ 293253 w 500675"/>
                <a:gd name="connsiteY19" fmla="*/ 312171 h 500675"/>
                <a:gd name="connsiteX20" fmla="*/ 486370 w 500675"/>
                <a:gd name="connsiteY20" fmla="*/ 212036 h 500675"/>
                <a:gd name="connsiteX21" fmla="*/ 486370 w 500675"/>
                <a:gd name="connsiteY21" fmla="*/ 486370 h 500675"/>
                <a:gd name="connsiteX22" fmla="*/ 14305 w 500675"/>
                <a:gd name="connsiteY22" fmla="*/ 486370 h 500675"/>
                <a:gd name="connsiteX23" fmla="*/ 14305 w 500675"/>
                <a:gd name="connsiteY23" fmla="*/ 307558 h 500675"/>
                <a:gd name="connsiteX24" fmla="*/ 100636 w 500675"/>
                <a:gd name="connsiteY24" fmla="*/ 307558 h 500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00675" h="500675">
                  <a:moveTo>
                    <a:pt x="307558" y="288639"/>
                  </a:moveTo>
                  <a:lnTo>
                    <a:pt x="307558" y="188504"/>
                  </a:lnTo>
                  <a:lnTo>
                    <a:pt x="113632" y="289061"/>
                  </a:lnTo>
                  <a:lnTo>
                    <a:pt x="92482" y="0"/>
                  </a:lnTo>
                  <a:lnTo>
                    <a:pt x="21958" y="0"/>
                  </a:lnTo>
                  <a:lnTo>
                    <a:pt x="0" y="300405"/>
                  </a:lnTo>
                  <a:lnTo>
                    <a:pt x="0" y="500675"/>
                  </a:lnTo>
                  <a:lnTo>
                    <a:pt x="500675" y="500675"/>
                  </a:lnTo>
                  <a:lnTo>
                    <a:pt x="500675" y="188504"/>
                  </a:lnTo>
                  <a:close/>
                  <a:moveTo>
                    <a:pt x="79178" y="14305"/>
                  </a:moveTo>
                  <a:lnTo>
                    <a:pt x="81796" y="50068"/>
                  </a:lnTo>
                  <a:lnTo>
                    <a:pt x="32644" y="50068"/>
                  </a:lnTo>
                  <a:lnTo>
                    <a:pt x="35262" y="14305"/>
                  </a:lnTo>
                  <a:close/>
                  <a:moveTo>
                    <a:pt x="31593" y="64373"/>
                  </a:moveTo>
                  <a:lnTo>
                    <a:pt x="82847" y="64373"/>
                  </a:lnTo>
                  <a:lnTo>
                    <a:pt x="99591" y="293253"/>
                  </a:lnTo>
                  <a:lnTo>
                    <a:pt x="14849" y="293253"/>
                  </a:lnTo>
                  <a:close/>
                  <a:moveTo>
                    <a:pt x="109433" y="307336"/>
                  </a:moveTo>
                  <a:lnTo>
                    <a:pt x="293253" y="212036"/>
                  </a:lnTo>
                  <a:lnTo>
                    <a:pt x="293253" y="312171"/>
                  </a:lnTo>
                  <a:lnTo>
                    <a:pt x="486370" y="212036"/>
                  </a:lnTo>
                  <a:lnTo>
                    <a:pt x="486370" y="486370"/>
                  </a:lnTo>
                  <a:lnTo>
                    <a:pt x="14305" y="486370"/>
                  </a:lnTo>
                  <a:lnTo>
                    <a:pt x="14305" y="307558"/>
                  </a:lnTo>
                  <a:lnTo>
                    <a:pt x="100636" y="307558"/>
                  </a:lnTo>
                  <a:close/>
                </a:path>
              </a:pathLst>
            </a:custGeom>
            <a:solidFill>
              <a:schemeClr val="bg1"/>
            </a:solidFill>
            <a:ln w="7144" cap="flat">
              <a:solidFill>
                <a:schemeClr val="bg1"/>
              </a:solidFill>
              <a:prstDash val="solid"/>
              <a:miter/>
            </a:ln>
          </p:spPr>
          <p:txBody>
            <a:bodyPr rtlCol="0" anchor="ctr"/>
            <a:lstStyle/>
            <a:p>
              <a:endParaRPr lang="en-GB"/>
            </a:p>
          </p:txBody>
        </p:sp>
        <p:sp>
          <p:nvSpPr>
            <p:cNvPr id="9" name="Frihandsfigur: Form 8">
              <a:extLst>
                <a:ext uri="{FF2B5EF4-FFF2-40B4-BE49-F238E27FC236}">
                  <a16:creationId xmlns:a16="http://schemas.microsoft.com/office/drawing/2014/main" id="{C9C88383-F492-2648-7F7A-ADE70631DB0E}"/>
                </a:ext>
              </a:extLst>
            </p:cNvPr>
            <p:cNvSpPr/>
            <p:nvPr/>
          </p:nvSpPr>
          <p:spPr>
            <a:xfrm>
              <a:off x="5896209" y="4647762"/>
              <a:ext cx="114440" cy="71525"/>
            </a:xfrm>
            <a:custGeom>
              <a:avLst/>
              <a:gdLst>
                <a:gd name="connsiteX0" fmla="*/ 0 w 114440"/>
                <a:gd name="connsiteY0" fmla="*/ 71525 h 71525"/>
                <a:gd name="connsiteX1" fmla="*/ 114440 w 114440"/>
                <a:gd name="connsiteY1" fmla="*/ 71525 h 71525"/>
                <a:gd name="connsiteX2" fmla="*/ 114440 w 114440"/>
                <a:gd name="connsiteY2" fmla="*/ 0 h 71525"/>
                <a:gd name="connsiteX3" fmla="*/ 0 w 114440"/>
                <a:gd name="connsiteY3" fmla="*/ 0 h 71525"/>
                <a:gd name="connsiteX4" fmla="*/ 100135 w 114440"/>
                <a:gd name="connsiteY4" fmla="*/ 57220 h 71525"/>
                <a:gd name="connsiteX5" fmla="*/ 64373 w 114440"/>
                <a:gd name="connsiteY5" fmla="*/ 57220 h 71525"/>
                <a:gd name="connsiteX6" fmla="*/ 64373 w 114440"/>
                <a:gd name="connsiteY6" fmla="*/ 14305 h 71525"/>
                <a:gd name="connsiteX7" fmla="*/ 100135 w 114440"/>
                <a:gd name="connsiteY7" fmla="*/ 14305 h 71525"/>
                <a:gd name="connsiteX8" fmla="*/ 14305 w 114440"/>
                <a:gd name="connsiteY8" fmla="*/ 14305 h 71525"/>
                <a:gd name="connsiteX9" fmla="*/ 50068 w 114440"/>
                <a:gd name="connsiteY9" fmla="*/ 14305 h 71525"/>
                <a:gd name="connsiteX10" fmla="*/ 50068 w 114440"/>
                <a:gd name="connsiteY10" fmla="*/ 57220 h 71525"/>
                <a:gd name="connsiteX11" fmla="*/ 14305 w 114440"/>
                <a:gd name="connsiteY11" fmla="*/ 57220 h 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4440" h="71525">
                  <a:moveTo>
                    <a:pt x="0" y="71525"/>
                  </a:moveTo>
                  <a:lnTo>
                    <a:pt x="114440" y="71525"/>
                  </a:lnTo>
                  <a:lnTo>
                    <a:pt x="114440" y="0"/>
                  </a:lnTo>
                  <a:lnTo>
                    <a:pt x="0" y="0"/>
                  </a:lnTo>
                  <a:close/>
                  <a:moveTo>
                    <a:pt x="100135" y="57220"/>
                  </a:moveTo>
                  <a:lnTo>
                    <a:pt x="64373" y="57220"/>
                  </a:lnTo>
                  <a:lnTo>
                    <a:pt x="64373" y="14305"/>
                  </a:lnTo>
                  <a:lnTo>
                    <a:pt x="100135" y="14305"/>
                  </a:lnTo>
                  <a:close/>
                  <a:moveTo>
                    <a:pt x="14305" y="14305"/>
                  </a:moveTo>
                  <a:lnTo>
                    <a:pt x="50068" y="14305"/>
                  </a:lnTo>
                  <a:lnTo>
                    <a:pt x="50068" y="57220"/>
                  </a:lnTo>
                  <a:lnTo>
                    <a:pt x="14305" y="57220"/>
                  </a:lnTo>
                  <a:close/>
                </a:path>
              </a:pathLst>
            </a:custGeom>
            <a:solidFill>
              <a:schemeClr val="bg1"/>
            </a:solidFill>
            <a:ln w="7144" cap="flat">
              <a:solidFill>
                <a:schemeClr val="bg1"/>
              </a:solidFill>
              <a:prstDash val="solid"/>
              <a:miter/>
            </a:ln>
          </p:spPr>
          <p:txBody>
            <a:bodyPr rtlCol="0" anchor="ctr"/>
            <a:lstStyle/>
            <a:p>
              <a:endParaRPr lang="en-GB"/>
            </a:p>
          </p:txBody>
        </p:sp>
        <p:sp>
          <p:nvSpPr>
            <p:cNvPr id="10" name="Frihandsfigur: Form 9">
              <a:extLst>
                <a:ext uri="{FF2B5EF4-FFF2-40B4-BE49-F238E27FC236}">
                  <a16:creationId xmlns:a16="http://schemas.microsoft.com/office/drawing/2014/main" id="{8B7CE92C-7365-578D-4B6C-672C025CDEA9}"/>
                </a:ext>
              </a:extLst>
            </p:cNvPr>
            <p:cNvSpPr/>
            <p:nvPr/>
          </p:nvSpPr>
          <p:spPr>
            <a:xfrm>
              <a:off x="6039259" y="4647762"/>
              <a:ext cx="114440" cy="71525"/>
            </a:xfrm>
            <a:custGeom>
              <a:avLst/>
              <a:gdLst>
                <a:gd name="connsiteX0" fmla="*/ 0 w 114440"/>
                <a:gd name="connsiteY0" fmla="*/ 71525 h 71525"/>
                <a:gd name="connsiteX1" fmla="*/ 114440 w 114440"/>
                <a:gd name="connsiteY1" fmla="*/ 71525 h 71525"/>
                <a:gd name="connsiteX2" fmla="*/ 114440 w 114440"/>
                <a:gd name="connsiteY2" fmla="*/ 0 h 71525"/>
                <a:gd name="connsiteX3" fmla="*/ 0 w 114440"/>
                <a:gd name="connsiteY3" fmla="*/ 0 h 71525"/>
                <a:gd name="connsiteX4" fmla="*/ 100135 w 114440"/>
                <a:gd name="connsiteY4" fmla="*/ 57220 h 71525"/>
                <a:gd name="connsiteX5" fmla="*/ 64373 w 114440"/>
                <a:gd name="connsiteY5" fmla="*/ 57220 h 71525"/>
                <a:gd name="connsiteX6" fmla="*/ 64373 w 114440"/>
                <a:gd name="connsiteY6" fmla="*/ 14305 h 71525"/>
                <a:gd name="connsiteX7" fmla="*/ 100135 w 114440"/>
                <a:gd name="connsiteY7" fmla="*/ 14305 h 71525"/>
                <a:gd name="connsiteX8" fmla="*/ 14305 w 114440"/>
                <a:gd name="connsiteY8" fmla="*/ 14305 h 71525"/>
                <a:gd name="connsiteX9" fmla="*/ 50068 w 114440"/>
                <a:gd name="connsiteY9" fmla="*/ 14305 h 71525"/>
                <a:gd name="connsiteX10" fmla="*/ 50068 w 114440"/>
                <a:gd name="connsiteY10" fmla="*/ 57220 h 71525"/>
                <a:gd name="connsiteX11" fmla="*/ 14305 w 114440"/>
                <a:gd name="connsiteY11" fmla="*/ 57220 h 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4440" h="71525">
                  <a:moveTo>
                    <a:pt x="0" y="71525"/>
                  </a:moveTo>
                  <a:lnTo>
                    <a:pt x="114440" y="71525"/>
                  </a:lnTo>
                  <a:lnTo>
                    <a:pt x="114440" y="0"/>
                  </a:lnTo>
                  <a:lnTo>
                    <a:pt x="0" y="0"/>
                  </a:lnTo>
                  <a:close/>
                  <a:moveTo>
                    <a:pt x="100135" y="57220"/>
                  </a:moveTo>
                  <a:lnTo>
                    <a:pt x="64373" y="57220"/>
                  </a:lnTo>
                  <a:lnTo>
                    <a:pt x="64373" y="14305"/>
                  </a:lnTo>
                  <a:lnTo>
                    <a:pt x="100135" y="14305"/>
                  </a:lnTo>
                  <a:close/>
                  <a:moveTo>
                    <a:pt x="14305" y="14305"/>
                  </a:moveTo>
                  <a:lnTo>
                    <a:pt x="50068" y="14305"/>
                  </a:lnTo>
                  <a:lnTo>
                    <a:pt x="50068" y="57220"/>
                  </a:lnTo>
                  <a:lnTo>
                    <a:pt x="14305" y="57220"/>
                  </a:lnTo>
                  <a:close/>
                </a:path>
              </a:pathLst>
            </a:custGeom>
            <a:solidFill>
              <a:schemeClr val="bg1"/>
            </a:solidFill>
            <a:ln w="7144" cap="flat">
              <a:solidFill>
                <a:schemeClr val="bg1"/>
              </a:solidFill>
              <a:prstDash val="solid"/>
              <a:miter/>
            </a:ln>
          </p:spPr>
          <p:txBody>
            <a:bodyPr rtlCol="0" anchor="ctr"/>
            <a:lstStyle/>
            <a:p>
              <a:endParaRPr lang="en-GB"/>
            </a:p>
          </p:txBody>
        </p:sp>
        <p:sp>
          <p:nvSpPr>
            <p:cNvPr id="11" name="Frihandsfigur: Form 10">
              <a:extLst>
                <a:ext uri="{FF2B5EF4-FFF2-40B4-BE49-F238E27FC236}">
                  <a16:creationId xmlns:a16="http://schemas.microsoft.com/office/drawing/2014/main" id="{CE79BCD6-DDD2-64E7-9D3A-57F9616825A7}"/>
                </a:ext>
              </a:extLst>
            </p:cNvPr>
            <p:cNvSpPr/>
            <p:nvPr/>
          </p:nvSpPr>
          <p:spPr>
            <a:xfrm>
              <a:off x="6182309" y="4647762"/>
              <a:ext cx="114440" cy="71525"/>
            </a:xfrm>
            <a:custGeom>
              <a:avLst/>
              <a:gdLst>
                <a:gd name="connsiteX0" fmla="*/ 114440 w 114440"/>
                <a:gd name="connsiteY0" fmla="*/ 0 h 71525"/>
                <a:gd name="connsiteX1" fmla="*/ 0 w 114440"/>
                <a:gd name="connsiteY1" fmla="*/ 0 h 71525"/>
                <a:gd name="connsiteX2" fmla="*/ 0 w 114440"/>
                <a:gd name="connsiteY2" fmla="*/ 71525 h 71525"/>
                <a:gd name="connsiteX3" fmla="*/ 114440 w 114440"/>
                <a:gd name="connsiteY3" fmla="*/ 71525 h 71525"/>
                <a:gd name="connsiteX4" fmla="*/ 14305 w 114440"/>
                <a:gd name="connsiteY4" fmla="*/ 14305 h 71525"/>
                <a:gd name="connsiteX5" fmla="*/ 50068 w 114440"/>
                <a:gd name="connsiteY5" fmla="*/ 14305 h 71525"/>
                <a:gd name="connsiteX6" fmla="*/ 50068 w 114440"/>
                <a:gd name="connsiteY6" fmla="*/ 57220 h 71525"/>
                <a:gd name="connsiteX7" fmla="*/ 14305 w 114440"/>
                <a:gd name="connsiteY7" fmla="*/ 57220 h 71525"/>
                <a:gd name="connsiteX8" fmla="*/ 100135 w 114440"/>
                <a:gd name="connsiteY8" fmla="*/ 57220 h 71525"/>
                <a:gd name="connsiteX9" fmla="*/ 64373 w 114440"/>
                <a:gd name="connsiteY9" fmla="*/ 57220 h 71525"/>
                <a:gd name="connsiteX10" fmla="*/ 64373 w 114440"/>
                <a:gd name="connsiteY10" fmla="*/ 14305 h 71525"/>
                <a:gd name="connsiteX11" fmla="*/ 100135 w 114440"/>
                <a:gd name="connsiteY11" fmla="*/ 14305 h 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4440" h="71525">
                  <a:moveTo>
                    <a:pt x="114440" y="0"/>
                  </a:moveTo>
                  <a:lnTo>
                    <a:pt x="0" y="0"/>
                  </a:lnTo>
                  <a:lnTo>
                    <a:pt x="0" y="71525"/>
                  </a:lnTo>
                  <a:lnTo>
                    <a:pt x="114440" y="71525"/>
                  </a:lnTo>
                  <a:close/>
                  <a:moveTo>
                    <a:pt x="14305" y="14305"/>
                  </a:moveTo>
                  <a:lnTo>
                    <a:pt x="50068" y="14305"/>
                  </a:lnTo>
                  <a:lnTo>
                    <a:pt x="50068" y="57220"/>
                  </a:lnTo>
                  <a:lnTo>
                    <a:pt x="14305" y="57220"/>
                  </a:lnTo>
                  <a:close/>
                  <a:moveTo>
                    <a:pt x="100135" y="57220"/>
                  </a:moveTo>
                  <a:lnTo>
                    <a:pt x="64373" y="57220"/>
                  </a:lnTo>
                  <a:lnTo>
                    <a:pt x="64373" y="14305"/>
                  </a:lnTo>
                  <a:lnTo>
                    <a:pt x="100135" y="14305"/>
                  </a:lnTo>
                  <a:close/>
                </a:path>
              </a:pathLst>
            </a:custGeom>
            <a:solidFill>
              <a:schemeClr val="bg1"/>
            </a:solidFill>
            <a:ln w="7144" cap="flat">
              <a:solidFill>
                <a:schemeClr val="bg1"/>
              </a:solidFill>
              <a:prstDash val="solid"/>
              <a:miter/>
            </a:ln>
          </p:spPr>
          <p:txBody>
            <a:bodyPr rtlCol="0" anchor="ctr"/>
            <a:lstStyle/>
            <a:p>
              <a:endParaRPr lang="en-GB"/>
            </a:p>
          </p:txBody>
        </p:sp>
      </p:grpSp>
      <p:grpSp>
        <p:nvGrpSpPr>
          <p:cNvPr id="12" name="Bild 22" descr="Användare kontur">
            <a:extLst>
              <a:ext uri="{FF2B5EF4-FFF2-40B4-BE49-F238E27FC236}">
                <a16:creationId xmlns:a16="http://schemas.microsoft.com/office/drawing/2014/main" id="{7D9D3EB5-47E2-845E-69AF-35E6F5F7306E}"/>
              </a:ext>
            </a:extLst>
          </p:cNvPr>
          <p:cNvGrpSpPr/>
          <p:nvPr/>
        </p:nvGrpSpPr>
        <p:grpSpPr>
          <a:xfrm>
            <a:off x="6880942" y="4190394"/>
            <a:ext cx="524545" cy="318468"/>
            <a:chOff x="6177554" y="4258972"/>
            <a:chExt cx="524545" cy="318468"/>
          </a:xfrm>
          <a:solidFill>
            <a:schemeClr val="bg1"/>
          </a:solidFill>
        </p:grpSpPr>
        <p:sp>
          <p:nvSpPr>
            <p:cNvPr id="14" name="Frihandsfigur: Form 13">
              <a:extLst>
                <a:ext uri="{FF2B5EF4-FFF2-40B4-BE49-F238E27FC236}">
                  <a16:creationId xmlns:a16="http://schemas.microsoft.com/office/drawing/2014/main" id="{CF1E8E4B-DE17-467D-3F33-F1A5FD659284}"/>
                </a:ext>
              </a:extLst>
            </p:cNvPr>
            <p:cNvSpPr/>
            <p:nvPr/>
          </p:nvSpPr>
          <p:spPr>
            <a:xfrm>
              <a:off x="6233710" y="4258972"/>
              <a:ext cx="112411" cy="112411"/>
            </a:xfrm>
            <a:custGeom>
              <a:avLst/>
              <a:gdLst>
                <a:gd name="connsiteX0" fmla="*/ 56206 w 112411"/>
                <a:gd name="connsiteY0" fmla="*/ 112412 h 112411"/>
                <a:gd name="connsiteX1" fmla="*/ 112412 w 112411"/>
                <a:gd name="connsiteY1" fmla="*/ 56206 h 112411"/>
                <a:gd name="connsiteX2" fmla="*/ 56206 w 112411"/>
                <a:gd name="connsiteY2" fmla="*/ 0 h 112411"/>
                <a:gd name="connsiteX3" fmla="*/ 0 w 112411"/>
                <a:gd name="connsiteY3" fmla="*/ 56206 h 112411"/>
                <a:gd name="connsiteX4" fmla="*/ 56206 w 112411"/>
                <a:gd name="connsiteY4" fmla="*/ 112412 h 112411"/>
                <a:gd name="connsiteX5" fmla="*/ 56206 w 112411"/>
                <a:gd name="connsiteY5" fmla="*/ 12459 h 112411"/>
                <a:gd name="connsiteX6" fmla="*/ 99922 w 112411"/>
                <a:gd name="connsiteY6" fmla="*/ 56175 h 112411"/>
                <a:gd name="connsiteX7" fmla="*/ 56206 w 112411"/>
                <a:gd name="connsiteY7" fmla="*/ 99890 h 112411"/>
                <a:gd name="connsiteX8" fmla="*/ 12490 w 112411"/>
                <a:gd name="connsiteY8" fmla="*/ 56175 h 112411"/>
                <a:gd name="connsiteX9" fmla="*/ 56206 w 112411"/>
                <a:gd name="connsiteY9" fmla="*/ 12459 h 112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2411" h="112411">
                  <a:moveTo>
                    <a:pt x="56206" y="112412"/>
                  </a:moveTo>
                  <a:cubicBezTo>
                    <a:pt x="87248" y="112412"/>
                    <a:pt x="112412" y="87248"/>
                    <a:pt x="112412" y="56206"/>
                  </a:cubicBezTo>
                  <a:cubicBezTo>
                    <a:pt x="112412" y="25164"/>
                    <a:pt x="87248" y="0"/>
                    <a:pt x="56206" y="0"/>
                  </a:cubicBezTo>
                  <a:cubicBezTo>
                    <a:pt x="25164" y="0"/>
                    <a:pt x="0" y="25164"/>
                    <a:pt x="0" y="56206"/>
                  </a:cubicBezTo>
                  <a:cubicBezTo>
                    <a:pt x="0" y="87248"/>
                    <a:pt x="25164" y="112412"/>
                    <a:pt x="56206" y="112412"/>
                  </a:cubicBezTo>
                  <a:close/>
                  <a:moveTo>
                    <a:pt x="56206" y="12459"/>
                  </a:moveTo>
                  <a:cubicBezTo>
                    <a:pt x="80349" y="12459"/>
                    <a:pt x="99922" y="32031"/>
                    <a:pt x="99922" y="56175"/>
                  </a:cubicBezTo>
                  <a:cubicBezTo>
                    <a:pt x="99922" y="80318"/>
                    <a:pt x="80349" y="99890"/>
                    <a:pt x="56206" y="99890"/>
                  </a:cubicBezTo>
                  <a:cubicBezTo>
                    <a:pt x="32062" y="99890"/>
                    <a:pt x="12490" y="80318"/>
                    <a:pt x="12490" y="56175"/>
                  </a:cubicBezTo>
                  <a:cubicBezTo>
                    <a:pt x="12521" y="32044"/>
                    <a:pt x="32075" y="12490"/>
                    <a:pt x="56206" y="12459"/>
                  </a:cubicBezTo>
                  <a:close/>
                </a:path>
              </a:pathLst>
            </a:custGeom>
            <a:solidFill>
              <a:schemeClr val="bg1"/>
            </a:solidFill>
            <a:ln w="6152" cap="flat">
              <a:noFill/>
              <a:prstDash val="solid"/>
              <a:miter/>
            </a:ln>
          </p:spPr>
          <p:txBody>
            <a:bodyPr rtlCol="0" anchor="ctr"/>
            <a:lstStyle/>
            <a:p>
              <a:endParaRPr lang="en-GB"/>
            </a:p>
          </p:txBody>
        </p:sp>
        <p:sp>
          <p:nvSpPr>
            <p:cNvPr id="16" name="Frihandsfigur: Form 15">
              <a:extLst>
                <a:ext uri="{FF2B5EF4-FFF2-40B4-BE49-F238E27FC236}">
                  <a16:creationId xmlns:a16="http://schemas.microsoft.com/office/drawing/2014/main" id="{D12D5A32-F746-FF88-703E-6EF29404F1B1}"/>
                </a:ext>
              </a:extLst>
            </p:cNvPr>
            <p:cNvSpPr/>
            <p:nvPr/>
          </p:nvSpPr>
          <p:spPr>
            <a:xfrm>
              <a:off x="6533474" y="4258972"/>
              <a:ext cx="112411" cy="112411"/>
            </a:xfrm>
            <a:custGeom>
              <a:avLst/>
              <a:gdLst>
                <a:gd name="connsiteX0" fmla="*/ 56206 w 112411"/>
                <a:gd name="connsiteY0" fmla="*/ 112412 h 112411"/>
                <a:gd name="connsiteX1" fmla="*/ 112412 w 112411"/>
                <a:gd name="connsiteY1" fmla="*/ 56206 h 112411"/>
                <a:gd name="connsiteX2" fmla="*/ 56206 w 112411"/>
                <a:gd name="connsiteY2" fmla="*/ 0 h 112411"/>
                <a:gd name="connsiteX3" fmla="*/ 0 w 112411"/>
                <a:gd name="connsiteY3" fmla="*/ 56206 h 112411"/>
                <a:gd name="connsiteX4" fmla="*/ 56206 w 112411"/>
                <a:gd name="connsiteY4" fmla="*/ 112412 h 112411"/>
                <a:gd name="connsiteX5" fmla="*/ 56206 w 112411"/>
                <a:gd name="connsiteY5" fmla="*/ 12459 h 112411"/>
                <a:gd name="connsiteX6" fmla="*/ 99922 w 112411"/>
                <a:gd name="connsiteY6" fmla="*/ 56175 h 112411"/>
                <a:gd name="connsiteX7" fmla="*/ 56206 w 112411"/>
                <a:gd name="connsiteY7" fmla="*/ 99890 h 112411"/>
                <a:gd name="connsiteX8" fmla="*/ 12490 w 112411"/>
                <a:gd name="connsiteY8" fmla="*/ 56175 h 112411"/>
                <a:gd name="connsiteX9" fmla="*/ 56206 w 112411"/>
                <a:gd name="connsiteY9" fmla="*/ 12459 h 112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2411" h="112411">
                  <a:moveTo>
                    <a:pt x="56206" y="112412"/>
                  </a:moveTo>
                  <a:cubicBezTo>
                    <a:pt x="87248" y="112412"/>
                    <a:pt x="112412" y="87248"/>
                    <a:pt x="112412" y="56206"/>
                  </a:cubicBezTo>
                  <a:cubicBezTo>
                    <a:pt x="112412" y="25164"/>
                    <a:pt x="87248" y="0"/>
                    <a:pt x="56206" y="0"/>
                  </a:cubicBezTo>
                  <a:cubicBezTo>
                    <a:pt x="25164" y="0"/>
                    <a:pt x="0" y="25164"/>
                    <a:pt x="0" y="56206"/>
                  </a:cubicBezTo>
                  <a:cubicBezTo>
                    <a:pt x="0" y="87248"/>
                    <a:pt x="25164" y="112412"/>
                    <a:pt x="56206" y="112412"/>
                  </a:cubicBezTo>
                  <a:close/>
                  <a:moveTo>
                    <a:pt x="56206" y="12459"/>
                  </a:moveTo>
                  <a:cubicBezTo>
                    <a:pt x="80349" y="12459"/>
                    <a:pt x="99922" y="32031"/>
                    <a:pt x="99922" y="56175"/>
                  </a:cubicBezTo>
                  <a:cubicBezTo>
                    <a:pt x="99922" y="80318"/>
                    <a:pt x="80349" y="99890"/>
                    <a:pt x="56206" y="99890"/>
                  </a:cubicBezTo>
                  <a:cubicBezTo>
                    <a:pt x="32062" y="99890"/>
                    <a:pt x="12490" y="80318"/>
                    <a:pt x="12490" y="56175"/>
                  </a:cubicBezTo>
                  <a:cubicBezTo>
                    <a:pt x="12521" y="32044"/>
                    <a:pt x="32075" y="12490"/>
                    <a:pt x="56206" y="12459"/>
                  </a:cubicBezTo>
                  <a:close/>
                </a:path>
              </a:pathLst>
            </a:custGeom>
            <a:solidFill>
              <a:schemeClr val="bg1"/>
            </a:solidFill>
            <a:ln w="6152" cap="flat">
              <a:noFill/>
              <a:prstDash val="solid"/>
              <a:miter/>
            </a:ln>
          </p:spPr>
          <p:txBody>
            <a:bodyPr rtlCol="0" anchor="ctr"/>
            <a:lstStyle/>
            <a:p>
              <a:endParaRPr lang="en-GB"/>
            </a:p>
          </p:txBody>
        </p:sp>
        <p:sp>
          <p:nvSpPr>
            <p:cNvPr id="17" name="Frihandsfigur: Form 16">
              <a:extLst>
                <a:ext uri="{FF2B5EF4-FFF2-40B4-BE49-F238E27FC236}">
                  <a16:creationId xmlns:a16="http://schemas.microsoft.com/office/drawing/2014/main" id="{47AFBAEE-0CC1-E5CE-19AC-FC8070A6C8F9}"/>
                </a:ext>
              </a:extLst>
            </p:cNvPr>
            <p:cNvSpPr/>
            <p:nvPr/>
          </p:nvSpPr>
          <p:spPr>
            <a:xfrm>
              <a:off x="6512560" y="4385029"/>
              <a:ext cx="189539" cy="106166"/>
            </a:xfrm>
            <a:custGeom>
              <a:avLst/>
              <a:gdLst>
                <a:gd name="connsiteX0" fmla="*/ 176418 w 189539"/>
                <a:gd name="connsiteY0" fmla="*/ 33093 h 106166"/>
                <a:gd name="connsiteX1" fmla="*/ 122416 w 189539"/>
                <a:gd name="connsiteY1" fmla="*/ 7294 h 106166"/>
                <a:gd name="connsiteX2" fmla="*/ 77121 w 189539"/>
                <a:gd name="connsiteY2" fmla="*/ 0 h 106166"/>
                <a:gd name="connsiteX3" fmla="*/ 31962 w 189539"/>
                <a:gd name="connsiteY3" fmla="*/ 7263 h 106166"/>
                <a:gd name="connsiteX4" fmla="*/ 2048 w 189539"/>
                <a:gd name="connsiteY4" fmla="*/ 18660 h 106166"/>
                <a:gd name="connsiteX5" fmla="*/ 0 w 189539"/>
                <a:gd name="connsiteY5" fmla="*/ 33898 h 106166"/>
                <a:gd name="connsiteX6" fmla="*/ 35460 w 189539"/>
                <a:gd name="connsiteY6" fmla="*/ 19247 h 106166"/>
                <a:gd name="connsiteX7" fmla="*/ 77121 w 189539"/>
                <a:gd name="connsiteY7" fmla="*/ 12490 h 106166"/>
                <a:gd name="connsiteX8" fmla="*/ 119238 w 189539"/>
                <a:gd name="connsiteY8" fmla="*/ 19360 h 106166"/>
                <a:gd name="connsiteX9" fmla="*/ 168649 w 189539"/>
                <a:gd name="connsiteY9" fmla="*/ 42873 h 106166"/>
                <a:gd name="connsiteX10" fmla="*/ 169186 w 189539"/>
                <a:gd name="connsiteY10" fmla="*/ 43272 h 106166"/>
                <a:gd name="connsiteX11" fmla="*/ 177042 w 189539"/>
                <a:gd name="connsiteY11" fmla="*/ 59328 h 106166"/>
                <a:gd name="connsiteX12" fmla="*/ 177042 w 189539"/>
                <a:gd name="connsiteY12" fmla="*/ 106167 h 106166"/>
                <a:gd name="connsiteX13" fmla="*/ 189532 w 189539"/>
                <a:gd name="connsiteY13" fmla="*/ 106167 h 106166"/>
                <a:gd name="connsiteX14" fmla="*/ 189532 w 189539"/>
                <a:gd name="connsiteY14" fmla="*/ 59328 h 106166"/>
                <a:gd name="connsiteX15" fmla="*/ 176418 w 189539"/>
                <a:gd name="connsiteY15" fmla="*/ 33093 h 106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9539" h="106166">
                  <a:moveTo>
                    <a:pt x="176418" y="33093"/>
                  </a:moveTo>
                  <a:cubicBezTo>
                    <a:pt x="160500" y="20680"/>
                    <a:pt x="142074" y="11877"/>
                    <a:pt x="122416" y="7294"/>
                  </a:cubicBezTo>
                  <a:cubicBezTo>
                    <a:pt x="107700" y="2900"/>
                    <a:pt x="92472" y="447"/>
                    <a:pt x="77121" y="0"/>
                  </a:cubicBezTo>
                  <a:cubicBezTo>
                    <a:pt x="61778" y="16"/>
                    <a:pt x="46536" y="2467"/>
                    <a:pt x="31962" y="7263"/>
                  </a:cubicBezTo>
                  <a:cubicBezTo>
                    <a:pt x="21601" y="9945"/>
                    <a:pt x="11568" y="13768"/>
                    <a:pt x="2048" y="18660"/>
                  </a:cubicBezTo>
                  <a:cubicBezTo>
                    <a:pt x="1895" y="23797"/>
                    <a:pt x="1209" y="28904"/>
                    <a:pt x="0" y="33898"/>
                  </a:cubicBezTo>
                  <a:cubicBezTo>
                    <a:pt x="11106" y="27440"/>
                    <a:pt x="23034" y="22512"/>
                    <a:pt x="35460" y="19247"/>
                  </a:cubicBezTo>
                  <a:cubicBezTo>
                    <a:pt x="48907" y="14829"/>
                    <a:pt x="62966" y="12549"/>
                    <a:pt x="77121" y="12490"/>
                  </a:cubicBezTo>
                  <a:cubicBezTo>
                    <a:pt x="91398" y="12950"/>
                    <a:pt x="105555" y="15259"/>
                    <a:pt x="119238" y="19360"/>
                  </a:cubicBezTo>
                  <a:cubicBezTo>
                    <a:pt x="137227" y="23496"/>
                    <a:pt x="154092" y="31521"/>
                    <a:pt x="168649" y="42873"/>
                  </a:cubicBezTo>
                  <a:lnTo>
                    <a:pt x="169186" y="43272"/>
                  </a:lnTo>
                  <a:cubicBezTo>
                    <a:pt x="174322" y="46976"/>
                    <a:pt x="177270" y="53000"/>
                    <a:pt x="177042" y="59328"/>
                  </a:cubicBezTo>
                  <a:lnTo>
                    <a:pt x="177042" y="106167"/>
                  </a:lnTo>
                  <a:lnTo>
                    <a:pt x="189532" y="106167"/>
                  </a:lnTo>
                  <a:lnTo>
                    <a:pt x="189532" y="59328"/>
                  </a:lnTo>
                  <a:cubicBezTo>
                    <a:pt x="189760" y="48954"/>
                    <a:pt x="184852" y="39136"/>
                    <a:pt x="176418" y="33093"/>
                  </a:cubicBezTo>
                  <a:close/>
                </a:path>
              </a:pathLst>
            </a:custGeom>
            <a:solidFill>
              <a:schemeClr val="bg1"/>
            </a:solidFill>
            <a:ln w="6152" cap="flat">
              <a:noFill/>
              <a:prstDash val="solid"/>
              <a:miter/>
            </a:ln>
          </p:spPr>
          <p:txBody>
            <a:bodyPr rtlCol="0" anchor="ctr"/>
            <a:lstStyle/>
            <a:p>
              <a:endParaRPr lang="en-GB"/>
            </a:p>
          </p:txBody>
        </p:sp>
        <p:sp>
          <p:nvSpPr>
            <p:cNvPr id="18" name="Frihandsfigur: Form 17">
              <a:extLst>
                <a:ext uri="{FF2B5EF4-FFF2-40B4-BE49-F238E27FC236}">
                  <a16:creationId xmlns:a16="http://schemas.microsoft.com/office/drawing/2014/main" id="{903491FD-5F16-5260-5ECF-9091D3FF1990}"/>
                </a:ext>
              </a:extLst>
            </p:cNvPr>
            <p:cNvSpPr/>
            <p:nvPr/>
          </p:nvSpPr>
          <p:spPr>
            <a:xfrm>
              <a:off x="6177554" y="4385029"/>
              <a:ext cx="189220" cy="106166"/>
            </a:xfrm>
            <a:custGeom>
              <a:avLst/>
              <a:gdLst>
                <a:gd name="connsiteX0" fmla="*/ 189220 w 189220"/>
                <a:gd name="connsiteY0" fmla="*/ 32930 h 106166"/>
                <a:gd name="connsiteX1" fmla="*/ 187347 w 189220"/>
                <a:gd name="connsiteY1" fmla="*/ 17892 h 106166"/>
                <a:gd name="connsiteX2" fmla="*/ 157645 w 189220"/>
                <a:gd name="connsiteY2" fmla="*/ 7276 h 106166"/>
                <a:gd name="connsiteX3" fmla="*/ 112362 w 189220"/>
                <a:gd name="connsiteY3" fmla="*/ 0 h 106166"/>
                <a:gd name="connsiteX4" fmla="*/ 67203 w 189220"/>
                <a:gd name="connsiteY4" fmla="*/ 7263 h 106166"/>
                <a:gd name="connsiteX5" fmla="*/ 12827 w 189220"/>
                <a:gd name="connsiteY5" fmla="*/ 33299 h 106166"/>
                <a:gd name="connsiteX6" fmla="*/ 0 w 189220"/>
                <a:gd name="connsiteY6" fmla="*/ 59328 h 106166"/>
                <a:gd name="connsiteX7" fmla="*/ 0 w 189220"/>
                <a:gd name="connsiteY7" fmla="*/ 106167 h 106166"/>
                <a:gd name="connsiteX8" fmla="*/ 12490 w 189220"/>
                <a:gd name="connsiteY8" fmla="*/ 106167 h 106166"/>
                <a:gd name="connsiteX9" fmla="*/ 12490 w 189220"/>
                <a:gd name="connsiteY9" fmla="*/ 59328 h 106166"/>
                <a:gd name="connsiteX10" fmla="*/ 20409 w 189220"/>
                <a:gd name="connsiteY10" fmla="*/ 43229 h 106166"/>
                <a:gd name="connsiteX11" fmla="*/ 70726 w 189220"/>
                <a:gd name="connsiteY11" fmla="*/ 19247 h 106166"/>
                <a:gd name="connsiteX12" fmla="*/ 112362 w 189220"/>
                <a:gd name="connsiteY12" fmla="*/ 12490 h 106166"/>
                <a:gd name="connsiteX13" fmla="*/ 154479 w 189220"/>
                <a:gd name="connsiteY13" fmla="*/ 19360 h 106166"/>
                <a:gd name="connsiteX14" fmla="*/ 189220 w 189220"/>
                <a:gd name="connsiteY14" fmla="*/ 32930 h 106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9220" h="106166">
                  <a:moveTo>
                    <a:pt x="189220" y="32930"/>
                  </a:moveTo>
                  <a:cubicBezTo>
                    <a:pt x="188083" y="27995"/>
                    <a:pt x="187455" y="22956"/>
                    <a:pt x="187347" y="17892"/>
                  </a:cubicBezTo>
                  <a:cubicBezTo>
                    <a:pt x="177817" y="13393"/>
                    <a:pt x="167868" y="9837"/>
                    <a:pt x="157645" y="7276"/>
                  </a:cubicBezTo>
                  <a:cubicBezTo>
                    <a:pt x="142932" y="2888"/>
                    <a:pt x="127708" y="442"/>
                    <a:pt x="112362" y="0"/>
                  </a:cubicBezTo>
                  <a:cubicBezTo>
                    <a:pt x="97019" y="16"/>
                    <a:pt x="81777" y="2467"/>
                    <a:pt x="67203" y="7263"/>
                  </a:cubicBezTo>
                  <a:cubicBezTo>
                    <a:pt x="47657" y="12593"/>
                    <a:pt x="29235" y="21413"/>
                    <a:pt x="12827" y="33299"/>
                  </a:cubicBezTo>
                  <a:cubicBezTo>
                    <a:pt x="4748" y="39518"/>
                    <a:pt x="10" y="49133"/>
                    <a:pt x="0" y="59328"/>
                  </a:cubicBezTo>
                  <a:lnTo>
                    <a:pt x="0" y="106167"/>
                  </a:lnTo>
                  <a:lnTo>
                    <a:pt x="12490" y="106167"/>
                  </a:lnTo>
                  <a:lnTo>
                    <a:pt x="12490" y="59328"/>
                  </a:lnTo>
                  <a:cubicBezTo>
                    <a:pt x="12502" y="53027"/>
                    <a:pt x="15425" y="47084"/>
                    <a:pt x="20409" y="43229"/>
                  </a:cubicBezTo>
                  <a:cubicBezTo>
                    <a:pt x="35606" y="32280"/>
                    <a:pt x="52650" y="24156"/>
                    <a:pt x="70726" y="19247"/>
                  </a:cubicBezTo>
                  <a:cubicBezTo>
                    <a:pt x="84166" y="14831"/>
                    <a:pt x="98215" y="12551"/>
                    <a:pt x="112362" y="12490"/>
                  </a:cubicBezTo>
                  <a:cubicBezTo>
                    <a:pt x="126639" y="12950"/>
                    <a:pt x="140796" y="15260"/>
                    <a:pt x="154479" y="19360"/>
                  </a:cubicBezTo>
                  <a:cubicBezTo>
                    <a:pt x="166607" y="22332"/>
                    <a:pt x="178288" y="26896"/>
                    <a:pt x="189220" y="32930"/>
                  </a:cubicBezTo>
                  <a:close/>
                </a:path>
              </a:pathLst>
            </a:custGeom>
            <a:solidFill>
              <a:schemeClr val="bg1"/>
            </a:solidFill>
            <a:ln w="6152" cap="flat">
              <a:noFill/>
              <a:prstDash val="solid"/>
              <a:miter/>
            </a:ln>
          </p:spPr>
          <p:txBody>
            <a:bodyPr rtlCol="0" anchor="ctr"/>
            <a:lstStyle/>
            <a:p>
              <a:endParaRPr lang="en-GB"/>
            </a:p>
          </p:txBody>
        </p:sp>
        <p:sp>
          <p:nvSpPr>
            <p:cNvPr id="20" name="Frihandsfigur: Form 19">
              <a:extLst>
                <a:ext uri="{FF2B5EF4-FFF2-40B4-BE49-F238E27FC236}">
                  <a16:creationId xmlns:a16="http://schemas.microsoft.com/office/drawing/2014/main" id="{68786163-753C-E601-86BE-094BD111990C}"/>
                </a:ext>
              </a:extLst>
            </p:cNvPr>
            <p:cNvSpPr/>
            <p:nvPr/>
          </p:nvSpPr>
          <p:spPr>
            <a:xfrm>
              <a:off x="6327386" y="4471274"/>
              <a:ext cx="224830" cy="106166"/>
            </a:xfrm>
            <a:custGeom>
              <a:avLst/>
              <a:gdLst>
                <a:gd name="connsiteX0" fmla="*/ 211709 w 224830"/>
                <a:gd name="connsiteY0" fmla="*/ 33099 h 106166"/>
                <a:gd name="connsiteX1" fmla="*/ 157707 w 224830"/>
                <a:gd name="connsiteY1" fmla="*/ 7301 h 106166"/>
                <a:gd name="connsiteX2" fmla="*/ 112412 w 224830"/>
                <a:gd name="connsiteY2" fmla="*/ 0 h 106166"/>
                <a:gd name="connsiteX3" fmla="*/ 67266 w 224830"/>
                <a:gd name="connsiteY3" fmla="*/ 7263 h 106166"/>
                <a:gd name="connsiteX4" fmla="*/ 12890 w 224830"/>
                <a:gd name="connsiteY4" fmla="*/ 33299 h 106166"/>
                <a:gd name="connsiteX5" fmla="*/ 0 w 224830"/>
                <a:gd name="connsiteY5" fmla="*/ 59328 h 106166"/>
                <a:gd name="connsiteX6" fmla="*/ 0 w 224830"/>
                <a:gd name="connsiteY6" fmla="*/ 106167 h 106166"/>
                <a:gd name="connsiteX7" fmla="*/ 12490 w 224830"/>
                <a:gd name="connsiteY7" fmla="*/ 106167 h 106166"/>
                <a:gd name="connsiteX8" fmla="*/ 12490 w 224830"/>
                <a:gd name="connsiteY8" fmla="*/ 59328 h 106166"/>
                <a:gd name="connsiteX9" fmla="*/ 20415 w 224830"/>
                <a:gd name="connsiteY9" fmla="*/ 43229 h 106166"/>
                <a:gd name="connsiteX10" fmla="*/ 70726 w 224830"/>
                <a:gd name="connsiteY10" fmla="*/ 19247 h 106166"/>
                <a:gd name="connsiteX11" fmla="*/ 112412 w 224830"/>
                <a:gd name="connsiteY11" fmla="*/ 12490 h 106166"/>
                <a:gd name="connsiteX12" fmla="*/ 154535 w 224830"/>
                <a:gd name="connsiteY12" fmla="*/ 19360 h 106166"/>
                <a:gd name="connsiteX13" fmla="*/ 203940 w 224830"/>
                <a:gd name="connsiteY13" fmla="*/ 42866 h 106166"/>
                <a:gd name="connsiteX14" fmla="*/ 204477 w 224830"/>
                <a:gd name="connsiteY14" fmla="*/ 43266 h 106166"/>
                <a:gd name="connsiteX15" fmla="*/ 212333 w 224830"/>
                <a:gd name="connsiteY15" fmla="*/ 59328 h 106166"/>
                <a:gd name="connsiteX16" fmla="*/ 212333 w 224830"/>
                <a:gd name="connsiteY16" fmla="*/ 106167 h 106166"/>
                <a:gd name="connsiteX17" fmla="*/ 224823 w 224830"/>
                <a:gd name="connsiteY17" fmla="*/ 106167 h 106166"/>
                <a:gd name="connsiteX18" fmla="*/ 224823 w 224830"/>
                <a:gd name="connsiteY18" fmla="*/ 59328 h 106166"/>
                <a:gd name="connsiteX19" fmla="*/ 211709 w 224830"/>
                <a:gd name="connsiteY19" fmla="*/ 33099 h 106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24830" h="106166">
                  <a:moveTo>
                    <a:pt x="211709" y="33099"/>
                  </a:moveTo>
                  <a:cubicBezTo>
                    <a:pt x="195792" y="20684"/>
                    <a:pt x="177366" y="11881"/>
                    <a:pt x="157707" y="7301"/>
                  </a:cubicBezTo>
                  <a:cubicBezTo>
                    <a:pt x="142991" y="2906"/>
                    <a:pt x="127763" y="453"/>
                    <a:pt x="112412" y="0"/>
                  </a:cubicBezTo>
                  <a:cubicBezTo>
                    <a:pt x="97074" y="15"/>
                    <a:pt x="81835" y="2467"/>
                    <a:pt x="67266" y="7263"/>
                  </a:cubicBezTo>
                  <a:cubicBezTo>
                    <a:pt x="47718" y="12589"/>
                    <a:pt x="29295" y="21409"/>
                    <a:pt x="12890" y="33299"/>
                  </a:cubicBezTo>
                  <a:cubicBezTo>
                    <a:pt x="4784" y="39503"/>
                    <a:pt x="22" y="49121"/>
                    <a:pt x="0" y="59328"/>
                  </a:cubicBezTo>
                  <a:lnTo>
                    <a:pt x="0" y="106167"/>
                  </a:lnTo>
                  <a:lnTo>
                    <a:pt x="12490" y="106167"/>
                  </a:lnTo>
                  <a:lnTo>
                    <a:pt x="12490" y="59328"/>
                  </a:lnTo>
                  <a:cubicBezTo>
                    <a:pt x="12501" y="53025"/>
                    <a:pt x="15427" y="47082"/>
                    <a:pt x="20415" y="43229"/>
                  </a:cubicBezTo>
                  <a:cubicBezTo>
                    <a:pt x="35608" y="32277"/>
                    <a:pt x="52651" y="24154"/>
                    <a:pt x="70726" y="19247"/>
                  </a:cubicBezTo>
                  <a:cubicBezTo>
                    <a:pt x="84181" y="14826"/>
                    <a:pt x="98248" y="12546"/>
                    <a:pt x="112412" y="12490"/>
                  </a:cubicBezTo>
                  <a:cubicBezTo>
                    <a:pt x="126691" y="12948"/>
                    <a:pt x="140850" y="15257"/>
                    <a:pt x="154535" y="19360"/>
                  </a:cubicBezTo>
                  <a:cubicBezTo>
                    <a:pt x="172523" y="23490"/>
                    <a:pt x="189387" y="31514"/>
                    <a:pt x="203940" y="42866"/>
                  </a:cubicBezTo>
                  <a:lnTo>
                    <a:pt x="204477" y="43266"/>
                  </a:lnTo>
                  <a:cubicBezTo>
                    <a:pt x="209615" y="46972"/>
                    <a:pt x="212562" y="52998"/>
                    <a:pt x="212333" y="59328"/>
                  </a:cubicBezTo>
                  <a:lnTo>
                    <a:pt x="212333" y="106167"/>
                  </a:lnTo>
                  <a:lnTo>
                    <a:pt x="224823" y="106167"/>
                  </a:lnTo>
                  <a:lnTo>
                    <a:pt x="224823" y="59328"/>
                  </a:lnTo>
                  <a:cubicBezTo>
                    <a:pt x="225049" y="48957"/>
                    <a:pt x="220142" y="39141"/>
                    <a:pt x="211709" y="33099"/>
                  </a:cubicBezTo>
                  <a:close/>
                </a:path>
              </a:pathLst>
            </a:custGeom>
            <a:solidFill>
              <a:schemeClr val="bg1"/>
            </a:solidFill>
            <a:ln w="6152" cap="flat">
              <a:noFill/>
              <a:prstDash val="solid"/>
              <a:miter/>
            </a:ln>
          </p:spPr>
          <p:txBody>
            <a:bodyPr rtlCol="0" anchor="ctr"/>
            <a:lstStyle/>
            <a:p>
              <a:endParaRPr lang="en-GB"/>
            </a:p>
          </p:txBody>
        </p:sp>
        <p:sp>
          <p:nvSpPr>
            <p:cNvPr id="21" name="Frihandsfigur: Form 20">
              <a:extLst>
                <a:ext uri="{FF2B5EF4-FFF2-40B4-BE49-F238E27FC236}">
                  <a16:creationId xmlns:a16="http://schemas.microsoft.com/office/drawing/2014/main" id="{90E1BC5F-02A1-88AC-8C1F-5407253585B0}"/>
                </a:ext>
              </a:extLst>
            </p:cNvPr>
            <p:cNvSpPr/>
            <p:nvPr/>
          </p:nvSpPr>
          <p:spPr>
            <a:xfrm>
              <a:off x="6383592" y="4345217"/>
              <a:ext cx="112411" cy="112411"/>
            </a:xfrm>
            <a:custGeom>
              <a:avLst/>
              <a:gdLst>
                <a:gd name="connsiteX0" fmla="*/ 56206 w 112411"/>
                <a:gd name="connsiteY0" fmla="*/ 112412 h 112411"/>
                <a:gd name="connsiteX1" fmla="*/ 112412 w 112411"/>
                <a:gd name="connsiteY1" fmla="*/ 56206 h 112411"/>
                <a:gd name="connsiteX2" fmla="*/ 56206 w 112411"/>
                <a:gd name="connsiteY2" fmla="*/ 0 h 112411"/>
                <a:gd name="connsiteX3" fmla="*/ 0 w 112411"/>
                <a:gd name="connsiteY3" fmla="*/ 56206 h 112411"/>
                <a:gd name="connsiteX4" fmla="*/ 56206 w 112411"/>
                <a:gd name="connsiteY4" fmla="*/ 112412 h 112411"/>
                <a:gd name="connsiteX5" fmla="*/ 56206 w 112411"/>
                <a:gd name="connsiteY5" fmla="*/ 12490 h 112411"/>
                <a:gd name="connsiteX6" fmla="*/ 99922 w 112411"/>
                <a:gd name="connsiteY6" fmla="*/ 56206 h 112411"/>
                <a:gd name="connsiteX7" fmla="*/ 56206 w 112411"/>
                <a:gd name="connsiteY7" fmla="*/ 99922 h 112411"/>
                <a:gd name="connsiteX8" fmla="*/ 12490 w 112411"/>
                <a:gd name="connsiteY8" fmla="*/ 56206 h 112411"/>
                <a:gd name="connsiteX9" fmla="*/ 56206 w 112411"/>
                <a:gd name="connsiteY9" fmla="*/ 12459 h 112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2411" h="112411">
                  <a:moveTo>
                    <a:pt x="56206" y="112412"/>
                  </a:moveTo>
                  <a:cubicBezTo>
                    <a:pt x="87248" y="112412"/>
                    <a:pt x="112412" y="87248"/>
                    <a:pt x="112412" y="56206"/>
                  </a:cubicBezTo>
                  <a:cubicBezTo>
                    <a:pt x="112412" y="25164"/>
                    <a:pt x="87248" y="0"/>
                    <a:pt x="56206" y="0"/>
                  </a:cubicBezTo>
                  <a:cubicBezTo>
                    <a:pt x="25164" y="0"/>
                    <a:pt x="0" y="25164"/>
                    <a:pt x="0" y="56206"/>
                  </a:cubicBezTo>
                  <a:cubicBezTo>
                    <a:pt x="0" y="87248"/>
                    <a:pt x="25164" y="112412"/>
                    <a:pt x="56206" y="112412"/>
                  </a:cubicBezTo>
                  <a:close/>
                  <a:moveTo>
                    <a:pt x="56206" y="12490"/>
                  </a:moveTo>
                  <a:cubicBezTo>
                    <a:pt x="80349" y="12490"/>
                    <a:pt x="99922" y="32062"/>
                    <a:pt x="99922" y="56206"/>
                  </a:cubicBezTo>
                  <a:cubicBezTo>
                    <a:pt x="99922" y="80349"/>
                    <a:pt x="80349" y="99922"/>
                    <a:pt x="56206" y="99922"/>
                  </a:cubicBezTo>
                  <a:cubicBezTo>
                    <a:pt x="32062" y="99922"/>
                    <a:pt x="12490" y="80349"/>
                    <a:pt x="12490" y="56206"/>
                  </a:cubicBezTo>
                  <a:cubicBezTo>
                    <a:pt x="12508" y="32064"/>
                    <a:pt x="32064" y="12493"/>
                    <a:pt x="56206" y="12459"/>
                  </a:cubicBezTo>
                  <a:close/>
                </a:path>
              </a:pathLst>
            </a:custGeom>
            <a:solidFill>
              <a:schemeClr val="bg1"/>
            </a:solidFill>
            <a:ln w="6152" cap="flat">
              <a:noFill/>
              <a:prstDash val="solid"/>
              <a:miter/>
            </a:ln>
          </p:spPr>
          <p:txBody>
            <a:bodyPr rtlCol="0" anchor="ctr"/>
            <a:lstStyle/>
            <a:p>
              <a:endParaRPr lang="en-GB"/>
            </a:p>
          </p:txBody>
        </p:sp>
      </p:grpSp>
      <p:grpSp>
        <p:nvGrpSpPr>
          <p:cNvPr id="26" name="Bild 30" descr="Användare kontur">
            <a:extLst>
              <a:ext uri="{FF2B5EF4-FFF2-40B4-BE49-F238E27FC236}">
                <a16:creationId xmlns:a16="http://schemas.microsoft.com/office/drawing/2014/main" id="{15F151AF-C350-35F1-76E9-9485C13CCE74}"/>
              </a:ext>
            </a:extLst>
          </p:cNvPr>
          <p:cNvGrpSpPr/>
          <p:nvPr/>
        </p:nvGrpSpPr>
        <p:grpSpPr>
          <a:xfrm>
            <a:off x="16359558" y="2439240"/>
            <a:ext cx="524545" cy="318468"/>
            <a:chOff x="15656170" y="2577865"/>
            <a:chExt cx="524545" cy="318468"/>
          </a:xfrm>
          <a:solidFill>
            <a:schemeClr val="lt1"/>
          </a:solidFill>
        </p:grpSpPr>
        <p:sp>
          <p:nvSpPr>
            <p:cNvPr id="28" name="Frihandsfigur: Form 27">
              <a:extLst>
                <a:ext uri="{FF2B5EF4-FFF2-40B4-BE49-F238E27FC236}">
                  <a16:creationId xmlns:a16="http://schemas.microsoft.com/office/drawing/2014/main" id="{7D650F77-AFDA-31A6-8AC2-EA38A0676252}"/>
                </a:ext>
              </a:extLst>
            </p:cNvPr>
            <p:cNvSpPr/>
            <p:nvPr/>
          </p:nvSpPr>
          <p:spPr>
            <a:xfrm>
              <a:off x="15712326" y="2577865"/>
              <a:ext cx="112411" cy="112411"/>
            </a:xfrm>
            <a:custGeom>
              <a:avLst/>
              <a:gdLst>
                <a:gd name="connsiteX0" fmla="*/ 56206 w 112411"/>
                <a:gd name="connsiteY0" fmla="*/ 112412 h 112411"/>
                <a:gd name="connsiteX1" fmla="*/ 112412 w 112411"/>
                <a:gd name="connsiteY1" fmla="*/ 56206 h 112411"/>
                <a:gd name="connsiteX2" fmla="*/ 56206 w 112411"/>
                <a:gd name="connsiteY2" fmla="*/ 0 h 112411"/>
                <a:gd name="connsiteX3" fmla="*/ 0 w 112411"/>
                <a:gd name="connsiteY3" fmla="*/ 56206 h 112411"/>
                <a:gd name="connsiteX4" fmla="*/ 56206 w 112411"/>
                <a:gd name="connsiteY4" fmla="*/ 112412 h 112411"/>
                <a:gd name="connsiteX5" fmla="*/ 56206 w 112411"/>
                <a:gd name="connsiteY5" fmla="*/ 12459 h 112411"/>
                <a:gd name="connsiteX6" fmla="*/ 99922 w 112411"/>
                <a:gd name="connsiteY6" fmla="*/ 56175 h 112411"/>
                <a:gd name="connsiteX7" fmla="*/ 56206 w 112411"/>
                <a:gd name="connsiteY7" fmla="*/ 99890 h 112411"/>
                <a:gd name="connsiteX8" fmla="*/ 12490 w 112411"/>
                <a:gd name="connsiteY8" fmla="*/ 56175 h 112411"/>
                <a:gd name="connsiteX9" fmla="*/ 56206 w 112411"/>
                <a:gd name="connsiteY9" fmla="*/ 12459 h 112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2411" h="112411">
                  <a:moveTo>
                    <a:pt x="56206" y="112412"/>
                  </a:moveTo>
                  <a:cubicBezTo>
                    <a:pt x="87248" y="112412"/>
                    <a:pt x="112412" y="87248"/>
                    <a:pt x="112412" y="56206"/>
                  </a:cubicBezTo>
                  <a:cubicBezTo>
                    <a:pt x="112412" y="25164"/>
                    <a:pt x="87248" y="0"/>
                    <a:pt x="56206" y="0"/>
                  </a:cubicBezTo>
                  <a:cubicBezTo>
                    <a:pt x="25164" y="0"/>
                    <a:pt x="0" y="25164"/>
                    <a:pt x="0" y="56206"/>
                  </a:cubicBezTo>
                  <a:cubicBezTo>
                    <a:pt x="0" y="87248"/>
                    <a:pt x="25164" y="112412"/>
                    <a:pt x="56206" y="112412"/>
                  </a:cubicBezTo>
                  <a:close/>
                  <a:moveTo>
                    <a:pt x="56206" y="12459"/>
                  </a:moveTo>
                  <a:cubicBezTo>
                    <a:pt x="80349" y="12459"/>
                    <a:pt x="99922" y="32031"/>
                    <a:pt x="99922" y="56175"/>
                  </a:cubicBezTo>
                  <a:cubicBezTo>
                    <a:pt x="99922" y="80318"/>
                    <a:pt x="80349" y="99890"/>
                    <a:pt x="56206" y="99890"/>
                  </a:cubicBezTo>
                  <a:cubicBezTo>
                    <a:pt x="32062" y="99890"/>
                    <a:pt x="12490" y="80318"/>
                    <a:pt x="12490" y="56175"/>
                  </a:cubicBezTo>
                  <a:cubicBezTo>
                    <a:pt x="12521" y="32044"/>
                    <a:pt x="32075" y="12490"/>
                    <a:pt x="56206" y="12459"/>
                  </a:cubicBezTo>
                  <a:close/>
                </a:path>
              </a:pathLst>
            </a:custGeom>
            <a:solidFill>
              <a:schemeClr val="lt1"/>
            </a:solidFill>
            <a:ln w="8202" cap="flat">
              <a:solidFill>
                <a:schemeClr val="accent5"/>
              </a:solidFill>
              <a:prstDash val="solid"/>
              <a:miter/>
            </a:ln>
          </p:spPr>
          <p:txBody>
            <a:bodyPr rtlCol="0" anchor="ctr"/>
            <a:lstStyle/>
            <a:p>
              <a:endParaRPr lang="en-GB"/>
            </a:p>
          </p:txBody>
        </p:sp>
        <p:sp>
          <p:nvSpPr>
            <p:cNvPr id="29" name="Frihandsfigur: Form 28">
              <a:extLst>
                <a:ext uri="{FF2B5EF4-FFF2-40B4-BE49-F238E27FC236}">
                  <a16:creationId xmlns:a16="http://schemas.microsoft.com/office/drawing/2014/main" id="{4B99B03B-13CD-924C-966D-3205B0CD8460}"/>
                </a:ext>
              </a:extLst>
            </p:cNvPr>
            <p:cNvSpPr/>
            <p:nvPr/>
          </p:nvSpPr>
          <p:spPr>
            <a:xfrm>
              <a:off x="16012090" y="2577865"/>
              <a:ext cx="112411" cy="112411"/>
            </a:xfrm>
            <a:custGeom>
              <a:avLst/>
              <a:gdLst>
                <a:gd name="connsiteX0" fmla="*/ 56206 w 112411"/>
                <a:gd name="connsiteY0" fmla="*/ 112412 h 112411"/>
                <a:gd name="connsiteX1" fmla="*/ 112412 w 112411"/>
                <a:gd name="connsiteY1" fmla="*/ 56206 h 112411"/>
                <a:gd name="connsiteX2" fmla="*/ 56206 w 112411"/>
                <a:gd name="connsiteY2" fmla="*/ 0 h 112411"/>
                <a:gd name="connsiteX3" fmla="*/ 0 w 112411"/>
                <a:gd name="connsiteY3" fmla="*/ 56206 h 112411"/>
                <a:gd name="connsiteX4" fmla="*/ 56206 w 112411"/>
                <a:gd name="connsiteY4" fmla="*/ 112412 h 112411"/>
                <a:gd name="connsiteX5" fmla="*/ 56206 w 112411"/>
                <a:gd name="connsiteY5" fmla="*/ 12459 h 112411"/>
                <a:gd name="connsiteX6" fmla="*/ 99922 w 112411"/>
                <a:gd name="connsiteY6" fmla="*/ 56175 h 112411"/>
                <a:gd name="connsiteX7" fmla="*/ 56206 w 112411"/>
                <a:gd name="connsiteY7" fmla="*/ 99890 h 112411"/>
                <a:gd name="connsiteX8" fmla="*/ 12490 w 112411"/>
                <a:gd name="connsiteY8" fmla="*/ 56175 h 112411"/>
                <a:gd name="connsiteX9" fmla="*/ 56206 w 112411"/>
                <a:gd name="connsiteY9" fmla="*/ 12459 h 112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2411" h="112411">
                  <a:moveTo>
                    <a:pt x="56206" y="112412"/>
                  </a:moveTo>
                  <a:cubicBezTo>
                    <a:pt x="87248" y="112412"/>
                    <a:pt x="112412" y="87248"/>
                    <a:pt x="112412" y="56206"/>
                  </a:cubicBezTo>
                  <a:cubicBezTo>
                    <a:pt x="112412" y="25164"/>
                    <a:pt x="87248" y="0"/>
                    <a:pt x="56206" y="0"/>
                  </a:cubicBezTo>
                  <a:cubicBezTo>
                    <a:pt x="25164" y="0"/>
                    <a:pt x="0" y="25164"/>
                    <a:pt x="0" y="56206"/>
                  </a:cubicBezTo>
                  <a:cubicBezTo>
                    <a:pt x="0" y="87248"/>
                    <a:pt x="25164" y="112412"/>
                    <a:pt x="56206" y="112412"/>
                  </a:cubicBezTo>
                  <a:close/>
                  <a:moveTo>
                    <a:pt x="56206" y="12459"/>
                  </a:moveTo>
                  <a:cubicBezTo>
                    <a:pt x="80349" y="12459"/>
                    <a:pt x="99922" y="32031"/>
                    <a:pt x="99922" y="56175"/>
                  </a:cubicBezTo>
                  <a:cubicBezTo>
                    <a:pt x="99922" y="80318"/>
                    <a:pt x="80349" y="99890"/>
                    <a:pt x="56206" y="99890"/>
                  </a:cubicBezTo>
                  <a:cubicBezTo>
                    <a:pt x="32062" y="99890"/>
                    <a:pt x="12490" y="80318"/>
                    <a:pt x="12490" y="56175"/>
                  </a:cubicBezTo>
                  <a:cubicBezTo>
                    <a:pt x="12521" y="32044"/>
                    <a:pt x="32075" y="12490"/>
                    <a:pt x="56206" y="12459"/>
                  </a:cubicBezTo>
                  <a:close/>
                </a:path>
              </a:pathLst>
            </a:custGeom>
            <a:solidFill>
              <a:schemeClr val="lt1"/>
            </a:solidFill>
            <a:ln w="8202" cap="flat">
              <a:solidFill>
                <a:schemeClr val="accent5"/>
              </a:solidFill>
              <a:prstDash val="solid"/>
              <a:miter/>
            </a:ln>
          </p:spPr>
          <p:txBody>
            <a:bodyPr rtlCol="0" anchor="ctr"/>
            <a:lstStyle/>
            <a:p>
              <a:endParaRPr lang="en-GB"/>
            </a:p>
          </p:txBody>
        </p:sp>
        <p:sp>
          <p:nvSpPr>
            <p:cNvPr id="30" name="Frihandsfigur: Form 29">
              <a:extLst>
                <a:ext uri="{FF2B5EF4-FFF2-40B4-BE49-F238E27FC236}">
                  <a16:creationId xmlns:a16="http://schemas.microsoft.com/office/drawing/2014/main" id="{472C9CF1-AABD-DA28-61FF-C06ABA2CC6DA}"/>
                </a:ext>
              </a:extLst>
            </p:cNvPr>
            <p:cNvSpPr/>
            <p:nvPr/>
          </p:nvSpPr>
          <p:spPr>
            <a:xfrm>
              <a:off x="15991176" y="2703922"/>
              <a:ext cx="189539" cy="106166"/>
            </a:xfrm>
            <a:custGeom>
              <a:avLst/>
              <a:gdLst>
                <a:gd name="connsiteX0" fmla="*/ 176418 w 189539"/>
                <a:gd name="connsiteY0" fmla="*/ 33093 h 106166"/>
                <a:gd name="connsiteX1" fmla="*/ 122416 w 189539"/>
                <a:gd name="connsiteY1" fmla="*/ 7294 h 106166"/>
                <a:gd name="connsiteX2" fmla="*/ 77121 w 189539"/>
                <a:gd name="connsiteY2" fmla="*/ 0 h 106166"/>
                <a:gd name="connsiteX3" fmla="*/ 31962 w 189539"/>
                <a:gd name="connsiteY3" fmla="*/ 7263 h 106166"/>
                <a:gd name="connsiteX4" fmla="*/ 2048 w 189539"/>
                <a:gd name="connsiteY4" fmla="*/ 18660 h 106166"/>
                <a:gd name="connsiteX5" fmla="*/ 0 w 189539"/>
                <a:gd name="connsiteY5" fmla="*/ 33898 h 106166"/>
                <a:gd name="connsiteX6" fmla="*/ 35460 w 189539"/>
                <a:gd name="connsiteY6" fmla="*/ 19247 h 106166"/>
                <a:gd name="connsiteX7" fmla="*/ 77121 w 189539"/>
                <a:gd name="connsiteY7" fmla="*/ 12490 h 106166"/>
                <a:gd name="connsiteX8" fmla="*/ 119238 w 189539"/>
                <a:gd name="connsiteY8" fmla="*/ 19360 h 106166"/>
                <a:gd name="connsiteX9" fmla="*/ 168649 w 189539"/>
                <a:gd name="connsiteY9" fmla="*/ 42873 h 106166"/>
                <a:gd name="connsiteX10" fmla="*/ 169186 w 189539"/>
                <a:gd name="connsiteY10" fmla="*/ 43272 h 106166"/>
                <a:gd name="connsiteX11" fmla="*/ 177042 w 189539"/>
                <a:gd name="connsiteY11" fmla="*/ 59328 h 106166"/>
                <a:gd name="connsiteX12" fmla="*/ 177042 w 189539"/>
                <a:gd name="connsiteY12" fmla="*/ 106167 h 106166"/>
                <a:gd name="connsiteX13" fmla="*/ 189532 w 189539"/>
                <a:gd name="connsiteY13" fmla="*/ 106167 h 106166"/>
                <a:gd name="connsiteX14" fmla="*/ 189532 w 189539"/>
                <a:gd name="connsiteY14" fmla="*/ 59328 h 106166"/>
                <a:gd name="connsiteX15" fmla="*/ 176418 w 189539"/>
                <a:gd name="connsiteY15" fmla="*/ 33093 h 106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9539" h="106166">
                  <a:moveTo>
                    <a:pt x="176418" y="33093"/>
                  </a:moveTo>
                  <a:cubicBezTo>
                    <a:pt x="160500" y="20680"/>
                    <a:pt x="142074" y="11877"/>
                    <a:pt x="122416" y="7294"/>
                  </a:cubicBezTo>
                  <a:cubicBezTo>
                    <a:pt x="107700" y="2900"/>
                    <a:pt x="92472" y="447"/>
                    <a:pt x="77121" y="0"/>
                  </a:cubicBezTo>
                  <a:cubicBezTo>
                    <a:pt x="61778" y="16"/>
                    <a:pt x="46536" y="2467"/>
                    <a:pt x="31962" y="7263"/>
                  </a:cubicBezTo>
                  <a:cubicBezTo>
                    <a:pt x="21601" y="9945"/>
                    <a:pt x="11568" y="13768"/>
                    <a:pt x="2048" y="18660"/>
                  </a:cubicBezTo>
                  <a:cubicBezTo>
                    <a:pt x="1895" y="23797"/>
                    <a:pt x="1209" y="28904"/>
                    <a:pt x="0" y="33898"/>
                  </a:cubicBezTo>
                  <a:cubicBezTo>
                    <a:pt x="11106" y="27440"/>
                    <a:pt x="23034" y="22512"/>
                    <a:pt x="35460" y="19247"/>
                  </a:cubicBezTo>
                  <a:cubicBezTo>
                    <a:pt x="48907" y="14829"/>
                    <a:pt x="62966" y="12549"/>
                    <a:pt x="77121" y="12490"/>
                  </a:cubicBezTo>
                  <a:cubicBezTo>
                    <a:pt x="91398" y="12950"/>
                    <a:pt x="105555" y="15259"/>
                    <a:pt x="119238" y="19360"/>
                  </a:cubicBezTo>
                  <a:cubicBezTo>
                    <a:pt x="137227" y="23496"/>
                    <a:pt x="154092" y="31521"/>
                    <a:pt x="168649" y="42873"/>
                  </a:cubicBezTo>
                  <a:lnTo>
                    <a:pt x="169186" y="43272"/>
                  </a:lnTo>
                  <a:cubicBezTo>
                    <a:pt x="174322" y="46976"/>
                    <a:pt x="177270" y="53000"/>
                    <a:pt x="177042" y="59328"/>
                  </a:cubicBezTo>
                  <a:lnTo>
                    <a:pt x="177042" y="106167"/>
                  </a:lnTo>
                  <a:lnTo>
                    <a:pt x="189532" y="106167"/>
                  </a:lnTo>
                  <a:lnTo>
                    <a:pt x="189532" y="59328"/>
                  </a:lnTo>
                  <a:cubicBezTo>
                    <a:pt x="189760" y="48954"/>
                    <a:pt x="184852" y="39136"/>
                    <a:pt x="176418" y="33093"/>
                  </a:cubicBezTo>
                  <a:close/>
                </a:path>
              </a:pathLst>
            </a:custGeom>
            <a:solidFill>
              <a:schemeClr val="lt1"/>
            </a:solidFill>
            <a:ln w="8202" cap="flat">
              <a:solidFill>
                <a:schemeClr val="accent5"/>
              </a:solidFill>
              <a:prstDash val="solid"/>
              <a:miter/>
            </a:ln>
          </p:spPr>
          <p:txBody>
            <a:bodyPr rtlCol="0" anchor="ctr"/>
            <a:lstStyle/>
            <a:p>
              <a:endParaRPr lang="en-GB"/>
            </a:p>
          </p:txBody>
        </p:sp>
        <p:sp>
          <p:nvSpPr>
            <p:cNvPr id="128" name="Frihandsfigur: Form 127">
              <a:extLst>
                <a:ext uri="{FF2B5EF4-FFF2-40B4-BE49-F238E27FC236}">
                  <a16:creationId xmlns:a16="http://schemas.microsoft.com/office/drawing/2014/main" id="{1B4F580E-026C-061C-713B-BBD74BBB53B0}"/>
                </a:ext>
              </a:extLst>
            </p:cNvPr>
            <p:cNvSpPr/>
            <p:nvPr/>
          </p:nvSpPr>
          <p:spPr>
            <a:xfrm>
              <a:off x="15656170" y="2703922"/>
              <a:ext cx="189220" cy="106166"/>
            </a:xfrm>
            <a:custGeom>
              <a:avLst/>
              <a:gdLst>
                <a:gd name="connsiteX0" fmla="*/ 189220 w 189220"/>
                <a:gd name="connsiteY0" fmla="*/ 32930 h 106166"/>
                <a:gd name="connsiteX1" fmla="*/ 187347 w 189220"/>
                <a:gd name="connsiteY1" fmla="*/ 17892 h 106166"/>
                <a:gd name="connsiteX2" fmla="*/ 157645 w 189220"/>
                <a:gd name="connsiteY2" fmla="*/ 7276 h 106166"/>
                <a:gd name="connsiteX3" fmla="*/ 112362 w 189220"/>
                <a:gd name="connsiteY3" fmla="*/ 0 h 106166"/>
                <a:gd name="connsiteX4" fmla="*/ 67203 w 189220"/>
                <a:gd name="connsiteY4" fmla="*/ 7263 h 106166"/>
                <a:gd name="connsiteX5" fmla="*/ 12827 w 189220"/>
                <a:gd name="connsiteY5" fmla="*/ 33299 h 106166"/>
                <a:gd name="connsiteX6" fmla="*/ 0 w 189220"/>
                <a:gd name="connsiteY6" fmla="*/ 59328 h 106166"/>
                <a:gd name="connsiteX7" fmla="*/ 0 w 189220"/>
                <a:gd name="connsiteY7" fmla="*/ 106167 h 106166"/>
                <a:gd name="connsiteX8" fmla="*/ 12490 w 189220"/>
                <a:gd name="connsiteY8" fmla="*/ 106167 h 106166"/>
                <a:gd name="connsiteX9" fmla="*/ 12490 w 189220"/>
                <a:gd name="connsiteY9" fmla="*/ 59328 h 106166"/>
                <a:gd name="connsiteX10" fmla="*/ 20409 w 189220"/>
                <a:gd name="connsiteY10" fmla="*/ 43229 h 106166"/>
                <a:gd name="connsiteX11" fmla="*/ 70726 w 189220"/>
                <a:gd name="connsiteY11" fmla="*/ 19247 h 106166"/>
                <a:gd name="connsiteX12" fmla="*/ 112362 w 189220"/>
                <a:gd name="connsiteY12" fmla="*/ 12490 h 106166"/>
                <a:gd name="connsiteX13" fmla="*/ 154479 w 189220"/>
                <a:gd name="connsiteY13" fmla="*/ 19360 h 106166"/>
                <a:gd name="connsiteX14" fmla="*/ 189220 w 189220"/>
                <a:gd name="connsiteY14" fmla="*/ 32930 h 106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9220" h="106166">
                  <a:moveTo>
                    <a:pt x="189220" y="32930"/>
                  </a:moveTo>
                  <a:cubicBezTo>
                    <a:pt x="188083" y="27995"/>
                    <a:pt x="187455" y="22956"/>
                    <a:pt x="187347" y="17892"/>
                  </a:cubicBezTo>
                  <a:cubicBezTo>
                    <a:pt x="177817" y="13393"/>
                    <a:pt x="167868" y="9837"/>
                    <a:pt x="157645" y="7276"/>
                  </a:cubicBezTo>
                  <a:cubicBezTo>
                    <a:pt x="142932" y="2888"/>
                    <a:pt x="127708" y="442"/>
                    <a:pt x="112362" y="0"/>
                  </a:cubicBezTo>
                  <a:cubicBezTo>
                    <a:pt x="97019" y="16"/>
                    <a:pt x="81777" y="2467"/>
                    <a:pt x="67203" y="7263"/>
                  </a:cubicBezTo>
                  <a:cubicBezTo>
                    <a:pt x="47657" y="12593"/>
                    <a:pt x="29235" y="21413"/>
                    <a:pt x="12827" y="33299"/>
                  </a:cubicBezTo>
                  <a:cubicBezTo>
                    <a:pt x="4748" y="39518"/>
                    <a:pt x="10" y="49133"/>
                    <a:pt x="0" y="59328"/>
                  </a:cubicBezTo>
                  <a:lnTo>
                    <a:pt x="0" y="106167"/>
                  </a:lnTo>
                  <a:lnTo>
                    <a:pt x="12490" y="106167"/>
                  </a:lnTo>
                  <a:lnTo>
                    <a:pt x="12490" y="59328"/>
                  </a:lnTo>
                  <a:cubicBezTo>
                    <a:pt x="12502" y="53027"/>
                    <a:pt x="15425" y="47084"/>
                    <a:pt x="20409" y="43229"/>
                  </a:cubicBezTo>
                  <a:cubicBezTo>
                    <a:pt x="35606" y="32280"/>
                    <a:pt x="52650" y="24156"/>
                    <a:pt x="70726" y="19247"/>
                  </a:cubicBezTo>
                  <a:cubicBezTo>
                    <a:pt x="84166" y="14831"/>
                    <a:pt x="98215" y="12551"/>
                    <a:pt x="112362" y="12490"/>
                  </a:cubicBezTo>
                  <a:cubicBezTo>
                    <a:pt x="126639" y="12950"/>
                    <a:pt x="140796" y="15260"/>
                    <a:pt x="154479" y="19360"/>
                  </a:cubicBezTo>
                  <a:cubicBezTo>
                    <a:pt x="166607" y="22332"/>
                    <a:pt x="178288" y="26896"/>
                    <a:pt x="189220" y="32930"/>
                  </a:cubicBezTo>
                  <a:close/>
                </a:path>
              </a:pathLst>
            </a:custGeom>
            <a:solidFill>
              <a:schemeClr val="lt1"/>
            </a:solidFill>
            <a:ln w="8202" cap="flat">
              <a:solidFill>
                <a:schemeClr val="accent5"/>
              </a:solidFill>
              <a:prstDash val="solid"/>
              <a:miter/>
            </a:ln>
          </p:spPr>
          <p:txBody>
            <a:bodyPr rtlCol="0" anchor="ctr"/>
            <a:lstStyle/>
            <a:p>
              <a:endParaRPr lang="en-GB"/>
            </a:p>
          </p:txBody>
        </p:sp>
        <p:sp>
          <p:nvSpPr>
            <p:cNvPr id="130" name="Frihandsfigur: Form 129">
              <a:extLst>
                <a:ext uri="{FF2B5EF4-FFF2-40B4-BE49-F238E27FC236}">
                  <a16:creationId xmlns:a16="http://schemas.microsoft.com/office/drawing/2014/main" id="{1862E28E-2733-C802-F69F-271B853CBF67}"/>
                </a:ext>
              </a:extLst>
            </p:cNvPr>
            <p:cNvSpPr/>
            <p:nvPr/>
          </p:nvSpPr>
          <p:spPr>
            <a:xfrm>
              <a:off x="15806002" y="2790167"/>
              <a:ext cx="224830" cy="106166"/>
            </a:xfrm>
            <a:custGeom>
              <a:avLst/>
              <a:gdLst>
                <a:gd name="connsiteX0" fmla="*/ 211709 w 224830"/>
                <a:gd name="connsiteY0" fmla="*/ 33099 h 106166"/>
                <a:gd name="connsiteX1" fmla="*/ 157707 w 224830"/>
                <a:gd name="connsiteY1" fmla="*/ 7301 h 106166"/>
                <a:gd name="connsiteX2" fmla="*/ 112412 w 224830"/>
                <a:gd name="connsiteY2" fmla="*/ 0 h 106166"/>
                <a:gd name="connsiteX3" fmla="*/ 67266 w 224830"/>
                <a:gd name="connsiteY3" fmla="*/ 7263 h 106166"/>
                <a:gd name="connsiteX4" fmla="*/ 12890 w 224830"/>
                <a:gd name="connsiteY4" fmla="*/ 33299 h 106166"/>
                <a:gd name="connsiteX5" fmla="*/ 0 w 224830"/>
                <a:gd name="connsiteY5" fmla="*/ 59328 h 106166"/>
                <a:gd name="connsiteX6" fmla="*/ 0 w 224830"/>
                <a:gd name="connsiteY6" fmla="*/ 106167 h 106166"/>
                <a:gd name="connsiteX7" fmla="*/ 12490 w 224830"/>
                <a:gd name="connsiteY7" fmla="*/ 106167 h 106166"/>
                <a:gd name="connsiteX8" fmla="*/ 12490 w 224830"/>
                <a:gd name="connsiteY8" fmla="*/ 59328 h 106166"/>
                <a:gd name="connsiteX9" fmla="*/ 20415 w 224830"/>
                <a:gd name="connsiteY9" fmla="*/ 43229 h 106166"/>
                <a:gd name="connsiteX10" fmla="*/ 70726 w 224830"/>
                <a:gd name="connsiteY10" fmla="*/ 19247 h 106166"/>
                <a:gd name="connsiteX11" fmla="*/ 112412 w 224830"/>
                <a:gd name="connsiteY11" fmla="*/ 12490 h 106166"/>
                <a:gd name="connsiteX12" fmla="*/ 154535 w 224830"/>
                <a:gd name="connsiteY12" fmla="*/ 19360 h 106166"/>
                <a:gd name="connsiteX13" fmla="*/ 203940 w 224830"/>
                <a:gd name="connsiteY13" fmla="*/ 42866 h 106166"/>
                <a:gd name="connsiteX14" fmla="*/ 204477 w 224830"/>
                <a:gd name="connsiteY14" fmla="*/ 43266 h 106166"/>
                <a:gd name="connsiteX15" fmla="*/ 212333 w 224830"/>
                <a:gd name="connsiteY15" fmla="*/ 59328 h 106166"/>
                <a:gd name="connsiteX16" fmla="*/ 212333 w 224830"/>
                <a:gd name="connsiteY16" fmla="*/ 106167 h 106166"/>
                <a:gd name="connsiteX17" fmla="*/ 224823 w 224830"/>
                <a:gd name="connsiteY17" fmla="*/ 106167 h 106166"/>
                <a:gd name="connsiteX18" fmla="*/ 224823 w 224830"/>
                <a:gd name="connsiteY18" fmla="*/ 59328 h 106166"/>
                <a:gd name="connsiteX19" fmla="*/ 211709 w 224830"/>
                <a:gd name="connsiteY19" fmla="*/ 33099 h 106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24830" h="106166">
                  <a:moveTo>
                    <a:pt x="211709" y="33099"/>
                  </a:moveTo>
                  <a:cubicBezTo>
                    <a:pt x="195792" y="20684"/>
                    <a:pt x="177366" y="11881"/>
                    <a:pt x="157707" y="7301"/>
                  </a:cubicBezTo>
                  <a:cubicBezTo>
                    <a:pt x="142991" y="2906"/>
                    <a:pt x="127763" y="453"/>
                    <a:pt x="112412" y="0"/>
                  </a:cubicBezTo>
                  <a:cubicBezTo>
                    <a:pt x="97074" y="15"/>
                    <a:pt x="81835" y="2467"/>
                    <a:pt x="67266" y="7263"/>
                  </a:cubicBezTo>
                  <a:cubicBezTo>
                    <a:pt x="47718" y="12589"/>
                    <a:pt x="29295" y="21409"/>
                    <a:pt x="12890" y="33299"/>
                  </a:cubicBezTo>
                  <a:cubicBezTo>
                    <a:pt x="4784" y="39503"/>
                    <a:pt x="22" y="49121"/>
                    <a:pt x="0" y="59328"/>
                  </a:cubicBezTo>
                  <a:lnTo>
                    <a:pt x="0" y="106167"/>
                  </a:lnTo>
                  <a:lnTo>
                    <a:pt x="12490" y="106167"/>
                  </a:lnTo>
                  <a:lnTo>
                    <a:pt x="12490" y="59328"/>
                  </a:lnTo>
                  <a:cubicBezTo>
                    <a:pt x="12501" y="53025"/>
                    <a:pt x="15427" y="47082"/>
                    <a:pt x="20415" y="43229"/>
                  </a:cubicBezTo>
                  <a:cubicBezTo>
                    <a:pt x="35608" y="32277"/>
                    <a:pt x="52651" y="24154"/>
                    <a:pt x="70726" y="19247"/>
                  </a:cubicBezTo>
                  <a:cubicBezTo>
                    <a:pt x="84181" y="14826"/>
                    <a:pt x="98248" y="12546"/>
                    <a:pt x="112412" y="12490"/>
                  </a:cubicBezTo>
                  <a:cubicBezTo>
                    <a:pt x="126691" y="12948"/>
                    <a:pt x="140850" y="15257"/>
                    <a:pt x="154535" y="19360"/>
                  </a:cubicBezTo>
                  <a:cubicBezTo>
                    <a:pt x="172523" y="23490"/>
                    <a:pt x="189387" y="31514"/>
                    <a:pt x="203940" y="42866"/>
                  </a:cubicBezTo>
                  <a:lnTo>
                    <a:pt x="204477" y="43266"/>
                  </a:lnTo>
                  <a:cubicBezTo>
                    <a:pt x="209615" y="46972"/>
                    <a:pt x="212562" y="52998"/>
                    <a:pt x="212333" y="59328"/>
                  </a:cubicBezTo>
                  <a:lnTo>
                    <a:pt x="212333" y="106167"/>
                  </a:lnTo>
                  <a:lnTo>
                    <a:pt x="224823" y="106167"/>
                  </a:lnTo>
                  <a:lnTo>
                    <a:pt x="224823" y="59328"/>
                  </a:lnTo>
                  <a:cubicBezTo>
                    <a:pt x="225049" y="48957"/>
                    <a:pt x="220142" y="39141"/>
                    <a:pt x="211709" y="33099"/>
                  </a:cubicBezTo>
                  <a:close/>
                </a:path>
              </a:pathLst>
            </a:custGeom>
            <a:solidFill>
              <a:schemeClr val="lt1"/>
            </a:solidFill>
            <a:ln w="8202" cap="flat">
              <a:solidFill>
                <a:schemeClr val="accent5"/>
              </a:solidFill>
              <a:prstDash val="solid"/>
              <a:miter/>
            </a:ln>
          </p:spPr>
          <p:txBody>
            <a:bodyPr rtlCol="0" anchor="ctr"/>
            <a:lstStyle/>
            <a:p>
              <a:endParaRPr lang="en-GB"/>
            </a:p>
          </p:txBody>
        </p:sp>
        <p:sp>
          <p:nvSpPr>
            <p:cNvPr id="142" name="Frihandsfigur: Form 141">
              <a:extLst>
                <a:ext uri="{FF2B5EF4-FFF2-40B4-BE49-F238E27FC236}">
                  <a16:creationId xmlns:a16="http://schemas.microsoft.com/office/drawing/2014/main" id="{804D1714-488B-AE78-AA90-BDF9658689A4}"/>
                </a:ext>
              </a:extLst>
            </p:cNvPr>
            <p:cNvSpPr/>
            <p:nvPr/>
          </p:nvSpPr>
          <p:spPr>
            <a:xfrm>
              <a:off x="15862208" y="2664110"/>
              <a:ext cx="112411" cy="112411"/>
            </a:xfrm>
            <a:custGeom>
              <a:avLst/>
              <a:gdLst>
                <a:gd name="connsiteX0" fmla="*/ 56206 w 112411"/>
                <a:gd name="connsiteY0" fmla="*/ 112412 h 112411"/>
                <a:gd name="connsiteX1" fmla="*/ 112412 w 112411"/>
                <a:gd name="connsiteY1" fmla="*/ 56206 h 112411"/>
                <a:gd name="connsiteX2" fmla="*/ 56206 w 112411"/>
                <a:gd name="connsiteY2" fmla="*/ 0 h 112411"/>
                <a:gd name="connsiteX3" fmla="*/ 0 w 112411"/>
                <a:gd name="connsiteY3" fmla="*/ 56206 h 112411"/>
                <a:gd name="connsiteX4" fmla="*/ 56206 w 112411"/>
                <a:gd name="connsiteY4" fmla="*/ 112412 h 112411"/>
                <a:gd name="connsiteX5" fmla="*/ 56206 w 112411"/>
                <a:gd name="connsiteY5" fmla="*/ 12490 h 112411"/>
                <a:gd name="connsiteX6" fmla="*/ 99922 w 112411"/>
                <a:gd name="connsiteY6" fmla="*/ 56206 h 112411"/>
                <a:gd name="connsiteX7" fmla="*/ 56206 w 112411"/>
                <a:gd name="connsiteY7" fmla="*/ 99922 h 112411"/>
                <a:gd name="connsiteX8" fmla="*/ 12490 w 112411"/>
                <a:gd name="connsiteY8" fmla="*/ 56206 h 112411"/>
                <a:gd name="connsiteX9" fmla="*/ 56206 w 112411"/>
                <a:gd name="connsiteY9" fmla="*/ 12459 h 112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2411" h="112411">
                  <a:moveTo>
                    <a:pt x="56206" y="112412"/>
                  </a:moveTo>
                  <a:cubicBezTo>
                    <a:pt x="87248" y="112412"/>
                    <a:pt x="112412" y="87248"/>
                    <a:pt x="112412" y="56206"/>
                  </a:cubicBezTo>
                  <a:cubicBezTo>
                    <a:pt x="112412" y="25164"/>
                    <a:pt x="87248" y="0"/>
                    <a:pt x="56206" y="0"/>
                  </a:cubicBezTo>
                  <a:cubicBezTo>
                    <a:pt x="25164" y="0"/>
                    <a:pt x="0" y="25164"/>
                    <a:pt x="0" y="56206"/>
                  </a:cubicBezTo>
                  <a:cubicBezTo>
                    <a:pt x="0" y="87248"/>
                    <a:pt x="25164" y="112412"/>
                    <a:pt x="56206" y="112412"/>
                  </a:cubicBezTo>
                  <a:close/>
                  <a:moveTo>
                    <a:pt x="56206" y="12490"/>
                  </a:moveTo>
                  <a:cubicBezTo>
                    <a:pt x="80349" y="12490"/>
                    <a:pt x="99922" y="32062"/>
                    <a:pt x="99922" y="56206"/>
                  </a:cubicBezTo>
                  <a:cubicBezTo>
                    <a:pt x="99922" y="80349"/>
                    <a:pt x="80349" y="99922"/>
                    <a:pt x="56206" y="99922"/>
                  </a:cubicBezTo>
                  <a:cubicBezTo>
                    <a:pt x="32062" y="99922"/>
                    <a:pt x="12490" y="80349"/>
                    <a:pt x="12490" y="56206"/>
                  </a:cubicBezTo>
                  <a:cubicBezTo>
                    <a:pt x="12508" y="32064"/>
                    <a:pt x="32064" y="12493"/>
                    <a:pt x="56206" y="12459"/>
                  </a:cubicBezTo>
                  <a:close/>
                </a:path>
              </a:pathLst>
            </a:custGeom>
            <a:solidFill>
              <a:schemeClr val="lt1"/>
            </a:solidFill>
            <a:ln w="8202" cap="flat">
              <a:solidFill>
                <a:schemeClr val="accent5"/>
              </a:solidFill>
              <a:prstDash val="solid"/>
              <a:miter/>
            </a:ln>
          </p:spPr>
          <p:txBody>
            <a:bodyPr rtlCol="0" anchor="ctr"/>
            <a:lstStyle/>
            <a:p>
              <a:endParaRPr lang="en-GB"/>
            </a:p>
          </p:txBody>
        </p:sp>
      </p:grpSp>
      <p:grpSp>
        <p:nvGrpSpPr>
          <p:cNvPr id="146" name="Bild 140" descr="Frysbox för kassör kontur">
            <a:extLst>
              <a:ext uri="{FF2B5EF4-FFF2-40B4-BE49-F238E27FC236}">
                <a16:creationId xmlns:a16="http://schemas.microsoft.com/office/drawing/2014/main" id="{7FD52C25-4203-A4C1-6FE4-F53C720B20B3}"/>
              </a:ext>
            </a:extLst>
          </p:cNvPr>
          <p:cNvGrpSpPr/>
          <p:nvPr/>
        </p:nvGrpSpPr>
        <p:grpSpPr>
          <a:xfrm>
            <a:off x="16339831" y="5957727"/>
            <a:ext cx="571911" cy="505852"/>
            <a:chOff x="15636443" y="6959755"/>
            <a:chExt cx="571911" cy="505852"/>
          </a:xfrm>
          <a:solidFill>
            <a:schemeClr val="lt1"/>
          </a:solidFill>
        </p:grpSpPr>
        <p:sp>
          <p:nvSpPr>
            <p:cNvPr id="147" name="Frihandsfigur: Form 146">
              <a:extLst>
                <a:ext uri="{FF2B5EF4-FFF2-40B4-BE49-F238E27FC236}">
                  <a16:creationId xmlns:a16="http://schemas.microsoft.com/office/drawing/2014/main" id="{FEC7DFA2-7679-BB8B-C02D-77BC22B05978}"/>
                </a:ext>
              </a:extLst>
            </p:cNvPr>
            <p:cNvSpPr/>
            <p:nvPr/>
          </p:nvSpPr>
          <p:spPr>
            <a:xfrm>
              <a:off x="15636443" y="7128372"/>
              <a:ext cx="47468" cy="56205"/>
            </a:xfrm>
            <a:custGeom>
              <a:avLst/>
              <a:gdLst>
                <a:gd name="connsiteX0" fmla="*/ 23734 w 47468"/>
                <a:gd name="connsiteY0" fmla="*/ 0 h 56205"/>
                <a:gd name="connsiteX1" fmla="*/ 0 w 47468"/>
                <a:gd name="connsiteY1" fmla="*/ 28103 h 56205"/>
                <a:gd name="connsiteX2" fmla="*/ 23734 w 47468"/>
                <a:gd name="connsiteY2" fmla="*/ 56206 h 56205"/>
                <a:gd name="connsiteX3" fmla="*/ 47469 w 47468"/>
                <a:gd name="connsiteY3" fmla="*/ 28103 h 56205"/>
                <a:gd name="connsiteX4" fmla="*/ 23734 w 47468"/>
                <a:gd name="connsiteY4" fmla="*/ 0 h 56205"/>
                <a:gd name="connsiteX5" fmla="*/ 23734 w 47468"/>
                <a:gd name="connsiteY5" fmla="*/ 30711 h 56205"/>
                <a:gd name="connsiteX6" fmla="*/ 21354 w 47468"/>
                <a:gd name="connsiteY6" fmla="*/ 28103 h 56205"/>
                <a:gd name="connsiteX7" fmla="*/ 23734 w 47468"/>
                <a:gd name="connsiteY7" fmla="*/ 25495 h 56205"/>
                <a:gd name="connsiteX8" fmla="*/ 26114 w 47468"/>
                <a:gd name="connsiteY8" fmla="*/ 28103 h 56205"/>
                <a:gd name="connsiteX9" fmla="*/ 23734 w 47468"/>
                <a:gd name="connsiteY9" fmla="*/ 30711 h 56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468" h="56205">
                  <a:moveTo>
                    <a:pt x="23734" y="0"/>
                  </a:moveTo>
                  <a:cubicBezTo>
                    <a:pt x="20231" y="12344"/>
                    <a:pt x="11584" y="22583"/>
                    <a:pt x="0" y="28103"/>
                  </a:cubicBezTo>
                  <a:cubicBezTo>
                    <a:pt x="11584" y="33623"/>
                    <a:pt x="20231" y="43862"/>
                    <a:pt x="23734" y="56206"/>
                  </a:cubicBezTo>
                  <a:cubicBezTo>
                    <a:pt x="27238" y="43862"/>
                    <a:pt x="35885" y="33623"/>
                    <a:pt x="47469" y="28103"/>
                  </a:cubicBezTo>
                  <a:cubicBezTo>
                    <a:pt x="35885" y="22583"/>
                    <a:pt x="27238" y="12344"/>
                    <a:pt x="23734" y="0"/>
                  </a:cubicBezTo>
                  <a:close/>
                  <a:moveTo>
                    <a:pt x="23734" y="30711"/>
                  </a:moveTo>
                  <a:cubicBezTo>
                    <a:pt x="22965" y="29813"/>
                    <a:pt x="22172" y="28944"/>
                    <a:pt x="21354" y="28103"/>
                  </a:cubicBezTo>
                  <a:cubicBezTo>
                    <a:pt x="22172" y="27262"/>
                    <a:pt x="22965" y="26392"/>
                    <a:pt x="23734" y="25495"/>
                  </a:cubicBezTo>
                  <a:cubicBezTo>
                    <a:pt x="24504" y="26392"/>
                    <a:pt x="25297" y="27262"/>
                    <a:pt x="26114" y="28103"/>
                  </a:cubicBezTo>
                  <a:cubicBezTo>
                    <a:pt x="25297" y="28944"/>
                    <a:pt x="24504" y="29813"/>
                    <a:pt x="23734" y="30711"/>
                  </a:cubicBezTo>
                  <a:close/>
                </a:path>
              </a:pathLst>
            </a:custGeom>
            <a:solidFill>
              <a:schemeClr val="lt1"/>
            </a:solidFill>
            <a:ln w="8202" cap="flat">
              <a:solidFill>
                <a:schemeClr val="accent5"/>
              </a:solidFill>
              <a:prstDash val="solid"/>
              <a:miter/>
            </a:ln>
          </p:spPr>
          <p:txBody>
            <a:bodyPr rtlCol="0" anchor="ctr"/>
            <a:lstStyle/>
            <a:p>
              <a:endParaRPr lang="en-GB"/>
            </a:p>
          </p:txBody>
        </p:sp>
        <p:sp>
          <p:nvSpPr>
            <p:cNvPr id="148" name="Frihandsfigur: Form 147">
              <a:extLst>
                <a:ext uri="{FF2B5EF4-FFF2-40B4-BE49-F238E27FC236}">
                  <a16:creationId xmlns:a16="http://schemas.microsoft.com/office/drawing/2014/main" id="{C42105D3-8FC0-A393-E8CF-92424F0D2541}"/>
                </a:ext>
              </a:extLst>
            </p:cNvPr>
            <p:cNvSpPr/>
            <p:nvPr/>
          </p:nvSpPr>
          <p:spPr>
            <a:xfrm>
              <a:off x="16150338" y="7159598"/>
              <a:ext cx="58016" cy="68696"/>
            </a:xfrm>
            <a:custGeom>
              <a:avLst/>
              <a:gdLst>
                <a:gd name="connsiteX0" fmla="*/ 29008 w 58016"/>
                <a:gd name="connsiteY0" fmla="*/ 0 h 68696"/>
                <a:gd name="connsiteX1" fmla="*/ 0 w 58016"/>
                <a:gd name="connsiteY1" fmla="*/ 34348 h 68696"/>
                <a:gd name="connsiteX2" fmla="*/ 29008 w 58016"/>
                <a:gd name="connsiteY2" fmla="*/ 68696 h 68696"/>
                <a:gd name="connsiteX3" fmla="*/ 58017 w 58016"/>
                <a:gd name="connsiteY3" fmla="*/ 34348 h 68696"/>
                <a:gd name="connsiteX4" fmla="*/ 29008 w 58016"/>
                <a:gd name="connsiteY4" fmla="*/ 0 h 68696"/>
                <a:gd name="connsiteX5" fmla="*/ 29008 w 58016"/>
                <a:gd name="connsiteY5" fmla="*/ 41926 h 68696"/>
                <a:gd name="connsiteX6" fmla="*/ 22148 w 58016"/>
                <a:gd name="connsiteY6" fmla="*/ 34348 h 68696"/>
                <a:gd name="connsiteX7" fmla="*/ 29008 w 58016"/>
                <a:gd name="connsiteY7" fmla="*/ 26769 h 68696"/>
                <a:gd name="connsiteX8" fmla="*/ 35869 w 58016"/>
                <a:gd name="connsiteY8" fmla="*/ 34348 h 68696"/>
                <a:gd name="connsiteX9" fmla="*/ 29008 w 58016"/>
                <a:gd name="connsiteY9" fmla="*/ 41926 h 68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016" h="68696">
                  <a:moveTo>
                    <a:pt x="29008" y="0"/>
                  </a:moveTo>
                  <a:cubicBezTo>
                    <a:pt x="24726" y="15088"/>
                    <a:pt x="14158" y="27601"/>
                    <a:pt x="0" y="34348"/>
                  </a:cubicBezTo>
                  <a:cubicBezTo>
                    <a:pt x="14158" y="41095"/>
                    <a:pt x="24726" y="53609"/>
                    <a:pt x="29008" y="68696"/>
                  </a:cubicBezTo>
                  <a:cubicBezTo>
                    <a:pt x="33290" y="53609"/>
                    <a:pt x="43859" y="41095"/>
                    <a:pt x="58017" y="34348"/>
                  </a:cubicBezTo>
                  <a:cubicBezTo>
                    <a:pt x="43859" y="27601"/>
                    <a:pt x="33290" y="15088"/>
                    <a:pt x="29008" y="0"/>
                  </a:cubicBezTo>
                  <a:close/>
                  <a:moveTo>
                    <a:pt x="29008" y="41926"/>
                  </a:moveTo>
                  <a:cubicBezTo>
                    <a:pt x="26920" y="39227"/>
                    <a:pt x="24627" y="36694"/>
                    <a:pt x="22148" y="34348"/>
                  </a:cubicBezTo>
                  <a:cubicBezTo>
                    <a:pt x="24627" y="32002"/>
                    <a:pt x="26920" y="29469"/>
                    <a:pt x="29008" y="26769"/>
                  </a:cubicBezTo>
                  <a:cubicBezTo>
                    <a:pt x="31096" y="29469"/>
                    <a:pt x="33390" y="32002"/>
                    <a:pt x="35869" y="34348"/>
                  </a:cubicBezTo>
                  <a:cubicBezTo>
                    <a:pt x="33390" y="36694"/>
                    <a:pt x="31096" y="39227"/>
                    <a:pt x="29008" y="41926"/>
                  </a:cubicBezTo>
                  <a:close/>
                </a:path>
              </a:pathLst>
            </a:custGeom>
            <a:solidFill>
              <a:schemeClr val="lt1"/>
            </a:solidFill>
            <a:ln w="8202" cap="flat">
              <a:solidFill>
                <a:schemeClr val="accent5"/>
              </a:solidFill>
              <a:prstDash val="solid"/>
              <a:miter/>
            </a:ln>
          </p:spPr>
          <p:txBody>
            <a:bodyPr rtlCol="0" anchor="ctr"/>
            <a:lstStyle/>
            <a:p>
              <a:endParaRPr lang="en-GB"/>
            </a:p>
          </p:txBody>
        </p:sp>
        <p:sp>
          <p:nvSpPr>
            <p:cNvPr id="149" name="Frihandsfigur: Form 148">
              <a:extLst>
                <a:ext uri="{FF2B5EF4-FFF2-40B4-BE49-F238E27FC236}">
                  <a16:creationId xmlns:a16="http://schemas.microsoft.com/office/drawing/2014/main" id="{84031186-D3F3-852F-4B44-284B6F6A6D7A}"/>
                </a:ext>
              </a:extLst>
            </p:cNvPr>
            <p:cNvSpPr/>
            <p:nvPr/>
          </p:nvSpPr>
          <p:spPr>
            <a:xfrm>
              <a:off x="15943423" y="7103392"/>
              <a:ext cx="42194" cy="49960"/>
            </a:xfrm>
            <a:custGeom>
              <a:avLst/>
              <a:gdLst>
                <a:gd name="connsiteX0" fmla="*/ 21097 w 42194"/>
                <a:gd name="connsiteY0" fmla="*/ 49961 h 49960"/>
                <a:gd name="connsiteX1" fmla="*/ 42194 w 42194"/>
                <a:gd name="connsiteY1" fmla="*/ 24980 h 49960"/>
                <a:gd name="connsiteX2" fmla="*/ 21097 w 42194"/>
                <a:gd name="connsiteY2" fmla="*/ 0 h 49960"/>
                <a:gd name="connsiteX3" fmla="*/ 0 w 42194"/>
                <a:gd name="connsiteY3" fmla="*/ 24980 h 49960"/>
                <a:gd name="connsiteX4" fmla="*/ 21097 w 42194"/>
                <a:gd name="connsiteY4" fmla="*/ 49961 h 499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94" h="49960">
                  <a:moveTo>
                    <a:pt x="21097" y="49961"/>
                  </a:moveTo>
                  <a:cubicBezTo>
                    <a:pt x="24212" y="38988"/>
                    <a:pt x="31898" y="29887"/>
                    <a:pt x="42194" y="24980"/>
                  </a:cubicBezTo>
                  <a:cubicBezTo>
                    <a:pt x="31898" y="20074"/>
                    <a:pt x="24212" y="10973"/>
                    <a:pt x="21097" y="0"/>
                  </a:cubicBezTo>
                  <a:cubicBezTo>
                    <a:pt x="17983" y="10973"/>
                    <a:pt x="10297" y="20074"/>
                    <a:pt x="0" y="24980"/>
                  </a:cubicBezTo>
                  <a:cubicBezTo>
                    <a:pt x="10297" y="29887"/>
                    <a:pt x="17983" y="38988"/>
                    <a:pt x="21097" y="49961"/>
                  </a:cubicBezTo>
                  <a:close/>
                </a:path>
              </a:pathLst>
            </a:custGeom>
            <a:solidFill>
              <a:schemeClr val="lt1"/>
            </a:solidFill>
            <a:ln w="8202" cap="flat">
              <a:solidFill>
                <a:schemeClr val="accent5"/>
              </a:solidFill>
              <a:prstDash val="solid"/>
              <a:miter/>
            </a:ln>
          </p:spPr>
          <p:txBody>
            <a:bodyPr rtlCol="0" anchor="ctr"/>
            <a:lstStyle/>
            <a:p>
              <a:endParaRPr lang="en-GB"/>
            </a:p>
          </p:txBody>
        </p:sp>
        <p:sp>
          <p:nvSpPr>
            <p:cNvPr id="150" name="Frihandsfigur: Form 149">
              <a:extLst>
                <a:ext uri="{FF2B5EF4-FFF2-40B4-BE49-F238E27FC236}">
                  <a16:creationId xmlns:a16="http://schemas.microsoft.com/office/drawing/2014/main" id="{5EBBCDB4-0A94-1FA3-2725-2C3FE21A3E7B}"/>
                </a:ext>
              </a:extLst>
            </p:cNvPr>
            <p:cNvSpPr/>
            <p:nvPr/>
          </p:nvSpPr>
          <p:spPr>
            <a:xfrm>
              <a:off x="15803250" y="6959755"/>
              <a:ext cx="52742" cy="62450"/>
            </a:xfrm>
            <a:custGeom>
              <a:avLst/>
              <a:gdLst>
                <a:gd name="connsiteX0" fmla="*/ 26371 w 52742"/>
                <a:gd name="connsiteY0" fmla="*/ 62451 h 62450"/>
                <a:gd name="connsiteX1" fmla="*/ 52742 w 52742"/>
                <a:gd name="connsiteY1" fmla="*/ 31225 h 62450"/>
                <a:gd name="connsiteX2" fmla="*/ 26371 w 52742"/>
                <a:gd name="connsiteY2" fmla="*/ 0 h 62450"/>
                <a:gd name="connsiteX3" fmla="*/ 0 w 52742"/>
                <a:gd name="connsiteY3" fmla="*/ 31225 h 62450"/>
                <a:gd name="connsiteX4" fmla="*/ 26371 w 52742"/>
                <a:gd name="connsiteY4" fmla="*/ 62451 h 62450"/>
                <a:gd name="connsiteX5" fmla="*/ 26371 w 52742"/>
                <a:gd name="connsiteY5" fmla="*/ 26162 h 62450"/>
                <a:gd name="connsiteX6" fmla="*/ 30972 w 52742"/>
                <a:gd name="connsiteY6" fmla="*/ 31225 h 62450"/>
                <a:gd name="connsiteX7" fmla="*/ 26371 w 52742"/>
                <a:gd name="connsiteY7" fmla="*/ 36289 h 62450"/>
                <a:gd name="connsiteX8" fmla="*/ 21770 w 52742"/>
                <a:gd name="connsiteY8" fmla="*/ 31225 h 62450"/>
                <a:gd name="connsiteX9" fmla="*/ 26371 w 52742"/>
                <a:gd name="connsiteY9" fmla="*/ 26162 h 62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742" h="62450">
                  <a:moveTo>
                    <a:pt x="26371" y="62451"/>
                  </a:moveTo>
                  <a:cubicBezTo>
                    <a:pt x="30264" y="48735"/>
                    <a:pt x="39872" y="37359"/>
                    <a:pt x="52742" y="31225"/>
                  </a:cubicBezTo>
                  <a:cubicBezTo>
                    <a:pt x="39872" y="25092"/>
                    <a:pt x="30264" y="13716"/>
                    <a:pt x="26371" y="0"/>
                  </a:cubicBezTo>
                  <a:cubicBezTo>
                    <a:pt x="22478" y="13716"/>
                    <a:pt x="12871" y="25092"/>
                    <a:pt x="0" y="31225"/>
                  </a:cubicBezTo>
                  <a:cubicBezTo>
                    <a:pt x="12871" y="37359"/>
                    <a:pt x="22479" y="48735"/>
                    <a:pt x="26371" y="62451"/>
                  </a:cubicBezTo>
                  <a:close/>
                  <a:moveTo>
                    <a:pt x="26371" y="26162"/>
                  </a:moveTo>
                  <a:cubicBezTo>
                    <a:pt x="27809" y="27934"/>
                    <a:pt x="29346" y="29625"/>
                    <a:pt x="30972" y="31225"/>
                  </a:cubicBezTo>
                  <a:cubicBezTo>
                    <a:pt x="29346" y="32826"/>
                    <a:pt x="27809" y="34517"/>
                    <a:pt x="26371" y="36289"/>
                  </a:cubicBezTo>
                  <a:cubicBezTo>
                    <a:pt x="24933" y="34517"/>
                    <a:pt x="23397" y="32826"/>
                    <a:pt x="21770" y="31225"/>
                  </a:cubicBezTo>
                  <a:cubicBezTo>
                    <a:pt x="23397" y="29625"/>
                    <a:pt x="24933" y="27934"/>
                    <a:pt x="26371" y="26162"/>
                  </a:cubicBezTo>
                  <a:close/>
                </a:path>
              </a:pathLst>
            </a:custGeom>
            <a:solidFill>
              <a:schemeClr val="lt1"/>
            </a:solidFill>
            <a:ln w="8202" cap="flat">
              <a:solidFill>
                <a:schemeClr val="accent5"/>
              </a:solidFill>
              <a:prstDash val="solid"/>
              <a:miter/>
            </a:ln>
          </p:spPr>
          <p:txBody>
            <a:bodyPr rtlCol="0" anchor="ctr"/>
            <a:lstStyle/>
            <a:p>
              <a:endParaRPr lang="en-GB"/>
            </a:p>
          </p:txBody>
        </p:sp>
        <p:sp>
          <p:nvSpPr>
            <p:cNvPr id="151" name="Frihandsfigur: Form 150">
              <a:extLst>
                <a:ext uri="{FF2B5EF4-FFF2-40B4-BE49-F238E27FC236}">
                  <a16:creationId xmlns:a16="http://schemas.microsoft.com/office/drawing/2014/main" id="{36308BEA-F035-05D3-B877-B20A54DCFEF9}"/>
                </a:ext>
              </a:extLst>
            </p:cNvPr>
            <p:cNvSpPr/>
            <p:nvPr/>
          </p:nvSpPr>
          <p:spPr>
            <a:xfrm>
              <a:off x="15681142" y="7028451"/>
              <a:ext cx="474627" cy="437156"/>
            </a:xfrm>
            <a:custGeom>
              <a:avLst/>
              <a:gdLst>
                <a:gd name="connsiteX0" fmla="*/ 467897 w 474627"/>
                <a:gd name="connsiteY0" fmla="*/ 67371 h 437156"/>
                <a:gd name="connsiteX1" fmla="*/ 468370 w 474627"/>
                <a:gd name="connsiteY1" fmla="*/ 66268 h 437156"/>
                <a:gd name="connsiteX2" fmla="*/ 468370 w 474627"/>
                <a:gd name="connsiteY2" fmla="*/ 46809 h 437156"/>
                <a:gd name="connsiteX3" fmla="*/ 462208 w 474627"/>
                <a:gd name="connsiteY3" fmla="*/ 31405 h 437156"/>
                <a:gd name="connsiteX4" fmla="*/ 415821 w 474627"/>
                <a:gd name="connsiteY4" fmla="*/ 0 h 437156"/>
                <a:gd name="connsiteX5" fmla="*/ 58805 w 474627"/>
                <a:gd name="connsiteY5" fmla="*/ 0 h 437156"/>
                <a:gd name="connsiteX6" fmla="*/ 12418 w 474627"/>
                <a:gd name="connsiteY6" fmla="*/ 31405 h 437156"/>
                <a:gd name="connsiteX7" fmla="*/ 6233 w 474627"/>
                <a:gd name="connsiteY7" fmla="*/ 46868 h 437156"/>
                <a:gd name="connsiteX8" fmla="*/ 6233 w 474627"/>
                <a:gd name="connsiteY8" fmla="*/ 63762 h 437156"/>
                <a:gd name="connsiteX9" fmla="*/ 7780 w 474627"/>
                <a:gd name="connsiteY9" fmla="*/ 67371 h 437156"/>
                <a:gd name="connsiteX10" fmla="*/ 43608 w 474627"/>
                <a:gd name="connsiteY10" fmla="*/ 150968 h 437156"/>
                <a:gd name="connsiteX11" fmla="*/ 0 w 474627"/>
                <a:gd name="connsiteY11" fmla="*/ 235801 h 437156"/>
                <a:gd name="connsiteX12" fmla="*/ 0 w 474627"/>
                <a:gd name="connsiteY12" fmla="*/ 437157 h 437156"/>
                <a:gd name="connsiteX13" fmla="*/ 474627 w 474627"/>
                <a:gd name="connsiteY13" fmla="*/ 437157 h 437156"/>
                <a:gd name="connsiteX14" fmla="*/ 474627 w 474627"/>
                <a:gd name="connsiteY14" fmla="*/ 235801 h 437156"/>
                <a:gd name="connsiteX15" fmla="*/ 431582 w 474627"/>
                <a:gd name="connsiteY15" fmla="*/ 152106 h 437156"/>
                <a:gd name="connsiteX16" fmla="*/ 24014 w 474627"/>
                <a:gd name="connsiteY16" fmla="*/ 36044 h 437156"/>
                <a:gd name="connsiteX17" fmla="*/ 58805 w 474627"/>
                <a:gd name="connsiteY17" fmla="*/ 12490 h 437156"/>
                <a:gd name="connsiteX18" fmla="*/ 415821 w 474627"/>
                <a:gd name="connsiteY18" fmla="*/ 12490 h 437156"/>
                <a:gd name="connsiteX19" fmla="*/ 450612 w 474627"/>
                <a:gd name="connsiteY19" fmla="*/ 36044 h 437156"/>
                <a:gd name="connsiteX20" fmla="*/ 456178 w 474627"/>
                <a:gd name="connsiteY20" fmla="*/ 49961 h 437156"/>
                <a:gd name="connsiteX21" fmla="*/ 18448 w 474627"/>
                <a:gd name="connsiteY21" fmla="*/ 49961 h 437156"/>
                <a:gd name="connsiteX22" fmla="*/ 19259 w 474627"/>
                <a:gd name="connsiteY22" fmla="*/ 62452 h 437156"/>
                <a:gd name="connsiteX23" fmla="*/ 456416 w 474627"/>
                <a:gd name="connsiteY23" fmla="*/ 62452 h 437156"/>
                <a:gd name="connsiteX24" fmla="*/ 418945 w 474627"/>
                <a:gd name="connsiteY24" fmla="*/ 149883 h 437156"/>
                <a:gd name="connsiteX25" fmla="*/ 346521 w 474627"/>
                <a:gd name="connsiteY25" fmla="*/ 149883 h 437156"/>
                <a:gd name="connsiteX26" fmla="*/ 319724 w 474627"/>
                <a:gd name="connsiteY26" fmla="*/ 138586 h 437156"/>
                <a:gd name="connsiteX27" fmla="*/ 280232 w 474627"/>
                <a:gd name="connsiteY27" fmla="*/ 134641 h 437156"/>
                <a:gd name="connsiteX28" fmla="*/ 240076 w 474627"/>
                <a:gd name="connsiteY28" fmla="*/ 132918 h 437156"/>
                <a:gd name="connsiteX29" fmla="*/ 224718 w 474627"/>
                <a:gd name="connsiteY29" fmla="*/ 136031 h 437156"/>
                <a:gd name="connsiteX30" fmla="*/ 218954 w 474627"/>
                <a:gd name="connsiteY30" fmla="*/ 125853 h 437156"/>
                <a:gd name="connsiteX31" fmla="*/ 167581 w 474627"/>
                <a:gd name="connsiteY31" fmla="*/ 131547 h 437156"/>
                <a:gd name="connsiteX32" fmla="*/ 140282 w 474627"/>
                <a:gd name="connsiteY32" fmla="*/ 152776 h 437156"/>
                <a:gd name="connsiteX33" fmla="*/ 96078 w 474627"/>
                <a:gd name="connsiteY33" fmla="*/ 149883 h 437156"/>
                <a:gd name="connsiteX34" fmla="*/ 56730 w 474627"/>
                <a:gd name="connsiteY34" fmla="*/ 149883 h 437156"/>
                <a:gd name="connsiteX35" fmla="*/ 386914 w 474627"/>
                <a:gd name="connsiteY35" fmla="*/ 195259 h 437156"/>
                <a:gd name="connsiteX36" fmla="*/ 423016 w 474627"/>
                <a:gd name="connsiteY36" fmla="*/ 201811 h 437156"/>
                <a:gd name="connsiteX37" fmla="*/ 386902 w 474627"/>
                <a:gd name="connsiteY37" fmla="*/ 215696 h 437156"/>
                <a:gd name="connsiteX38" fmla="*/ 376283 w 474627"/>
                <a:gd name="connsiteY38" fmla="*/ 216305 h 437156"/>
                <a:gd name="connsiteX39" fmla="*/ 386914 w 474627"/>
                <a:gd name="connsiteY39" fmla="*/ 195259 h 437156"/>
                <a:gd name="connsiteX40" fmla="*/ 424423 w 474627"/>
                <a:gd name="connsiteY40" fmla="*/ 215722 h 437156"/>
                <a:gd name="connsiteX41" fmla="*/ 424724 w 474627"/>
                <a:gd name="connsiteY41" fmla="*/ 218692 h 437156"/>
                <a:gd name="connsiteX42" fmla="*/ 399239 w 474627"/>
                <a:gd name="connsiteY42" fmla="*/ 231068 h 437156"/>
                <a:gd name="connsiteX43" fmla="*/ 356995 w 474627"/>
                <a:gd name="connsiteY43" fmla="*/ 231068 h 437156"/>
                <a:gd name="connsiteX44" fmla="*/ 356211 w 474627"/>
                <a:gd name="connsiteY44" fmla="*/ 230845 h 437156"/>
                <a:gd name="connsiteX45" fmla="*/ 363753 w 474627"/>
                <a:gd name="connsiteY45" fmla="*/ 226105 h 437156"/>
                <a:gd name="connsiteX46" fmla="*/ 387927 w 474627"/>
                <a:gd name="connsiteY46" fmla="*/ 225825 h 437156"/>
                <a:gd name="connsiteX47" fmla="*/ 424423 w 474627"/>
                <a:gd name="connsiteY47" fmla="*/ 215722 h 437156"/>
                <a:gd name="connsiteX48" fmla="*/ 349103 w 474627"/>
                <a:gd name="connsiteY48" fmla="*/ 223196 h 437156"/>
                <a:gd name="connsiteX49" fmla="*/ 332415 w 474627"/>
                <a:gd name="connsiteY49" fmla="*/ 231068 h 437156"/>
                <a:gd name="connsiteX50" fmla="*/ 310663 w 474627"/>
                <a:gd name="connsiteY50" fmla="*/ 231068 h 437156"/>
                <a:gd name="connsiteX51" fmla="*/ 310135 w 474627"/>
                <a:gd name="connsiteY51" fmla="*/ 230134 h 437156"/>
                <a:gd name="connsiteX52" fmla="*/ 345759 w 474627"/>
                <a:gd name="connsiteY52" fmla="*/ 217291 h 437156"/>
                <a:gd name="connsiteX53" fmla="*/ 375098 w 474627"/>
                <a:gd name="connsiteY53" fmla="*/ 193347 h 437156"/>
                <a:gd name="connsiteX54" fmla="*/ 376569 w 474627"/>
                <a:gd name="connsiteY54" fmla="*/ 195944 h 437156"/>
                <a:gd name="connsiteX55" fmla="*/ 349103 w 474627"/>
                <a:gd name="connsiteY55" fmla="*/ 223196 h 437156"/>
                <a:gd name="connsiteX56" fmla="*/ 121715 w 474627"/>
                <a:gd name="connsiteY56" fmla="*/ 228406 h 437156"/>
                <a:gd name="connsiteX57" fmla="*/ 110553 w 474627"/>
                <a:gd name="connsiteY57" fmla="*/ 231068 h 437156"/>
                <a:gd name="connsiteX58" fmla="*/ 68315 w 474627"/>
                <a:gd name="connsiteY58" fmla="*/ 231068 h 437156"/>
                <a:gd name="connsiteX59" fmla="*/ 61878 w 474627"/>
                <a:gd name="connsiteY59" fmla="*/ 226206 h 437156"/>
                <a:gd name="connsiteX60" fmla="*/ 61577 w 474627"/>
                <a:gd name="connsiteY60" fmla="*/ 223236 h 437156"/>
                <a:gd name="connsiteX61" fmla="*/ 99358 w 474627"/>
                <a:gd name="connsiteY61" fmla="*/ 225825 h 437156"/>
                <a:gd name="connsiteX62" fmla="*/ 122404 w 474627"/>
                <a:gd name="connsiteY62" fmla="*/ 221507 h 437156"/>
                <a:gd name="connsiteX63" fmla="*/ 121715 w 474627"/>
                <a:gd name="connsiteY63" fmla="*/ 228406 h 437156"/>
                <a:gd name="connsiteX64" fmla="*/ 98333 w 474627"/>
                <a:gd name="connsiteY64" fmla="*/ 215696 h 437156"/>
                <a:gd name="connsiteX65" fmla="*/ 60170 w 474627"/>
                <a:gd name="connsiteY65" fmla="*/ 209325 h 437156"/>
                <a:gd name="connsiteX66" fmla="*/ 96284 w 474627"/>
                <a:gd name="connsiteY66" fmla="*/ 195439 h 437156"/>
                <a:gd name="connsiteX67" fmla="*/ 97548 w 474627"/>
                <a:gd name="connsiteY67" fmla="*/ 195337 h 437156"/>
                <a:gd name="connsiteX68" fmla="*/ 122748 w 474627"/>
                <a:gd name="connsiteY68" fmla="*/ 207767 h 437156"/>
                <a:gd name="connsiteX69" fmla="*/ 126605 w 474627"/>
                <a:gd name="connsiteY69" fmla="*/ 209117 h 437156"/>
                <a:gd name="connsiteX70" fmla="*/ 98333 w 474627"/>
                <a:gd name="connsiteY70" fmla="*/ 215696 h 437156"/>
                <a:gd name="connsiteX71" fmla="*/ 126250 w 474627"/>
                <a:gd name="connsiteY71" fmla="*/ 198208 h 437156"/>
                <a:gd name="connsiteX72" fmla="*/ 94702 w 474627"/>
                <a:gd name="connsiteY72" fmla="*/ 175807 h 437156"/>
                <a:gd name="connsiteX73" fmla="*/ 95730 w 474627"/>
                <a:gd name="connsiteY73" fmla="*/ 173005 h 437156"/>
                <a:gd name="connsiteX74" fmla="*/ 128585 w 474627"/>
                <a:gd name="connsiteY74" fmla="*/ 191835 h 437156"/>
                <a:gd name="connsiteX75" fmla="*/ 146210 w 474627"/>
                <a:gd name="connsiteY75" fmla="*/ 197032 h 437156"/>
                <a:gd name="connsiteX76" fmla="*/ 138997 w 474627"/>
                <a:gd name="connsiteY76" fmla="*/ 202136 h 437156"/>
                <a:gd name="connsiteX77" fmla="*/ 126250 w 474627"/>
                <a:gd name="connsiteY77" fmla="*/ 198208 h 437156"/>
                <a:gd name="connsiteX78" fmla="*/ 136274 w 474627"/>
                <a:gd name="connsiteY78" fmla="*/ 172674 h 437156"/>
                <a:gd name="connsiteX79" fmla="*/ 143795 w 474627"/>
                <a:gd name="connsiteY79" fmla="*/ 185955 h 437156"/>
                <a:gd name="connsiteX80" fmla="*/ 132087 w 474627"/>
                <a:gd name="connsiteY80" fmla="*/ 182276 h 437156"/>
                <a:gd name="connsiteX81" fmla="*/ 100540 w 474627"/>
                <a:gd name="connsiteY81" fmla="*/ 159876 h 437156"/>
                <a:gd name="connsiteX82" fmla="*/ 135225 w 474627"/>
                <a:gd name="connsiteY82" fmla="*/ 161810 h 437156"/>
                <a:gd name="connsiteX83" fmla="*/ 136274 w 474627"/>
                <a:gd name="connsiteY83" fmla="*/ 172674 h 437156"/>
                <a:gd name="connsiteX84" fmla="*/ 208602 w 474627"/>
                <a:gd name="connsiteY84" fmla="*/ 175299 h 437156"/>
                <a:gd name="connsiteX85" fmla="*/ 208166 w 474627"/>
                <a:gd name="connsiteY85" fmla="*/ 172346 h 437156"/>
                <a:gd name="connsiteX86" fmla="*/ 246025 w 474627"/>
                <a:gd name="connsiteY86" fmla="*/ 173203 h 437156"/>
                <a:gd name="connsiteX87" fmla="*/ 282022 w 474627"/>
                <a:gd name="connsiteY87" fmla="*/ 161440 h 437156"/>
                <a:gd name="connsiteX88" fmla="*/ 282457 w 474627"/>
                <a:gd name="connsiteY88" fmla="*/ 164393 h 437156"/>
                <a:gd name="connsiteX89" fmla="*/ 247017 w 474627"/>
                <a:gd name="connsiteY89" fmla="*/ 179917 h 437156"/>
                <a:gd name="connsiteX90" fmla="*/ 208602 w 474627"/>
                <a:gd name="connsiteY90" fmla="*/ 175299 h 437156"/>
                <a:gd name="connsiteX91" fmla="*/ 247590 w 474627"/>
                <a:gd name="connsiteY91" fmla="*/ 205209 h 437156"/>
                <a:gd name="connsiteX92" fmla="*/ 209269 w 474627"/>
                <a:gd name="connsiteY92" fmla="*/ 210546 h 437156"/>
                <a:gd name="connsiteX93" fmla="*/ 173543 w 474627"/>
                <a:gd name="connsiteY93" fmla="*/ 195690 h 437156"/>
                <a:gd name="connsiteX94" fmla="*/ 211865 w 474627"/>
                <a:gd name="connsiteY94" fmla="*/ 190352 h 437156"/>
                <a:gd name="connsiteX95" fmla="*/ 247590 w 474627"/>
                <a:gd name="connsiteY95" fmla="*/ 205209 h 437156"/>
                <a:gd name="connsiteX96" fmla="*/ 244539 w 474627"/>
                <a:gd name="connsiteY96" fmla="*/ 163132 h 437156"/>
                <a:gd name="connsiteX97" fmla="*/ 206124 w 474627"/>
                <a:gd name="connsiteY97" fmla="*/ 158514 h 437156"/>
                <a:gd name="connsiteX98" fmla="*/ 241564 w 474627"/>
                <a:gd name="connsiteY98" fmla="*/ 142989 h 437156"/>
                <a:gd name="connsiteX99" fmla="*/ 279979 w 474627"/>
                <a:gd name="connsiteY99" fmla="*/ 147607 h 437156"/>
                <a:gd name="connsiteX100" fmla="*/ 244539 w 474627"/>
                <a:gd name="connsiteY100" fmla="*/ 163132 h 437156"/>
                <a:gd name="connsiteX101" fmla="*/ 182630 w 474627"/>
                <a:gd name="connsiteY101" fmla="*/ 158122 h 437156"/>
                <a:gd name="connsiteX102" fmla="*/ 145132 w 474627"/>
                <a:gd name="connsiteY102" fmla="*/ 167657 h 437156"/>
                <a:gd name="connsiteX103" fmla="*/ 172598 w 474627"/>
                <a:gd name="connsiteY103" fmla="*/ 140405 h 437156"/>
                <a:gd name="connsiteX104" fmla="*/ 210096 w 474627"/>
                <a:gd name="connsiteY104" fmla="*/ 130870 h 437156"/>
                <a:gd name="connsiteX105" fmla="*/ 182630 w 474627"/>
                <a:gd name="connsiteY105" fmla="*/ 158122 h 437156"/>
                <a:gd name="connsiteX106" fmla="*/ 159579 w 474627"/>
                <a:gd name="connsiteY106" fmla="*/ 200804 h 437156"/>
                <a:gd name="connsiteX107" fmla="*/ 162844 w 474627"/>
                <a:gd name="connsiteY107" fmla="*/ 199076 h 437156"/>
                <a:gd name="connsiteX108" fmla="*/ 161283 w 474627"/>
                <a:gd name="connsiteY108" fmla="*/ 211221 h 437156"/>
                <a:gd name="connsiteX109" fmla="*/ 164196 w 474627"/>
                <a:gd name="connsiteY109" fmla="*/ 221394 h 437156"/>
                <a:gd name="connsiteX110" fmla="*/ 132114 w 474627"/>
                <a:gd name="connsiteY110" fmla="*/ 228056 h 437156"/>
                <a:gd name="connsiteX111" fmla="*/ 159579 w 474627"/>
                <a:gd name="connsiteY111" fmla="*/ 200804 h 437156"/>
                <a:gd name="connsiteX112" fmla="*/ 153493 w 474627"/>
                <a:gd name="connsiteY112" fmla="*/ 182422 h 437156"/>
                <a:gd name="connsiteX113" fmla="*/ 152022 w 474627"/>
                <a:gd name="connsiteY113" fmla="*/ 179825 h 437156"/>
                <a:gd name="connsiteX114" fmla="*/ 187647 w 474627"/>
                <a:gd name="connsiteY114" fmla="*/ 166981 h 437156"/>
                <a:gd name="connsiteX115" fmla="*/ 196299 w 474627"/>
                <a:gd name="connsiteY115" fmla="*/ 161672 h 437156"/>
                <a:gd name="connsiteX116" fmla="*/ 197374 w 474627"/>
                <a:gd name="connsiteY116" fmla="*/ 168952 h 437156"/>
                <a:gd name="connsiteX117" fmla="*/ 190991 w 474627"/>
                <a:gd name="connsiteY117" fmla="*/ 172887 h 437156"/>
                <a:gd name="connsiteX118" fmla="*/ 153493 w 474627"/>
                <a:gd name="connsiteY118" fmla="*/ 182422 h 437156"/>
                <a:gd name="connsiteX119" fmla="*/ 171760 w 474627"/>
                <a:gd name="connsiteY119" fmla="*/ 209558 h 437156"/>
                <a:gd name="connsiteX120" fmla="*/ 207970 w 474627"/>
                <a:gd name="connsiteY120" fmla="*/ 220644 h 437156"/>
                <a:gd name="connsiteX121" fmla="*/ 245807 w 474627"/>
                <a:gd name="connsiteY121" fmla="*/ 219077 h 437156"/>
                <a:gd name="connsiteX122" fmla="*/ 245427 w 474627"/>
                <a:gd name="connsiteY122" fmla="*/ 222037 h 437156"/>
                <a:gd name="connsiteX123" fmla="*/ 207105 w 474627"/>
                <a:gd name="connsiteY123" fmla="*/ 227376 h 437156"/>
                <a:gd name="connsiteX124" fmla="*/ 171380 w 474627"/>
                <a:gd name="connsiteY124" fmla="*/ 212519 h 437156"/>
                <a:gd name="connsiteX125" fmla="*/ 206087 w 474627"/>
                <a:gd name="connsiteY125" fmla="*/ 243559 h 437156"/>
                <a:gd name="connsiteX126" fmla="*/ 268538 w 474627"/>
                <a:gd name="connsiteY126" fmla="*/ 243559 h 437156"/>
                <a:gd name="connsiteX127" fmla="*/ 268538 w 474627"/>
                <a:gd name="connsiteY127" fmla="*/ 306010 h 437156"/>
                <a:gd name="connsiteX128" fmla="*/ 237313 w 474627"/>
                <a:gd name="connsiteY128" fmla="*/ 337235 h 437156"/>
                <a:gd name="connsiteX129" fmla="*/ 206087 w 474627"/>
                <a:gd name="connsiteY129" fmla="*/ 306010 h 437156"/>
                <a:gd name="connsiteX130" fmla="*/ 265948 w 474627"/>
                <a:gd name="connsiteY130" fmla="*/ 223231 h 437156"/>
                <a:gd name="connsiteX131" fmla="*/ 255758 w 474627"/>
                <a:gd name="connsiteY131" fmla="*/ 221517 h 437156"/>
                <a:gd name="connsiteX132" fmla="*/ 256622 w 474627"/>
                <a:gd name="connsiteY132" fmla="*/ 214801 h 437156"/>
                <a:gd name="connsiteX133" fmla="*/ 266814 w 474627"/>
                <a:gd name="connsiteY133" fmla="*/ 216500 h 437156"/>
                <a:gd name="connsiteX134" fmla="*/ 304650 w 474627"/>
                <a:gd name="connsiteY134" fmla="*/ 214933 h 437156"/>
                <a:gd name="connsiteX135" fmla="*/ 304269 w 474627"/>
                <a:gd name="connsiteY135" fmla="*/ 217893 h 437156"/>
                <a:gd name="connsiteX136" fmla="*/ 265948 w 474627"/>
                <a:gd name="connsiteY136" fmla="*/ 223231 h 437156"/>
                <a:gd name="connsiteX137" fmla="*/ 268111 w 474627"/>
                <a:gd name="connsiteY137" fmla="*/ 206403 h 437156"/>
                <a:gd name="connsiteX138" fmla="*/ 257711 w 474627"/>
                <a:gd name="connsiteY138" fmla="*/ 204635 h 437156"/>
                <a:gd name="connsiteX139" fmla="*/ 247419 w 474627"/>
                <a:gd name="connsiteY139" fmla="*/ 190138 h 437156"/>
                <a:gd name="connsiteX140" fmla="*/ 248505 w 474627"/>
                <a:gd name="connsiteY140" fmla="*/ 189988 h 437156"/>
                <a:gd name="connsiteX141" fmla="*/ 267523 w 474627"/>
                <a:gd name="connsiteY141" fmla="*/ 185843 h 437156"/>
                <a:gd name="connsiteX142" fmla="*/ 270707 w 474627"/>
                <a:gd name="connsiteY142" fmla="*/ 186208 h 437156"/>
                <a:gd name="connsiteX143" fmla="*/ 306433 w 474627"/>
                <a:gd name="connsiteY143" fmla="*/ 201065 h 437156"/>
                <a:gd name="connsiteX144" fmla="*/ 268111 w 474627"/>
                <a:gd name="connsiteY144" fmla="*/ 206403 h 437156"/>
                <a:gd name="connsiteX145" fmla="*/ 306334 w 474627"/>
                <a:gd name="connsiteY145" fmla="*/ 184168 h 437156"/>
                <a:gd name="connsiteX146" fmla="*/ 286657 w 474627"/>
                <a:gd name="connsiteY146" fmla="*/ 176533 h 437156"/>
                <a:gd name="connsiteX147" fmla="*/ 290975 w 474627"/>
                <a:gd name="connsiteY147" fmla="*/ 171343 h 437156"/>
                <a:gd name="connsiteX148" fmla="*/ 308247 w 474627"/>
                <a:gd name="connsiteY148" fmla="*/ 177657 h 437156"/>
                <a:gd name="connsiteX149" fmla="*/ 345859 w 474627"/>
                <a:gd name="connsiteY149" fmla="*/ 182058 h 437156"/>
                <a:gd name="connsiteX150" fmla="*/ 345018 w 474627"/>
                <a:gd name="connsiteY150" fmla="*/ 184921 h 437156"/>
                <a:gd name="connsiteX151" fmla="*/ 306334 w 474627"/>
                <a:gd name="connsiteY151" fmla="*/ 184168 h 437156"/>
                <a:gd name="connsiteX152" fmla="*/ 289423 w 474627"/>
                <a:gd name="connsiteY152" fmla="*/ 143779 h 437156"/>
                <a:gd name="connsiteX153" fmla="*/ 316855 w 474627"/>
                <a:gd name="connsiteY153" fmla="*/ 148353 h 437156"/>
                <a:gd name="connsiteX154" fmla="*/ 349800 w 474627"/>
                <a:gd name="connsiteY154" fmla="*/ 168642 h 437156"/>
                <a:gd name="connsiteX155" fmla="*/ 311116 w 474627"/>
                <a:gd name="connsiteY155" fmla="*/ 167889 h 437156"/>
                <a:gd name="connsiteX156" fmla="*/ 292190 w 474627"/>
                <a:gd name="connsiteY156" fmla="*/ 160608 h 437156"/>
                <a:gd name="connsiteX157" fmla="*/ 290050 w 474627"/>
                <a:gd name="connsiteY157" fmla="*/ 146121 h 437156"/>
                <a:gd name="connsiteX158" fmla="*/ 289423 w 474627"/>
                <a:gd name="connsiteY158" fmla="*/ 143778 h 437156"/>
                <a:gd name="connsiteX159" fmla="*/ 340743 w 474627"/>
                <a:gd name="connsiteY159" fmla="*/ 208432 h 437156"/>
                <a:gd name="connsiteX160" fmla="*/ 314345 w 474627"/>
                <a:gd name="connsiteY160" fmla="*/ 219281 h 437156"/>
                <a:gd name="connsiteX161" fmla="*/ 314367 w 474627"/>
                <a:gd name="connsiteY161" fmla="*/ 219191 h 437156"/>
                <a:gd name="connsiteX162" fmla="*/ 316530 w 474627"/>
                <a:gd name="connsiteY162" fmla="*/ 202363 h 437156"/>
                <a:gd name="connsiteX163" fmla="*/ 316561 w 474627"/>
                <a:gd name="connsiteY163" fmla="*/ 200010 h 437156"/>
                <a:gd name="connsiteX164" fmla="*/ 319669 w 474627"/>
                <a:gd name="connsiteY164" fmla="*/ 197715 h 437156"/>
                <a:gd name="connsiteX165" fmla="*/ 354786 w 474627"/>
                <a:gd name="connsiteY165" fmla="*/ 187791 h 437156"/>
                <a:gd name="connsiteX166" fmla="*/ 357100 w 474627"/>
                <a:gd name="connsiteY166" fmla="*/ 179914 h 437156"/>
                <a:gd name="connsiteX167" fmla="*/ 368208 w 474627"/>
                <a:gd name="connsiteY167" fmla="*/ 181180 h 437156"/>
                <a:gd name="connsiteX168" fmla="*/ 340743 w 474627"/>
                <a:gd name="connsiteY168" fmla="*/ 208432 h 437156"/>
                <a:gd name="connsiteX169" fmla="*/ 51785 w 474627"/>
                <a:gd name="connsiteY169" fmla="*/ 162373 h 437156"/>
                <a:gd name="connsiteX170" fmla="*/ 88783 w 474627"/>
                <a:gd name="connsiteY170" fmla="*/ 162373 h 437156"/>
                <a:gd name="connsiteX171" fmla="*/ 85144 w 474627"/>
                <a:gd name="connsiteY171" fmla="*/ 172305 h 437156"/>
                <a:gd name="connsiteX172" fmla="*/ 87730 w 474627"/>
                <a:gd name="connsiteY172" fmla="*/ 186269 h 437156"/>
                <a:gd name="connsiteX173" fmla="*/ 50041 w 474627"/>
                <a:gd name="connsiteY173" fmla="*/ 210350 h 437156"/>
                <a:gd name="connsiteX174" fmla="*/ 51749 w 474627"/>
                <a:gd name="connsiteY174" fmla="*/ 227231 h 437156"/>
                <a:gd name="connsiteX175" fmla="*/ 52777 w 474627"/>
                <a:gd name="connsiteY175" fmla="*/ 231068 h 437156"/>
                <a:gd name="connsiteX176" fmla="*/ 16477 w 474627"/>
                <a:gd name="connsiteY176" fmla="*/ 231068 h 437156"/>
                <a:gd name="connsiteX177" fmla="*/ 12490 w 474627"/>
                <a:gd name="connsiteY177" fmla="*/ 424666 h 437156"/>
                <a:gd name="connsiteX178" fmla="*/ 12490 w 474627"/>
                <a:gd name="connsiteY178" fmla="*/ 368777 h 437156"/>
                <a:gd name="connsiteX179" fmla="*/ 68379 w 474627"/>
                <a:gd name="connsiteY179" fmla="*/ 424666 h 437156"/>
                <a:gd name="connsiteX180" fmla="*/ 462137 w 474627"/>
                <a:gd name="connsiteY180" fmla="*/ 424666 h 437156"/>
                <a:gd name="connsiteX181" fmla="*/ 406247 w 474627"/>
                <a:gd name="connsiteY181" fmla="*/ 424666 h 437156"/>
                <a:gd name="connsiteX182" fmla="*/ 462137 w 474627"/>
                <a:gd name="connsiteY182" fmla="*/ 368777 h 437156"/>
                <a:gd name="connsiteX183" fmla="*/ 462137 w 474627"/>
                <a:gd name="connsiteY183" fmla="*/ 356287 h 437156"/>
                <a:gd name="connsiteX184" fmla="*/ 393757 w 474627"/>
                <a:gd name="connsiteY184" fmla="*/ 424666 h 437156"/>
                <a:gd name="connsiteX185" fmla="*/ 80870 w 474627"/>
                <a:gd name="connsiteY185" fmla="*/ 424666 h 437156"/>
                <a:gd name="connsiteX186" fmla="*/ 12490 w 474627"/>
                <a:gd name="connsiteY186" fmla="*/ 356287 h 437156"/>
                <a:gd name="connsiteX187" fmla="*/ 12490 w 474627"/>
                <a:gd name="connsiteY187" fmla="*/ 243559 h 437156"/>
                <a:gd name="connsiteX188" fmla="*/ 193597 w 474627"/>
                <a:gd name="connsiteY188" fmla="*/ 243559 h 437156"/>
                <a:gd name="connsiteX189" fmla="*/ 193597 w 474627"/>
                <a:gd name="connsiteY189" fmla="*/ 306010 h 437156"/>
                <a:gd name="connsiteX190" fmla="*/ 237313 w 474627"/>
                <a:gd name="connsiteY190" fmla="*/ 349725 h 437156"/>
                <a:gd name="connsiteX191" fmla="*/ 281029 w 474627"/>
                <a:gd name="connsiteY191" fmla="*/ 306010 h 437156"/>
                <a:gd name="connsiteX192" fmla="*/ 281029 w 474627"/>
                <a:gd name="connsiteY192" fmla="*/ 243559 h 437156"/>
                <a:gd name="connsiteX193" fmla="*/ 462137 w 474627"/>
                <a:gd name="connsiteY193" fmla="*/ 243559 h 437156"/>
                <a:gd name="connsiteX194" fmla="*/ 458147 w 474627"/>
                <a:gd name="connsiteY194" fmla="*/ 231068 h 437156"/>
                <a:gd name="connsiteX195" fmla="*/ 428199 w 474627"/>
                <a:gd name="connsiteY195" fmla="*/ 231068 h 437156"/>
                <a:gd name="connsiteX196" fmla="*/ 434853 w 474627"/>
                <a:gd name="connsiteY196" fmla="*/ 217667 h 437156"/>
                <a:gd name="connsiteX197" fmla="*/ 433145 w 474627"/>
                <a:gd name="connsiteY197" fmla="*/ 200786 h 437156"/>
                <a:gd name="connsiteX198" fmla="*/ 383828 w 474627"/>
                <a:gd name="connsiteY198" fmla="*/ 185311 h 437156"/>
                <a:gd name="connsiteX199" fmla="*/ 382347 w 474627"/>
                <a:gd name="connsiteY199" fmla="*/ 185488 h 437156"/>
                <a:gd name="connsiteX200" fmla="*/ 377066 w 474627"/>
                <a:gd name="connsiteY200" fmla="*/ 176163 h 437156"/>
                <a:gd name="connsiteX201" fmla="*/ 359972 w 474627"/>
                <a:gd name="connsiteY201" fmla="*/ 169166 h 437156"/>
                <a:gd name="connsiteX202" fmla="*/ 358746 w 474627"/>
                <a:gd name="connsiteY202" fmla="*/ 162081 h 437156"/>
                <a:gd name="connsiteX203" fmla="*/ 359380 w 474627"/>
                <a:gd name="connsiteY203" fmla="*/ 162373 h 437156"/>
                <a:gd name="connsiteX204" fmla="*/ 422817 w 474627"/>
                <a:gd name="connsiteY204" fmla="*/ 162373 h 437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Lst>
              <a:rect l="l" t="t" r="r" b="b"/>
              <a:pathLst>
                <a:path w="474627" h="437156">
                  <a:moveTo>
                    <a:pt x="467897" y="67371"/>
                  </a:moveTo>
                  <a:lnTo>
                    <a:pt x="468370" y="66268"/>
                  </a:lnTo>
                  <a:lnTo>
                    <a:pt x="468370" y="46809"/>
                  </a:lnTo>
                  <a:lnTo>
                    <a:pt x="462208" y="31405"/>
                  </a:lnTo>
                  <a:cubicBezTo>
                    <a:pt x="454621" y="12438"/>
                    <a:pt x="436250" y="0"/>
                    <a:pt x="415821" y="0"/>
                  </a:cubicBezTo>
                  <a:lnTo>
                    <a:pt x="58805" y="0"/>
                  </a:lnTo>
                  <a:cubicBezTo>
                    <a:pt x="38376" y="0"/>
                    <a:pt x="20005" y="12438"/>
                    <a:pt x="12418" y="31405"/>
                  </a:cubicBezTo>
                  <a:lnTo>
                    <a:pt x="6233" y="46868"/>
                  </a:lnTo>
                  <a:lnTo>
                    <a:pt x="6233" y="63762"/>
                  </a:lnTo>
                  <a:lnTo>
                    <a:pt x="7780" y="67371"/>
                  </a:lnTo>
                  <a:lnTo>
                    <a:pt x="43608" y="150968"/>
                  </a:lnTo>
                  <a:lnTo>
                    <a:pt x="0" y="235801"/>
                  </a:lnTo>
                  <a:lnTo>
                    <a:pt x="0" y="437157"/>
                  </a:lnTo>
                  <a:lnTo>
                    <a:pt x="474627" y="437157"/>
                  </a:lnTo>
                  <a:lnTo>
                    <a:pt x="474627" y="235801"/>
                  </a:lnTo>
                  <a:lnTo>
                    <a:pt x="431582" y="152106"/>
                  </a:lnTo>
                  <a:close/>
                  <a:moveTo>
                    <a:pt x="24014" y="36044"/>
                  </a:moveTo>
                  <a:cubicBezTo>
                    <a:pt x="29664" y="21785"/>
                    <a:pt x="43468" y="12440"/>
                    <a:pt x="58805" y="12490"/>
                  </a:cubicBezTo>
                  <a:lnTo>
                    <a:pt x="415821" y="12490"/>
                  </a:lnTo>
                  <a:cubicBezTo>
                    <a:pt x="431158" y="12440"/>
                    <a:pt x="444962" y="21785"/>
                    <a:pt x="450612" y="36044"/>
                  </a:cubicBezTo>
                  <a:lnTo>
                    <a:pt x="456178" y="49961"/>
                  </a:lnTo>
                  <a:lnTo>
                    <a:pt x="18448" y="49961"/>
                  </a:lnTo>
                  <a:close/>
                  <a:moveTo>
                    <a:pt x="19259" y="62452"/>
                  </a:moveTo>
                  <a:lnTo>
                    <a:pt x="456416" y="62452"/>
                  </a:lnTo>
                  <a:lnTo>
                    <a:pt x="418945" y="149883"/>
                  </a:lnTo>
                  <a:lnTo>
                    <a:pt x="346521" y="149883"/>
                  </a:lnTo>
                  <a:cubicBezTo>
                    <a:pt x="338096" y="145012"/>
                    <a:pt x="329093" y="141216"/>
                    <a:pt x="319724" y="138586"/>
                  </a:cubicBezTo>
                  <a:cubicBezTo>
                    <a:pt x="310391" y="135844"/>
                    <a:pt x="292410" y="131554"/>
                    <a:pt x="280232" y="134641"/>
                  </a:cubicBezTo>
                  <a:cubicBezTo>
                    <a:pt x="268626" y="129663"/>
                    <a:pt x="249826" y="131479"/>
                    <a:pt x="240076" y="132918"/>
                  </a:cubicBezTo>
                  <a:cubicBezTo>
                    <a:pt x="234905" y="133680"/>
                    <a:pt x="229778" y="134719"/>
                    <a:pt x="224718" y="136031"/>
                  </a:cubicBezTo>
                  <a:lnTo>
                    <a:pt x="218954" y="125853"/>
                  </a:lnTo>
                  <a:cubicBezTo>
                    <a:pt x="209899" y="109862"/>
                    <a:pt x="180011" y="124508"/>
                    <a:pt x="167581" y="131547"/>
                  </a:cubicBezTo>
                  <a:cubicBezTo>
                    <a:pt x="157345" y="137027"/>
                    <a:pt x="148114" y="144205"/>
                    <a:pt x="140282" y="152776"/>
                  </a:cubicBezTo>
                  <a:cubicBezTo>
                    <a:pt x="128377" y="148623"/>
                    <a:pt x="106690" y="142693"/>
                    <a:pt x="96078" y="149883"/>
                  </a:cubicBezTo>
                  <a:lnTo>
                    <a:pt x="56730" y="149883"/>
                  </a:lnTo>
                  <a:close/>
                  <a:moveTo>
                    <a:pt x="386914" y="195259"/>
                  </a:moveTo>
                  <a:cubicBezTo>
                    <a:pt x="406491" y="193575"/>
                    <a:pt x="422469" y="196406"/>
                    <a:pt x="423016" y="201811"/>
                  </a:cubicBezTo>
                  <a:cubicBezTo>
                    <a:pt x="423582" y="207405"/>
                    <a:pt x="407413" y="213622"/>
                    <a:pt x="386902" y="215696"/>
                  </a:cubicBezTo>
                  <a:cubicBezTo>
                    <a:pt x="383205" y="216070"/>
                    <a:pt x="379677" y="216240"/>
                    <a:pt x="376283" y="216305"/>
                  </a:cubicBezTo>
                  <a:cubicBezTo>
                    <a:pt x="383153" y="209870"/>
                    <a:pt x="388186" y="202481"/>
                    <a:pt x="386914" y="195259"/>
                  </a:cubicBezTo>
                  <a:close/>
                  <a:moveTo>
                    <a:pt x="424423" y="215722"/>
                  </a:moveTo>
                  <a:lnTo>
                    <a:pt x="424724" y="218692"/>
                  </a:lnTo>
                  <a:cubicBezTo>
                    <a:pt x="425187" y="223273"/>
                    <a:pt x="414418" y="228269"/>
                    <a:pt x="399239" y="231068"/>
                  </a:cubicBezTo>
                  <a:lnTo>
                    <a:pt x="356995" y="231068"/>
                  </a:lnTo>
                  <a:cubicBezTo>
                    <a:pt x="356744" y="230991"/>
                    <a:pt x="356451" y="230926"/>
                    <a:pt x="356211" y="230845"/>
                  </a:cubicBezTo>
                  <a:cubicBezTo>
                    <a:pt x="358468" y="229522"/>
                    <a:pt x="361049" y="227918"/>
                    <a:pt x="363753" y="226105"/>
                  </a:cubicBezTo>
                  <a:cubicBezTo>
                    <a:pt x="371802" y="226772"/>
                    <a:pt x="379896" y="226679"/>
                    <a:pt x="387927" y="225825"/>
                  </a:cubicBezTo>
                  <a:cubicBezTo>
                    <a:pt x="400656" y="224991"/>
                    <a:pt x="413078" y="221552"/>
                    <a:pt x="424423" y="215722"/>
                  </a:cubicBezTo>
                  <a:close/>
                  <a:moveTo>
                    <a:pt x="349103" y="223196"/>
                  </a:moveTo>
                  <a:cubicBezTo>
                    <a:pt x="343750" y="226244"/>
                    <a:pt x="338171" y="228875"/>
                    <a:pt x="332415" y="231068"/>
                  </a:cubicBezTo>
                  <a:lnTo>
                    <a:pt x="310663" y="231068"/>
                  </a:lnTo>
                  <a:lnTo>
                    <a:pt x="310135" y="230134"/>
                  </a:lnTo>
                  <a:cubicBezTo>
                    <a:pt x="322763" y="228336"/>
                    <a:pt x="334888" y="223965"/>
                    <a:pt x="345759" y="217291"/>
                  </a:cubicBezTo>
                  <a:cubicBezTo>
                    <a:pt x="357075" y="211402"/>
                    <a:pt x="367060" y="203252"/>
                    <a:pt x="375098" y="193347"/>
                  </a:cubicBezTo>
                  <a:lnTo>
                    <a:pt x="376569" y="195944"/>
                  </a:lnTo>
                  <a:cubicBezTo>
                    <a:pt x="379339" y="200837"/>
                    <a:pt x="367042" y="213038"/>
                    <a:pt x="349103" y="223196"/>
                  </a:cubicBezTo>
                  <a:close/>
                  <a:moveTo>
                    <a:pt x="121715" y="228406"/>
                  </a:moveTo>
                  <a:cubicBezTo>
                    <a:pt x="118048" y="229505"/>
                    <a:pt x="114321" y="230394"/>
                    <a:pt x="110553" y="231068"/>
                  </a:cubicBezTo>
                  <a:lnTo>
                    <a:pt x="68315" y="231068"/>
                  </a:lnTo>
                  <a:cubicBezTo>
                    <a:pt x="64447" y="229868"/>
                    <a:pt x="62081" y="228218"/>
                    <a:pt x="61878" y="226206"/>
                  </a:cubicBezTo>
                  <a:lnTo>
                    <a:pt x="61577" y="223236"/>
                  </a:lnTo>
                  <a:cubicBezTo>
                    <a:pt x="73861" y="226676"/>
                    <a:pt x="86720" y="227557"/>
                    <a:pt x="99358" y="225825"/>
                  </a:cubicBezTo>
                  <a:cubicBezTo>
                    <a:pt x="107155" y="225082"/>
                    <a:pt x="114868" y="223637"/>
                    <a:pt x="122404" y="221507"/>
                  </a:cubicBezTo>
                  <a:cubicBezTo>
                    <a:pt x="121621" y="223717"/>
                    <a:pt x="121385" y="226084"/>
                    <a:pt x="121715" y="228406"/>
                  </a:cubicBezTo>
                  <a:close/>
                  <a:moveTo>
                    <a:pt x="98333" y="215696"/>
                  </a:moveTo>
                  <a:cubicBezTo>
                    <a:pt x="77823" y="217771"/>
                    <a:pt x="60736" y="214919"/>
                    <a:pt x="60170" y="209325"/>
                  </a:cubicBezTo>
                  <a:cubicBezTo>
                    <a:pt x="59604" y="203731"/>
                    <a:pt x="75773" y="197514"/>
                    <a:pt x="96284" y="195439"/>
                  </a:cubicBezTo>
                  <a:cubicBezTo>
                    <a:pt x="96713" y="195395"/>
                    <a:pt x="97122" y="195375"/>
                    <a:pt x="97548" y="195337"/>
                  </a:cubicBezTo>
                  <a:cubicBezTo>
                    <a:pt x="105430" y="200455"/>
                    <a:pt x="113889" y="204627"/>
                    <a:pt x="122748" y="207767"/>
                  </a:cubicBezTo>
                  <a:cubicBezTo>
                    <a:pt x="123902" y="208190"/>
                    <a:pt x="125204" y="208647"/>
                    <a:pt x="126605" y="209117"/>
                  </a:cubicBezTo>
                  <a:cubicBezTo>
                    <a:pt x="117560" y="212702"/>
                    <a:pt x="108031" y="214919"/>
                    <a:pt x="98333" y="215696"/>
                  </a:cubicBezTo>
                  <a:close/>
                  <a:moveTo>
                    <a:pt x="126250" y="198208"/>
                  </a:moveTo>
                  <a:cubicBezTo>
                    <a:pt x="106894" y="191115"/>
                    <a:pt x="92769" y="181087"/>
                    <a:pt x="94702" y="175807"/>
                  </a:cubicBezTo>
                  <a:lnTo>
                    <a:pt x="95730" y="173005"/>
                  </a:lnTo>
                  <a:cubicBezTo>
                    <a:pt x="105277" y="181464"/>
                    <a:pt x="116460" y="187873"/>
                    <a:pt x="128585" y="191835"/>
                  </a:cubicBezTo>
                  <a:cubicBezTo>
                    <a:pt x="134340" y="193950"/>
                    <a:pt x="140228" y="195686"/>
                    <a:pt x="146210" y="197032"/>
                  </a:cubicBezTo>
                  <a:cubicBezTo>
                    <a:pt x="143866" y="198567"/>
                    <a:pt x="141416" y="200290"/>
                    <a:pt x="138997" y="202136"/>
                  </a:cubicBezTo>
                  <a:cubicBezTo>
                    <a:pt x="134683" y="201049"/>
                    <a:pt x="130428" y="199737"/>
                    <a:pt x="126250" y="198208"/>
                  </a:cubicBezTo>
                  <a:close/>
                  <a:moveTo>
                    <a:pt x="136274" y="172674"/>
                  </a:moveTo>
                  <a:lnTo>
                    <a:pt x="143795" y="185955"/>
                  </a:lnTo>
                  <a:cubicBezTo>
                    <a:pt x="140059" y="184975"/>
                    <a:pt x="136126" y="183756"/>
                    <a:pt x="132087" y="182276"/>
                  </a:cubicBezTo>
                  <a:cubicBezTo>
                    <a:pt x="112730" y="175184"/>
                    <a:pt x="98606" y="165155"/>
                    <a:pt x="100540" y="159876"/>
                  </a:cubicBezTo>
                  <a:cubicBezTo>
                    <a:pt x="102344" y="154951"/>
                    <a:pt x="117486" y="155904"/>
                    <a:pt x="135225" y="161810"/>
                  </a:cubicBezTo>
                  <a:cubicBezTo>
                    <a:pt x="134022" y="165416"/>
                    <a:pt x="134403" y="169364"/>
                    <a:pt x="136274" y="172674"/>
                  </a:cubicBezTo>
                  <a:close/>
                  <a:moveTo>
                    <a:pt x="208602" y="175299"/>
                  </a:moveTo>
                  <a:lnTo>
                    <a:pt x="208166" y="172346"/>
                  </a:lnTo>
                  <a:cubicBezTo>
                    <a:pt x="220594" y="175220"/>
                    <a:pt x="233480" y="175512"/>
                    <a:pt x="246025" y="173203"/>
                  </a:cubicBezTo>
                  <a:cubicBezTo>
                    <a:pt x="258703" y="171787"/>
                    <a:pt x="270954" y="167783"/>
                    <a:pt x="282022" y="161440"/>
                  </a:cubicBezTo>
                  <a:lnTo>
                    <a:pt x="282457" y="164393"/>
                  </a:lnTo>
                  <a:cubicBezTo>
                    <a:pt x="283279" y="169955"/>
                    <a:pt x="267411" y="176905"/>
                    <a:pt x="247017" y="179917"/>
                  </a:cubicBezTo>
                  <a:cubicBezTo>
                    <a:pt x="226623" y="182929"/>
                    <a:pt x="209424" y="180861"/>
                    <a:pt x="208602" y="175299"/>
                  </a:cubicBezTo>
                  <a:close/>
                  <a:moveTo>
                    <a:pt x="247590" y="205209"/>
                  </a:moveTo>
                  <a:cubicBezTo>
                    <a:pt x="246874" y="210785"/>
                    <a:pt x="229716" y="213175"/>
                    <a:pt x="209269" y="210546"/>
                  </a:cubicBezTo>
                  <a:cubicBezTo>
                    <a:pt x="188821" y="207918"/>
                    <a:pt x="172826" y="201266"/>
                    <a:pt x="173543" y="195690"/>
                  </a:cubicBezTo>
                  <a:cubicBezTo>
                    <a:pt x="174259" y="190114"/>
                    <a:pt x="191417" y="187724"/>
                    <a:pt x="211865" y="190352"/>
                  </a:cubicBezTo>
                  <a:cubicBezTo>
                    <a:pt x="232313" y="192981"/>
                    <a:pt x="248307" y="199632"/>
                    <a:pt x="247590" y="205209"/>
                  </a:cubicBezTo>
                  <a:close/>
                  <a:moveTo>
                    <a:pt x="244539" y="163132"/>
                  </a:moveTo>
                  <a:cubicBezTo>
                    <a:pt x="224144" y="166143"/>
                    <a:pt x="206945" y="164075"/>
                    <a:pt x="206124" y="158514"/>
                  </a:cubicBezTo>
                  <a:cubicBezTo>
                    <a:pt x="205302" y="152952"/>
                    <a:pt x="221169" y="146001"/>
                    <a:pt x="241564" y="142989"/>
                  </a:cubicBezTo>
                  <a:cubicBezTo>
                    <a:pt x="261959" y="139978"/>
                    <a:pt x="279158" y="142045"/>
                    <a:pt x="279979" y="147607"/>
                  </a:cubicBezTo>
                  <a:cubicBezTo>
                    <a:pt x="280800" y="153170"/>
                    <a:pt x="264933" y="160120"/>
                    <a:pt x="244539" y="163132"/>
                  </a:cubicBezTo>
                  <a:close/>
                  <a:moveTo>
                    <a:pt x="182630" y="158122"/>
                  </a:moveTo>
                  <a:cubicBezTo>
                    <a:pt x="164692" y="168280"/>
                    <a:pt x="147903" y="172549"/>
                    <a:pt x="145132" y="167657"/>
                  </a:cubicBezTo>
                  <a:cubicBezTo>
                    <a:pt x="142361" y="162765"/>
                    <a:pt x="154659" y="150564"/>
                    <a:pt x="172598" y="140405"/>
                  </a:cubicBezTo>
                  <a:cubicBezTo>
                    <a:pt x="190537" y="130246"/>
                    <a:pt x="207325" y="125977"/>
                    <a:pt x="210096" y="130870"/>
                  </a:cubicBezTo>
                  <a:cubicBezTo>
                    <a:pt x="212866" y="135763"/>
                    <a:pt x="200569" y="147964"/>
                    <a:pt x="182630" y="158122"/>
                  </a:cubicBezTo>
                  <a:close/>
                  <a:moveTo>
                    <a:pt x="159579" y="200804"/>
                  </a:moveTo>
                  <a:cubicBezTo>
                    <a:pt x="160681" y="200179"/>
                    <a:pt x="161754" y="199654"/>
                    <a:pt x="162844" y="199076"/>
                  </a:cubicBezTo>
                  <a:lnTo>
                    <a:pt x="161283" y="211221"/>
                  </a:lnTo>
                  <a:cubicBezTo>
                    <a:pt x="160813" y="214869"/>
                    <a:pt x="161867" y="218548"/>
                    <a:pt x="164196" y="221394"/>
                  </a:cubicBezTo>
                  <a:cubicBezTo>
                    <a:pt x="148414" y="229410"/>
                    <a:pt x="134602" y="232451"/>
                    <a:pt x="132114" y="228056"/>
                  </a:cubicBezTo>
                  <a:cubicBezTo>
                    <a:pt x="129343" y="223163"/>
                    <a:pt x="141640" y="210962"/>
                    <a:pt x="159579" y="200804"/>
                  </a:cubicBezTo>
                  <a:close/>
                  <a:moveTo>
                    <a:pt x="153493" y="182422"/>
                  </a:moveTo>
                  <a:lnTo>
                    <a:pt x="152022" y="179825"/>
                  </a:lnTo>
                  <a:cubicBezTo>
                    <a:pt x="164651" y="178027"/>
                    <a:pt x="176776" y="173655"/>
                    <a:pt x="187647" y="166981"/>
                  </a:cubicBezTo>
                  <a:cubicBezTo>
                    <a:pt x="190066" y="165611"/>
                    <a:pt x="193094" y="163783"/>
                    <a:pt x="196299" y="161672"/>
                  </a:cubicBezTo>
                  <a:lnTo>
                    <a:pt x="197374" y="168952"/>
                  </a:lnTo>
                  <a:cubicBezTo>
                    <a:pt x="195328" y="170279"/>
                    <a:pt x="193254" y="171605"/>
                    <a:pt x="190991" y="172887"/>
                  </a:cubicBezTo>
                  <a:cubicBezTo>
                    <a:pt x="173052" y="183045"/>
                    <a:pt x="156263" y="187314"/>
                    <a:pt x="153493" y="182422"/>
                  </a:cubicBezTo>
                  <a:close/>
                  <a:moveTo>
                    <a:pt x="171760" y="209558"/>
                  </a:moveTo>
                  <a:cubicBezTo>
                    <a:pt x="182944" y="215693"/>
                    <a:pt x="195269" y="219466"/>
                    <a:pt x="207970" y="220644"/>
                  </a:cubicBezTo>
                  <a:cubicBezTo>
                    <a:pt x="220557" y="222717"/>
                    <a:pt x="233435" y="222184"/>
                    <a:pt x="245807" y="219077"/>
                  </a:cubicBezTo>
                  <a:lnTo>
                    <a:pt x="245427" y="222037"/>
                  </a:lnTo>
                  <a:cubicBezTo>
                    <a:pt x="244710" y="227614"/>
                    <a:pt x="227553" y="230004"/>
                    <a:pt x="207105" y="227376"/>
                  </a:cubicBezTo>
                  <a:cubicBezTo>
                    <a:pt x="186658" y="224748"/>
                    <a:pt x="170663" y="218096"/>
                    <a:pt x="171380" y="212519"/>
                  </a:cubicBezTo>
                  <a:close/>
                  <a:moveTo>
                    <a:pt x="206087" y="243559"/>
                  </a:moveTo>
                  <a:lnTo>
                    <a:pt x="268538" y="243559"/>
                  </a:lnTo>
                  <a:lnTo>
                    <a:pt x="268538" y="306010"/>
                  </a:lnTo>
                  <a:cubicBezTo>
                    <a:pt x="268538" y="323255"/>
                    <a:pt x="254559" y="337235"/>
                    <a:pt x="237313" y="337235"/>
                  </a:cubicBezTo>
                  <a:cubicBezTo>
                    <a:pt x="220068" y="337235"/>
                    <a:pt x="206087" y="323255"/>
                    <a:pt x="206087" y="306010"/>
                  </a:cubicBezTo>
                  <a:close/>
                  <a:moveTo>
                    <a:pt x="265948" y="223231"/>
                  </a:moveTo>
                  <a:cubicBezTo>
                    <a:pt x="262390" y="222774"/>
                    <a:pt x="258975" y="222192"/>
                    <a:pt x="255758" y="221517"/>
                  </a:cubicBezTo>
                  <a:lnTo>
                    <a:pt x="256622" y="214801"/>
                  </a:lnTo>
                  <a:cubicBezTo>
                    <a:pt x="260456" y="215572"/>
                    <a:pt x="264012" y="216140"/>
                    <a:pt x="266814" y="216500"/>
                  </a:cubicBezTo>
                  <a:cubicBezTo>
                    <a:pt x="279400" y="218573"/>
                    <a:pt x="292279" y="218040"/>
                    <a:pt x="304650" y="214933"/>
                  </a:cubicBezTo>
                  <a:lnTo>
                    <a:pt x="304269" y="217893"/>
                  </a:lnTo>
                  <a:cubicBezTo>
                    <a:pt x="303553" y="223470"/>
                    <a:pt x="286396" y="225860"/>
                    <a:pt x="265948" y="223231"/>
                  </a:cubicBezTo>
                  <a:close/>
                  <a:moveTo>
                    <a:pt x="268111" y="206403"/>
                  </a:moveTo>
                  <a:cubicBezTo>
                    <a:pt x="264473" y="205935"/>
                    <a:pt x="260997" y="205329"/>
                    <a:pt x="257711" y="204635"/>
                  </a:cubicBezTo>
                  <a:cubicBezTo>
                    <a:pt x="257172" y="198290"/>
                    <a:pt x="253231" y="192739"/>
                    <a:pt x="247419" y="190138"/>
                  </a:cubicBezTo>
                  <a:cubicBezTo>
                    <a:pt x="247775" y="190088"/>
                    <a:pt x="248169" y="190038"/>
                    <a:pt x="248505" y="189988"/>
                  </a:cubicBezTo>
                  <a:cubicBezTo>
                    <a:pt x="254933" y="189053"/>
                    <a:pt x="261288" y="187668"/>
                    <a:pt x="267523" y="185843"/>
                  </a:cubicBezTo>
                  <a:cubicBezTo>
                    <a:pt x="268576" y="185954"/>
                    <a:pt x="269634" y="186070"/>
                    <a:pt x="270707" y="186208"/>
                  </a:cubicBezTo>
                  <a:cubicBezTo>
                    <a:pt x="291154" y="188836"/>
                    <a:pt x="307149" y="195488"/>
                    <a:pt x="306433" y="201065"/>
                  </a:cubicBezTo>
                  <a:cubicBezTo>
                    <a:pt x="305716" y="206641"/>
                    <a:pt x="288558" y="209031"/>
                    <a:pt x="268111" y="206403"/>
                  </a:cubicBezTo>
                  <a:close/>
                  <a:moveTo>
                    <a:pt x="306334" y="184168"/>
                  </a:moveTo>
                  <a:cubicBezTo>
                    <a:pt x="299558" y="182222"/>
                    <a:pt x="292972" y="179666"/>
                    <a:pt x="286657" y="176533"/>
                  </a:cubicBezTo>
                  <a:cubicBezTo>
                    <a:pt x="288397" y="175077"/>
                    <a:pt x="289859" y="173318"/>
                    <a:pt x="290975" y="171343"/>
                  </a:cubicBezTo>
                  <a:cubicBezTo>
                    <a:pt x="296587" y="173824"/>
                    <a:pt x="302357" y="175933"/>
                    <a:pt x="308247" y="177657"/>
                  </a:cubicBezTo>
                  <a:cubicBezTo>
                    <a:pt x="320351" y="181682"/>
                    <a:pt x="333153" y="183180"/>
                    <a:pt x="345859" y="182058"/>
                  </a:cubicBezTo>
                  <a:lnTo>
                    <a:pt x="345018" y="184921"/>
                  </a:lnTo>
                  <a:cubicBezTo>
                    <a:pt x="343433" y="190315"/>
                    <a:pt x="326114" y="189978"/>
                    <a:pt x="306334" y="184168"/>
                  </a:cubicBezTo>
                  <a:close/>
                  <a:moveTo>
                    <a:pt x="289423" y="143779"/>
                  </a:moveTo>
                  <a:cubicBezTo>
                    <a:pt x="298734" y="144032"/>
                    <a:pt x="307965" y="145572"/>
                    <a:pt x="316855" y="148353"/>
                  </a:cubicBezTo>
                  <a:cubicBezTo>
                    <a:pt x="336634" y="154164"/>
                    <a:pt x="351385" y="163247"/>
                    <a:pt x="349800" y="168642"/>
                  </a:cubicBezTo>
                  <a:cubicBezTo>
                    <a:pt x="348215" y="174036"/>
                    <a:pt x="330896" y="173699"/>
                    <a:pt x="311116" y="167889"/>
                  </a:cubicBezTo>
                  <a:cubicBezTo>
                    <a:pt x="304609" y="166011"/>
                    <a:pt x="298277" y="163576"/>
                    <a:pt x="292190" y="160608"/>
                  </a:cubicBezTo>
                  <a:lnTo>
                    <a:pt x="290050" y="146121"/>
                  </a:lnTo>
                  <a:cubicBezTo>
                    <a:pt x="289910" y="145323"/>
                    <a:pt x="289701" y="144539"/>
                    <a:pt x="289423" y="143778"/>
                  </a:cubicBezTo>
                  <a:close/>
                  <a:moveTo>
                    <a:pt x="340743" y="208432"/>
                  </a:moveTo>
                  <a:cubicBezTo>
                    <a:pt x="332515" y="213307"/>
                    <a:pt x="323623" y="216961"/>
                    <a:pt x="314345" y="219281"/>
                  </a:cubicBezTo>
                  <a:lnTo>
                    <a:pt x="314367" y="219191"/>
                  </a:lnTo>
                  <a:lnTo>
                    <a:pt x="316530" y="202363"/>
                  </a:lnTo>
                  <a:cubicBezTo>
                    <a:pt x="316608" y="201581"/>
                    <a:pt x="316618" y="200794"/>
                    <a:pt x="316561" y="200010"/>
                  </a:cubicBezTo>
                  <a:cubicBezTo>
                    <a:pt x="317556" y="199247"/>
                    <a:pt x="318588" y="198482"/>
                    <a:pt x="319669" y="197715"/>
                  </a:cubicBezTo>
                  <a:cubicBezTo>
                    <a:pt x="334222" y="200171"/>
                    <a:pt x="351164" y="200120"/>
                    <a:pt x="354786" y="187791"/>
                  </a:cubicBezTo>
                  <a:lnTo>
                    <a:pt x="357100" y="179914"/>
                  </a:lnTo>
                  <a:cubicBezTo>
                    <a:pt x="362846" y="178691"/>
                    <a:pt x="366964" y="178984"/>
                    <a:pt x="368208" y="181180"/>
                  </a:cubicBezTo>
                  <a:cubicBezTo>
                    <a:pt x="370979" y="186072"/>
                    <a:pt x="358681" y="198274"/>
                    <a:pt x="340743" y="208432"/>
                  </a:cubicBezTo>
                  <a:close/>
                  <a:moveTo>
                    <a:pt x="51785" y="162373"/>
                  </a:moveTo>
                  <a:lnTo>
                    <a:pt x="88783" y="162373"/>
                  </a:lnTo>
                  <a:lnTo>
                    <a:pt x="85144" y="172305"/>
                  </a:lnTo>
                  <a:cubicBezTo>
                    <a:pt x="83493" y="177091"/>
                    <a:pt x="84475" y="182392"/>
                    <a:pt x="87730" y="186269"/>
                  </a:cubicBezTo>
                  <a:cubicBezTo>
                    <a:pt x="71917" y="188657"/>
                    <a:pt x="48469" y="194817"/>
                    <a:pt x="50041" y="210350"/>
                  </a:cubicBezTo>
                  <a:lnTo>
                    <a:pt x="51749" y="227231"/>
                  </a:lnTo>
                  <a:cubicBezTo>
                    <a:pt x="51897" y="228555"/>
                    <a:pt x="52243" y="229848"/>
                    <a:pt x="52777" y="231068"/>
                  </a:cubicBezTo>
                  <a:lnTo>
                    <a:pt x="16477" y="231068"/>
                  </a:lnTo>
                  <a:close/>
                  <a:moveTo>
                    <a:pt x="12490" y="424666"/>
                  </a:moveTo>
                  <a:lnTo>
                    <a:pt x="12490" y="368777"/>
                  </a:lnTo>
                  <a:cubicBezTo>
                    <a:pt x="42021" y="371787"/>
                    <a:pt x="65370" y="395136"/>
                    <a:pt x="68379" y="424666"/>
                  </a:cubicBezTo>
                  <a:close/>
                  <a:moveTo>
                    <a:pt x="462137" y="424666"/>
                  </a:moveTo>
                  <a:lnTo>
                    <a:pt x="406247" y="424666"/>
                  </a:lnTo>
                  <a:cubicBezTo>
                    <a:pt x="409257" y="395136"/>
                    <a:pt x="432606" y="371787"/>
                    <a:pt x="462137" y="368777"/>
                  </a:cubicBezTo>
                  <a:close/>
                  <a:moveTo>
                    <a:pt x="462137" y="356287"/>
                  </a:moveTo>
                  <a:cubicBezTo>
                    <a:pt x="425727" y="359375"/>
                    <a:pt x="396846" y="388257"/>
                    <a:pt x="393757" y="424666"/>
                  </a:cubicBezTo>
                  <a:lnTo>
                    <a:pt x="80870" y="424666"/>
                  </a:lnTo>
                  <a:cubicBezTo>
                    <a:pt x="77781" y="388257"/>
                    <a:pt x="48899" y="359375"/>
                    <a:pt x="12490" y="356287"/>
                  </a:cubicBezTo>
                  <a:lnTo>
                    <a:pt x="12490" y="243559"/>
                  </a:lnTo>
                  <a:lnTo>
                    <a:pt x="193597" y="243559"/>
                  </a:lnTo>
                  <a:lnTo>
                    <a:pt x="193597" y="306010"/>
                  </a:lnTo>
                  <a:cubicBezTo>
                    <a:pt x="193597" y="330153"/>
                    <a:pt x="213170" y="349725"/>
                    <a:pt x="237313" y="349725"/>
                  </a:cubicBezTo>
                  <a:cubicBezTo>
                    <a:pt x="261456" y="349725"/>
                    <a:pt x="281029" y="330153"/>
                    <a:pt x="281029" y="306010"/>
                  </a:cubicBezTo>
                  <a:lnTo>
                    <a:pt x="281029" y="243559"/>
                  </a:lnTo>
                  <a:lnTo>
                    <a:pt x="462137" y="243559"/>
                  </a:lnTo>
                  <a:close/>
                  <a:moveTo>
                    <a:pt x="458147" y="231068"/>
                  </a:moveTo>
                  <a:lnTo>
                    <a:pt x="428199" y="231068"/>
                  </a:lnTo>
                  <a:cubicBezTo>
                    <a:pt x="432698" y="228152"/>
                    <a:pt x="435249" y="223015"/>
                    <a:pt x="434853" y="217667"/>
                  </a:cubicBezTo>
                  <a:lnTo>
                    <a:pt x="433145" y="200786"/>
                  </a:lnTo>
                  <a:cubicBezTo>
                    <a:pt x="431296" y="182502"/>
                    <a:pt x="398040" y="183872"/>
                    <a:pt x="383828" y="185311"/>
                  </a:cubicBezTo>
                  <a:cubicBezTo>
                    <a:pt x="383391" y="185355"/>
                    <a:pt x="382818" y="185436"/>
                    <a:pt x="382347" y="185488"/>
                  </a:cubicBezTo>
                  <a:lnTo>
                    <a:pt x="377066" y="176163"/>
                  </a:lnTo>
                  <a:cubicBezTo>
                    <a:pt x="373366" y="170517"/>
                    <a:pt x="366569" y="167734"/>
                    <a:pt x="359972" y="169166"/>
                  </a:cubicBezTo>
                  <a:cubicBezTo>
                    <a:pt x="360224" y="166737"/>
                    <a:pt x="359800" y="164285"/>
                    <a:pt x="358746" y="162081"/>
                  </a:cubicBezTo>
                  <a:lnTo>
                    <a:pt x="359380" y="162373"/>
                  </a:lnTo>
                  <a:lnTo>
                    <a:pt x="422817" y="162373"/>
                  </a:lnTo>
                  <a:close/>
                </a:path>
              </a:pathLst>
            </a:custGeom>
            <a:solidFill>
              <a:schemeClr val="lt1"/>
            </a:solidFill>
            <a:ln w="8202" cap="flat">
              <a:solidFill>
                <a:schemeClr val="accent5"/>
              </a:solidFill>
              <a:prstDash val="solid"/>
              <a:miter/>
            </a:ln>
          </p:spPr>
          <p:txBody>
            <a:bodyPr rtlCol="0" anchor="ctr"/>
            <a:lstStyle/>
            <a:p>
              <a:endParaRPr lang="en-GB"/>
            </a:p>
          </p:txBody>
        </p:sp>
        <p:sp>
          <p:nvSpPr>
            <p:cNvPr id="152" name="Frihandsfigur: Form 151">
              <a:extLst>
                <a:ext uri="{FF2B5EF4-FFF2-40B4-BE49-F238E27FC236}">
                  <a16:creationId xmlns:a16="http://schemas.microsoft.com/office/drawing/2014/main" id="{2A005AD6-8FC1-1E80-243E-8EEACBA8D1D5}"/>
                </a:ext>
              </a:extLst>
            </p:cNvPr>
            <p:cNvSpPr/>
            <p:nvPr/>
          </p:nvSpPr>
          <p:spPr>
            <a:xfrm>
              <a:off x="15899720" y="7309480"/>
              <a:ext cx="37470" cy="37470"/>
            </a:xfrm>
            <a:custGeom>
              <a:avLst/>
              <a:gdLst>
                <a:gd name="connsiteX0" fmla="*/ 18735 w 37470"/>
                <a:gd name="connsiteY0" fmla="*/ 37471 h 37470"/>
                <a:gd name="connsiteX1" fmla="*/ 37471 w 37470"/>
                <a:gd name="connsiteY1" fmla="*/ 18735 h 37470"/>
                <a:gd name="connsiteX2" fmla="*/ 18735 w 37470"/>
                <a:gd name="connsiteY2" fmla="*/ 0 h 37470"/>
                <a:gd name="connsiteX3" fmla="*/ 0 w 37470"/>
                <a:gd name="connsiteY3" fmla="*/ 18735 h 37470"/>
                <a:gd name="connsiteX4" fmla="*/ 18735 w 37470"/>
                <a:gd name="connsiteY4" fmla="*/ 37471 h 37470"/>
                <a:gd name="connsiteX5" fmla="*/ 18735 w 37470"/>
                <a:gd name="connsiteY5" fmla="*/ 12490 h 37470"/>
                <a:gd name="connsiteX6" fmla="*/ 24980 w 37470"/>
                <a:gd name="connsiteY6" fmla="*/ 18735 h 37470"/>
                <a:gd name="connsiteX7" fmla="*/ 18735 w 37470"/>
                <a:gd name="connsiteY7" fmla="*/ 24980 h 37470"/>
                <a:gd name="connsiteX8" fmla="*/ 12490 w 37470"/>
                <a:gd name="connsiteY8" fmla="*/ 18735 h 37470"/>
                <a:gd name="connsiteX9" fmla="*/ 18735 w 37470"/>
                <a:gd name="connsiteY9" fmla="*/ 12490 h 37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470" h="37470">
                  <a:moveTo>
                    <a:pt x="18735" y="37471"/>
                  </a:moveTo>
                  <a:cubicBezTo>
                    <a:pt x="29082" y="37471"/>
                    <a:pt x="37471" y="29083"/>
                    <a:pt x="37471" y="18735"/>
                  </a:cubicBezTo>
                  <a:cubicBezTo>
                    <a:pt x="37471" y="8388"/>
                    <a:pt x="29082" y="0"/>
                    <a:pt x="18735" y="0"/>
                  </a:cubicBezTo>
                  <a:cubicBezTo>
                    <a:pt x="8388" y="0"/>
                    <a:pt x="0" y="8388"/>
                    <a:pt x="0" y="18735"/>
                  </a:cubicBezTo>
                  <a:cubicBezTo>
                    <a:pt x="0" y="29083"/>
                    <a:pt x="8388" y="37471"/>
                    <a:pt x="18735" y="37471"/>
                  </a:cubicBezTo>
                  <a:close/>
                  <a:moveTo>
                    <a:pt x="18735" y="12490"/>
                  </a:moveTo>
                  <a:cubicBezTo>
                    <a:pt x="22184" y="12490"/>
                    <a:pt x="24980" y="15286"/>
                    <a:pt x="24980" y="18735"/>
                  </a:cubicBezTo>
                  <a:cubicBezTo>
                    <a:pt x="24980" y="22184"/>
                    <a:pt x="22184" y="24980"/>
                    <a:pt x="18735" y="24980"/>
                  </a:cubicBezTo>
                  <a:cubicBezTo>
                    <a:pt x="15286" y="24980"/>
                    <a:pt x="12490" y="22184"/>
                    <a:pt x="12490" y="18735"/>
                  </a:cubicBezTo>
                  <a:cubicBezTo>
                    <a:pt x="12494" y="15288"/>
                    <a:pt x="15288" y="12494"/>
                    <a:pt x="18735" y="12490"/>
                  </a:cubicBezTo>
                  <a:close/>
                </a:path>
              </a:pathLst>
            </a:custGeom>
            <a:solidFill>
              <a:schemeClr val="lt1"/>
            </a:solidFill>
            <a:ln w="8202" cap="flat">
              <a:solidFill>
                <a:schemeClr val="accent5"/>
              </a:solidFill>
              <a:prstDash val="solid"/>
              <a:miter/>
            </a:ln>
          </p:spPr>
          <p:txBody>
            <a:bodyPr rtlCol="0" anchor="ctr"/>
            <a:lstStyle/>
            <a:p>
              <a:endParaRPr lang="en-GB"/>
            </a:p>
          </p:txBody>
        </p:sp>
      </p:grpSp>
      <p:sp>
        <p:nvSpPr>
          <p:cNvPr id="154" name="Bild 144" descr="Euro med hel fyllning">
            <a:extLst>
              <a:ext uri="{FF2B5EF4-FFF2-40B4-BE49-F238E27FC236}">
                <a16:creationId xmlns:a16="http://schemas.microsoft.com/office/drawing/2014/main" id="{309838D4-4813-4E05-1460-54E48D9F9266}"/>
              </a:ext>
            </a:extLst>
          </p:cNvPr>
          <p:cNvSpPr/>
          <p:nvPr/>
        </p:nvSpPr>
        <p:spPr>
          <a:xfrm rot="18205641">
            <a:off x="8295704" y="6168401"/>
            <a:ext cx="206621" cy="278254"/>
          </a:xfrm>
          <a:custGeom>
            <a:avLst/>
            <a:gdLst>
              <a:gd name="connsiteX0" fmla="*/ 194885 w 206621"/>
              <a:gd name="connsiteY0" fmla="*/ 237586 h 278254"/>
              <a:gd name="connsiteX1" fmla="*/ 133776 w 206621"/>
              <a:gd name="connsiteY1" fmla="*/ 256850 h 278254"/>
              <a:gd name="connsiteX2" fmla="*/ 49051 w 206621"/>
              <a:gd name="connsiteY2" fmla="*/ 171234 h 278254"/>
              <a:gd name="connsiteX3" fmla="*/ 149829 w 206621"/>
              <a:gd name="connsiteY3" fmla="*/ 171234 h 278254"/>
              <a:gd name="connsiteX4" fmla="*/ 149829 w 206621"/>
              <a:gd name="connsiteY4" fmla="*/ 149829 h 278254"/>
              <a:gd name="connsiteX5" fmla="*/ 46590 w 206621"/>
              <a:gd name="connsiteY5" fmla="*/ 149829 h 278254"/>
              <a:gd name="connsiteX6" fmla="*/ 46376 w 206621"/>
              <a:gd name="connsiteY6" fmla="*/ 139127 h 278254"/>
              <a:gd name="connsiteX7" fmla="*/ 46661 w 206621"/>
              <a:gd name="connsiteY7" fmla="*/ 128425 h 278254"/>
              <a:gd name="connsiteX8" fmla="*/ 149829 w 206621"/>
              <a:gd name="connsiteY8" fmla="*/ 128425 h 278254"/>
              <a:gd name="connsiteX9" fmla="*/ 149829 w 206621"/>
              <a:gd name="connsiteY9" fmla="*/ 107021 h 278254"/>
              <a:gd name="connsiteX10" fmla="*/ 49051 w 206621"/>
              <a:gd name="connsiteY10" fmla="*/ 107021 h 278254"/>
              <a:gd name="connsiteX11" fmla="*/ 133776 w 206621"/>
              <a:gd name="connsiteY11" fmla="*/ 21404 h 278254"/>
              <a:gd name="connsiteX12" fmla="*/ 194885 w 206621"/>
              <a:gd name="connsiteY12" fmla="*/ 40668 h 278254"/>
              <a:gd name="connsiteX13" fmla="*/ 206622 w 206621"/>
              <a:gd name="connsiteY13" fmla="*/ 22831 h 278254"/>
              <a:gd name="connsiteX14" fmla="*/ 133776 w 206621"/>
              <a:gd name="connsiteY14" fmla="*/ 0 h 278254"/>
              <a:gd name="connsiteX15" fmla="*/ 27397 w 206621"/>
              <a:gd name="connsiteY15" fmla="*/ 107021 h 278254"/>
              <a:gd name="connsiteX16" fmla="*/ 0 w 206621"/>
              <a:gd name="connsiteY16" fmla="*/ 107021 h 278254"/>
              <a:gd name="connsiteX17" fmla="*/ 0 w 206621"/>
              <a:gd name="connsiteY17" fmla="*/ 128425 h 278254"/>
              <a:gd name="connsiteX18" fmla="*/ 25328 w 206621"/>
              <a:gd name="connsiteY18" fmla="*/ 128425 h 278254"/>
              <a:gd name="connsiteX19" fmla="*/ 25043 w 206621"/>
              <a:gd name="connsiteY19" fmla="*/ 139127 h 278254"/>
              <a:gd name="connsiteX20" fmla="*/ 25328 w 206621"/>
              <a:gd name="connsiteY20" fmla="*/ 149829 h 278254"/>
              <a:gd name="connsiteX21" fmla="*/ 0 w 206621"/>
              <a:gd name="connsiteY21" fmla="*/ 149829 h 278254"/>
              <a:gd name="connsiteX22" fmla="*/ 0 w 206621"/>
              <a:gd name="connsiteY22" fmla="*/ 171234 h 278254"/>
              <a:gd name="connsiteX23" fmla="*/ 27397 w 206621"/>
              <a:gd name="connsiteY23" fmla="*/ 171234 h 278254"/>
              <a:gd name="connsiteX24" fmla="*/ 133776 w 206621"/>
              <a:gd name="connsiteY24" fmla="*/ 278254 h 278254"/>
              <a:gd name="connsiteX25" fmla="*/ 206622 w 206621"/>
              <a:gd name="connsiteY25" fmla="*/ 255352 h 278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06621" h="278254">
                <a:moveTo>
                  <a:pt x="194885" y="237586"/>
                </a:moveTo>
                <a:cubicBezTo>
                  <a:pt x="176863" y="249897"/>
                  <a:pt x="155601" y="256600"/>
                  <a:pt x="133776" y="256850"/>
                </a:cubicBezTo>
                <a:cubicBezTo>
                  <a:pt x="81728" y="256850"/>
                  <a:pt x="56757" y="215683"/>
                  <a:pt x="49051" y="171234"/>
                </a:cubicBezTo>
                <a:lnTo>
                  <a:pt x="149829" y="171234"/>
                </a:lnTo>
                <a:lnTo>
                  <a:pt x="149829" y="149829"/>
                </a:lnTo>
                <a:lnTo>
                  <a:pt x="46590" y="149829"/>
                </a:lnTo>
                <a:cubicBezTo>
                  <a:pt x="46376" y="146262"/>
                  <a:pt x="46376" y="142695"/>
                  <a:pt x="46376" y="139127"/>
                </a:cubicBezTo>
                <a:cubicBezTo>
                  <a:pt x="46376" y="135560"/>
                  <a:pt x="46376" y="131992"/>
                  <a:pt x="46661" y="128425"/>
                </a:cubicBezTo>
                <a:lnTo>
                  <a:pt x="149829" y="128425"/>
                </a:lnTo>
                <a:lnTo>
                  <a:pt x="149829" y="107021"/>
                </a:lnTo>
                <a:lnTo>
                  <a:pt x="49051" y="107021"/>
                </a:lnTo>
                <a:cubicBezTo>
                  <a:pt x="56757" y="62572"/>
                  <a:pt x="81728" y="21404"/>
                  <a:pt x="133776" y="21404"/>
                </a:cubicBezTo>
                <a:cubicBezTo>
                  <a:pt x="155598" y="21667"/>
                  <a:pt x="176857" y="28369"/>
                  <a:pt x="194885" y="40668"/>
                </a:cubicBezTo>
                <a:lnTo>
                  <a:pt x="206622" y="22831"/>
                </a:lnTo>
                <a:cubicBezTo>
                  <a:pt x="185119" y="8212"/>
                  <a:pt x="159777" y="269"/>
                  <a:pt x="133776" y="0"/>
                </a:cubicBezTo>
                <a:cubicBezTo>
                  <a:pt x="77519" y="0"/>
                  <a:pt x="37243" y="41917"/>
                  <a:pt x="27397" y="107021"/>
                </a:cubicBezTo>
                <a:lnTo>
                  <a:pt x="0" y="107021"/>
                </a:lnTo>
                <a:lnTo>
                  <a:pt x="0" y="128425"/>
                </a:lnTo>
                <a:lnTo>
                  <a:pt x="25328" y="128425"/>
                </a:lnTo>
                <a:cubicBezTo>
                  <a:pt x="25150" y="131992"/>
                  <a:pt x="25043" y="135560"/>
                  <a:pt x="25043" y="139127"/>
                </a:cubicBezTo>
                <a:cubicBezTo>
                  <a:pt x="25043" y="142695"/>
                  <a:pt x="25043" y="146262"/>
                  <a:pt x="25328" y="149829"/>
                </a:cubicBezTo>
                <a:lnTo>
                  <a:pt x="0" y="149829"/>
                </a:lnTo>
                <a:lnTo>
                  <a:pt x="0" y="171234"/>
                </a:lnTo>
                <a:lnTo>
                  <a:pt x="27397" y="171234"/>
                </a:lnTo>
                <a:cubicBezTo>
                  <a:pt x="37243" y="236338"/>
                  <a:pt x="77340" y="278254"/>
                  <a:pt x="133776" y="278254"/>
                </a:cubicBezTo>
                <a:cubicBezTo>
                  <a:pt x="159784" y="277964"/>
                  <a:pt x="185127" y="269997"/>
                  <a:pt x="206622" y="255352"/>
                </a:cubicBezTo>
                <a:close/>
              </a:path>
            </a:pathLst>
          </a:custGeom>
          <a:solidFill>
            <a:schemeClr val="lt1"/>
          </a:solidFill>
          <a:ln w="4630" cap="flat">
            <a:solidFill>
              <a:schemeClr val="accent5"/>
            </a:solidFill>
            <a:prstDash val="solid"/>
            <a:miter/>
          </a:ln>
        </p:spPr>
        <p:txBody>
          <a:bodyPr rtlCol="0" anchor="ctr"/>
          <a:lstStyle/>
          <a:p>
            <a:endParaRPr lang="en-GB"/>
          </a:p>
        </p:txBody>
      </p:sp>
      <p:grpSp>
        <p:nvGrpSpPr>
          <p:cNvPr id="155" name="Bild 2" descr="Lastbil kontur">
            <a:extLst>
              <a:ext uri="{FF2B5EF4-FFF2-40B4-BE49-F238E27FC236}">
                <a16:creationId xmlns:a16="http://schemas.microsoft.com/office/drawing/2014/main" id="{E171C55C-A435-9747-D73F-283CCEFCB682}"/>
              </a:ext>
            </a:extLst>
          </p:cNvPr>
          <p:cNvGrpSpPr/>
          <p:nvPr/>
        </p:nvGrpSpPr>
        <p:grpSpPr>
          <a:xfrm>
            <a:off x="13253493" y="4261061"/>
            <a:ext cx="838200" cy="476345"/>
            <a:chOff x="12550105" y="4329639"/>
            <a:chExt cx="838200" cy="476345"/>
          </a:xfrm>
          <a:solidFill>
            <a:schemeClr val="lt1"/>
          </a:solidFill>
        </p:grpSpPr>
        <p:sp>
          <p:nvSpPr>
            <p:cNvPr id="156" name="Frihandsfigur: Form 155">
              <a:extLst>
                <a:ext uri="{FF2B5EF4-FFF2-40B4-BE49-F238E27FC236}">
                  <a16:creationId xmlns:a16="http://schemas.microsoft.com/office/drawing/2014/main" id="{9725CDBB-A822-789C-FEAC-D9888AB4204C}"/>
                </a:ext>
              </a:extLst>
            </p:cNvPr>
            <p:cNvSpPr/>
            <p:nvPr/>
          </p:nvSpPr>
          <p:spPr>
            <a:xfrm>
              <a:off x="12645355" y="4653584"/>
              <a:ext cx="152400" cy="152400"/>
            </a:xfrm>
            <a:custGeom>
              <a:avLst/>
              <a:gdLst>
                <a:gd name="connsiteX0" fmla="*/ 76200 w 152400"/>
                <a:gd name="connsiteY0" fmla="*/ 0 h 152400"/>
                <a:gd name="connsiteX1" fmla="*/ 0 w 152400"/>
                <a:gd name="connsiteY1" fmla="*/ 76200 h 152400"/>
                <a:gd name="connsiteX2" fmla="*/ 76200 w 152400"/>
                <a:gd name="connsiteY2" fmla="*/ 152400 h 152400"/>
                <a:gd name="connsiteX3" fmla="*/ 152400 w 152400"/>
                <a:gd name="connsiteY3" fmla="*/ 76200 h 152400"/>
                <a:gd name="connsiteX4" fmla="*/ 76200 w 152400"/>
                <a:gd name="connsiteY4" fmla="*/ 0 h 152400"/>
                <a:gd name="connsiteX5" fmla="*/ 76200 w 152400"/>
                <a:gd name="connsiteY5" fmla="*/ 133350 h 152400"/>
                <a:gd name="connsiteX6" fmla="*/ 19050 w 152400"/>
                <a:gd name="connsiteY6" fmla="*/ 76200 h 152400"/>
                <a:gd name="connsiteX7" fmla="*/ 76200 w 152400"/>
                <a:gd name="connsiteY7" fmla="*/ 19050 h 152400"/>
                <a:gd name="connsiteX8" fmla="*/ 133350 w 152400"/>
                <a:gd name="connsiteY8" fmla="*/ 76200 h 152400"/>
                <a:gd name="connsiteX9" fmla="*/ 76200 w 152400"/>
                <a:gd name="connsiteY9" fmla="*/ 133388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2400" h="152400">
                  <a:moveTo>
                    <a:pt x="76200" y="0"/>
                  </a:moveTo>
                  <a:cubicBezTo>
                    <a:pt x="34116" y="0"/>
                    <a:pt x="0" y="34116"/>
                    <a:pt x="0" y="76200"/>
                  </a:cubicBezTo>
                  <a:cubicBezTo>
                    <a:pt x="0" y="118284"/>
                    <a:pt x="34116" y="152400"/>
                    <a:pt x="76200" y="152400"/>
                  </a:cubicBezTo>
                  <a:cubicBezTo>
                    <a:pt x="118284" y="152400"/>
                    <a:pt x="152400" y="118284"/>
                    <a:pt x="152400" y="76200"/>
                  </a:cubicBezTo>
                  <a:cubicBezTo>
                    <a:pt x="152348" y="34138"/>
                    <a:pt x="118262" y="52"/>
                    <a:pt x="76200" y="0"/>
                  </a:cubicBezTo>
                  <a:close/>
                  <a:moveTo>
                    <a:pt x="76200" y="133350"/>
                  </a:moveTo>
                  <a:cubicBezTo>
                    <a:pt x="44637" y="133350"/>
                    <a:pt x="19050" y="107763"/>
                    <a:pt x="19050" y="76200"/>
                  </a:cubicBezTo>
                  <a:cubicBezTo>
                    <a:pt x="19050" y="44637"/>
                    <a:pt x="44637" y="19050"/>
                    <a:pt x="76200" y="19050"/>
                  </a:cubicBezTo>
                  <a:cubicBezTo>
                    <a:pt x="107763" y="19050"/>
                    <a:pt x="133350" y="44637"/>
                    <a:pt x="133350" y="76200"/>
                  </a:cubicBezTo>
                  <a:cubicBezTo>
                    <a:pt x="133329" y="107760"/>
                    <a:pt x="107760" y="133346"/>
                    <a:pt x="76200" y="133388"/>
                  </a:cubicBezTo>
                  <a:close/>
                </a:path>
              </a:pathLst>
            </a:custGeom>
            <a:solidFill>
              <a:schemeClr val="lt1"/>
            </a:solidFill>
            <a:ln w="12700" cap="flat">
              <a:solidFill>
                <a:schemeClr val="accent5"/>
              </a:solidFill>
              <a:prstDash val="solid"/>
              <a:miter/>
            </a:ln>
          </p:spPr>
          <p:txBody>
            <a:bodyPr rtlCol="0" anchor="ctr"/>
            <a:lstStyle/>
            <a:p>
              <a:endParaRPr lang="en-GB"/>
            </a:p>
          </p:txBody>
        </p:sp>
        <p:sp>
          <p:nvSpPr>
            <p:cNvPr id="157" name="Frihandsfigur: Form 156">
              <a:extLst>
                <a:ext uri="{FF2B5EF4-FFF2-40B4-BE49-F238E27FC236}">
                  <a16:creationId xmlns:a16="http://schemas.microsoft.com/office/drawing/2014/main" id="{CE87BD0E-B866-5032-6AFB-4860BACB3209}"/>
                </a:ext>
              </a:extLst>
            </p:cNvPr>
            <p:cNvSpPr/>
            <p:nvPr/>
          </p:nvSpPr>
          <p:spPr>
            <a:xfrm>
              <a:off x="12550105" y="4329639"/>
              <a:ext cx="838200" cy="400164"/>
            </a:xfrm>
            <a:custGeom>
              <a:avLst/>
              <a:gdLst>
                <a:gd name="connsiteX0" fmla="*/ 822960 w 838200"/>
                <a:gd name="connsiteY0" fmla="*/ 236287 h 400164"/>
                <a:gd name="connsiteX1" fmla="*/ 772478 w 838200"/>
                <a:gd name="connsiteY1" fmla="*/ 198187 h 400164"/>
                <a:gd name="connsiteX2" fmla="*/ 759143 w 838200"/>
                <a:gd name="connsiteY2" fmla="*/ 178184 h 400164"/>
                <a:gd name="connsiteX3" fmla="*/ 740093 w 838200"/>
                <a:gd name="connsiteY3" fmla="*/ 112462 h 400164"/>
                <a:gd name="connsiteX4" fmla="*/ 666750 w 838200"/>
                <a:gd name="connsiteY4" fmla="*/ 57150 h 400164"/>
                <a:gd name="connsiteX5" fmla="*/ 571500 w 838200"/>
                <a:gd name="connsiteY5" fmla="*/ 57150 h 400164"/>
                <a:gd name="connsiteX6" fmla="*/ 571500 w 838200"/>
                <a:gd name="connsiteY6" fmla="*/ 0 h 400164"/>
                <a:gd name="connsiteX7" fmla="*/ 0 w 838200"/>
                <a:gd name="connsiteY7" fmla="*/ 0 h 400164"/>
                <a:gd name="connsiteX8" fmla="*/ 0 w 838200"/>
                <a:gd name="connsiteY8" fmla="*/ 400164 h 400164"/>
                <a:gd name="connsiteX9" fmla="*/ 76200 w 838200"/>
                <a:gd name="connsiteY9" fmla="*/ 400164 h 400164"/>
                <a:gd name="connsiteX10" fmla="*/ 78105 w 838200"/>
                <a:gd name="connsiteY10" fmla="*/ 381114 h 400164"/>
                <a:gd name="connsiteX11" fmla="*/ 19050 w 838200"/>
                <a:gd name="connsiteY11" fmla="*/ 381114 h 400164"/>
                <a:gd name="connsiteX12" fmla="*/ 19050 w 838200"/>
                <a:gd name="connsiteY12" fmla="*/ 256670 h 400164"/>
                <a:gd name="connsiteX13" fmla="*/ 552450 w 838200"/>
                <a:gd name="connsiteY13" fmla="*/ 256670 h 400164"/>
                <a:gd name="connsiteX14" fmla="*/ 552450 w 838200"/>
                <a:gd name="connsiteY14" fmla="*/ 381114 h 400164"/>
                <a:gd name="connsiteX15" fmla="*/ 264795 w 838200"/>
                <a:gd name="connsiteY15" fmla="*/ 381114 h 400164"/>
                <a:gd name="connsiteX16" fmla="*/ 266700 w 838200"/>
                <a:gd name="connsiteY16" fmla="*/ 400164 h 400164"/>
                <a:gd name="connsiteX17" fmla="*/ 581025 w 838200"/>
                <a:gd name="connsiteY17" fmla="*/ 400164 h 400164"/>
                <a:gd name="connsiteX18" fmla="*/ 582930 w 838200"/>
                <a:gd name="connsiteY18" fmla="*/ 381114 h 400164"/>
                <a:gd name="connsiteX19" fmla="*/ 571500 w 838200"/>
                <a:gd name="connsiteY19" fmla="*/ 381114 h 400164"/>
                <a:gd name="connsiteX20" fmla="*/ 571500 w 838200"/>
                <a:gd name="connsiteY20" fmla="*/ 76200 h 400164"/>
                <a:gd name="connsiteX21" fmla="*/ 609600 w 838200"/>
                <a:gd name="connsiteY21" fmla="*/ 76200 h 400164"/>
                <a:gd name="connsiteX22" fmla="*/ 609600 w 838200"/>
                <a:gd name="connsiteY22" fmla="*/ 209045 h 400164"/>
                <a:gd name="connsiteX23" fmla="*/ 756095 w 838200"/>
                <a:gd name="connsiteY23" fmla="*/ 209045 h 400164"/>
                <a:gd name="connsiteX24" fmla="*/ 761209 w 838200"/>
                <a:gd name="connsiteY24" fmla="*/ 213512 h 400164"/>
                <a:gd name="connsiteX25" fmla="*/ 811282 w 838200"/>
                <a:gd name="connsiteY25" fmla="*/ 251317 h 400164"/>
                <a:gd name="connsiteX26" fmla="*/ 819150 w 838200"/>
                <a:gd name="connsiteY26" fmla="*/ 266776 h 400164"/>
                <a:gd name="connsiteX27" fmla="*/ 819150 w 838200"/>
                <a:gd name="connsiteY27" fmla="*/ 362026 h 400164"/>
                <a:gd name="connsiteX28" fmla="*/ 800100 w 838200"/>
                <a:gd name="connsiteY28" fmla="*/ 381076 h 400164"/>
                <a:gd name="connsiteX29" fmla="*/ 769620 w 838200"/>
                <a:gd name="connsiteY29" fmla="*/ 381076 h 400164"/>
                <a:gd name="connsiteX30" fmla="*/ 771525 w 838200"/>
                <a:gd name="connsiteY30" fmla="*/ 400126 h 400164"/>
                <a:gd name="connsiteX31" fmla="*/ 800100 w 838200"/>
                <a:gd name="connsiteY31" fmla="*/ 400126 h 400164"/>
                <a:gd name="connsiteX32" fmla="*/ 838200 w 838200"/>
                <a:gd name="connsiteY32" fmla="*/ 362026 h 400164"/>
                <a:gd name="connsiteX33" fmla="*/ 838200 w 838200"/>
                <a:gd name="connsiteY33" fmla="*/ 266776 h 400164"/>
                <a:gd name="connsiteX34" fmla="*/ 822960 w 838200"/>
                <a:gd name="connsiteY34" fmla="*/ 236287 h 400164"/>
                <a:gd name="connsiteX35" fmla="*/ 552450 w 838200"/>
                <a:gd name="connsiteY35" fmla="*/ 237620 h 400164"/>
                <a:gd name="connsiteX36" fmla="*/ 19050 w 838200"/>
                <a:gd name="connsiteY36" fmla="*/ 237620 h 400164"/>
                <a:gd name="connsiteX37" fmla="*/ 19050 w 838200"/>
                <a:gd name="connsiteY37" fmla="*/ 19050 h 400164"/>
                <a:gd name="connsiteX38" fmla="*/ 552450 w 838200"/>
                <a:gd name="connsiteY38" fmla="*/ 19050 h 400164"/>
                <a:gd name="connsiteX39" fmla="*/ 628650 w 838200"/>
                <a:gd name="connsiteY39" fmla="*/ 76200 h 400164"/>
                <a:gd name="connsiteX40" fmla="*/ 666750 w 838200"/>
                <a:gd name="connsiteY40" fmla="*/ 76200 h 400164"/>
                <a:gd name="connsiteX41" fmla="*/ 721805 w 838200"/>
                <a:gd name="connsiteY41" fmla="*/ 117710 h 400164"/>
                <a:gd name="connsiteX42" fmla="*/ 740769 w 838200"/>
                <a:gd name="connsiteY42" fmla="*/ 183147 h 400164"/>
                <a:gd name="connsiteX43" fmla="*/ 743169 w 838200"/>
                <a:gd name="connsiteY43" fmla="*/ 189976 h 400164"/>
                <a:gd name="connsiteX44" fmla="*/ 628650 w 838200"/>
                <a:gd name="connsiteY44" fmla="*/ 189976 h 400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838200" h="400164">
                  <a:moveTo>
                    <a:pt x="822960" y="236287"/>
                  </a:moveTo>
                  <a:lnTo>
                    <a:pt x="772478" y="198187"/>
                  </a:lnTo>
                  <a:cubicBezTo>
                    <a:pt x="765858" y="193258"/>
                    <a:pt x="761146" y="186191"/>
                    <a:pt x="759143" y="178184"/>
                  </a:cubicBezTo>
                  <a:lnTo>
                    <a:pt x="740093" y="112462"/>
                  </a:lnTo>
                  <a:cubicBezTo>
                    <a:pt x="730395" y="79953"/>
                    <a:pt x="700672" y="57537"/>
                    <a:pt x="666750" y="57150"/>
                  </a:cubicBezTo>
                  <a:lnTo>
                    <a:pt x="571500" y="57150"/>
                  </a:lnTo>
                  <a:lnTo>
                    <a:pt x="571500" y="0"/>
                  </a:lnTo>
                  <a:lnTo>
                    <a:pt x="0" y="0"/>
                  </a:lnTo>
                  <a:lnTo>
                    <a:pt x="0" y="400164"/>
                  </a:lnTo>
                  <a:lnTo>
                    <a:pt x="76200" y="400164"/>
                  </a:lnTo>
                  <a:cubicBezTo>
                    <a:pt x="76197" y="393766"/>
                    <a:pt x="76835" y="387385"/>
                    <a:pt x="78105" y="381114"/>
                  </a:cubicBezTo>
                  <a:lnTo>
                    <a:pt x="19050" y="381114"/>
                  </a:lnTo>
                  <a:lnTo>
                    <a:pt x="19050" y="256670"/>
                  </a:lnTo>
                  <a:lnTo>
                    <a:pt x="552450" y="256670"/>
                  </a:lnTo>
                  <a:lnTo>
                    <a:pt x="552450" y="381114"/>
                  </a:lnTo>
                  <a:lnTo>
                    <a:pt x="264795" y="381114"/>
                  </a:lnTo>
                  <a:cubicBezTo>
                    <a:pt x="266069" y="387384"/>
                    <a:pt x="266708" y="393766"/>
                    <a:pt x="266700" y="400164"/>
                  </a:cubicBezTo>
                  <a:lnTo>
                    <a:pt x="581025" y="400164"/>
                  </a:lnTo>
                  <a:cubicBezTo>
                    <a:pt x="581022" y="393766"/>
                    <a:pt x="581660" y="387385"/>
                    <a:pt x="582930" y="381114"/>
                  </a:cubicBezTo>
                  <a:lnTo>
                    <a:pt x="571500" y="381114"/>
                  </a:lnTo>
                  <a:lnTo>
                    <a:pt x="571500" y="76200"/>
                  </a:lnTo>
                  <a:lnTo>
                    <a:pt x="609600" y="76200"/>
                  </a:lnTo>
                  <a:lnTo>
                    <a:pt x="609600" y="209045"/>
                  </a:lnTo>
                  <a:lnTo>
                    <a:pt x="756095" y="209045"/>
                  </a:lnTo>
                  <a:cubicBezTo>
                    <a:pt x="757699" y="210645"/>
                    <a:pt x="759408" y="212138"/>
                    <a:pt x="761209" y="213512"/>
                  </a:cubicBezTo>
                  <a:lnTo>
                    <a:pt x="811282" y="251317"/>
                  </a:lnTo>
                  <a:cubicBezTo>
                    <a:pt x="816190" y="254947"/>
                    <a:pt x="819103" y="260673"/>
                    <a:pt x="819150" y="266776"/>
                  </a:cubicBezTo>
                  <a:lnTo>
                    <a:pt x="819150" y="362026"/>
                  </a:lnTo>
                  <a:cubicBezTo>
                    <a:pt x="819150" y="372548"/>
                    <a:pt x="810621" y="381076"/>
                    <a:pt x="800100" y="381076"/>
                  </a:cubicBezTo>
                  <a:lnTo>
                    <a:pt x="769620" y="381076"/>
                  </a:lnTo>
                  <a:cubicBezTo>
                    <a:pt x="770894" y="387346"/>
                    <a:pt x="771533" y="393728"/>
                    <a:pt x="771525" y="400126"/>
                  </a:cubicBezTo>
                  <a:lnTo>
                    <a:pt x="800100" y="400126"/>
                  </a:lnTo>
                  <a:cubicBezTo>
                    <a:pt x="821114" y="400059"/>
                    <a:pt x="838132" y="383040"/>
                    <a:pt x="838200" y="362026"/>
                  </a:cubicBezTo>
                  <a:lnTo>
                    <a:pt x="838200" y="266776"/>
                  </a:lnTo>
                  <a:cubicBezTo>
                    <a:pt x="838161" y="254791"/>
                    <a:pt x="832524" y="243511"/>
                    <a:pt x="822960" y="236287"/>
                  </a:cubicBezTo>
                  <a:close/>
                  <a:moveTo>
                    <a:pt x="552450" y="237620"/>
                  </a:moveTo>
                  <a:lnTo>
                    <a:pt x="19050" y="237620"/>
                  </a:lnTo>
                  <a:lnTo>
                    <a:pt x="19050" y="19050"/>
                  </a:lnTo>
                  <a:lnTo>
                    <a:pt x="552450" y="19050"/>
                  </a:lnTo>
                  <a:close/>
                  <a:moveTo>
                    <a:pt x="628650" y="76200"/>
                  </a:moveTo>
                  <a:lnTo>
                    <a:pt x="666750" y="76200"/>
                  </a:lnTo>
                  <a:cubicBezTo>
                    <a:pt x="692156" y="76649"/>
                    <a:pt x="714384" y="93407"/>
                    <a:pt x="721805" y="117710"/>
                  </a:cubicBezTo>
                  <a:lnTo>
                    <a:pt x="740769" y="183147"/>
                  </a:lnTo>
                  <a:cubicBezTo>
                    <a:pt x="741416" y="185474"/>
                    <a:pt x="742218" y="187756"/>
                    <a:pt x="743169" y="189976"/>
                  </a:cubicBezTo>
                  <a:lnTo>
                    <a:pt x="628650" y="189976"/>
                  </a:lnTo>
                  <a:close/>
                </a:path>
              </a:pathLst>
            </a:custGeom>
            <a:solidFill>
              <a:schemeClr val="lt1"/>
            </a:solidFill>
            <a:ln w="12700" cap="flat">
              <a:solidFill>
                <a:schemeClr val="accent5"/>
              </a:solidFill>
              <a:prstDash val="solid"/>
              <a:miter/>
            </a:ln>
          </p:spPr>
          <p:txBody>
            <a:bodyPr rtlCol="0" anchor="ctr"/>
            <a:lstStyle/>
            <a:p>
              <a:endParaRPr lang="en-GB"/>
            </a:p>
          </p:txBody>
        </p:sp>
        <p:sp>
          <p:nvSpPr>
            <p:cNvPr id="158" name="Frihandsfigur: Form 157">
              <a:extLst>
                <a:ext uri="{FF2B5EF4-FFF2-40B4-BE49-F238E27FC236}">
                  <a16:creationId xmlns:a16="http://schemas.microsoft.com/office/drawing/2014/main" id="{4C2E8776-EDB0-14FC-2861-F68861841265}"/>
                </a:ext>
              </a:extLst>
            </p:cNvPr>
            <p:cNvSpPr/>
            <p:nvPr/>
          </p:nvSpPr>
          <p:spPr>
            <a:xfrm>
              <a:off x="13150180" y="4653584"/>
              <a:ext cx="152400" cy="152400"/>
            </a:xfrm>
            <a:custGeom>
              <a:avLst/>
              <a:gdLst>
                <a:gd name="connsiteX0" fmla="*/ 76200 w 152400"/>
                <a:gd name="connsiteY0" fmla="*/ 0 h 152400"/>
                <a:gd name="connsiteX1" fmla="*/ 0 w 152400"/>
                <a:gd name="connsiteY1" fmla="*/ 76200 h 152400"/>
                <a:gd name="connsiteX2" fmla="*/ 76200 w 152400"/>
                <a:gd name="connsiteY2" fmla="*/ 152400 h 152400"/>
                <a:gd name="connsiteX3" fmla="*/ 152400 w 152400"/>
                <a:gd name="connsiteY3" fmla="*/ 76200 h 152400"/>
                <a:gd name="connsiteX4" fmla="*/ 76200 w 152400"/>
                <a:gd name="connsiteY4" fmla="*/ 0 h 152400"/>
                <a:gd name="connsiteX5" fmla="*/ 76200 w 152400"/>
                <a:gd name="connsiteY5" fmla="*/ 133350 h 152400"/>
                <a:gd name="connsiteX6" fmla="*/ 19050 w 152400"/>
                <a:gd name="connsiteY6" fmla="*/ 76200 h 152400"/>
                <a:gd name="connsiteX7" fmla="*/ 76200 w 152400"/>
                <a:gd name="connsiteY7" fmla="*/ 19050 h 152400"/>
                <a:gd name="connsiteX8" fmla="*/ 133350 w 152400"/>
                <a:gd name="connsiteY8" fmla="*/ 76200 h 152400"/>
                <a:gd name="connsiteX9" fmla="*/ 76200 w 152400"/>
                <a:gd name="connsiteY9" fmla="*/ 133388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2400" h="152400">
                  <a:moveTo>
                    <a:pt x="76200" y="0"/>
                  </a:moveTo>
                  <a:cubicBezTo>
                    <a:pt x="34116" y="0"/>
                    <a:pt x="0" y="34116"/>
                    <a:pt x="0" y="76200"/>
                  </a:cubicBezTo>
                  <a:cubicBezTo>
                    <a:pt x="0" y="118284"/>
                    <a:pt x="34116" y="152400"/>
                    <a:pt x="76200" y="152400"/>
                  </a:cubicBezTo>
                  <a:cubicBezTo>
                    <a:pt x="118284" y="152400"/>
                    <a:pt x="152400" y="118284"/>
                    <a:pt x="152400" y="76200"/>
                  </a:cubicBezTo>
                  <a:cubicBezTo>
                    <a:pt x="152348" y="34138"/>
                    <a:pt x="118262" y="52"/>
                    <a:pt x="76200" y="0"/>
                  </a:cubicBezTo>
                  <a:close/>
                  <a:moveTo>
                    <a:pt x="76200" y="133350"/>
                  </a:moveTo>
                  <a:cubicBezTo>
                    <a:pt x="44637" y="133350"/>
                    <a:pt x="19050" y="107763"/>
                    <a:pt x="19050" y="76200"/>
                  </a:cubicBezTo>
                  <a:cubicBezTo>
                    <a:pt x="19050" y="44637"/>
                    <a:pt x="44637" y="19050"/>
                    <a:pt x="76200" y="19050"/>
                  </a:cubicBezTo>
                  <a:cubicBezTo>
                    <a:pt x="107763" y="19050"/>
                    <a:pt x="133350" y="44637"/>
                    <a:pt x="133350" y="76200"/>
                  </a:cubicBezTo>
                  <a:cubicBezTo>
                    <a:pt x="133329" y="107760"/>
                    <a:pt x="107760" y="133346"/>
                    <a:pt x="76200" y="133388"/>
                  </a:cubicBezTo>
                  <a:close/>
                </a:path>
              </a:pathLst>
            </a:custGeom>
            <a:solidFill>
              <a:schemeClr val="lt1"/>
            </a:solidFill>
            <a:ln w="12700" cap="flat">
              <a:solidFill>
                <a:schemeClr val="accent5"/>
              </a:solidFill>
              <a:prstDash val="solid"/>
              <a:miter/>
            </a:ln>
          </p:spPr>
          <p:txBody>
            <a:bodyPr rtlCol="0" anchor="ctr"/>
            <a:lstStyle/>
            <a:p>
              <a:endParaRPr lang="en-GB"/>
            </a:p>
          </p:txBody>
        </p:sp>
      </p:grpSp>
      <p:sp>
        <p:nvSpPr>
          <p:cNvPr id="5" name="Bild 12" descr="Present kontur">
            <a:extLst>
              <a:ext uri="{FF2B5EF4-FFF2-40B4-BE49-F238E27FC236}">
                <a16:creationId xmlns:a16="http://schemas.microsoft.com/office/drawing/2014/main" id="{5C2503EA-64D6-0655-7807-8CEB19A9FAC5}"/>
              </a:ext>
            </a:extLst>
          </p:cNvPr>
          <p:cNvSpPr/>
          <p:nvPr/>
        </p:nvSpPr>
        <p:spPr>
          <a:xfrm>
            <a:off x="10092760" y="2363050"/>
            <a:ext cx="513463" cy="566320"/>
          </a:xfrm>
          <a:custGeom>
            <a:avLst/>
            <a:gdLst>
              <a:gd name="connsiteX0" fmla="*/ 390164 w 513463"/>
              <a:gd name="connsiteY0" fmla="*/ 128367 h 566320"/>
              <a:gd name="connsiteX1" fmla="*/ 400735 w 513463"/>
              <a:gd name="connsiteY1" fmla="*/ 71478 h 566320"/>
              <a:gd name="connsiteX2" fmla="*/ 399723 w 513463"/>
              <a:gd name="connsiteY2" fmla="*/ 69213 h 566320"/>
              <a:gd name="connsiteX3" fmla="*/ 331672 w 513463"/>
              <a:gd name="connsiteY3" fmla="*/ 42649 h 566320"/>
              <a:gd name="connsiteX4" fmla="*/ 315221 w 513463"/>
              <a:gd name="connsiteY4" fmla="*/ 54111 h 566320"/>
              <a:gd name="connsiteX5" fmla="*/ 308531 w 513463"/>
              <a:gd name="connsiteY5" fmla="*/ 61058 h 566320"/>
              <a:gd name="connsiteX6" fmla="*/ 267406 w 513463"/>
              <a:gd name="connsiteY6" fmla="*/ 888 h 566320"/>
              <a:gd name="connsiteX7" fmla="*/ 258068 w 513463"/>
              <a:gd name="connsiteY7" fmla="*/ 1 h 566320"/>
              <a:gd name="connsiteX8" fmla="*/ 255546 w 513463"/>
              <a:gd name="connsiteY8" fmla="*/ 1 h 566320"/>
              <a:gd name="connsiteX9" fmla="*/ 203678 w 513463"/>
              <a:gd name="connsiteY9" fmla="*/ 51247 h 566320"/>
              <a:gd name="connsiteX10" fmla="*/ 205967 w 513463"/>
              <a:gd name="connsiteY10" fmla="*/ 66751 h 566320"/>
              <a:gd name="connsiteX11" fmla="*/ 193779 w 513463"/>
              <a:gd name="connsiteY11" fmla="*/ 54096 h 566320"/>
              <a:gd name="connsiteX12" fmla="*/ 120739 w 513463"/>
              <a:gd name="connsiteY12" fmla="*/ 52746 h 566320"/>
              <a:gd name="connsiteX13" fmla="*/ 109277 w 513463"/>
              <a:gd name="connsiteY13" fmla="*/ 69198 h 566320"/>
              <a:gd name="connsiteX14" fmla="*/ 108265 w 513463"/>
              <a:gd name="connsiteY14" fmla="*/ 71463 h 566320"/>
              <a:gd name="connsiteX15" fmla="*/ 118746 w 513463"/>
              <a:gd name="connsiteY15" fmla="*/ 128367 h 566320"/>
              <a:gd name="connsiteX16" fmla="*/ 0 w 513463"/>
              <a:gd name="connsiteY16" fmla="*/ 128367 h 566320"/>
              <a:gd name="connsiteX17" fmla="*/ 0 w 513463"/>
              <a:gd name="connsiteY17" fmla="*/ 566321 h 566320"/>
              <a:gd name="connsiteX18" fmla="*/ 513463 w 513463"/>
              <a:gd name="connsiteY18" fmla="*/ 566321 h 566320"/>
              <a:gd name="connsiteX19" fmla="*/ 513463 w 513463"/>
              <a:gd name="connsiteY19" fmla="*/ 128367 h 566320"/>
              <a:gd name="connsiteX20" fmla="*/ 498361 w 513463"/>
              <a:gd name="connsiteY20" fmla="*/ 286936 h 566320"/>
              <a:gd name="connsiteX21" fmla="*/ 286935 w 513463"/>
              <a:gd name="connsiteY21" fmla="*/ 286936 h 566320"/>
              <a:gd name="connsiteX22" fmla="*/ 286935 w 513463"/>
              <a:gd name="connsiteY22" fmla="*/ 143469 h 566320"/>
              <a:gd name="connsiteX23" fmla="*/ 498361 w 513463"/>
              <a:gd name="connsiteY23" fmla="*/ 143469 h 566320"/>
              <a:gd name="connsiteX24" fmla="*/ 226528 w 513463"/>
              <a:gd name="connsiteY24" fmla="*/ 332242 h 566320"/>
              <a:gd name="connsiteX25" fmla="*/ 15102 w 513463"/>
              <a:gd name="connsiteY25" fmla="*/ 332242 h 566320"/>
              <a:gd name="connsiteX26" fmla="*/ 15102 w 513463"/>
              <a:gd name="connsiteY26" fmla="*/ 302038 h 566320"/>
              <a:gd name="connsiteX27" fmla="*/ 226528 w 513463"/>
              <a:gd name="connsiteY27" fmla="*/ 302038 h 566320"/>
              <a:gd name="connsiteX28" fmla="*/ 241630 w 513463"/>
              <a:gd name="connsiteY28" fmla="*/ 143469 h 566320"/>
              <a:gd name="connsiteX29" fmla="*/ 271833 w 513463"/>
              <a:gd name="connsiteY29" fmla="*/ 143469 h 566320"/>
              <a:gd name="connsiteX30" fmla="*/ 271833 w 513463"/>
              <a:gd name="connsiteY30" fmla="*/ 551219 h 566320"/>
              <a:gd name="connsiteX31" fmla="*/ 241630 w 513463"/>
              <a:gd name="connsiteY31" fmla="*/ 551219 h 566320"/>
              <a:gd name="connsiteX32" fmla="*/ 286935 w 513463"/>
              <a:gd name="connsiteY32" fmla="*/ 302038 h 566320"/>
              <a:gd name="connsiteX33" fmla="*/ 498361 w 513463"/>
              <a:gd name="connsiteY33" fmla="*/ 302038 h 566320"/>
              <a:gd name="connsiteX34" fmla="*/ 498361 w 513463"/>
              <a:gd name="connsiteY34" fmla="*/ 332242 h 566320"/>
              <a:gd name="connsiteX35" fmla="*/ 286935 w 513463"/>
              <a:gd name="connsiteY35" fmla="*/ 332242 h 566320"/>
              <a:gd name="connsiteX36" fmla="*/ 326094 w 513463"/>
              <a:gd name="connsiteY36" fmla="*/ 64576 h 566320"/>
              <a:gd name="connsiteX37" fmla="*/ 352190 w 513463"/>
              <a:gd name="connsiteY37" fmla="*/ 53356 h 566320"/>
              <a:gd name="connsiteX38" fmla="*/ 358843 w 513463"/>
              <a:gd name="connsiteY38" fmla="*/ 53952 h 566320"/>
              <a:gd name="connsiteX39" fmla="*/ 385890 w 513463"/>
              <a:gd name="connsiteY39" fmla="*/ 75246 h 566320"/>
              <a:gd name="connsiteX40" fmla="*/ 386902 w 513463"/>
              <a:gd name="connsiteY40" fmla="*/ 77511 h 566320"/>
              <a:gd name="connsiteX41" fmla="*/ 368096 w 513463"/>
              <a:gd name="connsiteY41" fmla="*/ 125676 h 566320"/>
              <a:gd name="connsiteX42" fmla="*/ 358964 w 513463"/>
              <a:gd name="connsiteY42" fmla="*/ 128329 h 566320"/>
              <a:gd name="connsiteX43" fmla="*/ 264970 w 513463"/>
              <a:gd name="connsiteY43" fmla="*/ 127974 h 566320"/>
              <a:gd name="connsiteX44" fmla="*/ 221416 w 513463"/>
              <a:gd name="connsiteY44" fmla="*/ 65400 h 566320"/>
              <a:gd name="connsiteX45" fmla="*/ 241527 w 513463"/>
              <a:gd name="connsiteY45" fmla="*/ 17788 h 566320"/>
              <a:gd name="connsiteX46" fmla="*/ 255267 w 513463"/>
              <a:gd name="connsiteY46" fmla="*/ 15103 h 566320"/>
              <a:gd name="connsiteX47" fmla="*/ 255463 w 513463"/>
              <a:gd name="connsiteY47" fmla="*/ 15103 h 566320"/>
              <a:gd name="connsiteX48" fmla="*/ 257993 w 513463"/>
              <a:gd name="connsiteY48" fmla="*/ 15103 h 566320"/>
              <a:gd name="connsiteX49" fmla="*/ 294351 w 513463"/>
              <a:gd name="connsiteY49" fmla="*/ 51836 h 566320"/>
              <a:gd name="connsiteX50" fmla="*/ 291526 w 513463"/>
              <a:gd name="connsiteY50" fmla="*/ 65739 h 566320"/>
              <a:gd name="connsiteX51" fmla="*/ 281982 w 513463"/>
              <a:gd name="connsiteY51" fmla="*/ 88581 h 566320"/>
              <a:gd name="connsiteX52" fmla="*/ 254466 w 513463"/>
              <a:gd name="connsiteY52" fmla="*/ 117131 h 566320"/>
              <a:gd name="connsiteX53" fmla="*/ 233611 w 513463"/>
              <a:gd name="connsiteY53" fmla="*/ 95445 h 566320"/>
              <a:gd name="connsiteX54" fmla="*/ 124764 w 513463"/>
              <a:gd name="connsiteY54" fmla="*/ 111868 h 566320"/>
              <a:gd name="connsiteX55" fmla="*/ 122114 w 513463"/>
              <a:gd name="connsiteY55" fmla="*/ 77549 h 566320"/>
              <a:gd name="connsiteX56" fmla="*/ 123125 w 513463"/>
              <a:gd name="connsiteY56" fmla="*/ 75284 h 566320"/>
              <a:gd name="connsiteX57" fmla="*/ 150173 w 513463"/>
              <a:gd name="connsiteY57" fmla="*/ 53990 h 566320"/>
              <a:gd name="connsiteX58" fmla="*/ 156825 w 513463"/>
              <a:gd name="connsiteY58" fmla="*/ 53394 h 566320"/>
              <a:gd name="connsiteX59" fmla="*/ 182929 w 513463"/>
              <a:gd name="connsiteY59" fmla="*/ 64614 h 566320"/>
              <a:gd name="connsiteX60" fmla="*/ 244038 w 513463"/>
              <a:gd name="connsiteY60" fmla="*/ 128042 h 566320"/>
              <a:gd name="connsiteX61" fmla="*/ 150014 w 513463"/>
              <a:gd name="connsiteY61" fmla="*/ 128367 h 566320"/>
              <a:gd name="connsiteX62" fmla="*/ 124741 w 513463"/>
              <a:gd name="connsiteY62" fmla="*/ 111868 h 566320"/>
              <a:gd name="connsiteX63" fmla="*/ 226528 w 513463"/>
              <a:gd name="connsiteY63" fmla="*/ 143469 h 566320"/>
              <a:gd name="connsiteX64" fmla="*/ 226528 w 513463"/>
              <a:gd name="connsiteY64" fmla="*/ 286936 h 566320"/>
              <a:gd name="connsiteX65" fmla="*/ 15102 w 513463"/>
              <a:gd name="connsiteY65" fmla="*/ 286936 h 566320"/>
              <a:gd name="connsiteX66" fmla="*/ 15102 w 513463"/>
              <a:gd name="connsiteY66" fmla="*/ 143469 h 566320"/>
              <a:gd name="connsiteX67" fmla="*/ 15102 w 513463"/>
              <a:gd name="connsiteY67" fmla="*/ 347344 h 566320"/>
              <a:gd name="connsiteX68" fmla="*/ 226528 w 513463"/>
              <a:gd name="connsiteY68" fmla="*/ 347344 h 566320"/>
              <a:gd name="connsiteX69" fmla="*/ 226528 w 513463"/>
              <a:gd name="connsiteY69" fmla="*/ 551219 h 566320"/>
              <a:gd name="connsiteX70" fmla="*/ 15102 w 513463"/>
              <a:gd name="connsiteY70" fmla="*/ 551219 h 566320"/>
              <a:gd name="connsiteX71" fmla="*/ 286935 w 513463"/>
              <a:gd name="connsiteY71" fmla="*/ 551219 h 566320"/>
              <a:gd name="connsiteX72" fmla="*/ 286935 w 513463"/>
              <a:gd name="connsiteY72" fmla="*/ 347344 h 566320"/>
              <a:gd name="connsiteX73" fmla="*/ 498361 w 513463"/>
              <a:gd name="connsiteY73" fmla="*/ 347344 h 566320"/>
              <a:gd name="connsiteX74" fmla="*/ 498361 w 513463"/>
              <a:gd name="connsiteY74" fmla="*/ 551219 h 566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513463" h="566320">
                <a:moveTo>
                  <a:pt x="390164" y="128367"/>
                </a:moveTo>
                <a:cubicBezTo>
                  <a:pt x="405211" y="113466"/>
                  <a:pt x="409426" y="90790"/>
                  <a:pt x="400735" y="71478"/>
                </a:cubicBezTo>
                <a:lnTo>
                  <a:pt x="399723" y="69213"/>
                </a:lnTo>
                <a:cubicBezTo>
                  <a:pt x="388267" y="43085"/>
                  <a:pt x="357799" y="31192"/>
                  <a:pt x="331672" y="42649"/>
                </a:cubicBezTo>
                <a:cubicBezTo>
                  <a:pt x="325493" y="45358"/>
                  <a:pt x="319903" y="49253"/>
                  <a:pt x="315221" y="54111"/>
                </a:cubicBezTo>
                <a:lnTo>
                  <a:pt x="308531" y="61058"/>
                </a:lnTo>
                <a:cubicBezTo>
                  <a:pt x="313790" y="33086"/>
                  <a:pt x="295377" y="6147"/>
                  <a:pt x="267406" y="888"/>
                </a:cubicBezTo>
                <a:cubicBezTo>
                  <a:pt x="264326" y="309"/>
                  <a:pt x="261201" y="12"/>
                  <a:pt x="258068" y="1"/>
                </a:cubicBezTo>
                <a:lnTo>
                  <a:pt x="255546" y="1"/>
                </a:lnTo>
                <a:cubicBezTo>
                  <a:pt x="227072" y="-171"/>
                  <a:pt x="203850" y="22772"/>
                  <a:pt x="203678" y="51247"/>
                </a:cubicBezTo>
                <a:cubicBezTo>
                  <a:pt x="203646" y="56502"/>
                  <a:pt x="204418" y="61730"/>
                  <a:pt x="205967" y="66751"/>
                </a:cubicBezTo>
                <a:lnTo>
                  <a:pt x="193779" y="54096"/>
                </a:lnTo>
                <a:cubicBezTo>
                  <a:pt x="173982" y="33554"/>
                  <a:pt x="141282" y="32949"/>
                  <a:pt x="120739" y="52746"/>
                </a:cubicBezTo>
                <a:cubicBezTo>
                  <a:pt x="115881" y="57429"/>
                  <a:pt x="111987" y="63018"/>
                  <a:pt x="109277" y="69198"/>
                </a:cubicBezTo>
                <a:lnTo>
                  <a:pt x="108265" y="71463"/>
                </a:lnTo>
                <a:cubicBezTo>
                  <a:pt x="99673" y="90775"/>
                  <a:pt x="103837" y="113383"/>
                  <a:pt x="118746" y="128367"/>
                </a:cubicBezTo>
                <a:lnTo>
                  <a:pt x="0" y="128367"/>
                </a:lnTo>
                <a:lnTo>
                  <a:pt x="0" y="566321"/>
                </a:lnTo>
                <a:lnTo>
                  <a:pt x="513463" y="566321"/>
                </a:lnTo>
                <a:lnTo>
                  <a:pt x="513463" y="128367"/>
                </a:lnTo>
                <a:close/>
                <a:moveTo>
                  <a:pt x="498361" y="286936"/>
                </a:moveTo>
                <a:lnTo>
                  <a:pt x="286935" y="286936"/>
                </a:lnTo>
                <a:lnTo>
                  <a:pt x="286935" y="143469"/>
                </a:lnTo>
                <a:lnTo>
                  <a:pt x="498361" y="143469"/>
                </a:lnTo>
                <a:close/>
                <a:moveTo>
                  <a:pt x="226528" y="332242"/>
                </a:moveTo>
                <a:lnTo>
                  <a:pt x="15102" y="332242"/>
                </a:lnTo>
                <a:lnTo>
                  <a:pt x="15102" y="302038"/>
                </a:lnTo>
                <a:lnTo>
                  <a:pt x="226528" y="302038"/>
                </a:lnTo>
                <a:close/>
                <a:moveTo>
                  <a:pt x="241630" y="143469"/>
                </a:moveTo>
                <a:lnTo>
                  <a:pt x="271833" y="143469"/>
                </a:lnTo>
                <a:lnTo>
                  <a:pt x="271833" y="551219"/>
                </a:lnTo>
                <a:lnTo>
                  <a:pt x="241630" y="551219"/>
                </a:lnTo>
                <a:close/>
                <a:moveTo>
                  <a:pt x="286935" y="302038"/>
                </a:moveTo>
                <a:lnTo>
                  <a:pt x="498361" y="302038"/>
                </a:lnTo>
                <a:lnTo>
                  <a:pt x="498361" y="332242"/>
                </a:lnTo>
                <a:lnTo>
                  <a:pt x="286935" y="332242"/>
                </a:lnTo>
                <a:close/>
                <a:moveTo>
                  <a:pt x="326094" y="64576"/>
                </a:moveTo>
                <a:cubicBezTo>
                  <a:pt x="332882" y="57409"/>
                  <a:pt x="342320" y="53351"/>
                  <a:pt x="352190" y="53356"/>
                </a:cubicBezTo>
                <a:cubicBezTo>
                  <a:pt x="354421" y="53357"/>
                  <a:pt x="356648" y="53557"/>
                  <a:pt x="358843" y="53952"/>
                </a:cubicBezTo>
                <a:cubicBezTo>
                  <a:pt x="370887" y="56002"/>
                  <a:pt x="381070" y="64019"/>
                  <a:pt x="385890" y="75246"/>
                </a:cubicBezTo>
                <a:lnTo>
                  <a:pt x="386902" y="77511"/>
                </a:lnTo>
                <a:cubicBezTo>
                  <a:pt x="395009" y="96005"/>
                  <a:pt x="386589" y="117569"/>
                  <a:pt x="368096" y="125676"/>
                </a:cubicBezTo>
                <a:cubicBezTo>
                  <a:pt x="365180" y="126954"/>
                  <a:pt x="362110" y="127846"/>
                  <a:pt x="358964" y="128329"/>
                </a:cubicBezTo>
                <a:lnTo>
                  <a:pt x="264970" y="127974"/>
                </a:lnTo>
                <a:close/>
                <a:moveTo>
                  <a:pt x="221416" y="65400"/>
                </a:moveTo>
                <a:cubicBezTo>
                  <a:pt x="213822" y="46699"/>
                  <a:pt x="222826" y="25382"/>
                  <a:pt x="241527" y="17788"/>
                </a:cubicBezTo>
                <a:cubicBezTo>
                  <a:pt x="245891" y="16016"/>
                  <a:pt x="250556" y="15104"/>
                  <a:pt x="255267" y="15103"/>
                </a:cubicBezTo>
                <a:lnTo>
                  <a:pt x="255463" y="15103"/>
                </a:lnTo>
                <a:lnTo>
                  <a:pt x="257993" y="15103"/>
                </a:lnTo>
                <a:cubicBezTo>
                  <a:pt x="278176" y="15206"/>
                  <a:pt x="294454" y="31652"/>
                  <a:pt x="294351" y="51836"/>
                </a:cubicBezTo>
                <a:cubicBezTo>
                  <a:pt x="294327" y="56610"/>
                  <a:pt x="293367" y="61334"/>
                  <a:pt x="291526" y="65739"/>
                </a:cubicBezTo>
                <a:lnTo>
                  <a:pt x="281982" y="88581"/>
                </a:lnTo>
                <a:lnTo>
                  <a:pt x="254466" y="117131"/>
                </a:lnTo>
                <a:lnTo>
                  <a:pt x="233611" y="95445"/>
                </a:lnTo>
                <a:close/>
                <a:moveTo>
                  <a:pt x="124764" y="111868"/>
                </a:moveTo>
                <a:cubicBezTo>
                  <a:pt x="118116" y="101618"/>
                  <a:pt x="117119" y="88698"/>
                  <a:pt x="122114" y="77549"/>
                </a:cubicBezTo>
                <a:lnTo>
                  <a:pt x="123125" y="75284"/>
                </a:lnTo>
                <a:cubicBezTo>
                  <a:pt x="127945" y="64057"/>
                  <a:pt x="138128" y="56040"/>
                  <a:pt x="150173" y="53990"/>
                </a:cubicBezTo>
                <a:cubicBezTo>
                  <a:pt x="152369" y="53594"/>
                  <a:pt x="154595" y="53395"/>
                  <a:pt x="156825" y="53394"/>
                </a:cubicBezTo>
                <a:cubicBezTo>
                  <a:pt x="166698" y="53389"/>
                  <a:pt x="176138" y="57447"/>
                  <a:pt x="182929" y="64614"/>
                </a:cubicBezTo>
                <a:lnTo>
                  <a:pt x="244038" y="128042"/>
                </a:lnTo>
                <a:lnTo>
                  <a:pt x="150014" y="128367"/>
                </a:lnTo>
                <a:cubicBezTo>
                  <a:pt x="139576" y="126846"/>
                  <a:pt x="130334" y="120813"/>
                  <a:pt x="124741" y="111868"/>
                </a:cubicBezTo>
                <a:close/>
                <a:moveTo>
                  <a:pt x="226528" y="143469"/>
                </a:moveTo>
                <a:lnTo>
                  <a:pt x="226528" y="286936"/>
                </a:lnTo>
                <a:lnTo>
                  <a:pt x="15102" y="286936"/>
                </a:lnTo>
                <a:lnTo>
                  <a:pt x="15102" y="143469"/>
                </a:lnTo>
                <a:close/>
                <a:moveTo>
                  <a:pt x="15102" y="347344"/>
                </a:moveTo>
                <a:lnTo>
                  <a:pt x="226528" y="347344"/>
                </a:lnTo>
                <a:lnTo>
                  <a:pt x="226528" y="551219"/>
                </a:lnTo>
                <a:lnTo>
                  <a:pt x="15102" y="551219"/>
                </a:lnTo>
                <a:close/>
                <a:moveTo>
                  <a:pt x="286935" y="551219"/>
                </a:moveTo>
                <a:lnTo>
                  <a:pt x="286935" y="347344"/>
                </a:lnTo>
                <a:lnTo>
                  <a:pt x="498361" y="347344"/>
                </a:lnTo>
                <a:lnTo>
                  <a:pt x="498361" y="551219"/>
                </a:lnTo>
                <a:close/>
              </a:path>
            </a:pathLst>
          </a:custGeom>
          <a:solidFill>
            <a:schemeClr val="bg1"/>
          </a:solidFill>
          <a:ln w="7541" cap="flat">
            <a:solidFill>
              <a:schemeClr val="bg1"/>
            </a:solidFill>
            <a:prstDash val="solid"/>
            <a:miter/>
          </a:ln>
        </p:spPr>
        <p:txBody>
          <a:bodyPr rtlCol="0" anchor="ctr"/>
          <a:lstStyle/>
          <a:p>
            <a:endParaRPr lang="en-GB"/>
          </a:p>
        </p:txBody>
      </p:sp>
      <p:sp>
        <p:nvSpPr>
          <p:cNvPr id="22" name="Bild 24" descr="Blixt kontur">
            <a:extLst>
              <a:ext uri="{FF2B5EF4-FFF2-40B4-BE49-F238E27FC236}">
                <a16:creationId xmlns:a16="http://schemas.microsoft.com/office/drawing/2014/main" id="{FF6582AA-7F85-BEF0-E43C-CE590DA38273}"/>
              </a:ext>
            </a:extLst>
          </p:cNvPr>
          <p:cNvSpPr/>
          <p:nvPr/>
        </p:nvSpPr>
        <p:spPr>
          <a:xfrm>
            <a:off x="7219901" y="2433761"/>
            <a:ext cx="270589" cy="552764"/>
          </a:xfrm>
          <a:custGeom>
            <a:avLst/>
            <a:gdLst>
              <a:gd name="connsiteX0" fmla="*/ 40709 w 270589"/>
              <a:gd name="connsiteY0" fmla="*/ 552678 h 552764"/>
              <a:gd name="connsiteX1" fmla="*/ 40755 w 270589"/>
              <a:gd name="connsiteY1" fmla="*/ 552762 h 552764"/>
              <a:gd name="connsiteX2" fmla="*/ 40776 w 270589"/>
              <a:gd name="connsiteY2" fmla="*/ 552765 h 552764"/>
              <a:gd name="connsiteX3" fmla="*/ 40831 w 270589"/>
              <a:gd name="connsiteY3" fmla="*/ 552736 h 552764"/>
              <a:gd name="connsiteX4" fmla="*/ 270589 w 270589"/>
              <a:gd name="connsiteY4" fmla="*/ 221613 h 552764"/>
              <a:gd name="connsiteX5" fmla="*/ 155589 w 270589"/>
              <a:gd name="connsiteY5" fmla="*/ 221613 h 552764"/>
              <a:gd name="connsiteX6" fmla="*/ 227160 w 270589"/>
              <a:gd name="connsiteY6" fmla="*/ 0 h 552764"/>
              <a:gd name="connsiteX7" fmla="*/ 56959 w 270589"/>
              <a:gd name="connsiteY7" fmla="*/ 0 h 552764"/>
              <a:gd name="connsiteX8" fmla="*/ 0 w 270589"/>
              <a:gd name="connsiteY8" fmla="*/ 302789 h 552764"/>
              <a:gd name="connsiteX9" fmla="*/ 115000 w 270589"/>
              <a:gd name="connsiteY9" fmla="*/ 302789 h 552764"/>
              <a:gd name="connsiteX10" fmla="*/ 16312 w 270589"/>
              <a:gd name="connsiteY10" fmla="*/ 289260 h 552764"/>
              <a:gd name="connsiteX11" fmla="*/ 68181 w 270589"/>
              <a:gd name="connsiteY11" fmla="*/ 13529 h 552764"/>
              <a:gd name="connsiteX12" fmla="*/ 208573 w 270589"/>
              <a:gd name="connsiteY12" fmla="*/ 13529 h 552764"/>
              <a:gd name="connsiteX13" fmla="*/ 142714 w 270589"/>
              <a:gd name="connsiteY13" fmla="*/ 217455 h 552764"/>
              <a:gd name="connsiteX14" fmla="*/ 137002 w 270589"/>
              <a:gd name="connsiteY14" fmla="*/ 235142 h 552764"/>
              <a:gd name="connsiteX15" fmla="*/ 244734 w 270589"/>
              <a:gd name="connsiteY15" fmla="*/ 235142 h 552764"/>
              <a:gd name="connsiteX16" fmla="*/ 77869 w 270589"/>
              <a:gd name="connsiteY16" fmla="*/ 475623 h 552764"/>
              <a:gd name="connsiteX17" fmla="*/ 77749 w 270589"/>
              <a:gd name="connsiteY17" fmla="*/ 475565 h 552764"/>
              <a:gd name="connsiteX18" fmla="*/ 127969 w 270589"/>
              <a:gd name="connsiteY18" fmla="*/ 306645 h 552764"/>
              <a:gd name="connsiteX19" fmla="*/ 133138 w 270589"/>
              <a:gd name="connsiteY19" fmla="*/ 289260 h 552764"/>
              <a:gd name="connsiteX20" fmla="*/ 16311 w 270589"/>
              <a:gd name="connsiteY20" fmla="*/ 289260 h 552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70589" h="552764">
                <a:moveTo>
                  <a:pt x="40709" y="552678"/>
                </a:moveTo>
                <a:cubicBezTo>
                  <a:pt x="40698" y="552714"/>
                  <a:pt x="40719" y="552752"/>
                  <a:pt x="40755" y="552762"/>
                </a:cubicBezTo>
                <a:cubicBezTo>
                  <a:pt x="40762" y="552764"/>
                  <a:pt x="40769" y="552765"/>
                  <a:pt x="40776" y="552765"/>
                </a:cubicBezTo>
                <a:lnTo>
                  <a:pt x="40831" y="552736"/>
                </a:lnTo>
                <a:lnTo>
                  <a:pt x="270589" y="221613"/>
                </a:lnTo>
                <a:lnTo>
                  <a:pt x="155589" y="221613"/>
                </a:lnTo>
                <a:lnTo>
                  <a:pt x="227160" y="0"/>
                </a:lnTo>
                <a:lnTo>
                  <a:pt x="56959" y="0"/>
                </a:lnTo>
                <a:lnTo>
                  <a:pt x="0" y="302789"/>
                </a:lnTo>
                <a:lnTo>
                  <a:pt x="115000" y="302789"/>
                </a:lnTo>
                <a:close/>
                <a:moveTo>
                  <a:pt x="16312" y="289260"/>
                </a:moveTo>
                <a:lnTo>
                  <a:pt x="68181" y="13529"/>
                </a:lnTo>
                <a:lnTo>
                  <a:pt x="208573" y="13529"/>
                </a:lnTo>
                <a:lnTo>
                  <a:pt x="142714" y="217455"/>
                </a:lnTo>
                <a:lnTo>
                  <a:pt x="137002" y="235142"/>
                </a:lnTo>
                <a:lnTo>
                  <a:pt x="244734" y="235142"/>
                </a:lnTo>
                <a:lnTo>
                  <a:pt x="77869" y="475623"/>
                </a:lnTo>
                <a:cubicBezTo>
                  <a:pt x="77734" y="475814"/>
                  <a:pt x="77683" y="475788"/>
                  <a:pt x="77749" y="475565"/>
                </a:cubicBezTo>
                <a:lnTo>
                  <a:pt x="127969" y="306645"/>
                </a:lnTo>
                <a:lnTo>
                  <a:pt x="133138" y="289260"/>
                </a:lnTo>
                <a:lnTo>
                  <a:pt x="16311" y="289260"/>
                </a:lnTo>
                <a:close/>
              </a:path>
            </a:pathLst>
          </a:custGeom>
          <a:solidFill>
            <a:schemeClr val="bg1"/>
          </a:solidFill>
          <a:ln w="6747" cap="flat">
            <a:solidFill>
              <a:schemeClr val="bg1"/>
            </a:solidFill>
            <a:prstDash val="solid"/>
            <a:miter/>
          </a:ln>
        </p:spPr>
        <p:txBody>
          <a:bodyPr rtlCol="0" anchor="ctr"/>
          <a:lstStyle/>
          <a:p>
            <a:endParaRPr lang="en-GB"/>
          </a:p>
        </p:txBody>
      </p:sp>
      <p:sp>
        <p:nvSpPr>
          <p:cNvPr id="24" name="Bild 26" descr="Socialt nätverk kontur">
            <a:extLst>
              <a:ext uri="{FF2B5EF4-FFF2-40B4-BE49-F238E27FC236}">
                <a16:creationId xmlns:a16="http://schemas.microsoft.com/office/drawing/2014/main" id="{FBFD27F1-6239-8930-4232-6BE88DD9D00E}"/>
              </a:ext>
            </a:extLst>
          </p:cNvPr>
          <p:cNvSpPr/>
          <p:nvPr/>
        </p:nvSpPr>
        <p:spPr>
          <a:xfrm>
            <a:off x="3318184" y="2347918"/>
            <a:ext cx="589749" cy="560223"/>
          </a:xfrm>
          <a:custGeom>
            <a:avLst/>
            <a:gdLst>
              <a:gd name="connsiteX0" fmla="*/ 521596 w 589749"/>
              <a:gd name="connsiteY0" fmla="*/ 286966 h 560223"/>
              <a:gd name="connsiteX1" fmla="*/ 589750 w 589749"/>
              <a:gd name="connsiteY1" fmla="*/ 219007 h 560223"/>
              <a:gd name="connsiteX2" fmla="*/ 521790 w 589749"/>
              <a:gd name="connsiteY2" fmla="*/ 150853 h 560223"/>
              <a:gd name="connsiteX3" fmla="*/ 453637 w 589749"/>
              <a:gd name="connsiteY3" fmla="*/ 218812 h 560223"/>
              <a:gd name="connsiteX4" fmla="*/ 456560 w 589749"/>
              <a:gd name="connsiteY4" fmla="*/ 238640 h 560223"/>
              <a:gd name="connsiteX5" fmla="*/ 379540 w 589749"/>
              <a:gd name="connsiteY5" fmla="*/ 271456 h 560223"/>
              <a:gd name="connsiteX6" fmla="*/ 302619 w 589749"/>
              <a:gd name="connsiteY6" fmla="*/ 219392 h 560223"/>
              <a:gd name="connsiteX7" fmla="*/ 302619 w 589749"/>
              <a:gd name="connsiteY7" fmla="*/ 135502 h 560223"/>
              <a:gd name="connsiteX8" fmla="*/ 362606 w 589749"/>
              <a:gd name="connsiteY8" fmla="*/ 60413 h 560223"/>
              <a:gd name="connsiteX9" fmla="*/ 287517 w 589749"/>
              <a:gd name="connsiteY9" fmla="*/ 427 h 560223"/>
              <a:gd name="connsiteX10" fmla="*/ 227530 w 589749"/>
              <a:gd name="connsiteY10" fmla="*/ 75515 h 560223"/>
              <a:gd name="connsiteX11" fmla="*/ 287517 w 589749"/>
              <a:gd name="connsiteY11" fmla="*/ 135502 h 560223"/>
              <a:gd name="connsiteX12" fmla="*/ 287517 w 589749"/>
              <a:gd name="connsiteY12" fmla="*/ 219392 h 560223"/>
              <a:gd name="connsiteX13" fmla="*/ 210633 w 589749"/>
              <a:gd name="connsiteY13" fmla="*/ 271456 h 560223"/>
              <a:gd name="connsiteX14" fmla="*/ 133576 w 589749"/>
              <a:gd name="connsiteY14" fmla="*/ 238640 h 560223"/>
              <a:gd name="connsiteX15" fmla="*/ 88229 w 589749"/>
              <a:gd name="connsiteY15" fmla="*/ 153407 h 560223"/>
              <a:gd name="connsiteX16" fmla="*/ 2996 w 589749"/>
              <a:gd name="connsiteY16" fmla="*/ 198754 h 560223"/>
              <a:gd name="connsiteX17" fmla="*/ 48344 w 589749"/>
              <a:gd name="connsiteY17" fmla="*/ 283987 h 560223"/>
              <a:gd name="connsiteX18" fmla="*/ 127596 w 589749"/>
              <a:gd name="connsiteY18" fmla="*/ 252503 h 560223"/>
              <a:gd name="connsiteX19" fmla="*/ 204910 w 589749"/>
              <a:gd name="connsiteY19" fmla="*/ 285456 h 560223"/>
              <a:gd name="connsiteX20" fmla="*/ 221522 w 589749"/>
              <a:gd name="connsiteY20" fmla="*/ 372480 h 560223"/>
              <a:gd name="connsiteX21" fmla="*/ 159415 w 589749"/>
              <a:gd name="connsiteY21" fmla="*/ 434586 h 560223"/>
              <a:gd name="connsiteX22" fmla="*/ 63697 w 589749"/>
              <a:gd name="connsiteY22" fmla="*/ 452430 h 560223"/>
              <a:gd name="connsiteX23" fmla="*/ 81540 w 589749"/>
              <a:gd name="connsiteY23" fmla="*/ 548149 h 560223"/>
              <a:gd name="connsiteX24" fmla="*/ 177259 w 589749"/>
              <a:gd name="connsiteY24" fmla="*/ 530305 h 560223"/>
              <a:gd name="connsiteX25" fmla="*/ 170885 w 589749"/>
              <a:gd name="connsiteY25" fmla="*/ 444470 h 560223"/>
              <a:gd name="connsiteX26" fmla="*/ 231942 w 589749"/>
              <a:gd name="connsiteY26" fmla="*/ 383414 h 560223"/>
              <a:gd name="connsiteX27" fmla="*/ 358133 w 589749"/>
              <a:gd name="connsiteY27" fmla="*/ 383414 h 560223"/>
              <a:gd name="connsiteX28" fmla="*/ 419190 w 589749"/>
              <a:gd name="connsiteY28" fmla="*/ 444470 h 560223"/>
              <a:gd name="connsiteX29" fmla="*/ 422874 w 589749"/>
              <a:gd name="connsiteY29" fmla="*/ 539438 h 560223"/>
              <a:gd name="connsiteX30" fmla="*/ 517842 w 589749"/>
              <a:gd name="connsiteY30" fmla="*/ 535755 h 560223"/>
              <a:gd name="connsiteX31" fmla="*/ 514158 w 589749"/>
              <a:gd name="connsiteY31" fmla="*/ 440786 h 560223"/>
              <a:gd name="connsiteX32" fmla="*/ 430660 w 589749"/>
              <a:gd name="connsiteY32" fmla="*/ 434586 h 560223"/>
              <a:gd name="connsiteX33" fmla="*/ 368553 w 589749"/>
              <a:gd name="connsiteY33" fmla="*/ 372480 h 560223"/>
              <a:gd name="connsiteX34" fmla="*/ 385226 w 589749"/>
              <a:gd name="connsiteY34" fmla="*/ 285456 h 560223"/>
              <a:gd name="connsiteX35" fmla="*/ 462540 w 589749"/>
              <a:gd name="connsiteY35" fmla="*/ 252526 h 560223"/>
              <a:gd name="connsiteX36" fmla="*/ 521596 w 589749"/>
              <a:gd name="connsiteY36" fmla="*/ 286966 h 560223"/>
              <a:gd name="connsiteX37" fmla="*/ 38525 w 589749"/>
              <a:gd name="connsiteY37" fmla="*/ 262463 h 560223"/>
              <a:gd name="connsiteX38" fmla="*/ 70190 w 589749"/>
              <a:gd name="connsiteY38" fmla="*/ 234098 h 560223"/>
              <a:gd name="connsiteX39" fmla="*/ 98555 w 589749"/>
              <a:gd name="connsiteY39" fmla="*/ 262463 h 560223"/>
              <a:gd name="connsiteX40" fmla="*/ 38525 w 589749"/>
              <a:gd name="connsiteY40" fmla="*/ 262463 h 560223"/>
              <a:gd name="connsiteX41" fmla="*/ 57214 w 589749"/>
              <a:gd name="connsiteY41" fmla="*/ 207681 h 560223"/>
              <a:gd name="connsiteX42" fmla="*/ 68540 w 589749"/>
              <a:gd name="connsiteY42" fmla="*/ 196355 h 560223"/>
              <a:gd name="connsiteX43" fmla="*/ 79866 w 589749"/>
              <a:gd name="connsiteY43" fmla="*/ 207681 h 560223"/>
              <a:gd name="connsiteX44" fmla="*/ 68540 w 589749"/>
              <a:gd name="connsiteY44" fmla="*/ 219007 h 560223"/>
              <a:gd name="connsiteX45" fmla="*/ 57214 w 589749"/>
              <a:gd name="connsiteY45" fmla="*/ 207681 h 560223"/>
              <a:gd name="connsiteX46" fmla="*/ 111414 w 589749"/>
              <a:gd name="connsiteY46" fmla="*/ 249800 h 560223"/>
              <a:gd name="connsiteX47" fmla="*/ 89154 w 589749"/>
              <a:gd name="connsiteY47" fmla="*/ 224014 h 560223"/>
              <a:gd name="connsiteX48" fmla="*/ 94968 w 589749"/>
              <a:gd name="connsiteY48" fmla="*/ 207681 h 560223"/>
              <a:gd name="connsiteX49" fmla="*/ 68540 w 589749"/>
              <a:gd name="connsiteY49" fmla="*/ 181253 h 560223"/>
              <a:gd name="connsiteX50" fmla="*/ 42112 w 589749"/>
              <a:gd name="connsiteY50" fmla="*/ 207681 h 560223"/>
              <a:gd name="connsiteX51" fmla="*/ 47926 w 589749"/>
              <a:gd name="connsiteY51" fmla="*/ 224014 h 560223"/>
              <a:gd name="connsiteX52" fmla="*/ 25666 w 589749"/>
              <a:gd name="connsiteY52" fmla="*/ 249800 h 560223"/>
              <a:gd name="connsiteX53" fmla="*/ 37627 w 589749"/>
              <a:gd name="connsiteY53" fmla="*/ 176013 h 560223"/>
              <a:gd name="connsiteX54" fmla="*/ 111414 w 589749"/>
              <a:gd name="connsiteY54" fmla="*/ 187974 h 560223"/>
              <a:gd name="connsiteX55" fmla="*/ 111414 w 589749"/>
              <a:gd name="connsiteY55" fmla="*/ 249800 h 560223"/>
              <a:gd name="connsiteX56" fmla="*/ 283741 w 589749"/>
              <a:gd name="connsiteY56" fmla="*/ 56662 h 560223"/>
              <a:gd name="connsiteX57" fmla="*/ 295068 w 589749"/>
              <a:gd name="connsiteY57" fmla="*/ 45336 h 560223"/>
              <a:gd name="connsiteX58" fmla="*/ 306394 w 589749"/>
              <a:gd name="connsiteY58" fmla="*/ 56662 h 560223"/>
              <a:gd name="connsiteX59" fmla="*/ 295068 w 589749"/>
              <a:gd name="connsiteY59" fmla="*/ 67989 h 560223"/>
              <a:gd name="connsiteX60" fmla="*/ 283741 w 589749"/>
              <a:gd name="connsiteY60" fmla="*/ 56662 h 560223"/>
              <a:gd name="connsiteX61" fmla="*/ 295068 w 589749"/>
              <a:gd name="connsiteY61" fmla="*/ 83091 h 560223"/>
              <a:gd name="connsiteX62" fmla="*/ 325083 w 589749"/>
              <a:gd name="connsiteY62" fmla="*/ 111444 h 560223"/>
              <a:gd name="connsiteX63" fmla="*/ 265053 w 589749"/>
              <a:gd name="connsiteY63" fmla="*/ 111444 h 560223"/>
              <a:gd name="connsiteX64" fmla="*/ 295068 w 589749"/>
              <a:gd name="connsiteY64" fmla="*/ 83091 h 560223"/>
              <a:gd name="connsiteX65" fmla="*/ 242211 w 589749"/>
              <a:gd name="connsiteY65" fmla="*/ 67989 h 560223"/>
              <a:gd name="connsiteX66" fmla="*/ 294948 w 589749"/>
              <a:gd name="connsiteY66" fmla="*/ 15012 h 560223"/>
              <a:gd name="connsiteX67" fmla="*/ 347924 w 589749"/>
              <a:gd name="connsiteY67" fmla="*/ 67749 h 560223"/>
              <a:gd name="connsiteX68" fmla="*/ 337942 w 589749"/>
              <a:gd name="connsiteY68" fmla="*/ 98781 h 560223"/>
              <a:gd name="connsiteX69" fmla="*/ 315682 w 589749"/>
              <a:gd name="connsiteY69" fmla="*/ 72995 h 560223"/>
              <a:gd name="connsiteX70" fmla="*/ 321496 w 589749"/>
              <a:gd name="connsiteY70" fmla="*/ 56662 h 560223"/>
              <a:gd name="connsiteX71" fmla="*/ 295068 w 589749"/>
              <a:gd name="connsiteY71" fmla="*/ 30234 h 560223"/>
              <a:gd name="connsiteX72" fmla="*/ 268640 w 589749"/>
              <a:gd name="connsiteY72" fmla="*/ 56662 h 560223"/>
              <a:gd name="connsiteX73" fmla="*/ 274454 w 589749"/>
              <a:gd name="connsiteY73" fmla="*/ 72995 h 560223"/>
              <a:gd name="connsiteX74" fmla="*/ 252194 w 589749"/>
              <a:gd name="connsiteY74" fmla="*/ 98781 h 560223"/>
              <a:gd name="connsiteX75" fmla="*/ 242211 w 589749"/>
              <a:gd name="connsiteY75" fmla="*/ 67989 h 560223"/>
              <a:gd name="connsiteX76" fmla="*/ 91382 w 589749"/>
              <a:gd name="connsiteY76" fmla="*/ 534296 h 560223"/>
              <a:gd name="connsiteX77" fmla="*/ 123046 w 589749"/>
              <a:gd name="connsiteY77" fmla="*/ 505931 h 560223"/>
              <a:gd name="connsiteX78" fmla="*/ 151411 w 589749"/>
              <a:gd name="connsiteY78" fmla="*/ 534296 h 560223"/>
              <a:gd name="connsiteX79" fmla="*/ 91382 w 589749"/>
              <a:gd name="connsiteY79" fmla="*/ 534296 h 560223"/>
              <a:gd name="connsiteX80" fmla="*/ 110070 w 589749"/>
              <a:gd name="connsiteY80" fmla="*/ 479514 h 560223"/>
              <a:gd name="connsiteX81" fmla="*/ 121397 w 589749"/>
              <a:gd name="connsiteY81" fmla="*/ 468188 h 560223"/>
              <a:gd name="connsiteX82" fmla="*/ 132723 w 589749"/>
              <a:gd name="connsiteY82" fmla="*/ 479514 h 560223"/>
              <a:gd name="connsiteX83" fmla="*/ 121397 w 589749"/>
              <a:gd name="connsiteY83" fmla="*/ 490841 h 560223"/>
              <a:gd name="connsiteX84" fmla="*/ 110070 w 589749"/>
              <a:gd name="connsiteY84" fmla="*/ 479514 h 560223"/>
              <a:gd name="connsiteX85" fmla="*/ 164271 w 589749"/>
              <a:gd name="connsiteY85" fmla="*/ 521633 h 560223"/>
              <a:gd name="connsiteX86" fmla="*/ 142011 w 589749"/>
              <a:gd name="connsiteY86" fmla="*/ 495847 h 560223"/>
              <a:gd name="connsiteX87" fmla="*/ 147825 w 589749"/>
              <a:gd name="connsiteY87" fmla="*/ 479514 h 560223"/>
              <a:gd name="connsiteX88" fmla="*/ 121397 w 589749"/>
              <a:gd name="connsiteY88" fmla="*/ 453086 h 560223"/>
              <a:gd name="connsiteX89" fmla="*/ 94968 w 589749"/>
              <a:gd name="connsiteY89" fmla="*/ 479514 h 560223"/>
              <a:gd name="connsiteX90" fmla="*/ 100782 w 589749"/>
              <a:gd name="connsiteY90" fmla="*/ 495847 h 560223"/>
              <a:gd name="connsiteX91" fmla="*/ 78522 w 589749"/>
              <a:gd name="connsiteY91" fmla="*/ 521633 h 560223"/>
              <a:gd name="connsiteX92" fmla="*/ 90484 w 589749"/>
              <a:gd name="connsiteY92" fmla="*/ 447847 h 560223"/>
              <a:gd name="connsiteX93" fmla="*/ 164271 w 589749"/>
              <a:gd name="connsiteY93" fmla="*/ 459807 h 560223"/>
              <a:gd name="connsiteX94" fmla="*/ 164271 w 589749"/>
              <a:gd name="connsiteY94" fmla="*/ 521633 h 560223"/>
              <a:gd name="connsiteX95" fmla="*/ 249407 w 589749"/>
              <a:gd name="connsiteY95" fmla="*/ 378098 h 560223"/>
              <a:gd name="connsiteX96" fmla="*/ 299388 w 589749"/>
              <a:gd name="connsiteY96" fmla="*/ 336757 h 560223"/>
              <a:gd name="connsiteX97" fmla="*/ 340728 w 589749"/>
              <a:gd name="connsiteY97" fmla="*/ 378098 h 560223"/>
              <a:gd name="connsiteX98" fmla="*/ 249407 w 589749"/>
              <a:gd name="connsiteY98" fmla="*/ 378098 h 560223"/>
              <a:gd name="connsiteX99" fmla="*/ 274069 w 589749"/>
              <a:gd name="connsiteY99" fmla="*/ 300414 h 560223"/>
              <a:gd name="connsiteX100" fmla="*/ 295075 w 589749"/>
              <a:gd name="connsiteY100" fmla="*/ 279422 h 560223"/>
              <a:gd name="connsiteX101" fmla="*/ 316067 w 589749"/>
              <a:gd name="connsiteY101" fmla="*/ 300429 h 560223"/>
              <a:gd name="connsiteX102" fmla="*/ 295068 w 589749"/>
              <a:gd name="connsiteY102" fmla="*/ 321421 h 560223"/>
              <a:gd name="connsiteX103" fmla="*/ 274069 w 589749"/>
              <a:gd name="connsiteY103" fmla="*/ 300414 h 560223"/>
              <a:gd name="connsiteX104" fmla="*/ 438724 w 589749"/>
              <a:gd name="connsiteY104" fmla="*/ 534296 h 560223"/>
              <a:gd name="connsiteX105" fmla="*/ 470389 w 589749"/>
              <a:gd name="connsiteY105" fmla="*/ 505931 h 560223"/>
              <a:gd name="connsiteX106" fmla="*/ 498754 w 589749"/>
              <a:gd name="connsiteY106" fmla="*/ 534296 h 560223"/>
              <a:gd name="connsiteX107" fmla="*/ 438724 w 589749"/>
              <a:gd name="connsiteY107" fmla="*/ 534296 h 560223"/>
              <a:gd name="connsiteX108" fmla="*/ 457413 w 589749"/>
              <a:gd name="connsiteY108" fmla="*/ 479514 h 560223"/>
              <a:gd name="connsiteX109" fmla="*/ 468739 w 589749"/>
              <a:gd name="connsiteY109" fmla="*/ 468188 h 560223"/>
              <a:gd name="connsiteX110" fmla="*/ 480066 w 589749"/>
              <a:gd name="connsiteY110" fmla="*/ 479514 h 560223"/>
              <a:gd name="connsiteX111" fmla="*/ 468739 w 589749"/>
              <a:gd name="connsiteY111" fmla="*/ 490841 h 560223"/>
              <a:gd name="connsiteX112" fmla="*/ 457413 w 589749"/>
              <a:gd name="connsiteY112" fmla="*/ 479514 h 560223"/>
              <a:gd name="connsiteX113" fmla="*/ 521596 w 589749"/>
              <a:gd name="connsiteY113" fmla="*/ 490841 h 560223"/>
              <a:gd name="connsiteX114" fmla="*/ 511613 w 589749"/>
              <a:gd name="connsiteY114" fmla="*/ 521633 h 560223"/>
              <a:gd name="connsiteX115" fmla="*/ 489353 w 589749"/>
              <a:gd name="connsiteY115" fmla="*/ 495847 h 560223"/>
              <a:gd name="connsiteX116" fmla="*/ 495167 w 589749"/>
              <a:gd name="connsiteY116" fmla="*/ 479514 h 560223"/>
              <a:gd name="connsiteX117" fmla="*/ 468739 w 589749"/>
              <a:gd name="connsiteY117" fmla="*/ 453086 h 560223"/>
              <a:gd name="connsiteX118" fmla="*/ 442311 w 589749"/>
              <a:gd name="connsiteY118" fmla="*/ 479514 h 560223"/>
              <a:gd name="connsiteX119" fmla="*/ 448125 w 589749"/>
              <a:gd name="connsiteY119" fmla="*/ 495847 h 560223"/>
              <a:gd name="connsiteX120" fmla="*/ 425865 w 589749"/>
              <a:gd name="connsiteY120" fmla="*/ 521633 h 560223"/>
              <a:gd name="connsiteX121" fmla="*/ 437826 w 589749"/>
              <a:gd name="connsiteY121" fmla="*/ 447847 h 560223"/>
              <a:gd name="connsiteX122" fmla="*/ 511613 w 589749"/>
              <a:gd name="connsiteY122" fmla="*/ 459808 h 560223"/>
              <a:gd name="connsiteX123" fmla="*/ 521596 w 589749"/>
              <a:gd name="connsiteY123" fmla="*/ 490841 h 560223"/>
              <a:gd name="connsiteX124" fmla="*/ 353852 w 589749"/>
              <a:gd name="connsiteY124" fmla="*/ 366409 h 560223"/>
              <a:gd name="connsiteX125" fmla="*/ 319699 w 589749"/>
              <a:gd name="connsiteY125" fmla="*/ 326661 h 560223"/>
              <a:gd name="connsiteX126" fmla="*/ 321461 w 589749"/>
              <a:gd name="connsiteY126" fmla="*/ 275637 h 560223"/>
              <a:gd name="connsiteX127" fmla="*/ 270437 w 589749"/>
              <a:gd name="connsiteY127" fmla="*/ 273875 h 560223"/>
              <a:gd name="connsiteX128" fmla="*/ 268675 w 589749"/>
              <a:gd name="connsiteY128" fmla="*/ 324899 h 560223"/>
              <a:gd name="connsiteX129" fmla="*/ 270437 w 589749"/>
              <a:gd name="connsiteY129" fmla="*/ 326661 h 560223"/>
              <a:gd name="connsiteX130" fmla="*/ 236284 w 589749"/>
              <a:gd name="connsiteY130" fmla="*/ 366409 h 560223"/>
              <a:gd name="connsiteX131" fmla="*/ 241866 w 589749"/>
              <a:gd name="connsiteY131" fmla="*/ 254423 h 560223"/>
              <a:gd name="connsiteX132" fmla="*/ 353852 w 589749"/>
              <a:gd name="connsiteY132" fmla="*/ 260004 h 560223"/>
              <a:gd name="connsiteX133" fmla="*/ 353852 w 589749"/>
              <a:gd name="connsiteY133" fmla="*/ 366409 h 560223"/>
              <a:gd name="connsiteX134" fmla="*/ 491581 w 589749"/>
              <a:gd name="connsiteY134" fmla="*/ 262463 h 560223"/>
              <a:gd name="connsiteX135" fmla="*/ 523246 w 589749"/>
              <a:gd name="connsiteY135" fmla="*/ 234098 h 560223"/>
              <a:gd name="connsiteX136" fmla="*/ 551611 w 589749"/>
              <a:gd name="connsiteY136" fmla="*/ 262463 h 560223"/>
              <a:gd name="connsiteX137" fmla="*/ 491581 w 589749"/>
              <a:gd name="connsiteY137" fmla="*/ 262463 h 560223"/>
              <a:gd name="connsiteX138" fmla="*/ 510269 w 589749"/>
              <a:gd name="connsiteY138" fmla="*/ 207681 h 560223"/>
              <a:gd name="connsiteX139" fmla="*/ 521596 w 589749"/>
              <a:gd name="connsiteY139" fmla="*/ 196355 h 560223"/>
              <a:gd name="connsiteX140" fmla="*/ 532922 w 589749"/>
              <a:gd name="connsiteY140" fmla="*/ 207681 h 560223"/>
              <a:gd name="connsiteX141" fmla="*/ 521596 w 589749"/>
              <a:gd name="connsiteY141" fmla="*/ 219007 h 560223"/>
              <a:gd name="connsiteX142" fmla="*/ 510269 w 589749"/>
              <a:gd name="connsiteY142" fmla="*/ 207681 h 560223"/>
              <a:gd name="connsiteX143" fmla="*/ 521596 w 589749"/>
              <a:gd name="connsiteY143" fmla="*/ 166151 h 560223"/>
              <a:gd name="connsiteX144" fmla="*/ 574452 w 589749"/>
              <a:gd name="connsiteY144" fmla="*/ 218826 h 560223"/>
              <a:gd name="connsiteX145" fmla="*/ 564470 w 589749"/>
              <a:gd name="connsiteY145" fmla="*/ 249800 h 560223"/>
              <a:gd name="connsiteX146" fmla="*/ 542210 w 589749"/>
              <a:gd name="connsiteY146" fmla="*/ 224014 h 560223"/>
              <a:gd name="connsiteX147" fmla="*/ 548024 w 589749"/>
              <a:gd name="connsiteY147" fmla="*/ 207681 h 560223"/>
              <a:gd name="connsiteX148" fmla="*/ 521596 w 589749"/>
              <a:gd name="connsiteY148" fmla="*/ 181253 h 560223"/>
              <a:gd name="connsiteX149" fmla="*/ 495167 w 589749"/>
              <a:gd name="connsiteY149" fmla="*/ 207681 h 560223"/>
              <a:gd name="connsiteX150" fmla="*/ 500982 w 589749"/>
              <a:gd name="connsiteY150" fmla="*/ 224014 h 560223"/>
              <a:gd name="connsiteX151" fmla="*/ 478721 w 589749"/>
              <a:gd name="connsiteY151" fmla="*/ 249800 h 560223"/>
              <a:gd name="connsiteX152" fmla="*/ 490622 w 589749"/>
              <a:gd name="connsiteY152" fmla="*/ 176133 h 560223"/>
              <a:gd name="connsiteX153" fmla="*/ 521596 w 589749"/>
              <a:gd name="connsiteY153" fmla="*/ 166151 h 560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589749" h="560223">
                <a:moveTo>
                  <a:pt x="521596" y="286966"/>
                </a:moveTo>
                <a:cubicBezTo>
                  <a:pt x="559182" y="287019"/>
                  <a:pt x="589696" y="256594"/>
                  <a:pt x="589750" y="219007"/>
                </a:cubicBezTo>
                <a:cubicBezTo>
                  <a:pt x="589803" y="181420"/>
                  <a:pt x="559377" y="150907"/>
                  <a:pt x="521790" y="150853"/>
                </a:cubicBezTo>
                <a:cubicBezTo>
                  <a:pt x="484204" y="150799"/>
                  <a:pt x="453691" y="181226"/>
                  <a:pt x="453637" y="218812"/>
                </a:cubicBezTo>
                <a:cubicBezTo>
                  <a:pt x="453627" y="225529"/>
                  <a:pt x="454612" y="232211"/>
                  <a:pt x="456560" y="238640"/>
                </a:cubicBezTo>
                <a:lnTo>
                  <a:pt x="379540" y="271456"/>
                </a:lnTo>
                <a:cubicBezTo>
                  <a:pt x="364798" y="241818"/>
                  <a:pt x="335613" y="222065"/>
                  <a:pt x="302619" y="219392"/>
                </a:cubicBezTo>
                <a:lnTo>
                  <a:pt x="302619" y="135502"/>
                </a:lnTo>
                <a:cubicBezTo>
                  <a:pt x="339919" y="131331"/>
                  <a:pt x="366776" y="97713"/>
                  <a:pt x="362606" y="60413"/>
                </a:cubicBezTo>
                <a:cubicBezTo>
                  <a:pt x="358435" y="23113"/>
                  <a:pt x="324817" y="-3743"/>
                  <a:pt x="287517" y="427"/>
                </a:cubicBezTo>
                <a:cubicBezTo>
                  <a:pt x="250217" y="4597"/>
                  <a:pt x="223360" y="38215"/>
                  <a:pt x="227530" y="75515"/>
                </a:cubicBezTo>
                <a:cubicBezTo>
                  <a:pt x="231058" y="107069"/>
                  <a:pt x="255964" y="131974"/>
                  <a:pt x="287517" y="135502"/>
                </a:cubicBezTo>
                <a:lnTo>
                  <a:pt x="287517" y="219392"/>
                </a:lnTo>
                <a:cubicBezTo>
                  <a:pt x="254537" y="222077"/>
                  <a:pt x="225369" y="241829"/>
                  <a:pt x="210633" y="271456"/>
                </a:cubicBezTo>
                <a:lnTo>
                  <a:pt x="133576" y="238640"/>
                </a:lnTo>
                <a:cubicBezTo>
                  <a:pt x="144590" y="202581"/>
                  <a:pt x="124288" y="164421"/>
                  <a:pt x="88229" y="153407"/>
                </a:cubicBezTo>
                <a:cubicBezTo>
                  <a:pt x="52170" y="142393"/>
                  <a:pt x="14010" y="162696"/>
                  <a:pt x="2996" y="198754"/>
                </a:cubicBezTo>
                <a:cubicBezTo>
                  <a:pt x="-8018" y="234813"/>
                  <a:pt x="12285" y="272973"/>
                  <a:pt x="48344" y="283987"/>
                </a:cubicBezTo>
                <a:cubicBezTo>
                  <a:pt x="78873" y="293312"/>
                  <a:pt x="111788" y="280236"/>
                  <a:pt x="127596" y="252503"/>
                </a:cubicBezTo>
                <a:lnTo>
                  <a:pt x="204910" y="285456"/>
                </a:lnTo>
                <a:cubicBezTo>
                  <a:pt x="195605" y="315420"/>
                  <a:pt x="201834" y="348050"/>
                  <a:pt x="221522" y="372480"/>
                </a:cubicBezTo>
                <a:lnTo>
                  <a:pt x="159415" y="434586"/>
                </a:lnTo>
                <a:cubicBezTo>
                  <a:pt x="128056" y="413082"/>
                  <a:pt x="85201" y="421071"/>
                  <a:pt x="63697" y="452430"/>
                </a:cubicBezTo>
                <a:cubicBezTo>
                  <a:pt x="42192" y="483790"/>
                  <a:pt x="50181" y="526644"/>
                  <a:pt x="81540" y="548149"/>
                </a:cubicBezTo>
                <a:cubicBezTo>
                  <a:pt x="112900" y="569654"/>
                  <a:pt x="155755" y="561665"/>
                  <a:pt x="177259" y="530305"/>
                </a:cubicBezTo>
                <a:cubicBezTo>
                  <a:pt x="195485" y="503728"/>
                  <a:pt x="192836" y="468064"/>
                  <a:pt x="170885" y="444470"/>
                </a:cubicBezTo>
                <a:lnTo>
                  <a:pt x="231942" y="383414"/>
                </a:lnTo>
                <a:cubicBezTo>
                  <a:pt x="267720" y="415935"/>
                  <a:pt x="322355" y="415935"/>
                  <a:pt x="358133" y="383414"/>
                </a:cubicBezTo>
                <a:lnTo>
                  <a:pt x="419190" y="444470"/>
                </a:lnTo>
                <a:cubicBezTo>
                  <a:pt x="393983" y="471713"/>
                  <a:pt x="395632" y="514231"/>
                  <a:pt x="422874" y="539438"/>
                </a:cubicBezTo>
                <a:cubicBezTo>
                  <a:pt x="450116" y="564647"/>
                  <a:pt x="492635" y="562997"/>
                  <a:pt x="517842" y="535755"/>
                </a:cubicBezTo>
                <a:cubicBezTo>
                  <a:pt x="543049" y="508513"/>
                  <a:pt x="541400" y="465994"/>
                  <a:pt x="514158" y="440786"/>
                </a:cubicBezTo>
                <a:cubicBezTo>
                  <a:pt x="491171" y="419515"/>
                  <a:pt x="456537" y="416944"/>
                  <a:pt x="430660" y="434586"/>
                </a:cubicBezTo>
                <a:lnTo>
                  <a:pt x="368553" y="372480"/>
                </a:lnTo>
                <a:cubicBezTo>
                  <a:pt x="388263" y="348061"/>
                  <a:pt x="394514" y="315430"/>
                  <a:pt x="385226" y="285456"/>
                </a:cubicBezTo>
                <a:lnTo>
                  <a:pt x="462540" y="252526"/>
                </a:lnTo>
                <a:cubicBezTo>
                  <a:pt x="474598" y="273792"/>
                  <a:pt x="497149" y="286944"/>
                  <a:pt x="521596" y="286966"/>
                </a:cubicBezTo>
                <a:close/>
                <a:moveTo>
                  <a:pt x="38525" y="262463"/>
                </a:moveTo>
                <a:cubicBezTo>
                  <a:pt x="39436" y="245886"/>
                  <a:pt x="53613" y="233186"/>
                  <a:pt x="70190" y="234098"/>
                </a:cubicBezTo>
                <a:cubicBezTo>
                  <a:pt x="85493" y="234939"/>
                  <a:pt x="97714" y="247159"/>
                  <a:pt x="98555" y="262463"/>
                </a:cubicBezTo>
                <a:cubicBezTo>
                  <a:pt x="80508" y="274997"/>
                  <a:pt x="56572" y="274997"/>
                  <a:pt x="38525" y="262463"/>
                </a:cubicBezTo>
                <a:close/>
                <a:moveTo>
                  <a:pt x="57214" y="207681"/>
                </a:moveTo>
                <a:cubicBezTo>
                  <a:pt x="57214" y="201426"/>
                  <a:pt x="62285" y="196355"/>
                  <a:pt x="68540" y="196355"/>
                </a:cubicBezTo>
                <a:cubicBezTo>
                  <a:pt x="74795" y="196355"/>
                  <a:pt x="79866" y="201426"/>
                  <a:pt x="79866" y="207681"/>
                </a:cubicBezTo>
                <a:cubicBezTo>
                  <a:pt x="79866" y="213936"/>
                  <a:pt x="74795" y="219007"/>
                  <a:pt x="68540" y="219007"/>
                </a:cubicBezTo>
                <a:cubicBezTo>
                  <a:pt x="62285" y="219007"/>
                  <a:pt x="57214" y="213936"/>
                  <a:pt x="57214" y="207681"/>
                </a:cubicBezTo>
                <a:close/>
                <a:moveTo>
                  <a:pt x="111414" y="249800"/>
                </a:moveTo>
                <a:cubicBezTo>
                  <a:pt x="107612" y="238647"/>
                  <a:pt x="99632" y="229403"/>
                  <a:pt x="89154" y="224014"/>
                </a:cubicBezTo>
                <a:cubicBezTo>
                  <a:pt x="92891" y="219388"/>
                  <a:pt x="94941" y="213627"/>
                  <a:pt x="94968" y="207681"/>
                </a:cubicBezTo>
                <a:cubicBezTo>
                  <a:pt x="94968" y="193085"/>
                  <a:pt x="83136" y="181253"/>
                  <a:pt x="68540" y="181253"/>
                </a:cubicBezTo>
                <a:cubicBezTo>
                  <a:pt x="53944" y="181253"/>
                  <a:pt x="42112" y="193085"/>
                  <a:pt x="42112" y="207681"/>
                </a:cubicBezTo>
                <a:cubicBezTo>
                  <a:pt x="42139" y="213627"/>
                  <a:pt x="44189" y="219388"/>
                  <a:pt x="47926" y="224014"/>
                </a:cubicBezTo>
                <a:cubicBezTo>
                  <a:pt x="37448" y="229403"/>
                  <a:pt x="29468" y="238647"/>
                  <a:pt x="25666" y="249800"/>
                </a:cubicBezTo>
                <a:cubicBezTo>
                  <a:pt x="8593" y="226121"/>
                  <a:pt x="13948" y="193086"/>
                  <a:pt x="37627" y="176013"/>
                </a:cubicBezTo>
                <a:cubicBezTo>
                  <a:pt x="61305" y="158940"/>
                  <a:pt x="94342" y="164296"/>
                  <a:pt x="111414" y="187974"/>
                </a:cubicBezTo>
                <a:cubicBezTo>
                  <a:pt x="124724" y="206434"/>
                  <a:pt x="124724" y="231340"/>
                  <a:pt x="111414" y="249800"/>
                </a:cubicBezTo>
                <a:close/>
                <a:moveTo>
                  <a:pt x="283741" y="56662"/>
                </a:moveTo>
                <a:cubicBezTo>
                  <a:pt x="283741" y="50407"/>
                  <a:pt x="288813" y="45336"/>
                  <a:pt x="295068" y="45336"/>
                </a:cubicBezTo>
                <a:cubicBezTo>
                  <a:pt x="301323" y="45336"/>
                  <a:pt x="306394" y="50407"/>
                  <a:pt x="306394" y="56662"/>
                </a:cubicBezTo>
                <a:cubicBezTo>
                  <a:pt x="306394" y="62918"/>
                  <a:pt x="301323" y="67989"/>
                  <a:pt x="295068" y="67989"/>
                </a:cubicBezTo>
                <a:cubicBezTo>
                  <a:pt x="288813" y="67989"/>
                  <a:pt x="283741" y="62918"/>
                  <a:pt x="283741" y="56662"/>
                </a:cubicBezTo>
                <a:close/>
                <a:moveTo>
                  <a:pt x="295068" y="83091"/>
                </a:moveTo>
                <a:cubicBezTo>
                  <a:pt x="310990" y="83134"/>
                  <a:pt x="324134" y="95550"/>
                  <a:pt x="325083" y="111444"/>
                </a:cubicBezTo>
                <a:cubicBezTo>
                  <a:pt x="307036" y="123979"/>
                  <a:pt x="283100" y="123979"/>
                  <a:pt x="265053" y="111444"/>
                </a:cubicBezTo>
                <a:cubicBezTo>
                  <a:pt x="266002" y="95550"/>
                  <a:pt x="279146" y="83134"/>
                  <a:pt x="295068" y="83091"/>
                </a:cubicBezTo>
                <a:close/>
                <a:moveTo>
                  <a:pt x="242211" y="67989"/>
                </a:moveTo>
                <a:cubicBezTo>
                  <a:pt x="242145" y="38797"/>
                  <a:pt x="265756" y="15079"/>
                  <a:pt x="294948" y="15012"/>
                </a:cubicBezTo>
                <a:cubicBezTo>
                  <a:pt x="324140" y="14946"/>
                  <a:pt x="347858" y="38557"/>
                  <a:pt x="347924" y="67749"/>
                </a:cubicBezTo>
                <a:cubicBezTo>
                  <a:pt x="347949" y="78886"/>
                  <a:pt x="344455" y="89748"/>
                  <a:pt x="337942" y="98781"/>
                </a:cubicBezTo>
                <a:cubicBezTo>
                  <a:pt x="334139" y="87629"/>
                  <a:pt x="326160" y="78385"/>
                  <a:pt x="315682" y="72995"/>
                </a:cubicBezTo>
                <a:cubicBezTo>
                  <a:pt x="319419" y="68369"/>
                  <a:pt x="321469" y="62609"/>
                  <a:pt x="321496" y="56662"/>
                </a:cubicBezTo>
                <a:cubicBezTo>
                  <a:pt x="321496" y="42066"/>
                  <a:pt x="309664" y="30234"/>
                  <a:pt x="295068" y="30234"/>
                </a:cubicBezTo>
                <a:cubicBezTo>
                  <a:pt x="280472" y="30234"/>
                  <a:pt x="268640" y="42066"/>
                  <a:pt x="268640" y="56662"/>
                </a:cubicBezTo>
                <a:cubicBezTo>
                  <a:pt x="268666" y="62609"/>
                  <a:pt x="270717" y="68369"/>
                  <a:pt x="274454" y="72995"/>
                </a:cubicBezTo>
                <a:cubicBezTo>
                  <a:pt x="263975" y="78385"/>
                  <a:pt x="255996" y="87629"/>
                  <a:pt x="252194" y="98781"/>
                </a:cubicBezTo>
                <a:cubicBezTo>
                  <a:pt x="245707" y="89824"/>
                  <a:pt x="242214" y="79048"/>
                  <a:pt x="242211" y="67989"/>
                </a:cubicBezTo>
                <a:close/>
                <a:moveTo>
                  <a:pt x="91382" y="534296"/>
                </a:moveTo>
                <a:cubicBezTo>
                  <a:pt x="92293" y="517720"/>
                  <a:pt x="106470" y="505020"/>
                  <a:pt x="123046" y="505931"/>
                </a:cubicBezTo>
                <a:cubicBezTo>
                  <a:pt x="138350" y="506772"/>
                  <a:pt x="150570" y="518993"/>
                  <a:pt x="151411" y="534296"/>
                </a:cubicBezTo>
                <a:cubicBezTo>
                  <a:pt x="133365" y="546831"/>
                  <a:pt x="109428" y="546831"/>
                  <a:pt x="91382" y="534296"/>
                </a:cubicBezTo>
                <a:close/>
                <a:moveTo>
                  <a:pt x="110070" y="479514"/>
                </a:moveTo>
                <a:cubicBezTo>
                  <a:pt x="110070" y="473259"/>
                  <a:pt x="115141" y="468188"/>
                  <a:pt x="121397" y="468188"/>
                </a:cubicBezTo>
                <a:cubicBezTo>
                  <a:pt x="127652" y="468188"/>
                  <a:pt x="132723" y="473259"/>
                  <a:pt x="132723" y="479514"/>
                </a:cubicBezTo>
                <a:cubicBezTo>
                  <a:pt x="132723" y="485770"/>
                  <a:pt x="127652" y="490841"/>
                  <a:pt x="121397" y="490841"/>
                </a:cubicBezTo>
                <a:cubicBezTo>
                  <a:pt x="115141" y="490841"/>
                  <a:pt x="110070" y="485770"/>
                  <a:pt x="110070" y="479514"/>
                </a:cubicBezTo>
                <a:close/>
                <a:moveTo>
                  <a:pt x="164271" y="521633"/>
                </a:moveTo>
                <a:cubicBezTo>
                  <a:pt x="160468" y="510481"/>
                  <a:pt x="152489" y="501237"/>
                  <a:pt x="142011" y="495847"/>
                </a:cubicBezTo>
                <a:cubicBezTo>
                  <a:pt x="145747" y="491221"/>
                  <a:pt x="147798" y="485461"/>
                  <a:pt x="147825" y="479514"/>
                </a:cubicBezTo>
                <a:cubicBezTo>
                  <a:pt x="147825" y="464918"/>
                  <a:pt x="135992" y="453086"/>
                  <a:pt x="121397" y="453086"/>
                </a:cubicBezTo>
                <a:cubicBezTo>
                  <a:pt x="106801" y="453086"/>
                  <a:pt x="94968" y="464918"/>
                  <a:pt x="94968" y="479514"/>
                </a:cubicBezTo>
                <a:cubicBezTo>
                  <a:pt x="94995" y="485461"/>
                  <a:pt x="97046" y="491221"/>
                  <a:pt x="100782" y="495847"/>
                </a:cubicBezTo>
                <a:cubicBezTo>
                  <a:pt x="90304" y="501237"/>
                  <a:pt x="82325" y="510481"/>
                  <a:pt x="78522" y="521633"/>
                </a:cubicBezTo>
                <a:cubicBezTo>
                  <a:pt x="61450" y="497954"/>
                  <a:pt x="66805" y="464919"/>
                  <a:pt x="90484" y="447847"/>
                </a:cubicBezTo>
                <a:cubicBezTo>
                  <a:pt x="114162" y="430774"/>
                  <a:pt x="147198" y="436129"/>
                  <a:pt x="164271" y="459807"/>
                </a:cubicBezTo>
                <a:cubicBezTo>
                  <a:pt x="177581" y="478267"/>
                  <a:pt x="177581" y="503174"/>
                  <a:pt x="164271" y="521633"/>
                </a:cubicBezTo>
                <a:close/>
                <a:moveTo>
                  <a:pt x="249407" y="378098"/>
                </a:moveTo>
                <a:cubicBezTo>
                  <a:pt x="251793" y="352880"/>
                  <a:pt x="274170" y="334371"/>
                  <a:pt x="299388" y="336757"/>
                </a:cubicBezTo>
                <a:cubicBezTo>
                  <a:pt x="321304" y="338831"/>
                  <a:pt x="338655" y="356182"/>
                  <a:pt x="340728" y="378098"/>
                </a:cubicBezTo>
                <a:cubicBezTo>
                  <a:pt x="313392" y="397538"/>
                  <a:pt x="276744" y="397538"/>
                  <a:pt x="249407" y="378098"/>
                </a:cubicBezTo>
                <a:close/>
                <a:moveTo>
                  <a:pt x="274069" y="300414"/>
                </a:moveTo>
                <a:cubicBezTo>
                  <a:pt x="274073" y="288816"/>
                  <a:pt x="283478" y="279418"/>
                  <a:pt x="295075" y="279422"/>
                </a:cubicBezTo>
                <a:cubicBezTo>
                  <a:pt x="306673" y="279427"/>
                  <a:pt x="316072" y="288832"/>
                  <a:pt x="316067" y="300429"/>
                </a:cubicBezTo>
                <a:cubicBezTo>
                  <a:pt x="316062" y="312023"/>
                  <a:pt x="306662" y="321421"/>
                  <a:pt x="295068" y="321421"/>
                </a:cubicBezTo>
                <a:cubicBezTo>
                  <a:pt x="283473" y="321408"/>
                  <a:pt x="274077" y="312009"/>
                  <a:pt x="274069" y="300414"/>
                </a:cubicBezTo>
                <a:close/>
                <a:moveTo>
                  <a:pt x="438724" y="534296"/>
                </a:moveTo>
                <a:cubicBezTo>
                  <a:pt x="439636" y="517720"/>
                  <a:pt x="453812" y="505020"/>
                  <a:pt x="470389" y="505931"/>
                </a:cubicBezTo>
                <a:cubicBezTo>
                  <a:pt x="485693" y="506772"/>
                  <a:pt x="497913" y="518993"/>
                  <a:pt x="498754" y="534296"/>
                </a:cubicBezTo>
                <a:cubicBezTo>
                  <a:pt x="480707" y="546831"/>
                  <a:pt x="456771" y="546831"/>
                  <a:pt x="438724" y="534296"/>
                </a:cubicBezTo>
                <a:close/>
                <a:moveTo>
                  <a:pt x="457413" y="479514"/>
                </a:moveTo>
                <a:cubicBezTo>
                  <a:pt x="457413" y="473259"/>
                  <a:pt x="462484" y="468188"/>
                  <a:pt x="468739" y="468188"/>
                </a:cubicBezTo>
                <a:cubicBezTo>
                  <a:pt x="474994" y="468188"/>
                  <a:pt x="480066" y="473259"/>
                  <a:pt x="480066" y="479514"/>
                </a:cubicBezTo>
                <a:cubicBezTo>
                  <a:pt x="480066" y="485770"/>
                  <a:pt x="474994" y="490841"/>
                  <a:pt x="468739" y="490841"/>
                </a:cubicBezTo>
                <a:cubicBezTo>
                  <a:pt x="462484" y="490841"/>
                  <a:pt x="457413" y="485770"/>
                  <a:pt x="457413" y="479514"/>
                </a:cubicBezTo>
                <a:close/>
                <a:moveTo>
                  <a:pt x="521596" y="490841"/>
                </a:moveTo>
                <a:cubicBezTo>
                  <a:pt x="521593" y="501900"/>
                  <a:pt x="518100" y="512676"/>
                  <a:pt x="511613" y="521633"/>
                </a:cubicBezTo>
                <a:cubicBezTo>
                  <a:pt x="507811" y="510481"/>
                  <a:pt x="499832" y="501237"/>
                  <a:pt x="489353" y="495847"/>
                </a:cubicBezTo>
                <a:cubicBezTo>
                  <a:pt x="493090" y="491221"/>
                  <a:pt x="495141" y="485461"/>
                  <a:pt x="495167" y="479514"/>
                </a:cubicBezTo>
                <a:cubicBezTo>
                  <a:pt x="495167" y="464918"/>
                  <a:pt x="483335" y="453086"/>
                  <a:pt x="468739" y="453086"/>
                </a:cubicBezTo>
                <a:cubicBezTo>
                  <a:pt x="454143" y="453086"/>
                  <a:pt x="442311" y="464918"/>
                  <a:pt x="442311" y="479514"/>
                </a:cubicBezTo>
                <a:cubicBezTo>
                  <a:pt x="442338" y="485461"/>
                  <a:pt x="444388" y="491221"/>
                  <a:pt x="448125" y="495847"/>
                </a:cubicBezTo>
                <a:cubicBezTo>
                  <a:pt x="437647" y="501237"/>
                  <a:pt x="429668" y="510481"/>
                  <a:pt x="425865" y="521633"/>
                </a:cubicBezTo>
                <a:cubicBezTo>
                  <a:pt x="408792" y="497954"/>
                  <a:pt x="414147" y="464919"/>
                  <a:pt x="437826" y="447847"/>
                </a:cubicBezTo>
                <a:cubicBezTo>
                  <a:pt x="461505" y="430774"/>
                  <a:pt x="494541" y="436129"/>
                  <a:pt x="511613" y="459808"/>
                </a:cubicBezTo>
                <a:cubicBezTo>
                  <a:pt x="518128" y="468842"/>
                  <a:pt x="521621" y="479703"/>
                  <a:pt x="521596" y="490841"/>
                </a:cubicBezTo>
                <a:close/>
                <a:moveTo>
                  <a:pt x="353852" y="366409"/>
                </a:moveTo>
                <a:cubicBezTo>
                  <a:pt x="349008" y="348707"/>
                  <a:pt x="336470" y="334115"/>
                  <a:pt x="319699" y="326661"/>
                </a:cubicBezTo>
                <a:cubicBezTo>
                  <a:pt x="334275" y="313057"/>
                  <a:pt x="335064" y="290213"/>
                  <a:pt x="321461" y="275637"/>
                </a:cubicBezTo>
                <a:cubicBezTo>
                  <a:pt x="307858" y="261061"/>
                  <a:pt x="285013" y="260272"/>
                  <a:pt x="270437" y="273875"/>
                </a:cubicBezTo>
                <a:cubicBezTo>
                  <a:pt x="255860" y="287478"/>
                  <a:pt x="255071" y="310323"/>
                  <a:pt x="268675" y="324899"/>
                </a:cubicBezTo>
                <a:cubicBezTo>
                  <a:pt x="269241" y="325506"/>
                  <a:pt x="269830" y="326094"/>
                  <a:pt x="270437" y="326661"/>
                </a:cubicBezTo>
                <a:cubicBezTo>
                  <a:pt x="253665" y="334115"/>
                  <a:pt x="241128" y="348707"/>
                  <a:pt x="236284" y="366409"/>
                </a:cubicBezTo>
                <a:cubicBezTo>
                  <a:pt x="206901" y="333944"/>
                  <a:pt x="209400" y="283806"/>
                  <a:pt x="241866" y="254423"/>
                </a:cubicBezTo>
                <a:cubicBezTo>
                  <a:pt x="274331" y="225040"/>
                  <a:pt x="324469" y="227538"/>
                  <a:pt x="353852" y="260004"/>
                </a:cubicBezTo>
                <a:cubicBezTo>
                  <a:pt x="381186" y="290206"/>
                  <a:pt x="381186" y="336207"/>
                  <a:pt x="353852" y="366409"/>
                </a:cubicBezTo>
                <a:close/>
                <a:moveTo>
                  <a:pt x="491581" y="262463"/>
                </a:moveTo>
                <a:cubicBezTo>
                  <a:pt x="492492" y="245886"/>
                  <a:pt x="506669" y="233186"/>
                  <a:pt x="523246" y="234098"/>
                </a:cubicBezTo>
                <a:cubicBezTo>
                  <a:pt x="538549" y="234939"/>
                  <a:pt x="550769" y="247159"/>
                  <a:pt x="551611" y="262463"/>
                </a:cubicBezTo>
                <a:cubicBezTo>
                  <a:pt x="533564" y="274997"/>
                  <a:pt x="509627" y="274997"/>
                  <a:pt x="491581" y="262463"/>
                </a:cubicBezTo>
                <a:close/>
                <a:moveTo>
                  <a:pt x="510269" y="207681"/>
                </a:moveTo>
                <a:cubicBezTo>
                  <a:pt x="510269" y="201426"/>
                  <a:pt x="515340" y="196355"/>
                  <a:pt x="521596" y="196355"/>
                </a:cubicBezTo>
                <a:cubicBezTo>
                  <a:pt x="527851" y="196355"/>
                  <a:pt x="532922" y="201426"/>
                  <a:pt x="532922" y="207681"/>
                </a:cubicBezTo>
                <a:cubicBezTo>
                  <a:pt x="532922" y="213936"/>
                  <a:pt x="527851" y="219007"/>
                  <a:pt x="521596" y="219007"/>
                </a:cubicBezTo>
                <a:cubicBezTo>
                  <a:pt x="515340" y="219007"/>
                  <a:pt x="510269" y="213936"/>
                  <a:pt x="510269" y="207681"/>
                </a:cubicBezTo>
                <a:close/>
                <a:moveTo>
                  <a:pt x="521596" y="166151"/>
                </a:moveTo>
                <a:cubicBezTo>
                  <a:pt x="550738" y="166101"/>
                  <a:pt x="574402" y="189685"/>
                  <a:pt x="574452" y="218826"/>
                </a:cubicBezTo>
                <a:cubicBezTo>
                  <a:pt x="574471" y="229945"/>
                  <a:pt x="570977" y="240785"/>
                  <a:pt x="564470" y="249800"/>
                </a:cubicBezTo>
                <a:cubicBezTo>
                  <a:pt x="560667" y="238647"/>
                  <a:pt x="552688" y="229403"/>
                  <a:pt x="542210" y="224014"/>
                </a:cubicBezTo>
                <a:cubicBezTo>
                  <a:pt x="545947" y="219388"/>
                  <a:pt x="547997" y="213627"/>
                  <a:pt x="548024" y="207681"/>
                </a:cubicBezTo>
                <a:cubicBezTo>
                  <a:pt x="548024" y="193085"/>
                  <a:pt x="536192" y="181253"/>
                  <a:pt x="521596" y="181253"/>
                </a:cubicBezTo>
                <a:cubicBezTo>
                  <a:pt x="507000" y="181253"/>
                  <a:pt x="495167" y="193085"/>
                  <a:pt x="495167" y="207681"/>
                </a:cubicBezTo>
                <a:cubicBezTo>
                  <a:pt x="495195" y="213627"/>
                  <a:pt x="497245" y="219388"/>
                  <a:pt x="500982" y="224014"/>
                </a:cubicBezTo>
                <a:cubicBezTo>
                  <a:pt x="490503" y="229403"/>
                  <a:pt x="482524" y="238647"/>
                  <a:pt x="478721" y="249800"/>
                </a:cubicBezTo>
                <a:cubicBezTo>
                  <a:pt x="461665" y="226171"/>
                  <a:pt x="466993" y="193189"/>
                  <a:pt x="490622" y="176133"/>
                </a:cubicBezTo>
                <a:cubicBezTo>
                  <a:pt x="499637" y="169625"/>
                  <a:pt x="510477" y="166132"/>
                  <a:pt x="521596" y="166151"/>
                </a:cubicBezTo>
                <a:close/>
              </a:path>
            </a:pathLst>
          </a:custGeom>
          <a:solidFill>
            <a:schemeClr val="lt1"/>
          </a:solidFill>
          <a:ln w="10054" cap="flat">
            <a:solidFill>
              <a:schemeClr val="accent5"/>
            </a:solidFill>
            <a:prstDash val="solid"/>
            <a:miter/>
          </a:ln>
        </p:spPr>
        <p:txBody>
          <a:bodyPr rtlCol="0" anchor="ctr"/>
          <a:lstStyle/>
          <a:p>
            <a:endParaRPr lang="en-GB"/>
          </a:p>
        </p:txBody>
      </p:sp>
      <p:sp>
        <p:nvSpPr>
          <p:cNvPr id="144" name="Bild 128" descr="Hjärta kontur">
            <a:extLst>
              <a:ext uri="{FF2B5EF4-FFF2-40B4-BE49-F238E27FC236}">
                <a16:creationId xmlns:a16="http://schemas.microsoft.com/office/drawing/2014/main" id="{60805634-3D74-5216-CE7E-0E4E01A86621}"/>
              </a:ext>
            </a:extLst>
          </p:cNvPr>
          <p:cNvSpPr/>
          <p:nvPr/>
        </p:nvSpPr>
        <p:spPr>
          <a:xfrm>
            <a:off x="13488034" y="2442319"/>
            <a:ext cx="486370" cy="460835"/>
          </a:xfrm>
          <a:custGeom>
            <a:avLst/>
            <a:gdLst>
              <a:gd name="connsiteX0" fmla="*/ 364778 w 486370"/>
              <a:gd name="connsiteY0" fmla="*/ 0 h 460835"/>
              <a:gd name="connsiteX1" fmla="*/ 243185 w 486370"/>
              <a:gd name="connsiteY1" fmla="*/ 96058 h 460835"/>
              <a:gd name="connsiteX2" fmla="*/ 121593 w 486370"/>
              <a:gd name="connsiteY2" fmla="*/ 0 h 460835"/>
              <a:gd name="connsiteX3" fmla="*/ 0 w 486370"/>
              <a:gd name="connsiteY3" fmla="*/ 124668 h 460835"/>
              <a:gd name="connsiteX4" fmla="*/ 243185 w 486370"/>
              <a:gd name="connsiteY4" fmla="*/ 460836 h 460835"/>
              <a:gd name="connsiteX5" fmla="*/ 486370 w 486370"/>
              <a:gd name="connsiteY5" fmla="*/ 124668 h 460835"/>
              <a:gd name="connsiteX6" fmla="*/ 364778 w 486370"/>
              <a:gd name="connsiteY6" fmla="*/ 0 h 460835"/>
              <a:gd name="connsiteX7" fmla="*/ 243185 w 486370"/>
              <a:gd name="connsiteY7" fmla="*/ 442575 h 460835"/>
              <a:gd name="connsiteX8" fmla="*/ 14305 w 486370"/>
              <a:gd name="connsiteY8" fmla="*/ 124668 h 460835"/>
              <a:gd name="connsiteX9" fmla="*/ 46892 w 486370"/>
              <a:gd name="connsiteY9" fmla="*/ 49295 h 460835"/>
              <a:gd name="connsiteX10" fmla="*/ 121593 w 486370"/>
              <a:gd name="connsiteY10" fmla="*/ 14305 h 460835"/>
              <a:gd name="connsiteX11" fmla="*/ 230411 w 486370"/>
              <a:gd name="connsiteY11" fmla="*/ 102495 h 460835"/>
              <a:gd name="connsiteX12" fmla="*/ 243185 w 486370"/>
              <a:gd name="connsiteY12" fmla="*/ 127844 h 460835"/>
              <a:gd name="connsiteX13" fmla="*/ 255959 w 486370"/>
              <a:gd name="connsiteY13" fmla="*/ 102495 h 460835"/>
              <a:gd name="connsiteX14" fmla="*/ 364778 w 486370"/>
              <a:gd name="connsiteY14" fmla="*/ 14305 h 460835"/>
              <a:gd name="connsiteX15" fmla="*/ 472065 w 486370"/>
              <a:gd name="connsiteY15" fmla="*/ 124668 h 460835"/>
              <a:gd name="connsiteX16" fmla="*/ 243185 w 486370"/>
              <a:gd name="connsiteY16" fmla="*/ 442575 h 460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86370" h="460835">
                <a:moveTo>
                  <a:pt x="364778" y="0"/>
                </a:moveTo>
                <a:cubicBezTo>
                  <a:pt x="323221" y="0"/>
                  <a:pt x="278404" y="26178"/>
                  <a:pt x="243185" y="96058"/>
                </a:cubicBezTo>
                <a:cubicBezTo>
                  <a:pt x="207973" y="26192"/>
                  <a:pt x="163141" y="0"/>
                  <a:pt x="121593" y="0"/>
                </a:cubicBezTo>
                <a:cubicBezTo>
                  <a:pt x="56812" y="0"/>
                  <a:pt x="0" y="63657"/>
                  <a:pt x="0" y="124668"/>
                </a:cubicBezTo>
                <a:cubicBezTo>
                  <a:pt x="0" y="274871"/>
                  <a:pt x="243185" y="460836"/>
                  <a:pt x="243185" y="460836"/>
                </a:cubicBezTo>
                <a:cubicBezTo>
                  <a:pt x="243185" y="460836"/>
                  <a:pt x="486370" y="274871"/>
                  <a:pt x="486370" y="124668"/>
                </a:cubicBezTo>
                <a:cubicBezTo>
                  <a:pt x="486370" y="63664"/>
                  <a:pt x="429551" y="0"/>
                  <a:pt x="364778" y="0"/>
                </a:cubicBezTo>
                <a:close/>
                <a:moveTo>
                  <a:pt x="243185" y="442575"/>
                </a:moveTo>
                <a:cubicBezTo>
                  <a:pt x="200377" y="408000"/>
                  <a:pt x="14305" y="250430"/>
                  <a:pt x="14305" y="124668"/>
                </a:cubicBezTo>
                <a:cubicBezTo>
                  <a:pt x="15429" y="96368"/>
                  <a:pt x="27046" y="69501"/>
                  <a:pt x="46892" y="49295"/>
                </a:cubicBezTo>
                <a:cubicBezTo>
                  <a:pt x="65996" y="27956"/>
                  <a:pt x="92970" y="15321"/>
                  <a:pt x="121593" y="14305"/>
                </a:cubicBezTo>
                <a:cubicBezTo>
                  <a:pt x="163706" y="14305"/>
                  <a:pt x="201336" y="44803"/>
                  <a:pt x="230411" y="102495"/>
                </a:cubicBezTo>
                <a:lnTo>
                  <a:pt x="243185" y="127844"/>
                </a:lnTo>
                <a:lnTo>
                  <a:pt x="255959" y="102495"/>
                </a:lnTo>
                <a:cubicBezTo>
                  <a:pt x="285034" y="44803"/>
                  <a:pt x="322664" y="14305"/>
                  <a:pt x="364778" y="14305"/>
                </a:cubicBezTo>
                <a:cubicBezTo>
                  <a:pt x="418922" y="14305"/>
                  <a:pt x="472065" y="68972"/>
                  <a:pt x="472065" y="124668"/>
                </a:cubicBezTo>
                <a:cubicBezTo>
                  <a:pt x="472065" y="250430"/>
                  <a:pt x="285993" y="408000"/>
                  <a:pt x="243185" y="442575"/>
                </a:cubicBezTo>
                <a:close/>
              </a:path>
            </a:pathLst>
          </a:custGeom>
          <a:solidFill>
            <a:schemeClr val="lt1"/>
          </a:solidFill>
          <a:ln w="9525" cap="flat">
            <a:solidFill>
              <a:schemeClr val="accent5"/>
            </a:solidFill>
            <a:prstDash val="solid"/>
            <a:miter/>
          </a:ln>
        </p:spPr>
        <p:txBody>
          <a:bodyPr rtlCol="0" anchor="ctr"/>
          <a:lstStyle/>
          <a:p>
            <a:endParaRPr lang="en-GB"/>
          </a:p>
        </p:txBody>
      </p:sp>
      <p:sp>
        <p:nvSpPr>
          <p:cNvPr id="153" name="Bild 142" descr="Märke kontur">
            <a:extLst>
              <a:ext uri="{FF2B5EF4-FFF2-40B4-BE49-F238E27FC236}">
                <a16:creationId xmlns:a16="http://schemas.microsoft.com/office/drawing/2014/main" id="{ADF2A171-7FD3-F32A-AB7A-0B02282E73BB}"/>
              </a:ext>
            </a:extLst>
          </p:cNvPr>
          <p:cNvSpPr/>
          <p:nvPr/>
        </p:nvSpPr>
        <p:spPr>
          <a:xfrm>
            <a:off x="8087156" y="5941929"/>
            <a:ext cx="578685" cy="614286"/>
          </a:xfrm>
          <a:custGeom>
            <a:avLst/>
            <a:gdLst>
              <a:gd name="connsiteX0" fmla="*/ 569275 w 578685"/>
              <a:gd name="connsiteY0" fmla="*/ 370947 h 614286"/>
              <a:gd name="connsiteX1" fmla="*/ 335079 w 578685"/>
              <a:gd name="connsiteY1" fmla="*/ 136817 h 614286"/>
              <a:gd name="connsiteX2" fmla="*/ 311663 w 578685"/>
              <a:gd name="connsiteY2" fmla="*/ 126783 h 614286"/>
              <a:gd name="connsiteX3" fmla="*/ 157783 w 578685"/>
              <a:gd name="connsiteY3" fmla="*/ 126783 h 614286"/>
              <a:gd name="connsiteX4" fmla="*/ 151567 w 578685"/>
              <a:gd name="connsiteY4" fmla="*/ 127097 h 614286"/>
              <a:gd name="connsiteX5" fmla="*/ 109710 w 578685"/>
              <a:gd name="connsiteY5" fmla="*/ 92853 h 614286"/>
              <a:gd name="connsiteX6" fmla="*/ 53802 w 578685"/>
              <a:gd name="connsiteY6" fmla="*/ 81678 h 614286"/>
              <a:gd name="connsiteX7" fmla="*/ 20740 w 578685"/>
              <a:gd name="connsiteY7" fmla="*/ 45648 h 614286"/>
              <a:gd name="connsiteX8" fmla="*/ 16483 w 578685"/>
              <a:gd name="connsiteY8" fmla="*/ 7354 h 614286"/>
              <a:gd name="connsiteX9" fmla="*/ 7354 w 578685"/>
              <a:gd name="connsiteY9" fmla="*/ 51 h 614286"/>
              <a:gd name="connsiteX10" fmla="*/ 51 w 578685"/>
              <a:gd name="connsiteY10" fmla="*/ 9181 h 614286"/>
              <a:gd name="connsiteX11" fmla="*/ 4308 w 578685"/>
              <a:gd name="connsiteY11" fmla="*/ 47475 h 614286"/>
              <a:gd name="connsiteX12" fmla="*/ 50529 w 578685"/>
              <a:gd name="connsiteY12" fmla="*/ 97895 h 614286"/>
              <a:gd name="connsiteX13" fmla="*/ 106429 w 578685"/>
              <a:gd name="connsiteY13" fmla="*/ 109070 h 614286"/>
              <a:gd name="connsiteX14" fmla="*/ 135127 w 578685"/>
              <a:gd name="connsiteY14" fmla="*/ 130825 h 614286"/>
              <a:gd name="connsiteX15" fmla="*/ 90832 w 578685"/>
              <a:gd name="connsiteY15" fmla="*/ 193684 h 614286"/>
              <a:gd name="connsiteX16" fmla="*/ 90832 w 578685"/>
              <a:gd name="connsiteY16" fmla="*/ 346696 h 614286"/>
              <a:gd name="connsiteX17" fmla="*/ 100866 w 578685"/>
              <a:gd name="connsiteY17" fmla="*/ 370112 h 614286"/>
              <a:gd name="connsiteX18" fmla="*/ 335029 w 578685"/>
              <a:gd name="connsiteY18" fmla="*/ 604251 h 614286"/>
              <a:gd name="connsiteX19" fmla="*/ 382145 w 578685"/>
              <a:gd name="connsiteY19" fmla="*/ 604802 h 614286"/>
              <a:gd name="connsiteX20" fmla="*/ 382697 w 578685"/>
              <a:gd name="connsiteY20" fmla="*/ 604251 h 614286"/>
              <a:gd name="connsiteX21" fmla="*/ 569275 w 578685"/>
              <a:gd name="connsiteY21" fmla="*/ 417780 h 614286"/>
              <a:gd name="connsiteX22" fmla="*/ 569275 w 578685"/>
              <a:gd name="connsiteY22" fmla="*/ 370947 h 614286"/>
              <a:gd name="connsiteX23" fmla="*/ 557588 w 578685"/>
              <a:gd name="connsiteY23" fmla="*/ 406084 h 614286"/>
              <a:gd name="connsiteX24" fmla="*/ 371059 w 578685"/>
              <a:gd name="connsiteY24" fmla="*/ 592555 h 614286"/>
              <a:gd name="connsiteX25" fmla="*/ 347313 w 578685"/>
              <a:gd name="connsiteY25" fmla="*/ 593101 h 614286"/>
              <a:gd name="connsiteX26" fmla="*/ 346766 w 578685"/>
              <a:gd name="connsiteY26" fmla="*/ 592555 h 614286"/>
              <a:gd name="connsiteX27" fmla="*/ 112603 w 578685"/>
              <a:gd name="connsiteY27" fmla="*/ 358450 h 614286"/>
              <a:gd name="connsiteX28" fmla="*/ 112190 w 578685"/>
              <a:gd name="connsiteY28" fmla="*/ 358037 h 614286"/>
              <a:gd name="connsiteX29" fmla="*/ 111777 w 578685"/>
              <a:gd name="connsiteY29" fmla="*/ 357673 h 614286"/>
              <a:gd name="connsiteX30" fmla="*/ 107388 w 578685"/>
              <a:gd name="connsiteY30" fmla="*/ 346696 h 614286"/>
              <a:gd name="connsiteX31" fmla="*/ 107388 w 578685"/>
              <a:gd name="connsiteY31" fmla="*/ 193676 h 614286"/>
              <a:gd name="connsiteX32" fmla="*/ 139946 w 578685"/>
              <a:gd name="connsiteY32" fmla="*/ 146628 h 614286"/>
              <a:gd name="connsiteX33" fmla="*/ 144012 w 578685"/>
              <a:gd name="connsiteY33" fmla="*/ 166937 h 614286"/>
              <a:gd name="connsiteX34" fmla="*/ 136739 w 578685"/>
              <a:gd name="connsiteY34" fmla="*/ 172268 h 614286"/>
              <a:gd name="connsiteX35" fmla="*/ 136796 w 578685"/>
              <a:gd name="connsiteY35" fmla="*/ 219025 h 614286"/>
              <a:gd name="connsiteX36" fmla="*/ 183552 w 578685"/>
              <a:gd name="connsiteY36" fmla="*/ 218969 h 614286"/>
              <a:gd name="connsiteX37" fmla="*/ 183495 w 578685"/>
              <a:gd name="connsiteY37" fmla="*/ 172211 h 614286"/>
              <a:gd name="connsiteX38" fmla="*/ 160130 w 578685"/>
              <a:gd name="connsiteY38" fmla="*/ 162556 h 614286"/>
              <a:gd name="connsiteX39" fmla="*/ 160006 w 578685"/>
              <a:gd name="connsiteY39" fmla="*/ 162556 h 614286"/>
              <a:gd name="connsiteX40" fmla="*/ 156163 w 578685"/>
              <a:gd name="connsiteY40" fmla="*/ 143347 h 614286"/>
              <a:gd name="connsiteX41" fmla="*/ 157766 w 578685"/>
              <a:gd name="connsiteY41" fmla="*/ 143273 h 614286"/>
              <a:gd name="connsiteX42" fmla="*/ 311663 w 578685"/>
              <a:gd name="connsiteY42" fmla="*/ 143273 h 614286"/>
              <a:gd name="connsiteX43" fmla="*/ 323383 w 578685"/>
              <a:gd name="connsiteY43" fmla="*/ 148463 h 614286"/>
              <a:gd name="connsiteX44" fmla="*/ 557546 w 578685"/>
              <a:gd name="connsiteY44" fmla="*/ 382602 h 614286"/>
              <a:gd name="connsiteX45" fmla="*/ 557546 w 578685"/>
              <a:gd name="connsiteY45" fmla="*/ 406043 h 614286"/>
              <a:gd name="connsiteX46" fmla="*/ 163395 w 578685"/>
              <a:gd name="connsiteY46" fmla="*/ 179434 h 614286"/>
              <a:gd name="connsiteX47" fmla="*/ 176664 w 578685"/>
              <a:gd name="connsiteY47" fmla="*/ 198923 h 614286"/>
              <a:gd name="connsiteX48" fmla="*/ 157175 w 578685"/>
              <a:gd name="connsiteY48" fmla="*/ 212192 h 614286"/>
              <a:gd name="connsiteX49" fmla="*/ 143906 w 578685"/>
              <a:gd name="connsiteY49" fmla="*/ 192703 h 614286"/>
              <a:gd name="connsiteX50" fmla="*/ 147641 w 578685"/>
              <a:gd name="connsiteY50" fmla="*/ 184948 h 614286"/>
              <a:gd name="connsiteX51" fmla="*/ 148997 w 578685"/>
              <a:gd name="connsiteY51" fmla="*/ 191734 h 614286"/>
              <a:gd name="connsiteX52" fmla="*/ 157089 w 578685"/>
              <a:gd name="connsiteY52" fmla="*/ 198346 h 614286"/>
              <a:gd name="connsiteX53" fmla="*/ 158742 w 578685"/>
              <a:gd name="connsiteY53" fmla="*/ 198189 h 614286"/>
              <a:gd name="connsiteX54" fmla="*/ 165222 w 578685"/>
              <a:gd name="connsiteY54" fmla="*/ 188460 h 614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578685" h="614286">
                <a:moveTo>
                  <a:pt x="569275" y="370947"/>
                </a:moveTo>
                <a:lnTo>
                  <a:pt x="335079" y="136817"/>
                </a:lnTo>
                <a:cubicBezTo>
                  <a:pt x="328931" y="130473"/>
                  <a:pt x="320496" y="126859"/>
                  <a:pt x="311663" y="126783"/>
                </a:cubicBezTo>
                <a:lnTo>
                  <a:pt x="157783" y="126783"/>
                </a:lnTo>
                <a:cubicBezTo>
                  <a:pt x="155683" y="126783"/>
                  <a:pt x="153650" y="126907"/>
                  <a:pt x="151567" y="127097"/>
                </a:cubicBezTo>
                <a:cubicBezTo>
                  <a:pt x="144167" y="109439"/>
                  <a:pt x="128484" y="96609"/>
                  <a:pt x="109710" y="92853"/>
                </a:cubicBezTo>
                <a:lnTo>
                  <a:pt x="53802" y="81678"/>
                </a:lnTo>
                <a:cubicBezTo>
                  <a:pt x="36085" y="78195"/>
                  <a:pt x="22691" y="63599"/>
                  <a:pt x="20740" y="45648"/>
                </a:cubicBezTo>
                <a:lnTo>
                  <a:pt x="16483" y="7354"/>
                </a:lnTo>
                <a:cubicBezTo>
                  <a:pt x="15979" y="2816"/>
                  <a:pt x="11892" y="-453"/>
                  <a:pt x="7354" y="51"/>
                </a:cubicBezTo>
                <a:cubicBezTo>
                  <a:pt x="2816" y="556"/>
                  <a:pt x="-453" y="4643"/>
                  <a:pt x="51" y="9181"/>
                </a:cubicBezTo>
                <a:lnTo>
                  <a:pt x="4308" y="47475"/>
                </a:lnTo>
                <a:cubicBezTo>
                  <a:pt x="7030" y="72582"/>
                  <a:pt x="25753" y="93006"/>
                  <a:pt x="50529" y="97895"/>
                </a:cubicBezTo>
                <a:lnTo>
                  <a:pt x="106429" y="109070"/>
                </a:lnTo>
                <a:cubicBezTo>
                  <a:pt x="118823" y="111540"/>
                  <a:pt x="129400" y="119559"/>
                  <a:pt x="135127" y="130825"/>
                </a:cubicBezTo>
                <a:cubicBezTo>
                  <a:pt x="108629" y="140400"/>
                  <a:pt x="90935" y="165509"/>
                  <a:pt x="90832" y="193684"/>
                </a:cubicBezTo>
                <a:lnTo>
                  <a:pt x="90832" y="346696"/>
                </a:lnTo>
                <a:cubicBezTo>
                  <a:pt x="90584" y="355595"/>
                  <a:pt x="94252" y="364155"/>
                  <a:pt x="100866" y="370112"/>
                </a:cubicBezTo>
                <a:lnTo>
                  <a:pt x="335029" y="604251"/>
                </a:lnTo>
                <a:cubicBezTo>
                  <a:pt x="347888" y="617414"/>
                  <a:pt x="368983" y="617661"/>
                  <a:pt x="382145" y="604802"/>
                </a:cubicBezTo>
                <a:cubicBezTo>
                  <a:pt x="382331" y="604620"/>
                  <a:pt x="382515" y="604437"/>
                  <a:pt x="382697" y="604251"/>
                </a:cubicBezTo>
                <a:lnTo>
                  <a:pt x="569275" y="417780"/>
                </a:lnTo>
                <a:cubicBezTo>
                  <a:pt x="581822" y="404691"/>
                  <a:pt x="581822" y="384037"/>
                  <a:pt x="569275" y="370947"/>
                </a:cubicBezTo>
                <a:close/>
                <a:moveTo>
                  <a:pt x="557588" y="406084"/>
                </a:moveTo>
                <a:lnTo>
                  <a:pt x="371059" y="592555"/>
                </a:lnTo>
                <a:cubicBezTo>
                  <a:pt x="364652" y="599263"/>
                  <a:pt x="354021" y="599508"/>
                  <a:pt x="347313" y="593101"/>
                </a:cubicBezTo>
                <a:cubicBezTo>
                  <a:pt x="347126" y="592924"/>
                  <a:pt x="346944" y="592741"/>
                  <a:pt x="346766" y="592555"/>
                </a:cubicBezTo>
                <a:lnTo>
                  <a:pt x="112603" y="358450"/>
                </a:lnTo>
                <a:lnTo>
                  <a:pt x="112190" y="358037"/>
                </a:lnTo>
                <a:lnTo>
                  <a:pt x="111777" y="357673"/>
                </a:lnTo>
                <a:cubicBezTo>
                  <a:pt x="108795" y="354821"/>
                  <a:pt x="107194" y="350817"/>
                  <a:pt x="107388" y="346696"/>
                </a:cubicBezTo>
                <a:lnTo>
                  <a:pt x="107388" y="193676"/>
                </a:lnTo>
                <a:cubicBezTo>
                  <a:pt x="107468" y="172770"/>
                  <a:pt x="120408" y="154070"/>
                  <a:pt x="139946" y="146628"/>
                </a:cubicBezTo>
                <a:lnTo>
                  <a:pt x="144012" y="166937"/>
                </a:lnTo>
                <a:cubicBezTo>
                  <a:pt x="141353" y="168368"/>
                  <a:pt x="138904" y="170162"/>
                  <a:pt x="136739" y="172268"/>
                </a:cubicBezTo>
                <a:cubicBezTo>
                  <a:pt x="123843" y="185196"/>
                  <a:pt x="123868" y="206129"/>
                  <a:pt x="136796" y="219025"/>
                </a:cubicBezTo>
                <a:cubicBezTo>
                  <a:pt x="149722" y="231922"/>
                  <a:pt x="170656" y="231896"/>
                  <a:pt x="183552" y="218969"/>
                </a:cubicBezTo>
                <a:cubicBezTo>
                  <a:pt x="196448" y="206041"/>
                  <a:pt x="196423" y="185108"/>
                  <a:pt x="183495" y="172211"/>
                </a:cubicBezTo>
                <a:cubicBezTo>
                  <a:pt x="177294" y="166024"/>
                  <a:pt x="168890" y="162552"/>
                  <a:pt x="160130" y="162556"/>
                </a:cubicBezTo>
                <a:lnTo>
                  <a:pt x="160006" y="162556"/>
                </a:lnTo>
                <a:lnTo>
                  <a:pt x="156163" y="143347"/>
                </a:lnTo>
                <a:cubicBezTo>
                  <a:pt x="156700" y="143347"/>
                  <a:pt x="157229" y="143273"/>
                  <a:pt x="157766" y="143273"/>
                </a:cubicBezTo>
                <a:lnTo>
                  <a:pt x="311663" y="143273"/>
                </a:lnTo>
                <a:cubicBezTo>
                  <a:pt x="316110" y="143348"/>
                  <a:pt x="320338" y="145220"/>
                  <a:pt x="323383" y="148463"/>
                </a:cubicBezTo>
                <a:lnTo>
                  <a:pt x="557546" y="382602"/>
                </a:lnTo>
                <a:cubicBezTo>
                  <a:pt x="563619" y="389236"/>
                  <a:pt x="563619" y="399409"/>
                  <a:pt x="557546" y="406043"/>
                </a:cubicBezTo>
                <a:close/>
                <a:moveTo>
                  <a:pt x="163395" y="179434"/>
                </a:moveTo>
                <a:cubicBezTo>
                  <a:pt x="172441" y="181152"/>
                  <a:pt x="178381" y="189877"/>
                  <a:pt x="176664" y="198923"/>
                </a:cubicBezTo>
                <a:cubicBezTo>
                  <a:pt x="174946" y="207970"/>
                  <a:pt x="166221" y="213910"/>
                  <a:pt x="157175" y="212192"/>
                </a:cubicBezTo>
                <a:cubicBezTo>
                  <a:pt x="148130" y="210475"/>
                  <a:pt x="142188" y="201749"/>
                  <a:pt x="143906" y="192703"/>
                </a:cubicBezTo>
                <a:cubicBezTo>
                  <a:pt x="144451" y="189836"/>
                  <a:pt x="145738" y="187161"/>
                  <a:pt x="147641" y="184948"/>
                </a:cubicBezTo>
                <a:lnTo>
                  <a:pt x="148997" y="191734"/>
                </a:lnTo>
                <a:cubicBezTo>
                  <a:pt x="149782" y="195580"/>
                  <a:pt x="153163" y="198343"/>
                  <a:pt x="157089" y="198346"/>
                </a:cubicBezTo>
                <a:cubicBezTo>
                  <a:pt x="157643" y="198348"/>
                  <a:pt x="158197" y="198295"/>
                  <a:pt x="158742" y="198189"/>
                </a:cubicBezTo>
                <a:cubicBezTo>
                  <a:pt x="163217" y="197292"/>
                  <a:pt x="166119" y="192936"/>
                  <a:pt x="165222" y="188460"/>
                </a:cubicBezTo>
                <a:close/>
              </a:path>
            </a:pathLst>
          </a:custGeom>
          <a:solidFill>
            <a:schemeClr val="lt1"/>
          </a:solidFill>
          <a:ln w="10980" cap="flat">
            <a:solidFill>
              <a:schemeClr val="accent5"/>
            </a:solidFill>
            <a:prstDash val="solid"/>
            <a:miter/>
          </a:ln>
        </p:spPr>
        <p:txBody>
          <a:bodyPr rtlCol="0" anchor="ctr"/>
          <a:lstStyle/>
          <a:p>
            <a:endParaRPr lang="en-GB"/>
          </a:p>
        </p:txBody>
      </p:sp>
      <p:pic>
        <p:nvPicPr>
          <p:cNvPr id="2" name="Picture 95">
            <a:extLst>
              <a:ext uri="{FF2B5EF4-FFF2-40B4-BE49-F238E27FC236}">
                <a16:creationId xmlns:a16="http://schemas.microsoft.com/office/drawing/2014/main" id="{8CAC7906-9C14-8FD1-EC25-AB2FB5C35C41}"/>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b="4983"/>
          <a:stretch/>
        </p:blipFill>
        <p:spPr bwMode="auto">
          <a:xfrm>
            <a:off x="654480" y="2500761"/>
            <a:ext cx="15387940" cy="5707197"/>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729630553"/>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58" name="Rectangle 57">
            <a:extLst>
              <a:ext uri="{FF2B5EF4-FFF2-40B4-BE49-F238E27FC236}">
                <a16:creationId xmlns:a16="http://schemas.microsoft.com/office/drawing/2014/main" id="{289ED1AA-8684-4D37-B208-8777E1A7780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8283428" cy="10287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0" name="Graphic 33">
            <a:extLst>
              <a:ext uri="{FF2B5EF4-FFF2-40B4-BE49-F238E27FC236}">
                <a16:creationId xmlns:a16="http://schemas.microsoft.com/office/drawing/2014/main" id="{4180E01B-B1F4-437C-807D-1C930718EE6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966176" y="0"/>
            <a:ext cx="14355646" cy="10287000"/>
          </a:xfrm>
          <a:custGeom>
            <a:avLst/>
            <a:gdLst>
              <a:gd name="connsiteX0" fmla="*/ 7178288 w 7187261"/>
              <a:gd name="connsiteY0" fmla="*/ 2604802 h 5150263"/>
              <a:gd name="connsiteX1" fmla="*/ 7169335 w 7187261"/>
              <a:gd name="connsiteY1" fmla="*/ 2328577 h 5150263"/>
              <a:gd name="connsiteX2" fmla="*/ 7060845 w 7187261"/>
              <a:gd name="connsiteY2" fmla="*/ 1661160 h 5150263"/>
              <a:gd name="connsiteX3" fmla="*/ 6212263 w 7187261"/>
              <a:gd name="connsiteY3" fmla="*/ 243840 h 5150263"/>
              <a:gd name="connsiteX4" fmla="*/ 5953564 w 7187261"/>
              <a:gd name="connsiteY4" fmla="*/ 0 h 5150263"/>
              <a:gd name="connsiteX5" fmla="*/ 1408615 w 7187261"/>
              <a:gd name="connsiteY5" fmla="*/ 0 h 5150263"/>
              <a:gd name="connsiteX6" fmla="*/ 805111 w 7187261"/>
              <a:gd name="connsiteY6" fmla="*/ 676275 h 5150263"/>
              <a:gd name="connsiteX7" fmla="*/ 104928 w 7187261"/>
              <a:gd name="connsiteY7" fmla="*/ 2183035 h 5150263"/>
              <a:gd name="connsiteX8" fmla="*/ 51588 w 7187261"/>
              <a:gd name="connsiteY8" fmla="*/ 2400014 h 5150263"/>
              <a:gd name="connsiteX9" fmla="*/ 41301 w 7187261"/>
              <a:gd name="connsiteY9" fmla="*/ 2424208 h 5150263"/>
              <a:gd name="connsiteX10" fmla="*/ 119692 w 7187261"/>
              <a:gd name="connsiteY10" fmla="*/ 1834801 h 5150263"/>
              <a:gd name="connsiteX11" fmla="*/ 870071 w 7187261"/>
              <a:gd name="connsiteY11" fmla="*/ 462248 h 5150263"/>
              <a:gd name="connsiteX12" fmla="*/ 1389279 w 7187261"/>
              <a:gd name="connsiteY12" fmla="*/ 476 h 5150263"/>
              <a:gd name="connsiteX13" fmla="*/ 1320223 w 7187261"/>
              <a:gd name="connsiteY13" fmla="*/ 476 h 5150263"/>
              <a:gd name="connsiteX14" fmla="*/ 423158 w 7187261"/>
              <a:gd name="connsiteY14" fmla="*/ 989743 h 5150263"/>
              <a:gd name="connsiteX15" fmla="*/ 25585 w 7187261"/>
              <a:gd name="connsiteY15" fmla="*/ 2113693 h 5150263"/>
              <a:gd name="connsiteX16" fmla="*/ 2344 w 7187261"/>
              <a:gd name="connsiteY16" fmla="*/ 2725865 h 5150263"/>
              <a:gd name="connsiteX17" fmla="*/ 447256 w 7187261"/>
              <a:gd name="connsiteY17" fmla="*/ 4210717 h 5150263"/>
              <a:gd name="connsiteX18" fmla="*/ 1138962 w 7187261"/>
              <a:gd name="connsiteY18" fmla="*/ 4988910 h 5150263"/>
              <a:gd name="connsiteX19" fmla="*/ 1348512 w 7187261"/>
              <a:gd name="connsiteY19" fmla="*/ 5146834 h 5150263"/>
              <a:gd name="connsiteX20" fmla="*/ 1422712 w 7187261"/>
              <a:gd name="connsiteY20" fmla="*/ 5146834 h 5150263"/>
              <a:gd name="connsiteX21" fmla="*/ 480594 w 7187261"/>
              <a:gd name="connsiteY21" fmla="*/ 4187952 h 5150263"/>
              <a:gd name="connsiteX22" fmla="*/ 398679 w 7187261"/>
              <a:gd name="connsiteY22" fmla="*/ 4046125 h 5150263"/>
              <a:gd name="connsiteX23" fmla="*/ 411823 w 7187261"/>
              <a:gd name="connsiteY23" fmla="*/ 4053078 h 5150263"/>
              <a:gd name="connsiteX24" fmla="*/ 1439380 w 7187261"/>
              <a:gd name="connsiteY24" fmla="*/ 5147405 h 5150263"/>
              <a:gd name="connsiteX25" fmla="*/ 5710010 w 7187261"/>
              <a:gd name="connsiteY25" fmla="*/ 5150263 h 5150263"/>
              <a:gd name="connsiteX26" fmla="*/ 5999665 w 7187261"/>
              <a:gd name="connsiteY26" fmla="*/ 4910900 h 5150263"/>
              <a:gd name="connsiteX27" fmla="*/ 6954165 w 7187261"/>
              <a:gd name="connsiteY27" fmla="*/ 3545777 h 5150263"/>
              <a:gd name="connsiteX28" fmla="*/ 7137712 w 7187261"/>
              <a:gd name="connsiteY28" fmla="*/ 2799207 h 5150263"/>
              <a:gd name="connsiteX29" fmla="*/ 7142951 w 7187261"/>
              <a:gd name="connsiteY29" fmla="*/ 2754535 h 5150263"/>
              <a:gd name="connsiteX30" fmla="*/ 7149428 w 7187261"/>
              <a:gd name="connsiteY30" fmla="*/ 2774823 h 5150263"/>
              <a:gd name="connsiteX31" fmla="*/ 7066465 w 7187261"/>
              <a:gd name="connsiteY31" fmla="*/ 3465672 h 5150263"/>
              <a:gd name="connsiteX32" fmla="*/ 6452578 w 7187261"/>
              <a:gd name="connsiteY32" fmla="*/ 4552760 h 5150263"/>
              <a:gd name="connsiteX33" fmla="*/ 5752110 w 7187261"/>
              <a:gd name="connsiteY33" fmla="*/ 5150263 h 5150263"/>
              <a:gd name="connsiteX34" fmla="*/ 5827643 w 7187261"/>
              <a:gd name="connsiteY34" fmla="*/ 5150263 h 5150263"/>
              <a:gd name="connsiteX35" fmla="*/ 6642793 w 7187261"/>
              <a:gd name="connsiteY35" fmla="*/ 4389406 h 5150263"/>
              <a:gd name="connsiteX36" fmla="*/ 7102469 w 7187261"/>
              <a:gd name="connsiteY36" fmla="*/ 3490817 h 5150263"/>
              <a:gd name="connsiteX37" fmla="*/ 7187242 w 7187261"/>
              <a:gd name="connsiteY37" fmla="*/ 2990183 h 5150263"/>
              <a:gd name="connsiteX38" fmla="*/ 7178288 w 7187261"/>
              <a:gd name="connsiteY38" fmla="*/ 2604802 h 5150263"/>
              <a:gd name="connsiteX39" fmla="*/ 6342565 w 7187261"/>
              <a:gd name="connsiteY39" fmla="*/ 441389 h 5150263"/>
              <a:gd name="connsiteX40" fmla="*/ 7126567 w 7187261"/>
              <a:gd name="connsiteY40" fmla="*/ 2355056 h 5150263"/>
              <a:gd name="connsiteX41" fmla="*/ 6342565 w 7187261"/>
              <a:gd name="connsiteY41" fmla="*/ 441389 h 5150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187261" h="5150263">
                <a:moveTo>
                  <a:pt x="7178288" y="2604802"/>
                </a:moveTo>
                <a:cubicBezTo>
                  <a:pt x="7168763" y="2513076"/>
                  <a:pt x="7174478" y="2420684"/>
                  <a:pt x="7169335" y="2328577"/>
                </a:cubicBezTo>
                <a:cubicBezTo>
                  <a:pt x="7156952" y="2102882"/>
                  <a:pt x="7120586" y="1879149"/>
                  <a:pt x="7060845" y="1661160"/>
                </a:cubicBezTo>
                <a:cubicBezTo>
                  <a:pt x="6910588" y="1121007"/>
                  <a:pt x="6617428" y="631374"/>
                  <a:pt x="6212263" y="243840"/>
                </a:cubicBezTo>
                <a:cubicBezTo>
                  <a:pt x="6126538" y="162496"/>
                  <a:pt x="6040813" y="80201"/>
                  <a:pt x="5953564" y="0"/>
                </a:cubicBezTo>
                <a:lnTo>
                  <a:pt x="1408615" y="0"/>
                </a:lnTo>
                <a:cubicBezTo>
                  <a:pt x="1180967" y="200316"/>
                  <a:pt x="978332" y="427387"/>
                  <a:pt x="805111" y="676275"/>
                </a:cubicBezTo>
                <a:cubicBezTo>
                  <a:pt x="481261" y="1136523"/>
                  <a:pt x="252089" y="1640872"/>
                  <a:pt x="104928" y="2183035"/>
                </a:cubicBezTo>
                <a:cubicBezTo>
                  <a:pt x="85878" y="2254853"/>
                  <a:pt x="69495" y="2327720"/>
                  <a:pt x="51588" y="2400014"/>
                </a:cubicBezTo>
                <a:cubicBezTo>
                  <a:pt x="49683" y="2407634"/>
                  <a:pt x="51588" y="2416969"/>
                  <a:pt x="41301" y="2424208"/>
                </a:cubicBezTo>
                <a:cubicBezTo>
                  <a:pt x="45900" y="2225469"/>
                  <a:pt x="72186" y="2027834"/>
                  <a:pt x="119692" y="1834801"/>
                </a:cubicBezTo>
                <a:cubicBezTo>
                  <a:pt x="247993" y="1310926"/>
                  <a:pt x="506121" y="857726"/>
                  <a:pt x="870071" y="462248"/>
                </a:cubicBezTo>
                <a:cubicBezTo>
                  <a:pt x="1027729" y="291823"/>
                  <a:pt x="1201617" y="137169"/>
                  <a:pt x="1389279" y="476"/>
                </a:cubicBezTo>
                <a:lnTo>
                  <a:pt x="1320223" y="476"/>
                </a:lnTo>
                <a:cubicBezTo>
                  <a:pt x="960844" y="274320"/>
                  <a:pt x="656330" y="599123"/>
                  <a:pt x="423158" y="989743"/>
                </a:cubicBezTo>
                <a:cubicBezTo>
                  <a:pt x="215608" y="1337596"/>
                  <a:pt x="80258" y="1711357"/>
                  <a:pt x="25585" y="2113693"/>
                </a:cubicBezTo>
                <a:cubicBezTo>
                  <a:pt x="-2705" y="2316480"/>
                  <a:pt x="-2228" y="2521077"/>
                  <a:pt x="2344" y="2725865"/>
                </a:cubicBezTo>
                <a:cubicBezTo>
                  <a:pt x="14155" y="3261932"/>
                  <a:pt x="170650" y="3754565"/>
                  <a:pt x="447256" y="4210717"/>
                </a:cubicBezTo>
                <a:cubicBezTo>
                  <a:pt x="629851" y="4511612"/>
                  <a:pt x="866356" y="4767167"/>
                  <a:pt x="1138962" y="4988910"/>
                </a:cubicBezTo>
                <a:cubicBezTo>
                  <a:pt x="1207161" y="5044345"/>
                  <a:pt x="1277008" y="5096990"/>
                  <a:pt x="1348512" y="5146834"/>
                </a:cubicBezTo>
                <a:lnTo>
                  <a:pt x="1422712" y="5146834"/>
                </a:lnTo>
                <a:cubicBezTo>
                  <a:pt x="1043426" y="4892802"/>
                  <a:pt x="724720" y="4577334"/>
                  <a:pt x="480594" y="4187952"/>
                </a:cubicBezTo>
                <a:cubicBezTo>
                  <a:pt x="452019" y="4141851"/>
                  <a:pt x="423444" y="4095179"/>
                  <a:pt x="398679" y="4046125"/>
                </a:cubicBezTo>
                <a:cubicBezTo>
                  <a:pt x="407442" y="4043267"/>
                  <a:pt x="409156" y="4048982"/>
                  <a:pt x="411823" y="4053078"/>
                </a:cubicBezTo>
                <a:cubicBezTo>
                  <a:pt x="683572" y="4484656"/>
                  <a:pt x="1033139" y="4842701"/>
                  <a:pt x="1439380" y="5147405"/>
                </a:cubicBezTo>
                <a:lnTo>
                  <a:pt x="5710010" y="5150263"/>
                </a:lnTo>
                <a:cubicBezTo>
                  <a:pt x="5810594" y="5075482"/>
                  <a:pt x="5907272" y="4995587"/>
                  <a:pt x="5999665" y="4910900"/>
                </a:cubicBezTo>
                <a:cubicBezTo>
                  <a:pt x="6418765" y="4526661"/>
                  <a:pt x="6746901" y="4078129"/>
                  <a:pt x="6954165" y="3545777"/>
                </a:cubicBezTo>
                <a:cubicBezTo>
                  <a:pt x="7048234" y="3306175"/>
                  <a:pt x="7109956" y="3055115"/>
                  <a:pt x="7137712" y="2799207"/>
                </a:cubicBezTo>
                <a:cubicBezTo>
                  <a:pt x="7139236" y="2784920"/>
                  <a:pt x="7141046" y="2770632"/>
                  <a:pt x="7142951" y="2754535"/>
                </a:cubicBezTo>
                <a:cubicBezTo>
                  <a:pt x="7151714" y="2760440"/>
                  <a:pt x="7149237" y="2768441"/>
                  <a:pt x="7149428" y="2774823"/>
                </a:cubicBezTo>
                <a:cubicBezTo>
                  <a:pt x="7156743" y="3007967"/>
                  <a:pt x="7128777" y="3240881"/>
                  <a:pt x="7066465" y="3465672"/>
                </a:cubicBezTo>
                <a:cubicBezTo>
                  <a:pt x="6952165" y="3878580"/>
                  <a:pt x="6737948" y="4235863"/>
                  <a:pt x="6452578" y="4552760"/>
                </a:cubicBezTo>
                <a:cubicBezTo>
                  <a:pt x="6244553" y="4783836"/>
                  <a:pt x="6008809" y="4980242"/>
                  <a:pt x="5752110" y="5150263"/>
                </a:cubicBezTo>
                <a:lnTo>
                  <a:pt x="5827643" y="5150263"/>
                </a:lnTo>
                <a:cubicBezTo>
                  <a:pt x="6136539" y="4938904"/>
                  <a:pt x="6412192" y="4689348"/>
                  <a:pt x="6642793" y="4389406"/>
                </a:cubicBezTo>
                <a:cubicBezTo>
                  <a:pt x="6851295" y="4118324"/>
                  <a:pt x="7009125" y="3820859"/>
                  <a:pt x="7102469" y="3490817"/>
                </a:cubicBezTo>
                <a:cubicBezTo>
                  <a:pt x="7148646" y="3327473"/>
                  <a:pt x="7177069" y="3159624"/>
                  <a:pt x="7187242" y="2990183"/>
                </a:cubicBezTo>
                <a:cubicBezTo>
                  <a:pt x="7187623" y="2984087"/>
                  <a:pt x="7182384" y="2642330"/>
                  <a:pt x="7178288" y="2604802"/>
                </a:cubicBezTo>
                <a:close/>
                <a:moveTo>
                  <a:pt x="6342565" y="441389"/>
                </a:moveTo>
                <a:cubicBezTo>
                  <a:pt x="6829797" y="986533"/>
                  <a:pt x="7091135" y="1624422"/>
                  <a:pt x="7126567" y="2355056"/>
                </a:cubicBezTo>
                <a:cubicBezTo>
                  <a:pt x="7001123" y="1661827"/>
                  <a:pt x="6756426" y="1017365"/>
                  <a:pt x="6342565" y="441389"/>
                </a:cubicBez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Arial"/>
              <a:ea typeface="+mn-ea"/>
              <a:cs typeface="+mn-cs"/>
            </a:endParaRPr>
          </a:p>
        </p:txBody>
      </p:sp>
      <p:sp>
        <p:nvSpPr>
          <p:cNvPr id="4" name="Title 3">
            <a:extLst>
              <a:ext uri="{FF2B5EF4-FFF2-40B4-BE49-F238E27FC236}">
                <a16:creationId xmlns:a16="http://schemas.microsoft.com/office/drawing/2014/main" id="{B009CD84-DA40-4CAA-8A89-DD6DAA862368}"/>
              </a:ext>
            </a:extLst>
          </p:cNvPr>
          <p:cNvSpPr>
            <a:spLocks noGrp="1"/>
          </p:cNvSpPr>
          <p:nvPr>
            <p:ph type="title"/>
          </p:nvPr>
        </p:nvSpPr>
        <p:spPr>
          <a:xfrm>
            <a:off x="2390503" y="1852521"/>
            <a:ext cx="13502422" cy="4348463"/>
          </a:xfrm>
        </p:spPr>
        <p:txBody>
          <a:bodyPr vert="horz" lIns="91440" tIns="45720" rIns="91440" bIns="45720" rtlCol="0" anchor="b">
            <a:normAutofit/>
          </a:bodyPr>
          <a:lstStyle/>
          <a:p>
            <a:pPr indent="457200">
              <a:lnSpc>
                <a:spcPct val="90000"/>
              </a:lnSpc>
              <a:spcAft>
                <a:spcPts val="600"/>
              </a:spcAft>
            </a:pPr>
            <a:r>
              <a:rPr lang="en-GB" sz="8000" b="1" noProof="0" dirty="0">
                <a:solidFill>
                  <a:schemeClr val="bg1"/>
                </a:solidFill>
                <a:ea typeface="+mn-ea"/>
                <a:cs typeface="Arial" panose="020B0604020202020204" pitchFamily="34" charset="0"/>
              </a:rPr>
              <a:t>Recommendations and proposed legislative improvements </a:t>
            </a:r>
          </a:p>
        </p:txBody>
      </p:sp>
      <p:sp>
        <p:nvSpPr>
          <p:cNvPr id="62" name="sketch line">
            <a:extLst>
              <a:ext uri="{FF2B5EF4-FFF2-40B4-BE49-F238E27FC236}">
                <a16:creationId xmlns:a16="http://schemas.microsoft.com/office/drawing/2014/main" id="{41F77738-2AF0-4750-A0C7-F97C2C17590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961309" y="6260247"/>
            <a:ext cx="6365383" cy="27432"/>
          </a:xfrm>
          <a:custGeom>
            <a:avLst/>
            <a:gdLst>
              <a:gd name="connsiteX0" fmla="*/ 0 w 6365383"/>
              <a:gd name="connsiteY0" fmla="*/ 0 h 27432"/>
              <a:gd name="connsiteX1" fmla="*/ 636538 w 6365383"/>
              <a:gd name="connsiteY1" fmla="*/ 0 h 27432"/>
              <a:gd name="connsiteX2" fmla="*/ 1273077 w 6365383"/>
              <a:gd name="connsiteY2" fmla="*/ 0 h 27432"/>
              <a:gd name="connsiteX3" fmla="*/ 1909615 w 6365383"/>
              <a:gd name="connsiteY3" fmla="*/ 0 h 27432"/>
              <a:gd name="connsiteX4" fmla="*/ 2673461 w 6365383"/>
              <a:gd name="connsiteY4" fmla="*/ 0 h 27432"/>
              <a:gd name="connsiteX5" fmla="*/ 3373653 w 6365383"/>
              <a:gd name="connsiteY5" fmla="*/ 0 h 27432"/>
              <a:gd name="connsiteX6" fmla="*/ 3819230 w 6365383"/>
              <a:gd name="connsiteY6" fmla="*/ 0 h 27432"/>
              <a:gd name="connsiteX7" fmla="*/ 4392114 w 6365383"/>
              <a:gd name="connsiteY7" fmla="*/ 0 h 27432"/>
              <a:gd name="connsiteX8" fmla="*/ 5155960 w 6365383"/>
              <a:gd name="connsiteY8" fmla="*/ 0 h 27432"/>
              <a:gd name="connsiteX9" fmla="*/ 5792499 w 6365383"/>
              <a:gd name="connsiteY9" fmla="*/ 0 h 27432"/>
              <a:gd name="connsiteX10" fmla="*/ 6365383 w 6365383"/>
              <a:gd name="connsiteY10" fmla="*/ 0 h 27432"/>
              <a:gd name="connsiteX11" fmla="*/ 6365383 w 6365383"/>
              <a:gd name="connsiteY11" fmla="*/ 27432 h 27432"/>
              <a:gd name="connsiteX12" fmla="*/ 5856152 w 6365383"/>
              <a:gd name="connsiteY12" fmla="*/ 27432 h 27432"/>
              <a:gd name="connsiteX13" fmla="*/ 5092306 w 6365383"/>
              <a:gd name="connsiteY13" fmla="*/ 27432 h 27432"/>
              <a:gd name="connsiteX14" fmla="*/ 4583076 w 6365383"/>
              <a:gd name="connsiteY14" fmla="*/ 27432 h 27432"/>
              <a:gd name="connsiteX15" fmla="*/ 4137499 w 6365383"/>
              <a:gd name="connsiteY15" fmla="*/ 27432 h 27432"/>
              <a:gd name="connsiteX16" fmla="*/ 3691922 w 6365383"/>
              <a:gd name="connsiteY16" fmla="*/ 27432 h 27432"/>
              <a:gd name="connsiteX17" fmla="*/ 2991730 w 6365383"/>
              <a:gd name="connsiteY17" fmla="*/ 27432 h 27432"/>
              <a:gd name="connsiteX18" fmla="*/ 2546153 w 6365383"/>
              <a:gd name="connsiteY18" fmla="*/ 27432 h 27432"/>
              <a:gd name="connsiteX19" fmla="*/ 1909615 w 6365383"/>
              <a:gd name="connsiteY19" fmla="*/ 27432 h 27432"/>
              <a:gd name="connsiteX20" fmla="*/ 1400384 w 6365383"/>
              <a:gd name="connsiteY20" fmla="*/ 27432 h 27432"/>
              <a:gd name="connsiteX21" fmla="*/ 763846 w 6365383"/>
              <a:gd name="connsiteY21" fmla="*/ 27432 h 27432"/>
              <a:gd name="connsiteX22" fmla="*/ 0 w 6365383"/>
              <a:gd name="connsiteY22" fmla="*/ 27432 h 27432"/>
              <a:gd name="connsiteX23" fmla="*/ 0 w 6365383"/>
              <a:gd name="connsiteY23" fmla="*/ 0 h 27432"/>
              <a:gd name="connsiteX0" fmla="*/ 0 w 6365383"/>
              <a:gd name="connsiteY0" fmla="*/ 0 h 27432"/>
              <a:gd name="connsiteX1" fmla="*/ 572884 w 6365383"/>
              <a:gd name="connsiteY1" fmla="*/ 0 h 27432"/>
              <a:gd name="connsiteX2" fmla="*/ 1018461 w 6365383"/>
              <a:gd name="connsiteY2" fmla="*/ 0 h 27432"/>
              <a:gd name="connsiteX3" fmla="*/ 1782307 w 6365383"/>
              <a:gd name="connsiteY3" fmla="*/ 0 h 27432"/>
              <a:gd name="connsiteX4" fmla="*/ 2355192 w 6365383"/>
              <a:gd name="connsiteY4" fmla="*/ 0 h 27432"/>
              <a:gd name="connsiteX5" fmla="*/ 2928076 w 6365383"/>
              <a:gd name="connsiteY5" fmla="*/ 0 h 27432"/>
              <a:gd name="connsiteX6" fmla="*/ 3691922 w 6365383"/>
              <a:gd name="connsiteY6" fmla="*/ 0 h 27432"/>
              <a:gd name="connsiteX7" fmla="*/ 4201153 w 6365383"/>
              <a:gd name="connsiteY7" fmla="*/ 0 h 27432"/>
              <a:gd name="connsiteX8" fmla="*/ 4964999 w 6365383"/>
              <a:gd name="connsiteY8" fmla="*/ 0 h 27432"/>
              <a:gd name="connsiteX9" fmla="*/ 5728845 w 6365383"/>
              <a:gd name="connsiteY9" fmla="*/ 0 h 27432"/>
              <a:gd name="connsiteX10" fmla="*/ 6365383 w 6365383"/>
              <a:gd name="connsiteY10" fmla="*/ 0 h 27432"/>
              <a:gd name="connsiteX11" fmla="*/ 6365383 w 6365383"/>
              <a:gd name="connsiteY11" fmla="*/ 27432 h 27432"/>
              <a:gd name="connsiteX12" fmla="*/ 5665191 w 6365383"/>
              <a:gd name="connsiteY12" fmla="*/ 27432 h 27432"/>
              <a:gd name="connsiteX13" fmla="*/ 4901345 w 6365383"/>
              <a:gd name="connsiteY13" fmla="*/ 27432 h 27432"/>
              <a:gd name="connsiteX14" fmla="*/ 4137499 w 6365383"/>
              <a:gd name="connsiteY14" fmla="*/ 27432 h 27432"/>
              <a:gd name="connsiteX15" fmla="*/ 3628268 w 6365383"/>
              <a:gd name="connsiteY15" fmla="*/ 27432 h 27432"/>
              <a:gd name="connsiteX16" fmla="*/ 2991730 w 6365383"/>
              <a:gd name="connsiteY16" fmla="*/ 27432 h 27432"/>
              <a:gd name="connsiteX17" fmla="*/ 2227884 w 6365383"/>
              <a:gd name="connsiteY17" fmla="*/ 27432 h 27432"/>
              <a:gd name="connsiteX18" fmla="*/ 1591346 w 6365383"/>
              <a:gd name="connsiteY18" fmla="*/ 27432 h 27432"/>
              <a:gd name="connsiteX19" fmla="*/ 1145769 w 6365383"/>
              <a:gd name="connsiteY19" fmla="*/ 27432 h 27432"/>
              <a:gd name="connsiteX20" fmla="*/ 636538 w 6365383"/>
              <a:gd name="connsiteY20" fmla="*/ 27432 h 27432"/>
              <a:gd name="connsiteX21" fmla="*/ 0 w 6365383"/>
              <a:gd name="connsiteY21" fmla="*/ 27432 h 27432"/>
              <a:gd name="connsiteX22" fmla="*/ 0 w 6365383"/>
              <a:gd name="connsiteY22"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365383" h="27432" fill="none" extrusionOk="0">
                <a:moveTo>
                  <a:pt x="0" y="0"/>
                </a:moveTo>
                <a:cubicBezTo>
                  <a:pt x="311910" y="25756"/>
                  <a:pt x="328854" y="-22977"/>
                  <a:pt x="636538" y="0"/>
                </a:cubicBezTo>
                <a:cubicBezTo>
                  <a:pt x="929901" y="50670"/>
                  <a:pt x="1067253" y="-1993"/>
                  <a:pt x="1273077" y="0"/>
                </a:cubicBezTo>
                <a:cubicBezTo>
                  <a:pt x="1507620" y="-24857"/>
                  <a:pt x="1747799" y="-10413"/>
                  <a:pt x="1909615" y="0"/>
                </a:cubicBezTo>
                <a:cubicBezTo>
                  <a:pt x="2041097" y="-21585"/>
                  <a:pt x="2422417" y="-28022"/>
                  <a:pt x="2673461" y="0"/>
                </a:cubicBezTo>
                <a:cubicBezTo>
                  <a:pt x="2948394" y="-4560"/>
                  <a:pt x="3134893" y="36981"/>
                  <a:pt x="3373653" y="0"/>
                </a:cubicBezTo>
                <a:cubicBezTo>
                  <a:pt x="3634761" y="-15887"/>
                  <a:pt x="3700843" y="23167"/>
                  <a:pt x="3819230" y="0"/>
                </a:cubicBezTo>
                <a:cubicBezTo>
                  <a:pt x="3977295" y="2943"/>
                  <a:pt x="4128910" y="-53150"/>
                  <a:pt x="4392114" y="0"/>
                </a:cubicBezTo>
                <a:cubicBezTo>
                  <a:pt x="4672763" y="9214"/>
                  <a:pt x="4999833" y="38501"/>
                  <a:pt x="5155960" y="0"/>
                </a:cubicBezTo>
                <a:cubicBezTo>
                  <a:pt x="5343367" y="-6557"/>
                  <a:pt x="5597661" y="6622"/>
                  <a:pt x="5792499" y="0"/>
                </a:cubicBezTo>
                <a:cubicBezTo>
                  <a:pt x="6020774" y="43813"/>
                  <a:pt x="6148830" y="-13954"/>
                  <a:pt x="6365383" y="0"/>
                </a:cubicBezTo>
                <a:cubicBezTo>
                  <a:pt x="6364517" y="8091"/>
                  <a:pt x="6365728" y="20268"/>
                  <a:pt x="6365383" y="27432"/>
                </a:cubicBezTo>
                <a:cubicBezTo>
                  <a:pt x="6144545" y="15144"/>
                  <a:pt x="6006673" y="-7419"/>
                  <a:pt x="5856152" y="27432"/>
                </a:cubicBezTo>
                <a:cubicBezTo>
                  <a:pt x="5638446" y="81548"/>
                  <a:pt x="5413846" y="52067"/>
                  <a:pt x="5092306" y="27432"/>
                </a:cubicBezTo>
                <a:cubicBezTo>
                  <a:pt x="4768499" y="43350"/>
                  <a:pt x="4708569" y="3163"/>
                  <a:pt x="4583076" y="27432"/>
                </a:cubicBezTo>
                <a:cubicBezTo>
                  <a:pt x="4475482" y="66269"/>
                  <a:pt x="4242792" y="42702"/>
                  <a:pt x="4137499" y="27432"/>
                </a:cubicBezTo>
                <a:cubicBezTo>
                  <a:pt x="4003968" y="24039"/>
                  <a:pt x="3882646" y="-3026"/>
                  <a:pt x="3691922" y="27432"/>
                </a:cubicBezTo>
                <a:cubicBezTo>
                  <a:pt x="3501639" y="8096"/>
                  <a:pt x="3270842" y="-14942"/>
                  <a:pt x="2991730" y="27432"/>
                </a:cubicBezTo>
                <a:cubicBezTo>
                  <a:pt x="2712135" y="55419"/>
                  <a:pt x="2758697" y="31955"/>
                  <a:pt x="2546153" y="27432"/>
                </a:cubicBezTo>
                <a:cubicBezTo>
                  <a:pt x="2362220" y="-818"/>
                  <a:pt x="2130397" y="57099"/>
                  <a:pt x="1909615" y="27432"/>
                </a:cubicBezTo>
                <a:cubicBezTo>
                  <a:pt x="1714835" y="-15389"/>
                  <a:pt x="1636770" y="40318"/>
                  <a:pt x="1400384" y="27432"/>
                </a:cubicBezTo>
                <a:cubicBezTo>
                  <a:pt x="1161504" y="29515"/>
                  <a:pt x="1060819" y="7773"/>
                  <a:pt x="763846" y="27432"/>
                </a:cubicBezTo>
                <a:cubicBezTo>
                  <a:pt x="465096" y="43671"/>
                  <a:pt x="165309" y="15831"/>
                  <a:pt x="0" y="27432"/>
                </a:cubicBezTo>
                <a:cubicBezTo>
                  <a:pt x="-2013" y="18874"/>
                  <a:pt x="-525" y="8614"/>
                  <a:pt x="0" y="0"/>
                </a:cubicBezTo>
                <a:close/>
              </a:path>
              <a:path w="6365383" h="27432" stroke="0" extrusionOk="0">
                <a:moveTo>
                  <a:pt x="0" y="0"/>
                </a:moveTo>
                <a:cubicBezTo>
                  <a:pt x="84020" y="9133"/>
                  <a:pt x="339524" y="24523"/>
                  <a:pt x="572884" y="0"/>
                </a:cubicBezTo>
                <a:cubicBezTo>
                  <a:pt x="803790" y="-14011"/>
                  <a:pt x="837492" y="-10007"/>
                  <a:pt x="1018461" y="0"/>
                </a:cubicBezTo>
                <a:cubicBezTo>
                  <a:pt x="1188530" y="8943"/>
                  <a:pt x="1571061" y="17361"/>
                  <a:pt x="1782307" y="0"/>
                </a:cubicBezTo>
                <a:cubicBezTo>
                  <a:pt x="1967448" y="-16010"/>
                  <a:pt x="2153334" y="-25629"/>
                  <a:pt x="2355192" y="0"/>
                </a:cubicBezTo>
                <a:cubicBezTo>
                  <a:pt x="2541804" y="20205"/>
                  <a:pt x="2779440" y="53811"/>
                  <a:pt x="2928076" y="0"/>
                </a:cubicBezTo>
                <a:cubicBezTo>
                  <a:pt x="3024078" y="-16903"/>
                  <a:pt x="3337092" y="43483"/>
                  <a:pt x="3691922" y="0"/>
                </a:cubicBezTo>
                <a:cubicBezTo>
                  <a:pt x="4060895" y="-1064"/>
                  <a:pt x="4072166" y="-17195"/>
                  <a:pt x="4201153" y="0"/>
                </a:cubicBezTo>
                <a:cubicBezTo>
                  <a:pt x="4349835" y="-22516"/>
                  <a:pt x="4800106" y="-64797"/>
                  <a:pt x="4964999" y="0"/>
                </a:cubicBezTo>
                <a:cubicBezTo>
                  <a:pt x="5186764" y="15779"/>
                  <a:pt x="5564421" y="-10544"/>
                  <a:pt x="5728845" y="0"/>
                </a:cubicBezTo>
                <a:cubicBezTo>
                  <a:pt x="5915953" y="5493"/>
                  <a:pt x="6171384" y="-48026"/>
                  <a:pt x="6365383" y="0"/>
                </a:cubicBezTo>
                <a:cubicBezTo>
                  <a:pt x="6366596" y="6455"/>
                  <a:pt x="6365588" y="14391"/>
                  <a:pt x="6365383" y="27432"/>
                </a:cubicBezTo>
                <a:cubicBezTo>
                  <a:pt x="6172514" y="805"/>
                  <a:pt x="6006523" y="20734"/>
                  <a:pt x="5665191" y="27432"/>
                </a:cubicBezTo>
                <a:cubicBezTo>
                  <a:pt x="5322179" y="66687"/>
                  <a:pt x="5219376" y="21111"/>
                  <a:pt x="4901345" y="27432"/>
                </a:cubicBezTo>
                <a:cubicBezTo>
                  <a:pt x="4621310" y="-13654"/>
                  <a:pt x="4455192" y="54857"/>
                  <a:pt x="4137499" y="27432"/>
                </a:cubicBezTo>
                <a:cubicBezTo>
                  <a:pt x="3853317" y="12285"/>
                  <a:pt x="3862894" y="26263"/>
                  <a:pt x="3628268" y="27432"/>
                </a:cubicBezTo>
                <a:cubicBezTo>
                  <a:pt x="3418779" y="32610"/>
                  <a:pt x="3174456" y="83656"/>
                  <a:pt x="2991730" y="27432"/>
                </a:cubicBezTo>
                <a:cubicBezTo>
                  <a:pt x="2801278" y="6667"/>
                  <a:pt x="2497351" y="22891"/>
                  <a:pt x="2227884" y="27432"/>
                </a:cubicBezTo>
                <a:cubicBezTo>
                  <a:pt x="1986101" y="16297"/>
                  <a:pt x="1767219" y="-7535"/>
                  <a:pt x="1591346" y="27432"/>
                </a:cubicBezTo>
                <a:cubicBezTo>
                  <a:pt x="1447183" y="73731"/>
                  <a:pt x="1315973" y="39477"/>
                  <a:pt x="1145769" y="27432"/>
                </a:cubicBezTo>
                <a:cubicBezTo>
                  <a:pt x="990245" y="8882"/>
                  <a:pt x="810845" y="16910"/>
                  <a:pt x="636538" y="27432"/>
                </a:cubicBezTo>
                <a:cubicBezTo>
                  <a:pt x="482916" y="17795"/>
                  <a:pt x="183027" y="-17710"/>
                  <a:pt x="0" y="27432"/>
                </a:cubicBezTo>
                <a:cubicBezTo>
                  <a:pt x="491" y="19542"/>
                  <a:pt x="-1038" y="8534"/>
                  <a:pt x="0" y="0"/>
                </a:cubicBezTo>
                <a:close/>
              </a:path>
              <a:path w="6365383" h="27432" fill="none" stroke="0" extrusionOk="0">
                <a:moveTo>
                  <a:pt x="0" y="0"/>
                </a:moveTo>
                <a:cubicBezTo>
                  <a:pt x="296223" y="15991"/>
                  <a:pt x="333462" y="-23795"/>
                  <a:pt x="636538" y="0"/>
                </a:cubicBezTo>
                <a:cubicBezTo>
                  <a:pt x="970197" y="30961"/>
                  <a:pt x="1039864" y="3183"/>
                  <a:pt x="1273077" y="0"/>
                </a:cubicBezTo>
                <a:cubicBezTo>
                  <a:pt x="1449809" y="24819"/>
                  <a:pt x="1735152" y="23060"/>
                  <a:pt x="1909615" y="0"/>
                </a:cubicBezTo>
                <a:cubicBezTo>
                  <a:pt x="2016351" y="-41665"/>
                  <a:pt x="2415001" y="34773"/>
                  <a:pt x="2673461" y="0"/>
                </a:cubicBezTo>
                <a:cubicBezTo>
                  <a:pt x="2996983" y="-13411"/>
                  <a:pt x="3130707" y="3741"/>
                  <a:pt x="3373653" y="0"/>
                </a:cubicBezTo>
                <a:cubicBezTo>
                  <a:pt x="3601951" y="-16140"/>
                  <a:pt x="3689909" y="23222"/>
                  <a:pt x="3819230" y="0"/>
                </a:cubicBezTo>
                <a:cubicBezTo>
                  <a:pt x="3931872" y="-29406"/>
                  <a:pt x="4119438" y="24094"/>
                  <a:pt x="4392114" y="0"/>
                </a:cubicBezTo>
                <a:cubicBezTo>
                  <a:pt x="4665359" y="21557"/>
                  <a:pt x="4978709" y="13267"/>
                  <a:pt x="5155960" y="0"/>
                </a:cubicBezTo>
                <a:cubicBezTo>
                  <a:pt x="5299518" y="-18386"/>
                  <a:pt x="5605020" y="-6762"/>
                  <a:pt x="5792499" y="0"/>
                </a:cubicBezTo>
                <a:cubicBezTo>
                  <a:pt x="6013281" y="43398"/>
                  <a:pt x="6167567" y="36727"/>
                  <a:pt x="6365383" y="0"/>
                </a:cubicBezTo>
                <a:cubicBezTo>
                  <a:pt x="6365697" y="8368"/>
                  <a:pt x="6365332" y="21050"/>
                  <a:pt x="6365383" y="27432"/>
                </a:cubicBezTo>
                <a:cubicBezTo>
                  <a:pt x="6154893" y="8454"/>
                  <a:pt x="6014206" y="-8372"/>
                  <a:pt x="5856152" y="27432"/>
                </a:cubicBezTo>
                <a:cubicBezTo>
                  <a:pt x="5659455" y="59503"/>
                  <a:pt x="5350806" y="-35991"/>
                  <a:pt x="5092306" y="27432"/>
                </a:cubicBezTo>
                <a:cubicBezTo>
                  <a:pt x="4756309" y="48260"/>
                  <a:pt x="4699746" y="-4780"/>
                  <a:pt x="4583076" y="27432"/>
                </a:cubicBezTo>
                <a:cubicBezTo>
                  <a:pt x="4462137" y="30142"/>
                  <a:pt x="4226168" y="50236"/>
                  <a:pt x="4137499" y="27432"/>
                </a:cubicBezTo>
                <a:cubicBezTo>
                  <a:pt x="4018570" y="42181"/>
                  <a:pt x="3887179" y="34623"/>
                  <a:pt x="3691922" y="27432"/>
                </a:cubicBezTo>
                <a:cubicBezTo>
                  <a:pt x="3499755" y="32935"/>
                  <a:pt x="3281056" y="-9158"/>
                  <a:pt x="2991730" y="27432"/>
                </a:cubicBezTo>
                <a:cubicBezTo>
                  <a:pt x="2716073" y="57462"/>
                  <a:pt x="2755481" y="34494"/>
                  <a:pt x="2546153" y="27432"/>
                </a:cubicBezTo>
                <a:cubicBezTo>
                  <a:pt x="2356479" y="62622"/>
                  <a:pt x="2079190" y="73729"/>
                  <a:pt x="1909615" y="27432"/>
                </a:cubicBezTo>
                <a:cubicBezTo>
                  <a:pt x="1715819" y="-26444"/>
                  <a:pt x="1631368" y="48131"/>
                  <a:pt x="1400384" y="27432"/>
                </a:cubicBezTo>
                <a:cubicBezTo>
                  <a:pt x="1177327" y="16190"/>
                  <a:pt x="1065236" y="24992"/>
                  <a:pt x="763846" y="27432"/>
                </a:cubicBezTo>
                <a:cubicBezTo>
                  <a:pt x="448643" y="60691"/>
                  <a:pt x="160833" y="2330"/>
                  <a:pt x="0" y="27432"/>
                </a:cubicBezTo>
                <a:cubicBezTo>
                  <a:pt x="1559" y="18666"/>
                  <a:pt x="-585" y="7580"/>
                  <a:pt x="0" y="0"/>
                </a:cubicBezTo>
                <a:close/>
              </a:path>
            </a:pathLst>
          </a:custGeom>
          <a:solidFill>
            <a:srgbClr val="FFFFFF"/>
          </a:solidFill>
          <a:ln w="41275" cap="rnd">
            <a:solidFill>
              <a:srgbClr val="FFFFFF"/>
            </a:solidFill>
            <a:round/>
            <a:extLst>
              <a:ext uri="{C807C97D-BFC1-408E-A445-0C87EB9F89A2}">
                <ask:lineSketchStyleProps xmlns:ask="http://schemas.microsoft.com/office/drawing/2018/sketchyshapes" sd="1219033472">
                  <a:custGeom>
                    <a:avLst/>
                    <a:gdLst>
                      <a:gd name="connsiteX0" fmla="*/ 0 w 6365383"/>
                      <a:gd name="connsiteY0" fmla="*/ 0 h 27432"/>
                      <a:gd name="connsiteX1" fmla="*/ 636538 w 6365383"/>
                      <a:gd name="connsiteY1" fmla="*/ 0 h 27432"/>
                      <a:gd name="connsiteX2" fmla="*/ 1273077 w 6365383"/>
                      <a:gd name="connsiteY2" fmla="*/ 0 h 27432"/>
                      <a:gd name="connsiteX3" fmla="*/ 1909615 w 6365383"/>
                      <a:gd name="connsiteY3" fmla="*/ 0 h 27432"/>
                      <a:gd name="connsiteX4" fmla="*/ 2673461 w 6365383"/>
                      <a:gd name="connsiteY4" fmla="*/ 0 h 27432"/>
                      <a:gd name="connsiteX5" fmla="*/ 3373653 w 6365383"/>
                      <a:gd name="connsiteY5" fmla="*/ 0 h 27432"/>
                      <a:gd name="connsiteX6" fmla="*/ 3819230 w 6365383"/>
                      <a:gd name="connsiteY6" fmla="*/ 0 h 27432"/>
                      <a:gd name="connsiteX7" fmla="*/ 4392114 w 6365383"/>
                      <a:gd name="connsiteY7" fmla="*/ 0 h 27432"/>
                      <a:gd name="connsiteX8" fmla="*/ 5155960 w 6365383"/>
                      <a:gd name="connsiteY8" fmla="*/ 0 h 27432"/>
                      <a:gd name="connsiteX9" fmla="*/ 5792499 w 6365383"/>
                      <a:gd name="connsiteY9" fmla="*/ 0 h 27432"/>
                      <a:gd name="connsiteX10" fmla="*/ 6365383 w 6365383"/>
                      <a:gd name="connsiteY10" fmla="*/ 0 h 27432"/>
                      <a:gd name="connsiteX11" fmla="*/ 6365383 w 6365383"/>
                      <a:gd name="connsiteY11" fmla="*/ 27432 h 27432"/>
                      <a:gd name="connsiteX12" fmla="*/ 5856152 w 6365383"/>
                      <a:gd name="connsiteY12" fmla="*/ 27432 h 27432"/>
                      <a:gd name="connsiteX13" fmla="*/ 5092306 w 6365383"/>
                      <a:gd name="connsiteY13" fmla="*/ 27432 h 27432"/>
                      <a:gd name="connsiteX14" fmla="*/ 4583076 w 6365383"/>
                      <a:gd name="connsiteY14" fmla="*/ 27432 h 27432"/>
                      <a:gd name="connsiteX15" fmla="*/ 4137499 w 6365383"/>
                      <a:gd name="connsiteY15" fmla="*/ 27432 h 27432"/>
                      <a:gd name="connsiteX16" fmla="*/ 3691922 w 6365383"/>
                      <a:gd name="connsiteY16" fmla="*/ 27432 h 27432"/>
                      <a:gd name="connsiteX17" fmla="*/ 2991730 w 6365383"/>
                      <a:gd name="connsiteY17" fmla="*/ 27432 h 27432"/>
                      <a:gd name="connsiteX18" fmla="*/ 2546153 w 6365383"/>
                      <a:gd name="connsiteY18" fmla="*/ 27432 h 27432"/>
                      <a:gd name="connsiteX19" fmla="*/ 1909615 w 6365383"/>
                      <a:gd name="connsiteY19" fmla="*/ 27432 h 27432"/>
                      <a:gd name="connsiteX20" fmla="*/ 1400384 w 6365383"/>
                      <a:gd name="connsiteY20" fmla="*/ 27432 h 27432"/>
                      <a:gd name="connsiteX21" fmla="*/ 763846 w 6365383"/>
                      <a:gd name="connsiteY21" fmla="*/ 27432 h 27432"/>
                      <a:gd name="connsiteX22" fmla="*/ 0 w 6365383"/>
                      <a:gd name="connsiteY22" fmla="*/ 27432 h 27432"/>
                      <a:gd name="connsiteX23" fmla="*/ 0 w 6365383"/>
                      <a:gd name="connsiteY23"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365383" h="27432" fill="none" extrusionOk="0">
                        <a:moveTo>
                          <a:pt x="0" y="0"/>
                        </a:moveTo>
                        <a:cubicBezTo>
                          <a:pt x="305169" y="21509"/>
                          <a:pt x="334704" y="-24261"/>
                          <a:pt x="636538" y="0"/>
                        </a:cubicBezTo>
                        <a:cubicBezTo>
                          <a:pt x="938372" y="24261"/>
                          <a:pt x="1068606" y="2269"/>
                          <a:pt x="1273077" y="0"/>
                        </a:cubicBezTo>
                        <a:cubicBezTo>
                          <a:pt x="1477548" y="-2269"/>
                          <a:pt x="1738189" y="6272"/>
                          <a:pt x="1909615" y="0"/>
                        </a:cubicBezTo>
                        <a:cubicBezTo>
                          <a:pt x="2081041" y="-6272"/>
                          <a:pt x="2377015" y="16623"/>
                          <a:pt x="2673461" y="0"/>
                        </a:cubicBezTo>
                        <a:cubicBezTo>
                          <a:pt x="2969907" y="-16623"/>
                          <a:pt x="3126114" y="13194"/>
                          <a:pt x="3373653" y="0"/>
                        </a:cubicBezTo>
                        <a:cubicBezTo>
                          <a:pt x="3621192" y="-13194"/>
                          <a:pt x="3704499" y="9486"/>
                          <a:pt x="3819230" y="0"/>
                        </a:cubicBezTo>
                        <a:cubicBezTo>
                          <a:pt x="3933961" y="-9486"/>
                          <a:pt x="4142691" y="-8221"/>
                          <a:pt x="4392114" y="0"/>
                        </a:cubicBezTo>
                        <a:cubicBezTo>
                          <a:pt x="4641537" y="8221"/>
                          <a:pt x="4974506" y="12257"/>
                          <a:pt x="5155960" y="0"/>
                        </a:cubicBezTo>
                        <a:cubicBezTo>
                          <a:pt x="5337414" y="-12257"/>
                          <a:pt x="5585731" y="-22537"/>
                          <a:pt x="5792499" y="0"/>
                        </a:cubicBezTo>
                        <a:cubicBezTo>
                          <a:pt x="5999267" y="22537"/>
                          <a:pt x="6164726" y="7303"/>
                          <a:pt x="6365383" y="0"/>
                        </a:cubicBezTo>
                        <a:cubicBezTo>
                          <a:pt x="6365125" y="7487"/>
                          <a:pt x="6364462" y="19984"/>
                          <a:pt x="6365383" y="27432"/>
                        </a:cubicBezTo>
                        <a:cubicBezTo>
                          <a:pt x="6132222" y="28304"/>
                          <a:pt x="6011986" y="2071"/>
                          <a:pt x="5856152" y="27432"/>
                        </a:cubicBezTo>
                        <a:cubicBezTo>
                          <a:pt x="5700318" y="52793"/>
                          <a:pt x="5410732" y="5357"/>
                          <a:pt x="5092306" y="27432"/>
                        </a:cubicBezTo>
                        <a:cubicBezTo>
                          <a:pt x="4773880" y="49507"/>
                          <a:pt x="4705351" y="6645"/>
                          <a:pt x="4583076" y="27432"/>
                        </a:cubicBezTo>
                        <a:cubicBezTo>
                          <a:pt x="4460801" y="48220"/>
                          <a:pt x="4239915" y="42209"/>
                          <a:pt x="4137499" y="27432"/>
                        </a:cubicBezTo>
                        <a:cubicBezTo>
                          <a:pt x="4035083" y="12655"/>
                          <a:pt x="3883665" y="32012"/>
                          <a:pt x="3691922" y="27432"/>
                        </a:cubicBezTo>
                        <a:cubicBezTo>
                          <a:pt x="3500179" y="22852"/>
                          <a:pt x="3265830" y="-126"/>
                          <a:pt x="2991730" y="27432"/>
                        </a:cubicBezTo>
                        <a:cubicBezTo>
                          <a:pt x="2717630" y="54990"/>
                          <a:pt x="2757122" y="34407"/>
                          <a:pt x="2546153" y="27432"/>
                        </a:cubicBezTo>
                        <a:cubicBezTo>
                          <a:pt x="2335184" y="20457"/>
                          <a:pt x="2107331" y="58889"/>
                          <a:pt x="1909615" y="27432"/>
                        </a:cubicBezTo>
                        <a:cubicBezTo>
                          <a:pt x="1711899" y="-4025"/>
                          <a:pt x="1634641" y="48316"/>
                          <a:pt x="1400384" y="27432"/>
                        </a:cubicBezTo>
                        <a:cubicBezTo>
                          <a:pt x="1166127" y="6548"/>
                          <a:pt x="1068288" y="15776"/>
                          <a:pt x="763846" y="27432"/>
                        </a:cubicBezTo>
                        <a:cubicBezTo>
                          <a:pt x="459404" y="39088"/>
                          <a:pt x="170017" y="14515"/>
                          <a:pt x="0" y="27432"/>
                        </a:cubicBezTo>
                        <a:cubicBezTo>
                          <a:pt x="-14" y="18173"/>
                          <a:pt x="-517" y="8990"/>
                          <a:pt x="0" y="0"/>
                        </a:cubicBezTo>
                        <a:close/>
                      </a:path>
                      <a:path w="6365383" h="27432" stroke="0" extrusionOk="0">
                        <a:moveTo>
                          <a:pt x="0" y="0"/>
                        </a:moveTo>
                        <a:cubicBezTo>
                          <a:pt x="114610" y="-2215"/>
                          <a:pt x="340315" y="12554"/>
                          <a:pt x="572884" y="0"/>
                        </a:cubicBezTo>
                        <a:cubicBezTo>
                          <a:pt x="805453" y="-12554"/>
                          <a:pt x="832891" y="-10424"/>
                          <a:pt x="1018461" y="0"/>
                        </a:cubicBezTo>
                        <a:cubicBezTo>
                          <a:pt x="1204031" y="10424"/>
                          <a:pt x="1590875" y="8682"/>
                          <a:pt x="1782307" y="0"/>
                        </a:cubicBezTo>
                        <a:cubicBezTo>
                          <a:pt x="1973739" y="-8682"/>
                          <a:pt x="2150876" y="5508"/>
                          <a:pt x="2355192" y="0"/>
                        </a:cubicBezTo>
                        <a:cubicBezTo>
                          <a:pt x="2559508" y="-5508"/>
                          <a:pt x="2790194" y="26965"/>
                          <a:pt x="2928076" y="0"/>
                        </a:cubicBezTo>
                        <a:cubicBezTo>
                          <a:pt x="3065958" y="-26965"/>
                          <a:pt x="3321537" y="819"/>
                          <a:pt x="3691922" y="0"/>
                        </a:cubicBezTo>
                        <a:cubicBezTo>
                          <a:pt x="4062307" y="-819"/>
                          <a:pt x="4072238" y="-15327"/>
                          <a:pt x="4201153" y="0"/>
                        </a:cubicBezTo>
                        <a:cubicBezTo>
                          <a:pt x="4330068" y="15327"/>
                          <a:pt x="4772079" y="-35646"/>
                          <a:pt x="4964999" y="0"/>
                        </a:cubicBezTo>
                        <a:cubicBezTo>
                          <a:pt x="5157919" y="35646"/>
                          <a:pt x="5543915" y="6802"/>
                          <a:pt x="5728845" y="0"/>
                        </a:cubicBezTo>
                        <a:cubicBezTo>
                          <a:pt x="5913775" y="-6802"/>
                          <a:pt x="6142952" y="-21408"/>
                          <a:pt x="6365383" y="0"/>
                        </a:cubicBezTo>
                        <a:cubicBezTo>
                          <a:pt x="6364552" y="6329"/>
                          <a:pt x="6365787" y="16858"/>
                          <a:pt x="6365383" y="27432"/>
                        </a:cubicBezTo>
                        <a:cubicBezTo>
                          <a:pt x="6176931" y="320"/>
                          <a:pt x="5998736" y="11244"/>
                          <a:pt x="5665191" y="27432"/>
                        </a:cubicBezTo>
                        <a:cubicBezTo>
                          <a:pt x="5331646" y="43620"/>
                          <a:pt x="5198011" y="28615"/>
                          <a:pt x="4901345" y="27432"/>
                        </a:cubicBezTo>
                        <a:cubicBezTo>
                          <a:pt x="4604679" y="26249"/>
                          <a:pt x="4422931" y="40617"/>
                          <a:pt x="4137499" y="27432"/>
                        </a:cubicBezTo>
                        <a:cubicBezTo>
                          <a:pt x="3852067" y="14247"/>
                          <a:pt x="3861939" y="26581"/>
                          <a:pt x="3628268" y="27432"/>
                        </a:cubicBezTo>
                        <a:cubicBezTo>
                          <a:pt x="3394597" y="28283"/>
                          <a:pt x="3171361" y="44132"/>
                          <a:pt x="2991730" y="27432"/>
                        </a:cubicBezTo>
                        <a:cubicBezTo>
                          <a:pt x="2812099" y="10732"/>
                          <a:pt x="2469344" y="24737"/>
                          <a:pt x="2227884" y="27432"/>
                        </a:cubicBezTo>
                        <a:cubicBezTo>
                          <a:pt x="1986424" y="30127"/>
                          <a:pt x="1748067" y="6359"/>
                          <a:pt x="1591346" y="27432"/>
                        </a:cubicBezTo>
                        <a:cubicBezTo>
                          <a:pt x="1434625" y="48505"/>
                          <a:pt x="1307456" y="39663"/>
                          <a:pt x="1145769" y="27432"/>
                        </a:cubicBezTo>
                        <a:cubicBezTo>
                          <a:pt x="984082" y="15201"/>
                          <a:pt x="800279" y="41647"/>
                          <a:pt x="636538" y="27432"/>
                        </a:cubicBezTo>
                        <a:cubicBezTo>
                          <a:pt x="472797" y="13217"/>
                          <a:pt x="160022" y="2213"/>
                          <a:pt x="0" y="27432"/>
                        </a:cubicBezTo>
                        <a:cubicBezTo>
                          <a:pt x="-177" y="19307"/>
                          <a:pt x="-1145" y="9170"/>
                          <a:pt x="0" y="0"/>
                        </a:cubicBezTo>
                        <a:close/>
                      </a:path>
                    </a:pathLst>
                  </a:cu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414456092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p:cNvGrpSpPr/>
          <p:nvPr/>
        </p:nvGrpSpPr>
        <p:grpSpPr>
          <a:xfrm>
            <a:off x="4329156" y="9695736"/>
            <a:ext cx="13958844" cy="666567"/>
            <a:chOff x="4329156" y="9649198"/>
            <a:chExt cx="13958844" cy="666567"/>
          </a:xfrm>
        </p:grpSpPr>
        <p:pic>
          <p:nvPicPr>
            <p:cNvPr id="18" name="Picture 12"/>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19" name="TextBox 16"/>
            <p:cNvSpPr txBox="1"/>
            <p:nvPr/>
          </p:nvSpPr>
          <p:spPr>
            <a:xfrm>
              <a:off x="14400029" y="9732291"/>
              <a:ext cx="3636320" cy="448713"/>
            </a:xfrm>
            <a:prstGeom prst="rect">
              <a:avLst/>
            </a:prstGeom>
          </p:spPr>
          <p:txBody>
            <a:bodyPr wrap="square" lIns="0" tIns="0" rIns="0" bIns="0" rtlCol="0" anchor="t">
              <a:spAutoFit/>
            </a:bodyPr>
            <a:lstStyle/>
            <a:p>
              <a:pPr marL="0" marR="0" lvl="0" indent="0" algn="ctr" defTabSz="914400" rtl="0" eaLnBrk="1" fontAlgn="auto" latinLnBrk="0" hangingPunct="1">
                <a:lnSpc>
                  <a:spcPts val="3920"/>
                </a:lnSpc>
                <a:spcBef>
                  <a:spcPct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OCR A Extended" panose="02010509020102010303" pitchFamily="50" charset="0"/>
                  <a:ea typeface="+mn-ea"/>
                  <a:cs typeface="+mn-cs"/>
                </a:rPr>
                <a:t>www.retrofeed.eu</a:t>
              </a:r>
            </a:p>
          </p:txBody>
        </p:sp>
      </p:grpSp>
      <p:pic>
        <p:nvPicPr>
          <p:cNvPr id="20" name="Picture 12"/>
          <p:cNvPicPr>
            <a:picLocks noChangeAspect="1"/>
          </p:cNvPicPr>
          <p:nvPr/>
        </p:nvPicPr>
        <p:blipFill>
          <a:blip r:embed="rId4"/>
          <a:srcRect/>
          <a:stretch>
            <a:fillRect/>
          </a:stretch>
        </p:blipFill>
        <p:spPr>
          <a:xfrm>
            <a:off x="0" y="8901113"/>
            <a:ext cx="5715000" cy="1385887"/>
          </a:xfrm>
          <a:prstGeom prst="rect">
            <a:avLst/>
          </a:prstGeom>
        </p:spPr>
      </p:pic>
      <p:grpSp>
        <p:nvGrpSpPr>
          <p:cNvPr id="3" name="Gruppo 2"/>
          <p:cNvGrpSpPr/>
          <p:nvPr/>
        </p:nvGrpSpPr>
        <p:grpSpPr>
          <a:xfrm>
            <a:off x="-12" y="138554"/>
            <a:ext cx="18288002" cy="681138"/>
            <a:chOff x="-12" y="138554"/>
            <a:chExt cx="18288002" cy="681138"/>
          </a:xfrm>
        </p:grpSpPr>
        <p:grpSp>
          <p:nvGrpSpPr>
            <p:cNvPr id="16" name="Gruppo 15"/>
            <p:cNvGrpSpPr/>
            <p:nvPr/>
          </p:nvGrpSpPr>
          <p:grpSpPr>
            <a:xfrm>
              <a:off x="0" y="153125"/>
              <a:ext cx="13958844" cy="666567"/>
              <a:chOff x="0" y="153125"/>
              <a:chExt cx="13958844" cy="666567"/>
            </a:xfrm>
          </p:grpSpPr>
          <p:pic>
            <p:nvPicPr>
              <p:cNvPr id="10" name="Picture 10"/>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1" name="TextBox 11"/>
              <p:cNvSpPr txBox="1"/>
              <p:nvPr/>
            </p:nvSpPr>
            <p:spPr>
              <a:xfrm>
                <a:off x="228600" y="257980"/>
                <a:ext cx="5752704" cy="456856"/>
              </a:xfrm>
              <a:prstGeom prst="rect">
                <a:avLst/>
              </a:prstGeom>
            </p:spPr>
            <p:txBody>
              <a:bodyPr wrap="square" lIns="0" tIns="0" rIns="0" bIns="0" rtlCol="0" anchor="t">
                <a:spAutoFit/>
              </a:bodyPr>
              <a:lstStyle/>
              <a:p>
                <a:pPr marL="0" marR="0" lvl="0" indent="0" algn="l" defTabSz="914400" rtl="0" eaLnBrk="1" fontAlgn="auto" latinLnBrk="0" hangingPunct="1">
                  <a:lnSpc>
                    <a:spcPts val="3920"/>
                  </a:lnSpc>
                  <a:spcBef>
                    <a:spcPct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5" name="Rettangolo 14"/>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27" name="TextBox 13"/>
          <p:cNvSpPr txBox="1"/>
          <p:nvPr/>
        </p:nvSpPr>
        <p:spPr>
          <a:xfrm>
            <a:off x="1897812" y="1197976"/>
            <a:ext cx="15579306" cy="1052468"/>
          </a:xfrm>
          <a:prstGeom prst="rect">
            <a:avLst/>
          </a:prstGeom>
        </p:spPr>
        <p:txBody>
          <a:bodyPr wrap="square" lIns="0" tIns="0" rIns="0" bIns="0" rtlCol="0" anchor="t">
            <a:spAutoFit/>
          </a:bodyPr>
          <a:lstStyle/>
          <a:p>
            <a:pPr marL="0" marR="0" lvl="0" indent="0" algn="ctr" defTabSz="914400" rtl="0" eaLnBrk="1" fontAlgn="auto" latinLnBrk="0" hangingPunct="1">
              <a:lnSpc>
                <a:spcPts val="8960"/>
              </a:lnSpc>
              <a:spcBef>
                <a:spcPct val="0"/>
              </a:spcBef>
              <a:spcAft>
                <a:spcPts val="0"/>
              </a:spcAft>
              <a:buClrTx/>
              <a:buSzTx/>
              <a:buFontTx/>
              <a:buNone/>
              <a:tabLst/>
              <a:defRPr/>
            </a:pPr>
            <a:r>
              <a:rPr kumimoji="0" lang="en-US" sz="6400" b="1" i="0" u="none" strike="noStrike" kern="1200" cap="none" spc="0" normalizeH="0" baseline="0" noProof="0">
                <a:ln>
                  <a:noFill/>
                </a:ln>
                <a:solidFill>
                  <a:srgbClr val="CC0033"/>
                </a:solidFill>
                <a:effectLst/>
                <a:uLnTx/>
                <a:uFillTx/>
                <a:latin typeface="Arial"/>
                <a:ea typeface="+mn-ea"/>
                <a:cs typeface="Arial" panose="020B0604020202020204" pitchFamily="34" charset="0"/>
              </a:rPr>
              <a:t>RETROFEED: Main goals expected  </a:t>
            </a:r>
          </a:p>
        </p:txBody>
      </p:sp>
      <p:pic>
        <p:nvPicPr>
          <p:cNvPr id="5" name="Picture 4" descr="g1359"/>
          <p:cNvPicPr>
            <a:picLocks noChangeAspect="1"/>
          </p:cNvPicPr>
          <p:nvPr/>
        </p:nvPicPr>
        <p:blipFill>
          <a:blip r:embed="rId6"/>
          <a:stretch>
            <a:fillRect/>
          </a:stretch>
        </p:blipFill>
        <p:spPr>
          <a:xfrm>
            <a:off x="1262380" y="3388360"/>
            <a:ext cx="15761970" cy="4498340"/>
          </a:xfrm>
          <a:prstGeom prst="rect">
            <a:avLst/>
          </a:prstGeom>
        </p:spPr>
      </p:pic>
    </p:spTree>
  </p:cSld>
  <p:clrMapOvr>
    <a:masterClrMapping/>
  </p:clrMapOvr>
  <mc:AlternateContent xmlns:mc="http://schemas.openxmlformats.org/markup-compatibility/2006" xmlns:p14="http://schemas.microsoft.com/office/powerpoint/2010/main">
    <mc:Choice Requires="p14">
      <p:transition spd="slow" p14:dur="2000" advTm="34398"/>
    </mc:Choice>
    <mc:Fallback xmlns="">
      <p:transition spd="slow" advTm="34398"/>
    </mc:Fallback>
  </mc:AlternateContent>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1" name="Picture 12">
            <a:extLst>
              <a:ext uri="{FF2B5EF4-FFF2-40B4-BE49-F238E27FC236}">
                <a16:creationId xmlns:a16="http://schemas.microsoft.com/office/drawing/2014/main" id="{43802E0E-B79D-4EA7-8141-0CA3ED138B1A}"/>
              </a:ext>
            </a:extLst>
          </p:cNvPr>
          <p:cNvPicPr>
            <a:picLocks noChangeAspect="1"/>
          </p:cNvPicPr>
          <p:nvPr/>
        </p:nvPicPr>
        <p:blipFill>
          <a:blip r:embed="rId3"/>
          <a:srcRect/>
          <a:stretch>
            <a:fillRect/>
          </a:stretch>
        </p:blipFill>
        <p:spPr>
          <a:xfrm>
            <a:off x="0" y="8959889"/>
            <a:ext cx="5715000" cy="1385887"/>
          </a:xfrm>
          <a:prstGeom prst="rect">
            <a:avLst/>
          </a:prstGeom>
        </p:spPr>
      </p:pic>
      <p:grpSp>
        <p:nvGrpSpPr>
          <p:cNvPr id="132" name="Gruppo 2">
            <a:extLst>
              <a:ext uri="{FF2B5EF4-FFF2-40B4-BE49-F238E27FC236}">
                <a16:creationId xmlns:a16="http://schemas.microsoft.com/office/drawing/2014/main" id="{649928F6-6E82-4611-9715-AD3C75457C28}"/>
              </a:ext>
            </a:extLst>
          </p:cNvPr>
          <p:cNvGrpSpPr/>
          <p:nvPr/>
        </p:nvGrpSpPr>
        <p:grpSpPr>
          <a:xfrm>
            <a:off x="-12" y="138554"/>
            <a:ext cx="18288002" cy="681138"/>
            <a:chOff x="-12" y="138554"/>
            <a:chExt cx="18288002" cy="681138"/>
          </a:xfrm>
        </p:grpSpPr>
        <p:grpSp>
          <p:nvGrpSpPr>
            <p:cNvPr id="133" name="Gruppo 1">
              <a:extLst>
                <a:ext uri="{FF2B5EF4-FFF2-40B4-BE49-F238E27FC236}">
                  <a16:creationId xmlns:a16="http://schemas.microsoft.com/office/drawing/2014/main" id="{A8EB8794-E5C6-45EB-BAEC-2778E982797A}"/>
                </a:ext>
              </a:extLst>
            </p:cNvPr>
            <p:cNvGrpSpPr/>
            <p:nvPr/>
          </p:nvGrpSpPr>
          <p:grpSpPr>
            <a:xfrm>
              <a:off x="0" y="153125"/>
              <a:ext cx="17907000" cy="666567"/>
              <a:chOff x="0" y="153125"/>
              <a:chExt cx="17907000" cy="666567"/>
            </a:xfrm>
          </p:grpSpPr>
          <p:grpSp>
            <p:nvGrpSpPr>
              <p:cNvPr id="135" name="Gruppo 15">
                <a:extLst>
                  <a:ext uri="{FF2B5EF4-FFF2-40B4-BE49-F238E27FC236}">
                    <a16:creationId xmlns:a16="http://schemas.microsoft.com/office/drawing/2014/main" id="{AB129748-9FD7-458D-BD6E-304271C1814A}"/>
                  </a:ext>
                </a:extLst>
              </p:cNvPr>
              <p:cNvGrpSpPr/>
              <p:nvPr/>
            </p:nvGrpSpPr>
            <p:grpSpPr>
              <a:xfrm>
                <a:off x="0" y="153125"/>
                <a:ext cx="13958844" cy="666567"/>
                <a:chOff x="0" y="153125"/>
                <a:chExt cx="13958844" cy="666567"/>
              </a:xfrm>
            </p:grpSpPr>
            <p:pic>
              <p:nvPicPr>
                <p:cNvPr id="137" name="Picture 136">
                  <a:extLst>
                    <a:ext uri="{FF2B5EF4-FFF2-40B4-BE49-F238E27FC236}">
                      <a16:creationId xmlns:a16="http://schemas.microsoft.com/office/drawing/2014/main" id="{88E31CFD-796F-4F3F-A1EC-0E38F9D83456}"/>
                    </a:ext>
                  </a:extLst>
                </p:cNvPr>
                <p:cNvPicPr>
                  <a:picLocks noChangeAspect="1"/>
                </p:cNvPicPr>
                <p:nvPr/>
              </p:nvPicPr>
              <p:blipFill>
                <a:blip r:embed="rId4"/>
                <a:srcRect l="134" t="91287" b="3943"/>
                <a:stretch>
                  <a:fillRect/>
                </a:stretch>
              </p:blipFill>
              <p:spPr>
                <a:xfrm>
                  <a:off x="0" y="153125"/>
                  <a:ext cx="13958844" cy="666567"/>
                </a:xfrm>
                <a:prstGeom prst="rect">
                  <a:avLst/>
                </a:prstGeom>
              </p:spPr>
            </p:pic>
            <p:sp>
              <p:nvSpPr>
                <p:cNvPr id="138" name="TextBox 137">
                  <a:extLst>
                    <a:ext uri="{FF2B5EF4-FFF2-40B4-BE49-F238E27FC236}">
                      <a16:creationId xmlns:a16="http://schemas.microsoft.com/office/drawing/2014/main" id="{7694DADD-E227-40A7-A98D-244B0D207E54}"/>
                    </a:ext>
                  </a:extLst>
                </p:cNvPr>
                <p:cNvSpPr txBox="1"/>
                <p:nvPr/>
              </p:nvSpPr>
              <p:spPr>
                <a:xfrm>
                  <a:off x="228600" y="257980"/>
                  <a:ext cx="9296400" cy="456856"/>
                </a:xfrm>
                <a:prstGeom prst="rect">
                  <a:avLst/>
                </a:prstGeom>
              </p:spPr>
              <p:txBody>
                <a:bodyPr wrap="square" lIns="0" tIns="0" rIns="0" bIns="0" rtlCol="0" anchor="t">
                  <a:spAutoFit/>
                </a:bodyPr>
                <a:lstStyle/>
                <a:p>
                  <a:pPr marL="0" marR="0" lvl="0" indent="0" algn="l" defTabSz="914400" rtl="0" eaLnBrk="1" fontAlgn="auto" latinLnBrk="0" hangingPunct="1">
                    <a:lnSpc>
                      <a:spcPts val="3919"/>
                    </a:lnSpc>
                    <a:spcBef>
                      <a:spcPct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36" name="TextBox 135">
                <a:extLst>
                  <a:ext uri="{FF2B5EF4-FFF2-40B4-BE49-F238E27FC236}">
                    <a16:creationId xmlns:a16="http://schemas.microsoft.com/office/drawing/2014/main" id="{4B3CCEBB-60EF-4175-9878-F0D51FD80FF0}"/>
                  </a:ext>
                </a:extLst>
              </p:cNvPr>
              <p:cNvSpPr txBox="1"/>
              <p:nvPr/>
            </p:nvSpPr>
            <p:spPr>
              <a:xfrm>
                <a:off x="12154296" y="257980"/>
                <a:ext cx="5752704" cy="456856"/>
              </a:xfrm>
              <a:prstGeom prst="rect">
                <a:avLst/>
              </a:prstGeom>
            </p:spPr>
            <p:txBody>
              <a:bodyPr wrap="square" lIns="0" tIns="0" rIns="0" bIns="0" rtlCol="0" anchor="t">
                <a:spAutoFit/>
              </a:bodyPr>
              <a:lstStyle/>
              <a:p>
                <a:pPr marL="0" marR="0" lvl="0" indent="0" algn="r" defTabSz="914400" rtl="0" eaLnBrk="1" fontAlgn="auto" latinLnBrk="0" hangingPunct="1">
                  <a:lnSpc>
                    <a:spcPts val="3919"/>
                  </a:lnSpc>
                  <a:spcBef>
                    <a:spcPct val="0"/>
                  </a:spcBef>
                  <a:spcAft>
                    <a:spcPts val="0"/>
                  </a:spcAft>
                  <a:buClrTx/>
                  <a:buSzTx/>
                  <a:buFontTx/>
                  <a:buNone/>
                  <a:tabLst/>
                  <a:defRPr/>
                </a:pPr>
                <a:endParaRPr kumimoji="0" lang="en-US" sz="2800" b="0" i="0" u="none" strike="noStrike" kern="1200" cap="none" spc="0" normalizeH="0" baseline="0" noProof="0">
                  <a:ln>
                    <a:noFill/>
                  </a:ln>
                  <a:solidFill>
                    <a:srgbClr val="2F2F2F">
                      <a:lumMod val="75000"/>
                      <a:lumOff val="25000"/>
                    </a:srgbClr>
                  </a:solidFill>
                  <a:effectLst/>
                  <a:uLnTx/>
                  <a:uFillTx/>
                  <a:latin typeface="Arial" panose="020B0604020202020204" pitchFamily="34" charset="0"/>
                  <a:ea typeface="+mn-ea"/>
                  <a:cs typeface="Arial" panose="020B0604020202020204" pitchFamily="34" charset="0"/>
                </a:endParaRPr>
              </a:p>
            </p:txBody>
          </p:sp>
        </p:grpSp>
        <p:sp>
          <p:nvSpPr>
            <p:cNvPr id="134" name="Rettangolo 13">
              <a:extLst>
                <a:ext uri="{FF2B5EF4-FFF2-40B4-BE49-F238E27FC236}">
                  <a16:creationId xmlns:a16="http://schemas.microsoft.com/office/drawing/2014/main" id="{8F0CF2A7-592A-4287-9206-D3289F1B0C37}"/>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pic>
        <p:nvPicPr>
          <p:cNvPr id="139" name="Picture 12">
            <a:extLst>
              <a:ext uri="{FF2B5EF4-FFF2-40B4-BE49-F238E27FC236}">
                <a16:creationId xmlns:a16="http://schemas.microsoft.com/office/drawing/2014/main" id="{F047215A-40D8-4A57-BE02-5E03FCEEBB7B}"/>
              </a:ext>
            </a:extLst>
          </p:cNvPr>
          <p:cNvPicPr>
            <a:picLocks noChangeAspect="1"/>
          </p:cNvPicPr>
          <p:nvPr/>
        </p:nvPicPr>
        <p:blipFill>
          <a:blip r:embed="rId5"/>
          <a:srcRect l="134" t="91287" b="3943"/>
          <a:stretch>
            <a:fillRect/>
          </a:stretch>
        </p:blipFill>
        <p:spPr>
          <a:xfrm rot="10800000">
            <a:off x="4329146" y="9679208"/>
            <a:ext cx="13958844" cy="666567"/>
          </a:xfrm>
          <a:prstGeom prst="rect">
            <a:avLst/>
          </a:prstGeom>
        </p:spPr>
      </p:pic>
      <p:sp>
        <p:nvSpPr>
          <p:cNvPr id="140" name="TextBox 16">
            <a:extLst>
              <a:ext uri="{FF2B5EF4-FFF2-40B4-BE49-F238E27FC236}">
                <a16:creationId xmlns:a16="http://schemas.microsoft.com/office/drawing/2014/main" id="{C693B1DB-897C-4A9D-8CF3-F1423F6CB38D}"/>
              </a:ext>
            </a:extLst>
          </p:cNvPr>
          <p:cNvSpPr txBox="1"/>
          <p:nvPr/>
        </p:nvSpPr>
        <p:spPr>
          <a:xfrm>
            <a:off x="14400019" y="9762301"/>
            <a:ext cx="3636320" cy="448713"/>
          </a:xfrm>
          <a:prstGeom prst="rect">
            <a:avLst/>
          </a:prstGeom>
        </p:spPr>
        <p:txBody>
          <a:bodyPr wrap="square" lIns="0" tIns="0" rIns="0" bIns="0" rtlCol="0" anchor="t">
            <a:spAutoFit/>
          </a:bodyPr>
          <a:lstStyle/>
          <a:p>
            <a:pPr marL="0" marR="0" lvl="0" indent="0" algn="ctr" defTabSz="914400" rtl="0" eaLnBrk="1" fontAlgn="auto" latinLnBrk="0" hangingPunct="1">
              <a:lnSpc>
                <a:spcPts val="3919"/>
              </a:lnSpc>
              <a:spcBef>
                <a:spcPct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OCR A Extended" panose="02010509020102010303" pitchFamily="50" charset="0"/>
                <a:ea typeface="+mn-ea"/>
                <a:cs typeface="+mn-cs"/>
              </a:rPr>
              <a:t>www.retrofeed.eu</a:t>
            </a:r>
          </a:p>
        </p:txBody>
      </p:sp>
      <p:sp>
        <p:nvSpPr>
          <p:cNvPr id="2" name="Rektangel: rundade hörn 1">
            <a:extLst>
              <a:ext uri="{FF2B5EF4-FFF2-40B4-BE49-F238E27FC236}">
                <a16:creationId xmlns:a16="http://schemas.microsoft.com/office/drawing/2014/main" id="{CECE2BFC-A686-5DBD-F71E-B6566D0BCF8F}"/>
              </a:ext>
            </a:extLst>
          </p:cNvPr>
          <p:cNvSpPr/>
          <p:nvPr/>
        </p:nvSpPr>
        <p:spPr>
          <a:xfrm>
            <a:off x="4837653" y="2732093"/>
            <a:ext cx="3668377" cy="2296031"/>
          </a:xfrm>
          <a:prstGeom prst="roundRect">
            <a:avLst/>
          </a:prstGeom>
        </p:spPr>
        <p:style>
          <a:lnRef idx="0">
            <a:schemeClr val="accent2"/>
          </a:lnRef>
          <a:fillRef idx="3">
            <a:schemeClr val="accent2"/>
          </a:fillRef>
          <a:effectRef idx="3">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Arial"/>
              <a:ea typeface="+mn-ea"/>
              <a:cs typeface="+mn-cs"/>
            </a:endParaRPr>
          </a:p>
        </p:txBody>
      </p:sp>
      <p:pic>
        <p:nvPicPr>
          <p:cNvPr id="3" name="Picture 276" descr="RETROFEED FERTIBERIA">
            <a:extLst>
              <a:ext uri="{FF2B5EF4-FFF2-40B4-BE49-F238E27FC236}">
                <a16:creationId xmlns:a16="http://schemas.microsoft.com/office/drawing/2014/main" id="{68F728EB-9221-66C4-A95B-7C0803E6A45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322271" y="3333681"/>
            <a:ext cx="2287452" cy="841782"/>
          </a:xfrm>
          <a:prstGeom prst="rect">
            <a:avLst/>
          </a:prstGeom>
          <a:noFill/>
          <a:extLst>
            <a:ext uri="{909E8E84-426E-40DD-AFC4-6F175D3DCCD1}">
              <a14:hiddenFill xmlns:a14="http://schemas.microsoft.com/office/drawing/2010/main">
                <a:solidFill>
                  <a:srgbClr val="FFFFFF"/>
                </a:solidFill>
              </a14:hiddenFill>
            </a:ext>
          </a:extLst>
        </p:spPr>
      </p:pic>
      <p:sp>
        <p:nvSpPr>
          <p:cNvPr id="5" name="Rektangel: rundade hörn 4">
            <a:extLst>
              <a:ext uri="{FF2B5EF4-FFF2-40B4-BE49-F238E27FC236}">
                <a16:creationId xmlns:a16="http://schemas.microsoft.com/office/drawing/2014/main" id="{69D483DF-CDBC-4BF7-9908-24D0719662D7}"/>
              </a:ext>
            </a:extLst>
          </p:cNvPr>
          <p:cNvSpPr/>
          <p:nvPr/>
        </p:nvSpPr>
        <p:spPr>
          <a:xfrm>
            <a:off x="8947155" y="2773672"/>
            <a:ext cx="3668377" cy="2296031"/>
          </a:xfrm>
          <a:prstGeom prst="roundRect">
            <a:avLst/>
          </a:prstGeom>
        </p:spPr>
        <p:style>
          <a:lnRef idx="0">
            <a:schemeClr val="accent2"/>
          </a:lnRef>
          <a:fillRef idx="3">
            <a:schemeClr val="accent2"/>
          </a:fillRef>
          <a:effectRef idx="3">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Arial"/>
              <a:ea typeface="+mn-ea"/>
              <a:cs typeface="+mn-cs"/>
            </a:endParaRPr>
          </a:p>
        </p:txBody>
      </p:sp>
      <p:pic>
        <p:nvPicPr>
          <p:cNvPr id="6" name="Imagen 93">
            <a:extLst>
              <a:ext uri="{FF2B5EF4-FFF2-40B4-BE49-F238E27FC236}">
                <a16:creationId xmlns:a16="http://schemas.microsoft.com/office/drawing/2014/main" id="{FE65A18C-DAF5-EABF-2A0C-C9C0CEC0555C}"/>
              </a:ext>
            </a:extLst>
          </p:cNvPr>
          <p:cNvPicPr>
            <a:picLocks noChangeAspect="1"/>
          </p:cNvPicPr>
          <p:nvPr/>
        </p:nvPicPr>
        <p:blipFill rotWithShape="1">
          <a:blip r:embed="rId7"/>
          <a:srcRect l="23084" t="14316" r="9046" b="7091"/>
          <a:stretch/>
        </p:blipFill>
        <p:spPr>
          <a:xfrm>
            <a:off x="9808712" y="2992464"/>
            <a:ext cx="1945259" cy="1589900"/>
          </a:xfrm>
          <a:prstGeom prst="rect">
            <a:avLst/>
          </a:prstGeom>
        </p:spPr>
      </p:pic>
      <p:sp>
        <p:nvSpPr>
          <p:cNvPr id="8" name="Rektangel: rundade hörn 7">
            <a:extLst>
              <a:ext uri="{FF2B5EF4-FFF2-40B4-BE49-F238E27FC236}">
                <a16:creationId xmlns:a16="http://schemas.microsoft.com/office/drawing/2014/main" id="{E0A1FEEF-69D9-D28A-A341-6B6EBC694D66}"/>
              </a:ext>
            </a:extLst>
          </p:cNvPr>
          <p:cNvSpPr/>
          <p:nvPr/>
        </p:nvSpPr>
        <p:spPr>
          <a:xfrm>
            <a:off x="4789551" y="5695199"/>
            <a:ext cx="3668377" cy="2296031"/>
          </a:xfrm>
          <a:prstGeom prst="roundRect">
            <a:avLst/>
          </a:prstGeom>
        </p:spPr>
        <p:style>
          <a:lnRef idx="0">
            <a:schemeClr val="accent2"/>
          </a:lnRef>
          <a:fillRef idx="3">
            <a:schemeClr val="accent2"/>
          </a:fillRef>
          <a:effectRef idx="3">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Arial"/>
              <a:ea typeface="+mn-ea"/>
              <a:cs typeface="+mn-cs"/>
            </a:endParaRPr>
          </a:p>
        </p:txBody>
      </p:sp>
      <p:sp>
        <p:nvSpPr>
          <p:cNvPr id="10" name="Rektangel: rundade hörn 9">
            <a:extLst>
              <a:ext uri="{FF2B5EF4-FFF2-40B4-BE49-F238E27FC236}">
                <a16:creationId xmlns:a16="http://schemas.microsoft.com/office/drawing/2014/main" id="{2BCF4518-4C6A-7A7F-24E1-3CDCF8B8C57F}"/>
              </a:ext>
            </a:extLst>
          </p:cNvPr>
          <p:cNvSpPr/>
          <p:nvPr/>
        </p:nvSpPr>
        <p:spPr>
          <a:xfrm>
            <a:off x="8947154" y="5695199"/>
            <a:ext cx="3668377" cy="2296031"/>
          </a:xfrm>
          <a:prstGeom prst="roundRect">
            <a:avLst/>
          </a:prstGeom>
        </p:spPr>
        <p:style>
          <a:lnRef idx="0">
            <a:schemeClr val="accent2"/>
          </a:lnRef>
          <a:fillRef idx="3">
            <a:schemeClr val="accent2"/>
          </a:fillRef>
          <a:effectRef idx="3">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Arial"/>
              <a:ea typeface="+mn-ea"/>
              <a:cs typeface="+mn-cs"/>
            </a:endParaRPr>
          </a:p>
        </p:txBody>
      </p:sp>
      <p:pic>
        <p:nvPicPr>
          <p:cNvPr id="11" name="Picture 18">
            <a:hlinkClick r:id="" action="ppaction://noaction"/>
            <a:extLst>
              <a:ext uri="{FF2B5EF4-FFF2-40B4-BE49-F238E27FC236}">
                <a16:creationId xmlns:a16="http://schemas.microsoft.com/office/drawing/2014/main" id="{4F6B728D-DDC7-AD74-4767-C63866A4ED33}"/>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403429" y="6065874"/>
            <a:ext cx="2853039" cy="430639"/>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6" descr="RETROFEED PITTINI">
            <a:hlinkClick r:id="rId9" action="ppaction://hlinksldjump"/>
            <a:extLst>
              <a:ext uri="{FF2B5EF4-FFF2-40B4-BE49-F238E27FC236}">
                <a16:creationId xmlns:a16="http://schemas.microsoft.com/office/drawing/2014/main" id="{85C7AEF7-2E79-0967-706F-C68A0D38E6BB}"/>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9893901" y="6691967"/>
            <a:ext cx="1873622" cy="367936"/>
          </a:xfrm>
          <a:prstGeom prst="rect">
            <a:avLst/>
          </a:prstGeom>
          <a:noFill/>
          <a:extLst>
            <a:ext uri="{909E8E84-426E-40DD-AFC4-6F175D3DCCD1}">
              <a14:hiddenFill xmlns:a14="http://schemas.microsoft.com/office/drawing/2010/main">
                <a:solidFill>
                  <a:srgbClr val="FFFFFF"/>
                </a:solidFill>
              </a14:hiddenFill>
            </a:ext>
          </a:extLst>
        </p:spPr>
      </p:pic>
      <p:sp>
        <p:nvSpPr>
          <p:cNvPr id="13" name="textruta 12">
            <a:extLst>
              <a:ext uri="{FF2B5EF4-FFF2-40B4-BE49-F238E27FC236}">
                <a16:creationId xmlns:a16="http://schemas.microsoft.com/office/drawing/2014/main" id="{F6E17794-2D2C-A6AB-8078-9686756DCB9A}"/>
              </a:ext>
            </a:extLst>
          </p:cNvPr>
          <p:cNvSpPr txBox="1"/>
          <p:nvPr/>
        </p:nvSpPr>
        <p:spPr>
          <a:xfrm>
            <a:off x="9815570" y="4616490"/>
            <a:ext cx="214882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a:ln>
                  <a:noFill/>
                </a:ln>
                <a:solidFill>
                  <a:srgbClr val="FFFFFF"/>
                </a:solidFill>
                <a:effectLst/>
                <a:uLnTx/>
                <a:uFillTx/>
                <a:latin typeface="Arial"/>
                <a:ea typeface="+mn-ea"/>
                <a:cs typeface="+mn-cs"/>
              </a:rPr>
              <a:t>Cement </a:t>
            </a:r>
            <a:r>
              <a:rPr kumimoji="0" lang="sv-SE" sz="1800" b="0" i="0" u="none" strike="noStrike" kern="1200" cap="none" spc="0" normalizeH="0" baseline="0" noProof="0" err="1">
                <a:ln>
                  <a:noFill/>
                </a:ln>
                <a:solidFill>
                  <a:srgbClr val="FFFFFF"/>
                </a:solidFill>
                <a:effectLst/>
                <a:uLnTx/>
                <a:uFillTx/>
                <a:latin typeface="Arial"/>
                <a:ea typeface="+mn-ea"/>
                <a:cs typeface="+mn-cs"/>
              </a:rPr>
              <a:t>sector</a:t>
            </a:r>
            <a:endParaRPr kumimoji="0" lang="sv-SE" sz="1800" b="0" i="0" u="none" strike="noStrike" kern="1200" cap="none" spc="0" normalizeH="0" baseline="0" noProof="0">
              <a:ln>
                <a:noFill/>
              </a:ln>
              <a:solidFill>
                <a:srgbClr val="FFFFFF"/>
              </a:solidFill>
              <a:effectLst/>
              <a:uLnTx/>
              <a:uFillTx/>
              <a:latin typeface="Arial"/>
              <a:ea typeface="+mn-ea"/>
              <a:cs typeface="+mn-cs"/>
            </a:endParaRPr>
          </a:p>
        </p:txBody>
      </p:sp>
      <p:sp>
        <p:nvSpPr>
          <p:cNvPr id="14" name="textruta 13">
            <a:extLst>
              <a:ext uri="{FF2B5EF4-FFF2-40B4-BE49-F238E27FC236}">
                <a16:creationId xmlns:a16="http://schemas.microsoft.com/office/drawing/2014/main" id="{5FBE279D-23F1-2010-480B-DD571C528F56}"/>
              </a:ext>
            </a:extLst>
          </p:cNvPr>
          <p:cNvSpPr txBox="1"/>
          <p:nvPr/>
        </p:nvSpPr>
        <p:spPr>
          <a:xfrm>
            <a:off x="5749828" y="4507827"/>
            <a:ext cx="233576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err="1">
                <a:ln>
                  <a:noFill/>
                </a:ln>
                <a:solidFill>
                  <a:srgbClr val="FFFFFF"/>
                </a:solidFill>
                <a:effectLst/>
                <a:uLnTx/>
                <a:uFillTx/>
                <a:latin typeface="Arial"/>
                <a:ea typeface="+mn-ea"/>
                <a:cs typeface="+mn-cs"/>
              </a:rPr>
              <a:t>Agrochemical</a:t>
            </a:r>
            <a:r>
              <a:rPr kumimoji="0" lang="sv-SE" sz="1800" b="0" i="0" u="none" strike="noStrike" kern="1200" cap="none" spc="0" normalizeH="0" baseline="0" noProof="0">
                <a:ln>
                  <a:noFill/>
                </a:ln>
                <a:solidFill>
                  <a:srgbClr val="FFFFFF"/>
                </a:solidFill>
                <a:effectLst/>
                <a:uLnTx/>
                <a:uFillTx/>
                <a:latin typeface="Arial"/>
                <a:ea typeface="+mn-ea"/>
                <a:cs typeface="+mn-cs"/>
              </a:rPr>
              <a:t> </a:t>
            </a:r>
            <a:r>
              <a:rPr kumimoji="0" lang="sv-SE" sz="1800" b="0" i="0" u="none" strike="noStrike" kern="1200" cap="none" spc="0" normalizeH="0" baseline="0" noProof="0" err="1">
                <a:ln>
                  <a:noFill/>
                </a:ln>
                <a:solidFill>
                  <a:srgbClr val="FFFFFF"/>
                </a:solidFill>
                <a:effectLst/>
                <a:uLnTx/>
                <a:uFillTx/>
                <a:latin typeface="Arial"/>
                <a:ea typeface="+mn-ea"/>
                <a:cs typeface="+mn-cs"/>
              </a:rPr>
              <a:t>sector</a:t>
            </a:r>
            <a:endParaRPr kumimoji="0" lang="sv-SE" sz="1800" b="0" i="0" u="none" strike="noStrike" kern="1200" cap="none" spc="0" normalizeH="0" baseline="0" noProof="0">
              <a:ln>
                <a:noFill/>
              </a:ln>
              <a:solidFill>
                <a:srgbClr val="FFFFFF"/>
              </a:solidFill>
              <a:effectLst/>
              <a:uLnTx/>
              <a:uFillTx/>
              <a:latin typeface="Arial"/>
              <a:ea typeface="+mn-ea"/>
              <a:cs typeface="+mn-cs"/>
            </a:endParaRPr>
          </a:p>
        </p:txBody>
      </p:sp>
      <p:sp>
        <p:nvSpPr>
          <p:cNvPr id="15" name="textruta 14">
            <a:extLst>
              <a:ext uri="{FF2B5EF4-FFF2-40B4-BE49-F238E27FC236}">
                <a16:creationId xmlns:a16="http://schemas.microsoft.com/office/drawing/2014/main" id="{605EF0B6-A0BD-08EB-1A9A-D4096C1051F9}"/>
              </a:ext>
            </a:extLst>
          </p:cNvPr>
          <p:cNvSpPr txBox="1"/>
          <p:nvPr/>
        </p:nvSpPr>
        <p:spPr>
          <a:xfrm>
            <a:off x="9893901" y="7215107"/>
            <a:ext cx="214882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a:ln>
                  <a:noFill/>
                </a:ln>
                <a:solidFill>
                  <a:srgbClr val="FFFFFF"/>
                </a:solidFill>
                <a:effectLst/>
                <a:uLnTx/>
                <a:uFillTx/>
                <a:latin typeface="Arial"/>
                <a:ea typeface="+mn-ea"/>
                <a:cs typeface="+mn-cs"/>
              </a:rPr>
              <a:t>Steel </a:t>
            </a:r>
            <a:r>
              <a:rPr kumimoji="0" lang="sv-SE" sz="1800" b="0" i="0" u="none" strike="noStrike" kern="1200" cap="none" spc="0" normalizeH="0" baseline="0" noProof="0" err="1">
                <a:ln>
                  <a:noFill/>
                </a:ln>
                <a:solidFill>
                  <a:srgbClr val="FFFFFF"/>
                </a:solidFill>
                <a:effectLst/>
                <a:uLnTx/>
                <a:uFillTx/>
                <a:latin typeface="Arial"/>
                <a:ea typeface="+mn-ea"/>
                <a:cs typeface="+mn-cs"/>
              </a:rPr>
              <a:t>sector</a:t>
            </a:r>
            <a:endParaRPr kumimoji="0" lang="sv-SE" sz="1800" b="0" i="0" u="none" strike="noStrike" kern="1200" cap="none" spc="0" normalizeH="0" baseline="0" noProof="0">
              <a:ln>
                <a:noFill/>
              </a:ln>
              <a:solidFill>
                <a:srgbClr val="FFFFFF"/>
              </a:solidFill>
              <a:effectLst/>
              <a:uLnTx/>
              <a:uFillTx/>
              <a:latin typeface="Arial"/>
              <a:ea typeface="+mn-ea"/>
              <a:cs typeface="+mn-cs"/>
            </a:endParaRPr>
          </a:p>
        </p:txBody>
      </p:sp>
      <p:pic>
        <p:nvPicPr>
          <p:cNvPr id="16" name="Picture 10" descr="RETROFEED ASAS">
            <a:extLst>
              <a:ext uri="{FF2B5EF4-FFF2-40B4-BE49-F238E27FC236}">
                <a16:creationId xmlns:a16="http://schemas.microsoft.com/office/drawing/2014/main" id="{0BDD4322-6F09-7C11-CE68-AECE3F3ECAD4}"/>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227380" y="6261604"/>
            <a:ext cx="2327758" cy="666568"/>
          </a:xfrm>
          <a:prstGeom prst="rect">
            <a:avLst/>
          </a:prstGeom>
          <a:noFill/>
          <a:extLst>
            <a:ext uri="{909E8E84-426E-40DD-AFC4-6F175D3DCCD1}">
              <a14:hiddenFill xmlns:a14="http://schemas.microsoft.com/office/drawing/2010/main">
                <a:solidFill>
                  <a:srgbClr val="FFFFFF"/>
                </a:solidFill>
              </a14:hiddenFill>
            </a:ext>
          </a:extLst>
        </p:spPr>
      </p:pic>
      <p:sp>
        <p:nvSpPr>
          <p:cNvPr id="17" name="textruta 16">
            <a:extLst>
              <a:ext uri="{FF2B5EF4-FFF2-40B4-BE49-F238E27FC236}">
                <a16:creationId xmlns:a16="http://schemas.microsoft.com/office/drawing/2014/main" id="{27EF83CA-61B5-FA2D-38FB-503C8384B38E}"/>
              </a:ext>
            </a:extLst>
          </p:cNvPr>
          <p:cNvSpPr txBox="1"/>
          <p:nvPr/>
        </p:nvSpPr>
        <p:spPr>
          <a:xfrm>
            <a:off x="5864980" y="7248548"/>
            <a:ext cx="214882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a:ln>
                  <a:noFill/>
                </a:ln>
                <a:solidFill>
                  <a:srgbClr val="FFFFFF"/>
                </a:solidFill>
                <a:effectLst/>
                <a:uLnTx/>
                <a:uFillTx/>
                <a:latin typeface="Arial"/>
                <a:ea typeface="+mn-ea"/>
                <a:cs typeface="+mn-cs"/>
              </a:rPr>
              <a:t>Aluminium </a:t>
            </a:r>
            <a:r>
              <a:rPr kumimoji="0" lang="sv-SE" sz="1800" b="0" i="0" u="none" strike="noStrike" kern="1200" cap="none" spc="0" normalizeH="0" baseline="0" noProof="0" err="1">
                <a:ln>
                  <a:noFill/>
                </a:ln>
                <a:solidFill>
                  <a:srgbClr val="FFFFFF"/>
                </a:solidFill>
                <a:effectLst/>
                <a:uLnTx/>
                <a:uFillTx/>
                <a:latin typeface="Arial"/>
                <a:ea typeface="+mn-ea"/>
                <a:cs typeface="+mn-cs"/>
              </a:rPr>
              <a:t>sector</a:t>
            </a:r>
            <a:endParaRPr kumimoji="0" lang="sv-SE" sz="1800" b="0" i="0" u="none" strike="noStrike" kern="1200" cap="none" spc="0" normalizeH="0" baseline="0" noProof="0">
              <a:ln>
                <a:noFill/>
              </a:ln>
              <a:solidFill>
                <a:srgbClr val="FFFFFF"/>
              </a:solidFill>
              <a:effectLst/>
              <a:uLnTx/>
              <a:uFillTx/>
              <a:latin typeface="Arial"/>
              <a:ea typeface="+mn-ea"/>
              <a:cs typeface="+mn-cs"/>
            </a:endParaRPr>
          </a:p>
        </p:txBody>
      </p:sp>
      <p:sp>
        <p:nvSpPr>
          <p:cNvPr id="18" name="TextBox 3">
            <a:extLst>
              <a:ext uri="{FF2B5EF4-FFF2-40B4-BE49-F238E27FC236}">
                <a16:creationId xmlns:a16="http://schemas.microsoft.com/office/drawing/2014/main" id="{550FFD59-3C15-C502-3319-618B08E932BA}"/>
              </a:ext>
            </a:extLst>
          </p:cNvPr>
          <p:cNvSpPr txBox="1"/>
          <p:nvPr/>
        </p:nvSpPr>
        <p:spPr>
          <a:xfrm>
            <a:off x="350520" y="1077152"/>
            <a:ext cx="18552623" cy="76944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400" b="1" i="0" u="none" strike="noStrike" kern="1200" cap="none" spc="0" normalizeH="0" baseline="0" noProof="0">
                <a:ln>
                  <a:noFill/>
                </a:ln>
                <a:solidFill>
                  <a:srgbClr val="CC0033"/>
                </a:solidFill>
                <a:effectLst/>
                <a:uLnTx/>
                <a:uFillTx/>
                <a:latin typeface="Arial"/>
                <a:ea typeface="+mn-ea"/>
                <a:cs typeface="Arial" panose="020B0604020202020204" pitchFamily="34" charset="0"/>
              </a:rPr>
              <a:t>Recommendations and proposed legislative improvements</a:t>
            </a:r>
            <a:endParaRPr kumimoji="0" lang="sv-SE" sz="4400" b="1" i="0" u="none" strike="noStrike" kern="1200" cap="none" spc="0" normalizeH="0" baseline="0" noProof="0">
              <a:ln>
                <a:noFill/>
              </a:ln>
              <a:solidFill>
                <a:srgbClr val="CC0033"/>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55539594"/>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1" name="Picture 12">
            <a:extLst>
              <a:ext uri="{FF2B5EF4-FFF2-40B4-BE49-F238E27FC236}">
                <a16:creationId xmlns:a16="http://schemas.microsoft.com/office/drawing/2014/main" id="{43802E0E-B79D-4EA7-8141-0CA3ED138B1A}"/>
              </a:ext>
            </a:extLst>
          </p:cNvPr>
          <p:cNvPicPr>
            <a:picLocks noChangeAspect="1"/>
          </p:cNvPicPr>
          <p:nvPr/>
        </p:nvPicPr>
        <p:blipFill>
          <a:blip r:embed="rId3"/>
          <a:srcRect/>
          <a:stretch>
            <a:fillRect/>
          </a:stretch>
        </p:blipFill>
        <p:spPr>
          <a:xfrm>
            <a:off x="0" y="8959889"/>
            <a:ext cx="5715000" cy="1385887"/>
          </a:xfrm>
          <a:prstGeom prst="rect">
            <a:avLst/>
          </a:prstGeom>
        </p:spPr>
      </p:pic>
      <p:grpSp>
        <p:nvGrpSpPr>
          <p:cNvPr id="132" name="Gruppo 2">
            <a:extLst>
              <a:ext uri="{FF2B5EF4-FFF2-40B4-BE49-F238E27FC236}">
                <a16:creationId xmlns:a16="http://schemas.microsoft.com/office/drawing/2014/main" id="{649928F6-6E82-4611-9715-AD3C75457C28}"/>
              </a:ext>
            </a:extLst>
          </p:cNvPr>
          <p:cNvGrpSpPr/>
          <p:nvPr/>
        </p:nvGrpSpPr>
        <p:grpSpPr>
          <a:xfrm>
            <a:off x="-12" y="138554"/>
            <a:ext cx="18288002" cy="681138"/>
            <a:chOff x="-12" y="138554"/>
            <a:chExt cx="18288002" cy="681138"/>
          </a:xfrm>
        </p:grpSpPr>
        <p:grpSp>
          <p:nvGrpSpPr>
            <p:cNvPr id="133" name="Gruppo 1">
              <a:extLst>
                <a:ext uri="{FF2B5EF4-FFF2-40B4-BE49-F238E27FC236}">
                  <a16:creationId xmlns:a16="http://schemas.microsoft.com/office/drawing/2014/main" id="{A8EB8794-E5C6-45EB-BAEC-2778E982797A}"/>
                </a:ext>
              </a:extLst>
            </p:cNvPr>
            <p:cNvGrpSpPr/>
            <p:nvPr/>
          </p:nvGrpSpPr>
          <p:grpSpPr>
            <a:xfrm>
              <a:off x="0" y="153125"/>
              <a:ext cx="17907000" cy="666567"/>
              <a:chOff x="0" y="153125"/>
              <a:chExt cx="17907000" cy="666567"/>
            </a:xfrm>
          </p:grpSpPr>
          <p:grpSp>
            <p:nvGrpSpPr>
              <p:cNvPr id="135" name="Gruppo 15">
                <a:extLst>
                  <a:ext uri="{FF2B5EF4-FFF2-40B4-BE49-F238E27FC236}">
                    <a16:creationId xmlns:a16="http://schemas.microsoft.com/office/drawing/2014/main" id="{AB129748-9FD7-458D-BD6E-304271C1814A}"/>
                  </a:ext>
                </a:extLst>
              </p:cNvPr>
              <p:cNvGrpSpPr/>
              <p:nvPr/>
            </p:nvGrpSpPr>
            <p:grpSpPr>
              <a:xfrm>
                <a:off x="0" y="153125"/>
                <a:ext cx="13958844" cy="666567"/>
                <a:chOff x="0" y="153125"/>
                <a:chExt cx="13958844" cy="666567"/>
              </a:xfrm>
            </p:grpSpPr>
            <p:pic>
              <p:nvPicPr>
                <p:cNvPr id="137" name="Picture 136">
                  <a:extLst>
                    <a:ext uri="{FF2B5EF4-FFF2-40B4-BE49-F238E27FC236}">
                      <a16:creationId xmlns:a16="http://schemas.microsoft.com/office/drawing/2014/main" id="{88E31CFD-796F-4F3F-A1EC-0E38F9D83456}"/>
                    </a:ext>
                  </a:extLst>
                </p:cNvPr>
                <p:cNvPicPr>
                  <a:picLocks noChangeAspect="1"/>
                </p:cNvPicPr>
                <p:nvPr/>
              </p:nvPicPr>
              <p:blipFill>
                <a:blip r:embed="rId4"/>
                <a:srcRect l="134" t="91287" b="3943"/>
                <a:stretch>
                  <a:fillRect/>
                </a:stretch>
              </p:blipFill>
              <p:spPr>
                <a:xfrm>
                  <a:off x="0" y="153125"/>
                  <a:ext cx="13958844" cy="666567"/>
                </a:xfrm>
                <a:prstGeom prst="rect">
                  <a:avLst/>
                </a:prstGeom>
              </p:spPr>
            </p:pic>
            <p:sp>
              <p:nvSpPr>
                <p:cNvPr id="138" name="TextBox 137">
                  <a:extLst>
                    <a:ext uri="{FF2B5EF4-FFF2-40B4-BE49-F238E27FC236}">
                      <a16:creationId xmlns:a16="http://schemas.microsoft.com/office/drawing/2014/main" id="{7694DADD-E227-40A7-A98D-244B0D207E54}"/>
                    </a:ext>
                  </a:extLst>
                </p:cNvPr>
                <p:cNvSpPr txBox="1"/>
                <p:nvPr/>
              </p:nvSpPr>
              <p:spPr>
                <a:xfrm>
                  <a:off x="228600" y="257980"/>
                  <a:ext cx="9296400" cy="456856"/>
                </a:xfrm>
                <a:prstGeom prst="rect">
                  <a:avLst/>
                </a:prstGeom>
              </p:spPr>
              <p:txBody>
                <a:bodyPr wrap="square" lIns="0" tIns="0" rIns="0" bIns="0" rtlCol="0" anchor="t">
                  <a:spAutoFit/>
                </a:bodyPr>
                <a:lstStyle/>
                <a:p>
                  <a:pPr marL="0" marR="0" lvl="0" indent="0" algn="l" defTabSz="914400" rtl="0" eaLnBrk="1" fontAlgn="auto" latinLnBrk="0" hangingPunct="1">
                    <a:lnSpc>
                      <a:spcPts val="3919"/>
                    </a:lnSpc>
                    <a:spcBef>
                      <a:spcPct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36" name="TextBox 135">
                <a:extLst>
                  <a:ext uri="{FF2B5EF4-FFF2-40B4-BE49-F238E27FC236}">
                    <a16:creationId xmlns:a16="http://schemas.microsoft.com/office/drawing/2014/main" id="{4B3CCEBB-60EF-4175-9878-F0D51FD80FF0}"/>
                  </a:ext>
                </a:extLst>
              </p:cNvPr>
              <p:cNvSpPr txBox="1"/>
              <p:nvPr/>
            </p:nvSpPr>
            <p:spPr>
              <a:xfrm>
                <a:off x="12154296" y="257980"/>
                <a:ext cx="5752704" cy="456856"/>
              </a:xfrm>
              <a:prstGeom prst="rect">
                <a:avLst/>
              </a:prstGeom>
            </p:spPr>
            <p:txBody>
              <a:bodyPr wrap="square" lIns="0" tIns="0" rIns="0" bIns="0" rtlCol="0" anchor="t">
                <a:spAutoFit/>
              </a:bodyPr>
              <a:lstStyle/>
              <a:p>
                <a:pPr marL="0" marR="0" lvl="0" indent="0" algn="r" defTabSz="914400" rtl="0" eaLnBrk="1" fontAlgn="auto" latinLnBrk="0" hangingPunct="1">
                  <a:lnSpc>
                    <a:spcPts val="3919"/>
                  </a:lnSpc>
                  <a:spcBef>
                    <a:spcPct val="0"/>
                  </a:spcBef>
                  <a:spcAft>
                    <a:spcPts val="0"/>
                  </a:spcAft>
                  <a:buClrTx/>
                  <a:buSzTx/>
                  <a:buFontTx/>
                  <a:buNone/>
                  <a:tabLst/>
                  <a:defRPr/>
                </a:pPr>
                <a:endParaRPr kumimoji="0" lang="en-US" sz="2800" b="0" i="0" u="none" strike="noStrike" kern="1200" cap="none" spc="0" normalizeH="0" baseline="0" noProof="0">
                  <a:ln>
                    <a:noFill/>
                  </a:ln>
                  <a:solidFill>
                    <a:srgbClr val="2F2F2F">
                      <a:lumMod val="75000"/>
                      <a:lumOff val="25000"/>
                    </a:srgbClr>
                  </a:solidFill>
                  <a:effectLst/>
                  <a:uLnTx/>
                  <a:uFillTx/>
                  <a:latin typeface="Arial" panose="020B0604020202020204" pitchFamily="34" charset="0"/>
                  <a:ea typeface="+mn-ea"/>
                  <a:cs typeface="Arial" panose="020B0604020202020204" pitchFamily="34" charset="0"/>
                </a:endParaRPr>
              </a:p>
            </p:txBody>
          </p:sp>
        </p:grpSp>
        <p:sp>
          <p:nvSpPr>
            <p:cNvPr id="134" name="Rettangolo 13">
              <a:extLst>
                <a:ext uri="{FF2B5EF4-FFF2-40B4-BE49-F238E27FC236}">
                  <a16:creationId xmlns:a16="http://schemas.microsoft.com/office/drawing/2014/main" id="{8F0CF2A7-592A-4287-9206-D3289F1B0C37}"/>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pic>
        <p:nvPicPr>
          <p:cNvPr id="139" name="Picture 12">
            <a:extLst>
              <a:ext uri="{FF2B5EF4-FFF2-40B4-BE49-F238E27FC236}">
                <a16:creationId xmlns:a16="http://schemas.microsoft.com/office/drawing/2014/main" id="{F047215A-40D8-4A57-BE02-5E03FCEEBB7B}"/>
              </a:ext>
            </a:extLst>
          </p:cNvPr>
          <p:cNvPicPr>
            <a:picLocks noChangeAspect="1"/>
          </p:cNvPicPr>
          <p:nvPr/>
        </p:nvPicPr>
        <p:blipFill>
          <a:blip r:embed="rId5"/>
          <a:srcRect l="134" t="91287" b="3943"/>
          <a:stretch>
            <a:fillRect/>
          </a:stretch>
        </p:blipFill>
        <p:spPr>
          <a:xfrm rot="10800000">
            <a:off x="4329146" y="9679208"/>
            <a:ext cx="13958844" cy="666567"/>
          </a:xfrm>
          <a:prstGeom prst="rect">
            <a:avLst/>
          </a:prstGeom>
        </p:spPr>
      </p:pic>
      <p:sp>
        <p:nvSpPr>
          <p:cNvPr id="140" name="TextBox 16">
            <a:extLst>
              <a:ext uri="{FF2B5EF4-FFF2-40B4-BE49-F238E27FC236}">
                <a16:creationId xmlns:a16="http://schemas.microsoft.com/office/drawing/2014/main" id="{C693B1DB-897C-4A9D-8CF3-F1423F6CB38D}"/>
              </a:ext>
            </a:extLst>
          </p:cNvPr>
          <p:cNvSpPr txBox="1"/>
          <p:nvPr/>
        </p:nvSpPr>
        <p:spPr>
          <a:xfrm>
            <a:off x="14400019" y="9762301"/>
            <a:ext cx="3636320" cy="448713"/>
          </a:xfrm>
          <a:prstGeom prst="rect">
            <a:avLst/>
          </a:prstGeom>
        </p:spPr>
        <p:txBody>
          <a:bodyPr wrap="square" lIns="0" tIns="0" rIns="0" bIns="0" rtlCol="0" anchor="t">
            <a:spAutoFit/>
          </a:bodyPr>
          <a:lstStyle/>
          <a:p>
            <a:pPr marL="0" marR="0" lvl="0" indent="0" algn="ctr" defTabSz="914400" rtl="0" eaLnBrk="1" fontAlgn="auto" latinLnBrk="0" hangingPunct="1">
              <a:lnSpc>
                <a:spcPts val="3919"/>
              </a:lnSpc>
              <a:spcBef>
                <a:spcPct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OCR A Extended" panose="02010509020102010303" pitchFamily="50" charset="0"/>
                <a:ea typeface="+mn-ea"/>
                <a:cs typeface="+mn-cs"/>
              </a:rPr>
              <a:t>www.retrofeed.eu</a:t>
            </a:r>
          </a:p>
        </p:txBody>
      </p:sp>
      <p:sp>
        <p:nvSpPr>
          <p:cNvPr id="4" name="TextBox 3">
            <a:extLst>
              <a:ext uri="{FF2B5EF4-FFF2-40B4-BE49-F238E27FC236}">
                <a16:creationId xmlns:a16="http://schemas.microsoft.com/office/drawing/2014/main" id="{E2A6C351-D084-461B-85B4-078A69C47372}"/>
              </a:ext>
            </a:extLst>
          </p:cNvPr>
          <p:cNvSpPr txBox="1"/>
          <p:nvPr/>
        </p:nvSpPr>
        <p:spPr>
          <a:xfrm>
            <a:off x="350519" y="1018656"/>
            <a:ext cx="18552623" cy="76944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400" b="1" i="0" u="none" strike="noStrike" kern="1200" cap="none" spc="0" normalizeH="0" baseline="0" noProof="0">
                <a:ln>
                  <a:noFill/>
                </a:ln>
                <a:solidFill>
                  <a:srgbClr val="CC0033"/>
                </a:solidFill>
                <a:effectLst/>
                <a:uLnTx/>
                <a:uFillTx/>
                <a:latin typeface="Arial"/>
                <a:ea typeface="+mn-ea"/>
                <a:cs typeface="Arial" panose="020B0604020202020204" pitchFamily="34" charset="0"/>
              </a:rPr>
              <a:t>Recommendations and proposed legislative improvements</a:t>
            </a:r>
            <a:endParaRPr kumimoji="0" lang="sv-SE" sz="4400" b="1" i="0" u="none" strike="noStrike" kern="1200" cap="none" spc="0" normalizeH="0" baseline="0" noProof="0">
              <a:ln>
                <a:noFill/>
              </a:ln>
              <a:solidFill>
                <a:srgbClr val="CC0033"/>
              </a:solidFill>
              <a:effectLst/>
              <a:uLnTx/>
              <a:uFillTx/>
              <a:latin typeface="Arial"/>
              <a:ea typeface="+mn-ea"/>
              <a:cs typeface="Arial" panose="020B0604020202020204" pitchFamily="34" charset="0"/>
            </a:endParaRPr>
          </a:p>
        </p:txBody>
      </p:sp>
      <p:graphicFrame>
        <p:nvGraphicFramePr>
          <p:cNvPr id="144" name="TextBox 5">
            <a:extLst>
              <a:ext uri="{FF2B5EF4-FFF2-40B4-BE49-F238E27FC236}">
                <a16:creationId xmlns:a16="http://schemas.microsoft.com/office/drawing/2014/main" id="{C5280449-E3F1-4DC8-A8BD-8788126D0F57}"/>
              </a:ext>
            </a:extLst>
          </p:cNvPr>
          <p:cNvGraphicFramePr/>
          <p:nvPr>
            <p:extLst>
              <p:ext uri="{D42A27DB-BD31-4B8C-83A1-F6EECF244321}">
                <p14:modId xmlns:p14="http://schemas.microsoft.com/office/powerpoint/2010/main" val="3690448112"/>
              </p:ext>
            </p:extLst>
          </p:nvPr>
        </p:nvGraphicFramePr>
        <p:xfrm>
          <a:off x="4418204" y="1919717"/>
          <a:ext cx="9451570" cy="6686230"/>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pic>
        <p:nvPicPr>
          <p:cNvPr id="3" name="Imagen 113">
            <a:extLst>
              <a:ext uri="{FF2B5EF4-FFF2-40B4-BE49-F238E27FC236}">
                <a16:creationId xmlns:a16="http://schemas.microsoft.com/office/drawing/2014/main" id="{1DF956C5-D1D8-8E53-883B-2FE778214AC6}"/>
              </a:ext>
            </a:extLst>
          </p:cNvPr>
          <p:cNvPicPr>
            <a:picLocks noChangeAspect="1"/>
          </p:cNvPicPr>
          <p:nvPr/>
        </p:nvPicPr>
        <p:blipFill rotWithShape="1">
          <a:blip r:embed="rId11"/>
          <a:srcRect r="7132" b="12033"/>
          <a:stretch/>
        </p:blipFill>
        <p:spPr>
          <a:xfrm>
            <a:off x="15877308" y="288073"/>
            <a:ext cx="2410681" cy="912324"/>
          </a:xfrm>
          <a:prstGeom prst="rect">
            <a:avLst/>
          </a:prstGeom>
        </p:spPr>
      </p:pic>
    </p:spTree>
    <p:extLst>
      <p:ext uri="{BB962C8B-B14F-4D97-AF65-F5344CB8AC3E}">
        <p14:creationId xmlns:p14="http://schemas.microsoft.com/office/powerpoint/2010/main" val="2041423253"/>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31" name="Picture 12" descr="A green and white text on a black background&#10;&#10;Description automatically generated">
            <a:extLst>
              <a:ext uri="{FF2B5EF4-FFF2-40B4-BE49-F238E27FC236}">
                <a16:creationId xmlns:a16="http://schemas.microsoft.com/office/drawing/2014/main" id="{43802E0E-B79D-4EA7-8141-0CA3ED138B1A}"/>
              </a:ext>
            </a:extLst>
          </p:cNvPr>
          <p:cNvPicPr>
            <a:picLocks noChangeAspect="1"/>
          </p:cNvPicPr>
          <p:nvPr/>
        </p:nvPicPr>
        <p:blipFill>
          <a:blip r:embed="rId3"/>
          <a:srcRect/>
          <a:stretch>
            <a:fillRect/>
          </a:stretch>
        </p:blipFill>
        <p:spPr>
          <a:xfrm>
            <a:off x="0" y="8959889"/>
            <a:ext cx="5715000" cy="1385887"/>
          </a:xfrm>
          <a:prstGeom prst="rect">
            <a:avLst/>
          </a:prstGeom>
        </p:spPr>
      </p:pic>
      <p:grpSp>
        <p:nvGrpSpPr>
          <p:cNvPr id="132" name="Gruppo 2">
            <a:extLst>
              <a:ext uri="{FF2B5EF4-FFF2-40B4-BE49-F238E27FC236}">
                <a16:creationId xmlns:a16="http://schemas.microsoft.com/office/drawing/2014/main" id="{649928F6-6E82-4611-9715-AD3C75457C28}"/>
              </a:ext>
            </a:extLst>
          </p:cNvPr>
          <p:cNvGrpSpPr/>
          <p:nvPr/>
        </p:nvGrpSpPr>
        <p:grpSpPr>
          <a:xfrm>
            <a:off x="-12" y="138554"/>
            <a:ext cx="18288002" cy="681138"/>
            <a:chOff x="-12" y="138554"/>
            <a:chExt cx="18288002" cy="681138"/>
          </a:xfrm>
        </p:grpSpPr>
        <p:grpSp>
          <p:nvGrpSpPr>
            <p:cNvPr id="133" name="Gruppo 1">
              <a:extLst>
                <a:ext uri="{FF2B5EF4-FFF2-40B4-BE49-F238E27FC236}">
                  <a16:creationId xmlns:a16="http://schemas.microsoft.com/office/drawing/2014/main" id="{A8EB8794-E5C6-45EB-BAEC-2778E982797A}"/>
                </a:ext>
              </a:extLst>
            </p:cNvPr>
            <p:cNvGrpSpPr/>
            <p:nvPr/>
          </p:nvGrpSpPr>
          <p:grpSpPr>
            <a:xfrm>
              <a:off x="0" y="153125"/>
              <a:ext cx="17907000" cy="666567"/>
              <a:chOff x="0" y="153125"/>
              <a:chExt cx="17907000" cy="666567"/>
            </a:xfrm>
          </p:grpSpPr>
          <p:grpSp>
            <p:nvGrpSpPr>
              <p:cNvPr id="135" name="Gruppo 15">
                <a:extLst>
                  <a:ext uri="{FF2B5EF4-FFF2-40B4-BE49-F238E27FC236}">
                    <a16:creationId xmlns:a16="http://schemas.microsoft.com/office/drawing/2014/main" id="{AB129748-9FD7-458D-BD6E-304271C1814A}"/>
                  </a:ext>
                </a:extLst>
              </p:cNvPr>
              <p:cNvGrpSpPr/>
              <p:nvPr/>
            </p:nvGrpSpPr>
            <p:grpSpPr>
              <a:xfrm>
                <a:off x="0" y="153125"/>
                <a:ext cx="13958844" cy="666567"/>
                <a:chOff x="0" y="153125"/>
                <a:chExt cx="13958844" cy="666567"/>
              </a:xfrm>
            </p:grpSpPr>
            <p:pic>
              <p:nvPicPr>
                <p:cNvPr id="137" name="Picture 136" descr="A red and black gradient&#10;&#10;Description automatically generated">
                  <a:extLst>
                    <a:ext uri="{FF2B5EF4-FFF2-40B4-BE49-F238E27FC236}">
                      <a16:creationId xmlns:a16="http://schemas.microsoft.com/office/drawing/2014/main" id="{88E31CFD-796F-4F3F-A1EC-0E38F9D83456}"/>
                    </a:ext>
                  </a:extLst>
                </p:cNvPr>
                <p:cNvPicPr>
                  <a:picLocks noChangeAspect="1"/>
                </p:cNvPicPr>
                <p:nvPr/>
              </p:nvPicPr>
              <p:blipFill>
                <a:blip r:embed="rId4"/>
                <a:srcRect l="134" t="91287" b="3943"/>
                <a:stretch>
                  <a:fillRect/>
                </a:stretch>
              </p:blipFill>
              <p:spPr>
                <a:xfrm>
                  <a:off x="0" y="153125"/>
                  <a:ext cx="13958844" cy="666567"/>
                </a:xfrm>
                <a:prstGeom prst="rect">
                  <a:avLst/>
                </a:prstGeom>
              </p:spPr>
            </p:pic>
            <p:sp>
              <p:nvSpPr>
                <p:cNvPr id="138" name="TextBox 137">
                  <a:extLst>
                    <a:ext uri="{FF2B5EF4-FFF2-40B4-BE49-F238E27FC236}">
                      <a16:creationId xmlns:a16="http://schemas.microsoft.com/office/drawing/2014/main" id="{7694DADD-E227-40A7-A98D-244B0D207E54}"/>
                    </a:ext>
                  </a:extLst>
                </p:cNvPr>
                <p:cNvSpPr txBox="1"/>
                <p:nvPr/>
              </p:nvSpPr>
              <p:spPr>
                <a:xfrm>
                  <a:off x="228600" y="257980"/>
                  <a:ext cx="9296400" cy="456856"/>
                </a:xfrm>
                <a:prstGeom prst="rect">
                  <a:avLst/>
                </a:prstGeom>
              </p:spPr>
              <p:txBody>
                <a:bodyPr wrap="square" lIns="0" tIns="0" rIns="0" bIns="0" rtlCol="0" anchor="t">
                  <a:spAutoFit/>
                </a:bodyPr>
                <a:lstStyle/>
                <a:p>
                  <a:pPr marL="0" marR="0" lvl="0" indent="0" algn="l" defTabSz="914400" rtl="0" eaLnBrk="1" fontAlgn="auto" latinLnBrk="0" hangingPunct="1">
                    <a:lnSpc>
                      <a:spcPts val="3919"/>
                    </a:lnSpc>
                    <a:spcBef>
                      <a:spcPct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Module 3</a:t>
                  </a:r>
                </a:p>
              </p:txBody>
            </p:sp>
          </p:grpSp>
          <p:sp>
            <p:nvSpPr>
              <p:cNvPr id="136" name="TextBox 135">
                <a:extLst>
                  <a:ext uri="{FF2B5EF4-FFF2-40B4-BE49-F238E27FC236}">
                    <a16:creationId xmlns:a16="http://schemas.microsoft.com/office/drawing/2014/main" id="{4B3CCEBB-60EF-4175-9878-F0D51FD80FF0}"/>
                  </a:ext>
                </a:extLst>
              </p:cNvPr>
              <p:cNvSpPr txBox="1"/>
              <p:nvPr/>
            </p:nvSpPr>
            <p:spPr>
              <a:xfrm>
                <a:off x="12154296" y="257980"/>
                <a:ext cx="5752704" cy="456856"/>
              </a:xfrm>
              <a:prstGeom prst="rect">
                <a:avLst/>
              </a:prstGeom>
            </p:spPr>
            <p:txBody>
              <a:bodyPr wrap="square" lIns="0" tIns="0" rIns="0" bIns="0" rtlCol="0" anchor="t">
                <a:spAutoFit/>
              </a:bodyPr>
              <a:lstStyle/>
              <a:p>
                <a:pPr marL="0" marR="0" lvl="0" indent="0" algn="r" defTabSz="914400" rtl="0" eaLnBrk="1" fontAlgn="auto" latinLnBrk="0" hangingPunct="1">
                  <a:lnSpc>
                    <a:spcPts val="3919"/>
                  </a:lnSpc>
                  <a:spcBef>
                    <a:spcPct val="0"/>
                  </a:spcBef>
                  <a:spcAft>
                    <a:spcPts val="0"/>
                  </a:spcAft>
                  <a:buClrTx/>
                  <a:buSzTx/>
                  <a:buFontTx/>
                  <a:buNone/>
                  <a:tabLst/>
                  <a:defRPr/>
                </a:pPr>
                <a:endParaRPr kumimoji="0" lang="en-US" sz="2800" b="0" i="0" u="none" strike="noStrike" kern="1200" cap="none" spc="0" normalizeH="0" baseline="0" noProof="0">
                  <a:ln>
                    <a:noFill/>
                  </a:ln>
                  <a:solidFill>
                    <a:srgbClr val="2F2F2F">
                      <a:lumMod val="75000"/>
                      <a:lumOff val="25000"/>
                    </a:srgbClr>
                  </a:solidFill>
                  <a:effectLst/>
                  <a:uLnTx/>
                  <a:uFillTx/>
                  <a:latin typeface="Arial" panose="020B0604020202020204" pitchFamily="34" charset="0"/>
                  <a:ea typeface="+mn-ea"/>
                  <a:cs typeface="Arial" panose="020B0604020202020204" pitchFamily="34" charset="0"/>
                </a:endParaRPr>
              </a:p>
            </p:txBody>
          </p:sp>
        </p:grpSp>
        <p:sp>
          <p:nvSpPr>
            <p:cNvPr id="134" name="Rettangolo 13">
              <a:extLst>
                <a:ext uri="{FF2B5EF4-FFF2-40B4-BE49-F238E27FC236}">
                  <a16:creationId xmlns:a16="http://schemas.microsoft.com/office/drawing/2014/main" id="{8F0CF2A7-592A-4287-9206-D3289F1B0C37}"/>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pic>
        <p:nvPicPr>
          <p:cNvPr id="139" name="Picture 12" descr="A black and grey gradient&#10;&#10;Description automatically generated">
            <a:extLst>
              <a:ext uri="{FF2B5EF4-FFF2-40B4-BE49-F238E27FC236}">
                <a16:creationId xmlns:a16="http://schemas.microsoft.com/office/drawing/2014/main" id="{F047215A-40D8-4A57-BE02-5E03FCEEBB7B}"/>
              </a:ext>
            </a:extLst>
          </p:cNvPr>
          <p:cNvPicPr>
            <a:picLocks noChangeAspect="1"/>
          </p:cNvPicPr>
          <p:nvPr/>
        </p:nvPicPr>
        <p:blipFill>
          <a:blip r:embed="rId5"/>
          <a:srcRect l="134" t="91287" b="3943"/>
          <a:stretch>
            <a:fillRect/>
          </a:stretch>
        </p:blipFill>
        <p:spPr>
          <a:xfrm rot="10800000">
            <a:off x="4329146" y="9679208"/>
            <a:ext cx="13958844" cy="666567"/>
          </a:xfrm>
          <a:prstGeom prst="rect">
            <a:avLst/>
          </a:prstGeom>
        </p:spPr>
      </p:pic>
      <p:sp>
        <p:nvSpPr>
          <p:cNvPr id="140" name="TextBox 16">
            <a:extLst>
              <a:ext uri="{FF2B5EF4-FFF2-40B4-BE49-F238E27FC236}">
                <a16:creationId xmlns:a16="http://schemas.microsoft.com/office/drawing/2014/main" id="{C693B1DB-897C-4A9D-8CF3-F1423F6CB38D}"/>
              </a:ext>
            </a:extLst>
          </p:cNvPr>
          <p:cNvSpPr txBox="1"/>
          <p:nvPr/>
        </p:nvSpPr>
        <p:spPr>
          <a:xfrm>
            <a:off x="14400019" y="9762301"/>
            <a:ext cx="3636320" cy="448713"/>
          </a:xfrm>
          <a:prstGeom prst="rect">
            <a:avLst/>
          </a:prstGeom>
        </p:spPr>
        <p:txBody>
          <a:bodyPr wrap="square" lIns="0" tIns="0" rIns="0" bIns="0" rtlCol="0" anchor="t">
            <a:spAutoFit/>
          </a:bodyPr>
          <a:lstStyle/>
          <a:p>
            <a:pPr marL="0" marR="0" lvl="0" indent="0" algn="ctr" defTabSz="914400" rtl="0" eaLnBrk="1" fontAlgn="auto" latinLnBrk="0" hangingPunct="1">
              <a:lnSpc>
                <a:spcPts val="3919"/>
              </a:lnSpc>
              <a:spcBef>
                <a:spcPct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OCR A Extended" panose="02010509020102010303" pitchFamily="50" charset="0"/>
                <a:ea typeface="+mn-ea"/>
                <a:cs typeface="+mn-cs"/>
              </a:rPr>
              <a:t>www.retrofeed.eu</a:t>
            </a:r>
          </a:p>
        </p:txBody>
      </p:sp>
      <p:pic>
        <p:nvPicPr>
          <p:cNvPr id="2" name="Imagen 93">
            <a:extLst>
              <a:ext uri="{FF2B5EF4-FFF2-40B4-BE49-F238E27FC236}">
                <a16:creationId xmlns:a16="http://schemas.microsoft.com/office/drawing/2014/main" id="{1ED74793-E178-BB3E-0CB0-D7EB5E49E0F5}"/>
              </a:ext>
            </a:extLst>
          </p:cNvPr>
          <p:cNvPicPr>
            <a:picLocks noChangeAspect="1"/>
          </p:cNvPicPr>
          <p:nvPr/>
        </p:nvPicPr>
        <p:blipFill rotWithShape="1">
          <a:blip r:embed="rId6"/>
          <a:srcRect l="23084" t="14316" r="9046" b="7091"/>
          <a:stretch/>
        </p:blipFill>
        <p:spPr>
          <a:xfrm>
            <a:off x="16256126" y="235735"/>
            <a:ext cx="1814160" cy="1482750"/>
          </a:xfrm>
          <a:prstGeom prst="rect">
            <a:avLst/>
          </a:prstGeom>
        </p:spPr>
      </p:pic>
      <p:graphicFrame>
        <p:nvGraphicFramePr>
          <p:cNvPr id="149" name="TextBox 5">
            <a:extLst>
              <a:ext uri="{FF2B5EF4-FFF2-40B4-BE49-F238E27FC236}">
                <a16:creationId xmlns:a16="http://schemas.microsoft.com/office/drawing/2014/main" id="{AB2FFC00-F996-1429-58D0-EBCED454AEAF}"/>
              </a:ext>
            </a:extLst>
          </p:cNvPr>
          <p:cNvGraphicFramePr/>
          <p:nvPr>
            <p:extLst>
              <p:ext uri="{D42A27DB-BD31-4B8C-83A1-F6EECF244321}">
                <p14:modId xmlns:p14="http://schemas.microsoft.com/office/powerpoint/2010/main" val="1653205293"/>
              </p:ext>
            </p:extLst>
          </p:nvPr>
        </p:nvGraphicFramePr>
        <p:xfrm>
          <a:off x="350520" y="2400920"/>
          <a:ext cx="17160240" cy="642420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3" name="TextBox 3">
            <a:extLst>
              <a:ext uri="{FF2B5EF4-FFF2-40B4-BE49-F238E27FC236}">
                <a16:creationId xmlns:a16="http://schemas.microsoft.com/office/drawing/2014/main" id="{39F66D33-EB76-05ED-AA80-8343655D7C24}"/>
              </a:ext>
            </a:extLst>
          </p:cNvPr>
          <p:cNvSpPr txBox="1"/>
          <p:nvPr/>
        </p:nvSpPr>
        <p:spPr>
          <a:xfrm>
            <a:off x="350520" y="1077152"/>
            <a:ext cx="18552623" cy="76944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400" b="1" i="0" u="none" strike="noStrike" kern="1200" cap="none" spc="0" normalizeH="0" baseline="0" noProof="0">
                <a:ln>
                  <a:noFill/>
                </a:ln>
                <a:solidFill>
                  <a:srgbClr val="CC0033"/>
                </a:solidFill>
                <a:effectLst/>
                <a:uLnTx/>
                <a:uFillTx/>
                <a:latin typeface="Arial"/>
                <a:ea typeface="+mn-ea"/>
                <a:cs typeface="Arial" panose="020B0604020202020204" pitchFamily="34" charset="0"/>
              </a:rPr>
              <a:t>Recommendations and proposed legislative improvements</a:t>
            </a:r>
            <a:endParaRPr kumimoji="0" lang="sv-SE" sz="4400" b="1" i="0" u="none" strike="noStrike" kern="1200" cap="none" spc="0" normalizeH="0" baseline="0" noProof="0">
              <a:ln>
                <a:noFill/>
              </a:ln>
              <a:solidFill>
                <a:srgbClr val="CC0033"/>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2883476881"/>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1" name="Picture 12">
            <a:extLst>
              <a:ext uri="{FF2B5EF4-FFF2-40B4-BE49-F238E27FC236}">
                <a16:creationId xmlns:a16="http://schemas.microsoft.com/office/drawing/2014/main" id="{43802E0E-B79D-4EA7-8141-0CA3ED138B1A}"/>
              </a:ext>
            </a:extLst>
          </p:cNvPr>
          <p:cNvPicPr>
            <a:picLocks noChangeAspect="1"/>
          </p:cNvPicPr>
          <p:nvPr/>
        </p:nvPicPr>
        <p:blipFill>
          <a:blip r:embed="rId3"/>
          <a:srcRect/>
          <a:stretch>
            <a:fillRect/>
          </a:stretch>
        </p:blipFill>
        <p:spPr>
          <a:xfrm>
            <a:off x="0" y="8959889"/>
            <a:ext cx="5715000" cy="1385887"/>
          </a:xfrm>
          <a:prstGeom prst="rect">
            <a:avLst/>
          </a:prstGeom>
        </p:spPr>
      </p:pic>
      <p:grpSp>
        <p:nvGrpSpPr>
          <p:cNvPr id="132" name="Gruppo 2">
            <a:extLst>
              <a:ext uri="{FF2B5EF4-FFF2-40B4-BE49-F238E27FC236}">
                <a16:creationId xmlns:a16="http://schemas.microsoft.com/office/drawing/2014/main" id="{649928F6-6E82-4611-9715-AD3C75457C28}"/>
              </a:ext>
            </a:extLst>
          </p:cNvPr>
          <p:cNvGrpSpPr/>
          <p:nvPr/>
        </p:nvGrpSpPr>
        <p:grpSpPr>
          <a:xfrm>
            <a:off x="-12" y="138554"/>
            <a:ext cx="18288002" cy="681138"/>
            <a:chOff x="-12" y="138554"/>
            <a:chExt cx="18288002" cy="681138"/>
          </a:xfrm>
        </p:grpSpPr>
        <p:grpSp>
          <p:nvGrpSpPr>
            <p:cNvPr id="133" name="Gruppo 1">
              <a:extLst>
                <a:ext uri="{FF2B5EF4-FFF2-40B4-BE49-F238E27FC236}">
                  <a16:creationId xmlns:a16="http://schemas.microsoft.com/office/drawing/2014/main" id="{A8EB8794-E5C6-45EB-BAEC-2778E982797A}"/>
                </a:ext>
              </a:extLst>
            </p:cNvPr>
            <p:cNvGrpSpPr/>
            <p:nvPr/>
          </p:nvGrpSpPr>
          <p:grpSpPr>
            <a:xfrm>
              <a:off x="0" y="153125"/>
              <a:ext cx="17907000" cy="666567"/>
              <a:chOff x="0" y="153125"/>
              <a:chExt cx="17907000" cy="666567"/>
            </a:xfrm>
          </p:grpSpPr>
          <p:grpSp>
            <p:nvGrpSpPr>
              <p:cNvPr id="135" name="Gruppo 15">
                <a:extLst>
                  <a:ext uri="{FF2B5EF4-FFF2-40B4-BE49-F238E27FC236}">
                    <a16:creationId xmlns:a16="http://schemas.microsoft.com/office/drawing/2014/main" id="{AB129748-9FD7-458D-BD6E-304271C1814A}"/>
                  </a:ext>
                </a:extLst>
              </p:cNvPr>
              <p:cNvGrpSpPr/>
              <p:nvPr/>
            </p:nvGrpSpPr>
            <p:grpSpPr>
              <a:xfrm>
                <a:off x="0" y="153125"/>
                <a:ext cx="13958844" cy="666567"/>
                <a:chOff x="0" y="153125"/>
                <a:chExt cx="13958844" cy="666567"/>
              </a:xfrm>
            </p:grpSpPr>
            <p:pic>
              <p:nvPicPr>
                <p:cNvPr id="137" name="Picture 136">
                  <a:extLst>
                    <a:ext uri="{FF2B5EF4-FFF2-40B4-BE49-F238E27FC236}">
                      <a16:creationId xmlns:a16="http://schemas.microsoft.com/office/drawing/2014/main" id="{88E31CFD-796F-4F3F-A1EC-0E38F9D83456}"/>
                    </a:ext>
                  </a:extLst>
                </p:cNvPr>
                <p:cNvPicPr>
                  <a:picLocks noChangeAspect="1"/>
                </p:cNvPicPr>
                <p:nvPr/>
              </p:nvPicPr>
              <p:blipFill>
                <a:blip r:embed="rId4"/>
                <a:srcRect l="134" t="91287" b="3943"/>
                <a:stretch>
                  <a:fillRect/>
                </a:stretch>
              </p:blipFill>
              <p:spPr>
                <a:xfrm>
                  <a:off x="0" y="153125"/>
                  <a:ext cx="13958844" cy="666567"/>
                </a:xfrm>
                <a:prstGeom prst="rect">
                  <a:avLst/>
                </a:prstGeom>
              </p:spPr>
            </p:pic>
            <p:sp>
              <p:nvSpPr>
                <p:cNvPr id="138" name="TextBox 137">
                  <a:extLst>
                    <a:ext uri="{FF2B5EF4-FFF2-40B4-BE49-F238E27FC236}">
                      <a16:creationId xmlns:a16="http://schemas.microsoft.com/office/drawing/2014/main" id="{7694DADD-E227-40A7-A98D-244B0D207E54}"/>
                    </a:ext>
                  </a:extLst>
                </p:cNvPr>
                <p:cNvSpPr txBox="1"/>
                <p:nvPr/>
              </p:nvSpPr>
              <p:spPr>
                <a:xfrm>
                  <a:off x="228600" y="257980"/>
                  <a:ext cx="9296400" cy="456856"/>
                </a:xfrm>
                <a:prstGeom prst="rect">
                  <a:avLst/>
                </a:prstGeom>
              </p:spPr>
              <p:txBody>
                <a:bodyPr wrap="square" lIns="0" tIns="0" rIns="0" bIns="0" rtlCol="0" anchor="t">
                  <a:spAutoFit/>
                </a:bodyPr>
                <a:lstStyle/>
                <a:p>
                  <a:pPr marL="0" marR="0" lvl="0" indent="0" algn="l" defTabSz="914400" rtl="0" eaLnBrk="1" fontAlgn="auto" latinLnBrk="0" hangingPunct="1">
                    <a:lnSpc>
                      <a:spcPts val="3919"/>
                    </a:lnSpc>
                    <a:spcBef>
                      <a:spcPct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36" name="TextBox 135">
                <a:extLst>
                  <a:ext uri="{FF2B5EF4-FFF2-40B4-BE49-F238E27FC236}">
                    <a16:creationId xmlns:a16="http://schemas.microsoft.com/office/drawing/2014/main" id="{4B3CCEBB-60EF-4175-9878-F0D51FD80FF0}"/>
                  </a:ext>
                </a:extLst>
              </p:cNvPr>
              <p:cNvSpPr txBox="1"/>
              <p:nvPr/>
            </p:nvSpPr>
            <p:spPr>
              <a:xfrm>
                <a:off x="12154296" y="257980"/>
                <a:ext cx="5752704" cy="456856"/>
              </a:xfrm>
              <a:prstGeom prst="rect">
                <a:avLst/>
              </a:prstGeom>
            </p:spPr>
            <p:txBody>
              <a:bodyPr wrap="square" lIns="0" tIns="0" rIns="0" bIns="0" rtlCol="0" anchor="t">
                <a:spAutoFit/>
              </a:bodyPr>
              <a:lstStyle/>
              <a:p>
                <a:pPr marL="0" marR="0" lvl="0" indent="0" algn="r" defTabSz="914400" rtl="0" eaLnBrk="1" fontAlgn="auto" latinLnBrk="0" hangingPunct="1">
                  <a:lnSpc>
                    <a:spcPts val="3919"/>
                  </a:lnSpc>
                  <a:spcBef>
                    <a:spcPct val="0"/>
                  </a:spcBef>
                  <a:spcAft>
                    <a:spcPts val="0"/>
                  </a:spcAft>
                  <a:buClrTx/>
                  <a:buSzTx/>
                  <a:buFontTx/>
                  <a:buNone/>
                  <a:tabLst/>
                  <a:defRPr/>
                </a:pPr>
                <a:endParaRPr kumimoji="0" lang="en-US" sz="2800" b="0" i="0" u="none" strike="noStrike" kern="1200" cap="none" spc="0" normalizeH="0" baseline="0" noProof="0">
                  <a:ln>
                    <a:noFill/>
                  </a:ln>
                  <a:solidFill>
                    <a:srgbClr val="2F2F2F">
                      <a:lumMod val="75000"/>
                      <a:lumOff val="25000"/>
                    </a:srgbClr>
                  </a:solidFill>
                  <a:effectLst/>
                  <a:uLnTx/>
                  <a:uFillTx/>
                  <a:latin typeface="Arial" panose="020B0604020202020204" pitchFamily="34" charset="0"/>
                  <a:ea typeface="+mn-ea"/>
                  <a:cs typeface="Arial" panose="020B0604020202020204" pitchFamily="34" charset="0"/>
                </a:endParaRPr>
              </a:p>
            </p:txBody>
          </p:sp>
        </p:grpSp>
        <p:sp>
          <p:nvSpPr>
            <p:cNvPr id="134" name="Rettangolo 13">
              <a:extLst>
                <a:ext uri="{FF2B5EF4-FFF2-40B4-BE49-F238E27FC236}">
                  <a16:creationId xmlns:a16="http://schemas.microsoft.com/office/drawing/2014/main" id="{8F0CF2A7-592A-4287-9206-D3289F1B0C37}"/>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pic>
        <p:nvPicPr>
          <p:cNvPr id="139" name="Picture 12">
            <a:extLst>
              <a:ext uri="{FF2B5EF4-FFF2-40B4-BE49-F238E27FC236}">
                <a16:creationId xmlns:a16="http://schemas.microsoft.com/office/drawing/2014/main" id="{F047215A-40D8-4A57-BE02-5E03FCEEBB7B}"/>
              </a:ext>
            </a:extLst>
          </p:cNvPr>
          <p:cNvPicPr>
            <a:picLocks noChangeAspect="1"/>
          </p:cNvPicPr>
          <p:nvPr/>
        </p:nvPicPr>
        <p:blipFill>
          <a:blip r:embed="rId5"/>
          <a:srcRect l="134" t="91287" b="3943"/>
          <a:stretch>
            <a:fillRect/>
          </a:stretch>
        </p:blipFill>
        <p:spPr>
          <a:xfrm rot="10800000">
            <a:off x="4329146" y="9679208"/>
            <a:ext cx="13958844" cy="666567"/>
          </a:xfrm>
          <a:prstGeom prst="rect">
            <a:avLst/>
          </a:prstGeom>
        </p:spPr>
      </p:pic>
      <p:sp>
        <p:nvSpPr>
          <p:cNvPr id="140" name="TextBox 16">
            <a:extLst>
              <a:ext uri="{FF2B5EF4-FFF2-40B4-BE49-F238E27FC236}">
                <a16:creationId xmlns:a16="http://schemas.microsoft.com/office/drawing/2014/main" id="{C693B1DB-897C-4A9D-8CF3-F1423F6CB38D}"/>
              </a:ext>
            </a:extLst>
          </p:cNvPr>
          <p:cNvSpPr txBox="1"/>
          <p:nvPr/>
        </p:nvSpPr>
        <p:spPr>
          <a:xfrm>
            <a:off x="14400019" y="9762301"/>
            <a:ext cx="3636320" cy="448713"/>
          </a:xfrm>
          <a:prstGeom prst="rect">
            <a:avLst/>
          </a:prstGeom>
        </p:spPr>
        <p:txBody>
          <a:bodyPr wrap="square" lIns="0" tIns="0" rIns="0" bIns="0" rtlCol="0" anchor="t">
            <a:spAutoFit/>
          </a:bodyPr>
          <a:lstStyle/>
          <a:p>
            <a:pPr marL="0" marR="0" lvl="0" indent="0" algn="ctr" defTabSz="914400" rtl="0" eaLnBrk="1" fontAlgn="auto" latinLnBrk="0" hangingPunct="1">
              <a:lnSpc>
                <a:spcPts val="3919"/>
              </a:lnSpc>
              <a:spcBef>
                <a:spcPct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OCR A Extended" panose="02010509020102010303" pitchFamily="50" charset="0"/>
                <a:ea typeface="+mn-ea"/>
                <a:cs typeface="+mn-cs"/>
              </a:rPr>
              <a:t>www.retrofeed.eu</a:t>
            </a:r>
          </a:p>
        </p:txBody>
      </p:sp>
      <p:graphicFrame>
        <p:nvGraphicFramePr>
          <p:cNvPr id="5" name="Diagram 4">
            <a:extLst>
              <a:ext uri="{FF2B5EF4-FFF2-40B4-BE49-F238E27FC236}">
                <a16:creationId xmlns:a16="http://schemas.microsoft.com/office/drawing/2014/main" id="{8C26F537-45FD-9D85-7A16-F3A933F39836}"/>
              </a:ext>
            </a:extLst>
          </p:cNvPr>
          <p:cNvGraphicFramePr/>
          <p:nvPr>
            <p:extLst>
              <p:ext uri="{D42A27DB-BD31-4B8C-83A1-F6EECF244321}">
                <p14:modId xmlns:p14="http://schemas.microsoft.com/office/powerpoint/2010/main" val="1527373315"/>
              </p:ext>
            </p:extLst>
          </p:nvPr>
        </p:nvGraphicFramePr>
        <p:xfrm>
          <a:off x="435326" y="2206904"/>
          <a:ext cx="7787640" cy="6694738"/>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8" name="TextBox 7">
            <a:extLst>
              <a:ext uri="{FF2B5EF4-FFF2-40B4-BE49-F238E27FC236}">
                <a16:creationId xmlns:a16="http://schemas.microsoft.com/office/drawing/2014/main" id="{61977647-32B3-F6A7-14A6-F7BBC36C4CFC}"/>
              </a:ext>
            </a:extLst>
          </p:cNvPr>
          <p:cNvSpPr txBox="1"/>
          <p:nvPr/>
        </p:nvSpPr>
        <p:spPr>
          <a:xfrm>
            <a:off x="8473440" y="1849653"/>
            <a:ext cx="9433560" cy="7396897"/>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600"/>
              </a:spcAft>
              <a:buClrTx/>
              <a:buSzTx/>
              <a:buFontTx/>
              <a:buNone/>
              <a:tabLst/>
              <a:defRPr/>
            </a:pPr>
            <a:r>
              <a:rPr kumimoji="0" lang="en-GB" sz="1800" b="1" i="1" u="none" strike="noStrike" kern="0" cap="none" spc="0" normalizeH="0" baseline="0" noProof="0" dirty="0">
                <a:ln>
                  <a:noFill/>
                </a:ln>
                <a:solidFill>
                  <a:srgbClr val="2F2F2F"/>
                </a:solidFill>
                <a:effectLst/>
                <a:uLnTx/>
                <a:uFillTx/>
                <a:latin typeface="Arial" panose="020B0604020202020204" pitchFamily="34" charset="0"/>
                <a:ea typeface="Times New Roman" panose="02020603050405020304" pitchFamily="18" charset="0"/>
                <a:cs typeface="Times New Roman" panose="02020603050405020304" pitchFamily="18" charset="0"/>
              </a:rPr>
              <a:t>Proposals to achieve a greater impact on the implementation of the project's technologies in each sector.</a:t>
            </a:r>
            <a:endParaRPr kumimoji="0" lang="sv-SE" sz="1800" b="1" i="0" u="none" strike="noStrike" kern="100" cap="none" spc="0" normalizeH="0" baseline="0" noProof="0" dirty="0">
              <a:ln>
                <a:noFill/>
              </a:ln>
              <a:solidFill>
                <a:srgbClr val="2F2F2F"/>
              </a:solidFill>
              <a:effectLst/>
              <a:uLnTx/>
              <a:uFillTx/>
              <a:latin typeface="Arial" panose="020B0604020202020204" pitchFamily="34" charset="0"/>
              <a:ea typeface="Noto Sans CJK SC"/>
              <a:cs typeface="Mangal" panose="02040503050203030202" pitchFamily="18" charset="0"/>
            </a:endParaRPr>
          </a:p>
          <a:p>
            <a:pPr marL="342900" indent="-342900" algn="just">
              <a:buFont typeface="Symbol" panose="05050102010706020507" pitchFamily="18" charset="2"/>
              <a:buChar char=""/>
              <a:defRPr/>
            </a:pPr>
            <a:r>
              <a:rPr lang="en-US" b="1" i="1" dirty="0">
                <a:solidFill>
                  <a:srgbClr val="2F2F2F"/>
                </a:solidFill>
                <a:latin typeface="Arial" panose="020B0604020202020204" pitchFamily="34" charset="0"/>
              </a:rPr>
              <a:t>The EU waste policy should be reviewed to ensure greater circularity</a:t>
            </a:r>
            <a:endParaRPr kumimoji="0" lang="en-US" sz="1800" b="1" i="1" u="none" strike="noStrike" kern="1200" cap="none" spc="0" normalizeH="0" baseline="0" noProof="0" dirty="0">
              <a:ln>
                <a:noFill/>
              </a:ln>
              <a:solidFill>
                <a:srgbClr val="2F2F2F"/>
              </a:solidFill>
              <a:effectLst/>
              <a:uLnTx/>
              <a:uFillTx/>
              <a:latin typeface="Arial" panose="020B0604020202020204" pitchFamily="34" charset="0"/>
              <a:ea typeface="Calibri" panose="020F0502020204030204" pitchFamily="34" charset="0"/>
              <a:cs typeface="+mn-cs"/>
            </a:endParaRPr>
          </a:p>
          <a:p>
            <a:pPr marL="342900" marR="0" lvl="0" indent="-342900" algn="just"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US" sz="1800" b="1" i="1" u="none" strike="noStrike" kern="1200" cap="none" spc="0" normalizeH="0" baseline="0" noProof="0" dirty="0">
                <a:ln>
                  <a:noFill/>
                </a:ln>
                <a:solidFill>
                  <a:srgbClr val="2F2F2F"/>
                </a:solidFill>
                <a:effectLst/>
                <a:uLnTx/>
                <a:uFillTx/>
                <a:latin typeface="Arial" panose="020B0604020202020204" pitchFamily="34" charset="0"/>
                <a:ea typeface="Calibri" panose="020F0502020204030204" pitchFamily="34" charset="0"/>
                <a:cs typeface="+mn-cs"/>
              </a:rPr>
              <a:t>Waste landfilling should be prohibited or highly taxed;</a:t>
            </a:r>
            <a:endParaRPr kumimoji="0" lang="sv-SE" sz="2000" b="1" i="0" u="none" strike="noStrike" kern="1200" cap="none" spc="0" normalizeH="0" baseline="0" noProof="0" dirty="0">
              <a:ln>
                <a:noFill/>
              </a:ln>
              <a:solidFill>
                <a:srgbClr val="2F2F2F"/>
              </a:solidFill>
              <a:effectLst/>
              <a:uLnTx/>
              <a:uFillTx/>
              <a:latin typeface="Arial" panose="020B0604020202020204" pitchFamily="34" charset="0"/>
              <a:ea typeface="Calibri" panose="020F0502020204030204" pitchFamily="34" charset="0"/>
              <a:cs typeface="+mn-cs"/>
            </a:endParaRPr>
          </a:p>
          <a:p>
            <a:pPr marL="342900" marR="0" lvl="0" indent="-342900" algn="just"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US" sz="1800" b="1" i="1" u="none" strike="noStrike" kern="1200" cap="none" spc="0" normalizeH="0" baseline="0" noProof="0" dirty="0">
                <a:ln>
                  <a:noFill/>
                </a:ln>
                <a:solidFill>
                  <a:srgbClr val="2F2F2F"/>
                </a:solidFill>
                <a:effectLst/>
                <a:uLnTx/>
                <a:uFillTx/>
                <a:latin typeface="Arial" panose="020B0604020202020204" pitchFamily="34" charset="0"/>
                <a:ea typeface="Calibri" panose="020F0502020204030204" pitchFamily="34" charset="0"/>
                <a:cs typeface="+mn-cs"/>
              </a:rPr>
              <a:t>The export of waste outside of the EU should be minimized;</a:t>
            </a:r>
            <a:endParaRPr kumimoji="0" lang="sv-SE" sz="2000" b="1" i="0" u="none" strike="noStrike" kern="1200" cap="none" spc="0" normalizeH="0" baseline="0" noProof="0" dirty="0">
              <a:ln>
                <a:noFill/>
              </a:ln>
              <a:solidFill>
                <a:srgbClr val="2F2F2F"/>
              </a:solidFill>
              <a:effectLst/>
              <a:uLnTx/>
              <a:uFillTx/>
              <a:latin typeface="Arial" panose="020B0604020202020204" pitchFamily="34" charset="0"/>
              <a:ea typeface="Calibri" panose="020F0502020204030204" pitchFamily="34" charset="0"/>
              <a:cs typeface="+mn-cs"/>
            </a:endParaRPr>
          </a:p>
          <a:p>
            <a:pPr marL="342900" marR="0" lvl="0" indent="-342900" algn="just"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US" sz="1800" b="1" i="1" u="none" strike="noStrike" kern="1200" cap="none" spc="0" normalizeH="0" baseline="0" noProof="0" dirty="0">
                <a:ln>
                  <a:noFill/>
                </a:ln>
                <a:solidFill>
                  <a:srgbClr val="2F2F2F"/>
                </a:solidFill>
                <a:effectLst/>
                <a:uLnTx/>
                <a:uFillTx/>
                <a:latin typeface="Arial" panose="020B0604020202020204" pitchFamily="34" charset="0"/>
                <a:ea typeface="Calibri" panose="020F0502020204030204" pitchFamily="34" charset="0"/>
                <a:cs typeface="+mn-cs"/>
              </a:rPr>
              <a:t>Promote the collection, sorting, pre-treatment, recovery, recycling and co-processing of waste.</a:t>
            </a:r>
            <a:endParaRPr kumimoji="0" lang="sv-SE" sz="2000" b="1" i="0" u="none" strike="noStrike" kern="1200" cap="none" spc="0" normalizeH="0" baseline="0" noProof="0" dirty="0">
              <a:ln>
                <a:noFill/>
              </a:ln>
              <a:solidFill>
                <a:srgbClr val="2F2F2F"/>
              </a:solidFill>
              <a:effectLst/>
              <a:uLnTx/>
              <a:uFillTx/>
              <a:latin typeface="Arial" panose="020B0604020202020204" pitchFamily="34" charset="0"/>
              <a:ea typeface="Calibri" panose="020F0502020204030204" pitchFamily="34" charset="0"/>
              <a:cs typeface="+mn-cs"/>
            </a:endParaRPr>
          </a:p>
          <a:p>
            <a:pPr marL="342900" marR="0" lvl="0" indent="-342900" algn="just" defTabSz="914400" rtl="0" eaLnBrk="1" fontAlgn="auto" latinLnBrk="0" hangingPunct="1">
              <a:lnSpc>
                <a:spcPct val="100000"/>
              </a:lnSpc>
              <a:spcBef>
                <a:spcPts val="0"/>
              </a:spcBef>
              <a:spcAft>
                <a:spcPts val="190"/>
              </a:spcAft>
              <a:buClrTx/>
              <a:buSzTx/>
              <a:buFont typeface="Symbol" panose="05050102010706020507" pitchFamily="18" charset="2"/>
              <a:buChar char=""/>
              <a:tabLst/>
              <a:defRPr/>
            </a:pPr>
            <a:r>
              <a:rPr kumimoji="0" lang="en-US" sz="1800" b="1" i="1" u="none" strike="noStrike" kern="1200" cap="none" spc="0" normalizeH="0" baseline="0" noProof="0" dirty="0">
                <a:ln>
                  <a:noFill/>
                </a:ln>
                <a:solidFill>
                  <a:srgbClr val="2F2F2F"/>
                </a:solidFill>
                <a:effectLst/>
                <a:uLnTx/>
                <a:uFillTx/>
                <a:latin typeface="Arial" panose="020B0604020202020204" pitchFamily="34" charset="0"/>
                <a:ea typeface="Calibri" panose="020F0502020204030204" pitchFamily="34" charset="0"/>
                <a:cs typeface="+mn-cs"/>
              </a:rPr>
              <a:t>An harmonized model for separate waste collection could simplify waste management, improve efficiency of resource flows and ensure better access to secondary materials. </a:t>
            </a:r>
            <a:endParaRPr kumimoji="0" lang="sv-SE" sz="2000" b="1" i="0" u="none" strike="noStrike" kern="1200" cap="none" spc="0" normalizeH="0" baseline="0" noProof="0" dirty="0">
              <a:ln>
                <a:noFill/>
              </a:ln>
              <a:solidFill>
                <a:srgbClr val="2F2F2F"/>
              </a:solidFill>
              <a:effectLst/>
              <a:uLnTx/>
              <a:uFillTx/>
              <a:latin typeface="Arial" panose="020B0604020202020204" pitchFamily="34" charset="0"/>
              <a:ea typeface="Calibri" panose="020F0502020204030204" pitchFamily="34" charset="0"/>
              <a:cs typeface="+mn-cs"/>
            </a:endParaRPr>
          </a:p>
          <a:p>
            <a:pPr marL="342900" marR="0" lvl="0" indent="-342900" algn="just"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US" sz="1800" b="1" i="1" u="none" strike="noStrike" kern="1200" cap="none" spc="0" normalizeH="0" baseline="0" noProof="0" dirty="0">
                <a:ln>
                  <a:noFill/>
                </a:ln>
                <a:solidFill>
                  <a:srgbClr val="2F2F2F"/>
                </a:solidFill>
                <a:effectLst/>
                <a:uLnTx/>
                <a:uFillTx/>
                <a:latin typeface="Arial" panose="020B0604020202020204" pitchFamily="34" charset="0"/>
                <a:ea typeface="Calibri" panose="020F0502020204030204" pitchFamily="34" charset="0"/>
                <a:cs typeface="+mn-cs"/>
              </a:rPr>
              <a:t>Improve the access to waste and by-products as alternative fuels and materials</a:t>
            </a:r>
            <a:endParaRPr kumimoji="0" lang="sv-SE" sz="2000" b="1" i="0" u="none" strike="noStrike" kern="1200" cap="none" spc="0" normalizeH="0" baseline="0" noProof="0" dirty="0">
              <a:ln>
                <a:noFill/>
              </a:ln>
              <a:solidFill>
                <a:srgbClr val="2F2F2F"/>
              </a:solidFill>
              <a:effectLst/>
              <a:uLnTx/>
              <a:uFillTx/>
              <a:latin typeface="Arial" panose="020B0604020202020204" pitchFamily="34" charset="0"/>
              <a:ea typeface="Calibri" panose="020F0502020204030204" pitchFamily="34" charset="0"/>
              <a:cs typeface="+mn-cs"/>
            </a:endParaRPr>
          </a:p>
          <a:p>
            <a:pPr marL="342900" marR="0" lvl="0" indent="-342900" algn="just"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US" sz="1800" b="1" i="1" u="none" strike="noStrike" kern="1200" cap="none" spc="0" normalizeH="0" baseline="0" noProof="0" dirty="0">
                <a:ln>
                  <a:noFill/>
                </a:ln>
                <a:solidFill>
                  <a:srgbClr val="2F2F2F"/>
                </a:solidFill>
                <a:effectLst/>
                <a:uLnTx/>
                <a:uFillTx/>
                <a:latin typeface="Arial" panose="020B0604020202020204" pitchFamily="34" charset="0"/>
                <a:ea typeface="Calibri" panose="020F0502020204030204" pitchFamily="34" charset="0"/>
                <a:cs typeface="+mn-cs"/>
              </a:rPr>
              <a:t>Support R&amp;D and innovation through public funding and risk sharing investment mechanisms </a:t>
            </a:r>
            <a:endParaRPr kumimoji="0" lang="sv-SE" sz="2000" b="1" i="0" u="none" strike="noStrike" kern="1200" cap="none" spc="0" normalizeH="0" baseline="0" noProof="0" dirty="0">
              <a:ln>
                <a:noFill/>
              </a:ln>
              <a:solidFill>
                <a:srgbClr val="2F2F2F"/>
              </a:solidFill>
              <a:effectLst/>
              <a:uLnTx/>
              <a:uFillTx/>
              <a:latin typeface="Arial" panose="020B0604020202020204" pitchFamily="34" charset="0"/>
              <a:ea typeface="Calibri" panose="020F0502020204030204" pitchFamily="34" charset="0"/>
              <a:cs typeface="+mn-cs"/>
            </a:endParaRPr>
          </a:p>
          <a:p>
            <a:pPr marL="342900" marR="0" lvl="0" indent="-342900" algn="just"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US" sz="1800" b="1" i="1" u="none" strike="noStrike" kern="1200" cap="none" spc="0" normalizeH="0" baseline="0" noProof="0" dirty="0" err="1">
                <a:ln>
                  <a:noFill/>
                </a:ln>
                <a:solidFill>
                  <a:srgbClr val="2F2F2F"/>
                </a:solidFill>
                <a:effectLst/>
                <a:uLnTx/>
                <a:uFillTx/>
                <a:latin typeface="Arial" panose="020B0604020202020204" pitchFamily="34" charset="0"/>
                <a:ea typeface="Calibri" panose="020F0502020204030204" pitchFamily="34" charset="0"/>
                <a:cs typeface="+mn-cs"/>
              </a:rPr>
              <a:t>Standardisation</a:t>
            </a:r>
            <a:r>
              <a:rPr kumimoji="0" lang="en-US" sz="1800" b="1" i="1" u="none" strike="noStrike" kern="1200" cap="none" spc="0" normalizeH="0" baseline="0" noProof="0" dirty="0">
                <a:ln>
                  <a:noFill/>
                </a:ln>
                <a:solidFill>
                  <a:srgbClr val="2F2F2F"/>
                </a:solidFill>
                <a:effectLst/>
                <a:uLnTx/>
                <a:uFillTx/>
                <a:latin typeface="Arial" panose="020B0604020202020204" pitchFamily="34" charset="0"/>
                <a:ea typeface="Calibri" panose="020F0502020204030204" pitchFamily="34" charset="0"/>
                <a:cs typeface="+mn-cs"/>
              </a:rPr>
              <a:t> of new cements.</a:t>
            </a:r>
            <a:endParaRPr kumimoji="0" lang="sv-SE" sz="2000" b="1" i="0" u="none" strike="noStrike" kern="1200" cap="none" spc="0" normalizeH="0" baseline="0" noProof="0" dirty="0">
              <a:ln>
                <a:noFill/>
              </a:ln>
              <a:solidFill>
                <a:srgbClr val="2F2F2F"/>
              </a:solidFill>
              <a:effectLst/>
              <a:uLnTx/>
              <a:uFillTx/>
              <a:latin typeface="Arial" panose="020B0604020202020204" pitchFamily="34" charset="0"/>
              <a:ea typeface="Calibri" panose="020F0502020204030204" pitchFamily="34" charset="0"/>
              <a:cs typeface="+mn-cs"/>
            </a:endParaRPr>
          </a:p>
          <a:p>
            <a:pPr marL="342900" marR="0" lvl="0" indent="-342900" algn="just"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US" sz="1800" b="1" i="1" u="none" strike="noStrike" kern="1200" cap="none" spc="0" normalizeH="0" baseline="0" noProof="0" dirty="0">
                <a:ln>
                  <a:noFill/>
                </a:ln>
                <a:solidFill>
                  <a:srgbClr val="2F2F2F"/>
                </a:solidFill>
                <a:effectLst/>
                <a:uLnTx/>
                <a:uFillTx/>
                <a:latin typeface="Arial" panose="020B0604020202020204" pitchFamily="34" charset="0"/>
                <a:ea typeface="Calibri" panose="020F0502020204030204" pitchFamily="34" charset="0"/>
                <a:cs typeface="+mn-cs"/>
              </a:rPr>
              <a:t>At regional level it is important that the permitting application is facilitated;</a:t>
            </a:r>
            <a:endParaRPr kumimoji="0" lang="sv-SE" sz="2000" b="1" i="0" u="none" strike="noStrike" kern="1200" cap="none" spc="0" normalizeH="0" baseline="0" noProof="0" dirty="0">
              <a:ln>
                <a:noFill/>
              </a:ln>
              <a:solidFill>
                <a:srgbClr val="2F2F2F"/>
              </a:solidFill>
              <a:effectLst/>
              <a:uLnTx/>
              <a:uFillTx/>
              <a:latin typeface="Arial" panose="020B0604020202020204" pitchFamily="34" charset="0"/>
              <a:ea typeface="Calibri" panose="020F0502020204030204" pitchFamily="34" charset="0"/>
              <a:cs typeface="+mn-cs"/>
            </a:endParaRPr>
          </a:p>
          <a:p>
            <a:pPr marL="342900" marR="0" lvl="0" indent="-342900" algn="just"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US" sz="1800" b="1" i="1" u="none" strike="noStrike" kern="1200" cap="none" spc="0" normalizeH="0" baseline="0" noProof="0" dirty="0">
                <a:ln>
                  <a:noFill/>
                </a:ln>
                <a:solidFill>
                  <a:srgbClr val="2F2F2F"/>
                </a:solidFill>
                <a:effectLst/>
                <a:uLnTx/>
                <a:uFillTx/>
                <a:latin typeface="Arial" panose="020B0604020202020204" pitchFamily="34" charset="0"/>
                <a:ea typeface="Calibri" panose="020F0502020204030204" pitchFamily="34" charset="0"/>
                <a:cs typeface="+mn-cs"/>
              </a:rPr>
              <a:t>New standards and public procurement rules to accelerate the adoption of low carbon cements and concrete products</a:t>
            </a:r>
            <a:endParaRPr kumimoji="0" lang="sv-SE" sz="2000" b="1" i="0" u="none" strike="noStrike" kern="1200" cap="none" spc="0" normalizeH="0" baseline="0" noProof="0" dirty="0">
              <a:ln>
                <a:noFill/>
              </a:ln>
              <a:solidFill>
                <a:srgbClr val="2F2F2F"/>
              </a:solidFill>
              <a:effectLst/>
              <a:uLnTx/>
              <a:uFillTx/>
              <a:latin typeface="Arial" panose="020B0604020202020204" pitchFamily="34" charset="0"/>
              <a:ea typeface="Calibri" panose="020F0502020204030204" pitchFamily="34" charset="0"/>
              <a:cs typeface="+mn-cs"/>
            </a:endParaRPr>
          </a:p>
          <a:p>
            <a:pPr marL="342900" marR="0" lvl="0" indent="-342900" algn="just"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US" sz="1800" b="1" i="1" u="none" strike="noStrike" kern="1200" cap="none" spc="0" normalizeH="0" baseline="0" noProof="0" dirty="0">
                <a:ln>
                  <a:noFill/>
                </a:ln>
                <a:solidFill>
                  <a:srgbClr val="2F2F2F"/>
                </a:solidFill>
                <a:effectLst/>
                <a:uLnTx/>
                <a:uFillTx/>
                <a:latin typeface="Arial" panose="020B0604020202020204" pitchFamily="34" charset="0"/>
                <a:ea typeface="Calibri" panose="020F0502020204030204" pitchFamily="34" charset="0"/>
                <a:cs typeface="+mn-cs"/>
              </a:rPr>
              <a:t>Support carbon capture </a:t>
            </a:r>
            <a:r>
              <a:rPr kumimoji="0" lang="en-US" sz="1800" b="1" i="1" u="none" strike="noStrike" kern="1200" cap="none" spc="0" normalizeH="0" baseline="0" noProof="0" dirty="0" err="1">
                <a:ln>
                  <a:noFill/>
                </a:ln>
                <a:solidFill>
                  <a:srgbClr val="2F2F2F"/>
                </a:solidFill>
                <a:effectLst/>
                <a:uLnTx/>
                <a:uFillTx/>
                <a:latin typeface="Arial" panose="020B0604020202020204" pitchFamily="34" charset="0"/>
                <a:ea typeface="Calibri" panose="020F0502020204030204" pitchFamily="34" charset="0"/>
                <a:cs typeface="+mn-cs"/>
              </a:rPr>
              <a:t>utilisation</a:t>
            </a:r>
            <a:r>
              <a:rPr kumimoji="0" lang="en-US" sz="1800" b="1" i="1" u="none" strike="noStrike" kern="1200" cap="none" spc="0" normalizeH="0" baseline="0" noProof="0" dirty="0">
                <a:ln>
                  <a:noFill/>
                </a:ln>
                <a:solidFill>
                  <a:srgbClr val="2F2F2F"/>
                </a:solidFill>
                <a:effectLst/>
                <a:uLnTx/>
                <a:uFillTx/>
                <a:latin typeface="Arial" panose="020B0604020202020204" pitchFamily="34" charset="0"/>
                <a:ea typeface="Calibri" panose="020F0502020204030204" pitchFamily="34" charset="0"/>
                <a:cs typeface="+mn-cs"/>
              </a:rPr>
              <a:t> and storage, providing fair recognition of all carbon capture technologies with adapted carbon accounting</a:t>
            </a:r>
            <a:endParaRPr kumimoji="0" lang="sv-SE" sz="2000" b="1" i="0" u="none" strike="noStrike" kern="1200" cap="none" spc="0" normalizeH="0" baseline="0" noProof="0" dirty="0">
              <a:ln>
                <a:noFill/>
              </a:ln>
              <a:solidFill>
                <a:srgbClr val="2F2F2F"/>
              </a:solidFill>
              <a:effectLst/>
              <a:uLnTx/>
              <a:uFillTx/>
              <a:latin typeface="Arial" panose="020B0604020202020204" pitchFamily="34" charset="0"/>
              <a:ea typeface="Calibri" panose="020F0502020204030204" pitchFamily="34" charset="0"/>
              <a:cs typeface="+mn-cs"/>
            </a:endParaRPr>
          </a:p>
          <a:p>
            <a:pPr marL="342900" marR="0" lvl="0" indent="-342900" algn="just"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US" sz="1800" b="1" i="1" u="none" strike="noStrike" kern="1200" cap="none" spc="0" normalizeH="0" baseline="0" noProof="0" dirty="0">
                <a:ln>
                  <a:noFill/>
                </a:ln>
                <a:solidFill>
                  <a:srgbClr val="2F2F2F"/>
                </a:solidFill>
                <a:effectLst/>
                <a:uLnTx/>
                <a:uFillTx/>
                <a:latin typeface="Arial" panose="020B0604020202020204" pitchFamily="34" charset="0"/>
                <a:ea typeface="Calibri" panose="020F0502020204030204" pitchFamily="34" charset="0"/>
                <a:cs typeface="+mn-cs"/>
              </a:rPr>
              <a:t>Recognize in national greenhouse gas accounting and in lifecycle analysis the natural CO2 uptake in concrete over its lifetime and at end of life (</a:t>
            </a:r>
            <a:r>
              <a:rPr kumimoji="0" lang="en-US" sz="1800" b="1" i="1" u="none" strike="noStrike" kern="1200" cap="none" spc="0" normalizeH="0" baseline="0" noProof="0" dirty="0" err="1">
                <a:ln>
                  <a:noFill/>
                </a:ln>
                <a:solidFill>
                  <a:srgbClr val="2F2F2F"/>
                </a:solidFill>
                <a:effectLst/>
                <a:uLnTx/>
                <a:uFillTx/>
                <a:latin typeface="Arial" panose="020B0604020202020204" pitchFamily="34" charset="0"/>
                <a:ea typeface="Calibri" panose="020F0502020204030204" pitchFamily="34" charset="0"/>
                <a:cs typeface="+mn-cs"/>
              </a:rPr>
              <a:t>recarbonation</a:t>
            </a:r>
            <a:r>
              <a:rPr kumimoji="0" lang="en-US" sz="1800" b="1" i="1" u="none" strike="noStrike" kern="1200" cap="none" spc="0" normalizeH="0" baseline="0" noProof="0" dirty="0">
                <a:ln>
                  <a:noFill/>
                </a:ln>
                <a:solidFill>
                  <a:srgbClr val="2F2F2F"/>
                </a:solidFill>
                <a:effectLst/>
                <a:uLnTx/>
                <a:uFillTx/>
                <a:latin typeface="Arial" panose="020B0604020202020204" pitchFamily="34" charset="0"/>
                <a:ea typeface="Calibri" panose="020F0502020204030204" pitchFamily="34" charset="0"/>
                <a:cs typeface="+mn-cs"/>
              </a:rPr>
              <a:t>) as a permanent CO2 sink </a:t>
            </a:r>
            <a:r>
              <a:rPr kumimoji="0" lang="en-GB" sz="1800" b="1" i="1" u="none" strike="noStrike" kern="1200" cap="none" spc="0" normalizeH="0" baseline="0" noProof="0" dirty="0">
                <a:ln>
                  <a:noFill/>
                </a:ln>
                <a:solidFill>
                  <a:srgbClr val="2F2F2F"/>
                </a:solidFill>
                <a:effectLst/>
                <a:uLnTx/>
                <a:uFillTx/>
                <a:latin typeface="Arial" panose="020B0604020202020204" pitchFamily="34" charset="0"/>
                <a:ea typeface="Calibri" panose="020F0502020204030204" pitchFamily="34" charset="0"/>
                <a:cs typeface="+mn-cs"/>
              </a:rPr>
              <a:t>and facilitate access to concrete demolition waste to enable the industry to maximise CO2 uptake (</a:t>
            </a:r>
            <a:r>
              <a:rPr kumimoji="0" lang="en-GB" sz="1800" b="1" i="1" u="none" strike="noStrike" kern="1200" cap="none" spc="0" normalizeH="0" baseline="0" noProof="0" dirty="0" err="1">
                <a:ln>
                  <a:noFill/>
                </a:ln>
                <a:solidFill>
                  <a:srgbClr val="2F2F2F"/>
                </a:solidFill>
                <a:effectLst/>
                <a:uLnTx/>
                <a:uFillTx/>
                <a:latin typeface="Arial" panose="020B0604020202020204" pitchFamily="34" charset="0"/>
                <a:ea typeface="Calibri" panose="020F0502020204030204" pitchFamily="34" charset="0"/>
                <a:cs typeface="+mn-cs"/>
              </a:rPr>
              <a:t>recarbonation</a:t>
            </a:r>
            <a:r>
              <a:rPr kumimoji="0" lang="en-GB" sz="1800" b="1" i="1" u="none" strike="noStrike" kern="1200" cap="none" spc="0" normalizeH="0" baseline="0" noProof="0" dirty="0">
                <a:ln>
                  <a:noFill/>
                </a:ln>
                <a:solidFill>
                  <a:srgbClr val="2F2F2F"/>
                </a:solidFill>
                <a:effectLst/>
                <a:uLnTx/>
                <a:uFillTx/>
                <a:latin typeface="Arial" panose="020B0604020202020204" pitchFamily="34" charset="0"/>
                <a:ea typeface="Calibri" panose="020F0502020204030204" pitchFamily="34" charset="0"/>
                <a:cs typeface="+mn-cs"/>
              </a:rPr>
              <a:t>).</a:t>
            </a:r>
            <a:endParaRPr kumimoji="0" lang="sv-SE" sz="2000" b="1" i="0" u="none" strike="noStrike" kern="1200" cap="none" spc="0" normalizeH="0" baseline="0" noProof="0" dirty="0">
              <a:ln>
                <a:noFill/>
              </a:ln>
              <a:solidFill>
                <a:srgbClr val="2F2F2F"/>
              </a:solidFill>
              <a:effectLst/>
              <a:uLnTx/>
              <a:uFillTx/>
              <a:latin typeface="Arial" panose="020B0604020202020204" pitchFamily="34" charset="0"/>
              <a:ea typeface="Calibri" panose="020F0502020204030204" pitchFamily="34" charset="0"/>
              <a:cs typeface="+mn-cs"/>
            </a:endParaRPr>
          </a:p>
          <a:p>
            <a:pPr marL="342900" marR="0" lvl="0" indent="-342900" algn="just"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GB" sz="1800" b="1" i="1" u="none" strike="noStrike" kern="1200" cap="none" spc="0" normalizeH="0" baseline="0" noProof="0" dirty="0">
                <a:ln>
                  <a:noFill/>
                </a:ln>
                <a:solidFill>
                  <a:srgbClr val="2F2F2F"/>
                </a:solidFill>
                <a:effectLst/>
                <a:uLnTx/>
                <a:uFillTx/>
                <a:latin typeface="Arial" panose="020B0604020202020204" pitchFamily="34" charset="0"/>
                <a:ea typeface="Calibri" panose="020F0502020204030204" pitchFamily="34" charset="0"/>
                <a:cs typeface="+mn-cs"/>
              </a:rPr>
              <a:t>Promote the carbon capture, utilisation and storage (CCUS) in the EU Emissions Trading System Directive (EU ETS), supporting the CO2 circularity and the possibility of cost dilution in cement value chain.</a:t>
            </a:r>
            <a:endParaRPr kumimoji="0" lang="sv-SE" sz="2000" b="1" i="0" u="none" strike="noStrike" kern="1200" cap="none" spc="0" normalizeH="0" baseline="0" noProof="0" dirty="0">
              <a:ln>
                <a:noFill/>
              </a:ln>
              <a:solidFill>
                <a:srgbClr val="2F2F2F"/>
              </a:solidFill>
              <a:effectLst/>
              <a:uLnTx/>
              <a:uFillTx/>
              <a:latin typeface="Arial" panose="020B0604020202020204" pitchFamily="34" charset="0"/>
              <a:ea typeface="Calibri" panose="020F0502020204030204" pitchFamily="34" charset="0"/>
              <a:cs typeface="+mn-cs"/>
            </a:endParaRPr>
          </a:p>
        </p:txBody>
      </p:sp>
      <p:pic>
        <p:nvPicPr>
          <p:cNvPr id="2" name="Imagen 93">
            <a:extLst>
              <a:ext uri="{FF2B5EF4-FFF2-40B4-BE49-F238E27FC236}">
                <a16:creationId xmlns:a16="http://schemas.microsoft.com/office/drawing/2014/main" id="{CD12BB99-CD3F-2548-FC29-CA9D52D8EAE5}"/>
              </a:ext>
            </a:extLst>
          </p:cNvPr>
          <p:cNvPicPr>
            <a:picLocks noChangeAspect="1"/>
          </p:cNvPicPr>
          <p:nvPr/>
        </p:nvPicPr>
        <p:blipFill rotWithShape="1">
          <a:blip r:embed="rId11"/>
          <a:srcRect l="23084" t="14316" r="9046" b="7091"/>
          <a:stretch/>
        </p:blipFill>
        <p:spPr>
          <a:xfrm>
            <a:off x="16588140" y="292887"/>
            <a:ext cx="1699850" cy="1389322"/>
          </a:xfrm>
          <a:prstGeom prst="rect">
            <a:avLst/>
          </a:prstGeom>
        </p:spPr>
      </p:pic>
      <p:sp>
        <p:nvSpPr>
          <p:cNvPr id="3" name="TextBox 3">
            <a:extLst>
              <a:ext uri="{FF2B5EF4-FFF2-40B4-BE49-F238E27FC236}">
                <a16:creationId xmlns:a16="http://schemas.microsoft.com/office/drawing/2014/main" id="{EE8366D9-9C1E-61FA-F027-91DFD94423F5}"/>
              </a:ext>
            </a:extLst>
          </p:cNvPr>
          <p:cNvSpPr txBox="1"/>
          <p:nvPr/>
        </p:nvSpPr>
        <p:spPr>
          <a:xfrm>
            <a:off x="435326" y="1000637"/>
            <a:ext cx="18552623" cy="76944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400" b="1" i="0" u="none" strike="noStrike" kern="1200" cap="none" spc="0" normalizeH="0" baseline="0" noProof="0">
                <a:ln>
                  <a:noFill/>
                </a:ln>
                <a:solidFill>
                  <a:srgbClr val="CC0033"/>
                </a:solidFill>
                <a:effectLst/>
                <a:uLnTx/>
                <a:uFillTx/>
                <a:latin typeface="Arial"/>
                <a:ea typeface="+mn-ea"/>
                <a:cs typeface="Arial" panose="020B0604020202020204" pitchFamily="34" charset="0"/>
              </a:rPr>
              <a:t>Recommendations and proposed legislative improvements</a:t>
            </a:r>
            <a:endParaRPr kumimoji="0" lang="sv-SE" sz="4400" b="1" i="0" u="none" strike="noStrike" kern="1200" cap="none" spc="0" normalizeH="0" baseline="0" noProof="0">
              <a:ln>
                <a:noFill/>
              </a:ln>
              <a:solidFill>
                <a:srgbClr val="CC0033"/>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28275862"/>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3">
            <a:extLst>
              <a:ext uri="{FF2B5EF4-FFF2-40B4-BE49-F238E27FC236}">
                <a16:creationId xmlns:a16="http://schemas.microsoft.com/office/drawing/2014/main" id="{603AC2B6-70BE-4556-51C4-FAF09BB88D16}"/>
              </a:ext>
            </a:extLst>
          </p:cNvPr>
          <p:cNvSpPr txBox="1"/>
          <p:nvPr/>
        </p:nvSpPr>
        <p:spPr>
          <a:xfrm>
            <a:off x="435326" y="1000637"/>
            <a:ext cx="18552623" cy="76944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400" b="1" i="0" u="none" strike="noStrike" kern="1200" cap="none" spc="0" normalizeH="0" baseline="0" noProof="0">
                <a:ln>
                  <a:noFill/>
                </a:ln>
                <a:solidFill>
                  <a:srgbClr val="CC0033"/>
                </a:solidFill>
                <a:effectLst/>
                <a:uLnTx/>
                <a:uFillTx/>
                <a:latin typeface="Arial"/>
                <a:ea typeface="+mn-ea"/>
                <a:cs typeface="Arial" panose="020B0604020202020204" pitchFamily="34" charset="0"/>
              </a:rPr>
              <a:t>Recommendations and proposed legislative improvements</a:t>
            </a:r>
            <a:endParaRPr kumimoji="0" lang="sv-SE" sz="4400" b="1" i="0" u="none" strike="noStrike" kern="1200" cap="none" spc="0" normalizeH="0" baseline="0" noProof="0">
              <a:ln>
                <a:noFill/>
              </a:ln>
              <a:solidFill>
                <a:srgbClr val="CC0033"/>
              </a:solidFill>
              <a:effectLst/>
              <a:uLnTx/>
              <a:uFillTx/>
              <a:latin typeface="Arial"/>
              <a:ea typeface="+mn-ea"/>
              <a:cs typeface="Arial" panose="020B0604020202020204" pitchFamily="34" charset="0"/>
            </a:endParaRPr>
          </a:p>
        </p:txBody>
      </p:sp>
      <p:pic>
        <p:nvPicPr>
          <p:cNvPr id="131" name="Picture 12">
            <a:extLst>
              <a:ext uri="{FF2B5EF4-FFF2-40B4-BE49-F238E27FC236}">
                <a16:creationId xmlns:a16="http://schemas.microsoft.com/office/drawing/2014/main" id="{43802E0E-B79D-4EA7-8141-0CA3ED138B1A}"/>
              </a:ext>
            </a:extLst>
          </p:cNvPr>
          <p:cNvPicPr>
            <a:picLocks noChangeAspect="1"/>
          </p:cNvPicPr>
          <p:nvPr/>
        </p:nvPicPr>
        <p:blipFill>
          <a:blip r:embed="rId3"/>
          <a:srcRect/>
          <a:stretch>
            <a:fillRect/>
          </a:stretch>
        </p:blipFill>
        <p:spPr>
          <a:xfrm>
            <a:off x="0" y="8959889"/>
            <a:ext cx="5715000" cy="1385887"/>
          </a:xfrm>
          <a:prstGeom prst="rect">
            <a:avLst/>
          </a:prstGeom>
        </p:spPr>
      </p:pic>
      <p:grpSp>
        <p:nvGrpSpPr>
          <p:cNvPr id="132" name="Gruppo 2">
            <a:extLst>
              <a:ext uri="{FF2B5EF4-FFF2-40B4-BE49-F238E27FC236}">
                <a16:creationId xmlns:a16="http://schemas.microsoft.com/office/drawing/2014/main" id="{649928F6-6E82-4611-9715-AD3C75457C28}"/>
              </a:ext>
            </a:extLst>
          </p:cNvPr>
          <p:cNvGrpSpPr/>
          <p:nvPr/>
        </p:nvGrpSpPr>
        <p:grpSpPr>
          <a:xfrm>
            <a:off x="-12" y="138554"/>
            <a:ext cx="18288002" cy="681138"/>
            <a:chOff x="-12" y="138554"/>
            <a:chExt cx="18288002" cy="681138"/>
          </a:xfrm>
        </p:grpSpPr>
        <p:grpSp>
          <p:nvGrpSpPr>
            <p:cNvPr id="133" name="Gruppo 1">
              <a:extLst>
                <a:ext uri="{FF2B5EF4-FFF2-40B4-BE49-F238E27FC236}">
                  <a16:creationId xmlns:a16="http://schemas.microsoft.com/office/drawing/2014/main" id="{A8EB8794-E5C6-45EB-BAEC-2778E982797A}"/>
                </a:ext>
              </a:extLst>
            </p:cNvPr>
            <p:cNvGrpSpPr/>
            <p:nvPr/>
          </p:nvGrpSpPr>
          <p:grpSpPr>
            <a:xfrm>
              <a:off x="0" y="153125"/>
              <a:ext cx="17907000" cy="666567"/>
              <a:chOff x="0" y="153125"/>
              <a:chExt cx="17907000" cy="666567"/>
            </a:xfrm>
          </p:grpSpPr>
          <p:grpSp>
            <p:nvGrpSpPr>
              <p:cNvPr id="135" name="Gruppo 15">
                <a:extLst>
                  <a:ext uri="{FF2B5EF4-FFF2-40B4-BE49-F238E27FC236}">
                    <a16:creationId xmlns:a16="http://schemas.microsoft.com/office/drawing/2014/main" id="{AB129748-9FD7-458D-BD6E-304271C1814A}"/>
                  </a:ext>
                </a:extLst>
              </p:cNvPr>
              <p:cNvGrpSpPr/>
              <p:nvPr/>
            </p:nvGrpSpPr>
            <p:grpSpPr>
              <a:xfrm>
                <a:off x="0" y="153125"/>
                <a:ext cx="13958844" cy="666567"/>
                <a:chOff x="0" y="153125"/>
                <a:chExt cx="13958844" cy="666567"/>
              </a:xfrm>
            </p:grpSpPr>
            <p:pic>
              <p:nvPicPr>
                <p:cNvPr id="137" name="Picture 136">
                  <a:extLst>
                    <a:ext uri="{FF2B5EF4-FFF2-40B4-BE49-F238E27FC236}">
                      <a16:creationId xmlns:a16="http://schemas.microsoft.com/office/drawing/2014/main" id="{88E31CFD-796F-4F3F-A1EC-0E38F9D83456}"/>
                    </a:ext>
                  </a:extLst>
                </p:cNvPr>
                <p:cNvPicPr>
                  <a:picLocks noChangeAspect="1"/>
                </p:cNvPicPr>
                <p:nvPr/>
              </p:nvPicPr>
              <p:blipFill>
                <a:blip r:embed="rId4"/>
                <a:srcRect l="134" t="91287" b="3943"/>
                <a:stretch>
                  <a:fillRect/>
                </a:stretch>
              </p:blipFill>
              <p:spPr>
                <a:xfrm>
                  <a:off x="0" y="153125"/>
                  <a:ext cx="13958844" cy="666567"/>
                </a:xfrm>
                <a:prstGeom prst="rect">
                  <a:avLst/>
                </a:prstGeom>
              </p:spPr>
            </p:pic>
            <p:sp>
              <p:nvSpPr>
                <p:cNvPr id="138" name="TextBox 137">
                  <a:extLst>
                    <a:ext uri="{FF2B5EF4-FFF2-40B4-BE49-F238E27FC236}">
                      <a16:creationId xmlns:a16="http://schemas.microsoft.com/office/drawing/2014/main" id="{7694DADD-E227-40A7-A98D-244B0D207E54}"/>
                    </a:ext>
                  </a:extLst>
                </p:cNvPr>
                <p:cNvSpPr txBox="1"/>
                <p:nvPr/>
              </p:nvSpPr>
              <p:spPr>
                <a:xfrm>
                  <a:off x="228600" y="257980"/>
                  <a:ext cx="9296400" cy="456856"/>
                </a:xfrm>
                <a:prstGeom prst="rect">
                  <a:avLst/>
                </a:prstGeom>
              </p:spPr>
              <p:txBody>
                <a:bodyPr wrap="square" lIns="0" tIns="0" rIns="0" bIns="0" rtlCol="0" anchor="t">
                  <a:spAutoFit/>
                </a:bodyPr>
                <a:lstStyle/>
                <a:p>
                  <a:pPr marL="0" marR="0" lvl="0" indent="0" algn="l" defTabSz="914400" rtl="0" eaLnBrk="1" fontAlgn="auto" latinLnBrk="0" hangingPunct="1">
                    <a:lnSpc>
                      <a:spcPts val="3919"/>
                    </a:lnSpc>
                    <a:spcBef>
                      <a:spcPct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36" name="TextBox 135">
                <a:extLst>
                  <a:ext uri="{FF2B5EF4-FFF2-40B4-BE49-F238E27FC236}">
                    <a16:creationId xmlns:a16="http://schemas.microsoft.com/office/drawing/2014/main" id="{4B3CCEBB-60EF-4175-9878-F0D51FD80FF0}"/>
                  </a:ext>
                </a:extLst>
              </p:cNvPr>
              <p:cNvSpPr txBox="1"/>
              <p:nvPr/>
            </p:nvSpPr>
            <p:spPr>
              <a:xfrm>
                <a:off x="12154296" y="257980"/>
                <a:ext cx="5752704" cy="456856"/>
              </a:xfrm>
              <a:prstGeom prst="rect">
                <a:avLst/>
              </a:prstGeom>
            </p:spPr>
            <p:txBody>
              <a:bodyPr wrap="square" lIns="0" tIns="0" rIns="0" bIns="0" rtlCol="0" anchor="t">
                <a:spAutoFit/>
              </a:bodyPr>
              <a:lstStyle/>
              <a:p>
                <a:pPr marL="0" marR="0" lvl="0" indent="0" algn="r" defTabSz="914400" rtl="0" eaLnBrk="1" fontAlgn="auto" latinLnBrk="0" hangingPunct="1">
                  <a:lnSpc>
                    <a:spcPts val="3919"/>
                  </a:lnSpc>
                  <a:spcBef>
                    <a:spcPct val="0"/>
                  </a:spcBef>
                  <a:spcAft>
                    <a:spcPts val="0"/>
                  </a:spcAft>
                  <a:buClrTx/>
                  <a:buSzTx/>
                  <a:buFontTx/>
                  <a:buNone/>
                  <a:tabLst/>
                  <a:defRPr/>
                </a:pPr>
                <a:endParaRPr kumimoji="0" lang="en-US" sz="2800" b="0" i="0" u="none" strike="noStrike" kern="1200" cap="none" spc="0" normalizeH="0" baseline="0" noProof="0">
                  <a:ln>
                    <a:noFill/>
                  </a:ln>
                  <a:solidFill>
                    <a:srgbClr val="2F2F2F">
                      <a:lumMod val="75000"/>
                      <a:lumOff val="25000"/>
                    </a:srgbClr>
                  </a:solidFill>
                  <a:effectLst/>
                  <a:uLnTx/>
                  <a:uFillTx/>
                  <a:latin typeface="Arial" panose="020B0604020202020204" pitchFamily="34" charset="0"/>
                  <a:ea typeface="+mn-ea"/>
                  <a:cs typeface="Arial" panose="020B0604020202020204" pitchFamily="34" charset="0"/>
                </a:endParaRPr>
              </a:p>
            </p:txBody>
          </p:sp>
        </p:grpSp>
        <p:sp>
          <p:nvSpPr>
            <p:cNvPr id="134" name="Rettangolo 13">
              <a:extLst>
                <a:ext uri="{FF2B5EF4-FFF2-40B4-BE49-F238E27FC236}">
                  <a16:creationId xmlns:a16="http://schemas.microsoft.com/office/drawing/2014/main" id="{8F0CF2A7-592A-4287-9206-D3289F1B0C37}"/>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pic>
        <p:nvPicPr>
          <p:cNvPr id="139" name="Picture 12">
            <a:extLst>
              <a:ext uri="{FF2B5EF4-FFF2-40B4-BE49-F238E27FC236}">
                <a16:creationId xmlns:a16="http://schemas.microsoft.com/office/drawing/2014/main" id="{F047215A-40D8-4A57-BE02-5E03FCEEBB7B}"/>
              </a:ext>
            </a:extLst>
          </p:cNvPr>
          <p:cNvPicPr>
            <a:picLocks noChangeAspect="1"/>
          </p:cNvPicPr>
          <p:nvPr/>
        </p:nvPicPr>
        <p:blipFill>
          <a:blip r:embed="rId5"/>
          <a:srcRect l="134" t="91287" b="3943"/>
          <a:stretch>
            <a:fillRect/>
          </a:stretch>
        </p:blipFill>
        <p:spPr>
          <a:xfrm rot="10800000">
            <a:off x="4545277" y="9828837"/>
            <a:ext cx="13958844" cy="666567"/>
          </a:xfrm>
          <a:prstGeom prst="rect">
            <a:avLst/>
          </a:prstGeom>
        </p:spPr>
      </p:pic>
      <p:sp>
        <p:nvSpPr>
          <p:cNvPr id="140" name="TextBox 16">
            <a:extLst>
              <a:ext uri="{FF2B5EF4-FFF2-40B4-BE49-F238E27FC236}">
                <a16:creationId xmlns:a16="http://schemas.microsoft.com/office/drawing/2014/main" id="{C693B1DB-897C-4A9D-8CF3-F1423F6CB38D}"/>
              </a:ext>
            </a:extLst>
          </p:cNvPr>
          <p:cNvSpPr txBox="1"/>
          <p:nvPr/>
        </p:nvSpPr>
        <p:spPr>
          <a:xfrm>
            <a:off x="14400019" y="9762301"/>
            <a:ext cx="3636320" cy="448713"/>
          </a:xfrm>
          <a:prstGeom prst="rect">
            <a:avLst/>
          </a:prstGeom>
        </p:spPr>
        <p:txBody>
          <a:bodyPr wrap="square" lIns="0" tIns="0" rIns="0" bIns="0" rtlCol="0" anchor="t">
            <a:spAutoFit/>
          </a:bodyPr>
          <a:lstStyle/>
          <a:p>
            <a:pPr marL="0" marR="0" lvl="0" indent="0" algn="ctr" defTabSz="914400" rtl="0" eaLnBrk="1" fontAlgn="auto" latinLnBrk="0" hangingPunct="1">
              <a:lnSpc>
                <a:spcPts val="3919"/>
              </a:lnSpc>
              <a:spcBef>
                <a:spcPct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OCR A Extended" panose="02010509020102010303" pitchFamily="50" charset="0"/>
                <a:ea typeface="+mn-ea"/>
                <a:cs typeface="+mn-cs"/>
              </a:rPr>
              <a:t>www.retrofeed.eu</a:t>
            </a:r>
          </a:p>
        </p:txBody>
      </p:sp>
      <p:pic>
        <p:nvPicPr>
          <p:cNvPr id="9" name="Picture 8" descr="RETROFEED FERTIBERIA">
            <a:extLst>
              <a:ext uri="{FF2B5EF4-FFF2-40B4-BE49-F238E27FC236}">
                <a16:creationId xmlns:a16="http://schemas.microsoft.com/office/drawing/2014/main" id="{4401FDE6-D87A-1B19-E6FC-4A60B27B497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565222" y="324026"/>
            <a:ext cx="2287452" cy="841782"/>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3" name="TextBox 5">
            <a:extLst>
              <a:ext uri="{FF2B5EF4-FFF2-40B4-BE49-F238E27FC236}">
                <a16:creationId xmlns:a16="http://schemas.microsoft.com/office/drawing/2014/main" id="{FAC425F7-9AFD-8D25-1F17-D6433F31D5F3}"/>
              </a:ext>
            </a:extLst>
          </p:cNvPr>
          <p:cNvGraphicFramePr/>
          <p:nvPr>
            <p:extLst>
              <p:ext uri="{D42A27DB-BD31-4B8C-83A1-F6EECF244321}">
                <p14:modId xmlns:p14="http://schemas.microsoft.com/office/powerpoint/2010/main" val="3124991361"/>
              </p:ext>
            </p:extLst>
          </p:nvPr>
        </p:nvGraphicFramePr>
        <p:xfrm>
          <a:off x="2495539" y="1707921"/>
          <a:ext cx="13296900" cy="6282301"/>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642184404"/>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3">
            <a:extLst>
              <a:ext uri="{FF2B5EF4-FFF2-40B4-BE49-F238E27FC236}">
                <a16:creationId xmlns:a16="http://schemas.microsoft.com/office/drawing/2014/main" id="{603AC2B6-70BE-4556-51C4-FAF09BB88D16}"/>
              </a:ext>
            </a:extLst>
          </p:cNvPr>
          <p:cNvSpPr txBox="1"/>
          <p:nvPr/>
        </p:nvSpPr>
        <p:spPr>
          <a:xfrm>
            <a:off x="435326" y="1000637"/>
            <a:ext cx="18552623" cy="76944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400" b="1" i="0" u="none" strike="noStrike" kern="1200" cap="none" spc="0" normalizeH="0" baseline="0" noProof="0">
                <a:ln>
                  <a:noFill/>
                </a:ln>
                <a:solidFill>
                  <a:srgbClr val="CC0033"/>
                </a:solidFill>
                <a:effectLst/>
                <a:uLnTx/>
                <a:uFillTx/>
                <a:latin typeface="Arial"/>
                <a:ea typeface="+mn-ea"/>
                <a:cs typeface="Arial" panose="020B0604020202020204" pitchFamily="34" charset="0"/>
              </a:rPr>
              <a:t>Recommendations and proposed legislative improvements</a:t>
            </a:r>
            <a:endParaRPr kumimoji="0" lang="sv-SE" sz="4400" b="1" i="0" u="none" strike="noStrike" kern="1200" cap="none" spc="0" normalizeH="0" baseline="0" noProof="0">
              <a:ln>
                <a:noFill/>
              </a:ln>
              <a:solidFill>
                <a:srgbClr val="CC0033"/>
              </a:solidFill>
              <a:effectLst/>
              <a:uLnTx/>
              <a:uFillTx/>
              <a:latin typeface="Arial"/>
              <a:ea typeface="+mn-ea"/>
              <a:cs typeface="Arial" panose="020B0604020202020204" pitchFamily="34" charset="0"/>
            </a:endParaRPr>
          </a:p>
        </p:txBody>
      </p:sp>
      <p:pic>
        <p:nvPicPr>
          <p:cNvPr id="131" name="Picture 12">
            <a:extLst>
              <a:ext uri="{FF2B5EF4-FFF2-40B4-BE49-F238E27FC236}">
                <a16:creationId xmlns:a16="http://schemas.microsoft.com/office/drawing/2014/main" id="{43802E0E-B79D-4EA7-8141-0CA3ED138B1A}"/>
              </a:ext>
            </a:extLst>
          </p:cNvPr>
          <p:cNvPicPr>
            <a:picLocks noChangeAspect="1"/>
          </p:cNvPicPr>
          <p:nvPr/>
        </p:nvPicPr>
        <p:blipFill>
          <a:blip r:embed="rId3"/>
          <a:srcRect/>
          <a:stretch>
            <a:fillRect/>
          </a:stretch>
        </p:blipFill>
        <p:spPr>
          <a:xfrm>
            <a:off x="0" y="8959889"/>
            <a:ext cx="5715000" cy="1385887"/>
          </a:xfrm>
          <a:prstGeom prst="rect">
            <a:avLst/>
          </a:prstGeom>
        </p:spPr>
      </p:pic>
      <p:grpSp>
        <p:nvGrpSpPr>
          <p:cNvPr id="132" name="Gruppo 2">
            <a:extLst>
              <a:ext uri="{FF2B5EF4-FFF2-40B4-BE49-F238E27FC236}">
                <a16:creationId xmlns:a16="http://schemas.microsoft.com/office/drawing/2014/main" id="{649928F6-6E82-4611-9715-AD3C75457C28}"/>
              </a:ext>
            </a:extLst>
          </p:cNvPr>
          <p:cNvGrpSpPr/>
          <p:nvPr/>
        </p:nvGrpSpPr>
        <p:grpSpPr>
          <a:xfrm>
            <a:off x="-12" y="138554"/>
            <a:ext cx="18288002" cy="681138"/>
            <a:chOff x="-12" y="138554"/>
            <a:chExt cx="18288002" cy="681138"/>
          </a:xfrm>
        </p:grpSpPr>
        <p:grpSp>
          <p:nvGrpSpPr>
            <p:cNvPr id="133" name="Gruppo 1">
              <a:extLst>
                <a:ext uri="{FF2B5EF4-FFF2-40B4-BE49-F238E27FC236}">
                  <a16:creationId xmlns:a16="http://schemas.microsoft.com/office/drawing/2014/main" id="{A8EB8794-E5C6-45EB-BAEC-2778E982797A}"/>
                </a:ext>
              </a:extLst>
            </p:cNvPr>
            <p:cNvGrpSpPr/>
            <p:nvPr/>
          </p:nvGrpSpPr>
          <p:grpSpPr>
            <a:xfrm>
              <a:off x="0" y="153125"/>
              <a:ext cx="17907000" cy="666567"/>
              <a:chOff x="0" y="153125"/>
              <a:chExt cx="17907000" cy="666567"/>
            </a:xfrm>
          </p:grpSpPr>
          <p:grpSp>
            <p:nvGrpSpPr>
              <p:cNvPr id="135" name="Gruppo 15">
                <a:extLst>
                  <a:ext uri="{FF2B5EF4-FFF2-40B4-BE49-F238E27FC236}">
                    <a16:creationId xmlns:a16="http://schemas.microsoft.com/office/drawing/2014/main" id="{AB129748-9FD7-458D-BD6E-304271C1814A}"/>
                  </a:ext>
                </a:extLst>
              </p:cNvPr>
              <p:cNvGrpSpPr/>
              <p:nvPr/>
            </p:nvGrpSpPr>
            <p:grpSpPr>
              <a:xfrm>
                <a:off x="0" y="153125"/>
                <a:ext cx="13958844" cy="666567"/>
                <a:chOff x="0" y="153125"/>
                <a:chExt cx="13958844" cy="666567"/>
              </a:xfrm>
            </p:grpSpPr>
            <p:pic>
              <p:nvPicPr>
                <p:cNvPr id="137" name="Picture 136">
                  <a:extLst>
                    <a:ext uri="{FF2B5EF4-FFF2-40B4-BE49-F238E27FC236}">
                      <a16:creationId xmlns:a16="http://schemas.microsoft.com/office/drawing/2014/main" id="{88E31CFD-796F-4F3F-A1EC-0E38F9D83456}"/>
                    </a:ext>
                  </a:extLst>
                </p:cNvPr>
                <p:cNvPicPr>
                  <a:picLocks noChangeAspect="1"/>
                </p:cNvPicPr>
                <p:nvPr/>
              </p:nvPicPr>
              <p:blipFill>
                <a:blip r:embed="rId4"/>
                <a:srcRect l="134" t="91287" b="3943"/>
                <a:stretch>
                  <a:fillRect/>
                </a:stretch>
              </p:blipFill>
              <p:spPr>
                <a:xfrm>
                  <a:off x="0" y="153125"/>
                  <a:ext cx="13958844" cy="666567"/>
                </a:xfrm>
                <a:prstGeom prst="rect">
                  <a:avLst/>
                </a:prstGeom>
              </p:spPr>
            </p:pic>
            <p:sp>
              <p:nvSpPr>
                <p:cNvPr id="138" name="TextBox 137">
                  <a:extLst>
                    <a:ext uri="{FF2B5EF4-FFF2-40B4-BE49-F238E27FC236}">
                      <a16:creationId xmlns:a16="http://schemas.microsoft.com/office/drawing/2014/main" id="{7694DADD-E227-40A7-A98D-244B0D207E54}"/>
                    </a:ext>
                  </a:extLst>
                </p:cNvPr>
                <p:cNvSpPr txBox="1"/>
                <p:nvPr/>
              </p:nvSpPr>
              <p:spPr>
                <a:xfrm>
                  <a:off x="228600" y="257980"/>
                  <a:ext cx="9296400" cy="456856"/>
                </a:xfrm>
                <a:prstGeom prst="rect">
                  <a:avLst/>
                </a:prstGeom>
              </p:spPr>
              <p:txBody>
                <a:bodyPr wrap="square" lIns="0" tIns="0" rIns="0" bIns="0" rtlCol="0" anchor="t">
                  <a:spAutoFit/>
                </a:bodyPr>
                <a:lstStyle/>
                <a:p>
                  <a:pPr marL="0" marR="0" lvl="0" indent="0" algn="l" defTabSz="914400" rtl="0" eaLnBrk="1" fontAlgn="auto" latinLnBrk="0" hangingPunct="1">
                    <a:lnSpc>
                      <a:spcPts val="3919"/>
                    </a:lnSpc>
                    <a:spcBef>
                      <a:spcPct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36" name="TextBox 135">
                <a:extLst>
                  <a:ext uri="{FF2B5EF4-FFF2-40B4-BE49-F238E27FC236}">
                    <a16:creationId xmlns:a16="http://schemas.microsoft.com/office/drawing/2014/main" id="{4B3CCEBB-60EF-4175-9878-F0D51FD80FF0}"/>
                  </a:ext>
                </a:extLst>
              </p:cNvPr>
              <p:cNvSpPr txBox="1"/>
              <p:nvPr/>
            </p:nvSpPr>
            <p:spPr>
              <a:xfrm>
                <a:off x="12154296" y="257980"/>
                <a:ext cx="5752704" cy="456856"/>
              </a:xfrm>
              <a:prstGeom prst="rect">
                <a:avLst/>
              </a:prstGeom>
            </p:spPr>
            <p:txBody>
              <a:bodyPr wrap="square" lIns="0" tIns="0" rIns="0" bIns="0" rtlCol="0" anchor="t">
                <a:spAutoFit/>
              </a:bodyPr>
              <a:lstStyle/>
              <a:p>
                <a:pPr marL="0" marR="0" lvl="0" indent="0" algn="r" defTabSz="914400" rtl="0" eaLnBrk="1" fontAlgn="auto" latinLnBrk="0" hangingPunct="1">
                  <a:lnSpc>
                    <a:spcPts val="3919"/>
                  </a:lnSpc>
                  <a:spcBef>
                    <a:spcPct val="0"/>
                  </a:spcBef>
                  <a:spcAft>
                    <a:spcPts val="0"/>
                  </a:spcAft>
                  <a:buClrTx/>
                  <a:buSzTx/>
                  <a:buFontTx/>
                  <a:buNone/>
                  <a:tabLst/>
                  <a:defRPr/>
                </a:pPr>
                <a:endParaRPr kumimoji="0" lang="en-US" sz="2800" b="0" i="0" u="none" strike="noStrike" kern="1200" cap="none" spc="0" normalizeH="0" baseline="0" noProof="0">
                  <a:ln>
                    <a:noFill/>
                  </a:ln>
                  <a:solidFill>
                    <a:srgbClr val="2F2F2F">
                      <a:lumMod val="75000"/>
                      <a:lumOff val="25000"/>
                    </a:srgbClr>
                  </a:solidFill>
                  <a:effectLst/>
                  <a:uLnTx/>
                  <a:uFillTx/>
                  <a:latin typeface="Arial" panose="020B0604020202020204" pitchFamily="34" charset="0"/>
                  <a:ea typeface="+mn-ea"/>
                  <a:cs typeface="Arial" panose="020B0604020202020204" pitchFamily="34" charset="0"/>
                </a:endParaRPr>
              </a:p>
            </p:txBody>
          </p:sp>
        </p:grpSp>
        <p:sp>
          <p:nvSpPr>
            <p:cNvPr id="134" name="Rettangolo 13">
              <a:extLst>
                <a:ext uri="{FF2B5EF4-FFF2-40B4-BE49-F238E27FC236}">
                  <a16:creationId xmlns:a16="http://schemas.microsoft.com/office/drawing/2014/main" id="{8F0CF2A7-592A-4287-9206-D3289F1B0C37}"/>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pic>
        <p:nvPicPr>
          <p:cNvPr id="139" name="Picture 12">
            <a:extLst>
              <a:ext uri="{FF2B5EF4-FFF2-40B4-BE49-F238E27FC236}">
                <a16:creationId xmlns:a16="http://schemas.microsoft.com/office/drawing/2014/main" id="{F047215A-40D8-4A57-BE02-5E03FCEEBB7B}"/>
              </a:ext>
            </a:extLst>
          </p:cNvPr>
          <p:cNvPicPr>
            <a:picLocks noChangeAspect="1"/>
          </p:cNvPicPr>
          <p:nvPr/>
        </p:nvPicPr>
        <p:blipFill>
          <a:blip r:embed="rId5"/>
          <a:srcRect l="134" t="91287" b="3943"/>
          <a:stretch>
            <a:fillRect/>
          </a:stretch>
        </p:blipFill>
        <p:spPr>
          <a:xfrm rot="10800000">
            <a:off x="4545277" y="9828837"/>
            <a:ext cx="13958844" cy="666567"/>
          </a:xfrm>
          <a:prstGeom prst="rect">
            <a:avLst/>
          </a:prstGeom>
        </p:spPr>
      </p:pic>
      <p:sp>
        <p:nvSpPr>
          <p:cNvPr id="140" name="TextBox 16">
            <a:extLst>
              <a:ext uri="{FF2B5EF4-FFF2-40B4-BE49-F238E27FC236}">
                <a16:creationId xmlns:a16="http://schemas.microsoft.com/office/drawing/2014/main" id="{C693B1DB-897C-4A9D-8CF3-F1423F6CB38D}"/>
              </a:ext>
            </a:extLst>
          </p:cNvPr>
          <p:cNvSpPr txBox="1"/>
          <p:nvPr/>
        </p:nvSpPr>
        <p:spPr>
          <a:xfrm>
            <a:off x="14400019" y="9762301"/>
            <a:ext cx="3636320" cy="448713"/>
          </a:xfrm>
          <a:prstGeom prst="rect">
            <a:avLst/>
          </a:prstGeom>
        </p:spPr>
        <p:txBody>
          <a:bodyPr wrap="square" lIns="0" tIns="0" rIns="0" bIns="0" rtlCol="0" anchor="t">
            <a:spAutoFit/>
          </a:bodyPr>
          <a:lstStyle/>
          <a:p>
            <a:pPr marL="0" marR="0" lvl="0" indent="0" algn="ctr" defTabSz="914400" rtl="0" eaLnBrk="1" fontAlgn="auto" latinLnBrk="0" hangingPunct="1">
              <a:lnSpc>
                <a:spcPts val="3919"/>
              </a:lnSpc>
              <a:spcBef>
                <a:spcPct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OCR A Extended" panose="02010509020102010303" pitchFamily="50" charset="0"/>
                <a:ea typeface="+mn-ea"/>
                <a:cs typeface="+mn-cs"/>
              </a:rPr>
              <a:t>www.retrofeed.eu</a:t>
            </a:r>
          </a:p>
        </p:txBody>
      </p:sp>
      <p:pic>
        <p:nvPicPr>
          <p:cNvPr id="9" name="Picture 8" descr="RETROFEED FERTIBERIA">
            <a:extLst>
              <a:ext uri="{FF2B5EF4-FFF2-40B4-BE49-F238E27FC236}">
                <a16:creationId xmlns:a16="http://schemas.microsoft.com/office/drawing/2014/main" id="{4401FDE6-D87A-1B19-E6FC-4A60B27B497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565222" y="324026"/>
            <a:ext cx="2287452" cy="841782"/>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3" name="TextBox 5">
            <a:extLst>
              <a:ext uri="{FF2B5EF4-FFF2-40B4-BE49-F238E27FC236}">
                <a16:creationId xmlns:a16="http://schemas.microsoft.com/office/drawing/2014/main" id="{FAC425F7-9AFD-8D25-1F17-D6433F31D5F3}"/>
              </a:ext>
            </a:extLst>
          </p:cNvPr>
          <p:cNvGraphicFramePr/>
          <p:nvPr>
            <p:extLst>
              <p:ext uri="{D42A27DB-BD31-4B8C-83A1-F6EECF244321}">
                <p14:modId xmlns:p14="http://schemas.microsoft.com/office/powerpoint/2010/main" val="4213504073"/>
              </p:ext>
            </p:extLst>
          </p:nvPr>
        </p:nvGraphicFramePr>
        <p:xfrm>
          <a:off x="3809989" y="1958946"/>
          <a:ext cx="10668000" cy="531928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876372546"/>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1" name="Picture 12">
            <a:extLst>
              <a:ext uri="{FF2B5EF4-FFF2-40B4-BE49-F238E27FC236}">
                <a16:creationId xmlns:a16="http://schemas.microsoft.com/office/drawing/2014/main" id="{43802E0E-B79D-4EA7-8141-0CA3ED138B1A}"/>
              </a:ext>
            </a:extLst>
          </p:cNvPr>
          <p:cNvPicPr>
            <a:picLocks noChangeAspect="1"/>
          </p:cNvPicPr>
          <p:nvPr/>
        </p:nvPicPr>
        <p:blipFill>
          <a:blip r:embed="rId3"/>
          <a:srcRect/>
          <a:stretch>
            <a:fillRect/>
          </a:stretch>
        </p:blipFill>
        <p:spPr>
          <a:xfrm>
            <a:off x="0" y="8959889"/>
            <a:ext cx="5715000" cy="1385887"/>
          </a:xfrm>
          <a:prstGeom prst="rect">
            <a:avLst/>
          </a:prstGeom>
        </p:spPr>
      </p:pic>
      <p:grpSp>
        <p:nvGrpSpPr>
          <p:cNvPr id="132" name="Gruppo 2">
            <a:extLst>
              <a:ext uri="{FF2B5EF4-FFF2-40B4-BE49-F238E27FC236}">
                <a16:creationId xmlns:a16="http://schemas.microsoft.com/office/drawing/2014/main" id="{649928F6-6E82-4611-9715-AD3C75457C28}"/>
              </a:ext>
            </a:extLst>
          </p:cNvPr>
          <p:cNvGrpSpPr/>
          <p:nvPr/>
        </p:nvGrpSpPr>
        <p:grpSpPr>
          <a:xfrm>
            <a:off x="-12" y="138554"/>
            <a:ext cx="18288002" cy="681138"/>
            <a:chOff x="-12" y="138554"/>
            <a:chExt cx="18288002" cy="681138"/>
          </a:xfrm>
        </p:grpSpPr>
        <p:grpSp>
          <p:nvGrpSpPr>
            <p:cNvPr id="133" name="Gruppo 1">
              <a:extLst>
                <a:ext uri="{FF2B5EF4-FFF2-40B4-BE49-F238E27FC236}">
                  <a16:creationId xmlns:a16="http://schemas.microsoft.com/office/drawing/2014/main" id="{A8EB8794-E5C6-45EB-BAEC-2778E982797A}"/>
                </a:ext>
              </a:extLst>
            </p:cNvPr>
            <p:cNvGrpSpPr/>
            <p:nvPr/>
          </p:nvGrpSpPr>
          <p:grpSpPr>
            <a:xfrm>
              <a:off x="0" y="153125"/>
              <a:ext cx="17907000" cy="666567"/>
              <a:chOff x="0" y="153125"/>
              <a:chExt cx="17907000" cy="666567"/>
            </a:xfrm>
          </p:grpSpPr>
          <p:grpSp>
            <p:nvGrpSpPr>
              <p:cNvPr id="135" name="Gruppo 15">
                <a:extLst>
                  <a:ext uri="{FF2B5EF4-FFF2-40B4-BE49-F238E27FC236}">
                    <a16:creationId xmlns:a16="http://schemas.microsoft.com/office/drawing/2014/main" id="{AB129748-9FD7-458D-BD6E-304271C1814A}"/>
                  </a:ext>
                </a:extLst>
              </p:cNvPr>
              <p:cNvGrpSpPr/>
              <p:nvPr/>
            </p:nvGrpSpPr>
            <p:grpSpPr>
              <a:xfrm>
                <a:off x="0" y="153125"/>
                <a:ext cx="13958844" cy="666567"/>
                <a:chOff x="0" y="153125"/>
                <a:chExt cx="13958844" cy="666567"/>
              </a:xfrm>
            </p:grpSpPr>
            <p:pic>
              <p:nvPicPr>
                <p:cNvPr id="137" name="Picture 136">
                  <a:extLst>
                    <a:ext uri="{FF2B5EF4-FFF2-40B4-BE49-F238E27FC236}">
                      <a16:creationId xmlns:a16="http://schemas.microsoft.com/office/drawing/2014/main" id="{88E31CFD-796F-4F3F-A1EC-0E38F9D83456}"/>
                    </a:ext>
                  </a:extLst>
                </p:cNvPr>
                <p:cNvPicPr>
                  <a:picLocks noChangeAspect="1"/>
                </p:cNvPicPr>
                <p:nvPr/>
              </p:nvPicPr>
              <p:blipFill>
                <a:blip r:embed="rId4"/>
                <a:srcRect l="134" t="91287" b="3943"/>
                <a:stretch>
                  <a:fillRect/>
                </a:stretch>
              </p:blipFill>
              <p:spPr>
                <a:xfrm>
                  <a:off x="0" y="153125"/>
                  <a:ext cx="13958844" cy="666567"/>
                </a:xfrm>
                <a:prstGeom prst="rect">
                  <a:avLst/>
                </a:prstGeom>
              </p:spPr>
            </p:pic>
            <p:sp>
              <p:nvSpPr>
                <p:cNvPr id="138" name="TextBox 137">
                  <a:extLst>
                    <a:ext uri="{FF2B5EF4-FFF2-40B4-BE49-F238E27FC236}">
                      <a16:creationId xmlns:a16="http://schemas.microsoft.com/office/drawing/2014/main" id="{7694DADD-E227-40A7-A98D-244B0D207E54}"/>
                    </a:ext>
                  </a:extLst>
                </p:cNvPr>
                <p:cNvSpPr txBox="1"/>
                <p:nvPr/>
              </p:nvSpPr>
              <p:spPr>
                <a:xfrm>
                  <a:off x="228600" y="257980"/>
                  <a:ext cx="9296400" cy="456856"/>
                </a:xfrm>
                <a:prstGeom prst="rect">
                  <a:avLst/>
                </a:prstGeom>
              </p:spPr>
              <p:txBody>
                <a:bodyPr wrap="square" lIns="0" tIns="0" rIns="0" bIns="0" rtlCol="0" anchor="t">
                  <a:spAutoFit/>
                </a:bodyPr>
                <a:lstStyle/>
                <a:p>
                  <a:pPr marL="0" marR="0" lvl="0" indent="0" algn="l" defTabSz="914400" rtl="0" eaLnBrk="1" fontAlgn="auto" latinLnBrk="0" hangingPunct="1">
                    <a:lnSpc>
                      <a:spcPts val="3919"/>
                    </a:lnSpc>
                    <a:spcBef>
                      <a:spcPct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36" name="TextBox 135">
                <a:extLst>
                  <a:ext uri="{FF2B5EF4-FFF2-40B4-BE49-F238E27FC236}">
                    <a16:creationId xmlns:a16="http://schemas.microsoft.com/office/drawing/2014/main" id="{4B3CCEBB-60EF-4175-9878-F0D51FD80FF0}"/>
                  </a:ext>
                </a:extLst>
              </p:cNvPr>
              <p:cNvSpPr txBox="1"/>
              <p:nvPr/>
            </p:nvSpPr>
            <p:spPr>
              <a:xfrm>
                <a:off x="12154296" y="257980"/>
                <a:ext cx="5752704" cy="456856"/>
              </a:xfrm>
              <a:prstGeom prst="rect">
                <a:avLst/>
              </a:prstGeom>
            </p:spPr>
            <p:txBody>
              <a:bodyPr wrap="square" lIns="0" tIns="0" rIns="0" bIns="0" rtlCol="0" anchor="t">
                <a:spAutoFit/>
              </a:bodyPr>
              <a:lstStyle/>
              <a:p>
                <a:pPr marL="0" marR="0" lvl="0" indent="0" algn="r" defTabSz="914400" rtl="0" eaLnBrk="1" fontAlgn="auto" latinLnBrk="0" hangingPunct="1">
                  <a:lnSpc>
                    <a:spcPts val="3919"/>
                  </a:lnSpc>
                  <a:spcBef>
                    <a:spcPct val="0"/>
                  </a:spcBef>
                  <a:spcAft>
                    <a:spcPts val="0"/>
                  </a:spcAft>
                  <a:buClrTx/>
                  <a:buSzTx/>
                  <a:buFontTx/>
                  <a:buNone/>
                  <a:tabLst/>
                  <a:defRPr/>
                </a:pPr>
                <a:endParaRPr kumimoji="0" lang="en-US" sz="2800" b="0" i="0" u="none" strike="noStrike" kern="1200" cap="none" spc="0" normalizeH="0" baseline="0" noProof="0">
                  <a:ln>
                    <a:noFill/>
                  </a:ln>
                  <a:solidFill>
                    <a:srgbClr val="2F2F2F">
                      <a:lumMod val="75000"/>
                      <a:lumOff val="25000"/>
                    </a:srgbClr>
                  </a:solidFill>
                  <a:effectLst/>
                  <a:uLnTx/>
                  <a:uFillTx/>
                  <a:latin typeface="Arial" panose="020B0604020202020204" pitchFamily="34" charset="0"/>
                  <a:ea typeface="+mn-ea"/>
                  <a:cs typeface="Arial" panose="020B0604020202020204" pitchFamily="34" charset="0"/>
                </a:endParaRPr>
              </a:p>
            </p:txBody>
          </p:sp>
        </p:grpSp>
        <p:sp>
          <p:nvSpPr>
            <p:cNvPr id="134" name="Rettangolo 13">
              <a:extLst>
                <a:ext uri="{FF2B5EF4-FFF2-40B4-BE49-F238E27FC236}">
                  <a16:creationId xmlns:a16="http://schemas.microsoft.com/office/drawing/2014/main" id="{8F0CF2A7-592A-4287-9206-D3289F1B0C37}"/>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pic>
        <p:nvPicPr>
          <p:cNvPr id="139" name="Picture 12">
            <a:extLst>
              <a:ext uri="{FF2B5EF4-FFF2-40B4-BE49-F238E27FC236}">
                <a16:creationId xmlns:a16="http://schemas.microsoft.com/office/drawing/2014/main" id="{F047215A-40D8-4A57-BE02-5E03FCEEBB7B}"/>
              </a:ext>
            </a:extLst>
          </p:cNvPr>
          <p:cNvPicPr>
            <a:picLocks noChangeAspect="1"/>
          </p:cNvPicPr>
          <p:nvPr/>
        </p:nvPicPr>
        <p:blipFill>
          <a:blip r:embed="rId5"/>
          <a:srcRect l="134" t="91287" b="3943"/>
          <a:stretch>
            <a:fillRect/>
          </a:stretch>
        </p:blipFill>
        <p:spPr>
          <a:xfrm rot="10800000">
            <a:off x="4329146" y="9791503"/>
            <a:ext cx="13958844" cy="666567"/>
          </a:xfrm>
          <a:prstGeom prst="rect">
            <a:avLst/>
          </a:prstGeom>
        </p:spPr>
      </p:pic>
      <p:sp>
        <p:nvSpPr>
          <p:cNvPr id="140" name="TextBox 16">
            <a:extLst>
              <a:ext uri="{FF2B5EF4-FFF2-40B4-BE49-F238E27FC236}">
                <a16:creationId xmlns:a16="http://schemas.microsoft.com/office/drawing/2014/main" id="{C693B1DB-897C-4A9D-8CF3-F1423F6CB38D}"/>
              </a:ext>
            </a:extLst>
          </p:cNvPr>
          <p:cNvSpPr txBox="1"/>
          <p:nvPr/>
        </p:nvSpPr>
        <p:spPr>
          <a:xfrm>
            <a:off x="14400019" y="9762301"/>
            <a:ext cx="3636320" cy="448713"/>
          </a:xfrm>
          <a:prstGeom prst="rect">
            <a:avLst/>
          </a:prstGeom>
        </p:spPr>
        <p:txBody>
          <a:bodyPr wrap="square" lIns="0" tIns="0" rIns="0" bIns="0" rtlCol="0" anchor="t">
            <a:spAutoFit/>
          </a:bodyPr>
          <a:lstStyle/>
          <a:p>
            <a:pPr marL="0" marR="0" lvl="0" indent="0" algn="ctr" defTabSz="914400" rtl="0" eaLnBrk="1" fontAlgn="auto" latinLnBrk="0" hangingPunct="1">
              <a:lnSpc>
                <a:spcPts val="3919"/>
              </a:lnSpc>
              <a:spcBef>
                <a:spcPct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OCR A Extended" panose="02010509020102010303" pitchFamily="50" charset="0"/>
                <a:ea typeface="+mn-ea"/>
                <a:cs typeface="+mn-cs"/>
              </a:rPr>
              <a:t>www.retrofeed.eu</a:t>
            </a:r>
          </a:p>
        </p:txBody>
      </p:sp>
      <p:graphicFrame>
        <p:nvGraphicFramePr>
          <p:cNvPr id="6" name="Diagram 5">
            <a:extLst>
              <a:ext uri="{FF2B5EF4-FFF2-40B4-BE49-F238E27FC236}">
                <a16:creationId xmlns:a16="http://schemas.microsoft.com/office/drawing/2014/main" id="{01AED396-C74F-9889-A6D5-6A85A1B247EE}"/>
              </a:ext>
            </a:extLst>
          </p:cNvPr>
          <p:cNvGraphicFramePr/>
          <p:nvPr>
            <p:extLst>
              <p:ext uri="{D42A27DB-BD31-4B8C-83A1-F6EECF244321}">
                <p14:modId xmlns:p14="http://schemas.microsoft.com/office/powerpoint/2010/main" val="1596561816"/>
              </p:ext>
            </p:extLst>
          </p:nvPr>
        </p:nvGraphicFramePr>
        <p:xfrm>
          <a:off x="3371640" y="2312976"/>
          <a:ext cx="11544697" cy="6345698"/>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8" name="TextBox 7">
            <a:extLst>
              <a:ext uri="{FF2B5EF4-FFF2-40B4-BE49-F238E27FC236}">
                <a16:creationId xmlns:a16="http://schemas.microsoft.com/office/drawing/2014/main" id="{258192FF-98F2-70B2-F1AC-0B8610B46340}"/>
              </a:ext>
            </a:extLst>
          </p:cNvPr>
          <p:cNvSpPr txBox="1"/>
          <p:nvPr/>
        </p:nvSpPr>
        <p:spPr>
          <a:xfrm>
            <a:off x="441568" y="1669180"/>
            <a:ext cx="17846432"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dirty="0">
                <a:ln>
                  <a:noFill/>
                </a:ln>
                <a:solidFill>
                  <a:srgbClr val="CC0033"/>
                </a:solidFill>
                <a:effectLst/>
                <a:uLnTx/>
                <a:uFillTx/>
                <a:latin typeface="Arial"/>
                <a:ea typeface="+mn-ea"/>
                <a:cs typeface="Arial" panose="020B0604020202020204" pitchFamily="34" charset="0"/>
              </a:rPr>
              <a:t>Ideas or action to overcome the impact that legislation or the lack of it has on steel sector</a:t>
            </a:r>
            <a:endParaRPr kumimoji="0" lang="sv-SE" sz="3200" b="1" i="0" u="none" strike="noStrike" kern="1200" cap="none" spc="0" normalizeH="0" baseline="0" noProof="0" dirty="0">
              <a:ln>
                <a:noFill/>
              </a:ln>
              <a:solidFill>
                <a:srgbClr val="CC0033"/>
              </a:solidFill>
              <a:effectLst/>
              <a:uLnTx/>
              <a:uFillTx/>
              <a:latin typeface="Arial"/>
              <a:ea typeface="+mn-ea"/>
              <a:cs typeface="Arial" panose="020B0604020202020204" pitchFamily="34" charset="0"/>
            </a:endParaRPr>
          </a:p>
        </p:txBody>
      </p:sp>
      <p:sp>
        <p:nvSpPr>
          <p:cNvPr id="2" name="TextBox 3">
            <a:extLst>
              <a:ext uri="{FF2B5EF4-FFF2-40B4-BE49-F238E27FC236}">
                <a16:creationId xmlns:a16="http://schemas.microsoft.com/office/drawing/2014/main" id="{5F19C849-D074-EE11-94BE-461E914778F0}"/>
              </a:ext>
            </a:extLst>
          </p:cNvPr>
          <p:cNvSpPr txBox="1"/>
          <p:nvPr/>
        </p:nvSpPr>
        <p:spPr>
          <a:xfrm>
            <a:off x="435326" y="1000637"/>
            <a:ext cx="18552623" cy="76944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400" b="1" i="0" u="none" strike="noStrike" kern="1200" cap="none" spc="0" normalizeH="0" baseline="0" noProof="0">
                <a:ln>
                  <a:noFill/>
                </a:ln>
                <a:solidFill>
                  <a:srgbClr val="CC0033"/>
                </a:solidFill>
                <a:effectLst/>
                <a:uLnTx/>
                <a:uFillTx/>
                <a:latin typeface="Arial"/>
                <a:ea typeface="+mn-ea"/>
                <a:cs typeface="Arial" panose="020B0604020202020204" pitchFamily="34" charset="0"/>
              </a:rPr>
              <a:t>Recommendations and proposed legislative improvements</a:t>
            </a:r>
            <a:endParaRPr kumimoji="0" lang="sv-SE" sz="4400" b="1" i="0" u="none" strike="noStrike" kern="1200" cap="none" spc="0" normalizeH="0" baseline="0" noProof="0">
              <a:ln>
                <a:noFill/>
              </a:ln>
              <a:solidFill>
                <a:srgbClr val="CC0033"/>
              </a:solidFill>
              <a:effectLst/>
              <a:uLnTx/>
              <a:uFillTx/>
              <a:latin typeface="Arial"/>
              <a:ea typeface="+mn-ea"/>
              <a:cs typeface="Arial" panose="020B0604020202020204" pitchFamily="34" charset="0"/>
            </a:endParaRPr>
          </a:p>
        </p:txBody>
      </p:sp>
      <p:pic>
        <p:nvPicPr>
          <p:cNvPr id="3" name="Picture 16" descr="RETROFEED PITTINI">
            <a:hlinkClick r:id="rId11" action="ppaction://hlinksldjump"/>
            <a:extLst>
              <a:ext uri="{FF2B5EF4-FFF2-40B4-BE49-F238E27FC236}">
                <a16:creationId xmlns:a16="http://schemas.microsoft.com/office/drawing/2014/main" id="{2F801C7A-42FA-FAE1-0D30-80F8C4DC16B1}"/>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6033378" y="321838"/>
            <a:ext cx="1873622" cy="367936"/>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18">
            <a:hlinkClick r:id="" action="ppaction://noaction"/>
            <a:extLst>
              <a:ext uri="{FF2B5EF4-FFF2-40B4-BE49-F238E27FC236}">
                <a16:creationId xmlns:a16="http://schemas.microsoft.com/office/drawing/2014/main" id="{DC23A945-A23E-69DD-78E9-5962F1ECB3FC}"/>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5772269" y="745287"/>
            <a:ext cx="2395839" cy="3616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28127675"/>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0505016"/>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6"/>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4"/>
          <a:srcRect/>
          <a:stretch>
            <a:fillRect/>
          </a:stretch>
        </p:blipFill>
        <p:spPr>
          <a:xfrm>
            <a:off x="0" y="8901113"/>
            <a:ext cx="5715000" cy="1385887"/>
          </a:xfrm>
          <a:prstGeom prst="rect">
            <a:avLst/>
          </a:prstGeom>
        </p:spPr>
      </p:pic>
      <p:grpSp>
        <p:nvGrpSpPr>
          <p:cNvPr id="3" name="Gruppo 2">
            <a:extLst>
              <a:ext uri="{FF2B5EF4-FFF2-40B4-BE49-F238E27FC236}">
                <a16:creationId xmlns:a16="http://schemas.microsoft.com/office/drawing/2014/main" id="{1C29CBCA-BE0A-4EF6-AC69-329941E1DCFD}"/>
              </a:ext>
            </a:extLst>
          </p:cNvPr>
          <p:cNvGrpSpPr/>
          <p:nvPr/>
        </p:nvGrpSpPr>
        <p:grpSpPr>
          <a:xfrm>
            <a:off x="-12" y="138554"/>
            <a:ext cx="18288002" cy="681138"/>
            <a:chOff x="-12" y="138554"/>
            <a:chExt cx="18288002" cy="681138"/>
          </a:xfrm>
        </p:grpSpPr>
        <p:grpSp>
          <p:nvGrpSpPr>
            <p:cNvPr id="2" name="Gruppo 1">
              <a:extLst>
                <a:ext uri="{FF2B5EF4-FFF2-40B4-BE49-F238E27FC236}">
                  <a16:creationId xmlns:a16="http://schemas.microsoft.com/office/drawing/2014/main" id="{24E9C7AF-0093-476F-826C-A2702AB72892}"/>
                </a:ext>
              </a:extLst>
            </p:cNvPr>
            <p:cNvGrpSpPr/>
            <p:nvPr/>
          </p:nvGrpSpPr>
          <p:grpSpPr>
            <a:xfrm>
              <a:off x="0" y="153125"/>
              <a:ext cx="17907000" cy="666567"/>
              <a:chOff x="0" y="153125"/>
              <a:chExt cx="17907000" cy="666567"/>
            </a:xfrm>
          </p:grpSpPr>
          <p:pic>
            <p:nvPicPr>
              <p:cNvPr id="10" name="Picture 10"/>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2" name="TextBox 11">
                <a:extLst>
                  <a:ext uri="{FF2B5EF4-FFF2-40B4-BE49-F238E27FC236}">
                    <a16:creationId xmlns:a16="http://schemas.microsoft.com/office/drawing/2014/main" id="{1BD9B5F4-614C-4EB6-8C5B-120A5420CE43}"/>
                  </a:ext>
                </a:extLst>
              </p:cNvPr>
              <p:cNvSpPr txBox="1"/>
              <p:nvPr/>
            </p:nvSpPr>
            <p:spPr>
              <a:xfrm>
                <a:off x="12154296" y="257980"/>
                <a:ext cx="5752704" cy="456856"/>
              </a:xfrm>
              <a:prstGeom prst="rect">
                <a:avLst/>
              </a:prstGeom>
            </p:spPr>
            <p:txBody>
              <a:bodyPr wrap="square" lIns="0" tIns="0" rIns="0" bIns="0" rtlCol="0" anchor="t">
                <a:spAutoFit/>
              </a:bodyPr>
              <a:lstStyle/>
              <a:p>
                <a:pPr algn="r">
                  <a:lnSpc>
                    <a:spcPts val="3919"/>
                  </a:lnSpc>
                  <a:spcBef>
                    <a:spcPct val="0"/>
                  </a:spcBef>
                </a:pPr>
                <a:endParaRPr lang="en-US" sz="2800">
                  <a:solidFill>
                    <a:schemeClr val="tx1">
                      <a:lumMod val="75000"/>
                      <a:lumOff val="25000"/>
                    </a:schemeClr>
                  </a:solidFill>
                  <a:latin typeface="Arial" panose="020B0604020202020204" pitchFamily="34" charset="0"/>
                  <a:cs typeface="Arial" panose="020B0604020202020204" pitchFamily="34" charset="0"/>
                </a:endParaRPr>
              </a:p>
            </p:txBody>
          </p:sp>
        </p:grpSp>
        <p:sp>
          <p:nvSpPr>
            <p:cNvPr id="14" name="Rettangolo 13">
              <a:extLst>
                <a:ext uri="{FF2B5EF4-FFF2-40B4-BE49-F238E27FC236}">
                  <a16:creationId xmlns:a16="http://schemas.microsoft.com/office/drawing/2014/main" id="{55199736-B8B6-4C9A-8BAF-233E07A0CA89}"/>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3" name="TextBox 13"/>
          <p:cNvSpPr txBox="1"/>
          <p:nvPr/>
        </p:nvSpPr>
        <p:spPr>
          <a:xfrm>
            <a:off x="1206790" y="763022"/>
            <a:ext cx="15011399" cy="1023293"/>
          </a:xfrm>
          <a:prstGeom prst="rect">
            <a:avLst/>
          </a:prstGeom>
        </p:spPr>
        <p:txBody>
          <a:bodyPr wrap="square" lIns="0" tIns="0" rIns="0" bIns="0" rtlCol="0" anchor="t">
            <a:spAutoFit/>
          </a:bodyPr>
          <a:lstStyle/>
          <a:p>
            <a:pPr algn="ctr">
              <a:lnSpc>
                <a:spcPts val="8960"/>
              </a:lnSpc>
              <a:spcBef>
                <a:spcPct val="0"/>
              </a:spcBef>
            </a:pPr>
            <a:r>
              <a:rPr lang="en-US" sz="5400" b="1" dirty="0">
                <a:solidFill>
                  <a:srgbClr val="CC0033"/>
                </a:solidFill>
                <a:latin typeface="+mj-lt"/>
                <a:cs typeface="Arial" panose="020B0604020202020204" pitchFamily="34" charset="0"/>
              </a:rPr>
              <a:t>Summary</a:t>
            </a:r>
            <a:endParaRPr lang="en-US" sz="4400" b="1" i="1" dirty="0">
              <a:solidFill>
                <a:srgbClr val="CC0033"/>
              </a:solidFill>
              <a:latin typeface="+mj-lt"/>
              <a:cs typeface="Arial" panose="020B0604020202020204" pitchFamily="34" charset="0"/>
            </a:endParaRPr>
          </a:p>
        </p:txBody>
      </p:sp>
      <p:sp>
        <p:nvSpPr>
          <p:cNvPr id="22" name="TextBox 21">
            <a:extLst>
              <a:ext uri="{FF2B5EF4-FFF2-40B4-BE49-F238E27FC236}">
                <a16:creationId xmlns:a16="http://schemas.microsoft.com/office/drawing/2014/main" id="{F21DCD0B-B68A-4D7A-9F6C-6D71442D13F2}"/>
              </a:ext>
            </a:extLst>
          </p:cNvPr>
          <p:cNvSpPr txBox="1"/>
          <p:nvPr/>
        </p:nvSpPr>
        <p:spPr>
          <a:xfrm>
            <a:off x="838189" y="1942030"/>
            <a:ext cx="14573607" cy="7181453"/>
          </a:xfrm>
          <a:prstGeom prst="rect">
            <a:avLst/>
          </a:prstGeom>
        </p:spPr>
        <p:txBody>
          <a:bodyPr wrap="square" lIns="0" tIns="0" rIns="0" bIns="0" rtlCol="0" anchor="t">
            <a:spAutoFit/>
          </a:bodyPr>
          <a:lstStyle/>
          <a:p>
            <a:r>
              <a:rPr lang="en-US" sz="2400" kern="100" dirty="0">
                <a:solidFill>
                  <a:srgbClr val="404040"/>
                </a:solidFill>
                <a:latin typeface="+mj-lt"/>
                <a:ea typeface="Noto Sans CJK SC"/>
                <a:cs typeface="Lohit Devanagari"/>
              </a:rPr>
              <a:t>This learning material has been developed as part of the RETROFEED project: </a:t>
            </a:r>
            <a:r>
              <a:rPr lang="en-GB" sz="2400" b="1" kern="0" dirty="0">
                <a:effectLst/>
                <a:latin typeface="+mj-lt"/>
                <a:sym typeface="+mn-ea"/>
              </a:rPr>
              <a:t>Implementation of a Smart </a:t>
            </a:r>
            <a:r>
              <a:rPr lang="en-GB" sz="2400" b="1" kern="0" dirty="0" err="1">
                <a:effectLst/>
                <a:latin typeface="+mj-lt"/>
                <a:sym typeface="+mn-ea"/>
              </a:rPr>
              <a:t>RETROfitting</a:t>
            </a:r>
            <a:r>
              <a:rPr lang="en-GB" sz="2400" b="1" kern="0" dirty="0">
                <a:effectLst/>
                <a:latin typeface="+mj-lt"/>
                <a:sym typeface="+mn-ea"/>
              </a:rPr>
              <a:t> Framework in the Process Industry towards its Operation with Variable, Biobased and Circular </a:t>
            </a:r>
            <a:r>
              <a:rPr lang="en-GB" sz="2400" b="1" kern="0" dirty="0" err="1">
                <a:effectLst/>
                <a:latin typeface="+mj-lt"/>
                <a:sym typeface="+mn-ea"/>
              </a:rPr>
              <a:t>FEEDstock</a:t>
            </a:r>
            <a:r>
              <a:rPr lang="en-GB" sz="2400" b="1" kern="0" dirty="0">
                <a:effectLst/>
                <a:latin typeface="+mj-lt"/>
                <a:sym typeface="+mn-ea"/>
              </a:rPr>
              <a:t>. </a:t>
            </a:r>
            <a:endParaRPr lang="en-GB" sz="2400" b="1" kern="0" dirty="0">
              <a:latin typeface="+mj-lt"/>
              <a:sym typeface="+mn-ea"/>
            </a:endParaRPr>
          </a:p>
          <a:p>
            <a:endParaRPr lang="en-GB" sz="2400" b="1" kern="0" dirty="0">
              <a:effectLst/>
              <a:latin typeface="+mj-lt"/>
              <a:sym typeface="+mn-ea"/>
            </a:endParaRPr>
          </a:p>
          <a:p>
            <a:r>
              <a:rPr lang="en-GB" sz="2400" b="1" kern="0" dirty="0">
                <a:latin typeface="+mj-lt"/>
                <a:sym typeface="+mn-ea"/>
              </a:rPr>
              <a:t>This course has covered:</a:t>
            </a:r>
          </a:p>
          <a:p>
            <a:pPr marL="457200" indent="-457200">
              <a:buFont typeface="Arial" panose="020B0604020202020204" pitchFamily="34" charset="0"/>
              <a:buChar char="•"/>
            </a:pPr>
            <a:r>
              <a:rPr lang="sv-SE" sz="2400" dirty="0" err="1">
                <a:ea typeface="+mn-ea"/>
                <a:cs typeface="Arial" panose="020B0604020202020204" pitchFamily="34" charset="0"/>
              </a:rPr>
              <a:t>What</a:t>
            </a:r>
            <a:r>
              <a:rPr lang="sv-SE" sz="2400" dirty="0">
                <a:ea typeface="+mn-ea"/>
                <a:cs typeface="Arial" panose="020B0604020202020204" pitchFamily="34" charset="0"/>
              </a:rPr>
              <a:t> drives the </a:t>
            </a:r>
            <a:r>
              <a:rPr lang="sv-SE" sz="2400" dirty="0" err="1">
                <a:ea typeface="+mn-ea"/>
                <a:cs typeface="Arial" panose="020B0604020202020204" pitchFamily="34" charset="0"/>
              </a:rPr>
              <a:t>industry</a:t>
            </a:r>
            <a:r>
              <a:rPr lang="sv-SE" sz="2400" dirty="0">
                <a:ea typeface="+mn-ea"/>
                <a:cs typeface="Arial" panose="020B0604020202020204" pitchFamily="34" charset="0"/>
              </a:rPr>
              <a:t> to </a:t>
            </a:r>
            <a:r>
              <a:rPr lang="sv-SE" sz="2400" dirty="0" err="1">
                <a:ea typeface="+mn-ea"/>
                <a:cs typeface="Arial" panose="020B0604020202020204" pitchFamily="34" charset="0"/>
              </a:rPr>
              <a:t>retrofit</a:t>
            </a:r>
            <a:r>
              <a:rPr lang="sv-SE" sz="2400" dirty="0">
                <a:ea typeface="+mn-ea"/>
                <a:cs typeface="Arial" panose="020B0604020202020204" pitchFamily="34" charset="0"/>
              </a:rPr>
              <a:t> </a:t>
            </a:r>
            <a:r>
              <a:rPr lang="sv-SE" sz="2400" dirty="0" err="1">
                <a:ea typeface="+mn-ea"/>
                <a:cs typeface="Arial" panose="020B0604020202020204" pitchFamily="34" charset="0"/>
              </a:rPr>
              <a:t>their</a:t>
            </a:r>
            <a:r>
              <a:rPr lang="sv-SE" sz="2400" dirty="0">
                <a:ea typeface="+mn-ea"/>
                <a:cs typeface="Arial" panose="020B0604020202020204" pitchFamily="34" charset="0"/>
              </a:rPr>
              <a:t> </a:t>
            </a:r>
            <a:r>
              <a:rPr lang="sv-SE" sz="2400" dirty="0" err="1">
                <a:ea typeface="+mn-ea"/>
                <a:cs typeface="Arial" panose="020B0604020202020204" pitchFamily="34" charset="0"/>
              </a:rPr>
              <a:t>traditional</a:t>
            </a:r>
            <a:r>
              <a:rPr lang="sv-SE" sz="2400" dirty="0">
                <a:ea typeface="+mn-ea"/>
                <a:cs typeface="Arial" panose="020B0604020202020204" pitchFamily="34" charset="0"/>
              </a:rPr>
              <a:t> </a:t>
            </a:r>
            <a:r>
              <a:rPr lang="sv-SE" sz="2400" dirty="0" err="1">
                <a:ea typeface="+mn-ea"/>
                <a:cs typeface="Arial" panose="020B0604020202020204" pitchFamily="34" charset="0"/>
              </a:rPr>
              <a:t>processes</a:t>
            </a:r>
            <a:r>
              <a:rPr lang="sv-SE" sz="2400" dirty="0">
                <a:cs typeface="Arial" panose="020B0604020202020204" pitchFamily="34" charset="0"/>
              </a:rPr>
              <a:t>.</a:t>
            </a:r>
            <a:endParaRPr lang="sv-SE" sz="2400" dirty="0">
              <a:ea typeface="+mn-ea"/>
              <a:cs typeface="Arial" panose="020B0604020202020204" pitchFamily="34" charset="0"/>
            </a:endParaRPr>
          </a:p>
          <a:p>
            <a:pPr marL="457200" indent="-457200">
              <a:buFont typeface="Arial" panose="020B0604020202020204" pitchFamily="34" charset="0"/>
              <a:buChar char="•"/>
            </a:pPr>
            <a:r>
              <a:rPr lang="sv-SE" sz="2400" dirty="0" err="1">
                <a:cs typeface="Arial" panose="020B0604020202020204" pitchFamily="34" charset="0"/>
              </a:rPr>
              <a:t>Why</a:t>
            </a:r>
            <a:r>
              <a:rPr lang="sv-SE" sz="2400" dirty="0">
                <a:cs typeface="Arial" panose="020B0604020202020204" pitchFamily="34" charset="0"/>
              </a:rPr>
              <a:t> &amp; </a:t>
            </a:r>
            <a:r>
              <a:rPr lang="sv-SE" sz="2400" dirty="0" err="1">
                <a:cs typeface="Arial" panose="020B0604020202020204" pitchFamily="34" charset="0"/>
              </a:rPr>
              <a:t>where</a:t>
            </a:r>
            <a:r>
              <a:rPr lang="sv-SE" sz="2400" dirty="0">
                <a:cs typeface="Arial" panose="020B0604020202020204" pitchFamily="34" charset="0"/>
              </a:rPr>
              <a:t> is </a:t>
            </a:r>
            <a:r>
              <a:rPr lang="sv-SE" sz="2400" dirty="0" err="1">
                <a:cs typeface="Arial" panose="020B0604020202020204" pitchFamily="34" charset="0"/>
              </a:rPr>
              <a:t>retrofitting</a:t>
            </a:r>
            <a:r>
              <a:rPr lang="sv-SE" sz="2400" dirty="0">
                <a:cs typeface="Arial" panose="020B0604020202020204" pitchFamily="34" charset="0"/>
              </a:rPr>
              <a:t> </a:t>
            </a:r>
            <a:r>
              <a:rPr lang="sv-SE" sz="2400" dirty="0" err="1">
                <a:cs typeface="Arial" panose="020B0604020202020204" pitchFamily="34" charset="0"/>
              </a:rPr>
              <a:t>needed</a:t>
            </a:r>
            <a:r>
              <a:rPr lang="sv-SE" sz="2400" dirty="0">
                <a:cs typeface="Arial" panose="020B0604020202020204" pitchFamily="34" charset="0"/>
              </a:rPr>
              <a:t>, </a:t>
            </a:r>
            <a:r>
              <a:rPr lang="sv-SE" sz="2400" dirty="0" err="1">
                <a:cs typeface="Arial" panose="020B0604020202020204" pitchFamily="34" charset="0"/>
              </a:rPr>
              <a:t>with</a:t>
            </a:r>
            <a:r>
              <a:rPr lang="sv-SE" sz="2400" dirty="0">
                <a:cs typeface="Arial" panose="020B0604020202020204" pitchFamily="34" charset="0"/>
              </a:rPr>
              <a:t> </a:t>
            </a:r>
            <a:r>
              <a:rPr lang="sv-SE" sz="2400" dirty="0" err="1">
                <a:cs typeface="Arial" panose="020B0604020202020204" pitchFamily="34" charset="0"/>
              </a:rPr>
              <a:t>concrete</a:t>
            </a:r>
            <a:r>
              <a:rPr lang="sv-SE" sz="2400" dirty="0">
                <a:cs typeface="Arial" panose="020B0604020202020204" pitchFamily="34" charset="0"/>
              </a:rPr>
              <a:t> </a:t>
            </a:r>
            <a:r>
              <a:rPr lang="sv-SE" sz="2400" dirty="0" err="1">
                <a:cs typeface="Arial" panose="020B0604020202020204" pitchFamily="34" charset="0"/>
              </a:rPr>
              <a:t>examples</a:t>
            </a:r>
            <a:r>
              <a:rPr lang="sv-SE" sz="2400" dirty="0">
                <a:cs typeface="Arial" panose="020B0604020202020204" pitchFamily="34" charset="0"/>
              </a:rPr>
              <a:t> from </a:t>
            </a:r>
            <a:r>
              <a:rPr lang="en-US" sz="2400" b="0" i="0" dirty="0">
                <a:solidFill>
                  <a:srgbClr val="333333"/>
                </a:solidFill>
                <a:effectLst/>
                <a:latin typeface="Arial" panose="020B0604020202020204" pitchFamily="34" charset="0"/>
              </a:rPr>
              <a:t>five resource and energy intensive sectors - ceramic, cement, </a:t>
            </a:r>
            <a:r>
              <a:rPr lang="en-US" sz="2400" b="0" i="0" dirty="0" err="1">
                <a:solidFill>
                  <a:srgbClr val="333333"/>
                </a:solidFill>
                <a:effectLst/>
                <a:latin typeface="Arial" panose="020B0604020202020204" pitchFamily="34" charset="0"/>
              </a:rPr>
              <a:t>aluminium</a:t>
            </a:r>
            <a:r>
              <a:rPr lang="en-US" sz="2400" b="0" i="0" dirty="0">
                <a:solidFill>
                  <a:srgbClr val="333333"/>
                </a:solidFill>
                <a:effectLst/>
                <a:latin typeface="Arial" panose="020B0604020202020204" pitchFamily="34" charset="0"/>
              </a:rPr>
              <a:t>, steel, and agrochemical.</a:t>
            </a:r>
          </a:p>
          <a:p>
            <a:pPr marL="457200" indent="-457200">
              <a:buFont typeface="Arial" panose="020B0604020202020204" pitchFamily="34" charset="0"/>
              <a:buChar char="•"/>
            </a:pPr>
            <a:r>
              <a:rPr lang="en-US" sz="2400" dirty="0">
                <a:solidFill>
                  <a:srgbClr val="333333"/>
                </a:solidFill>
                <a:latin typeface="Arial" panose="020B0604020202020204" pitchFamily="34" charset="0"/>
              </a:rPr>
              <a:t>How can a digital Decision Support System be used to </a:t>
            </a:r>
            <a:r>
              <a:rPr lang="sv-SE" sz="2400" dirty="0">
                <a:solidFill>
                  <a:srgbClr val="333333"/>
                </a:solidFill>
                <a:latin typeface="Arial" panose="020B0604020202020204" pitchFamily="34" charset="0"/>
              </a:rPr>
              <a:t>monitor, </a:t>
            </a:r>
            <a:r>
              <a:rPr lang="sv-SE" sz="2400" dirty="0" err="1">
                <a:solidFill>
                  <a:srgbClr val="333333"/>
                </a:solidFill>
                <a:latin typeface="Arial" panose="020B0604020202020204" pitchFamily="34" charset="0"/>
              </a:rPr>
              <a:t>analyze</a:t>
            </a:r>
            <a:r>
              <a:rPr lang="sv-SE" sz="2400" dirty="0">
                <a:solidFill>
                  <a:srgbClr val="333333"/>
                </a:solidFill>
                <a:latin typeface="Arial" panose="020B0604020202020204" pitchFamily="34" charset="0"/>
              </a:rPr>
              <a:t> and </a:t>
            </a:r>
            <a:r>
              <a:rPr lang="sv-SE" sz="2400" dirty="0" err="1">
                <a:solidFill>
                  <a:srgbClr val="333333"/>
                </a:solidFill>
                <a:latin typeface="Arial" panose="020B0604020202020204" pitchFamily="34" charset="0"/>
              </a:rPr>
              <a:t>simulate</a:t>
            </a:r>
            <a:r>
              <a:rPr lang="sv-SE" sz="2400" dirty="0">
                <a:solidFill>
                  <a:srgbClr val="333333"/>
                </a:solidFill>
                <a:latin typeface="Arial" panose="020B0604020202020204" pitchFamily="34" charset="0"/>
              </a:rPr>
              <a:t> </a:t>
            </a:r>
            <a:r>
              <a:rPr lang="en-US" sz="2400" dirty="0">
                <a:solidFill>
                  <a:srgbClr val="333333"/>
                </a:solidFill>
                <a:latin typeface="Arial" panose="020B0604020202020204" pitchFamily="34" charset="0"/>
              </a:rPr>
              <a:t>industrial processes with aim to reduce environmental impact. </a:t>
            </a:r>
          </a:p>
          <a:p>
            <a:pPr marL="457200" indent="-457200">
              <a:buFont typeface="Arial" panose="020B0604020202020204" pitchFamily="34" charset="0"/>
              <a:buChar char="•"/>
            </a:pPr>
            <a:r>
              <a:rPr lang="en-US" sz="2400" dirty="0">
                <a:solidFill>
                  <a:srgbClr val="333333"/>
                </a:solidFill>
                <a:latin typeface="Arial" panose="020B0604020202020204" pitchFamily="34" charset="0"/>
              </a:rPr>
              <a:t>L</a:t>
            </a:r>
            <a:r>
              <a:rPr lang="en-US" sz="2400" b="0" i="0" dirty="0">
                <a:solidFill>
                  <a:srgbClr val="333333"/>
                </a:solidFill>
                <a:effectLst/>
                <a:latin typeface="Arial" panose="020B0604020202020204" pitchFamily="34" charset="0"/>
              </a:rPr>
              <a:t>atest developments in digital twins for industrial processes.</a:t>
            </a:r>
          </a:p>
          <a:p>
            <a:pPr marL="457200" indent="-457200">
              <a:buFont typeface="Arial" panose="020B0604020202020204" pitchFamily="34" charset="0"/>
              <a:buChar char="•"/>
            </a:pPr>
            <a:r>
              <a:rPr lang="en-US" sz="2400" b="0" i="0" kern="100" dirty="0">
                <a:solidFill>
                  <a:srgbClr val="404040"/>
                </a:solidFill>
                <a:effectLst/>
                <a:latin typeface="Arial (body)"/>
              </a:rPr>
              <a:t>W</a:t>
            </a:r>
            <a:r>
              <a:rPr lang="en-US" sz="2400" kern="100" dirty="0">
                <a:solidFill>
                  <a:srgbClr val="404040"/>
                </a:solidFill>
                <a:latin typeface="Arial (body)"/>
              </a:rPr>
              <a:t>hich tools that are used to evaluate the environmental and social impacts of retrofitting (LCA, LCC, S-LCA).</a:t>
            </a:r>
          </a:p>
          <a:p>
            <a:pPr marL="457200" indent="-457200">
              <a:buFont typeface="Arial" panose="020B0604020202020204" pitchFamily="34" charset="0"/>
              <a:buChar char="•"/>
            </a:pPr>
            <a:r>
              <a:rPr lang="en-US" sz="2400" kern="100" dirty="0">
                <a:solidFill>
                  <a:srgbClr val="404040"/>
                </a:solidFill>
                <a:latin typeface="Arial (body)"/>
              </a:rPr>
              <a:t>What the challenges are in retrofitting the industry and some of the results of retrofitting in the project.</a:t>
            </a:r>
          </a:p>
          <a:p>
            <a:pPr marL="457200" indent="-457200">
              <a:buFont typeface="Arial" panose="020B0604020202020204" pitchFamily="34" charset="0"/>
              <a:buChar char="•"/>
            </a:pPr>
            <a:r>
              <a:rPr lang="en-US" sz="2400" kern="100" dirty="0">
                <a:solidFill>
                  <a:srgbClr val="404040"/>
                </a:solidFill>
                <a:latin typeface="Arial (body)"/>
              </a:rPr>
              <a:t>Replicability of solutions and their commercialization. Business models for </a:t>
            </a:r>
            <a:r>
              <a:rPr lang="en-US" sz="2400" kern="100" dirty="0" err="1">
                <a:solidFill>
                  <a:srgbClr val="404040"/>
                </a:solidFill>
                <a:latin typeface="Arial (body)"/>
              </a:rPr>
              <a:t>Retrofeed</a:t>
            </a:r>
            <a:r>
              <a:rPr lang="en-US" sz="2400" kern="100" dirty="0">
                <a:solidFill>
                  <a:srgbClr val="404040"/>
                </a:solidFill>
                <a:latin typeface="Arial (body)"/>
              </a:rPr>
              <a:t> solutions.  </a:t>
            </a:r>
          </a:p>
          <a:p>
            <a:endParaRPr lang="en-US" sz="2400" b="0" i="0" dirty="0">
              <a:solidFill>
                <a:srgbClr val="333333"/>
              </a:solidFill>
              <a:effectLst/>
              <a:latin typeface="Arial" panose="020B0604020202020204" pitchFamily="34" charset="0"/>
            </a:endParaRPr>
          </a:p>
          <a:p>
            <a:pPr lvl="0" algn="just">
              <a:spcAft>
                <a:spcPts val="800"/>
              </a:spcAft>
            </a:pPr>
            <a:r>
              <a:rPr lang="en-US" sz="2400" b="0" i="0" dirty="0">
                <a:solidFill>
                  <a:srgbClr val="333333"/>
                </a:solidFill>
                <a:effectLst/>
                <a:latin typeface="Roboto" panose="02000000000000000000" pitchFamily="2" charset="0"/>
              </a:rPr>
              <a:t>The project has received funding from the European union’s Horizon 2020 research and innovation </a:t>
            </a:r>
            <a:r>
              <a:rPr lang="en-US" sz="2400" dirty="0" err="1">
                <a:solidFill>
                  <a:srgbClr val="333333"/>
                </a:solidFill>
                <a:latin typeface="Roboto" panose="02000000000000000000" pitchFamily="2" charset="0"/>
              </a:rPr>
              <a:t>programme</a:t>
            </a:r>
            <a:r>
              <a:rPr lang="en-US" sz="2400" dirty="0">
                <a:solidFill>
                  <a:srgbClr val="333333"/>
                </a:solidFill>
                <a:latin typeface="Roboto" panose="02000000000000000000" pitchFamily="2" charset="0"/>
              </a:rPr>
              <a:t> </a:t>
            </a:r>
            <a:r>
              <a:rPr lang="sv-SE" sz="2400" dirty="0">
                <a:solidFill>
                  <a:srgbClr val="333333"/>
                </a:solidFill>
                <a:latin typeface="Roboto" panose="02000000000000000000" pitchFamily="2" charset="0"/>
              </a:rPr>
              <a:t>under Grant </a:t>
            </a:r>
            <a:r>
              <a:rPr lang="sv-SE" sz="2400" dirty="0" err="1">
                <a:solidFill>
                  <a:srgbClr val="333333"/>
                </a:solidFill>
                <a:latin typeface="Roboto" panose="02000000000000000000" pitchFamily="2" charset="0"/>
              </a:rPr>
              <a:t>Agreement</a:t>
            </a:r>
            <a:r>
              <a:rPr lang="sv-SE" sz="2400" dirty="0">
                <a:solidFill>
                  <a:srgbClr val="333333"/>
                </a:solidFill>
                <a:latin typeface="Roboto" panose="02000000000000000000" pitchFamily="2" charset="0"/>
              </a:rPr>
              <a:t> nº869939.</a:t>
            </a:r>
            <a:endParaRPr lang="en-GB" sz="2400" dirty="0">
              <a:solidFill>
                <a:srgbClr val="333333"/>
              </a:solidFill>
              <a:latin typeface="Roboto" panose="02000000000000000000" pitchFamily="2" charset="0"/>
            </a:endParaRPr>
          </a:p>
          <a:p>
            <a:endParaRPr lang="sv-SE" sz="2800" kern="100" dirty="0">
              <a:solidFill>
                <a:srgbClr val="404040"/>
              </a:solidFill>
              <a:effectLst/>
              <a:latin typeface="+mj-lt"/>
              <a:ea typeface="Noto Sans CJK SC"/>
              <a:cs typeface="Lohit Devanagari"/>
            </a:endParaRPr>
          </a:p>
        </p:txBody>
      </p:sp>
    </p:spTree>
    <p:extLst>
      <p:ext uri="{BB962C8B-B14F-4D97-AF65-F5344CB8AC3E}">
        <p14:creationId xmlns:p14="http://schemas.microsoft.com/office/powerpoint/2010/main" val="1184984432"/>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6"/>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4"/>
          <a:srcRect/>
          <a:stretch>
            <a:fillRect/>
          </a:stretch>
        </p:blipFill>
        <p:spPr>
          <a:xfrm>
            <a:off x="0" y="8901113"/>
            <a:ext cx="5715000" cy="1385887"/>
          </a:xfrm>
          <a:prstGeom prst="rect">
            <a:avLst/>
          </a:prstGeom>
        </p:spPr>
      </p:pic>
      <p:grpSp>
        <p:nvGrpSpPr>
          <p:cNvPr id="3" name="Gruppo 2">
            <a:extLst>
              <a:ext uri="{FF2B5EF4-FFF2-40B4-BE49-F238E27FC236}">
                <a16:creationId xmlns:a16="http://schemas.microsoft.com/office/drawing/2014/main" id="{1C29CBCA-BE0A-4EF6-AC69-329941E1DCFD}"/>
              </a:ext>
            </a:extLst>
          </p:cNvPr>
          <p:cNvGrpSpPr/>
          <p:nvPr/>
        </p:nvGrpSpPr>
        <p:grpSpPr>
          <a:xfrm>
            <a:off x="-12" y="138554"/>
            <a:ext cx="18288002" cy="681138"/>
            <a:chOff x="-12" y="138554"/>
            <a:chExt cx="18288002" cy="681138"/>
          </a:xfrm>
        </p:grpSpPr>
        <p:grpSp>
          <p:nvGrpSpPr>
            <p:cNvPr id="2" name="Gruppo 1">
              <a:extLst>
                <a:ext uri="{FF2B5EF4-FFF2-40B4-BE49-F238E27FC236}">
                  <a16:creationId xmlns:a16="http://schemas.microsoft.com/office/drawing/2014/main" id="{24E9C7AF-0093-476F-826C-A2702AB72892}"/>
                </a:ext>
              </a:extLst>
            </p:cNvPr>
            <p:cNvGrpSpPr/>
            <p:nvPr/>
          </p:nvGrpSpPr>
          <p:grpSpPr>
            <a:xfrm>
              <a:off x="0" y="153125"/>
              <a:ext cx="17907000" cy="666567"/>
              <a:chOff x="0" y="153125"/>
              <a:chExt cx="17907000" cy="666567"/>
            </a:xfrm>
          </p:grpSpPr>
          <p:pic>
            <p:nvPicPr>
              <p:cNvPr id="10" name="Picture 10"/>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2" name="TextBox 11">
                <a:extLst>
                  <a:ext uri="{FF2B5EF4-FFF2-40B4-BE49-F238E27FC236}">
                    <a16:creationId xmlns:a16="http://schemas.microsoft.com/office/drawing/2014/main" id="{1BD9B5F4-614C-4EB6-8C5B-120A5420CE43}"/>
                  </a:ext>
                </a:extLst>
              </p:cNvPr>
              <p:cNvSpPr txBox="1"/>
              <p:nvPr/>
            </p:nvSpPr>
            <p:spPr>
              <a:xfrm>
                <a:off x="12154296" y="257980"/>
                <a:ext cx="5752704" cy="456856"/>
              </a:xfrm>
              <a:prstGeom prst="rect">
                <a:avLst/>
              </a:prstGeom>
            </p:spPr>
            <p:txBody>
              <a:bodyPr wrap="square" lIns="0" tIns="0" rIns="0" bIns="0" rtlCol="0" anchor="t">
                <a:spAutoFit/>
              </a:bodyPr>
              <a:lstStyle/>
              <a:p>
                <a:pPr algn="r">
                  <a:lnSpc>
                    <a:spcPts val="3919"/>
                  </a:lnSpc>
                  <a:spcBef>
                    <a:spcPct val="0"/>
                  </a:spcBef>
                </a:pPr>
                <a:endParaRPr lang="en-US" sz="2800">
                  <a:solidFill>
                    <a:schemeClr val="tx1">
                      <a:lumMod val="75000"/>
                      <a:lumOff val="25000"/>
                    </a:schemeClr>
                  </a:solidFill>
                  <a:latin typeface="Arial" panose="020B0604020202020204" pitchFamily="34" charset="0"/>
                  <a:cs typeface="Arial" panose="020B0604020202020204" pitchFamily="34" charset="0"/>
                </a:endParaRPr>
              </a:p>
            </p:txBody>
          </p:sp>
        </p:grpSp>
        <p:sp>
          <p:nvSpPr>
            <p:cNvPr id="14" name="Rettangolo 13">
              <a:extLst>
                <a:ext uri="{FF2B5EF4-FFF2-40B4-BE49-F238E27FC236}">
                  <a16:creationId xmlns:a16="http://schemas.microsoft.com/office/drawing/2014/main" id="{55199736-B8B6-4C9A-8BAF-233E07A0CA89}"/>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3" name="TextBox 13"/>
          <p:cNvSpPr txBox="1"/>
          <p:nvPr/>
        </p:nvSpPr>
        <p:spPr>
          <a:xfrm>
            <a:off x="1206790" y="763022"/>
            <a:ext cx="15011399" cy="1023293"/>
          </a:xfrm>
          <a:prstGeom prst="rect">
            <a:avLst/>
          </a:prstGeom>
        </p:spPr>
        <p:txBody>
          <a:bodyPr wrap="square" lIns="0" tIns="0" rIns="0" bIns="0" rtlCol="0" anchor="t">
            <a:spAutoFit/>
          </a:bodyPr>
          <a:lstStyle/>
          <a:p>
            <a:pPr algn="ctr">
              <a:lnSpc>
                <a:spcPts val="8960"/>
              </a:lnSpc>
              <a:spcBef>
                <a:spcPct val="0"/>
              </a:spcBef>
            </a:pPr>
            <a:r>
              <a:rPr lang="en-US" sz="5400" b="1" dirty="0">
                <a:solidFill>
                  <a:srgbClr val="CC0033"/>
                </a:solidFill>
                <a:latin typeface="+mj-lt"/>
                <a:cs typeface="Arial" panose="020B0604020202020204" pitchFamily="34" charset="0"/>
              </a:rPr>
              <a:t>References</a:t>
            </a:r>
            <a:endParaRPr lang="en-US" sz="4400" b="1" i="1" dirty="0">
              <a:solidFill>
                <a:srgbClr val="CC0033"/>
              </a:solidFill>
              <a:latin typeface="+mj-lt"/>
              <a:cs typeface="Arial" panose="020B0604020202020204" pitchFamily="34" charset="0"/>
            </a:endParaRPr>
          </a:p>
        </p:txBody>
      </p:sp>
      <p:sp>
        <p:nvSpPr>
          <p:cNvPr id="5" name="textruta 4">
            <a:extLst>
              <a:ext uri="{FF2B5EF4-FFF2-40B4-BE49-F238E27FC236}">
                <a16:creationId xmlns:a16="http://schemas.microsoft.com/office/drawing/2014/main" id="{7192CFE2-8D8C-CC42-EE4F-E9E28B33EBD2}"/>
              </a:ext>
            </a:extLst>
          </p:cNvPr>
          <p:cNvSpPr txBox="1"/>
          <p:nvPr/>
        </p:nvSpPr>
        <p:spPr>
          <a:xfrm>
            <a:off x="914406" y="2055795"/>
            <a:ext cx="7641771" cy="6521657"/>
          </a:xfrm>
          <a:prstGeom prst="rect">
            <a:avLst/>
          </a:prstGeom>
          <a:noFill/>
        </p:spPr>
        <p:txBody>
          <a:bodyPr wrap="square">
            <a:spAutoFit/>
          </a:bodyPr>
          <a:lstStyle/>
          <a:p>
            <a:pPr marL="342900" lvl="0" indent="-342900" algn="just">
              <a:lnSpc>
                <a:spcPct val="125000"/>
              </a:lnSpc>
              <a:spcAft>
                <a:spcPts val="1200"/>
              </a:spcAft>
              <a:buFont typeface="+mj-lt"/>
              <a:buAutoNum type="arabicPeriod"/>
            </a:pPr>
            <a:r>
              <a:rPr lang="en-GB"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D2.1 - Report on RETROFEED industrial plant characterization. Author: Martina del Cerro (CIRCE) [Confidential]</a:t>
            </a:r>
            <a:endParaRPr lang="sv-SE"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endParaRPr>
          </a:p>
          <a:p>
            <a:pPr marL="342900" lvl="0" indent="-342900" algn="just">
              <a:lnSpc>
                <a:spcPct val="125000"/>
              </a:lnSpc>
              <a:spcAft>
                <a:spcPts val="1200"/>
              </a:spcAft>
              <a:buFont typeface="+mj-lt"/>
              <a:buAutoNum type="arabicPeriod"/>
            </a:pPr>
            <a:r>
              <a:rPr lang="en-GB"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D2.3 - Description and rationale of KRI and KPA. Authors: Sofia Klugman, Diego </a:t>
            </a:r>
            <a:r>
              <a:rPr lang="en-GB" sz="1800" dirty="0" err="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Peñaloza</a:t>
            </a:r>
            <a:r>
              <a:rPr lang="en-GB"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Christin </a:t>
            </a:r>
            <a:r>
              <a:rPr lang="en-GB" sz="1800" dirty="0" err="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Liptow</a:t>
            </a:r>
            <a:r>
              <a:rPr lang="en-GB"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and Tomas </a:t>
            </a:r>
            <a:r>
              <a:rPr lang="en-GB" sz="1800" dirty="0" err="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Ekvall</a:t>
            </a:r>
            <a:r>
              <a:rPr lang="en-GB"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IVL) [Public]</a:t>
            </a:r>
            <a:endParaRPr lang="sv-SE"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endParaRPr>
          </a:p>
          <a:p>
            <a:pPr marL="342900" lvl="0" indent="-342900" algn="just">
              <a:lnSpc>
                <a:spcPct val="125000"/>
              </a:lnSpc>
              <a:spcAft>
                <a:spcPts val="1200"/>
              </a:spcAft>
              <a:buFont typeface="+mj-lt"/>
              <a:buAutoNum type="arabicPeriod"/>
            </a:pPr>
            <a:r>
              <a:rPr lang="en-GB"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D2.4 - RETROFEED Baseline Scenario. Authors: Giorgio </a:t>
            </a:r>
            <a:r>
              <a:rPr lang="en-GB" sz="1800" dirty="0" err="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Bonvicini</a:t>
            </a:r>
            <a:r>
              <a:rPr lang="en-GB"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Sara Abd </a:t>
            </a:r>
            <a:r>
              <a:rPr lang="en-GB" sz="1800" dirty="0" err="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Alla</a:t>
            </a:r>
            <a:r>
              <a:rPr lang="en-GB"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and Iris </a:t>
            </a:r>
            <a:r>
              <a:rPr lang="en-GB" sz="1800" dirty="0" err="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Xhani</a:t>
            </a:r>
            <a:r>
              <a:rPr lang="en-GB"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RINA-C), Sofia Klugman, Diego </a:t>
            </a:r>
            <a:r>
              <a:rPr lang="en-GB" sz="1800" dirty="0" err="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Peñaloza</a:t>
            </a:r>
            <a:r>
              <a:rPr lang="en-GB"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and Yasna Acevedo (IVL) [Confidential]</a:t>
            </a:r>
            <a:endParaRPr lang="sv-SE"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endParaRPr>
          </a:p>
          <a:p>
            <a:pPr marL="342900" lvl="0" indent="-342900" algn="just">
              <a:lnSpc>
                <a:spcPct val="125000"/>
              </a:lnSpc>
              <a:spcAft>
                <a:spcPts val="1200"/>
              </a:spcAft>
              <a:buFont typeface="+mj-lt"/>
              <a:buAutoNum type="arabicPeriod"/>
            </a:pPr>
            <a:r>
              <a:rPr lang="en-GB"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D2.5 - Report on retrofitting drivers for the EU industry. Authors: Juergen </a:t>
            </a:r>
            <a:r>
              <a:rPr lang="en-GB" sz="1800" dirty="0" err="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Ritzek</a:t>
            </a:r>
            <a:r>
              <a:rPr lang="en-GB"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and Rod Janssen (EEIP) [Public]</a:t>
            </a:r>
            <a:endParaRPr lang="sv-SE"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endParaRPr>
          </a:p>
          <a:p>
            <a:pPr marL="342900" lvl="0" indent="-342900" algn="just">
              <a:lnSpc>
                <a:spcPct val="125000"/>
              </a:lnSpc>
              <a:spcAft>
                <a:spcPts val="1200"/>
              </a:spcAft>
              <a:buFont typeface="+mj-lt"/>
              <a:buAutoNum type="arabicPeriod"/>
            </a:pPr>
            <a:r>
              <a:rPr lang="en-GB"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D2.8 - Modelling specifications towards retrofitting. Author: Silvia </a:t>
            </a:r>
            <a:r>
              <a:rPr lang="en-GB" sz="1800" dirty="0" err="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Manara</a:t>
            </a:r>
            <a:r>
              <a:rPr lang="en-GB"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ODYS) [Confidential]</a:t>
            </a:r>
            <a:endParaRPr lang="sv-SE"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endParaRPr>
          </a:p>
          <a:p>
            <a:pPr marL="342900" lvl="0" indent="-342900" algn="just">
              <a:lnSpc>
                <a:spcPct val="125000"/>
              </a:lnSpc>
              <a:spcAft>
                <a:spcPts val="1200"/>
              </a:spcAft>
              <a:buFont typeface="+mj-lt"/>
              <a:buAutoNum type="arabicPeriod"/>
            </a:pPr>
            <a:r>
              <a:rPr lang="en-GB"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D4.6 - Final version of the RETROFEED solution. (Draft v.7 2023-09-11) Author: Angelo Gordini (OPTIT) [Confidential]</a:t>
            </a:r>
            <a:endParaRPr lang="sv-SE"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endParaRPr>
          </a:p>
          <a:p>
            <a:pPr marL="342900" lvl="0" indent="-342900" algn="just">
              <a:lnSpc>
                <a:spcPct val="125000"/>
              </a:lnSpc>
              <a:spcAft>
                <a:spcPts val="1200"/>
              </a:spcAft>
              <a:buFont typeface="+mj-lt"/>
              <a:buAutoNum type="arabicPeriod"/>
            </a:pPr>
            <a:r>
              <a:rPr lang="en-GB"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D7.6 - Preliminary results on the ASAS aluminium operation. (Draft 2023-09-08) Author: ASAS [Confidential]</a:t>
            </a:r>
            <a:endParaRPr lang="sv-SE"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6" name="textruta 5">
            <a:extLst>
              <a:ext uri="{FF2B5EF4-FFF2-40B4-BE49-F238E27FC236}">
                <a16:creationId xmlns:a16="http://schemas.microsoft.com/office/drawing/2014/main" id="{165BA3AE-A61F-61CE-AA7A-659F5BBCB859}"/>
              </a:ext>
            </a:extLst>
          </p:cNvPr>
          <p:cNvSpPr txBox="1"/>
          <p:nvPr/>
        </p:nvSpPr>
        <p:spPr>
          <a:xfrm>
            <a:off x="9519563" y="2055795"/>
            <a:ext cx="7641771" cy="4136389"/>
          </a:xfrm>
          <a:prstGeom prst="rect">
            <a:avLst/>
          </a:prstGeom>
          <a:noFill/>
        </p:spPr>
        <p:txBody>
          <a:bodyPr wrap="square">
            <a:spAutoFit/>
          </a:bodyPr>
          <a:lstStyle/>
          <a:p>
            <a:pPr marL="342900" lvl="0" indent="-342900" algn="just">
              <a:lnSpc>
                <a:spcPct val="125000"/>
              </a:lnSpc>
              <a:spcAft>
                <a:spcPts val="1200"/>
              </a:spcAft>
              <a:buFont typeface="+mj-lt"/>
              <a:buAutoNum type="arabicPeriod" startAt="8"/>
            </a:pPr>
            <a:r>
              <a:rPr lang="en-GB"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8. D9.3 - Results from the validation of the H2SO4 reactor prototype. Author:  Francisca Galindo (FERTIBERIA) [Confidential]</a:t>
            </a:r>
            <a:endParaRPr lang="sv-SE"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endParaRPr>
          </a:p>
          <a:p>
            <a:pPr marL="342900" lvl="0" indent="-342900" algn="just">
              <a:lnSpc>
                <a:spcPct val="125000"/>
              </a:lnSpc>
              <a:spcAft>
                <a:spcPts val="1200"/>
              </a:spcAft>
              <a:buFont typeface="+mj-lt"/>
              <a:buAutoNum type="arabicPeriod" startAt="8"/>
            </a:pPr>
            <a:r>
              <a:rPr lang="en-GB"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D10.2 – Best practices and lessons learnt from RETROFEED demonstration. (Draft 2023-09-18) Author: CIRCE [Public]</a:t>
            </a:r>
            <a:endParaRPr lang="sv-SE"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endParaRPr>
          </a:p>
          <a:p>
            <a:pPr marL="342900" lvl="0" indent="-342900" algn="just">
              <a:lnSpc>
                <a:spcPct val="125000"/>
              </a:lnSpc>
              <a:spcAft>
                <a:spcPts val="1200"/>
              </a:spcAft>
              <a:buFont typeface="+mj-lt"/>
              <a:buAutoNum type="arabicPeriod" startAt="8"/>
            </a:pPr>
            <a:r>
              <a:rPr lang="en-GB"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D10.3 – Report on the energy and environmental performance of the retrofitted processes. (Draft 2023-09-18) Author: IVL [Confidential]</a:t>
            </a:r>
            <a:endParaRPr lang="sv-SE"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endParaRPr>
          </a:p>
          <a:p>
            <a:pPr marL="342900" lvl="0" indent="-342900" algn="just">
              <a:lnSpc>
                <a:spcPct val="125000"/>
              </a:lnSpc>
              <a:spcAft>
                <a:spcPts val="1200"/>
              </a:spcAft>
              <a:buFont typeface="+mj-lt"/>
              <a:buAutoNum type="arabicPeriod" startAt="8"/>
            </a:pPr>
            <a:r>
              <a:rPr lang="en-GB"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D10.4 – Report of the cross-sectorial replication of RETROFEED technologies. (Draft 2023-09-18) Author: CIRCE [Public]</a:t>
            </a:r>
            <a:endParaRPr lang="sv-SE"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endParaRPr>
          </a:p>
          <a:p>
            <a:pPr marL="342900" lvl="0" indent="-342900" algn="just">
              <a:lnSpc>
                <a:spcPct val="125000"/>
              </a:lnSpc>
              <a:spcAft>
                <a:spcPts val="1200"/>
              </a:spcAft>
              <a:buFont typeface="+mj-lt"/>
              <a:buAutoNum type="arabicPeriod" startAt="8"/>
            </a:pPr>
            <a:r>
              <a:rPr lang="en-GB"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D11.7 - Definition of RETROFEED environmental framework. (Draft 2023-09-22). Author: CIRCE. [Public]</a:t>
            </a:r>
            <a:endParaRPr lang="sv-SE"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11" name="textruta 10">
            <a:extLst>
              <a:ext uri="{FF2B5EF4-FFF2-40B4-BE49-F238E27FC236}">
                <a16:creationId xmlns:a16="http://schemas.microsoft.com/office/drawing/2014/main" id="{FAEFA9E3-015A-2CC6-A96C-0DB50D04B509}"/>
              </a:ext>
            </a:extLst>
          </p:cNvPr>
          <p:cNvSpPr txBox="1"/>
          <p:nvPr/>
        </p:nvSpPr>
        <p:spPr>
          <a:xfrm>
            <a:off x="9731825" y="7533143"/>
            <a:ext cx="3592280" cy="461665"/>
          </a:xfrm>
          <a:prstGeom prst="rect">
            <a:avLst/>
          </a:prstGeom>
          <a:noFill/>
        </p:spPr>
        <p:txBody>
          <a:bodyPr wrap="square">
            <a:spAutoFit/>
          </a:bodyPr>
          <a:lstStyle/>
          <a:p>
            <a:r>
              <a:rPr lang="en-GB" sz="2400" dirty="0">
                <a:solidFill>
                  <a:schemeClr val="accent1"/>
                </a:solidFill>
                <a:hlinkClick r:id="rId6"/>
              </a:rPr>
              <a:t>https://retrofeed.eu</a:t>
            </a:r>
            <a:endParaRPr lang="en-GB" sz="2400" dirty="0">
              <a:solidFill>
                <a:schemeClr val="accent1"/>
              </a:solidFill>
            </a:endParaRPr>
          </a:p>
        </p:txBody>
      </p:sp>
    </p:spTree>
    <p:extLst>
      <p:ext uri="{BB962C8B-B14F-4D97-AF65-F5344CB8AC3E}">
        <p14:creationId xmlns:p14="http://schemas.microsoft.com/office/powerpoint/2010/main" val="71441948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6"/>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marL="0" marR="0" lvl="0" indent="0" algn="ctr" defTabSz="914400" rtl="0" eaLnBrk="1" fontAlgn="auto" latinLnBrk="0" hangingPunct="1">
                <a:lnSpc>
                  <a:spcPts val="3919"/>
                </a:lnSpc>
                <a:spcBef>
                  <a:spcPct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OCR A Extended" panose="02010509020102010303" pitchFamily="50" charset="0"/>
                  <a:ea typeface="+mn-ea"/>
                  <a:cs typeface="+mn-cs"/>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4"/>
          <a:srcRect/>
          <a:stretch>
            <a:fillRect/>
          </a:stretch>
        </p:blipFill>
        <p:spPr>
          <a:xfrm>
            <a:off x="0" y="9625294"/>
            <a:ext cx="2728686" cy="661706"/>
          </a:xfrm>
          <a:prstGeom prst="rect">
            <a:avLst/>
          </a:prstGeom>
        </p:spPr>
      </p:pic>
      <p:grpSp>
        <p:nvGrpSpPr>
          <p:cNvPr id="3" name="Gruppo 2">
            <a:extLst>
              <a:ext uri="{FF2B5EF4-FFF2-40B4-BE49-F238E27FC236}">
                <a16:creationId xmlns:a16="http://schemas.microsoft.com/office/drawing/2014/main" id="{1C29CBCA-BE0A-4EF6-AC69-329941E1DCFD}"/>
              </a:ext>
            </a:extLst>
          </p:cNvPr>
          <p:cNvGrpSpPr/>
          <p:nvPr/>
        </p:nvGrpSpPr>
        <p:grpSpPr>
          <a:xfrm>
            <a:off x="-12" y="138554"/>
            <a:ext cx="18288002" cy="681138"/>
            <a:chOff x="-12" y="138554"/>
            <a:chExt cx="18288002" cy="681138"/>
          </a:xfrm>
        </p:grpSpPr>
        <p:grpSp>
          <p:nvGrpSpPr>
            <p:cNvPr id="2" name="Gruppo 1">
              <a:extLst>
                <a:ext uri="{FF2B5EF4-FFF2-40B4-BE49-F238E27FC236}">
                  <a16:creationId xmlns:a16="http://schemas.microsoft.com/office/drawing/2014/main" id="{24E9C7AF-0093-476F-826C-A2702AB72892}"/>
                </a:ext>
              </a:extLst>
            </p:cNvPr>
            <p:cNvGrpSpPr/>
            <p:nvPr/>
          </p:nvGrpSpPr>
          <p:grpSpPr>
            <a:xfrm>
              <a:off x="0" y="153125"/>
              <a:ext cx="17907000" cy="666567"/>
              <a:chOff x="0" y="153125"/>
              <a:chExt cx="17907000" cy="666567"/>
            </a:xfrm>
          </p:grpSpPr>
          <p:grpSp>
            <p:nvGrpSpPr>
              <p:cNvPr id="16" name="Gruppo 15">
                <a:extLst>
                  <a:ext uri="{FF2B5EF4-FFF2-40B4-BE49-F238E27FC236}">
                    <a16:creationId xmlns:a16="http://schemas.microsoft.com/office/drawing/2014/main" id="{DAC42A46-917D-41AB-8F07-E15E54D0F7D4}"/>
                  </a:ext>
                </a:extLst>
              </p:cNvPr>
              <p:cNvGrpSpPr/>
              <p:nvPr/>
            </p:nvGrpSpPr>
            <p:grpSpPr>
              <a:xfrm>
                <a:off x="0" y="153125"/>
                <a:ext cx="13958844" cy="666567"/>
                <a:chOff x="0" y="153125"/>
                <a:chExt cx="13958844" cy="666567"/>
              </a:xfrm>
            </p:grpSpPr>
            <p:pic>
              <p:nvPicPr>
                <p:cNvPr id="10" name="Picture 10"/>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1" name="TextBox 11"/>
                <p:cNvSpPr txBox="1"/>
                <p:nvPr/>
              </p:nvSpPr>
              <p:spPr>
                <a:xfrm>
                  <a:off x="228600" y="257980"/>
                  <a:ext cx="9296400" cy="456856"/>
                </a:xfrm>
                <a:prstGeom prst="rect">
                  <a:avLst/>
                </a:prstGeom>
              </p:spPr>
              <p:txBody>
                <a:bodyPr wrap="square" lIns="0" tIns="0" rIns="0" bIns="0" rtlCol="0" anchor="t">
                  <a:spAutoFit/>
                </a:bodyPr>
                <a:lstStyle/>
                <a:p>
                  <a:pPr marL="0" marR="0" lvl="0" indent="0" algn="l" defTabSz="914400" rtl="0" eaLnBrk="1" fontAlgn="auto" latinLnBrk="0" hangingPunct="1">
                    <a:lnSpc>
                      <a:spcPts val="3919"/>
                    </a:lnSpc>
                    <a:spcBef>
                      <a:spcPct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2" name="TextBox 11">
                <a:extLst>
                  <a:ext uri="{FF2B5EF4-FFF2-40B4-BE49-F238E27FC236}">
                    <a16:creationId xmlns:a16="http://schemas.microsoft.com/office/drawing/2014/main" id="{1BD9B5F4-614C-4EB6-8C5B-120A5420CE43}"/>
                  </a:ext>
                </a:extLst>
              </p:cNvPr>
              <p:cNvSpPr txBox="1"/>
              <p:nvPr/>
            </p:nvSpPr>
            <p:spPr>
              <a:xfrm>
                <a:off x="12154296" y="257980"/>
                <a:ext cx="5752704" cy="456856"/>
              </a:xfrm>
              <a:prstGeom prst="rect">
                <a:avLst/>
              </a:prstGeom>
            </p:spPr>
            <p:txBody>
              <a:bodyPr wrap="square" lIns="0" tIns="0" rIns="0" bIns="0" rtlCol="0" anchor="t">
                <a:spAutoFit/>
              </a:bodyPr>
              <a:lstStyle/>
              <a:p>
                <a:pPr marL="0" marR="0" lvl="0" indent="0" algn="r" defTabSz="914400" rtl="0" eaLnBrk="1" fontAlgn="auto" latinLnBrk="0" hangingPunct="1">
                  <a:lnSpc>
                    <a:spcPts val="3919"/>
                  </a:lnSpc>
                  <a:spcBef>
                    <a:spcPct val="0"/>
                  </a:spcBef>
                  <a:spcAft>
                    <a:spcPts val="0"/>
                  </a:spcAft>
                  <a:buClrTx/>
                  <a:buSzTx/>
                  <a:buFontTx/>
                  <a:buNone/>
                  <a:tabLst/>
                  <a:defRPr/>
                </a:pPr>
                <a:endParaRPr kumimoji="0" lang="en-US" sz="2800" b="0" i="0" u="none" strike="noStrike" kern="1200" cap="none" spc="0" normalizeH="0" baseline="0" noProof="0">
                  <a:ln>
                    <a:noFill/>
                  </a:ln>
                  <a:solidFill>
                    <a:srgbClr val="2F2F2F">
                      <a:lumMod val="75000"/>
                      <a:lumOff val="25000"/>
                    </a:srgbClr>
                  </a:solidFill>
                  <a:effectLst/>
                  <a:uLnTx/>
                  <a:uFillTx/>
                  <a:latin typeface="Arial" panose="020B0604020202020204" pitchFamily="34" charset="0"/>
                  <a:ea typeface="+mn-ea"/>
                  <a:cs typeface="Arial" panose="020B0604020202020204" pitchFamily="34" charset="0"/>
                </a:endParaRPr>
              </a:p>
            </p:txBody>
          </p:sp>
        </p:grpSp>
        <p:sp>
          <p:nvSpPr>
            <p:cNvPr id="14" name="Rettangolo 13">
              <a:extLst>
                <a:ext uri="{FF2B5EF4-FFF2-40B4-BE49-F238E27FC236}">
                  <a16:creationId xmlns:a16="http://schemas.microsoft.com/office/drawing/2014/main" id="{55199736-B8B6-4C9A-8BAF-233E07A0CA89}"/>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3" name="TextBox 13"/>
          <p:cNvSpPr txBox="1"/>
          <p:nvPr/>
        </p:nvSpPr>
        <p:spPr>
          <a:xfrm>
            <a:off x="841829" y="1004417"/>
            <a:ext cx="16410214" cy="1052468"/>
          </a:xfrm>
          <a:prstGeom prst="rect">
            <a:avLst/>
          </a:prstGeom>
        </p:spPr>
        <p:txBody>
          <a:bodyPr wrap="square" lIns="0" tIns="0" rIns="0" bIns="0" rtlCol="0" anchor="t">
            <a:spAutoFit/>
          </a:bodyPr>
          <a:lstStyle/>
          <a:p>
            <a:pPr marL="0" marR="0" lvl="0" indent="0" algn="ctr" defTabSz="914400" rtl="0" eaLnBrk="1" fontAlgn="auto" latinLnBrk="0" hangingPunct="1">
              <a:lnSpc>
                <a:spcPts val="8960"/>
              </a:lnSpc>
              <a:spcBef>
                <a:spcPct val="0"/>
              </a:spcBef>
              <a:spcAft>
                <a:spcPts val="0"/>
              </a:spcAft>
              <a:buClrTx/>
              <a:buSzTx/>
              <a:buFontTx/>
              <a:buNone/>
              <a:tabLst/>
              <a:defRPr/>
            </a:pPr>
            <a:r>
              <a:rPr kumimoji="0" lang="en-US" sz="6400" b="1" i="0" u="none" strike="noStrike" kern="1200" cap="none" spc="0" normalizeH="0" baseline="0" noProof="0">
                <a:ln>
                  <a:noFill/>
                </a:ln>
                <a:solidFill>
                  <a:srgbClr val="CC0033"/>
                </a:solidFill>
                <a:effectLst/>
                <a:uLnTx/>
                <a:uFillTx/>
                <a:latin typeface="Arial"/>
                <a:ea typeface="+mn-ea"/>
                <a:cs typeface="Arial" panose="020B0604020202020204" pitchFamily="34" charset="0"/>
              </a:rPr>
              <a:t>Introducing the Demo-Sites</a:t>
            </a:r>
          </a:p>
        </p:txBody>
      </p:sp>
      <p:sp>
        <p:nvSpPr>
          <p:cNvPr id="22" name="TextBox 21">
            <a:extLst>
              <a:ext uri="{FF2B5EF4-FFF2-40B4-BE49-F238E27FC236}">
                <a16:creationId xmlns:a16="http://schemas.microsoft.com/office/drawing/2014/main" id="{F21DCD0B-B68A-4D7A-9F6C-6D71442D13F2}"/>
              </a:ext>
            </a:extLst>
          </p:cNvPr>
          <p:cNvSpPr txBox="1"/>
          <p:nvPr/>
        </p:nvSpPr>
        <p:spPr>
          <a:xfrm>
            <a:off x="514542" y="2259671"/>
            <a:ext cx="17286515" cy="728341"/>
          </a:xfrm>
          <a:prstGeom prst="rect">
            <a:avLst/>
          </a:prstGeom>
        </p:spPr>
        <p:txBody>
          <a:bodyPr wrap="square" lIns="0" tIns="0" rIns="0" bIns="0" rtlCol="0" anchor="t">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sv-SE" sz="3600" b="0" i="0" u="none" strike="noStrike" kern="100" cap="none" spc="0" normalizeH="0" baseline="0" noProof="0" err="1">
                <a:ln>
                  <a:noFill/>
                </a:ln>
                <a:solidFill>
                  <a:srgbClr val="404040"/>
                </a:solidFill>
                <a:effectLst/>
                <a:uLnTx/>
                <a:uFillTx/>
                <a:latin typeface="Arial"/>
                <a:ea typeface="+mn-ea"/>
                <a:cs typeface="+mn-cs"/>
              </a:rPr>
              <a:t>There</a:t>
            </a:r>
            <a:r>
              <a:rPr kumimoji="0" lang="sv-SE" sz="3600" b="0" i="0" u="none" strike="noStrike" kern="100" cap="none" spc="0" normalizeH="0" baseline="0" noProof="0">
                <a:ln>
                  <a:noFill/>
                </a:ln>
                <a:solidFill>
                  <a:srgbClr val="404040"/>
                </a:solidFill>
                <a:effectLst/>
                <a:uLnTx/>
                <a:uFillTx/>
                <a:latin typeface="Arial"/>
                <a:ea typeface="+mn-ea"/>
                <a:cs typeface="+mn-cs"/>
              </a:rPr>
              <a:t> </a:t>
            </a:r>
            <a:r>
              <a:rPr kumimoji="0" lang="sv-SE" sz="3600" b="0" i="0" u="none" strike="noStrike" kern="100" cap="none" spc="0" normalizeH="0" baseline="0" noProof="0" err="1">
                <a:ln>
                  <a:noFill/>
                </a:ln>
                <a:solidFill>
                  <a:srgbClr val="404040"/>
                </a:solidFill>
                <a:effectLst/>
                <a:uLnTx/>
                <a:uFillTx/>
                <a:latin typeface="Arial"/>
                <a:ea typeface="+mn-ea"/>
                <a:cs typeface="+mn-cs"/>
              </a:rPr>
              <a:t>are</a:t>
            </a:r>
            <a:r>
              <a:rPr kumimoji="0" lang="sv-SE" sz="3600" b="0" i="0" u="none" strike="noStrike" kern="100" cap="none" spc="0" normalizeH="0" baseline="0" noProof="0">
                <a:ln>
                  <a:noFill/>
                </a:ln>
                <a:solidFill>
                  <a:srgbClr val="404040"/>
                </a:solidFill>
                <a:effectLst/>
                <a:uLnTx/>
                <a:uFillTx/>
                <a:latin typeface="Arial"/>
                <a:ea typeface="+mn-ea"/>
                <a:cs typeface="+mn-cs"/>
              </a:rPr>
              <a:t> </a:t>
            </a:r>
            <a:r>
              <a:rPr kumimoji="0" lang="sv-SE" sz="3600" b="0" i="0" u="none" strike="noStrike" kern="100" cap="none" spc="0" normalizeH="0" baseline="0" noProof="0" err="1">
                <a:ln>
                  <a:noFill/>
                </a:ln>
                <a:solidFill>
                  <a:srgbClr val="404040"/>
                </a:solidFill>
                <a:effectLst/>
                <a:uLnTx/>
                <a:uFillTx/>
                <a:latin typeface="Arial"/>
                <a:ea typeface="+mn-ea"/>
                <a:cs typeface="+mn-cs"/>
              </a:rPr>
              <a:t>six</a:t>
            </a:r>
            <a:r>
              <a:rPr kumimoji="0" lang="sv-SE" sz="3600" b="0" i="0" u="none" strike="noStrike" kern="100" cap="none" spc="0" normalizeH="0" baseline="0" noProof="0">
                <a:ln>
                  <a:noFill/>
                </a:ln>
                <a:solidFill>
                  <a:srgbClr val="404040"/>
                </a:solidFill>
                <a:effectLst/>
                <a:uLnTx/>
                <a:uFillTx/>
                <a:latin typeface="Arial"/>
                <a:ea typeface="+mn-ea"/>
                <a:cs typeface="+mn-cs"/>
              </a:rPr>
              <a:t> demo-sites in the RETROFEED </a:t>
            </a:r>
            <a:r>
              <a:rPr kumimoji="0" lang="sv-SE" sz="3600" b="0" i="0" u="none" strike="noStrike" kern="100" cap="none" spc="0" normalizeH="0" baseline="0" noProof="0" err="1">
                <a:ln>
                  <a:noFill/>
                </a:ln>
                <a:solidFill>
                  <a:srgbClr val="404040"/>
                </a:solidFill>
                <a:effectLst/>
                <a:uLnTx/>
                <a:uFillTx/>
                <a:latin typeface="Arial"/>
                <a:ea typeface="+mn-ea"/>
                <a:cs typeface="+mn-cs"/>
              </a:rPr>
              <a:t>project</a:t>
            </a:r>
            <a:r>
              <a:rPr kumimoji="0" lang="sv-SE" sz="3600" b="0" i="0" u="none" strike="noStrike" kern="100" cap="none" spc="0" normalizeH="0" baseline="0" noProof="0">
                <a:ln>
                  <a:noFill/>
                </a:ln>
                <a:solidFill>
                  <a:srgbClr val="404040"/>
                </a:solidFill>
                <a:effectLst/>
                <a:uLnTx/>
                <a:uFillTx/>
                <a:latin typeface="Arial"/>
                <a:ea typeface="+mn-ea"/>
                <a:cs typeface="+mn-cs"/>
              </a:rPr>
              <a:t>. </a:t>
            </a:r>
          </a:p>
        </p:txBody>
      </p:sp>
      <p:grpSp>
        <p:nvGrpSpPr>
          <p:cNvPr id="5" name="Group 4">
            <a:extLst>
              <a:ext uri="{FF2B5EF4-FFF2-40B4-BE49-F238E27FC236}">
                <a16:creationId xmlns:a16="http://schemas.microsoft.com/office/drawing/2014/main" id="{7EF906F1-52CE-E0BA-6C97-42ED49B4E1CC}"/>
              </a:ext>
            </a:extLst>
          </p:cNvPr>
          <p:cNvGrpSpPr/>
          <p:nvPr/>
        </p:nvGrpSpPr>
        <p:grpSpPr>
          <a:xfrm>
            <a:off x="3508287" y="3585391"/>
            <a:ext cx="11299023" cy="5626122"/>
            <a:chOff x="6134034" y="3999172"/>
            <a:chExt cx="11299023" cy="5626122"/>
          </a:xfrm>
        </p:grpSpPr>
        <p:grpSp>
          <p:nvGrpSpPr>
            <p:cNvPr id="4" name="Group 3">
              <a:extLst>
                <a:ext uri="{FF2B5EF4-FFF2-40B4-BE49-F238E27FC236}">
                  <a16:creationId xmlns:a16="http://schemas.microsoft.com/office/drawing/2014/main" id="{A5EE261D-EF9D-4194-AA66-6DFF1D15DF71}"/>
                </a:ext>
              </a:extLst>
            </p:cNvPr>
            <p:cNvGrpSpPr/>
            <p:nvPr/>
          </p:nvGrpSpPr>
          <p:grpSpPr>
            <a:xfrm>
              <a:off x="6134034" y="3999172"/>
              <a:ext cx="11299023" cy="5626122"/>
              <a:chOff x="669471" y="2139840"/>
              <a:chExt cx="15090544" cy="7005859"/>
            </a:xfrm>
          </p:grpSpPr>
          <p:pic>
            <p:nvPicPr>
              <p:cNvPr id="23" name="Picture 20">
                <a:extLst>
                  <a:ext uri="{FF2B5EF4-FFF2-40B4-BE49-F238E27FC236}">
                    <a16:creationId xmlns:a16="http://schemas.microsoft.com/office/drawing/2014/main" id="{99DF4058-CDED-4867-B2B8-C15C951FFFB8}"/>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47101"/>
              <a:stretch/>
            </p:blipFill>
            <p:spPr bwMode="auto">
              <a:xfrm>
                <a:off x="2181496" y="2139840"/>
                <a:ext cx="12956904" cy="7005859"/>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8" descr="RETROFEED FERTIBERIA">
                <a:hlinkClick r:id="rId7" action="ppaction://hlinksldjump"/>
                <a:extLst>
                  <a:ext uri="{FF2B5EF4-FFF2-40B4-BE49-F238E27FC236}">
                    <a16:creationId xmlns:a16="http://schemas.microsoft.com/office/drawing/2014/main" id="{1002CEBE-D433-4FFA-9AE3-984242D3224C}"/>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665679" y="7946283"/>
                <a:ext cx="1823468" cy="671036"/>
              </a:xfrm>
              <a:prstGeom prst="rect">
                <a:avLst/>
              </a:prstGeom>
              <a:noFill/>
              <a:extLst>
                <a:ext uri="{909E8E84-426E-40DD-AFC4-6F175D3DCCD1}">
                  <a14:hiddenFill xmlns:a14="http://schemas.microsoft.com/office/drawing/2010/main">
                    <a:solidFill>
                      <a:srgbClr val="FFFFFF"/>
                    </a:solidFill>
                  </a14:hiddenFill>
                </a:ext>
              </a:extLst>
            </p:spPr>
          </p:pic>
          <p:sp>
            <p:nvSpPr>
              <p:cNvPr id="25" name="TextBox 24">
                <a:extLst>
                  <a:ext uri="{FF2B5EF4-FFF2-40B4-BE49-F238E27FC236}">
                    <a16:creationId xmlns:a16="http://schemas.microsoft.com/office/drawing/2014/main" id="{7F561E58-2A64-49D8-9A05-CB002FDA8078}"/>
                  </a:ext>
                </a:extLst>
              </p:cNvPr>
              <p:cNvSpPr txBox="1"/>
              <p:nvPr/>
            </p:nvSpPr>
            <p:spPr>
              <a:xfrm>
                <a:off x="1559879" y="8618148"/>
                <a:ext cx="3129587" cy="40241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500" b="1" i="0" u="none" strike="noStrike" kern="1200" cap="none" spc="0" normalizeH="0" baseline="0" noProof="0" err="1">
                    <a:ln>
                      <a:noFill/>
                    </a:ln>
                    <a:solidFill>
                      <a:srgbClr val="CC0033"/>
                    </a:solidFill>
                    <a:effectLst/>
                    <a:uLnTx/>
                    <a:uFillTx/>
                    <a:latin typeface="Arial"/>
                    <a:ea typeface="+mn-ea"/>
                    <a:cs typeface="Arial" panose="020B0604020202020204" pitchFamily="34" charset="0"/>
                  </a:rPr>
                  <a:t>Agrochemical</a:t>
                </a:r>
                <a:r>
                  <a:rPr kumimoji="0" lang="sv-SE" sz="1500" b="0" i="0" u="none" strike="noStrike" kern="1200" cap="none" spc="0" normalizeH="0" baseline="0" noProof="0">
                    <a:ln>
                      <a:noFill/>
                    </a:ln>
                    <a:solidFill>
                      <a:srgbClr val="2F2F2F"/>
                    </a:solidFill>
                    <a:effectLst/>
                    <a:uLnTx/>
                    <a:uFillTx/>
                    <a:latin typeface="Arial"/>
                    <a:ea typeface="+mn-ea"/>
                    <a:cs typeface="+mn-cs"/>
                  </a:rPr>
                  <a:t> </a:t>
                </a:r>
                <a:r>
                  <a:rPr kumimoji="0" lang="sv-SE" sz="1500" b="1" i="0" u="none" strike="noStrike" kern="1200" cap="none" spc="0" normalizeH="0" baseline="0" noProof="0" err="1">
                    <a:ln>
                      <a:noFill/>
                    </a:ln>
                    <a:solidFill>
                      <a:srgbClr val="CC0033"/>
                    </a:solidFill>
                    <a:effectLst/>
                    <a:uLnTx/>
                    <a:uFillTx/>
                    <a:latin typeface="Arial"/>
                    <a:ea typeface="+mn-ea"/>
                    <a:cs typeface="Arial" panose="020B0604020202020204" pitchFamily="34" charset="0"/>
                  </a:rPr>
                  <a:t>sector</a:t>
                </a:r>
                <a:endParaRPr kumimoji="0" lang="sv-SE" sz="1500" b="1" i="0" u="none" strike="noStrike" kern="1200" cap="none" spc="0" normalizeH="0" baseline="0" noProof="0">
                  <a:ln>
                    <a:noFill/>
                  </a:ln>
                  <a:solidFill>
                    <a:srgbClr val="CC0033"/>
                  </a:solidFill>
                  <a:effectLst/>
                  <a:uLnTx/>
                  <a:uFillTx/>
                  <a:latin typeface="Arial"/>
                  <a:ea typeface="+mn-ea"/>
                  <a:cs typeface="Arial" panose="020B0604020202020204" pitchFamily="34" charset="0"/>
                </a:endParaRPr>
              </a:p>
            </p:txBody>
          </p:sp>
          <p:pic>
            <p:nvPicPr>
              <p:cNvPr id="26" name="Picture 10" descr="RETROFEED ASAS">
                <a:hlinkClick r:id="rId9" action="ppaction://hlinksldjump"/>
                <a:extLst>
                  <a:ext uri="{FF2B5EF4-FFF2-40B4-BE49-F238E27FC236}">
                    <a16:creationId xmlns:a16="http://schemas.microsoft.com/office/drawing/2014/main" id="{12ABBCAC-8BEE-4C94-9297-E02C78835024}"/>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2727716" y="6536299"/>
                <a:ext cx="1672313" cy="433756"/>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12" descr="RETROFEED SECIL">
                <a:hlinkClick r:id="rId11" action="ppaction://hlinksldjump"/>
                <a:extLst>
                  <a:ext uri="{FF2B5EF4-FFF2-40B4-BE49-F238E27FC236}">
                    <a16:creationId xmlns:a16="http://schemas.microsoft.com/office/drawing/2014/main" id="{91F755C4-012B-4A31-9DA4-976985A15B36}"/>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559880" y="5685605"/>
                <a:ext cx="1230687" cy="1181462"/>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16" descr="RETROFEED PITTINI">
                <a:hlinkClick r:id="rId13" action="ppaction://hlinksldjump"/>
                <a:extLst>
                  <a:ext uri="{FF2B5EF4-FFF2-40B4-BE49-F238E27FC236}">
                    <a16:creationId xmlns:a16="http://schemas.microsoft.com/office/drawing/2014/main" id="{E381EDA1-9AD8-4DA9-8693-31C9F6D7DD53}"/>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6226629" y="5318034"/>
                <a:ext cx="2195285" cy="390484"/>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18">
                <a:hlinkClick r:id="rId15" action="ppaction://hlinksldjump"/>
                <a:extLst>
                  <a:ext uri="{FF2B5EF4-FFF2-40B4-BE49-F238E27FC236}">
                    <a16:creationId xmlns:a16="http://schemas.microsoft.com/office/drawing/2014/main" id="{630079F5-D793-4F4D-8513-85478AC69298}"/>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11892448" y="4572108"/>
                <a:ext cx="3342848" cy="457029"/>
              </a:xfrm>
              <a:prstGeom prst="rect">
                <a:avLst/>
              </a:prstGeom>
              <a:noFill/>
              <a:extLst>
                <a:ext uri="{909E8E84-426E-40DD-AFC4-6F175D3DCCD1}">
                  <a14:hiddenFill xmlns:a14="http://schemas.microsoft.com/office/drawing/2010/main">
                    <a:solidFill>
                      <a:srgbClr val="FFFFFF"/>
                    </a:solidFill>
                  </a14:hiddenFill>
                </a:ext>
              </a:extLst>
            </p:spPr>
          </p:pic>
          <p:sp>
            <p:nvSpPr>
              <p:cNvPr id="31" name="TextBox 30">
                <a:extLst>
                  <a:ext uri="{FF2B5EF4-FFF2-40B4-BE49-F238E27FC236}">
                    <a16:creationId xmlns:a16="http://schemas.microsoft.com/office/drawing/2014/main" id="{CAB8FA64-B6B6-4947-8940-438BC43FC41D}"/>
                  </a:ext>
                </a:extLst>
              </p:cNvPr>
              <p:cNvSpPr txBox="1"/>
              <p:nvPr/>
            </p:nvSpPr>
            <p:spPr>
              <a:xfrm>
                <a:off x="669471" y="6826867"/>
                <a:ext cx="2188029" cy="3231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500" b="1" i="0" u="none" strike="noStrike" kern="1200" cap="none" spc="0" normalizeH="0" baseline="0" noProof="0">
                    <a:ln>
                      <a:noFill/>
                    </a:ln>
                    <a:solidFill>
                      <a:srgbClr val="CC0033"/>
                    </a:solidFill>
                    <a:effectLst/>
                    <a:uLnTx/>
                    <a:uFillTx/>
                    <a:latin typeface="Arial"/>
                    <a:ea typeface="+mn-ea"/>
                    <a:cs typeface="Arial" panose="020B0604020202020204" pitchFamily="34" charset="0"/>
                  </a:rPr>
                  <a:t>Cement</a:t>
                </a:r>
                <a:r>
                  <a:rPr kumimoji="0" lang="sv-SE" sz="1500" b="0" i="0" u="none" strike="noStrike" kern="1200" cap="none" spc="0" normalizeH="0" baseline="0" noProof="0">
                    <a:ln>
                      <a:noFill/>
                    </a:ln>
                    <a:solidFill>
                      <a:srgbClr val="2F2F2F"/>
                    </a:solidFill>
                    <a:effectLst/>
                    <a:uLnTx/>
                    <a:uFillTx/>
                    <a:latin typeface="Arial"/>
                    <a:ea typeface="+mn-ea"/>
                    <a:cs typeface="+mn-cs"/>
                  </a:rPr>
                  <a:t> </a:t>
                </a:r>
                <a:r>
                  <a:rPr kumimoji="0" lang="sv-SE" sz="1500" b="1" i="0" u="none" strike="noStrike" kern="1200" cap="none" spc="0" normalizeH="0" baseline="0" noProof="0" err="1">
                    <a:ln>
                      <a:noFill/>
                    </a:ln>
                    <a:solidFill>
                      <a:srgbClr val="CC0033"/>
                    </a:solidFill>
                    <a:effectLst/>
                    <a:uLnTx/>
                    <a:uFillTx/>
                    <a:latin typeface="Arial"/>
                    <a:ea typeface="+mn-ea"/>
                    <a:cs typeface="Arial" panose="020B0604020202020204" pitchFamily="34" charset="0"/>
                  </a:rPr>
                  <a:t>sector</a:t>
                </a:r>
                <a:endParaRPr kumimoji="0" lang="sv-SE" sz="1500" b="1" i="0" u="none" strike="noStrike" kern="1200" cap="none" spc="0" normalizeH="0" baseline="0" noProof="0">
                  <a:ln>
                    <a:noFill/>
                  </a:ln>
                  <a:solidFill>
                    <a:srgbClr val="CC0033"/>
                  </a:solidFill>
                  <a:effectLst/>
                  <a:uLnTx/>
                  <a:uFillTx/>
                  <a:latin typeface="Arial"/>
                  <a:ea typeface="+mn-ea"/>
                  <a:cs typeface="Arial" panose="020B0604020202020204" pitchFamily="34" charset="0"/>
                </a:endParaRPr>
              </a:p>
            </p:txBody>
          </p:sp>
          <p:sp>
            <p:nvSpPr>
              <p:cNvPr id="32" name="TextBox 31">
                <a:extLst>
                  <a:ext uri="{FF2B5EF4-FFF2-40B4-BE49-F238E27FC236}">
                    <a16:creationId xmlns:a16="http://schemas.microsoft.com/office/drawing/2014/main" id="{20352F41-7233-44F9-9D52-C71B4F491FA7}"/>
                  </a:ext>
                </a:extLst>
              </p:cNvPr>
              <p:cNvSpPr txBox="1"/>
              <p:nvPr/>
            </p:nvSpPr>
            <p:spPr>
              <a:xfrm>
                <a:off x="6955960" y="5719219"/>
                <a:ext cx="2188029" cy="3231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500" b="1" i="0" u="none" strike="noStrike" kern="1200" cap="none" spc="0" normalizeH="0" baseline="0" noProof="0">
                    <a:ln>
                      <a:noFill/>
                    </a:ln>
                    <a:solidFill>
                      <a:srgbClr val="CC0033"/>
                    </a:solidFill>
                    <a:effectLst/>
                    <a:uLnTx/>
                    <a:uFillTx/>
                    <a:latin typeface="Arial"/>
                    <a:ea typeface="+mn-ea"/>
                    <a:cs typeface="Arial" panose="020B0604020202020204" pitchFamily="34" charset="0"/>
                  </a:rPr>
                  <a:t>Steel</a:t>
                </a:r>
                <a:r>
                  <a:rPr kumimoji="0" lang="sv-SE" sz="1500" b="0" i="0" u="none" strike="noStrike" kern="1200" cap="none" spc="0" normalizeH="0" baseline="0" noProof="0">
                    <a:ln>
                      <a:noFill/>
                    </a:ln>
                    <a:solidFill>
                      <a:srgbClr val="2F2F2F"/>
                    </a:solidFill>
                    <a:effectLst/>
                    <a:uLnTx/>
                    <a:uFillTx/>
                    <a:latin typeface="Arial"/>
                    <a:ea typeface="+mn-ea"/>
                    <a:cs typeface="+mn-cs"/>
                  </a:rPr>
                  <a:t> </a:t>
                </a:r>
                <a:r>
                  <a:rPr kumimoji="0" lang="sv-SE" sz="1500" b="1" i="0" u="none" strike="noStrike" kern="1200" cap="none" spc="0" normalizeH="0" baseline="0" noProof="0" err="1">
                    <a:ln>
                      <a:noFill/>
                    </a:ln>
                    <a:solidFill>
                      <a:srgbClr val="CC0033"/>
                    </a:solidFill>
                    <a:effectLst/>
                    <a:uLnTx/>
                    <a:uFillTx/>
                    <a:latin typeface="Arial"/>
                    <a:ea typeface="+mn-ea"/>
                    <a:cs typeface="Arial" panose="020B0604020202020204" pitchFamily="34" charset="0"/>
                  </a:rPr>
                  <a:t>sector</a:t>
                </a:r>
                <a:endParaRPr kumimoji="0" lang="sv-SE" sz="1500" b="1" i="0" u="none" strike="noStrike" kern="1200" cap="none" spc="0" normalizeH="0" baseline="0" noProof="0">
                  <a:ln>
                    <a:noFill/>
                  </a:ln>
                  <a:solidFill>
                    <a:srgbClr val="CC0033"/>
                  </a:solidFill>
                  <a:effectLst/>
                  <a:uLnTx/>
                  <a:uFillTx/>
                  <a:latin typeface="Arial"/>
                  <a:ea typeface="+mn-ea"/>
                  <a:cs typeface="Arial" panose="020B0604020202020204" pitchFamily="34" charset="0"/>
                </a:endParaRPr>
              </a:p>
            </p:txBody>
          </p:sp>
          <p:sp>
            <p:nvSpPr>
              <p:cNvPr id="33" name="TextBox 32">
                <a:extLst>
                  <a:ext uri="{FF2B5EF4-FFF2-40B4-BE49-F238E27FC236}">
                    <a16:creationId xmlns:a16="http://schemas.microsoft.com/office/drawing/2014/main" id="{BF26F0FC-4203-43BB-BD9A-3605261281B2}"/>
                  </a:ext>
                </a:extLst>
              </p:cNvPr>
              <p:cNvSpPr txBox="1"/>
              <p:nvPr/>
            </p:nvSpPr>
            <p:spPr>
              <a:xfrm>
                <a:off x="5269934" y="6710679"/>
                <a:ext cx="2188029" cy="3231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500" b="1" i="0" u="none" strike="noStrike" kern="1200" cap="none" spc="0" normalizeH="0" baseline="0" noProof="0" err="1">
                    <a:ln>
                      <a:noFill/>
                    </a:ln>
                    <a:solidFill>
                      <a:srgbClr val="CC0033"/>
                    </a:solidFill>
                    <a:effectLst/>
                    <a:uLnTx/>
                    <a:uFillTx/>
                    <a:latin typeface="Arial"/>
                    <a:ea typeface="+mn-ea"/>
                    <a:cs typeface="Arial" panose="020B0604020202020204" pitchFamily="34" charset="0"/>
                  </a:rPr>
                  <a:t>Ceramic</a:t>
                </a:r>
                <a:r>
                  <a:rPr kumimoji="0" lang="sv-SE" sz="1500" b="0" i="0" u="none" strike="noStrike" kern="1200" cap="none" spc="0" normalizeH="0" baseline="0" noProof="0">
                    <a:ln>
                      <a:noFill/>
                    </a:ln>
                    <a:solidFill>
                      <a:srgbClr val="2F2F2F"/>
                    </a:solidFill>
                    <a:effectLst/>
                    <a:uLnTx/>
                    <a:uFillTx/>
                    <a:latin typeface="Arial"/>
                    <a:ea typeface="+mn-ea"/>
                    <a:cs typeface="+mn-cs"/>
                  </a:rPr>
                  <a:t> </a:t>
                </a:r>
                <a:r>
                  <a:rPr kumimoji="0" lang="sv-SE" sz="1500" b="1" i="0" u="none" strike="noStrike" kern="1200" cap="none" spc="0" normalizeH="0" baseline="0" noProof="0" err="1">
                    <a:ln>
                      <a:noFill/>
                    </a:ln>
                    <a:solidFill>
                      <a:srgbClr val="CC0033"/>
                    </a:solidFill>
                    <a:effectLst/>
                    <a:uLnTx/>
                    <a:uFillTx/>
                    <a:latin typeface="Arial"/>
                    <a:ea typeface="+mn-ea"/>
                    <a:cs typeface="Arial" panose="020B0604020202020204" pitchFamily="34" charset="0"/>
                  </a:rPr>
                  <a:t>sector</a:t>
                </a:r>
                <a:endParaRPr kumimoji="0" lang="sv-SE" sz="1500" b="1" i="0" u="none" strike="noStrike" kern="1200" cap="none" spc="0" normalizeH="0" baseline="0" noProof="0">
                  <a:ln>
                    <a:noFill/>
                  </a:ln>
                  <a:solidFill>
                    <a:srgbClr val="CC0033"/>
                  </a:solidFill>
                  <a:effectLst/>
                  <a:uLnTx/>
                  <a:uFillTx/>
                  <a:latin typeface="Arial"/>
                  <a:ea typeface="+mn-ea"/>
                  <a:cs typeface="Arial" panose="020B0604020202020204" pitchFamily="34" charset="0"/>
                </a:endParaRPr>
              </a:p>
            </p:txBody>
          </p:sp>
          <p:sp>
            <p:nvSpPr>
              <p:cNvPr id="34" name="TextBox 33">
                <a:extLst>
                  <a:ext uri="{FF2B5EF4-FFF2-40B4-BE49-F238E27FC236}">
                    <a16:creationId xmlns:a16="http://schemas.microsoft.com/office/drawing/2014/main" id="{EA228525-4A28-4DE7-990C-044569157B07}"/>
                  </a:ext>
                </a:extLst>
              </p:cNvPr>
              <p:cNvSpPr txBox="1"/>
              <p:nvPr/>
            </p:nvSpPr>
            <p:spPr>
              <a:xfrm>
                <a:off x="12353109" y="5086190"/>
                <a:ext cx="2188029" cy="3231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500" b="1" i="0" u="none" strike="noStrike" kern="1200" cap="none" spc="0" normalizeH="0" baseline="0" noProof="0">
                    <a:ln>
                      <a:noFill/>
                    </a:ln>
                    <a:solidFill>
                      <a:srgbClr val="CC0033"/>
                    </a:solidFill>
                    <a:effectLst/>
                    <a:uLnTx/>
                    <a:uFillTx/>
                    <a:latin typeface="Arial"/>
                    <a:ea typeface="+mn-ea"/>
                    <a:cs typeface="Arial" panose="020B0604020202020204" pitchFamily="34" charset="0"/>
                  </a:rPr>
                  <a:t>Steel</a:t>
                </a:r>
                <a:r>
                  <a:rPr kumimoji="0" lang="sv-SE" sz="1500" b="0" i="0" u="none" strike="noStrike" kern="1200" cap="none" spc="0" normalizeH="0" baseline="0" noProof="0">
                    <a:ln>
                      <a:noFill/>
                    </a:ln>
                    <a:solidFill>
                      <a:srgbClr val="2F2F2F"/>
                    </a:solidFill>
                    <a:effectLst/>
                    <a:uLnTx/>
                    <a:uFillTx/>
                    <a:latin typeface="Arial"/>
                    <a:ea typeface="+mn-ea"/>
                    <a:cs typeface="+mn-cs"/>
                  </a:rPr>
                  <a:t> </a:t>
                </a:r>
                <a:r>
                  <a:rPr kumimoji="0" lang="sv-SE" sz="1500" b="1" i="0" u="none" strike="noStrike" kern="1200" cap="none" spc="0" normalizeH="0" baseline="0" noProof="0" err="1">
                    <a:ln>
                      <a:noFill/>
                    </a:ln>
                    <a:solidFill>
                      <a:srgbClr val="CC0033"/>
                    </a:solidFill>
                    <a:effectLst/>
                    <a:uLnTx/>
                    <a:uFillTx/>
                    <a:latin typeface="Arial"/>
                    <a:ea typeface="+mn-ea"/>
                    <a:cs typeface="Arial" panose="020B0604020202020204" pitchFamily="34" charset="0"/>
                  </a:rPr>
                  <a:t>sector</a:t>
                </a:r>
                <a:endParaRPr kumimoji="0" lang="sv-SE" sz="1500" b="1" i="0" u="none" strike="noStrike" kern="1200" cap="none" spc="0" normalizeH="0" baseline="0" noProof="0">
                  <a:ln>
                    <a:noFill/>
                  </a:ln>
                  <a:solidFill>
                    <a:srgbClr val="CC0033"/>
                  </a:solidFill>
                  <a:effectLst/>
                  <a:uLnTx/>
                  <a:uFillTx/>
                  <a:latin typeface="Arial"/>
                  <a:ea typeface="+mn-ea"/>
                  <a:cs typeface="Arial" panose="020B0604020202020204" pitchFamily="34" charset="0"/>
                </a:endParaRPr>
              </a:p>
            </p:txBody>
          </p:sp>
          <p:sp>
            <p:nvSpPr>
              <p:cNvPr id="35" name="TextBox 34">
                <a:extLst>
                  <a:ext uri="{FF2B5EF4-FFF2-40B4-BE49-F238E27FC236}">
                    <a16:creationId xmlns:a16="http://schemas.microsoft.com/office/drawing/2014/main" id="{AF1EDC7C-13CA-4699-9F59-81F8BA64179D}"/>
                  </a:ext>
                </a:extLst>
              </p:cNvPr>
              <p:cNvSpPr txBox="1"/>
              <p:nvPr/>
            </p:nvSpPr>
            <p:spPr>
              <a:xfrm>
                <a:off x="12950371" y="7016817"/>
                <a:ext cx="2809644" cy="40241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500" b="1" i="0" u="none" strike="noStrike" kern="1200" cap="none" spc="0" normalizeH="0" baseline="0" noProof="0">
                    <a:ln>
                      <a:noFill/>
                    </a:ln>
                    <a:solidFill>
                      <a:srgbClr val="CC0033"/>
                    </a:solidFill>
                    <a:effectLst/>
                    <a:uLnTx/>
                    <a:uFillTx/>
                    <a:latin typeface="Arial"/>
                    <a:ea typeface="+mn-ea"/>
                    <a:cs typeface="Arial" panose="020B0604020202020204" pitchFamily="34" charset="0"/>
                    <a:hlinkClick r:id="rId11" action="ppaction://hlinksldjump"/>
                  </a:rPr>
                  <a:t>Aluminium</a:t>
                </a:r>
                <a:r>
                  <a:rPr kumimoji="0" lang="sv-SE" sz="1500" b="0" i="0" u="none" strike="noStrike" kern="1200" cap="none" spc="0" normalizeH="0" baseline="0" noProof="0">
                    <a:ln>
                      <a:noFill/>
                    </a:ln>
                    <a:solidFill>
                      <a:srgbClr val="2F2F2F"/>
                    </a:solidFill>
                    <a:effectLst/>
                    <a:uLnTx/>
                    <a:uFillTx/>
                    <a:latin typeface="Arial"/>
                    <a:ea typeface="+mn-ea"/>
                    <a:cs typeface="+mn-cs"/>
                    <a:hlinkClick r:id="rId11" action="ppaction://hlinksldjump"/>
                  </a:rPr>
                  <a:t> </a:t>
                </a:r>
                <a:r>
                  <a:rPr kumimoji="0" lang="sv-SE" sz="1500" b="1" i="0" u="none" strike="noStrike" kern="1200" cap="none" spc="0" normalizeH="0" baseline="0" noProof="0" err="1">
                    <a:ln>
                      <a:noFill/>
                    </a:ln>
                    <a:solidFill>
                      <a:srgbClr val="CC0033"/>
                    </a:solidFill>
                    <a:effectLst/>
                    <a:uLnTx/>
                    <a:uFillTx/>
                    <a:latin typeface="Arial"/>
                    <a:ea typeface="+mn-ea"/>
                    <a:cs typeface="Arial" panose="020B0604020202020204" pitchFamily="34" charset="0"/>
                    <a:hlinkClick r:id="rId11" action="ppaction://hlinksldjump"/>
                  </a:rPr>
                  <a:t>sect</a:t>
                </a:r>
                <a:r>
                  <a:rPr kumimoji="0" lang="sv-SE" sz="1500" b="1" i="0" u="none" strike="noStrike" kern="1200" cap="none" spc="0" normalizeH="0" baseline="0" noProof="0" err="1">
                    <a:ln>
                      <a:noFill/>
                    </a:ln>
                    <a:solidFill>
                      <a:srgbClr val="CC0033"/>
                    </a:solidFill>
                    <a:effectLst/>
                    <a:uLnTx/>
                    <a:uFillTx/>
                    <a:latin typeface="Arial"/>
                    <a:ea typeface="+mn-ea"/>
                    <a:cs typeface="Arial" panose="020B0604020202020204" pitchFamily="34" charset="0"/>
                  </a:rPr>
                  <a:t>or</a:t>
                </a:r>
                <a:endParaRPr kumimoji="0" lang="sv-SE" sz="1500" b="1" i="0" u="none" strike="noStrike" kern="1200" cap="none" spc="0" normalizeH="0" baseline="0" noProof="0">
                  <a:ln>
                    <a:noFill/>
                  </a:ln>
                  <a:solidFill>
                    <a:srgbClr val="CC0033"/>
                  </a:solidFill>
                  <a:effectLst/>
                  <a:uLnTx/>
                  <a:uFillTx/>
                  <a:latin typeface="Arial"/>
                  <a:ea typeface="+mn-ea"/>
                  <a:cs typeface="Arial" panose="020B0604020202020204" pitchFamily="34" charset="0"/>
                </a:endParaRPr>
              </a:p>
            </p:txBody>
          </p:sp>
        </p:grpSp>
        <p:pic>
          <p:nvPicPr>
            <p:cNvPr id="2050" name="Picture 2">
              <a:hlinkClick r:id="rId17"/>
              <a:extLst>
                <a:ext uri="{FF2B5EF4-FFF2-40B4-BE49-F238E27FC236}">
                  <a16:creationId xmlns:a16="http://schemas.microsoft.com/office/drawing/2014/main" id="{F92861DD-7C2F-A5D1-5B0C-0FF7F39F2982}"/>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9136729" y="7353606"/>
              <a:ext cx="1489914" cy="533983"/>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156339188"/>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2994415"/>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6"/>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4"/>
          <a:srcRect/>
          <a:stretch>
            <a:fillRect/>
          </a:stretch>
        </p:blipFill>
        <p:spPr>
          <a:xfrm>
            <a:off x="0" y="8901113"/>
            <a:ext cx="5715000" cy="1385887"/>
          </a:xfrm>
          <a:prstGeom prst="rect">
            <a:avLst/>
          </a:prstGeom>
        </p:spPr>
      </p:pic>
      <p:grpSp>
        <p:nvGrpSpPr>
          <p:cNvPr id="3" name="Gruppo 2">
            <a:extLst>
              <a:ext uri="{FF2B5EF4-FFF2-40B4-BE49-F238E27FC236}">
                <a16:creationId xmlns:a16="http://schemas.microsoft.com/office/drawing/2014/main" id="{1C29CBCA-BE0A-4EF6-AC69-329941E1DCFD}"/>
              </a:ext>
            </a:extLst>
          </p:cNvPr>
          <p:cNvGrpSpPr/>
          <p:nvPr/>
        </p:nvGrpSpPr>
        <p:grpSpPr>
          <a:xfrm>
            <a:off x="-12" y="138554"/>
            <a:ext cx="18288002" cy="681138"/>
            <a:chOff x="-12" y="138554"/>
            <a:chExt cx="18288002" cy="681138"/>
          </a:xfrm>
        </p:grpSpPr>
        <p:grpSp>
          <p:nvGrpSpPr>
            <p:cNvPr id="2" name="Gruppo 1">
              <a:extLst>
                <a:ext uri="{FF2B5EF4-FFF2-40B4-BE49-F238E27FC236}">
                  <a16:creationId xmlns:a16="http://schemas.microsoft.com/office/drawing/2014/main" id="{24E9C7AF-0093-476F-826C-A2702AB72892}"/>
                </a:ext>
              </a:extLst>
            </p:cNvPr>
            <p:cNvGrpSpPr/>
            <p:nvPr/>
          </p:nvGrpSpPr>
          <p:grpSpPr>
            <a:xfrm>
              <a:off x="0" y="153125"/>
              <a:ext cx="17907000" cy="666567"/>
              <a:chOff x="0" y="153125"/>
              <a:chExt cx="17907000" cy="666567"/>
            </a:xfrm>
          </p:grpSpPr>
          <p:grpSp>
            <p:nvGrpSpPr>
              <p:cNvPr id="16" name="Gruppo 15">
                <a:extLst>
                  <a:ext uri="{FF2B5EF4-FFF2-40B4-BE49-F238E27FC236}">
                    <a16:creationId xmlns:a16="http://schemas.microsoft.com/office/drawing/2014/main" id="{DAC42A46-917D-41AB-8F07-E15E54D0F7D4}"/>
                  </a:ext>
                </a:extLst>
              </p:cNvPr>
              <p:cNvGrpSpPr/>
              <p:nvPr/>
            </p:nvGrpSpPr>
            <p:grpSpPr>
              <a:xfrm>
                <a:off x="0" y="153125"/>
                <a:ext cx="13958844" cy="666567"/>
                <a:chOff x="0" y="153125"/>
                <a:chExt cx="13958844" cy="666567"/>
              </a:xfrm>
            </p:grpSpPr>
            <p:pic>
              <p:nvPicPr>
                <p:cNvPr id="10" name="Picture 10"/>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1" name="TextBox 11"/>
                <p:cNvSpPr txBox="1"/>
                <p:nvPr/>
              </p:nvSpPr>
              <p:spPr>
                <a:xfrm>
                  <a:off x="228600" y="257980"/>
                  <a:ext cx="9144000" cy="456856"/>
                </a:xfrm>
                <a:prstGeom prst="rect">
                  <a:avLst/>
                </a:prstGeom>
              </p:spPr>
              <p:txBody>
                <a:bodyPr wrap="square" lIns="0" tIns="0" rIns="0" bIns="0" rtlCol="0" anchor="t">
                  <a:spAutoFit/>
                </a:bodyPr>
                <a:lstStyle/>
                <a:p>
                  <a:pPr>
                    <a:lnSpc>
                      <a:spcPts val="3919"/>
                    </a:lnSpc>
                    <a:spcBef>
                      <a:spcPct val="0"/>
                    </a:spcBef>
                  </a:pPr>
                  <a:endParaRPr lang="en-US" sz="2800" b="1">
                    <a:solidFill>
                      <a:srgbClr val="FFFFFF"/>
                    </a:solidFill>
                    <a:latin typeface="Arial" panose="020B0604020202020204" pitchFamily="34" charset="0"/>
                    <a:cs typeface="Arial" panose="020B0604020202020204" pitchFamily="34" charset="0"/>
                  </a:endParaRPr>
                </a:p>
              </p:txBody>
            </p:sp>
          </p:grpSp>
          <p:sp>
            <p:nvSpPr>
              <p:cNvPr id="12" name="TextBox 11">
                <a:extLst>
                  <a:ext uri="{FF2B5EF4-FFF2-40B4-BE49-F238E27FC236}">
                    <a16:creationId xmlns:a16="http://schemas.microsoft.com/office/drawing/2014/main" id="{1BD9B5F4-614C-4EB6-8C5B-120A5420CE43}"/>
                  </a:ext>
                </a:extLst>
              </p:cNvPr>
              <p:cNvSpPr txBox="1"/>
              <p:nvPr/>
            </p:nvSpPr>
            <p:spPr>
              <a:xfrm>
                <a:off x="12154296" y="257980"/>
                <a:ext cx="5752704" cy="456856"/>
              </a:xfrm>
              <a:prstGeom prst="rect">
                <a:avLst/>
              </a:prstGeom>
            </p:spPr>
            <p:txBody>
              <a:bodyPr wrap="square" lIns="0" tIns="0" rIns="0" bIns="0" rtlCol="0" anchor="t">
                <a:spAutoFit/>
              </a:bodyPr>
              <a:lstStyle/>
              <a:p>
                <a:pPr algn="r">
                  <a:lnSpc>
                    <a:spcPts val="3919"/>
                  </a:lnSpc>
                  <a:spcBef>
                    <a:spcPct val="0"/>
                  </a:spcBef>
                </a:pPr>
                <a:r>
                  <a:rPr lang="en-US" sz="2800">
                    <a:solidFill>
                      <a:schemeClr val="tx1">
                        <a:lumMod val="75000"/>
                        <a:lumOff val="25000"/>
                      </a:schemeClr>
                    </a:solidFill>
                    <a:latin typeface="Arial" panose="020B0604020202020204" pitchFamily="34" charset="0"/>
                    <a:cs typeface="Arial" panose="020B0604020202020204" pitchFamily="34" charset="0"/>
                  </a:rPr>
                  <a:t>9</a:t>
                </a:r>
              </a:p>
            </p:txBody>
          </p:sp>
        </p:grpSp>
        <p:sp>
          <p:nvSpPr>
            <p:cNvPr id="14" name="Rettangolo 13">
              <a:extLst>
                <a:ext uri="{FF2B5EF4-FFF2-40B4-BE49-F238E27FC236}">
                  <a16:creationId xmlns:a16="http://schemas.microsoft.com/office/drawing/2014/main" id="{55199736-B8B6-4C9A-8BAF-233E07A0CA89}"/>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3" name="TextBox 13"/>
          <p:cNvSpPr txBox="1"/>
          <p:nvPr/>
        </p:nvSpPr>
        <p:spPr>
          <a:xfrm>
            <a:off x="2362189" y="4091032"/>
            <a:ext cx="13563599" cy="1052468"/>
          </a:xfrm>
          <a:prstGeom prst="rect">
            <a:avLst/>
          </a:prstGeom>
        </p:spPr>
        <p:txBody>
          <a:bodyPr wrap="square" lIns="0" tIns="0" rIns="0" bIns="0" rtlCol="0" anchor="t">
            <a:spAutoFit/>
          </a:bodyPr>
          <a:lstStyle/>
          <a:p>
            <a:pPr algn="ctr">
              <a:lnSpc>
                <a:spcPts val="8960"/>
              </a:lnSpc>
              <a:spcBef>
                <a:spcPct val="0"/>
              </a:spcBef>
            </a:pPr>
            <a:r>
              <a:rPr lang="en-US" sz="6400" b="1">
                <a:solidFill>
                  <a:srgbClr val="CC0033"/>
                </a:solidFill>
                <a:latin typeface="+mj-lt"/>
                <a:cs typeface="Arial" panose="020B0604020202020204" pitchFamily="34" charset="0"/>
              </a:rPr>
              <a:t>Thank you!</a:t>
            </a:r>
          </a:p>
        </p:txBody>
      </p:sp>
    </p:spTree>
    <p:extLst>
      <p:ext uri="{BB962C8B-B14F-4D97-AF65-F5344CB8AC3E}">
        <p14:creationId xmlns:p14="http://schemas.microsoft.com/office/powerpoint/2010/main" val="2609470095"/>
      </p:ext>
    </p:extLst>
  </p:cSld>
  <p:clrMapOvr>
    <a:masterClrMapping/>
  </p:clrMapOvr>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12">
            <a:extLst>
              <a:ext uri="{FF2B5EF4-FFF2-40B4-BE49-F238E27FC236}">
                <a16:creationId xmlns:a16="http://schemas.microsoft.com/office/drawing/2014/main" id="{EC6BC8DA-8BD8-4A25-A55F-A8AFCEBFB5F3}"/>
              </a:ext>
            </a:extLst>
          </p:cNvPr>
          <p:cNvPicPr>
            <a:picLocks noChangeAspect="1"/>
          </p:cNvPicPr>
          <p:nvPr/>
        </p:nvPicPr>
        <p:blipFill>
          <a:blip r:embed="rId2"/>
          <a:srcRect l="134" t="91287" b="3943"/>
          <a:stretch>
            <a:fillRect/>
          </a:stretch>
        </p:blipFill>
        <p:spPr>
          <a:xfrm rot="16200000">
            <a:off x="8020467" y="19467"/>
            <a:ext cx="2247064" cy="18288002"/>
          </a:xfrm>
          <a:prstGeom prst="rect">
            <a:avLst/>
          </a:prstGeom>
        </p:spPr>
      </p:pic>
      <p:grpSp>
        <p:nvGrpSpPr>
          <p:cNvPr id="16" name="Gruppo 15">
            <a:extLst>
              <a:ext uri="{FF2B5EF4-FFF2-40B4-BE49-F238E27FC236}">
                <a16:creationId xmlns:a16="http://schemas.microsoft.com/office/drawing/2014/main" id="{4468CD9D-107C-4C1C-ACB9-AFEE0B11502C}"/>
              </a:ext>
            </a:extLst>
          </p:cNvPr>
          <p:cNvGrpSpPr/>
          <p:nvPr/>
        </p:nvGrpSpPr>
        <p:grpSpPr>
          <a:xfrm>
            <a:off x="1424138" y="2321547"/>
            <a:ext cx="6091712" cy="5537131"/>
            <a:chOff x="1295400" y="2341912"/>
            <a:chExt cx="6091712" cy="5537131"/>
          </a:xfrm>
        </p:grpSpPr>
        <p:sp>
          <p:nvSpPr>
            <p:cNvPr id="17" name="TextBox 7">
              <a:extLst>
                <a:ext uri="{FF2B5EF4-FFF2-40B4-BE49-F238E27FC236}">
                  <a16:creationId xmlns:a16="http://schemas.microsoft.com/office/drawing/2014/main" id="{043EC908-74A8-49D8-A004-84AB0AC7C70C}"/>
                </a:ext>
              </a:extLst>
            </p:cNvPr>
            <p:cNvSpPr txBox="1"/>
            <p:nvPr/>
          </p:nvSpPr>
          <p:spPr>
            <a:xfrm>
              <a:off x="1295400" y="4183031"/>
              <a:ext cx="6091712" cy="3696012"/>
            </a:xfrm>
            <a:prstGeom prst="rect">
              <a:avLst/>
            </a:prstGeom>
          </p:spPr>
          <p:txBody>
            <a:bodyPr wrap="square" lIns="0" tIns="0" rIns="0" bIns="0" rtlCol="0" anchor="ctr">
              <a:spAutoFit/>
            </a:bodyPr>
            <a:lstStyle/>
            <a:p>
              <a:pPr algn="ctr">
                <a:lnSpc>
                  <a:spcPts val="2940"/>
                </a:lnSpc>
                <a:spcBef>
                  <a:spcPct val="0"/>
                </a:spcBef>
              </a:pPr>
              <a:r>
                <a:rPr lang="en-US" sz="2400">
                  <a:solidFill>
                    <a:schemeClr val="tx1">
                      <a:lumMod val="90000"/>
                      <a:lumOff val="10000"/>
                    </a:schemeClr>
                  </a:solidFill>
                  <a:cs typeface="Arial" panose="020B0604020202020204" pitchFamily="34" charset="0"/>
                </a:rPr>
                <a:t>This project has received funding from the European Union’s Horizon 2020 research and innovation programme under grant agreement No 869939. </a:t>
              </a:r>
            </a:p>
            <a:p>
              <a:pPr algn="ctr">
                <a:lnSpc>
                  <a:spcPts val="2940"/>
                </a:lnSpc>
                <a:spcBef>
                  <a:spcPct val="0"/>
                </a:spcBef>
              </a:pPr>
              <a:endParaRPr lang="en-US" sz="2400">
                <a:solidFill>
                  <a:schemeClr val="tx1">
                    <a:lumMod val="90000"/>
                    <a:lumOff val="10000"/>
                  </a:schemeClr>
                </a:solidFill>
                <a:cs typeface="Arial" panose="020B0604020202020204" pitchFamily="34" charset="0"/>
              </a:endParaRPr>
            </a:p>
            <a:p>
              <a:pPr algn="ctr">
                <a:lnSpc>
                  <a:spcPts val="2940"/>
                </a:lnSpc>
                <a:spcBef>
                  <a:spcPct val="0"/>
                </a:spcBef>
              </a:pPr>
              <a:r>
                <a:rPr lang="en-US" sz="2400">
                  <a:solidFill>
                    <a:schemeClr val="tx1">
                      <a:lumMod val="90000"/>
                      <a:lumOff val="10000"/>
                    </a:schemeClr>
                  </a:solidFill>
                  <a:cs typeface="Arial" panose="020B0604020202020204" pitchFamily="34" charset="0"/>
                </a:rPr>
                <a:t>The responsibility for the information and the views set out in this presentation lies entirely with the authors. The European Commission is not responsible for any use that may be made of the information it contains.</a:t>
              </a:r>
            </a:p>
          </p:txBody>
        </p:sp>
        <p:pic>
          <p:nvPicPr>
            <p:cNvPr id="18" name="Picture 8">
              <a:extLst>
                <a:ext uri="{FF2B5EF4-FFF2-40B4-BE49-F238E27FC236}">
                  <a16:creationId xmlns:a16="http://schemas.microsoft.com/office/drawing/2014/main" id="{F6A9DD1C-A10F-4F9B-8220-9E120697FCA8}"/>
                </a:ext>
              </a:extLst>
            </p:cNvPr>
            <p:cNvPicPr>
              <a:picLocks noChangeAspect="1"/>
            </p:cNvPicPr>
            <p:nvPr/>
          </p:nvPicPr>
          <p:blipFill>
            <a:blip r:embed="rId3"/>
            <a:srcRect/>
            <a:stretch>
              <a:fillRect/>
            </a:stretch>
          </p:blipFill>
          <p:spPr>
            <a:xfrm>
              <a:off x="3348380" y="2341912"/>
              <a:ext cx="1985752" cy="1325489"/>
            </a:xfrm>
            <a:prstGeom prst="rect">
              <a:avLst/>
            </a:prstGeom>
          </p:spPr>
        </p:pic>
      </p:grpSp>
      <p:grpSp>
        <p:nvGrpSpPr>
          <p:cNvPr id="13" name="Gruppo 12">
            <a:extLst>
              <a:ext uri="{FF2B5EF4-FFF2-40B4-BE49-F238E27FC236}">
                <a16:creationId xmlns:a16="http://schemas.microsoft.com/office/drawing/2014/main" id="{9EFB30D1-0005-472C-A4A6-5C78F2E79086}"/>
              </a:ext>
            </a:extLst>
          </p:cNvPr>
          <p:cNvGrpSpPr/>
          <p:nvPr/>
        </p:nvGrpSpPr>
        <p:grpSpPr>
          <a:xfrm>
            <a:off x="9945354" y="3157546"/>
            <a:ext cx="8171739" cy="3971907"/>
            <a:chOff x="930092" y="3498424"/>
            <a:chExt cx="8171739" cy="3971907"/>
          </a:xfrm>
        </p:grpSpPr>
        <p:pic>
          <p:nvPicPr>
            <p:cNvPr id="5" name="Immagine 4" descr="Immagine che contiene disegnando, segnale&#10;&#10;Descrizione generata automaticamente">
              <a:extLst>
                <a:ext uri="{FF2B5EF4-FFF2-40B4-BE49-F238E27FC236}">
                  <a16:creationId xmlns:a16="http://schemas.microsoft.com/office/drawing/2014/main" id="{F5CD4E1E-BD56-4F0C-8ECA-6701846DA38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61124" y="4608524"/>
              <a:ext cx="1303991" cy="1109779"/>
            </a:xfrm>
            <a:prstGeom prst="rect">
              <a:avLst/>
            </a:prstGeom>
          </p:spPr>
        </p:pic>
        <p:pic>
          <p:nvPicPr>
            <p:cNvPr id="7" name="Immagine 6">
              <a:extLst>
                <a:ext uri="{FF2B5EF4-FFF2-40B4-BE49-F238E27FC236}">
                  <a16:creationId xmlns:a16="http://schemas.microsoft.com/office/drawing/2014/main" id="{5BF59A7C-B9E0-48B6-B409-41417C95AC8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30092" y="3498424"/>
              <a:ext cx="1303990" cy="1109779"/>
            </a:xfrm>
            <a:prstGeom prst="rect">
              <a:avLst/>
            </a:prstGeom>
          </p:spPr>
        </p:pic>
        <p:pic>
          <p:nvPicPr>
            <p:cNvPr id="10" name="Immagine 9" descr="Immagine che contiene maglietta&#10;&#10;Descrizione generata automaticamente">
              <a:extLst>
                <a:ext uri="{FF2B5EF4-FFF2-40B4-BE49-F238E27FC236}">
                  <a16:creationId xmlns:a16="http://schemas.microsoft.com/office/drawing/2014/main" id="{996161D3-3D6D-41BE-88CD-1B39F5BF614E}"/>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61123" y="5769179"/>
              <a:ext cx="1303991" cy="1109779"/>
            </a:xfrm>
            <a:prstGeom prst="rect">
              <a:avLst/>
            </a:prstGeom>
          </p:spPr>
        </p:pic>
        <p:sp>
          <p:nvSpPr>
            <p:cNvPr id="11" name="CasellaDiTesto 10">
              <a:extLst>
                <a:ext uri="{FF2B5EF4-FFF2-40B4-BE49-F238E27FC236}">
                  <a16:creationId xmlns:a16="http://schemas.microsoft.com/office/drawing/2014/main" id="{D59D3F43-4D68-4406-B204-5B3B9CD4237C}"/>
                </a:ext>
              </a:extLst>
            </p:cNvPr>
            <p:cNvSpPr txBox="1"/>
            <p:nvPr/>
          </p:nvSpPr>
          <p:spPr>
            <a:xfrm>
              <a:off x="2636022" y="3705880"/>
              <a:ext cx="4343400" cy="461665"/>
            </a:xfrm>
            <a:prstGeom prst="rect">
              <a:avLst/>
            </a:prstGeom>
            <a:noFill/>
          </p:spPr>
          <p:txBody>
            <a:bodyPr wrap="square" rtlCol="0">
              <a:spAutoFit/>
            </a:bodyPr>
            <a:lstStyle/>
            <a:p>
              <a:r>
                <a:rPr lang="it-IT" sz="2400">
                  <a:solidFill>
                    <a:schemeClr val="tx1">
                      <a:lumMod val="90000"/>
                      <a:lumOff val="10000"/>
                    </a:schemeClr>
                  </a:solidFill>
                  <a:latin typeface="Arial" panose="020B0604020202020204" pitchFamily="34" charset="0"/>
                  <a:cs typeface="Arial" panose="020B0604020202020204" pitchFamily="34" charset="0"/>
                </a:rPr>
                <a:t>@</a:t>
              </a:r>
              <a:r>
                <a:rPr lang="it-IT" sz="2400" err="1">
                  <a:solidFill>
                    <a:schemeClr val="tx1">
                      <a:lumMod val="90000"/>
                      <a:lumOff val="10000"/>
                    </a:schemeClr>
                  </a:solidFill>
                  <a:latin typeface="Arial" panose="020B0604020202020204" pitchFamily="34" charset="0"/>
                  <a:cs typeface="Arial" panose="020B0604020202020204" pitchFamily="34" charset="0"/>
                </a:rPr>
                <a:t>retrofeedEU</a:t>
              </a:r>
              <a:r>
                <a:rPr lang="it-IT" sz="2400">
                  <a:solidFill>
                    <a:schemeClr val="tx1">
                      <a:lumMod val="90000"/>
                      <a:lumOff val="10000"/>
                    </a:schemeClr>
                  </a:solidFill>
                  <a:latin typeface="Arial" panose="020B0604020202020204" pitchFamily="34" charset="0"/>
                  <a:cs typeface="Arial" panose="020B0604020202020204" pitchFamily="34" charset="0"/>
                </a:rPr>
                <a:t> #</a:t>
              </a:r>
              <a:r>
                <a:rPr lang="it-IT" sz="2400" err="1">
                  <a:solidFill>
                    <a:schemeClr val="tx1">
                      <a:lumMod val="90000"/>
                      <a:lumOff val="10000"/>
                    </a:schemeClr>
                  </a:solidFill>
                  <a:latin typeface="Arial" panose="020B0604020202020204" pitchFamily="34" charset="0"/>
                  <a:cs typeface="Arial" panose="020B0604020202020204" pitchFamily="34" charset="0"/>
                </a:rPr>
                <a:t>retrofeed</a:t>
              </a:r>
              <a:endParaRPr lang="en-GB" sz="2400">
                <a:solidFill>
                  <a:schemeClr val="tx1">
                    <a:lumMod val="90000"/>
                    <a:lumOff val="10000"/>
                  </a:schemeClr>
                </a:solidFill>
                <a:latin typeface="Arial" panose="020B0604020202020204" pitchFamily="34" charset="0"/>
                <a:cs typeface="Arial" panose="020B0604020202020204" pitchFamily="34" charset="0"/>
              </a:endParaRPr>
            </a:p>
          </p:txBody>
        </p:sp>
        <p:sp>
          <p:nvSpPr>
            <p:cNvPr id="19" name="CasellaDiTesto 18">
              <a:extLst>
                <a:ext uri="{FF2B5EF4-FFF2-40B4-BE49-F238E27FC236}">
                  <a16:creationId xmlns:a16="http://schemas.microsoft.com/office/drawing/2014/main" id="{450DB60C-3DF8-418C-A267-0154A2298203}"/>
                </a:ext>
              </a:extLst>
            </p:cNvPr>
            <p:cNvSpPr txBox="1"/>
            <p:nvPr/>
          </p:nvSpPr>
          <p:spPr>
            <a:xfrm>
              <a:off x="2636022" y="4881890"/>
              <a:ext cx="6465809" cy="461665"/>
            </a:xfrm>
            <a:prstGeom prst="rect">
              <a:avLst/>
            </a:prstGeom>
            <a:noFill/>
          </p:spPr>
          <p:txBody>
            <a:bodyPr wrap="square" rtlCol="0">
              <a:spAutoFit/>
            </a:bodyPr>
            <a:lstStyle/>
            <a:p>
              <a:r>
                <a:rPr lang="it-IT" sz="2400" i="1">
                  <a:solidFill>
                    <a:schemeClr val="tx1">
                      <a:lumMod val="90000"/>
                      <a:lumOff val="10000"/>
                    </a:schemeClr>
                  </a:solidFill>
                  <a:latin typeface="Arial" panose="020B0604020202020204" pitchFamily="34" charset="0"/>
                  <a:cs typeface="Arial" panose="020B0604020202020204" pitchFamily="34" charset="0"/>
                </a:rPr>
                <a:t>www.linkedin.com/company/retrofeed</a:t>
              </a:r>
              <a:endParaRPr lang="en-GB" sz="2400" i="1">
                <a:solidFill>
                  <a:schemeClr val="tx1">
                    <a:lumMod val="90000"/>
                    <a:lumOff val="10000"/>
                  </a:schemeClr>
                </a:solidFill>
                <a:latin typeface="Arial" panose="020B0604020202020204" pitchFamily="34" charset="0"/>
                <a:cs typeface="Arial" panose="020B0604020202020204" pitchFamily="34" charset="0"/>
              </a:endParaRPr>
            </a:p>
          </p:txBody>
        </p:sp>
        <p:sp>
          <p:nvSpPr>
            <p:cNvPr id="20" name="CasellaDiTesto 19">
              <a:extLst>
                <a:ext uri="{FF2B5EF4-FFF2-40B4-BE49-F238E27FC236}">
                  <a16:creationId xmlns:a16="http://schemas.microsoft.com/office/drawing/2014/main" id="{C4F15FB8-1423-49C4-AB63-98F6E63E447A}"/>
                </a:ext>
              </a:extLst>
            </p:cNvPr>
            <p:cNvSpPr txBox="1"/>
            <p:nvPr/>
          </p:nvSpPr>
          <p:spPr>
            <a:xfrm>
              <a:off x="2678189" y="5900671"/>
              <a:ext cx="5170411" cy="1569660"/>
            </a:xfrm>
            <a:prstGeom prst="rect">
              <a:avLst/>
            </a:prstGeom>
            <a:noFill/>
          </p:spPr>
          <p:txBody>
            <a:bodyPr wrap="square" rtlCol="0">
              <a:spAutoFit/>
            </a:bodyPr>
            <a:lstStyle/>
            <a:p>
              <a:r>
                <a:rPr lang="it-IT" sz="2400" b="1">
                  <a:solidFill>
                    <a:schemeClr val="tx1">
                      <a:lumMod val="90000"/>
                      <a:lumOff val="10000"/>
                    </a:schemeClr>
                  </a:solidFill>
                  <a:latin typeface="Arial" panose="020B0604020202020204" pitchFamily="34" charset="0"/>
                  <a:cs typeface="Arial" panose="020B0604020202020204" pitchFamily="34" charset="0"/>
                </a:rPr>
                <a:t>Project coordinator</a:t>
              </a:r>
            </a:p>
            <a:p>
              <a:r>
                <a:rPr lang="it-IT" sz="2400">
                  <a:solidFill>
                    <a:schemeClr val="tx1">
                      <a:lumMod val="90000"/>
                      <a:lumOff val="10000"/>
                    </a:schemeClr>
                  </a:solidFill>
                  <a:latin typeface="Arial" panose="020B0604020202020204" pitchFamily="34" charset="0"/>
                  <a:cs typeface="Arial" panose="020B0604020202020204" pitchFamily="34" charset="0"/>
                </a:rPr>
                <a:t>Ana Isabel Gonzalez </a:t>
              </a:r>
              <a:r>
                <a:rPr lang="it-IT" sz="2400" err="1">
                  <a:solidFill>
                    <a:schemeClr val="tx1">
                      <a:lumMod val="90000"/>
                      <a:lumOff val="10000"/>
                    </a:schemeClr>
                  </a:solidFill>
                  <a:latin typeface="Arial" panose="020B0604020202020204" pitchFamily="34" charset="0"/>
                  <a:cs typeface="Arial" panose="020B0604020202020204" pitchFamily="34" charset="0"/>
                </a:rPr>
                <a:t>Espinosa</a:t>
              </a:r>
              <a:r>
                <a:rPr lang="it-IT" sz="2400">
                  <a:solidFill>
                    <a:schemeClr val="tx1">
                      <a:lumMod val="90000"/>
                      <a:lumOff val="10000"/>
                    </a:schemeClr>
                  </a:solidFill>
                  <a:latin typeface="Arial" panose="020B0604020202020204" pitchFamily="34" charset="0"/>
                  <a:cs typeface="Arial" panose="020B0604020202020204" pitchFamily="34" charset="0"/>
                </a:rPr>
                <a:t>, </a:t>
              </a:r>
              <a:r>
                <a:rPr lang="it-IT" sz="2400" err="1">
                  <a:solidFill>
                    <a:schemeClr val="tx1">
                      <a:lumMod val="90000"/>
                      <a:lumOff val="10000"/>
                    </a:schemeClr>
                  </a:solidFill>
                  <a:latin typeface="Arial" panose="020B0604020202020204" pitchFamily="34" charset="0"/>
                  <a:cs typeface="Arial" panose="020B0604020202020204" pitchFamily="34" charset="0"/>
                </a:rPr>
                <a:t>Fundaciòn</a:t>
              </a:r>
              <a:r>
                <a:rPr lang="it-IT" sz="2400">
                  <a:solidFill>
                    <a:schemeClr val="tx1">
                      <a:lumMod val="90000"/>
                      <a:lumOff val="10000"/>
                    </a:schemeClr>
                  </a:solidFill>
                  <a:latin typeface="Arial" panose="020B0604020202020204" pitchFamily="34" charset="0"/>
                  <a:cs typeface="Arial" panose="020B0604020202020204" pitchFamily="34" charset="0"/>
                </a:rPr>
                <a:t> CIRCE</a:t>
              </a:r>
            </a:p>
            <a:p>
              <a:r>
                <a:rPr lang="it-IT" sz="2400" i="1">
                  <a:solidFill>
                    <a:schemeClr val="tx1">
                      <a:lumMod val="90000"/>
                      <a:lumOff val="10000"/>
                    </a:schemeClr>
                  </a:solidFill>
                  <a:latin typeface="Arial" panose="020B0604020202020204" pitchFamily="34" charset="0"/>
                  <a:cs typeface="Arial" panose="020B0604020202020204" pitchFamily="34" charset="0"/>
                </a:rPr>
                <a:t>aigonzalez@fcirce.es</a:t>
              </a:r>
              <a:endParaRPr lang="en-GB" sz="2400" i="1">
                <a:solidFill>
                  <a:schemeClr val="tx1">
                    <a:lumMod val="90000"/>
                    <a:lumOff val="10000"/>
                  </a:schemeClr>
                </a:solidFill>
                <a:latin typeface="Arial" panose="020B0604020202020204" pitchFamily="34" charset="0"/>
                <a:cs typeface="Arial" panose="020B0604020202020204" pitchFamily="34" charset="0"/>
              </a:endParaRPr>
            </a:p>
          </p:txBody>
        </p:sp>
      </p:grpSp>
      <p:sp>
        <p:nvSpPr>
          <p:cNvPr id="30" name="TextBox 16">
            <a:extLst>
              <a:ext uri="{FF2B5EF4-FFF2-40B4-BE49-F238E27FC236}">
                <a16:creationId xmlns:a16="http://schemas.microsoft.com/office/drawing/2014/main" id="{899323C5-7658-4125-A2F0-95D403E469C8}"/>
              </a:ext>
            </a:extLst>
          </p:cNvPr>
          <p:cNvSpPr txBox="1"/>
          <p:nvPr/>
        </p:nvSpPr>
        <p:spPr>
          <a:xfrm>
            <a:off x="14400029" y="9778829"/>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nvGrpSpPr>
          <p:cNvPr id="2" name="Gruppo 1">
            <a:extLst>
              <a:ext uri="{FF2B5EF4-FFF2-40B4-BE49-F238E27FC236}">
                <a16:creationId xmlns:a16="http://schemas.microsoft.com/office/drawing/2014/main" id="{80B7043D-0B45-41D5-ACB6-767B4170262A}"/>
              </a:ext>
            </a:extLst>
          </p:cNvPr>
          <p:cNvGrpSpPr/>
          <p:nvPr/>
        </p:nvGrpSpPr>
        <p:grpSpPr>
          <a:xfrm>
            <a:off x="-12" y="138554"/>
            <a:ext cx="18288002" cy="681138"/>
            <a:chOff x="-12" y="138554"/>
            <a:chExt cx="18288002" cy="681138"/>
          </a:xfrm>
        </p:grpSpPr>
        <p:grpSp>
          <p:nvGrpSpPr>
            <p:cNvPr id="27" name="Gruppo 26">
              <a:extLst>
                <a:ext uri="{FF2B5EF4-FFF2-40B4-BE49-F238E27FC236}">
                  <a16:creationId xmlns:a16="http://schemas.microsoft.com/office/drawing/2014/main" id="{00B8A6CC-0DF2-457E-B8EC-F9899C179B08}"/>
                </a:ext>
              </a:extLst>
            </p:cNvPr>
            <p:cNvGrpSpPr/>
            <p:nvPr/>
          </p:nvGrpSpPr>
          <p:grpSpPr>
            <a:xfrm>
              <a:off x="0" y="153125"/>
              <a:ext cx="13958844" cy="666567"/>
              <a:chOff x="0" y="153125"/>
              <a:chExt cx="13958844" cy="666567"/>
            </a:xfrm>
          </p:grpSpPr>
          <p:pic>
            <p:nvPicPr>
              <p:cNvPr id="28" name="Picture 10">
                <a:extLst>
                  <a:ext uri="{FF2B5EF4-FFF2-40B4-BE49-F238E27FC236}">
                    <a16:creationId xmlns:a16="http://schemas.microsoft.com/office/drawing/2014/main" id="{02DD1888-44BA-4B20-BE04-346B11A2D0D1}"/>
                  </a:ext>
                </a:extLst>
              </p:cNvPr>
              <p:cNvPicPr>
                <a:picLocks noChangeAspect="1"/>
              </p:cNvPicPr>
              <p:nvPr/>
            </p:nvPicPr>
            <p:blipFill>
              <a:blip r:embed="rId7"/>
              <a:srcRect l="134" t="91287" b="3943"/>
              <a:stretch>
                <a:fillRect/>
              </a:stretch>
            </p:blipFill>
            <p:spPr>
              <a:xfrm>
                <a:off x="0" y="153125"/>
                <a:ext cx="13958844" cy="666567"/>
              </a:xfrm>
              <a:prstGeom prst="rect">
                <a:avLst/>
              </a:prstGeom>
            </p:spPr>
          </p:pic>
          <p:sp>
            <p:nvSpPr>
              <p:cNvPr id="29" name="TextBox 11">
                <a:extLst>
                  <a:ext uri="{FF2B5EF4-FFF2-40B4-BE49-F238E27FC236}">
                    <a16:creationId xmlns:a16="http://schemas.microsoft.com/office/drawing/2014/main" id="{4758D40E-9B08-434B-88C0-AD1102DD2C55}"/>
                  </a:ext>
                </a:extLst>
              </p:cNvPr>
              <p:cNvSpPr txBox="1"/>
              <p:nvPr/>
            </p:nvSpPr>
            <p:spPr>
              <a:xfrm>
                <a:off x="228599" y="257980"/>
                <a:ext cx="11464851" cy="456856"/>
              </a:xfrm>
              <a:prstGeom prst="rect">
                <a:avLst/>
              </a:prstGeom>
            </p:spPr>
            <p:txBody>
              <a:bodyPr wrap="square" lIns="0" tIns="0" rIns="0" bIns="0" rtlCol="0" anchor="t">
                <a:spAutoFit/>
              </a:bodyPr>
              <a:lstStyle/>
              <a:p>
                <a:pPr>
                  <a:lnSpc>
                    <a:spcPts val="3919"/>
                  </a:lnSpc>
                  <a:spcBef>
                    <a:spcPct val="0"/>
                  </a:spcBef>
                </a:pPr>
                <a:r>
                  <a:rPr lang="en-US" sz="2800" b="1">
                    <a:solidFill>
                      <a:srgbClr val="FFFFFF"/>
                    </a:solidFill>
                    <a:latin typeface="Arial" panose="020B0604020202020204" pitchFamily="34" charset="0"/>
                    <a:cs typeface="Arial" panose="020B0604020202020204" pitchFamily="34" charset="0"/>
                  </a:rPr>
                  <a:t>Training program for students and researchers</a:t>
                </a:r>
              </a:p>
            </p:txBody>
          </p:sp>
        </p:grpSp>
        <p:sp>
          <p:nvSpPr>
            <p:cNvPr id="21" name="Rettangolo 20">
              <a:extLst>
                <a:ext uri="{FF2B5EF4-FFF2-40B4-BE49-F238E27FC236}">
                  <a16:creationId xmlns:a16="http://schemas.microsoft.com/office/drawing/2014/main" id="{B637DA99-28FB-4194-BEB6-AEA7C8CCE2BA}"/>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20382383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6"/>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marL="0" marR="0" lvl="0" indent="0" algn="ctr" defTabSz="914400" rtl="0" eaLnBrk="1" fontAlgn="auto" latinLnBrk="0" hangingPunct="1">
                <a:lnSpc>
                  <a:spcPts val="3919"/>
                </a:lnSpc>
                <a:spcBef>
                  <a:spcPct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OCR A Extended" panose="02010509020102010303" pitchFamily="50" charset="0"/>
                  <a:ea typeface="+mn-ea"/>
                  <a:cs typeface="+mn-cs"/>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4"/>
          <a:srcRect/>
          <a:stretch>
            <a:fillRect/>
          </a:stretch>
        </p:blipFill>
        <p:spPr>
          <a:xfrm>
            <a:off x="0" y="8901113"/>
            <a:ext cx="5715000" cy="1385887"/>
          </a:xfrm>
          <a:prstGeom prst="rect">
            <a:avLst/>
          </a:prstGeom>
        </p:spPr>
      </p:pic>
      <p:grpSp>
        <p:nvGrpSpPr>
          <p:cNvPr id="3" name="Gruppo 2">
            <a:extLst>
              <a:ext uri="{FF2B5EF4-FFF2-40B4-BE49-F238E27FC236}">
                <a16:creationId xmlns:a16="http://schemas.microsoft.com/office/drawing/2014/main" id="{1C29CBCA-BE0A-4EF6-AC69-329941E1DCFD}"/>
              </a:ext>
            </a:extLst>
          </p:cNvPr>
          <p:cNvGrpSpPr/>
          <p:nvPr/>
        </p:nvGrpSpPr>
        <p:grpSpPr>
          <a:xfrm>
            <a:off x="-12" y="138554"/>
            <a:ext cx="18288002" cy="681138"/>
            <a:chOff x="-12" y="138554"/>
            <a:chExt cx="18288002" cy="681138"/>
          </a:xfrm>
        </p:grpSpPr>
        <p:grpSp>
          <p:nvGrpSpPr>
            <p:cNvPr id="2" name="Gruppo 1">
              <a:extLst>
                <a:ext uri="{FF2B5EF4-FFF2-40B4-BE49-F238E27FC236}">
                  <a16:creationId xmlns:a16="http://schemas.microsoft.com/office/drawing/2014/main" id="{24E9C7AF-0093-476F-826C-A2702AB72892}"/>
                </a:ext>
              </a:extLst>
            </p:cNvPr>
            <p:cNvGrpSpPr/>
            <p:nvPr/>
          </p:nvGrpSpPr>
          <p:grpSpPr>
            <a:xfrm>
              <a:off x="0" y="153125"/>
              <a:ext cx="17907000" cy="666567"/>
              <a:chOff x="0" y="153125"/>
              <a:chExt cx="17907000" cy="666567"/>
            </a:xfrm>
          </p:grpSpPr>
          <p:pic>
            <p:nvPicPr>
              <p:cNvPr id="10" name="Picture 10"/>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2" name="TextBox 11">
                <a:extLst>
                  <a:ext uri="{FF2B5EF4-FFF2-40B4-BE49-F238E27FC236}">
                    <a16:creationId xmlns:a16="http://schemas.microsoft.com/office/drawing/2014/main" id="{1BD9B5F4-614C-4EB6-8C5B-120A5420CE43}"/>
                  </a:ext>
                </a:extLst>
              </p:cNvPr>
              <p:cNvSpPr txBox="1"/>
              <p:nvPr/>
            </p:nvSpPr>
            <p:spPr>
              <a:xfrm>
                <a:off x="12154296" y="257980"/>
                <a:ext cx="5752704" cy="456856"/>
              </a:xfrm>
              <a:prstGeom prst="rect">
                <a:avLst/>
              </a:prstGeom>
            </p:spPr>
            <p:txBody>
              <a:bodyPr wrap="square" lIns="0" tIns="0" rIns="0" bIns="0" rtlCol="0" anchor="t">
                <a:spAutoFit/>
              </a:bodyPr>
              <a:lstStyle/>
              <a:p>
                <a:pPr marL="0" marR="0" lvl="0" indent="0" algn="r" defTabSz="914400" rtl="0" eaLnBrk="1" fontAlgn="auto" latinLnBrk="0" hangingPunct="1">
                  <a:lnSpc>
                    <a:spcPts val="3919"/>
                  </a:lnSpc>
                  <a:spcBef>
                    <a:spcPct val="0"/>
                  </a:spcBef>
                  <a:spcAft>
                    <a:spcPts val="0"/>
                  </a:spcAft>
                  <a:buClrTx/>
                  <a:buSzTx/>
                  <a:buFontTx/>
                  <a:buNone/>
                  <a:tabLst/>
                  <a:defRPr/>
                </a:pPr>
                <a:endParaRPr kumimoji="0" lang="en-US" sz="2800" b="0" i="0" u="none" strike="noStrike" kern="1200" cap="none" spc="0" normalizeH="0" baseline="0" noProof="0">
                  <a:ln>
                    <a:noFill/>
                  </a:ln>
                  <a:solidFill>
                    <a:srgbClr val="2F2F2F">
                      <a:lumMod val="75000"/>
                      <a:lumOff val="25000"/>
                    </a:srgbClr>
                  </a:solidFill>
                  <a:effectLst/>
                  <a:uLnTx/>
                  <a:uFillTx/>
                  <a:latin typeface="Arial" panose="020B0604020202020204" pitchFamily="34" charset="0"/>
                  <a:ea typeface="+mn-ea"/>
                  <a:cs typeface="Arial" panose="020B0604020202020204" pitchFamily="34" charset="0"/>
                </a:endParaRPr>
              </a:p>
            </p:txBody>
          </p:sp>
        </p:grpSp>
        <p:sp>
          <p:nvSpPr>
            <p:cNvPr id="14" name="Rettangolo 13">
              <a:extLst>
                <a:ext uri="{FF2B5EF4-FFF2-40B4-BE49-F238E27FC236}">
                  <a16:creationId xmlns:a16="http://schemas.microsoft.com/office/drawing/2014/main" id="{55199736-B8B6-4C9A-8BAF-233E07A0CA89}"/>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3" name="TextBox 13"/>
          <p:cNvSpPr txBox="1"/>
          <p:nvPr/>
        </p:nvSpPr>
        <p:spPr>
          <a:xfrm>
            <a:off x="1686562" y="1247212"/>
            <a:ext cx="13618595" cy="677108"/>
          </a:xfrm>
          <a:prstGeom prst="rect">
            <a:avLst/>
          </a:prstGeom>
        </p:spPr>
        <p:txBody>
          <a:bodyPr wrap="square" lIns="0" tIns="0" rIns="0" bIns="0" rtlCol="0" anchor="t">
            <a:sp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4400" b="1" i="0" u="none" strike="noStrike" kern="1200" cap="none" spc="0" normalizeH="0" baseline="0" noProof="0">
                <a:ln>
                  <a:noFill/>
                </a:ln>
                <a:solidFill>
                  <a:srgbClr val="CC0033"/>
                </a:solidFill>
                <a:effectLst/>
                <a:uLnTx/>
                <a:uFillTx/>
                <a:latin typeface="Arial"/>
                <a:ea typeface="+mn-ea"/>
                <a:cs typeface="Arial" panose="020B0604020202020204" pitchFamily="34" charset="0"/>
              </a:rPr>
              <a:t>Overview of demo-sites retrofitting actions</a:t>
            </a:r>
            <a:endParaRPr kumimoji="0" lang="en-US" sz="3600" b="1" i="1" u="none" strike="noStrike" kern="1200" cap="none" spc="0" normalizeH="0" baseline="0" noProof="0">
              <a:ln>
                <a:noFill/>
              </a:ln>
              <a:solidFill>
                <a:srgbClr val="CC0033"/>
              </a:solidFill>
              <a:effectLst/>
              <a:uLnTx/>
              <a:uFillTx/>
              <a:latin typeface="Arial"/>
              <a:ea typeface="+mn-ea"/>
              <a:cs typeface="Arial" panose="020B0604020202020204" pitchFamily="34" charset="0"/>
            </a:endParaRPr>
          </a:p>
        </p:txBody>
      </p:sp>
      <p:pic>
        <p:nvPicPr>
          <p:cNvPr id="4" name="object 4">
            <a:extLst>
              <a:ext uri="{FF2B5EF4-FFF2-40B4-BE49-F238E27FC236}">
                <a16:creationId xmlns:a16="http://schemas.microsoft.com/office/drawing/2014/main" id="{21F18E00-48D6-0FC8-71D3-3862ECF6FB78}"/>
              </a:ext>
            </a:extLst>
          </p:cNvPr>
          <p:cNvPicPr/>
          <p:nvPr/>
        </p:nvPicPr>
        <p:blipFill>
          <a:blip r:embed="rId6" cstate="print"/>
          <a:stretch>
            <a:fillRect/>
          </a:stretch>
        </p:blipFill>
        <p:spPr>
          <a:xfrm>
            <a:off x="2857500" y="2044110"/>
            <a:ext cx="14397660" cy="7599957"/>
          </a:xfrm>
          <a:prstGeom prst="rect">
            <a:avLst/>
          </a:prstGeom>
        </p:spPr>
      </p:pic>
    </p:spTree>
    <p:extLst>
      <p:ext uri="{BB962C8B-B14F-4D97-AF65-F5344CB8AC3E}">
        <p14:creationId xmlns:p14="http://schemas.microsoft.com/office/powerpoint/2010/main" val="409457110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58" name="Rectangle 57">
            <a:extLst>
              <a:ext uri="{FF2B5EF4-FFF2-40B4-BE49-F238E27FC236}">
                <a16:creationId xmlns:a16="http://schemas.microsoft.com/office/drawing/2014/main" id="{289ED1AA-8684-4D37-B208-8777E1A7780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8283428" cy="10287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0" name="Graphic 33">
            <a:extLst>
              <a:ext uri="{FF2B5EF4-FFF2-40B4-BE49-F238E27FC236}">
                <a16:creationId xmlns:a16="http://schemas.microsoft.com/office/drawing/2014/main" id="{4180E01B-B1F4-437C-807D-1C930718EE6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966176" y="0"/>
            <a:ext cx="14355646" cy="10287000"/>
          </a:xfrm>
          <a:custGeom>
            <a:avLst/>
            <a:gdLst>
              <a:gd name="connsiteX0" fmla="*/ 7178288 w 7187261"/>
              <a:gd name="connsiteY0" fmla="*/ 2604802 h 5150263"/>
              <a:gd name="connsiteX1" fmla="*/ 7169335 w 7187261"/>
              <a:gd name="connsiteY1" fmla="*/ 2328577 h 5150263"/>
              <a:gd name="connsiteX2" fmla="*/ 7060845 w 7187261"/>
              <a:gd name="connsiteY2" fmla="*/ 1661160 h 5150263"/>
              <a:gd name="connsiteX3" fmla="*/ 6212263 w 7187261"/>
              <a:gd name="connsiteY3" fmla="*/ 243840 h 5150263"/>
              <a:gd name="connsiteX4" fmla="*/ 5953564 w 7187261"/>
              <a:gd name="connsiteY4" fmla="*/ 0 h 5150263"/>
              <a:gd name="connsiteX5" fmla="*/ 1408615 w 7187261"/>
              <a:gd name="connsiteY5" fmla="*/ 0 h 5150263"/>
              <a:gd name="connsiteX6" fmla="*/ 805111 w 7187261"/>
              <a:gd name="connsiteY6" fmla="*/ 676275 h 5150263"/>
              <a:gd name="connsiteX7" fmla="*/ 104928 w 7187261"/>
              <a:gd name="connsiteY7" fmla="*/ 2183035 h 5150263"/>
              <a:gd name="connsiteX8" fmla="*/ 51588 w 7187261"/>
              <a:gd name="connsiteY8" fmla="*/ 2400014 h 5150263"/>
              <a:gd name="connsiteX9" fmla="*/ 41301 w 7187261"/>
              <a:gd name="connsiteY9" fmla="*/ 2424208 h 5150263"/>
              <a:gd name="connsiteX10" fmla="*/ 119692 w 7187261"/>
              <a:gd name="connsiteY10" fmla="*/ 1834801 h 5150263"/>
              <a:gd name="connsiteX11" fmla="*/ 870071 w 7187261"/>
              <a:gd name="connsiteY11" fmla="*/ 462248 h 5150263"/>
              <a:gd name="connsiteX12" fmla="*/ 1389279 w 7187261"/>
              <a:gd name="connsiteY12" fmla="*/ 476 h 5150263"/>
              <a:gd name="connsiteX13" fmla="*/ 1320223 w 7187261"/>
              <a:gd name="connsiteY13" fmla="*/ 476 h 5150263"/>
              <a:gd name="connsiteX14" fmla="*/ 423158 w 7187261"/>
              <a:gd name="connsiteY14" fmla="*/ 989743 h 5150263"/>
              <a:gd name="connsiteX15" fmla="*/ 25585 w 7187261"/>
              <a:gd name="connsiteY15" fmla="*/ 2113693 h 5150263"/>
              <a:gd name="connsiteX16" fmla="*/ 2344 w 7187261"/>
              <a:gd name="connsiteY16" fmla="*/ 2725865 h 5150263"/>
              <a:gd name="connsiteX17" fmla="*/ 447256 w 7187261"/>
              <a:gd name="connsiteY17" fmla="*/ 4210717 h 5150263"/>
              <a:gd name="connsiteX18" fmla="*/ 1138962 w 7187261"/>
              <a:gd name="connsiteY18" fmla="*/ 4988910 h 5150263"/>
              <a:gd name="connsiteX19" fmla="*/ 1348512 w 7187261"/>
              <a:gd name="connsiteY19" fmla="*/ 5146834 h 5150263"/>
              <a:gd name="connsiteX20" fmla="*/ 1422712 w 7187261"/>
              <a:gd name="connsiteY20" fmla="*/ 5146834 h 5150263"/>
              <a:gd name="connsiteX21" fmla="*/ 480594 w 7187261"/>
              <a:gd name="connsiteY21" fmla="*/ 4187952 h 5150263"/>
              <a:gd name="connsiteX22" fmla="*/ 398679 w 7187261"/>
              <a:gd name="connsiteY22" fmla="*/ 4046125 h 5150263"/>
              <a:gd name="connsiteX23" fmla="*/ 411823 w 7187261"/>
              <a:gd name="connsiteY23" fmla="*/ 4053078 h 5150263"/>
              <a:gd name="connsiteX24" fmla="*/ 1439380 w 7187261"/>
              <a:gd name="connsiteY24" fmla="*/ 5147405 h 5150263"/>
              <a:gd name="connsiteX25" fmla="*/ 5710010 w 7187261"/>
              <a:gd name="connsiteY25" fmla="*/ 5150263 h 5150263"/>
              <a:gd name="connsiteX26" fmla="*/ 5999665 w 7187261"/>
              <a:gd name="connsiteY26" fmla="*/ 4910900 h 5150263"/>
              <a:gd name="connsiteX27" fmla="*/ 6954165 w 7187261"/>
              <a:gd name="connsiteY27" fmla="*/ 3545777 h 5150263"/>
              <a:gd name="connsiteX28" fmla="*/ 7137712 w 7187261"/>
              <a:gd name="connsiteY28" fmla="*/ 2799207 h 5150263"/>
              <a:gd name="connsiteX29" fmla="*/ 7142951 w 7187261"/>
              <a:gd name="connsiteY29" fmla="*/ 2754535 h 5150263"/>
              <a:gd name="connsiteX30" fmla="*/ 7149428 w 7187261"/>
              <a:gd name="connsiteY30" fmla="*/ 2774823 h 5150263"/>
              <a:gd name="connsiteX31" fmla="*/ 7066465 w 7187261"/>
              <a:gd name="connsiteY31" fmla="*/ 3465672 h 5150263"/>
              <a:gd name="connsiteX32" fmla="*/ 6452578 w 7187261"/>
              <a:gd name="connsiteY32" fmla="*/ 4552760 h 5150263"/>
              <a:gd name="connsiteX33" fmla="*/ 5752110 w 7187261"/>
              <a:gd name="connsiteY33" fmla="*/ 5150263 h 5150263"/>
              <a:gd name="connsiteX34" fmla="*/ 5827643 w 7187261"/>
              <a:gd name="connsiteY34" fmla="*/ 5150263 h 5150263"/>
              <a:gd name="connsiteX35" fmla="*/ 6642793 w 7187261"/>
              <a:gd name="connsiteY35" fmla="*/ 4389406 h 5150263"/>
              <a:gd name="connsiteX36" fmla="*/ 7102469 w 7187261"/>
              <a:gd name="connsiteY36" fmla="*/ 3490817 h 5150263"/>
              <a:gd name="connsiteX37" fmla="*/ 7187242 w 7187261"/>
              <a:gd name="connsiteY37" fmla="*/ 2990183 h 5150263"/>
              <a:gd name="connsiteX38" fmla="*/ 7178288 w 7187261"/>
              <a:gd name="connsiteY38" fmla="*/ 2604802 h 5150263"/>
              <a:gd name="connsiteX39" fmla="*/ 6342565 w 7187261"/>
              <a:gd name="connsiteY39" fmla="*/ 441389 h 5150263"/>
              <a:gd name="connsiteX40" fmla="*/ 7126567 w 7187261"/>
              <a:gd name="connsiteY40" fmla="*/ 2355056 h 5150263"/>
              <a:gd name="connsiteX41" fmla="*/ 6342565 w 7187261"/>
              <a:gd name="connsiteY41" fmla="*/ 441389 h 5150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187261" h="5150263">
                <a:moveTo>
                  <a:pt x="7178288" y="2604802"/>
                </a:moveTo>
                <a:cubicBezTo>
                  <a:pt x="7168763" y="2513076"/>
                  <a:pt x="7174478" y="2420684"/>
                  <a:pt x="7169335" y="2328577"/>
                </a:cubicBezTo>
                <a:cubicBezTo>
                  <a:pt x="7156952" y="2102882"/>
                  <a:pt x="7120586" y="1879149"/>
                  <a:pt x="7060845" y="1661160"/>
                </a:cubicBezTo>
                <a:cubicBezTo>
                  <a:pt x="6910588" y="1121007"/>
                  <a:pt x="6617428" y="631374"/>
                  <a:pt x="6212263" y="243840"/>
                </a:cubicBezTo>
                <a:cubicBezTo>
                  <a:pt x="6126538" y="162496"/>
                  <a:pt x="6040813" y="80201"/>
                  <a:pt x="5953564" y="0"/>
                </a:cubicBezTo>
                <a:lnTo>
                  <a:pt x="1408615" y="0"/>
                </a:lnTo>
                <a:cubicBezTo>
                  <a:pt x="1180967" y="200316"/>
                  <a:pt x="978332" y="427387"/>
                  <a:pt x="805111" y="676275"/>
                </a:cubicBezTo>
                <a:cubicBezTo>
                  <a:pt x="481261" y="1136523"/>
                  <a:pt x="252089" y="1640872"/>
                  <a:pt x="104928" y="2183035"/>
                </a:cubicBezTo>
                <a:cubicBezTo>
                  <a:pt x="85878" y="2254853"/>
                  <a:pt x="69495" y="2327720"/>
                  <a:pt x="51588" y="2400014"/>
                </a:cubicBezTo>
                <a:cubicBezTo>
                  <a:pt x="49683" y="2407634"/>
                  <a:pt x="51588" y="2416969"/>
                  <a:pt x="41301" y="2424208"/>
                </a:cubicBezTo>
                <a:cubicBezTo>
                  <a:pt x="45900" y="2225469"/>
                  <a:pt x="72186" y="2027834"/>
                  <a:pt x="119692" y="1834801"/>
                </a:cubicBezTo>
                <a:cubicBezTo>
                  <a:pt x="247993" y="1310926"/>
                  <a:pt x="506121" y="857726"/>
                  <a:pt x="870071" y="462248"/>
                </a:cubicBezTo>
                <a:cubicBezTo>
                  <a:pt x="1027729" y="291823"/>
                  <a:pt x="1201617" y="137169"/>
                  <a:pt x="1389279" y="476"/>
                </a:cubicBezTo>
                <a:lnTo>
                  <a:pt x="1320223" y="476"/>
                </a:lnTo>
                <a:cubicBezTo>
                  <a:pt x="960844" y="274320"/>
                  <a:pt x="656330" y="599123"/>
                  <a:pt x="423158" y="989743"/>
                </a:cubicBezTo>
                <a:cubicBezTo>
                  <a:pt x="215608" y="1337596"/>
                  <a:pt x="80258" y="1711357"/>
                  <a:pt x="25585" y="2113693"/>
                </a:cubicBezTo>
                <a:cubicBezTo>
                  <a:pt x="-2705" y="2316480"/>
                  <a:pt x="-2228" y="2521077"/>
                  <a:pt x="2344" y="2725865"/>
                </a:cubicBezTo>
                <a:cubicBezTo>
                  <a:pt x="14155" y="3261932"/>
                  <a:pt x="170650" y="3754565"/>
                  <a:pt x="447256" y="4210717"/>
                </a:cubicBezTo>
                <a:cubicBezTo>
                  <a:pt x="629851" y="4511612"/>
                  <a:pt x="866356" y="4767167"/>
                  <a:pt x="1138962" y="4988910"/>
                </a:cubicBezTo>
                <a:cubicBezTo>
                  <a:pt x="1207161" y="5044345"/>
                  <a:pt x="1277008" y="5096990"/>
                  <a:pt x="1348512" y="5146834"/>
                </a:cubicBezTo>
                <a:lnTo>
                  <a:pt x="1422712" y="5146834"/>
                </a:lnTo>
                <a:cubicBezTo>
                  <a:pt x="1043426" y="4892802"/>
                  <a:pt x="724720" y="4577334"/>
                  <a:pt x="480594" y="4187952"/>
                </a:cubicBezTo>
                <a:cubicBezTo>
                  <a:pt x="452019" y="4141851"/>
                  <a:pt x="423444" y="4095179"/>
                  <a:pt x="398679" y="4046125"/>
                </a:cubicBezTo>
                <a:cubicBezTo>
                  <a:pt x="407442" y="4043267"/>
                  <a:pt x="409156" y="4048982"/>
                  <a:pt x="411823" y="4053078"/>
                </a:cubicBezTo>
                <a:cubicBezTo>
                  <a:pt x="683572" y="4484656"/>
                  <a:pt x="1033139" y="4842701"/>
                  <a:pt x="1439380" y="5147405"/>
                </a:cubicBezTo>
                <a:lnTo>
                  <a:pt x="5710010" y="5150263"/>
                </a:lnTo>
                <a:cubicBezTo>
                  <a:pt x="5810594" y="5075482"/>
                  <a:pt x="5907272" y="4995587"/>
                  <a:pt x="5999665" y="4910900"/>
                </a:cubicBezTo>
                <a:cubicBezTo>
                  <a:pt x="6418765" y="4526661"/>
                  <a:pt x="6746901" y="4078129"/>
                  <a:pt x="6954165" y="3545777"/>
                </a:cubicBezTo>
                <a:cubicBezTo>
                  <a:pt x="7048234" y="3306175"/>
                  <a:pt x="7109956" y="3055115"/>
                  <a:pt x="7137712" y="2799207"/>
                </a:cubicBezTo>
                <a:cubicBezTo>
                  <a:pt x="7139236" y="2784920"/>
                  <a:pt x="7141046" y="2770632"/>
                  <a:pt x="7142951" y="2754535"/>
                </a:cubicBezTo>
                <a:cubicBezTo>
                  <a:pt x="7151714" y="2760440"/>
                  <a:pt x="7149237" y="2768441"/>
                  <a:pt x="7149428" y="2774823"/>
                </a:cubicBezTo>
                <a:cubicBezTo>
                  <a:pt x="7156743" y="3007967"/>
                  <a:pt x="7128777" y="3240881"/>
                  <a:pt x="7066465" y="3465672"/>
                </a:cubicBezTo>
                <a:cubicBezTo>
                  <a:pt x="6952165" y="3878580"/>
                  <a:pt x="6737948" y="4235863"/>
                  <a:pt x="6452578" y="4552760"/>
                </a:cubicBezTo>
                <a:cubicBezTo>
                  <a:pt x="6244553" y="4783836"/>
                  <a:pt x="6008809" y="4980242"/>
                  <a:pt x="5752110" y="5150263"/>
                </a:cubicBezTo>
                <a:lnTo>
                  <a:pt x="5827643" y="5150263"/>
                </a:lnTo>
                <a:cubicBezTo>
                  <a:pt x="6136539" y="4938904"/>
                  <a:pt x="6412192" y="4689348"/>
                  <a:pt x="6642793" y="4389406"/>
                </a:cubicBezTo>
                <a:cubicBezTo>
                  <a:pt x="6851295" y="4118324"/>
                  <a:pt x="7009125" y="3820859"/>
                  <a:pt x="7102469" y="3490817"/>
                </a:cubicBezTo>
                <a:cubicBezTo>
                  <a:pt x="7148646" y="3327473"/>
                  <a:pt x="7177069" y="3159624"/>
                  <a:pt x="7187242" y="2990183"/>
                </a:cubicBezTo>
                <a:cubicBezTo>
                  <a:pt x="7187623" y="2984087"/>
                  <a:pt x="7182384" y="2642330"/>
                  <a:pt x="7178288" y="2604802"/>
                </a:cubicBezTo>
                <a:close/>
                <a:moveTo>
                  <a:pt x="6342565" y="441389"/>
                </a:moveTo>
                <a:cubicBezTo>
                  <a:pt x="6829797" y="986533"/>
                  <a:pt x="7091135" y="1624422"/>
                  <a:pt x="7126567" y="2355056"/>
                </a:cubicBezTo>
                <a:cubicBezTo>
                  <a:pt x="7001123" y="1661827"/>
                  <a:pt x="6756426" y="1017365"/>
                  <a:pt x="6342565" y="441389"/>
                </a:cubicBez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Arial"/>
              <a:ea typeface="+mn-ea"/>
              <a:cs typeface="+mn-cs"/>
            </a:endParaRPr>
          </a:p>
        </p:txBody>
      </p:sp>
      <p:sp>
        <p:nvSpPr>
          <p:cNvPr id="4" name="Title 3">
            <a:extLst>
              <a:ext uri="{FF2B5EF4-FFF2-40B4-BE49-F238E27FC236}">
                <a16:creationId xmlns:a16="http://schemas.microsoft.com/office/drawing/2014/main" id="{B009CD84-DA40-4CAA-8A89-DD6DAA862368}"/>
              </a:ext>
            </a:extLst>
          </p:cNvPr>
          <p:cNvSpPr>
            <a:spLocks noGrp="1"/>
          </p:cNvSpPr>
          <p:nvPr>
            <p:ph type="title"/>
          </p:nvPr>
        </p:nvSpPr>
        <p:spPr>
          <a:xfrm>
            <a:off x="2819400" y="1485900"/>
            <a:ext cx="13502422" cy="4348463"/>
          </a:xfrm>
        </p:spPr>
        <p:txBody>
          <a:bodyPr vert="horz" lIns="91440" tIns="45720" rIns="91440" bIns="45720" rtlCol="0" anchor="b">
            <a:normAutofit/>
          </a:bodyPr>
          <a:lstStyle/>
          <a:p>
            <a:pPr indent="457200">
              <a:lnSpc>
                <a:spcPct val="90000"/>
              </a:lnSpc>
              <a:spcAft>
                <a:spcPts val="600"/>
              </a:spcAft>
            </a:pPr>
            <a:r>
              <a:rPr lang="en-GB" sz="6000" b="1" kern="1200" noProof="0" dirty="0">
                <a:solidFill>
                  <a:srgbClr val="FFFFFF"/>
                </a:solidFill>
                <a:latin typeface="+mj-lt"/>
                <a:ea typeface="+mj-ea"/>
                <a:cs typeface="+mj-cs"/>
              </a:rPr>
              <a:t>Chapter 2.2 </a:t>
            </a:r>
            <a:br>
              <a:rPr lang="en-GB" sz="6000" b="1" kern="1200" noProof="0" dirty="0">
                <a:solidFill>
                  <a:srgbClr val="FFFFFF"/>
                </a:solidFill>
                <a:latin typeface="+mj-lt"/>
                <a:ea typeface="+mj-ea"/>
                <a:cs typeface="+mj-cs"/>
              </a:rPr>
            </a:br>
            <a:r>
              <a:rPr lang="en-GB" sz="6000" b="1" noProof="0" dirty="0">
                <a:solidFill>
                  <a:srgbClr val="FFFFFF"/>
                </a:solidFill>
              </a:rPr>
              <a:t>Cement production</a:t>
            </a:r>
            <a:endParaRPr lang="en-GB" sz="6000" b="1" kern="1200" noProof="0" dirty="0">
              <a:solidFill>
                <a:srgbClr val="FFFFFF"/>
              </a:solidFill>
              <a:latin typeface="+mj-lt"/>
              <a:ea typeface="+mj-ea"/>
              <a:cs typeface="+mj-cs"/>
            </a:endParaRPr>
          </a:p>
        </p:txBody>
      </p:sp>
      <p:sp>
        <p:nvSpPr>
          <p:cNvPr id="62" name="sketch line">
            <a:extLst>
              <a:ext uri="{FF2B5EF4-FFF2-40B4-BE49-F238E27FC236}">
                <a16:creationId xmlns:a16="http://schemas.microsoft.com/office/drawing/2014/main" id="{41F77738-2AF0-4750-A0C7-F97C2C17590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961309" y="6260247"/>
            <a:ext cx="6365383" cy="27432"/>
          </a:xfrm>
          <a:custGeom>
            <a:avLst/>
            <a:gdLst>
              <a:gd name="connsiteX0" fmla="*/ 0 w 6365383"/>
              <a:gd name="connsiteY0" fmla="*/ 0 h 27432"/>
              <a:gd name="connsiteX1" fmla="*/ 636538 w 6365383"/>
              <a:gd name="connsiteY1" fmla="*/ 0 h 27432"/>
              <a:gd name="connsiteX2" fmla="*/ 1273077 w 6365383"/>
              <a:gd name="connsiteY2" fmla="*/ 0 h 27432"/>
              <a:gd name="connsiteX3" fmla="*/ 1909615 w 6365383"/>
              <a:gd name="connsiteY3" fmla="*/ 0 h 27432"/>
              <a:gd name="connsiteX4" fmla="*/ 2673461 w 6365383"/>
              <a:gd name="connsiteY4" fmla="*/ 0 h 27432"/>
              <a:gd name="connsiteX5" fmla="*/ 3373653 w 6365383"/>
              <a:gd name="connsiteY5" fmla="*/ 0 h 27432"/>
              <a:gd name="connsiteX6" fmla="*/ 3819230 w 6365383"/>
              <a:gd name="connsiteY6" fmla="*/ 0 h 27432"/>
              <a:gd name="connsiteX7" fmla="*/ 4392114 w 6365383"/>
              <a:gd name="connsiteY7" fmla="*/ 0 h 27432"/>
              <a:gd name="connsiteX8" fmla="*/ 5155960 w 6365383"/>
              <a:gd name="connsiteY8" fmla="*/ 0 h 27432"/>
              <a:gd name="connsiteX9" fmla="*/ 5792499 w 6365383"/>
              <a:gd name="connsiteY9" fmla="*/ 0 h 27432"/>
              <a:gd name="connsiteX10" fmla="*/ 6365383 w 6365383"/>
              <a:gd name="connsiteY10" fmla="*/ 0 h 27432"/>
              <a:gd name="connsiteX11" fmla="*/ 6365383 w 6365383"/>
              <a:gd name="connsiteY11" fmla="*/ 27432 h 27432"/>
              <a:gd name="connsiteX12" fmla="*/ 5856152 w 6365383"/>
              <a:gd name="connsiteY12" fmla="*/ 27432 h 27432"/>
              <a:gd name="connsiteX13" fmla="*/ 5092306 w 6365383"/>
              <a:gd name="connsiteY13" fmla="*/ 27432 h 27432"/>
              <a:gd name="connsiteX14" fmla="*/ 4583076 w 6365383"/>
              <a:gd name="connsiteY14" fmla="*/ 27432 h 27432"/>
              <a:gd name="connsiteX15" fmla="*/ 4137499 w 6365383"/>
              <a:gd name="connsiteY15" fmla="*/ 27432 h 27432"/>
              <a:gd name="connsiteX16" fmla="*/ 3691922 w 6365383"/>
              <a:gd name="connsiteY16" fmla="*/ 27432 h 27432"/>
              <a:gd name="connsiteX17" fmla="*/ 2991730 w 6365383"/>
              <a:gd name="connsiteY17" fmla="*/ 27432 h 27432"/>
              <a:gd name="connsiteX18" fmla="*/ 2546153 w 6365383"/>
              <a:gd name="connsiteY18" fmla="*/ 27432 h 27432"/>
              <a:gd name="connsiteX19" fmla="*/ 1909615 w 6365383"/>
              <a:gd name="connsiteY19" fmla="*/ 27432 h 27432"/>
              <a:gd name="connsiteX20" fmla="*/ 1400384 w 6365383"/>
              <a:gd name="connsiteY20" fmla="*/ 27432 h 27432"/>
              <a:gd name="connsiteX21" fmla="*/ 763846 w 6365383"/>
              <a:gd name="connsiteY21" fmla="*/ 27432 h 27432"/>
              <a:gd name="connsiteX22" fmla="*/ 0 w 6365383"/>
              <a:gd name="connsiteY22" fmla="*/ 27432 h 27432"/>
              <a:gd name="connsiteX23" fmla="*/ 0 w 6365383"/>
              <a:gd name="connsiteY23" fmla="*/ 0 h 27432"/>
              <a:gd name="connsiteX0" fmla="*/ 0 w 6365383"/>
              <a:gd name="connsiteY0" fmla="*/ 0 h 27432"/>
              <a:gd name="connsiteX1" fmla="*/ 572884 w 6365383"/>
              <a:gd name="connsiteY1" fmla="*/ 0 h 27432"/>
              <a:gd name="connsiteX2" fmla="*/ 1018461 w 6365383"/>
              <a:gd name="connsiteY2" fmla="*/ 0 h 27432"/>
              <a:gd name="connsiteX3" fmla="*/ 1782307 w 6365383"/>
              <a:gd name="connsiteY3" fmla="*/ 0 h 27432"/>
              <a:gd name="connsiteX4" fmla="*/ 2355192 w 6365383"/>
              <a:gd name="connsiteY4" fmla="*/ 0 h 27432"/>
              <a:gd name="connsiteX5" fmla="*/ 2928076 w 6365383"/>
              <a:gd name="connsiteY5" fmla="*/ 0 h 27432"/>
              <a:gd name="connsiteX6" fmla="*/ 3691922 w 6365383"/>
              <a:gd name="connsiteY6" fmla="*/ 0 h 27432"/>
              <a:gd name="connsiteX7" fmla="*/ 4201153 w 6365383"/>
              <a:gd name="connsiteY7" fmla="*/ 0 h 27432"/>
              <a:gd name="connsiteX8" fmla="*/ 4964999 w 6365383"/>
              <a:gd name="connsiteY8" fmla="*/ 0 h 27432"/>
              <a:gd name="connsiteX9" fmla="*/ 5728845 w 6365383"/>
              <a:gd name="connsiteY9" fmla="*/ 0 h 27432"/>
              <a:gd name="connsiteX10" fmla="*/ 6365383 w 6365383"/>
              <a:gd name="connsiteY10" fmla="*/ 0 h 27432"/>
              <a:gd name="connsiteX11" fmla="*/ 6365383 w 6365383"/>
              <a:gd name="connsiteY11" fmla="*/ 27432 h 27432"/>
              <a:gd name="connsiteX12" fmla="*/ 5665191 w 6365383"/>
              <a:gd name="connsiteY12" fmla="*/ 27432 h 27432"/>
              <a:gd name="connsiteX13" fmla="*/ 4901345 w 6365383"/>
              <a:gd name="connsiteY13" fmla="*/ 27432 h 27432"/>
              <a:gd name="connsiteX14" fmla="*/ 4137499 w 6365383"/>
              <a:gd name="connsiteY14" fmla="*/ 27432 h 27432"/>
              <a:gd name="connsiteX15" fmla="*/ 3628268 w 6365383"/>
              <a:gd name="connsiteY15" fmla="*/ 27432 h 27432"/>
              <a:gd name="connsiteX16" fmla="*/ 2991730 w 6365383"/>
              <a:gd name="connsiteY16" fmla="*/ 27432 h 27432"/>
              <a:gd name="connsiteX17" fmla="*/ 2227884 w 6365383"/>
              <a:gd name="connsiteY17" fmla="*/ 27432 h 27432"/>
              <a:gd name="connsiteX18" fmla="*/ 1591346 w 6365383"/>
              <a:gd name="connsiteY18" fmla="*/ 27432 h 27432"/>
              <a:gd name="connsiteX19" fmla="*/ 1145769 w 6365383"/>
              <a:gd name="connsiteY19" fmla="*/ 27432 h 27432"/>
              <a:gd name="connsiteX20" fmla="*/ 636538 w 6365383"/>
              <a:gd name="connsiteY20" fmla="*/ 27432 h 27432"/>
              <a:gd name="connsiteX21" fmla="*/ 0 w 6365383"/>
              <a:gd name="connsiteY21" fmla="*/ 27432 h 27432"/>
              <a:gd name="connsiteX22" fmla="*/ 0 w 6365383"/>
              <a:gd name="connsiteY22"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365383" h="27432" fill="none" extrusionOk="0">
                <a:moveTo>
                  <a:pt x="0" y="0"/>
                </a:moveTo>
                <a:cubicBezTo>
                  <a:pt x="311910" y="25756"/>
                  <a:pt x="328854" y="-22977"/>
                  <a:pt x="636538" y="0"/>
                </a:cubicBezTo>
                <a:cubicBezTo>
                  <a:pt x="929901" y="50670"/>
                  <a:pt x="1067253" y="-1993"/>
                  <a:pt x="1273077" y="0"/>
                </a:cubicBezTo>
                <a:cubicBezTo>
                  <a:pt x="1507620" y="-24857"/>
                  <a:pt x="1747799" y="-10413"/>
                  <a:pt x="1909615" y="0"/>
                </a:cubicBezTo>
                <a:cubicBezTo>
                  <a:pt x="2041097" y="-21585"/>
                  <a:pt x="2422417" y="-28022"/>
                  <a:pt x="2673461" y="0"/>
                </a:cubicBezTo>
                <a:cubicBezTo>
                  <a:pt x="2948394" y="-4560"/>
                  <a:pt x="3134893" y="36981"/>
                  <a:pt x="3373653" y="0"/>
                </a:cubicBezTo>
                <a:cubicBezTo>
                  <a:pt x="3634761" y="-15887"/>
                  <a:pt x="3700843" y="23167"/>
                  <a:pt x="3819230" y="0"/>
                </a:cubicBezTo>
                <a:cubicBezTo>
                  <a:pt x="3977295" y="2943"/>
                  <a:pt x="4128910" y="-53150"/>
                  <a:pt x="4392114" y="0"/>
                </a:cubicBezTo>
                <a:cubicBezTo>
                  <a:pt x="4672763" y="9214"/>
                  <a:pt x="4999833" y="38501"/>
                  <a:pt x="5155960" y="0"/>
                </a:cubicBezTo>
                <a:cubicBezTo>
                  <a:pt x="5343367" y="-6557"/>
                  <a:pt x="5597661" y="6622"/>
                  <a:pt x="5792499" y="0"/>
                </a:cubicBezTo>
                <a:cubicBezTo>
                  <a:pt x="6020774" y="43813"/>
                  <a:pt x="6148830" y="-13954"/>
                  <a:pt x="6365383" y="0"/>
                </a:cubicBezTo>
                <a:cubicBezTo>
                  <a:pt x="6364517" y="8091"/>
                  <a:pt x="6365728" y="20268"/>
                  <a:pt x="6365383" y="27432"/>
                </a:cubicBezTo>
                <a:cubicBezTo>
                  <a:pt x="6144545" y="15144"/>
                  <a:pt x="6006673" y="-7419"/>
                  <a:pt x="5856152" y="27432"/>
                </a:cubicBezTo>
                <a:cubicBezTo>
                  <a:pt x="5638446" y="81548"/>
                  <a:pt x="5413846" y="52067"/>
                  <a:pt x="5092306" y="27432"/>
                </a:cubicBezTo>
                <a:cubicBezTo>
                  <a:pt x="4768499" y="43350"/>
                  <a:pt x="4708569" y="3163"/>
                  <a:pt x="4583076" y="27432"/>
                </a:cubicBezTo>
                <a:cubicBezTo>
                  <a:pt x="4475482" y="66269"/>
                  <a:pt x="4242792" y="42702"/>
                  <a:pt x="4137499" y="27432"/>
                </a:cubicBezTo>
                <a:cubicBezTo>
                  <a:pt x="4003968" y="24039"/>
                  <a:pt x="3882646" y="-3026"/>
                  <a:pt x="3691922" y="27432"/>
                </a:cubicBezTo>
                <a:cubicBezTo>
                  <a:pt x="3501639" y="8096"/>
                  <a:pt x="3270842" y="-14942"/>
                  <a:pt x="2991730" y="27432"/>
                </a:cubicBezTo>
                <a:cubicBezTo>
                  <a:pt x="2712135" y="55419"/>
                  <a:pt x="2758697" y="31955"/>
                  <a:pt x="2546153" y="27432"/>
                </a:cubicBezTo>
                <a:cubicBezTo>
                  <a:pt x="2362220" y="-818"/>
                  <a:pt x="2130397" y="57099"/>
                  <a:pt x="1909615" y="27432"/>
                </a:cubicBezTo>
                <a:cubicBezTo>
                  <a:pt x="1714835" y="-15389"/>
                  <a:pt x="1636770" y="40318"/>
                  <a:pt x="1400384" y="27432"/>
                </a:cubicBezTo>
                <a:cubicBezTo>
                  <a:pt x="1161504" y="29515"/>
                  <a:pt x="1060819" y="7773"/>
                  <a:pt x="763846" y="27432"/>
                </a:cubicBezTo>
                <a:cubicBezTo>
                  <a:pt x="465096" y="43671"/>
                  <a:pt x="165309" y="15831"/>
                  <a:pt x="0" y="27432"/>
                </a:cubicBezTo>
                <a:cubicBezTo>
                  <a:pt x="-2013" y="18874"/>
                  <a:pt x="-525" y="8614"/>
                  <a:pt x="0" y="0"/>
                </a:cubicBezTo>
                <a:close/>
              </a:path>
              <a:path w="6365383" h="27432" stroke="0" extrusionOk="0">
                <a:moveTo>
                  <a:pt x="0" y="0"/>
                </a:moveTo>
                <a:cubicBezTo>
                  <a:pt x="84020" y="9133"/>
                  <a:pt x="339524" y="24523"/>
                  <a:pt x="572884" y="0"/>
                </a:cubicBezTo>
                <a:cubicBezTo>
                  <a:pt x="803790" y="-14011"/>
                  <a:pt x="837492" y="-10007"/>
                  <a:pt x="1018461" y="0"/>
                </a:cubicBezTo>
                <a:cubicBezTo>
                  <a:pt x="1188530" y="8943"/>
                  <a:pt x="1571061" y="17361"/>
                  <a:pt x="1782307" y="0"/>
                </a:cubicBezTo>
                <a:cubicBezTo>
                  <a:pt x="1967448" y="-16010"/>
                  <a:pt x="2153334" y="-25629"/>
                  <a:pt x="2355192" y="0"/>
                </a:cubicBezTo>
                <a:cubicBezTo>
                  <a:pt x="2541804" y="20205"/>
                  <a:pt x="2779440" y="53811"/>
                  <a:pt x="2928076" y="0"/>
                </a:cubicBezTo>
                <a:cubicBezTo>
                  <a:pt x="3024078" y="-16903"/>
                  <a:pt x="3337092" y="43483"/>
                  <a:pt x="3691922" y="0"/>
                </a:cubicBezTo>
                <a:cubicBezTo>
                  <a:pt x="4060895" y="-1064"/>
                  <a:pt x="4072166" y="-17195"/>
                  <a:pt x="4201153" y="0"/>
                </a:cubicBezTo>
                <a:cubicBezTo>
                  <a:pt x="4349835" y="-22516"/>
                  <a:pt x="4800106" y="-64797"/>
                  <a:pt x="4964999" y="0"/>
                </a:cubicBezTo>
                <a:cubicBezTo>
                  <a:pt x="5186764" y="15779"/>
                  <a:pt x="5564421" y="-10544"/>
                  <a:pt x="5728845" y="0"/>
                </a:cubicBezTo>
                <a:cubicBezTo>
                  <a:pt x="5915953" y="5493"/>
                  <a:pt x="6171384" y="-48026"/>
                  <a:pt x="6365383" y="0"/>
                </a:cubicBezTo>
                <a:cubicBezTo>
                  <a:pt x="6366596" y="6455"/>
                  <a:pt x="6365588" y="14391"/>
                  <a:pt x="6365383" y="27432"/>
                </a:cubicBezTo>
                <a:cubicBezTo>
                  <a:pt x="6172514" y="805"/>
                  <a:pt x="6006523" y="20734"/>
                  <a:pt x="5665191" y="27432"/>
                </a:cubicBezTo>
                <a:cubicBezTo>
                  <a:pt x="5322179" y="66687"/>
                  <a:pt x="5219376" y="21111"/>
                  <a:pt x="4901345" y="27432"/>
                </a:cubicBezTo>
                <a:cubicBezTo>
                  <a:pt x="4621310" y="-13654"/>
                  <a:pt x="4455192" y="54857"/>
                  <a:pt x="4137499" y="27432"/>
                </a:cubicBezTo>
                <a:cubicBezTo>
                  <a:pt x="3853317" y="12285"/>
                  <a:pt x="3862894" y="26263"/>
                  <a:pt x="3628268" y="27432"/>
                </a:cubicBezTo>
                <a:cubicBezTo>
                  <a:pt x="3418779" y="32610"/>
                  <a:pt x="3174456" y="83656"/>
                  <a:pt x="2991730" y="27432"/>
                </a:cubicBezTo>
                <a:cubicBezTo>
                  <a:pt x="2801278" y="6667"/>
                  <a:pt x="2497351" y="22891"/>
                  <a:pt x="2227884" y="27432"/>
                </a:cubicBezTo>
                <a:cubicBezTo>
                  <a:pt x="1986101" y="16297"/>
                  <a:pt x="1767219" y="-7535"/>
                  <a:pt x="1591346" y="27432"/>
                </a:cubicBezTo>
                <a:cubicBezTo>
                  <a:pt x="1447183" y="73731"/>
                  <a:pt x="1315973" y="39477"/>
                  <a:pt x="1145769" y="27432"/>
                </a:cubicBezTo>
                <a:cubicBezTo>
                  <a:pt x="990245" y="8882"/>
                  <a:pt x="810845" y="16910"/>
                  <a:pt x="636538" y="27432"/>
                </a:cubicBezTo>
                <a:cubicBezTo>
                  <a:pt x="482916" y="17795"/>
                  <a:pt x="183027" y="-17710"/>
                  <a:pt x="0" y="27432"/>
                </a:cubicBezTo>
                <a:cubicBezTo>
                  <a:pt x="491" y="19542"/>
                  <a:pt x="-1038" y="8534"/>
                  <a:pt x="0" y="0"/>
                </a:cubicBezTo>
                <a:close/>
              </a:path>
              <a:path w="6365383" h="27432" fill="none" stroke="0" extrusionOk="0">
                <a:moveTo>
                  <a:pt x="0" y="0"/>
                </a:moveTo>
                <a:cubicBezTo>
                  <a:pt x="296223" y="15991"/>
                  <a:pt x="333462" y="-23795"/>
                  <a:pt x="636538" y="0"/>
                </a:cubicBezTo>
                <a:cubicBezTo>
                  <a:pt x="970197" y="30961"/>
                  <a:pt x="1039864" y="3183"/>
                  <a:pt x="1273077" y="0"/>
                </a:cubicBezTo>
                <a:cubicBezTo>
                  <a:pt x="1449809" y="24819"/>
                  <a:pt x="1735152" y="23060"/>
                  <a:pt x="1909615" y="0"/>
                </a:cubicBezTo>
                <a:cubicBezTo>
                  <a:pt x="2016351" y="-41665"/>
                  <a:pt x="2415001" y="34773"/>
                  <a:pt x="2673461" y="0"/>
                </a:cubicBezTo>
                <a:cubicBezTo>
                  <a:pt x="2996983" y="-13411"/>
                  <a:pt x="3130707" y="3741"/>
                  <a:pt x="3373653" y="0"/>
                </a:cubicBezTo>
                <a:cubicBezTo>
                  <a:pt x="3601951" y="-16140"/>
                  <a:pt x="3689909" y="23222"/>
                  <a:pt x="3819230" y="0"/>
                </a:cubicBezTo>
                <a:cubicBezTo>
                  <a:pt x="3931872" y="-29406"/>
                  <a:pt x="4119438" y="24094"/>
                  <a:pt x="4392114" y="0"/>
                </a:cubicBezTo>
                <a:cubicBezTo>
                  <a:pt x="4665359" y="21557"/>
                  <a:pt x="4978709" y="13267"/>
                  <a:pt x="5155960" y="0"/>
                </a:cubicBezTo>
                <a:cubicBezTo>
                  <a:pt x="5299518" y="-18386"/>
                  <a:pt x="5605020" y="-6762"/>
                  <a:pt x="5792499" y="0"/>
                </a:cubicBezTo>
                <a:cubicBezTo>
                  <a:pt x="6013281" y="43398"/>
                  <a:pt x="6167567" y="36727"/>
                  <a:pt x="6365383" y="0"/>
                </a:cubicBezTo>
                <a:cubicBezTo>
                  <a:pt x="6365697" y="8368"/>
                  <a:pt x="6365332" y="21050"/>
                  <a:pt x="6365383" y="27432"/>
                </a:cubicBezTo>
                <a:cubicBezTo>
                  <a:pt x="6154893" y="8454"/>
                  <a:pt x="6014206" y="-8372"/>
                  <a:pt x="5856152" y="27432"/>
                </a:cubicBezTo>
                <a:cubicBezTo>
                  <a:pt x="5659455" y="59503"/>
                  <a:pt x="5350806" y="-35991"/>
                  <a:pt x="5092306" y="27432"/>
                </a:cubicBezTo>
                <a:cubicBezTo>
                  <a:pt x="4756309" y="48260"/>
                  <a:pt x="4699746" y="-4780"/>
                  <a:pt x="4583076" y="27432"/>
                </a:cubicBezTo>
                <a:cubicBezTo>
                  <a:pt x="4462137" y="30142"/>
                  <a:pt x="4226168" y="50236"/>
                  <a:pt x="4137499" y="27432"/>
                </a:cubicBezTo>
                <a:cubicBezTo>
                  <a:pt x="4018570" y="42181"/>
                  <a:pt x="3887179" y="34623"/>
                  <a:pt x="3691922" y="27432"/>
                </a:cubicBezTo>
                <a:cubicBezTo>
                  <a:pt x="3499755" y="32935"/>
                  <a:pt x="3281056" y="-9158"/>
                  <a:pt x="2991730" y="27432"/>
                </a:cubicBezTo>
                <a:cubicBezTo>
                  <a:pt x="2716073" y="57462"/>
                  <a:pt x="2755481" y="34494"/>
                  <a:pt x="2546153" y="27432"/>
                </a:cubicBezTo>
                <a:cubicBezTo>
                  <a:pt x="2356479" y="62622"/>
                  <a:pt x="2079190" y="73729"/>
                  <a:pt x="1909615" y="27432"/>
                </a:cubicBezTo>
                <a:cubicBezTo>
                  <a:pt x="1715819" y="-26444"/>
                  <a:pt x="1631368" y="48131"/>
                  <a:pt x="1400384" y="27432"/>
                </a:cubicBezTo>
                <a:cubicBezTo>
                  <a:pt x="1177327" y="16190"/>
                  <a:pt x="1065236" y="24992"/>
                  <a:pt x="763846" y="27432"/>
                </a:cubicBezTo>
                <a:cubicBezTo>
                  <a:pt x="448643" y="60691"/>
                  <a:pt x="160833" y="2330"/>
                  <a:pt x="0" y="27432"/>
                </a:cubicBezTo>
                <a:cubicBezTo>
                  <a:pt x="1559" y="18666"/>
                  <a:pt x="-585" y="7580"/>
                  <a:pt x="0" y="0"/>
                </a:cubicBezTo>
                <a:close/>
              </a:path>
            </a:pathLst>
          </a:custGeom>
          <a:solidFill>
            <a:srgbClr val="FFFFFF"/>
          </a:solidFill>
          <a:ln w="41275" cap="rnd">
            <a:solidFill>
              <a:srgbClr val="FFFFFF"/>
            </a:solidFill>
            <a:round/>
            <a:extLst>
              <a:ext uri="{C807C97D-BFC1-408E-A445-0C87EB9F89A2}">
                <ask:lineSketchStyleProps xmlns:ask="http://schemas.microsoft.com/office/drawing/2018/sketchyshapes" sd="1219033472">
                  <a:custGeom>
                    <a:avLst/>
                    <a:gdLst>
                      <a:gd name="connsiteX0" fmla="*/ 0 w 6365383"/>
                      <a:gd name="connsiteY0" fmla="*/ 0 h 27432"/>
                      <a:gd name="connsiteX1" fmla="*/ 636538 w 6365383"/>
                      <a:gd name="connsiteY1" fmla="*/ 0 h 27432"/>
                      <a:gd name="connsiteX2" fmla="*/ 1273077 w 6365383"/>
                      <a:gd name="connsiteY2" fmla="*/ 0 h 27432"/>
                      <a:gd name="connsiteX3" fmla="*/ 1909615 w 6365383"/>
                      <a:gd name="connsiteY3" fmla="*/ 0 h 27432"/>
                      <a:gd name="connsiteX4" fmla="*/ 2673461 w 6365383"/>
                      <a:gd name="connsiteY4" fmla="*/ 0 h 27432"/>
                      <a:gd name="connsiteX5" fmla="*/ 3373653 w 6365383"/>
                      <a:gd name="connsiteY5" fmla="*/ 0 h 27432"/>
                      <a:gd name="connsiteX6" fmla="*/ 3819230 w 6365383"/>
                      <a:gd name="connsiteY6" fmla="*/ 0 h 27432"/>
                      <a:gd name="connsiteX7" fmla="*/ 4392114 w 6365383"/>
                      <a:gd name="connsiteY7" fmla="*/ 0 h 27432"/>
                      <a:gd name="connsiteX8" fmla="*/ 5155960 w 6365383"/>
                      <a:gd name="connsiteY8" fmla="*/ 0 h 27432"/>
                      <a:gd name="connsiteX9" fmla="*/ 5792499 w 6365383"/>
                      <a:gd name="connsiteY9" fmla="*/ 0 h 27432"/>
                      <a:gd name="connsiteX10" fmla="*/ 6365383 w 6365383"/>
                      <a:gd name="connsiteY10" fmla="*/ 0 h 27432"/>
                      <a:gd name="connsiteX11" fmla="*/ 6365383 w 6365383"/>
                      <a:gd name="connsiteY11" fmla="*/ 27432 h 27432"/>
                      <a:gd name="connsiteX12" fmla="*/ 5856152 w 6365383"/>
                      <a:gd name="connsiteY12" fmla="*/ 27432 h 27432"/>
                      <a:gd name="connsiteX13" fmla="*/ 5092306 w 6365383"/>
                      <a:gd name="connsiteY13" fmla="*/ 27432 h 27432"/>
                      <a:gd name="connsiteX14" fmla="*/ 4583076 w 6365383"/>
                      <a:gd name="connsiteY14" fmla="*/ 27432 h 27432"/>
                      <a:gd name="connsiteX15" fmla="*/ 4137499 w 6365383"/>
                      <a:gd name="connsiteY15" fmla="*/ 27432 h 27432"/>
                      <a:gd name="connsiteX16" fmla="*/ 3691922 w 6365383"/>
                      <a:gd name="connsiteY16" fmla="*/ 27432 h 27432"/>
                      <a:gd name="connsiteX17" fmla="*/ 2991730 w 6365383"/>
                      <a:gd name="connsiteY17" fmla="*/ 27432 h 27432"/>
                      <a:gd name="connsiteX18" fmla="*/ 2546153 w 6365383"/>
                      <a:gd name="connsiteY18" fmla="*/ 27432 h 27432"/>
                      <a:gd name="connsiteX19" fmla="*/ 1909615 w 6365383"/>
                      <a:gd name="connsiteY19" fmla="*/ 27432 h 27432"/>
                      <a:gd name="connsiteX20" fmla="*/ 1400384 w 6365383"/>
                      <a:gd name="connsiteY20" fmla="*/ 27432 h 27432"/>
                      <a:gd name="connsiteX21" fmla="*/ 763846 w 6365383"/>
                      <a:gd name="connsiteY21" fmla="*/ 27432 h 27432"/>
                      <a:gd name="connsiteX22" fmla="*/ 0 w 6365383"/>
                      <a:gd name="connsiteY22" fmla="*/ 27432 h 27432"/>
                      <a:gd name="connsiteX23" fmla="*/ 0 w 6365383"/>
                      <a:gd name="connsiteY23"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365383" h="27432" fill="none" extrusionOk="0">
                        <a:moveTo>
                          <a:pt x="0" y="0"/>
                        </a:moveTo>
                        <a:cubicBezTo>
                          <a:pt x="305169" y="21509"/>
                          <a:pt x="334704" y="-24261"/>
                          <a:pt x="636538" y="0"/>
                        </a:cubicBezTo>
                        <a:cubicBezTo>
                          <a:pt x="938372" y="24261"/>
                          <a:pt x="1068606" y="2269"/>
                          <a:pt x="1273077" y="0"/>
                        </a:cubicBezTo>
                        <a:cubicBezTo>
                          <a:pt x="1477548" y="-2269"/>
                          <a:pt x="1738189" y="6272"/>
                          <a:pt x="1909615" y="0"/>
                        </a:cubicBezTo>
                        <a:cubicBezTo>
                          <a:pt x="2081041" y="-6272"/>
                          <a:pt x="2377015" y="16623"/>
                          <a:pt x="2673461" y="0"/>
                        </a:cubicBezTo>
                        <a:cubicBezTo>
                          <a:pt x="2969907" y="-16623"/>
                          <a:pt x="3126114" y="13194"/>
                          <a:pt x="3373653" y="0"/>
                        </a:cubicBezTo>
                        <a:cubicBezTo>
                          <a:pt x="3621192" y="-13194"/>
                          <a:pt x="3704499" y="9486"/>
                          <a:pt x="3819230" y="0"/>
                        </a:cubicBezTo>
                        <a:cubicBezTo>
                          <a:pt x="3933961" y="-9486"/>
                          <a:pt x="4142691" y="-8221"/>
                          <a:pt x="4392114" y="0"/>
                        </a:cubicBezTo>
                        <a:cubicBezTo>
                          <a:pt x="4641537" y="8221"/>
                          <a:pt x="4974506" y="12257"/>
                          <a:pt x="5155960" y="0"/>
                        </a:cubicBezTo>
                        <a:cubicBezTo>
                          <a:pt x="5337414" y="-12257"/>
                          <a:pt x="5585731" y="-22537"/>
                          <a:pt x="5792499" y="0"/>
                        </a:cubicBezTo>
                        <a:cubicBezTo>
                          <a:pt x="5999267" y="22537"/>
                          <a:pt x="6164726" y="7303"/>
                          <a:pt x="6365383" y="0"/>
                        </a:cubicBezTo>
                        <a:cubicBezTo>
                          <a:pt x="6365125" y="7487"/>
                          <a:pt x="6364462" y="19984"/>
                          <a:pt x="6365383" y="27432"/>
                        </a:cubicBezTo>
                        <a:cubicBezTo>
                          <a:pt x="6132222" y="28304"/>
                          <a:pt x="6011986" y="2071"/>
                          <a:pt x="5856152" y="27432"/>
                        </a:cubicBezTo>
                        <a:cubicBezTo>
                          <a:pt x="5700318" y="52793"/>
                          <a:pt x="5410732" y="5357"/>
                          <a:pt x="5092306" y="27432"/>
                        </a:cubicBezTo>
                        <a:cubicBezTo>
                          <a:pt x="4773880" y="49507"/>
                          <a:pt x="4705351" y="6645"/>
                          <a:pt x="4583076" y="27432"/>
                        </a:cubicBezTo>
                        <a:cubicBezTo>
                          <a:pt x="4460801" y="48220"/>
                          <a:pt x="4239915" y="42209"/>
                          <a:pt x="4137499" y="27432"/>
                        </a:cubicBezTo>
                        <a:cubicBezTo>
                          <a:pt x="4035083" y="12655"/>
                          <a:pt x="3883665" y="32012"/>
                          <a:pt x="3691922" y="27432"/>
                        </a:cubicBezTo>
                        <a:cubicBezTo>
                          <a:pt x="3500179" y="22852"/>
                          <a:pt x="3265830" y="-126"/>
                          <a:pt x="2991730" y="27432"/>
                        </a:cubicBezTo>
                        <a:cubicBezTo>
                          <a:pt x="2717630" y="54990"/>
                          <a:pt x="2757122" y="34407"/>
                          <a:pt x="2546153" y="27432"/>
                        </a:cubicBezTo>
                        <a:cubicBezTo>
                          <a:pt x="2335184" y="20457"/>
                          <a:pt x="2107331" y="58889"/>
                          <a:pt x="1909615" y="27432"/>
                        </a:cubicBezTo>
                        <a:cubicBezTo>
                          <a:pt x="1711899" y="-4025"/>
                          <a:pt x="1634641" y="48316"/>
                          <a:pt x="1400384" y="27432"/>
                        </a:cubicBezTo>
                        <a:cubicBezTo>
                          <a:pt x="1166127" y="6548"/>
                          <a:pt x="1068288" y="15776"/>
                          <a:pt x="763846" y="27432"/>
                        </a:cubicBezTo>
                        <a:cubicBezTo>
                          <a:pt x="459404" y="39088"/>
                          <a:pt x="170017" y="14515"/>
                          <a:pt x="0" y="27432"/>
                        </a:cubicBezTo>
                        <a:cubicBezTo>
                          <a:pt x="-14" y="18173"/>
                          <a:pt x="-517" y="8990"/>
                          <a:pt x="0" y="0"/>
                        </a:cubicBezTo>
                        <a:close/>
                      </a:path>
                      <a:path w="6365383" h="27432" stroke="0" extrusionOk="0">
                        <a:moveTo>
                          <a:pt x="0" y="0"/>
                        </a:moveTo>
                        <a:cubicBezTo>
                          <a:pt x="114610" y="-2215"/>
                          <a:pt x="340315" y="12554"/>
                          <a:pt x="572884" y="0"/>
                        </a:cubicBezTo>
                        <a:cubicBezTo>
                          <a:pt x="805453" y="-12554"/>
                          <a:pt x="832891" y="-10424"/>
                          <a:pt x="1018461" y="0"/>
                        </a:cubicBezTo>
                        <a:cubicBezTo>
                          <a:pt x="1204031" y="10424"/>
                          <a:pt x="1590875" y="8682"/>
                          <a:pt x="1782307" y="0"/>
                        </a:cubicBezTo>
                        <a:cubicBezTo>
                          <a:pt x="1973739" y="-8682"/>
                          <a:pt x="2150876" y="5508"/>
                          <a:pt x="2355192" y="0"/>
                        </a:cubicBezTo>
                        <a:cubicBezTo>
                          <a:pt x="2559508" y="-5508"/>
                          <a:pt x="2790194" y="26965"/>
                          <a:pt x="2928076" y="0"/>
                        </a:cubicBezTo>
                        <a:cubicBezTo>
                          <a:pt x="3065958" y="-26965"/>
                          <a:pt x="3321537" y="819"/>
                          <a:pt x="3691922" y="0"/>
                        </a:cubicBezTo>
                        <a:cubicBezTo>
                          <a:pt x="4062307" y="-819"/>
                          <a:pt x="4072238" y="-15327"/>
                          <a:pt x="4201153" y="0"/>
                        </a:cubicBezTo>
                        <a:cubicBezTo>
                          <a:pt x="4330068" y="15327"/>
                          <a:pt x="4772079" y="-35646"/>
                          <a:pt x="4964999" y="0"/>
                        </a:cubicBezTo>
                        <a:cubicBezTo>
                          <a:pt x="5157919" y="35646"/>
                          <a:pt x="5543915" y="6802"/>
                          <a:pt x="5728845" y="0"/>
                        </a:cubicBezTo>
                        <a:cubicBezTo>
                          <a:pt x="5913775" y="-6802"/>
                          <a:pt x="6142952" y="-21408"/>
                          <a:pt x="6365383" y="0"/>
                        </a:cubicBezTo>
                        <a:cubicBezTo>
                          <a:pt x="6364552" y="6329"/>
                          <a:pt x="6365787" y="16858"/>
                          <a:pt x="6365383" y="27432"/>
                        </a:cubicBezTo>
                        <a:cubicBezTo>
                          <a:pt x="6176931" y="320"/>
                          <a:pt x="5998736" y="11244"/>
                          <a:pt x="5665191" y="27432"/>
                        </a:cubicBezTo>
                        <a:cubicBezTo>
                          <a:pt x="5331646" y="43620"/>
                          <a:pt x="5198011" y="28615"/>
                          <a:pt x="4901345" y="27432"/>
                        </a:cubicBezTo>
                        <a:cubicBezTo>
                          <a:pt x="4604679" y="26249"/>
                          <a:pt x="4422931" y="40617"/>
                          <a:pt x="4137499" y="27432"/>
                        </a:cubicBezTo>
                        <a:cubicBezTo>
                          <a:pt x="3852067" y="14247"/>
                          <a:pt x="3861939" y="26581"/>
                          <a:pt x="3628268" y="27432"/>
                        </a:cubicBezTo>
                        <a:cubicBezTo>
                          <a:pt x="3394597" y="28283"/>
                          <a:pt x="3171361" y="44132"/>
                          <a:pt x="2991730" y="27432"/>
                        </a:cubicBezTo>
                        <a:cubicBezTo>
                          <a:pt x="2812099" y="10732"/>
                          <a:pt x="2469344" y="24737"/>
                          <a:pt x="2227884" y="27432"/>
                        </a:cubicBezTo>
                        <a:cubicBezTo>
                          <a:pt x="1986424" y="30127"/>
                          <a:pt x="1748067" y="6359"/>
                          <a:pt x="1591346" y="27432"/>
                        </a:cubicBezTo>
                        <a:cubicBezTo>
                          <a:pt x="1434625" y="48505"/>
                          <a:pt x="1307456" y="39663"/>
                          <a:pt x="1145769" y="27432"/>
                        </a:cubicBezTo>
                        <a:cubicBezTo>
                          <a:pt x="984082" y="15201"/>
                          <a:pt x="800279" y="41647"/>
                          <a:pt x="636538" y="27432"/>
                        </a:cubicBezTo>
                        <a:cubicBezTo>
                          <a:pt x="472797" y="13217"/>
                          <a:pt x="160022" y="2213"/>
                          <a:pt x="0" y="27432"/>
                        </a:cubicBezTo>
                        <a:cubicBezTo>
                          <a:pt x="-177" y="19307"/>
                          <a:pt x="-1145" y="9170"/>
                          <a:pt x="0" y="0"/>
                        </a:cubicBezTo>
                        <a:close/>
                      </a:path>
                    </a:pathLst>
                  </a:cu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12657148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6"/>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4"/>
          <a:srcRect/>
          <a:stretch>
            <a:fillRect/>
          </a:stretch>
        </p:blipFill>
        <p:spPr>
          <a:xfrm>
            <a:off x="0" y="8901113"/>
            <a:ext cx="5715000" cy="1385887"/>
          </a:xfrm>
          <a:prstGeom prst="rect">
            <a:avLst/>
          </a:prstGeom>
        </p:spPr>
      </p:pic>
      <p:grpSp>
        <p:nvGrpSpPr>
          <p:cNvPr id="3" name="Gruppo 2">
            <a:extLst>
              <a:ext uri="{FF2B5EF4-FFF2-40B4-BE49-F238E27FC236}">
                <a16:creationId xmlns:a16="http://schemas.microsoft.com/office/drawing/2014/main" id="{1C29CBCA-BE0A-4EF6-AC69-329941E1DCFD}"/>
              </a:ext>
            </a:extLst>
          </p:cNvPr>
          <p:cNvGrpSpPr/>
          <p:nvPr/>
        </p:nvGrpSpPr>
        <p:grpSpPr>
          <a:xfrm>
            <a:off x="-12" y="138554"/>
            <a:ext cx="18288002" cy="681138"/>
            <a:chOff x="-12" y="138554"/>
            <a:chExt cx="18288002" cy="681138"/>
          </a:xfrm>
        </p:grpSpPr>
        <p:grpSp>
          <p:nvGrpSpPr>
            <p:cNvPr id="2" name="Gruppo 1">
              <a:extLst>
                <a:ext uri="{FF2B5EF4-FFF2-40B4-BE49-F238E27FC236}">
                  <a16:creationId xmlns:a16="http://schemas.microsoft.com/office/drawing/2014/main" id="{24E9C7AF-0093-476F-826C-A2702AB72892}"/>
                </a:ext>
              </a:extLst>
            </p:cNvPr>
            <p:cNvGrpSpPr/>
            <p:nvPr/>
          </p:nvGrpSpPr>
          <p:grpSpPr>
            <a:xfrm>
              <a:off x="0" y="153125"/>
              <a:ext cx="17907000" cy="666567"/>
              <a:chOff x="0" y="153125"/>
              <a:chExt cx="17907000" cy="666567"/>
            </a:xfrm>
          </p:grpSpPr>
          <p:pic>
            <p:nvPicPr>
              <p:cNvPr id="10" name="Picture 10"/>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2" name="TextBox 11">
                <a:extLst>
                  <a:ext uri="{FF2B5EF4-FFF2-40B4-BE49-F238E27FC236}">
                    <a16:creationId xmlns:a16="http://schemas.microsoft.com/office/drawing/2014/main" id="{1BD9B5F4-614C-4EB6-8C5B-120A5420CE43}"/>
                  </a:ext>
                </a:extLst>
              </p:cNvPr>
              <p:cNvSpPr txBox="1"/>
              <p:nvPr/>
            </p:nvSpPr>
            <p:spPr>
              <a:xfrm>
                <a:off x="12154296" y="257980"/>
                <a:ext cx="5752704" cy="456856"/>
              </a:xfrm>
              <a:prstGeom prst="rect">
                <a:avLst/>
              </a:prstGeom>
            </p:spPr>
            <p:txBody>
              <a:bodyPr wrap="square" lIns="0" tIns="0" rIns="0" bIns="0" rtlCol="0" anchor="t">
                <a:spAutoFit/>
              </a:bodyPr>
              <a:lstStyle/>
              <a:p>
                <a:pPr algn="r">
                  <a:lnSpc>
                    <a:spcPts val="3919"/>
                  </a:lnSpc>
                  <a:spcBef>
                    <a:spcPct val="0"/>
                  </a:spcBef>
                </a:pPr>
                <a:endParaRPr lang="en-US" sz="2800">
                  <a:solidFill>
                    <a:schemeClr val="tx1">
                      <a:lumMod val="75000"/>
                      <a:lumOff val="25000"/>
                    </a:schemeClr>
                  </a:solidFill>
                  <a:latin typeface="Arial" panose="020B0604020202020204" pitchFamily="34" charset="0"/>
                  <a:cs typeface="Arial" panose="020B0604020202020204" pitchFamily="34" charset="0"/>
                </a:endParaRPr>
              </a:p>
            </p:txBody>
          </p:sp>
        </p:grpSp>
        <p:sp>
          <p:nvSpPr>
            <p:cNvPr id="14" name="Rettangolo 13">
              <a:extLst>
                <a:ext uri="{FF2B5EF4-FFF2-40B4-BE49-F238E27FC236}">
                  <a16:creationId xmlns:a16="http://schemas.microsoft.com/office/drawing/2014/main" id="{55199736-B8B6-4C9A-8BAF-233E07A0CA89}"/>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3" name="TextBox 13"/>
          <p:cNvSpPr txBox="1"/>
          <p:nvPr/>
        </p:nvSpPr>
        <p:spPr>
          <a:xfrm>
            <a:off x="1231371" y="867878"/>
            <a:ext cx="15011399" cy="1023293"/>
          </a:xfrm>
          <a:prstGeom prst="rect">
            <a:avLst/>
          </a:prstGeom>
        </p:spPr>
        <p:txBody>
          <a:bodyPr wrap="square" lIns="0" tIns="0" rIns="0" bIns="0" rtlCol="0" anchor="t">
            <a:spAutoFit/>
          </a:bodyPr>
          <a:lstStyle/>
          <a:p>
            <a:pPr algn="ctr">
              <a:lnSpc>
                <a:spcPts val="8960"/>
              </a:lnSpc>
              <a:spcBef>
                <a:spcPct val="0"/>
              </a:spcBef>
            </a:pPr>
            <a:r>
              <a:rPr lang="en-US" sz="5400" b="1">
                <a:solidFill>
                  <a:srgbClr val="CC0033"/>
                </a:solidFill>
                <a:latin typeface="+mj-lt"/>
                <a:cs typeface="Arial" panose="020B0604020202020204" pitchFamily="34" charset="0"/>
              </a:rPr>
              <a:t>Objective of the Course</a:t>
            </a:r>
            <a:endParaRPr lang="en-US" sz="4400" b="1" i="1">
              <a:solidFill>
                <a:srgbClr val="CC0033"/>
              </a:solidFill>
              <a:latin typeface="+mj-lt"/>
              <a:cs typeface="Arial" panose="020B0604020202020204" pitchFamily="34" charset="0"/>
            </a:endParaRPr>
          </a:p>
        </p:txBody>
      </p:sp>
      <p:sp>
        <p:nvSpPr>
          <p:cNvPr id="22" name="TextBox 21">
            <a:extLst>
              <a:ext uri="{FF2B5EF4-FFF2-40B4-BE49-F238E27FC236}">
                <a16:creationId xmlns:a16="http://schemas.microsoft.com/office/drawing/2014/main" id="{F21DCD0B-B68A-4D7A-9F6C-6D71442D13F2}"/>
              </a:ext>
            </a:extLst>
          </p:cNvPr>
          <p:cNvSpPr txBox="1"/>
          <p:nvPr/>
        </p:nvSpPr>
        <p:spPr>
          <a:xfrm>
            <a:off x="838189" y="2044213"/>
            <a:ext cx="16611600" cy="6545382"/>
          </a:xfrm>
          <a:prstGeom prst="rect">
            <a:avLst/>
          </a:prstGeom>
        </p:spPr>
        <p:txBody>
          <a:bodyPr wrap="square" lIns="0" tIns="0" rIns="0" bIns="0" rtlCol="0" anchor="t">
            <a:spAutoFit/>
          </a:bodyPr>
          <a:lstStyle/>
          <a:p>
            <a:r>
              <a:rPr lang="en-US" sz="2800" kern="100" dirty="0">
                <a:solidFill>
                  <a:srgbClr val="404040"/>
                </a:solidFill>
                <a:effectLst/>
                <a:latin typeface="+mj-lt"/>
                <a:ea typeface="Noto Sans CJK SC"/>
                <a:cs typeface="Lohit Devanagari"/>
              </a:rPr>
              <a:t>The objective of this course is to:</a:t>
            </a:r>
          </a:p>
          <a:p>
            <a:pPr marL="342900" lvl="0" indent="-342900" algn="just">
              <a:lnSpc>
                <a:spcPct val="150000"/>
              </a:lnSpc>
              <a:spcAft>
                <a:spcPts val="800"/>
              </a:spcAft>
              <a:buFont typeface="Symbol" panose="05050102010706020507" pitchFamily="18" charset="2"/>
              <a:buChar char=""/>
            </a:pPr>
            <a:r>
              <a:rPr lang="en-GB" sz="2800" dirty="0">
                <a:effectLst/>
                <a:latin typeface="Arial (Textkörper (komplexe Sch"/>
                <a:ea typeface="SimSun" panose="02010600030101010101" pitchFamily="2" charset="-122"/>
                <a:cs typeface="Arial" panose="020B0604020202020204" pitchFamily="34" charset="0"/>
              </a:rPr>
              <a:t>To </a:t>
            </a:r>
            <a:r>
              <a:rPr lang="en-US" sz="2800" b="0" i="0" dirty="0">
                <a:solidFill>
                  <a:srgbClr val="000000"/>
                </a:solidFill>
                <a:effectLst/>
                <a:latin typeface="Arial" panose="020B0604020202020204" pitchFamily="34" charset="0"/>
              </a:rPr>
              <a:t>provide up-to-day learning resources on state-of-the-art for REII (resource and energy intensive industries) such as production systems, resource use, energy efficiency, environmental impacts.</a:t>
            </a:r>
          </a:p>
          <a:p>
            <a:pPr marL="342900" lvl="0" indent="-342900" algn="just">
              <a:lnSpc>
                <a:spcPct val="150000"/>
              </a:lnSpc>
              <a:spcAft>
                <a:spcPts val="800"/>
              </a:spcAft>
              <a:buFont typeface="Symbol" panose="05050102010706020507" pitchFamily="18" charset="2"/>
              <a:buChar char=""/>
            </a:pPr>
            <a:r>
              <a:rPr lang="en-GB" sz="2800" dirty="0">
                <a:effectLst/>
                <a:latin typeface="Arial (Textkörper (komplexe Sch"/>
                <a:ea typeface="SimSun" panose="02010600030101010101" pitchFamily="2" charset="-122"/>
                <a:cs typeface="Arial" panose="020B0604020202020204" pitchFamily="34" charset="0"/>
              </a:rPr>
              <a:t>To provide knowledge on methods for </a:t>
            </a:r>
            <a:r>
              <a:rPr lang="en-US" sz="2800" b="0" i="0" dirty="0">
                <a:solidFill>
                  <a:srgbClr val="000000"/>
                </a:solidFill>
                <a:effectLst/>
                <a:latin typeface="Arial" panose="020B0604020202020204" pitchFamily="34" charset="0"/>
              </a:rPr>
              <a:t>assessing the best retrofitting options to achieve a high impact over the whole production chain, for example Decision Support System and Life Cycle Assessment.</a:t>
            </a:r>
            <a:endParaRPr lang="en-GB" sz="2800" dirty="0">
              <a:effectLst/>
              <a:latin typeface="Arial (Textkörper (komplexe Sch"/>
              <a:ea typeface="SimSun" panose="02010600030101010101" pitchFamily="2" charset="-122"/>
              <a:cs typeface="Arial" panose="020B0604020202020204" pitchFamily="34" charset="0"/>
            </a:endParaRPr>
          </a:p>
          <a:p>
            <a:pPr marL="342900" lvl="0" indent="-342900" algn="just">
              <a:lnSpc>
                <a:spcPct val="150000"/>
              </a:lnSpc>
              <a:spcAft>
                <a:spcPts val="800"/>
              </a:spcAft>
              <a:buFont typeface="Symbol" panose="05050102010706020507" pitchFamily="18" charset="2"/>
              <a:buChar char=""/>
            </a:pPr>
            <a:r>
              <a:rPr lang="en-GB" sz="2800" dirty="0">
                <a:effectLst/>
                <a:latin typeface="Arial (Textkörper (komplexe Sch"/>
                <a:ea typeface="SimSun" panose="02010600030101010101" pitchFamily="2" charset="-122"/>
                <a:cs typeface="Arial" panose="020B0604020202020204" pitchFamily="34" charset="0"/>
              </a:rPr>
              <a:t>To enhance knowledge transfer about retrofitting actions undertaken by REIIs </a:t>
            </a:r>
            <a:r>
              <a:rPr lang="en-US" sz="2800" b="0" i="0" dirty="0">
                <a:solidFill>
                  <a:srgbClr val="000000"/>
                </a:solidFill>
                <a:effectLst/>
                <a:latin typeface="Arial" panose="020B0604020202020204" pitchFamily="34" charset="0"/>
              </a:rPr>
              <a:t>while improving their overall technical, economic and environmental performance.</a:t>
            </a:r>
            <a:endParaRPr lang="en-GB" sz="2800" dirty="0">
              <a:effectLst/>
              <a:latin typeface="Arial (Textkörper (komplexe Sch"/>
              <a:ea typeface="SimSun" panose="02010600030101010101" pitchFamily="2" charset="-122"/>
              <a:cs typeface="Arial" panose="020B0604020202020204" pitchFamily="34" charset="0"/>
            </a:endParaRPr>
          </a:p>
          <a:p>
            <a:pPr marL="342900" lvl="0" indent="-342900" algn="just">
              <a:lnSpc>
                <a:spcPct val="150000"/>
              </a:lnSpc>
              <a:spcAft>
                <a:spcPts val="800"/>
              </a:spcAft>
              <a:buFont typeface="Symbol" panose="05050102010706020507" pitchFamily="18" charset="2"/>
              <a:buChar char=""/>
            </a:pPr>
            <a:r>
              <a:rPr lang="en-US" sz="2800" b="0" i="0" dirty="0">
                <a:solidFill>
                  <a:srgbClr val="000000"/>
                </a:solidFill>
                <a:effectLst/>
                <a:latin typeface="Arial" panose="020B0604020202020204" pitchFamily="34" charset="0"/>
              </a:rPr>
              <a:t>To ensure results replication and the exploitation of the retrofitting potential in REIIs.</a:t>
            </a:r>
            <a:endParaRPr lang="en-GB" sz="2800" dirty="0">
              <a:effectLst/>
              <a:latin typeface="Arial (Textkörper (komplexe Sch"/>
              <a:ea typeface="SimSun" panose="02010600030101010101" pitchFamily="2" charset="-122"/>
              <a:cs typeface="Arial" panose="020B0604020202020204" pitchFamily="34" charset="0"/>
            </a:endParaRPr>
          </a:p>
          <a:p>
            <a:pPr marL="342900" indent="-342900" algn="just">
              <a:lnSpc>
                <a:spcPct val="150000"/>
              </a:lnSpc>
              <a:spcAft>
                <a:spcPts val="800"/>
              </a:spcAft>
              <a:buFont typeface="Symbol" panose="05050102010706020507" pitchFamily="18" charset="2"/>
              <a:buChar char=""/>
            </a:pPr>
            <a:r>
              <a:rPr lang="en-GB" sz="2800" dirty="0">
                <a:effectLst/>
                <a:latin typeface="Arial (Textkörper (komplexe Sch"/>
                <a:ea typeface="SimSun" panose="02010600030101010101" pitchFamily="2" charset="-122"/>
                <a:cs typeface="Arial" panose="020B0604020202020204" pitchFamily="34" charset="0"/>
              </a:rPr>
              <a:t>To increase the capacity of stakeholders </a:t>
            </a:r>
            <a:r>
              <a:rPr lang="en-GB" sz="2800" dirty="0">
                <a:latin typeface="Arial (Textkörper (komplexe Sch"/>
                <a:ea typeface="SimSun" panose="02010600030101010101" pitchFamily="2" charset="-122"/>
                <a:cs typeface="Arial" panose="020B0604020202020204" pitchFamily="34" charset="0"/>
              </a:rPr>
              <a:t>interested in retrofitting industrial processes.</a:t>
            </a:r>
            <a:endParaRPr lang="en-GB" sz="2800" dirty="0">
              <a:effectLst/>
              <a:latin typeface="Arial (Textkörper (komplexe Sch"/>
              <a:ea typeface="SimSun" panose="02010600030101010101" pitchFamily="2" charset="-122"/>
              <a:cs typeface="Arial" panose="020B0604020202020204" pitchFamily="34" charset="0"/>
            </a:endParaRPr>
          </a:p>
          <a:p>
            <a:endParaRPr lang="sv-SE" sz="2800" kern="100" dirty="0">
              <a:solidFill>
                <a:srgbClr val="404040"/>
              </a:solidFill>
              <a:effectLst/>
              <a:latin typeface="+mj-lt"/>
              <a:ea typeface="Noto Sans CJK SC"/>
              <a:cs typeface="Lohit Devanagari"/>
            </a:endParaRPr>
          </a:p>
        </p:txBody>
      </p:sp>
    </p:spTree>
    <p:extLst>
      <p:ext uri="{BB962C8B-B14F-4D97-AF65-F5344CB8AC3E}">
        <p14:creationId xmlns:p14="http://schemas.microsoft.com/office/powerpoint/2010/main" val="388625206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6"/>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marL="0" marR="0" lvl="0" indent="0" algn="ctr" defTabSz="914400" rtl="0" eaLnBrk="1" fontAlgn="auto" latinLnBrk="0" hangingPunct="1">
                <a:lnSpc>
                  <a:spcPts val="3919"/>
                </a:lnSpc>
                <a:spcBef>
                  <a:spcPct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OCR A Extended" panose="02010509020102010303" pitchFamily="50" charset="0"/>
                  <a:ea typeface="+mn-ea"/>
                  <a:cs typeface="+mn-cs"/>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4"/>
          <a:srcRect/>
          <a:stretch>
            <a:fillRect/>
          </a:stretch>
        </p:blipFill>
        <p:spPr>
          <a:xfrm>
            <a:off x="0" y="8852181"/>
            <a:ext cx="5715000" cy="1385887"/>
          </a:xfrm>
          <a:prstGeom prst="rect">
            <a:avLst/>
          </a:prstGeom>
        </p:spPr>
      </p:pic>
      <p:grpSp>
        <p:nvGrpSpPr>
          <p:cNvPr id="3" name="Gruppo 2">
            <a:extLst>
              <a:ext uri="{FF2B5EF4-FFF2-40B4-BE49-F238E27FC236}">
                <a16:creationId xmlns:a16="http://schemas.microsoft.com/office/drawing/2014/main" id="{1C29CBCA-BE0A-4EF6-AC69-329941E1DCFD}"/>
              </a:ext>
            </a:extLst>
          </p:cNvPr>
          <p:cNvGrpSpPr/>
          <p:nvPr/>
        </p:nvGrpSpPr>
        <p:grpSpPr>
          <a:xfrm>
            <a:off x="-12" y="138554"/>
            <a:ext cx="18288002" cy="681138"/>
            <a:chOff x="-12" y="138554"/>
            <a:chExt cx="18288002" cy="681138"/>
          </a:xfrm>
        </p:grpSpPr>
        <p:grpSp>
          <p:nvGrpSpPr>
            <p:cNvPr id="2" name="Gruppo 1">
              <a:extLst>
                <a:ext uri="{FF2B5EF4-FFF2-40B4-BE49-F238E27FC236}">
                  <a16:creationId xmlns:a16="http://schemas.microsoft.com/office/drawing/2014/main" id="{24E9C7AF-0093-476F-826C-A2702AB72892}"/>
                </a:ext>
              </a:extLst>
            </p:cNvPr>
            <p:cNvGrpSpPr/>
            <p:nvPr/>
          </p:nvGrpSpPr>
          <p:grpSpPr>
            <a:xfrm>
              <a:off x="0" y="153125"/>
              <a:ext cx="17907000" cy="666567"/>
              <a:chOff x="0" y="153125"/>
              <a:chExt cx="17907000" cy="666567"/>
            </a:xfrm>
          </p:grpSpPr>
          <p:grpSp>
            <p:nvGrpSpPr>
              <p:cNvPr id="16" name="Gruppo 15">
                <a:extLst>
                  <a:ext uri="{FF2B5EF4-FFF2-40B4-BE49-F238E27FC236}">
                    <a16:creationId xmlns:a16="http://schemas.microsoft.com/office/drawing/2014/main" id="{DAC42A46-917D-41AB-8F07-E15E54D0F7D4}"/>
                  </a:ext>
                </a:extLst>
              </p:cNvPr>
              <p:cNvGrpSpPr/>
              <p:nvPr/>
            </p:nvGrpSpPr>
            <p:grpSpPr>
              <a:xfrm>
                <a:off x="0" y="153125"/>
                <a:ext cx="13958844" cy="666567"/>
                <a:chOff x="0" y="153125"/>
                <a:chExt cx="13958844" cy="666567"/>
              </a:xfrm>
            </p:grpSpPr>
            <p:pic>
              <p:nvPicPr>
                <p:cNvPr id="10" name="Picture 10"/>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1" name="TextBox 11"/>
                <p:cNvSpPr txBox="1"/>
                <p:nvPr/>
              </p:nvSpPr>
              <p:spPr>
                <a:xfrm>
                  <a:off x="228600" y="257980"/>
                  <a:ext cx="9296400" cy="456856"/>
                </a:xfrm>
                <a:prstGeom prst="rect">
                  <a:avLst/>
                </a:prstGeom>
              </p:spPr>
              <p:txBody>
                <a:bodyPr wrap="square" lIns="0" tIns="0" rIns="0" bIns="0" rtlCol="0" anchor="t">
                  <a:spAutoFit/>
                </a:bodyPr>
                <a:lstStyle/>
                <a:p>
                  <a:pPr marL="0" marR="0" lvl="0" indent="0" algn="l" defTabSz="914400" rtl="0" eaLnBrk="1" fontAlgn="auto" latinLnBrk="0" hangingPunct="1">
                    <a:lnSpc>
                      <a:spcPts val="3919"/>
                    </a:lnSpc>
                    <a:spcBef>
                      <a:spcPct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2" name="TextBox 11">
                <a:extLst>
                  <a:ext uri="{FF2B5EF4-FFF2-40B4-BE49-F238E27FC236}">
                    <a16:creationId xmlns:a16="http://schemas.microsoft.com/office/drawing/2014/main" id="{1BD9B5F4-614C-4EB6-8C5B-120A5420CE43}"/>
                  </a:ext>
                </a:extLst>
              </p:cNvPr>
              <p:cNvSpPr txBox="1"/>
              <p:nvPr/>
            </p:nvSpPr>
            <p:spPr>
              <a:xfrm>
                <a:off x="12154296" y="257980"/>
                <a:ext cx="5752704" cy="456856"/>
              </a:xfrm>
              <a:prstGeom prst="rect">
                <a:avLst/>
              </a:prstGeom>
            </p:spPr>
            <p:txBody>
              <a:bodyPr wrap="square" lIns="0" tIns="0" rIns="0" bIns="0" rtlCol="0" anchor="t">
                <a:spAutoFit/>
              </a:bodyPr>
              <a:lstStyle/>
              <a:p>
                <a:pPr marL="0" marR="0" lvl="0" indent="0" algn="r" defTabSz="914400" rtl="0" eaLnBrk="1" fontAlgn="auto" latinLnBrk="0" hangingPunct="1">
                  <a:lnSpc>
                    <a:spcPts val="3919"/>
                  </a:lnSpc>
                  <a:spcBef>
                    <a:spcPct val="0"/>
                  </a:spcBef>
                  <a:spcAft>
                    <a:spcPts val="0"/>
                  </a:spcAft>
                  <a:buClrTx/>
                  <a:buSzTx/>
                  <a:buFontTx/>
                  <a:buNone/>
                  <a:tabLst/>
                  <a:defRPr/>
                </a:pPr>
                <a:endParaRPr kumimoji="0" lang="en-US" sz="2800" b="0" i="0" u="none" strike="noStrike" kern="1200" cap="none" spc="0" normalizeH="0" baseline="0" noProof="0">
                  <a:ln>
                    <a:noFill/>
                  </a:ln>
                  <a:solidFill>
                    <a:srgbClr val="2F2F2F">
                      <a:lumMod val="75000"/>
                      <a:lumOff val="25000"/>
                    </a:srgbClr>
                  </a:solidFill>
                  <a:effectLst/>
                  <a:uLnTx/>
                  <a:uFillTx/>
                  <a:latin typeface="Arial" panose="020B0604020202020204" pitchFamily="34" charset="0"/>
                  <a:ea typeface="+mn-ea"/>
                  <a:cs typeface="Arial" panose="020B0604020202020204" pitchFamily="34" charset="0"/>
                </a:endParaRPr>
              </a:p>
            </p:txBody>
          </p:sp>
        </p:grpSp>
        <p:sp>
          <p:nvSpPr>
            <p:cNvPr id="14" name="Rettangolo 13">
              <a:extLst>
                <a:ext uri="{FF2B5EF4-FFF2-40B4-BE49-F238E27FC236}">
                  <a16:creationId xmlns:a16="http://schemas.microsoft.com/office/drawing/2014/main" id="{55199736-B8B6-4C9A-8BAF-233E07A0CA89}"/>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22" name="TextBox 21">
            <a:extLst>
              <a:ext uri="{FF2B5EF4-FFF2-40B4-BE49-F238E27FC236}">
                <a16:creationId xmlns:a16="http://schemas.microsoft.com/office/drawing/2014/main" id="{A62B0953-D773-4D67-AD34-F5E0CA958321}"/>
              </a:ext>
            </a:extLst>
          </p:cNvPr>
          <p:cNvSpPr txBox="1"/>
          <p:nvPr/>
        </p:nvSpPr>
        <p:spPr>
          <a:xfrm>
            <a:off x="997304" y="3727273"/>
            <a:ext cx="8678196" cy="4651979"/>
          </a:xfrm>
          <a:prstGeom prst="rect">
            <a:avLst/>
          </a:prstGeom>
          <a:noFill/>
        </p:spPr>
        <p:txBody>
          <a:bodyPr wrap="square">
            <a:spAutoFit/>
          </a:bodyPr>
          <a:lstStyle/>
          <a:p>
            <a:pPr marL="0" marR="0" lvl="0" indent="0" algn="just" defTabSz="914400" rtl="0" eaLnBrk="1" fontAlgn="auto" latinLnBrk="0" hangingPunct="1">
              <a:lnSpc>
                <a:spcPct val="15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mn-cs"/>
              </a:rPr>
              <a:t>SECIL was founded in 1930 and is today one of Portugal’s leading cement producers. Although cement production is its core business, SECIL lies at the heart of a group of around 40 companies operating in complementary areas such as concrete, pre-fabricated concrete products, hydraulic lime, plasters, claddings, as well as quarrying. Currently, the Group has 8 cement plants with a total capacity of approximately 9.6 million tons, with 3 facilities in Portugal, 2 in Brazil and 1 in each country: Tunisia, Lebanon and Angola, respectively. The factory in </a:t>
            </a:r>
            <a:r>
              <a:rPr kumimoji="0" lang="en-US" sz="2000" b="0" i="0" u="none" strike="noStrike" kern="1200" cap="none" spc="0" normalizeH="0" baseline="0" noProof="0" err="1">
                <a:ln>
                  <a:noFill/>
                </a:ln>
                <a:solidFill>
                  <a:srgbClr val="000000"/>
                </a:solidFill>
                <a:effectLst/>
                <a:uLnTx/>
                <a:uFillTx/>
                <a:latin typeface="Arial" panose="020B0604020202020204" pitchFamily="34" charset="0"/>
                <a:ea typeface="+mn-ea"/>
                <a:cs typeface="+mn-cs"/>
              </a:rPr>
              <a:t>Maceira</a:t>
            </a:r>
            <a:r>
              <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mn-cs"/>
              </a:rPr>
              <a:t>-Liz produces around 600 ton/year of cement.</a:t>
            </a:r>
          </a:p>
          <a:p>
            <a:pPr marL="0" marR="0" lvl="0" indent="0" algn="just" defTabSz="914400" rtl="0" eaLnBrk="1" fontAlgn="auto" latinLnBrk="0" hangingPunct="1">
              <a:lnSpc>
                <a:spcPct val="15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pic>
        <p:nvPicPr>
          <p:cNvPr id="26" name="Imagen 93">
            <a:extLst>
              <a:ext uri="{FF2B5EF4-FFF2-40B4-BE49-F238E27FC236}">
                <a16:creationId xmlns:a16="http://schemas.microsoft.com/office/drawing/2014/main" id="{48991D81-EC2F-4CBC-8852-E22A0041CF24}"/>
              </a:ext>
            </a:extLst>
          </p:cNvPr>
          <p:cNvPicPr>
            <a:picLocks noChangeAspect="1"/>
          </p:cNvPicPr>
          <p:nvPr/>
        </p:nvPicPr>
        <p:blipFill rotWithShape="1">
          <a:blip r:embed="rId6"/>
          <a:srcRect l="23084" t="14316" r="9046" b="7091"/>
          <a:stretch/>
        </p:blipFill>
        <p:spPr>
          <a:xfrm>
            <a:off x="3924089" y="959507"/>
            <a:ext cx="2824626" cy="2308625"/>
          </a:xfrm>
          <a:prstGeom prst="rect">
            <a:avLst/>
          </a:prstGeom>
        </p:spPr>
      </p:pic>
      <p:pic>
        <p:nvPicPr>
          <p:cNvPr id="5" name="Picture 4">
            <a:extLst>
              <a:ext uri="{FF2B5EF4-FFF2-40B4-BE49-F238E27FC236}">
                <a16:creationId xmlns:a16="http://schemas.microsoft.com/office/drawing/2014/main" id="{3C433A26-E5D6-4965-8172-21F2DEB003C0}"/>
              </a:ext>
            </a:extLst>
          </p:cNvPr>
          <p:cNvPicPr>
            <a:picLocks noChangeAspect="1"/>
          </p:cNvPicPr>
          <p:nvPr/>
        </p:nvPicPr>
        <p:blipFill>
          <a:blip r:embed="rId7"/>
          <a:stretch>
            <a:fillRect/>
          </a:stretch>
        </p:blipFill>
        <p:spPr>
          <a:xfrm>
            <a:off x="11539286" y="1304797"/>
            <a:ext cx="5417219" cy="6612790"/>
          </a:xfrm>
          <a:prstGeom prst="rect">
            <a:avLst/>
          </a:prstGeom>
        </p:spPr>
      </p:pic>
      <p:sp>
        <p:nvSpPr>
          <p:cNvPr id="27" name="TextBox 26">
            <a:extLst>
              <a:ext uri="{FF2B5EF4-FFF2-40B4-BE49-F238E27FC236}">
                <a16:creationId xmlns:a16="http://schemas.microsoft.com/office/drawing/2014/main" id="{67D41D43-99F8-450E-8D26-472F6B5249BA}"/>
              </a:ext>
            </a:extLst>
          </p:cNvPr>
          <p:cNvSpPr txBox="1"/>
          <p:nvPr/>
        </p:nvSpPr>
        <p:spPr>
          <a:xfrm>
            <a:off x="11308578" y="8245938"/>
            <a:ext cx="9144000" cy="76944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2800" b="0" i="0" u="none" strike="noStrike" kern="1200" cap="none" spc="0" normalizeH="0" baseline="0" noProof="0" err="1">
                <a:ln>
                  <a:noFill/>
                </a:ln>
                <a:solidFill>
                  <a:srgbClr val="2F2F2F"/>
                </a:solidFill>
                <a:effectLst/>
                <a:uLnTx/>
                <a:uFillTx/>
                <a:latin typeface="Arial"/>
                <a:ea typeface="+mn-ea"/>
                <a:cs typeface="+mn-cs"/>
              </a:rPr>
              <a:t>Maceira</a:t>
            </a:r>
            <a:r>
              <a:rPr kumimoji="0" lang="sv-SE" sz="2800" b="0" i="0" u="none" strike="noStrike" kern="1200" cap="none" spc="0" normalizeH="0" baseline="0" noProof="0">
                <a:ln>
                  <a:noFill/>
                </a:ln>
                <a:solidFill>
                  <a:srgbClr val="2F2F2F"/>
                </a:solidFill>
                <a:effectLst/>
                <a:uLnTx/>
                <a:uFillTx/>
                <a:latin typeface="Arial"/>
                <a:ea typeface="+mn-ea"/>
                <a:cs typeface="+mn-cs"/>
              </a:rPr>
              <a:t>-Liz </a:t>
            </a:r>
            <a:r>
              <a:rPr kumimoji="0" lang="sv-SE" sz="2800" b="0" i="0" u="none" strike="noStrike" kern="1200" cap="none" spc="0" normalizeH="0" baseline="0" noProof="0" err="1">
                <a:ln>
                  <a:noFill/>
                </a:ln>
                <a:solidFill>
                  <a:srgbClr val="2F2F2F"/>
                </a:solidFill>
                <a:effectLst/>
                <a:uLnTx/>
                <a:uFillTx/>
                <a:latin typeface="Arial"/>
                <a:ea typeface="+mn-ea"/>
                <a:cs typeface="+mn-cs"/>
              </a:rPr>
              <a:t>Factory</a:t>
            </a:r>
            <a:endParaRPr kumimoji="0" lang="sv-SE" sz="2800" b="0" i="0" u="none" strike="noStrike" kern="1200" cap="none" spc="0" normalizeH="0" baseline="0" noProof="0">
              <a:ln>
                <a:noFill/>
              </a:ln>
              <a:solidFill>
                <a:srgbClr val="2F2F2F"/>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00" cap="none" spc="0" normalizeH="0" baseline="0" noProof="0">
                <a:ln>
                  <a:noFill/>
                </a:ln>
                <a:solidFill>
                  <a:srgbClr val="404040"/>
                </a:solidFill>
                <a:effectLst/>
                <a:uLnTx/>
                <a:uFillTx/>
                <a:latin typeface="Arial (body)"/>
                <a:ea typeface="+mn-ea"/>
                <a:cs typeface="+mn-cs"/>
              </a:rPr>
              <a:t>Picture taken from </a:t>
            </a:r>
            <a:r>
              <a:rPr kumimoji="0" lang="en-US" sz="1600" b="0" i="0" u="none" strike="noStrike" kern="100" cap="none" spc="0" normalizeH="0" baseline="0" noProof="0" err="1">
                <a:ln>
                  <a:noFill/>
                </a:ln>
                <a:solidFill>
                  <a:srgbClr val="404040"/>
                </a:solidFill>
                <a:effectLst/>
                <a:uLnTx/>
                <a:uFillTx/>
                <a:latin typeface="Arial (body)"/>
                <a:ea typeface="+mn-ea"/>
                <a:cs typeface="+mn-cs"/>
              </a:rPr>
              <a:t>Secil’s</a:t>
            </a:r>
            <a:r>
              <a:rPr kumimoji="0" lang="en-US" sz="1600" b="0" i="0" u="none" strike="noStrike" kern="100" cap="none" spc="0" normalizeH="0" baseline="0" noProof="0">
                <a:ln>
                  <a:noFill/>
                </a:ln>
                <a:solidFill>
                  <a:srgbClr val="404040"/>
                </a:solidFill>
                <a:effectLst/>
                <a:uLnTx/>
                <a:uFillTx/>
                <a:latin typeface="Arial (body)"/>
                <a:ea typeface="+mn-ea"/>
                <a:cs typeface="+mn-cs"/>
              </a:rPr>
              <a:t> 2011 environmental declaration report</a:t>
            </a:r>
            <a:endParaRPr kumimoji="0" lang="sv-SE" sz="1600" b="0" i="0" u="none" strike="noStrike" kern="100" cap="none" spc="0" normalizeH="0" baseline="0" noProof="0">
              <a:ln>
                <a:noFill/>
              </a:ln>
              <a:solidFill>
                <a:srgbClr val="404040"/>
              </a:solidFill>
              <a:effectLst/>
              <a:uLnTx/>
              <a:uFillTx/>
              <a:latin typeface="Arial (body)"/>
              <a:ea typeface="+mn-ea"/>
              <a:cs typeface="+mn-cs"/>
            </a:endParaRPr>
          </a:p>
        </p:txBody>
      </p:sp>
    </p:spTree>
    <p:extLst>
      <p:ext uri="{BB962C8B-B14F-4D97-AF65-F5344CB8AC3E}">
        <p14:creationId xmlns:p14="http://schemas.microsoft.com/office/powerpoint/2010/main" val="363303084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uppo 16">
            <a:extLst>
              <a:ext uri="{FF2B5EF4-FFF2-40B4-BE49-F238E27FC236}">
                <a16:creationId xmlns:a16="http://schemas.microsoft.com/office/drawing/2014/main" id="{7F05FA2D-BA17-4C4E-9DAE-36CC81DE9BAA}"/>
              </a:ext>
            </a:extLst>
          </p:cNvPr>
          <p:cNvGrpSpPr/>
          <p:nvPr/>
        </p:nvGrpSpPr>
        <p:grpSpPr>
          <a:xfrm>
            <a:off x="4329156" y="9695736"/>
            <a:ext cx="13958844" cy="666567"/>
            <a:chOff x="4329156" y="9649198"/>
            <a:chExt cx="13958844" cy="666567"/>
          </a:xfrm>
        </p:grpSpPr>
        <p:pic>
          <p:nvPicPr>
            <p:cNvPr id="5" name="Picture 12">
              <a:extLst>
                <a:ext uri="{FF2B5EF4-FFF2-40B4-BE49-F238E27FC236}">
                  <a16:creationId xmlns:a16="http://schemas.microsoft.com/office/drawing/2014/main" id="{00810EF5-3949-4698-A5DE-428CD380175F}"/>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6" name="TextBox 16">
              <a:extLst>
                <a:ext uri="{FF2B5EF4-FFF2-40B4-BE49-F238E27FC236}">
                  <a16:creationId xmlns:a16="http://schemas.microsoft.com/office/drawing/2014/main" id="{EDDD1531-1BDA-4725-B6A3-364F4B7CF76A}"/>
                </a:ext>
              </a:extLst>
            </p:cNvPr>
            <p:cNvSpPr txBox="1"/>
            <p:nvPr/>
          </p:nvSpPr>
          <p:spPr>
            <a:xfrm>
              <a:off x="14400029" y="9732291"/>
              <a:ext cx="3636320" cy="448713"/>
            </a:xfrm>
            <a:prstGeom prst="rect">
              <a:avLst/>
            </a:prstGeom>
          </p:spPr>
          <p:txBody>
            <a:bodyPr wrap="square" lIns="0" tIns="0" rIns="0" bIns="0" rtlCol="0" anchor="t">
              <a:spAutoFit/>
            </a:bodyPr>
            <a:lstStyle/>
            <a:p>
              <a:pPr marL="0" marR="0" lvl="0" indent="0" algn="ctr" defTabSz="914400" rtl="0" eaLnBrk="1" fontAlgn="auto" latinLnBrk="0" hangingPunct="1">
                <a:lnSpc>
                  <a:spcPts val="3919"/>
                </a:lnSpc>
                <a:spcBef>
                  <a:spcPct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OCR A Extended" panose="02010509020102010303" pitchFamily="50" charset="0"/>
                  <a:ea typeface="+mn-ea"/>
                  <a:cs typeface="+mn-cs"/>
                </a:rPr>
                <a:t>www.retrofeed.eu</a:t>
              </a:r>
            </a:p>
          </p:txBody>
        </p:sp>
      </p:grpSp>
      <p:pic>
        <p:nvPicPr>
          <p:cNvPr id="7" name="Picture 12">
            <a:extLst>
              <a:ext uri="{FF2B5EF4-FFF2-40B4-BE49-F238E27FC236}">
                <a16:creationId xmlns:a16="http://schemas.microsoft.com/office/drawing/2014/main" id="{52C35A30-8BA0-4714-8363-E6CE748BA2C3}"/>
              </a:ext>
            </a:extLst>
          </p:cNvPr>
          <p:cNvPicPr>
            <a:picLocks noChangeAspect="1"/>
          </p:cNvPicPr>
          <p:nvPr/>
        </p:nvPicPr>
        <p:blipFill>
          <a:blip r:embed="rId4"/>
          <a:srcRect/>
          <a:stretch>
            <a:fillRect/>
          </a:stretch>
        </p:blipFill>
        <p:spPr>
          <a:xfrm>
            <a:off x="0" y="8901113"/>
            <a:ext cx="5715000" cy="1385887"/>
          </a:xfrm>
          <a:prstGeom prst="rect">
            <a:avLst/>
          </a:prstGeom>
        </p:spPr>
      </p:pic>
      <p:grpSp>
        <p:nvGrpSpPr>
          <p:cNvPr id="8" name="Gruppo 2">
            <a:extLst>
              <a:ext uri="{FF2B5EF4-FFF2-40B4-BE49-F238E27FC236}">
                <a16:creationId xmlns:a16="http://schemas.microsoft.com/office/drawing/2014/main" id="{C9C93A65-4067-4ACC-B2C9-8C15277024E4}"/>
              </a:ext>
            </a:extLst>
          </p:cNvPr>
          <p:cNvGrpSpPr/>
          <p:nvPr/>
        </p:nvGrpSpPr>
        <p:grpSpPr>
          <a:xfrm>
            <a:off x="-12" y="138554"/>
            <a:ext cx="18288002" cy="681138"/>
            <a:chOff x="-12" y="138554"/>
            <a:chExt cx="18288002" cy="681138"/>
          </a:xfrm>
        </p:grpSpPr>
        <p:grpSp>
          <p:nvGrpSpPr>
            <p:cNvPr id="9" name="Gruppo 1">
              <a:extLst>
                <a:ext uri="{FF2B5EF4-FFF2-40B4-BE49-F238E27FC236}">
                  <a16:creationId xmlns:a16="http://schemas.microsoft.com/office/drawing/2014/main" id="{A943E672-738C-4FE3-BD35-ACD7A4E4D95E}"/>
                </a:ext>
              </a:extLst>
            </p:cNvPr>
            <p:cNvGrpSpPr/>
            <p:nvPr/>
          </p:nvGrpSpPr>
          <p:grpSpPr>
            <a:xfrm>
              <a:off x="0" y="153125"/>
              <a:ext cx="17907000" cy="666567"/>
              <a:chOff x="0" y="153125"/>
              <a:chExt cx="17907000" cy="666567"/>
            </a:xfrm>
          </p:grpSpPr>
          <p:grpSp>
            <p:nvGrpSpPr>
              <p:cNvPr id="11" name="Gruppo 15">
                <a:extLst>
                  <a:ext uri="{FF2B5EF4-FFF2-40B4-BE49-F238E27FC236}">
                    <a16:creationId xmlns:a16="http://schemas.microsoft.com/office/drawing/2014/main" id="{10037738-5D9A-4755-B52F-99B1FA543ED3}"/>
                  </a:ext>
                </a:extLst>
              </p:cNvPr>
              <p:cNvGrpSpPr/>
              <p:nvPr/>
            </p:nvGrpSpPr>
            <p:grpSpPr>
              <a:xfrm>
                <a:off x="0" y="153125"/>
                <a:ext cx="13958844" cy="666567"/>
                <a:chOff x="0" y="153125"/>
                <a:chExt cx="13958844" cy="666567"/>
              </a:xfrm>
            </p:grpSpPr>
            <p:pic>
              <p:nvPicPr>
                <p:cNvPr id="13" name="Picture 10">
                  <a:extLst>
                    <a:ext uri="{FF2B5EF4-FFF2-40B4-BE49-F238E27FC236}">
                      <a16:creationId xmlns:a16="http://schemas.microsoft.com/office/drawing/2014/main" id="{30234B5E-6FF9-499F-817A-9B69F1CC9911}"/>
                    </a:ext>
                  </a:extLst>
                </p:cNvPr>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4" name="TextBox 11">
                  <a:extLst>
                    <a:ext uri="{FF2B5EF4-FFF2-40B4-BE49-F238E27FC236}">
                      <a16:creationId xmlns:a16="http://schemas.microsoft.com/office/drawing/2014/main" id="{E5F3FE84-033A-4279-AF93-ABD80EC40550}"/>
                    </a:ext>
                  </a:extLst>
                </p:cNvPr>
                <p:cNvSpPr txBox="1"/>
                <p:nvPr/>
              </p:nvSpPr>
              <p:spPr>
                <a:xfrm>
                  <a:off x="228600" y="257980"/>
                  <a:ext cx="9296400" cy="456856"/>
                </a:xfrm>
                <a:prstGeom prst="rect">
                  <a:avLst/>
                </a:prstGeom>
              </p:spPr>
              <p:txBody>
                <a:bodyPr wrap="square" lIns="0" tIns="0" rIns="0" bIns="0" rtlCol="0" anchor="t">
                  <a:spAutoFit/>
                </a:bodyPr>
                <a:lstStyle/>
                <a:p>
                  <a:pPr marL="0" marR="0" lvl="0" indent="0" algn="l" defTabSz="914400" rtl="0" eaLnBrk="1" fontAlgn="auto" latinLnBrk="0" hangingPunct="1">
                    <a:lnSpc>
                      <a:spcPts val="3919"/>
                    </a:lnSpc>
                    <a:spcBef>
                      <a:spcPct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2" name="TextBox 11">
                <a:extLst>
                  <a:ext uri="{FF2B5EF4-FFF2-40B4-BE49-F238E27FC236}">
                    <a16:creationId xmlns:a16="http://schemas.microsoft.com/office/drawing/2014/main" id="{7B4365DB-7AB3-494A-91B9-B5781D39B67B}"/>
                  </a:ext>
                </a:extLst>
              </p:cNvPr>
              <p:cNvSpPr txBox="1"/>
              <p:nvPr/>
            </p:nvSpPr>
            <p:spPr>
              <a:xfrm>
                <a:off x="12154296" y="257980"/>
                <a:ext cx="5752704" cy="456856"/>
              </a:xfrm>
              <a:prstGeom prst="rect">
                <a:avLst/>
              </a:prstGeom>
            </p:spPr>
            <p:txBody>
              <a:bodyPr wrap="square" lIns="0" tIns="0" rIns="0" bIns="0" rtlCol="0" anchor="t">
                <a:spAutoFit/>
              </a:bodyPr>
              <a:lstStyle/>
              <a:p>
                <a:pPr marL="0" marR="0" lvl="0" indent="0" algn="r" defTabSz="914400" rtl="0" eaLnBrk="1" fontAlgn="auto" latinLnBrk="0" hangingPunct="1">
                  <a:lnSpc>
                    <a:spcPts val="3919"/>
                  </a:lnSpc>
                  <a:spcBef>
                    <a:spcPct val="0"/>
                  </a:spcBef>
                  <a:spcAft>
                    <a:spcPts val="0"/>
                  </a:spcAft>
                  <a:buClrTx/>
                  <a:buSzTx/>
                  <a:buFontTx/>
                  <a:buNone/>
                  <a:tabLst/>
                  <a:defRPr/>
                </a:pPr>
                <a:endParaRPr kumimoji="0" lang="en-US" sz="2800" b="0" i="0" u="none" strike="noStrike" kern="1200" cap="none" spc="0" normalizeH="0" baseline="0" noProof="0">
                  <a:ln>
                    <a:noFill/>
                  </a:ln>
                  <a:solidFill>
                    <a:srgbClr val="2F2F2F">
                      <a:lumMod val="75000"/>
                      <a:lumOff val="25000"/>
                    </a:srgbClr>
                  </a:solidFill>
                  <a:effectLst/>
                  <a:uLnTx/>
                  <a:uFillTx/>
                  <a:latin typeface="Arial" panose="020B0604020202020204" pitchFamily="34" charset="0"/>
                  <a:ea typeface="+mn-ea"/>
                  <a:cs typeface="Arial" panose="020B0604020202020204" pitchFamily="34" charset="0"/>
                </a:endParaRPr>
              </a:p>
            </p:txBody>
          </p:sp>
        </p:grpSp>
        <p:sp>
          <p:nvSpPr>
            <p:cNvPr id="10" name="Rettangolo 13">
              <a:extLst>
                <a:ext uri="{FF2B5EF4-FFF2-40B4-BE49-F238E27FC236}">
                  <a16:creationId xmlns:a16="http://schemas.microsoft.com/office/drawing/2014/main" id="{BC76EB51-B4AB-4BAB-AAF6-1883074EEF50}"/>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20" name="TextBox 19">
            <a:extLst>
              <a:ext uri="{FF2B5EF4-FFF2-40B4-BE49-F238E27FC236}">
                <a16:creationId xmlns:a16="http://schemas.microsoft.com/office/drawing/2014/main" id="{99C0CE19-22C6-4951-8DB9-D20C1DC4179E}"/>
              </a:ext>
            </a:extLst>
          </p:cNvPr>
          <p:cNvSpPr txBox="1"/>
          <p:nvPr/>
        </p:nvSpPr>
        <p:spPr>
          <a:xfrm>
            <a:off x="10823272" y="8992320"/>
            <a:ext cx="6953538"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00" cap="none" spc="0" normalizeH="0" baseline="0" noProof="0">
                <a:ln>
                  <a:noFill/>
                </a:ln>
                <a:solidFill>
                  <a:srgbClr val="404040"/>
                </a:solidFill>
                <a:effectLst/>
                <a:uLnTx/>
                <a:uFillTx/>
                <a:latin typeface="Arial (body)"/>
                <a:ea typeface="+mn-ea"/>
                <a:cs typeface="+mn-cs"/>
              </a:rPr>
              <a:t>SECIL’s cement manufacturing process</a:t>
            </a:r>
            <a:endParaRPr kumimoji="0" lang="sv-SE" sz="2800" b="0" i="0" u="none" strike="noStrike" kern="100" cap="none" spc="0" normalizeH="0" baseline="0" noProof="0">
              <a:ln>
                <a:noFill/>
              </a:ln>
              <a:solidFill>
                <a:srgbClr val="404040"/>
              </a:solidFill>
              <a:effectLst/>
              <a:uLnTx/>
              <a:uFillTx/>
              <a:latin typeface="Arial (body)"/>
              <a:ea typeface="+mn-ea"/>
              <a:cs typeface="+mn-cs"/>
            </a:endParaRPr>
          </a:p>
        </p:txBody>
      </p:sp>
      <p:sp>
        <p:nvSpPr>
          <p:cNvPr id="15" name="TextBox 13">
            <a:extLst>
              <a:ext uri="{FF2B5EF4-FFF2-40B4-BE49-F238E27FC236}">
                <a16:creationId xmlns:a16="http://schemas.microsoft.com/office/drawing/2014/main" id="{45ECE1C0-D450-4FA4-BCD5-5FAEAA13DE58}"/>
              </a:ext>
            </a:extLst>
          </p:cNvPr>
          <p:cNvSpPr txBox="1"/>
          <p:nvPr/>
        </p:nvSpPr>
        <p:spPr>
          <a:xfrm>
            <a:off x="-733926" y="775749"/>
            <a:ext cx="10840453" cy="1005725"/>
          </a:xfrm>
          <a:prstGeom prst="rect">
            <a:avLst/>
          </a:prstGeom>
        </p:spPr>
        <p:txBody>
          <a:bodyPr wrap="square" lIns="0" tIns="0" rIns="0" bIns="0" rtlCol="0" anchor="t">
            <a:spAutoFit/>
          </a:bodyPr>
          <a:lstStyle/>
          <a:p>
            <a:pPr marL="0" marR="0" lvl="0" indent="0" algn="ctr" defTabSz="914400" rtl="0" eaLnBrk="1" fontAlgn="auto" latinLnBrk="0" hangingPunct="1">
              <a:lnSpc>
                <a:spcPts val="8960"/>
              </a:lnSpc>
              <a:spcBef>
                <a:spcPct val="0"/>
              </a:spcBef>
              <a:spcAft>
                <a:spcPts val="0"/>
              </a:spcAft>
              <a:buClrTx/>
              <a:buSzTx/>
              <a:buFontTx/>
              <a:buNone/>
              <a:tabLst/>
              <a:defRPr/>
            </a:pPr>
            <a:r>
              <a:rPr kumimoji="0" lang="en-US" sz="4800" b="1" i="0" u="none" strike="noStrike" kern="1200" cap="none" spc="0" normalizeH="0" baseline="0" noProof="0">
                <a:ln>
                  <a:noFill/>
                </a:ln>
                <a:solidFill>
                  <a:srgbClr val="CC0033"/>
                </a:solidFill>
                <a:effectLst/>
                <a:uLnTx/>
                <a:uFillTx/>
                <a:latin typeface="Arial"/>
                <a:ea typeface="+mn-ea"/>
                <a:cs typeface="Arial" panose="020B0604020202020204" pitchFamily="34" charset="0"/>
              </a:rPr>
              <a:t>Production process in SECIL</a:t>
            </a:r>
          </a:p>
        </p:txBody>
      </p:sp>
      <p:sp>
        <p:nvSpPr>
          <p:cNvPr id="18" name="TextBox 17">
            <a:extLst>
              <a:ext uri="{FF2B5EF4-FFF2-40B4-BE49-F238E27FC236}">
                <a16:creationId xmlns:a16="http://schemas.microsoft.com/office/drawing/2014/main" id="{6937525C-ADE5-4F15-A4B2-A5AA3B5E6467}"/>
              </a:ext>
            </a:extLst>
          </p:cNvPr>
          <p:cNvSpPr txBox="1"/>
          <p:nvPr/>
        </p:nvSpPr>
        <p:spPr>
          <a:xfrm>
            <a:off x="654647" y="3133880"/>
            <a:ext cx="5060353" cy="5009833"/>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0000"/>
                </a:solidFill>
                <a:effectLst/>
                <a:uLnTx/>
                <a:uFillTx/>
                <a:latin typeface="Arial" panose="020B0604020202020204" pitchFamily="34" charset="0"/>
                <a:ea typeface="+mn-ea"/>
                <a:cs typeface="+mn-cs"/>
              </a:rPr>
              <a:t>Process description</a:t>
            </a:r>
          </a:p>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mn-cs"/>
              </a:rPr>
              <a:t>Raw materials are extracted and conditioned to get specific chemical compositions. Then they are introduced in a kiln where clinker are formed at high temperature. Clinker is later cooled down and fed to a ball mill where it is ground and mixed with additives. </a:t>
            </a:r>
            <a:endParaRPr kumimoji="0" lang="sv-SE" sz="2400" b="0" i="0" u="none" strike="noStrike" kern="1200" cap="none" spc="0" normalizeH="0" baseline="0" noProof="0">
              <a:ln>
                <a:noFill/>
              </a:ln>
              <a:solidFill>
                <a:srgbClr val="FFFFFF"/>
              </a:solidFill>
              <a:effectLst/>
              <a:uLnTx/>
              <a:uFillTx/>
              <a:latin typeface="Arial"/>
              <a:ea typeface="+mn-ea"/>
              <a:cs typeface="+mn-cs"/>
            </a:endParaRPr>
          </a:p>
        </p:txBody>
      </p:sp>
      <p:pic>
        <p:nvPicPr>
          <p:cNvPr id="26" name="Picture 25">
            <a:extLst>
              <a:ext uri="{FF2B5EF4-FFF2-40B4-BE49-F238E27FC236}">
                <a16:creationId xmlns:a16="http://schemas.microsoft.com/office/drawing/2014/main" id="{902179C1-7715-4C70-8B8A-4949F3754613}"/>
              </a:ext>
            </a:extLst>
          </p:cNvPr>
          <p:cNvPicPr>
            <a:picLocks noChangeAspect="1"/>
          </p:cNvPicPr>
          <p:nvPr/>
        </p:nvPicPr>
        <p:blipFill>
          <a:blip r:embed="rId6"/>
          <a:stretch>
            <a:fillRect/>
          </a:stretch>
        </p:blipFill>
        <p:spPr>
          <a:xfrm>
            <a:off x="6301606" y="1727049"/>
            <a:ext cx="11076585" cy="6616281"/>
          </a:xfrm>
          <a:prstGeom prst="rect">
            <a:avLst/>
          </a:prstGeom>
        </p:spPr>
      </p:pic>
      <p:pic>
        <p:nvPicPr>
          <p:cNvPr id="28" name="Picture 27">
            <a:extLst>
              <a:ext uri="{FF2B5EF4-FFF2-40B4-BE49-F238E27FC236}">
                <a16:creationId xmlns:a16="http://schemas.microsoft.com/office/drawing/2014/main" id="{99D46DBC-3873-4B71-82BF-56FA8C08CCAD}"/>
              </a:ext>
            </a:extLst>
          </p:cNvPr>
          <p:cNvPicPr>
            <a:picLocks noChangeAspect="1"/>
          </p:cNvPicPr>
          <p:nvPr/>
        </p:nvPicPr>
        <p:blipFill>
          <a:blip r:embed="rId7"/>
          <a:stretch>
            <a:fillRect/>
          </a:stretch>
        </p:blipFill>
        <p:spPr>
          <a:xfrm>
            <a:off x="6811931" y="3226905"/>
            <a:ext cx="1614488" cy="1047750"/>
          </a:xfrm>
          <a:prstGeom prst="rect">
            <a:avLst/>
          </a:prstGeom>
        </p:spPr>
      </p:pic>
      <p:pic>
        <p:nvPicPr>
          <p:cNvPr id="30" name="Picture 29">
            <a:extLst>
              <a:ext uri="{FF2B5EF4-FFF2-40B4-BE49-F238E27FC236}">
                <a16:creationId xmlns:a16="http://schemas.microsoft.com/office/drawing/2014/main" id="{FFA3EE79-5075-4F75-9F04-F25736777E2C}"/>
              </a:ext>
            </a:extLst>
          </p:cNvPr>
          <p:cNvPicPr>
            <a:picLocks noChangeAspect="1"/>
          </p:cNvPicPr>
          <p:nvPr/>
        </p:nvPicPr>
        <p:blipFill>
          <a:blip r:embed="rId8"/>
          <a:stretch>
            <a:fillRect/>
          </a:stretch>
        </p:blipFill>
        <p:spPr>
          <a:xfrm>
            <a:off x="10323104" y="7747659"/>
            <a:ext cx="2130843" cy="1112924"/>
          </a:xfrm>
          <a:prstGeom prst="rect">
            <a:avLst/>
          </a:prstGeom>
        </p:spPr>
      </p:pic>
    </p:spTree>
    <p:extLst>
      <p:ext uri="{BB962C8B-B14F-4D97-AF65-F5344CB8AC3E}">
        <p14:creationId xmlns:p14="http://schemas.microsoft.com/office/powerpoint/2010/main" val="312149935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6"/>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marL="0" marR="0" lvl="0" indent="0" algn="ctr" defTabSz="914400" rtl="0" eaLnBrk="1" fontAlgn="auto" latinLnBrk="0" hangingPunct="1">
                <a:lnSpc>
                  <a:spcPts val="3919"/>
                </a:lnSpc>
                <a:spcBef>
                  <a:spcPct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OCR A Extended" panose="02010509020102010303" pitchFamily="50" charset="0"/>
                  <a:ea typeface="+mn-ea"/>
                  <a:cs typeface="+mn-cs"/>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4"/>
          <a:srcRect/>
          <a:stretch>
            <a:fillRect/>
          </a:stretch>
        </p:blipFill>
        <p:spPr>
          <a:xfrm>
            <a:off x="0" y="8852181"/>
            <a:ext cx="5715000" cy="1385887"/>
          </a:xfrm>
          <a:prstGeom prst="rect">
            <a:avLst/>
          </a:prstGeom>
        </p:spPr>
      </p:pic>
      <p:grpSp>
        <p:nvGrpSpPr>
          <p:cNvPr id="3" name="Gruppo 2">
            <a:extLst>
              <a:ext uri="{FF2B5EF4-FFF2-40B4-BE49-F238E27FC236}">
                <a16:creationId xmlns:a16="http://schemas.microsoft.com/office/drawing/2014/main" id="{1C29CBCA-BE0A-4EF6-AC69-329941E1DCFD}"/>
              </a:ext>
            </a:extLst>
          </p:cNvPr>
          <p:cNvGrpSpPr/>
          <p:nvPr/>
        </p:nvGrpSpPr>
        <p:grpSpPr>
          <a:xfrm>
            <a:off x="-12" y="138554"/>
            <a:ext cx="18288002" cy="681138"/>
            <a:chOff x="-12" y="138554"/>
            <a:chExt cx="18288002" cy="681138"/>
          </a:xfrm>
        </p:grpSpPr>
        <p:grpSp>
          <p:nvGrpSpPr>
            <p:cNvPr id="2" name="Gruppo 1">
              <a:extLst>
                <a:ext uri="{FF2B5EF4-FFF2-40B4-BE49-F238E27FC236}">
                  <a16:creationId xmlns:a16="http://schemas.microsoft.com/office/drawing/2014/main" id="{24E9C7AF-0093-476F-826C-A2702AB72892}"/>
                </a:ext>
              </a:extLst>
            </p:cNvPr>
            <p:cNvGrpSpPr/>
            <p:nvPr/>
          </p:nvGrpSpPr>
          <p:grpSpPr>
            <a:xfrm>
              <a:off x="0" y="153125"/>
              <a:ext cx="17907000" cy="666567"/>
              <a:chOff x="0" y="153125"/>
              <a:chExt cx="17907000" cy="666567"/>
            </a:xfrm>
          </p:grpSpPr>
          <p:grpSp>
            <p:nvGrpSpPr>
              <p:cNvPr id="16" name="Gruppo 15">
                <a:extLst>
                  <a:ext uri="{FF2B5EF4-FFF2-40B4-BE49-F238E27FC236}">
                    <a16:creationId xmlns:a16="http://schemas.microsoft.com/office/drawing/2014/main" id="{DAC42A46-917D-41AB-8F07-E15E54D0F7D4}"/>
                  </a:ext>
                </a:extLst>
              </p:cNvPr>
              <p:cNvGrpSpPr/>
              <p:nvPr/>
            </p:nvGrpSpPr>
            <p:grpSpPr>
              <a:xfrm>
                <a:off x="0" y="153125"/>
                <a:ext cx="13958844" cy="666567"/>
                <a:chOff x="0" y="153125"/>
                <a:chExt cx="13958844" cy="666567"/>
              </a:xfrm>
            </p:grpSpPr>
            <p:pic>
              <p:nvPicPr>
                <p:cNvPr id="10" name="Picture 10"/>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1" name="TextBox 11"/>
                <p:cNvSpPr txBox="1"/>
                <p:nvPr/>
              </p:nvSpPr>
              <p:spPr>
                <a:xfrm>
                  <a:off x="228600" y="257980"/>
                  <a:ext cx="9296400" cy="456856"/>
                </a:xfrm>
                <a:prstGeom prst="rect">
                  <a:avLst/>
                </a:prstGeom>
              </p:spPr>
              <p:txBody>
                <a:bodyPr wrap="square" lIns="0" tIns="0" rIns="0" bIns="0" rtlCol="0" anchor="t">
                  <a:spAutoFit/>
                </a:bodyPr>
                <a:lstStyle/>
                <a:p>
                  <a:pPr marL="0" marR="0" lvl="0" indent="0" algn="l" defTabSz="914400" rtl="0" eaLnBrk="1" fontAlgn="auto" latinLnBrk="0" hangingPunct="1">
                    <a:lnSpc>
                      <a:spcPts val="3919"/>
                    </a:lnSpc>
                    <a:spcBef>
                      <a:spcPct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2" name="TextBox 11">
                <a:extLst>
                  <a:ext uri="{FF2B5EF4-FFF2-40B4-BE49-F238E27FC236}">
                    <a16:creationId xmlns:a16="http://schemas.microsoft.com/office/drawing/2014/main" id="{1BD9B5F4-614C-4EB6-8C5B-120A5420CE43}"/>
                  </a:ext>
                </a:extLst>
              </p:cNvPr>
              <p:cNvSpPr txBox="1"/>
              <p:nvPr/>
            </p:nvSpPr>
            <p:spPr>
              <a:xfrm>
                <a:off x="12154296" y="257980"/>
                <a:ext cx="5752704" cy="456856"/>
              </a:xfrm>
              <a:prstGeom prst="rect">
                <a:avLst/>
              </a:prstGeom>
            </p:spPr>
            <p:txBody>
              <a:bodyPr wrap="square" lIns="0" tIns="0" rIns="0" bIns="0" rtlCol="0" anchor="t">
                <a:spAutoFit/>
              </a:bodyPr>
              <a:lstStyle/>
              <a:p>
                <a:pPr marL="0" marR="0" lvl="0" indent="0" algn="r" defTabSz="914400" rtl="0" eaLnBrk="1" fontAlgn="auto" latinLnBrk="0" hangingPunct="1">
                  <a:lnSpc>
                    <a:spcPts val="3919"/>
                  </a:lnSpc>
                  <a:spcBef>
                    <a:spcPct val="0"/>
                  </a:spcBef>
                  <a:spcAft>
                    <a:spcPts val="0"/>
                  </a:spcAft>
                  <a:buClrTx/>
                  <a:buSzTx/>
                  <a:buFontTx/>
                  <a:buNone/>
                  <a:tabLst/>
                  <a:defRPr/>
                </a:pPr>
                <a:endParaRPr kumimoji="0" lang="en-US" sz="2800" b="0" i="0" u="none" strike="noStrike" kern="1200" cap="none" spc="0" normalizeH="0" baseline="0" noProof="0">
                  <a:ln>
                    <a:noFill/>
                  </a:ln>
                  <a:solidFill>
                    <a:srgbClr val="2F2F2F">
                      <a:lumMod val="75000"/>
                      <a:lumOff val="25000"/>
                    </a:srgbClr>
                  </a:solidFill>
                  <a:effectLst/>
                  <a:uLnTx/>
                  <a:uFillTx/>
                  <a:latin typeface="Arial" panose="020B0604020202020204" pitchFamily="34" charset="0"/>
                  <a:ea typeface="+mn-ea"/>
                  <a:cs typeface="Arial" panose="020B0604020202020204" pitchFamily="34" charset="0"/>
                </a:endParaRPr>
              </a:p>
            </p:txBody>
          </p:sp>
        </p:grpSp>
        <p:sp>
          <p:nvSpPr>
            <p:cNvPr id="14" name="Rettangolo 13">
              <a:extLst>
                <a:ext uri="{FF2B5EF4-FFF2-40B4-BE49-F238E27FC236}">
                  <a16:creationId xmlns:a16="http://schemas.microsoft.com/office/drawing/2014/main" id="{55199736-B8B6-4C9A-8BAF-233E07A0CA89}"/>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26" name="TextBox 13">
            <a:extLst>
              <a:ext uri="{FF2B5EF4-FFF2-40B4-BE49-F238E27FC236}">
                <a16:creationId xmlns:a16="http://schemas.microsoft.com/office/drawing/2014/main" id="{6C5B5EBB-50F2-4911-9E8B-3B7B88900CA6}"/>
              </a:ext>
            </a:extLst>
          </p:cNvPr>
          <p:cNvSpPr txBox="1"/>
          <p:nvPr/>
        </p:nvSpPr>
        <p:spPr>
          <a:xfrm>
            <a:off x="228600" y="692944"/>
            <a:ext cx="17678400" cy="1005725"/>
          </a:xfrm>
          <a:prstGeom prst="rect">
            <a:avLst/>
          </a:prstGeom>
        </p:spPr>
        <p:txBody>
          <a:bodyPr wrap="square" lIns="0" tIns="0" rIns="0" bIns="0" rtlCol="0" anchor="t">
            <a:spAutoFit/>
          </a:bodyPr>
          <a:lstStyle/>
          <a:p>
            <a:pPr marL="0" marR="0" lvl="0" indent="0" algn="ctr" defTabSz="914400" rtl="0" eaLnBrk="1" fontAlgn="auto" latinLnBrk="0" hangingPunct="1">
              <a:lnSpc>
                <a:spcPts val="8960"/>
              </a:lnSpc>
              <a:spcBef>
                <a:spcPct val="0"/>
              </a:spcBef>
              <a:spcAft>
                <a:spcPts val="0"/>
              </a:spcAft>
              <a:buClrTx/>
              <a:buSzTx/>
              <a:buFontTx/>
              <a:buNone/>
              <a:tabLst/>
              <a:defRPr/>
            </a:pPr>
            <a:r>
              <a:rPr kumimoji="0" lang="en-US" sz="4800" b="1" i="0" u="none" strike="noStrike" kern="1200" cap="none" spc="0" normalizeH="0" baseline="0" noProof="0">
                <a:ln>
                  <a:noFill/>
                </a:ln>
                <a:solidFill>
                  <a:srgbClr val="CC0033"/>
                </a:solidFill>
                <a:effectLst/>
                <a:uLnTx/>
                <a:uFillTx/>
                <a:latin typeface="Arial"/>
                <a:ea typeface="+mn-ea"/>
                <a:cs typeface="Arial" panose="020B0604020202020204" pitchFamily="34" charset="0"/>
              </a:rPr>
              <a:t>SECIL Characterization</a:t>
            </a:r>
          </a:p>
        </p:txBody>
      </p:sp>
      <p:graphicFrame>
        <p:nvGraphicFramePr>
          <p:cNvPr id="27" name="Table 26">
            <a:extLst>
              <a:ext uri="{FF2B5EF4-FFF2-40B4-BE49-F238E27FC236}">
                <a16:creationId xmlns:a16="http://schemas.microsoft.com/office/drawing/2014/main" id="{F8FCF3BC-C8B3-492B-B92D-64C10225015C}"/>
              </a:ext>
            </a:extLst>
          </p:cNvPr>
          <p:cNvGraphicFramePr>
            <a:graphicFrameLocks noGrp="1"/>
          </p:cNvGraphicFramePr>
          <p:nvPr/>
        </p:nvGraphicFramePr>
        <p:xfrm>
          <a:off x="2857500" y="6680944"/>
          <a:ext cx="12470322" cy="2222627"/>
        </p:xfrm>
        <a:graphic>
          <a:graphicData uri="http://schemas.openxmlformats.org/drawingml/2006/table">
            <a:tbl>
              <a:tblPr firstRow="1" firstCol="1" lastRow="1" lastCol="1" bandRow="1" bandCol="1">
                <a:tableStyleId>{72833802-FEF1-4C79-8D5D-14CF1EAF98D9}</a:tableStyleId>
              </a:tblPr>
              <a:tblGrid>
                <a:gridCol w="4380866">
                  <a:extLst>
                    <a:ext uri="{9D8B030D-6E8A-4147-A177-3AD203B41FA5}">
                      <a16:colId xmlns:a16="http://schemas.microsoft.com/office/drawing/2014/main" val="3203473643"/>
                    </a:ext>
                  </a:extLst>
                </a:gridCol>
                <a:gridCol w="3245545">
                  <a:extLst>
                    <a:ext uri="{9D8B030D-6E8A-4147-A177-3AD203B41FA5}">
                      <a16:colId xmlns:a16="http://schemas.microsoft.com/office/drawing/2014/main" val="1554325551"/>
                    </a:ext>
                  </a:extLst>
                </a:gridCol>
                <a:gridCol w="4843911">
                  <a:extLst>
                    <a:ext uri="{9D8B030D-6E8A-4147-A177-3AD203B41FA5}">
                      <a16:colId xmlns:a16="http://schemas.microsoft.com/office/drawing/2014/main" val="1838484279"/>
                    </a:ext>
                  </a:extLst>
                </a:gridCol>
              </a:tblGrid>
              <a:tr h="664494">
                <a:tc>
                  <a:txBody>
                    <a:bodyPr/>
                    <a:lstStyle/>
                    <a:p>
                      <a:pPr indent="0" algn="ctr">
                        <a:lnSpc>
                          <a:spcPct val="100000"/>
                        </a:lnSpc>
                        <a:spcBef>
                          <a:spcPts val="55"/>
                        </a:spcBef>
                      </a:pPr>
                      <a:r>
                        <a:rPr lang="en-US" sz="2000" b="1" kern="1200">
                          <a:solidFill>
                            <a:schemeClr val="tx1"/>
                          </a:solidFill>
                          <a:effectLst/>
                        </a:rPr>
                        <a:t> KPI</a:t>
                      </a:r>
                      <a:endParaRPr lang="sv-SE" sz="2000" b="1" kern="1200">
                        <a:solidFill>
                          <a:schemeClr val="tx1"/>
                        </a:solidFill>
                        <a:effectLst/>
                        <a:latin typeface="+mj-lt"/>
                        <a:ea typeface="+mn-ea"/>
                        <a:cs typeface="+mn-cs"/>
                      </a:endParaRP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solidFill>
                  </a:tcPr>
                </a:tc>
                <a:tc>
                  <a:txBody>
                    <a:bodyPr/>
                    <a:lstStyle/>
                    <a:p>
                      <a:pPr indent="0" algn="ctr">
                        <a:lnSpc>
                          <a:spcPct val="100000"/>
                        </a:lnSpc>
                        <a:spcBef>
                          <a:spcPts val="15"/>
                        </a:spcBef>
                      </a:pPr>
                      <a:r>
                        <a:rPr lang="en-US" sz="2000" b="1" kern="1200">
                          <a:solidFill>
                            <a:schemeClr val="tx1"/>
                          </a:solidFill>
                          <a:effectLst/>
                        </a:rPr>
                        <a:t>SECIL value</a:t>
                      </a:r>
                      <a:endParaRPr lang="sv-SE" sz="2000" b="1" kern="1200">
                        <a:solidFill>
                          <a:schemeClr val="tx1"/>
                        </a:solidFill>
                        <a:effectLst/>
                        <a:latin typeface="+mj-lt"/>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solidFill>
                  </a:tcPr>
                </a:tc>
                <a:tc>
                  <a:txBody>
                    <a:bodyPr/>
                    <a:lstStyle/>
                    <a:p>
                      <a:pPr indent="0" algn="ctr">
                        <a:lnSpc>
                          <a:spcPct val="100000"/>
                        </a:lnSpc>
                        <a:spcBef>
                          <a:spcPts val="15"/>
                        </a:spcBef>
                      </a:pPr>
                      <a:r>
                        <a:rPr lang="sv-SE" sz="2000" b="1" kern="1200">
                          <a:solidFill>
                            <a:schemeClr val="tx1"/>
                          </a:solidFill>
                          <a:effectLst/>
                          <a:latin typeface="+mj-lt"/>
                          <a:ea typeface="+mn-ea"/>
                          <a:cs typeface="+mn-cs"/>
                        </a:rPr>
                        <a:t>Cement </a:t>
                      </a:r>
                      <a:r>
                        <a:rPr lang="sv-SE" sz="2000" b="1" kern="1200" err="1">
                          <a:solidFill>
                            <a:schemeClr val="tx1"/>
                          </a:solidFill>
                          <a:effectLst/>
                          <a:latin typeface="+mj-lt"/>
                          <a:ea typeface="+mn-ea"/>
                          <a:cs typeface="+mn-cs"/>
                        </a:rPr>
                        <a:t>sector</a:t>
                      </a:r>
                      <a:r>
                        <a:rPr lang="sv-SE" sz="2000" b="1" kern="1200">
                          <a:solidFill>
                            <a:schemeClr val="tx1"/>
                          </a:solidFill>
                          <a:effectLst/>
                          <a:latin typeface="+mj-lt"/>
                          <a:ea typeface="+mn-ea"/>
                          <a:cs typeface="+mn-cs"/>
                        </a:rPr>
                        <a:t> </a:t>
                      </a:r>
                      <a:r>
                        <a:rPr lang="sv-SE" sz="2000" b="1" kern="1200" err="1">
                          <a:solidFill>
                            <a:schemeClr val="tx1"/>
                          </a:solidFill>
                          <a:effectLst/>
                          <a:latin typeface="+mj-lt"/>
                          <a:ea typeface="+mn-ea"/>
                          <a:cs typeface="+mn-cs"/>
                        </a:rPr>
                        <a:t>average</a:t>
                      </a:r>
                      <a:r>
                        <a:rPr lang="sv-SE" sz="2000" b="1" kern="1200">
                          <a:solidFill>
                            <a:schemeClr val="tx1"/>
                          </a:solidFill>
                          <a:effectLst/>
                          <a:latin typeface="+mj-lt"/>
                          <a:ea typeface="+mn-ea"/>
                          <a:cs typeface="+mn-cs"/>
                        </a:rPr>
                        <a:t> </a:t>
                      </a:r>
                      <a:r>
                        <a:rPr lang="sv-SE" sz="2000" b="1" kern="1200" err="1">
                          <a:solidFill>
                            <a:schemeClr val="tx1"/>
                          </a:solidFill>
                          <a:effectLst/>
                          <a:latin typeface="+mj-lt"/>
                          <a:ea typeface="+mn-ea"/>
                          <a:cs typeface="+mn-cs"/>
                        </a:rPr>
                        <a:t>value</a:t>
                      </a:r>
                      <a:r>
                        <a:rPr lang="sv-SE" sz="2000" b="1" kern="1200">
                          <a:solidFill>
                            <a:schemeClr val="tx1"/>
                          </a:solidFill>
                          <a:effectLst/>
                          <a:latin typeface="+mj-lt"/>
                          <a:ea typeface="+mn-ea"/>
                          <a:cs typeface="+mn-cs"/>
                        </a:rPr>
                        <a: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solidFill>
                  </a:tcPr>
                </a:tc>
                <a:extLst>
                  <a:ext uri="{0D108BD9-81ED-4DB2-BD59-A6C34878D82A}">
                    <a16:rowId xmlns:a16="http://schemas.microsoft.com/office/drawing/2014/main" val="3965927615"/>
                  </a:ext>
                </a:extLst>
              </a:tr>
              <a:tr h="509273">
                <a:tc>
                  <a:txBody>
                    <a:bodyPr/>
                    <a:lstStyle/>
                    <a:p>
                      <a:pPr indent="0" algn="ctr">
                        <a:lnSpc>
                          <a:spcPct val="100000"/>
                        </a:lnSpc>
                        <a:spcBef>
                          <a:spcPts val="30"/>
                        </a:spcBef>
                      </a:pPr>
                      <a:r>
                        <a:rPr lang="en-US" sz="2000" b="1" kern="1200">
                          <a:solidFill>
                            <a:schemeClr val="tx1"/>
                          </a:solidFill>
                          <a:effectLst/>
                        </a:rPr>
                        <a:t> Thermal energy indicator</a:t>
                      </a:r>
                      <a:endParaRPr lang="sv-SE" sz="2000" b="1" kern="1200">
                        <a:solidFill>
                          <a:schemeClr val="tx1"/>
                        </a:solidFill>
                        <a:effectLst/>
                        <a:latin typeface="+mj-lt"/>
                        <a:ea typeface="+mn-ea"/>
                        <a:cs typeface="+mn-cs"/>
                      </a:endParaRP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R="58420" indent="0" algn="ctr">
                        <a:lnSpc>
                          <a:spcPct val="100000"/>
                        </a:lnSpc>
                        <a:spcBef>
                          <a:spcPts val="310"/>
                        </a:spcBef>
                        <a:spcAft>
                          <a:spcPts val="0"/>
                        </a:spcAft>
                      </a:pPr>
                      <a:r>
                        <a:rPr lang="en-US" sz="2000" b="0" kern="1200">
                          <a:solidFill>
                            <a:schemeClr val="tx1"/>
                          </a:solidFill>
                          <a:effectLst/>
                          <a:latin typeface="+mn-lt"/>
                          <a:ea typeface="+mn-ea"/>
                          <a:cs typeface="+mn-cs"/>
                        </a:rPr>
                        <a:t>0.06 toe/t </a:t>
                      </a:r>
                      <a:r>
                        <a:rPr lang="sv-SE" sz="2000" b="0" kern="1200" err="1">
                          <a:solidFill>
                            <a:schemeClr val="tx1"/>
                          </a:solidFill>
                          <a:effectLst/>
                          <a:latin typeface="+mn-lt"/>
                          <a:ea typeface="+mn-ea"/>
                          <a:cs typeface="+mn-cs"/>
                        </a:rPr>
                        <a:t>clinker</a:t>
                      </a:r>
                      <a:endParaRPr lang="sv-SE" sz="2000" b="0" kern="1200">
                        <a:solidFill>
                          <a:schemeClr val="tx1"/>
                        </a:solidFill>
                        <a:effectLst/>
                        <a:latin typeface="+mn-lt"/>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R="58420" indent="0" algn="ctr">
                        <a:lnSpc>
                          <a:spcPct val="100000"/>
                        </a:lnSpc>
                        <a:spcBef>
                          <a:spcPts val="310"/>
                        </a:spcBef>
                        <a:spcAft>
                          <a:spcPts val="0"/>
                        </a:spcAft>
                      </a:pPr>
                      <a:r>
                        <a:rPr lang="sv-SE" sz="2000" b="0" kern="1200">
                          <a:solidFill>
                            <a:schemeClr val="tx1"/>
                          </a:solidFill>
                          <a:effectLst/>
                          <a:latin typeface="+mn-lt"/>
                          <a:ea typeface="+mn-ea"/>
                          <a:cs typeface="+mn-cs"/>
                        </a:rPr>
                        <a:t>0.07 </a:t>
                      </a:r>
                      <a:r>
                        <a:rPr lang="sv-SE" sz="2000" b="0" kern="1200" err="1">
                          <a:solidFill>
                            <a:schemeClr val="tx1"/>
                          </a:solidFill>
                          <a:effectLst/>
                          <a:latin typeface="+mn-lt"/>
                          <a:ea typeface="+mn-ea"/>
                          <a:cs typeface="+mn-cs"/>
                        </a:rPr>
                        <a:t>toe</a:t>
                      </a:r>
                      <a:r>
                        <a:rPr lang="sv-SE" sz="2000" b="0" kern="1200">
                          <a:solidFill>
                            <a:schemeClr val="tx1"/>
                          </a:solidFill>
                          <a:effectLst/>
                          <a:latin typeface="+mn-lt"/>
                          <a:ea typeface="+mn-ea"/>
                          <a:cs typeface="+mn-cs"/>
                        </a:rPr>
                        <a:t>/t </a:t>
                      </a:r>
                      <a:r>
                        <a:rPr lang="sv-SE" sz="2000" b="0" kern="1200" err="1">
                          <a:solidFill>
                            <a:schemeClr val="tx1"/>
                          </a:solidFill>
                          <a:effectLst/>
                          <a:latin typeface="+mn-lt"/>
                          <a:ea typeface="+mn-ea"/>
                          <a:cs typeface="+mn-cs"/>
                        </a:rPr>
                        <a:t>clinker</a:t>
                      </a:r>
                      <a:endParaRPr lang="sv-SE" sz="2000" b="0" kern="1200">
                        <a:solidFill>
                          <a:schemeClr val="tx1"/>
                        </a:solidFill>
                        <a:effectLst/>
                        <a:latin typeface="+mn-lt"/>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41460493"/>
                  </a:ext>
                </a:extLst>
              </a:tr>
              <a:tr h="524430">
                <a:tc>
                  <a:txBody>
                    <a:bodyPr/>
                    <a:lstStyle/>
                    <a:p>
                      <a:pPr algn="ctr"/>
                      <a:r>
                        <a:rPr lang="sv-SE" sz="1600"/>
                        <a:t> </a:t>
                      </a:r>
                      <a:r>
                        <a:rPr lang="sv-SE" sz="2000" b="1" kern="1200" err="1">
                          <a:solidFill>
                            <a:schemeClr val="tx1"/>
                          </a:solidFill>
                          <a:effectLst/>
                          <a:latin typeface="+mn-lt"/>
                          <a:ea typeface="+mn-ea"/>
                          <a:cs typeface="+mn-cs"/>
                        </a:rPr>
                        <a:t>Electricity</a:t>
                      </a:r>
                      <a:r>
                        <a:rPr lang="sv-SE" sz="2000" b="1" kern="1200">
                          <a:solidFill>
                            <a:schemeClr val="tx1"/>
                          </a:solidFill>
                          <a:effectLst/>
                          <a:latin typeface="+mn-lt"/>
                          <a:ea typeface="+mn-ea"/>
                          <a:cs typeface="+mn-cs"/>
                        </a:rPr>
                        <a:t> </a:t>
                      </a:r>
                      <a:r>
                        <a:rPr lang="sv-SE" sz="2000" b="1" kern="1200" err="1">
                          <a:solidFill>
                            <a:schemeClr val="tx1"/>
                          </a:solidFill>
                          <a:effectLst/>
                          <a:latin typeface="+mn-lt"/>
                          <a:ea typeface="+mn-ea"/>
                          <a:cs typeface="+mn-cs"/>
                        </a:rPr>
                        <a:t>demand</a:t>
                      </a:r>
                      <a:endParaRPr lang="sv-SE" sz="2000" b="1" kern="1200">
                        <a:solidFill>
                          <a:schemeClr val="tx1"/>
                        </a:solidFill>
                        <a:effectLst/>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sv-SE" sz="2000" b="0" kern="1200">
                          <a:solidFill>
                            <a:schemeClr val="tx1"/>
                          </a:solidFill>
                          <a:effectLst/>
                          <a:latin typeface="+mn-lt"/>
                          <a:ea typeface="+mn-ea"/>
                          <a:cs typeface="+mn-cs"/>
                        </a:rPr>
                        <a:t>0.12 MWh/t cemen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rtl="0" eaLnBrk="1" latinLnBrk="0" hangingPunct="1"/>
                      <a:r>
                        <a:rPr lang="sv-SE" sz="2000" b="0" kern="1200">
                          <a:solidFill>
                            <a:schemeClr val="tx1"/>
                          </a:solidFill>
                          <a:effectLst/>
                          <a:latin typeface="+mn-lt"/>
                          <a:ea typeface="+mn-ea"/>
                          <a:cs typeface="+mn-cs"/>
                        </a:rPr>
                        <a:t>0.09-0.15 MWh/t cemen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40504214"/>
                  </a:ext>
                </a:extLst>
              </a:tr>
              <a:tr h="524430">
                <a:tc>
                  <a:txBody>
                    <a:bodyPr/>
                    <a:lstStyle/>
                    <a:p>
                      <a:pPr indent="0" algn="ctr">
                        <a:lnSpc>
                          <a:spcPct val="100000"/>
                        </a:lnSpc>
                        <a:spcBef>
                          <a:spcPts val="310"/>
                        </a:spcBef>
                      </a:pPr>
                      <a:r>
                        <a:rPr lang="en-US" sz="2000" b="1" kern="1200">
                          <a:solidFill>
                            <a:schemeClr val="tx1"/>
                          </a:solidFill>
                          <a:effectLst/>
                        </a:rPr>
                        <a:t> Environmental performance</a:t>
                      </a:r>
                      <a:endParaRPr lang="sv-SE" sz="2000" b="1" kern="1200">
                        <a:solidFill>
                          <a:schemeClr val="tx1"/>
                        </a:solidFill>
                        <a:effectLst/>
                        <a:latin typeface="+mj-lt"/>
                        <a:ea typeface="+mn-ea"/>
                        <a:cs typeface="+mn-cs"/>
                      </a:endParaRP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indent="0" algn="ctr">
                        <a:lnSpc>
                          <a:spcPct val="100000"/>
                        </a:lnSpc>
                        <a:spcBef>
                          <a:spcPts val="310"/>
                        </a:spcBef>
                      </a:pPr>
                      <a:r>
                        <a:rPr lang="en-US" sz="2000" b="0" kern="1200">
                          <a:solidFill>
                            <a:schemeClr val="tx1"/>
                          </a:solidFill>
                          <a:effectLst/>
                          <a:latin typeface="+mn-lt"/>
                          <a:ea typeface="+mn-ea"/>
                          <a:cs typeface="+mn-cs"/>
                        </a:rPr>
                        <a:t>0.848 tCO2eq/t </a:t>
                      </a:r>
                      <a:r>
                        <a:rPr lang="sv-SE" sz="2000" b="0" kern="1200" err="1">
                          <a:solidFill>
                            <a:schemeClr val="tx1"/>
                          </a:solidFill>
                          <a:effectLst/>
                          <a:latin typeface="+mn-lt"/>
                          <a:ea typeface="+mn-ea"/>
                          <a:cs typeface="+mn-cs"/>
                        </a:rPr>
                        <a:t>clinker</a:t>
                      </a:r>
                      <a:endParaRPr lang="sv-SE" sz="2000" b="0" kern="1200">
                        <a:solidFill>
                          <a:schemeClr val="tx1"/>
                        </a:solidFill>
                        <a:effectLst/>
                        <a:latin typeface="+mn-lt"/>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indent="0" algn="ctr">
                        <a:lnSpc>
                          <a:spcPct val="100000"/>
                        </a:lnSpc>
                        <a:spcBef>
                          <a:spcPts val="310"/>
                        </a:spcBef>
                      </a:pPr>
                      <a:r>
                        <a:rPr lang="sv-SE" sz="2000" b="0" kern="1200">
                          <a:solidFill>
                            <a:schemeClr val="tx1"/>
                          </a:solidFill>
                          <a:effectLst/>
                          <a:latin typeface="+mn-lt"/>
                          <a:ea typeface="+mn-ea"/>
                          <a:cs typeface="+mn-cs"/>
                        </a:rPr>
                        <a:t>0.766 tCO2eq/t </a:t>
                      </a:r>
                      <a:r>
                        <a:rPr lang="sv-SE" sz="2000" b="0" kern="1200" err="1">
                          <a:solidFill>
                            <a:schemeClr val="tx1"/>
                          </a:solidFill>
                          <a:effectLst/>
                          <a:latin typeface="+mn-lt"/>
                          <a:ea typeface="+mn-ea"/>
                          <a:cs typeface="+mn-cs"/>
                        </a:rPr>
                        <a:t>clinker</a:t>
                      </a:r>
                      <a:endParaRPr lang="sv-SE" sz="2000" b="0" kern="1200">
                        <a:solidFill>
                          <a:schemeClr val="tx1"/>
                        </a:solidFill>
                        <a:effectLst/>
                        <a:latin typeface="+mn-lt"/>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54549919"/>
                  </a:ext>
                </a:extLst>
              </a:tr>
            </a:tbl>
          </a:graphicData>
        </a:graphic>
      </p:graphicFrame>
      <p:sp>
        <p:nvSpPr>
          <p:cNvPr id="36" name="TextBox 35">
            <a:extLst>
              <a:ext uri="{FF2B5EF4-FFF2-40B4-BE49-F238E27FC236}">
                <a16:creationId xmlns:a16="http://schemas.microsoft.com/office/drawing/2014/main" id="{8EE001A1-983E-4290-BA1F-BA4ED3EC9E78}"/>
              </a:ext>
            </a:extLst>
          </p:cNvPr>
          <p:cNvSpPr txBox="1"/>
          <p:nvPr/>
        </p:nvSpPr>
        <p:spPr>
          <a:xfrm>
            <a:off x="711552" y="2276380"/>
            <a:ext cx="6780111" cy="4196020"/>
          </a:xfrm>
          <a:prstGeom prst="rect">
            <a:avLst/>
          </a:prstGeom>
          <a:noFill/>
        </p:spPr>
        <p:txBody>
          <a:bodyPr wrap="square">
            <a:spAutoFit/>
          </a:bodyPr>
          <a:lstStyle/>
          <a:p>
            <a:pPr marL="285750" marR="0" lvl="0" indent="-285750"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rPr>
              <a:t>SECIL’s </a:t>
            </a:r>
            <a:r>
              <a:rPr kumimoji="0" lang="en-US" sz="1800" b="1" i="0" u="none" strike="noStrike" kern="1200" cap="none" spc="0" normalizeH="0" baseline="0" noProof="0">
                <a:ln>
                  <a:noFill/>
                </a:ln>
                <a:solidFill>
                  <a:srgbClr val="000000"/>
                </a:solidFill>
                <a:effectLst/>
                <a:uLnTx/>
                <a:uFillTx/>
                <a:latin typeface="Arial" panose="020B0604020202020204" pitchFamily="34" charset="0"/>
                <a:ea typeface="+mn-ea"/>
                <a:cs typeface="+mn-cs"/>
              </a:rPr>
              <a:t>primary energy requirements </a:t>
            </a:r>
            <a:r>
              <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rPr>
              <a:t>are RFD (refuse derived fuels), followed by electricity, tires, </a:t>
            </a:r>
            <a:r>
              <a:rPr kumimoji="0" lang="en-US" sz="1800" b="0" i="0" u="none" strike="noStrike" kern="1200" cap="none" spc="0" normalizeH="0" baseline="0" noProof="0" err="1">
                <a:ln>
                  <a:noFill/>
                </a:ln>
                <a:solidFill>
                  <a:srgbClr val="000000"/>
                </a:solidFill>
                <a:effectLst/>
                <a:uLnTx/>
                <a:uFillTx/>
                <a:latin typeface="Arial" panose="020B0604020202020204" pitchFamily="34" charset="0"/>
                <a:ea typeface="+mn-ea"/>
                <a:cs typeface="+mn-cs"/>
              </a:rPr>
              <a:t>petcoke</a:t>
            </a:r>
            <a:r>
              <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and fluid coke. The average energy usage for SECIL lays below the average value of the sector.</a:t>
            </a:r>
          </a:p>
          <a:p>
            <a:pPr marL="285750" marR="0" lvl="0" indent="-285750"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rPr>
              <a:t>The </a:t>
            </a:r>
            <a:r>
              <a:rPr kumimoji="0" lang="en-US" sz="1800" b="1" i="0" u="none" strike="noStrike" kern="1200" cap="none" spc="0" normalizeH="0" baseline="0" noProof="0">
                <a:ln>
                  <a:noFill/>
                </a:ln>
                <a:solidFill>
                  <a:srgbClr val="000000"/>
                </a:solidFill>
                <a:effectLst/>
                <a:uLnTx/>
                <a:uFillTx/>
                <a:latin typeface="Arial" panose="020B0604020202020204" pitchFamily="34" charset="0"/>
                <a:ea typeface="+mn-ea"/>
                <a:cs typeface="+mn-cs"/>
              </a:rPr>
              <a:t>GHG emissions </a:t>
            </a:r>
            <a:r>
              <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rPr>
              <a:t>associated with the consumption of these sources of energy and the raw meal reactions (kiln feed decarbonation) lay slightly above the average of the sector. It is important to remark that the emissions from electricity is low thanks to the renewable sources (wind and hydro) included in the Portuguese power generation mix</a:t>
            </a:r>
          </a:p>
        </p:txBody>
      </p:sp>
      <p:pic>
        <p:nvPicPr>
          <p:cNvPr id="6" name="Picture 5">
            <a:extLst>
              <a:ext uri="{FF2B5EF4-FFF2-40B4-BE49-F238E27FC236}">
                <a16:creationId xmlns:a16="http://schemas.microsoft.com/office/drawing/2014/main" id="{758B2941-3BE3-40CB-A8DF-FF2745320771}"/>
              </a:ext>
            </a:extLst>
          </p:cNvPr>
          <p:cNvPicPr>
            <a:picLocks noChangeAspect="1"/>
          </p:cNvPicPr>
          <p:nvPr/>
        </p:nvPicPr>
        <p:blipFill>
          <a:blip r:embed="rId6"/>
          <a:stretch>
            <a:fillRect/>
          </a:stretch>
        </p:blipFill>
        <p:spPr>
          <a:xfrm>
            <a:off x="7885763" y="2778616"/>
            <a:ext cx="10150586" cy="3110163"/>
          </a:xfrm>
          <a:prstGeom prst="rect">
            <a:avLst/>
          </a:prstGeom>
        </p:spPr>
      </p:pic>
      <p:sp>
        <p:nvSpPr>
          <p:cNvPr id="21" name="TextBox 20">
            <a:extLst>
              <a:ext uri="{FF2B5EF4-FFF2-40B4-BE49-F238E27FC236}">
                <a16:creationId xmlns:a16="http://schemas.microsoft.com/office/drawing/2014/main" id="{4C3D3616-59F0-4323-9ECD-8988E8318C9E}"/>
              </a:ext>
            </a:extLst>
          </p:cNvPr>
          <p:cNvSpPr txBox="1"/>
          <p:nvPr/>
        </p:nvSpPr>
        <p:spPr>
          <a:xfrm>
            <a:off x="10512514" y="8991876"/>
            <a:ext cx="6176211"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Based on Commission Delegated Regulation (EU) 2019/331. </a:t>
            </a:r>
            <a:endParaRPr kumimoji="0" lang="sv-SE" sz="1400" b="0" i="0" u="none" strike="noStrike" kern="1200" cap="none" spc="0" normalizeH="0" baseline="0" noProof="0">
              <a:ln>
                <a:noFill/>
              </a:ln>
              <a:solidFill>
                <a:srgbClr val="2F2F2F"/>
              </a:solidFill>
              <a:effectLst/>
              <a:uLnTx/>
              <a:uFillTx/>
              <a:latin typeface="Arial"/>
              <a:ea typeface="+mn-ea"/>
              <a:cs typeface="+mn-cs"/>
            </a:endParaRPr>
          </a:p>
        </p:txBody>
      </p:sp>
      <p:sp>
        <p:nvSpPr>
          <p:cNvPr id="22" name="TextBox 21">
            <a:extLst>
              <a:ext uri="{FF2B5EF4-FFF2-40B4-BE49-F238E27FC236}">
                <a16:creationId xmlns:a16="http://schemas.microsoft.com/office/drawing/2014/main" id="{F8D3D56C-1D6F-4813-B40E-DBEA6275E329}"/>
              </a:ext>
            </a:extLst>
          </p:cNvPr>
          <p:cNvSpPr txBox="1"/>
          <p:nvPr/>
        </p:nvSpPr>
        <p:spPr>
          <a:xfrm>
            <a:off x="8763000" y="5934644"/>
            <a:ext cx="914400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00" cap="none" spc="0" normalizeH="0" baseline="0" noProof="0">
                <a:ln>
                  <a:noFill/>
                </a:ln>
                <a:solidFill>
                  <a:srgbClr val="404040"/>
                </a:solidFill>
                <a:effectLst/>
                <a:uLnTx/>
                <a:uFillTx/>
                <a:latin typeface="Arial (body)"/>
                <a:ea typeface="+mn-ea"/>
                <a:cs typeface="+mn-cs"/>
              </a:rPr>
              <a:t>Primary energy consumption and GHG emission of the site in </a:t>
            </a:r>
            <a:r>
              <a:rPr kumimoji="0" lang="en-US" sz="1800" b="0" i="0" u="none" strike="noStrike" kern="1200" cap="none" spc="0" normalizeH="0" baseline="0" noProof="0" err="1">
                <a:ln>
                  <a:noFill/>
                </a:ln>
                <a:solidFill>
                  <a:srgbClr val="000000"/>
                </a:solidFill>
                <a:effectLst/>
                <a:uLnTx/>
                <a:uFillTx/>
                <a:latin typeface="Arial" panose="020B0604020202020204" pitchFamily="34" charset="0"/>
                <a:ea typeface="+mn-ea"/>
                <a:cs typeface="+mn-cs"/>
              </a:rPr>
              <a:t>Maceira</a:t>
            </a:r>
            <a:r>
              <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rPr>
              <a:t>-Liz (Portugal) </a:t>
            </a:r>
            <a:endParaRPr kumimoji="0" lang="sv-SE" sz="1800" b="0" i="0" u="none" strike="noStrike" kern="100" cap="none" spc="0" normalizeH="0" baseline="0" noProof="0">
              <a:ln>
                <a:noFill/>
              </a:ln>
              <a:solidFill>
                <a:srgbClr val="404040"/>
              </a:solidFill>
              <a:effectLst/>
              <a:uLnTx/>
              <a:uFillTx/>
              <a:latin typeface="Arial (body)"/>
              <a:ea typeface="+mn-ea"/>
              <a:cs typeface="+mn-cs"/>
            </a:endParaRPr>
          </a:p>
        </p:txBody>
      </p:sp>
    </p:spTree>
    <p:extLst>
      <p:ext uri="{BB962C8B-B14F-4D97-AF65-F5344CB8AC3E}">
        <p14:creationId xmlns:p14="http://schemas.microsoft.com/office/powerpoint/2010/main" val="32758641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uppo 16">
            <a:extLst>
              <a:ext uri="{FF2B5EF4-FFF2-40B4-BE49-F238E27FC236}">
                <a16:creationId xmlns:a16="http://schemas.microsoft.com/office/drawing/2014/main" id="{7F05FA2D-BA17-4C4E-9DAE-36CC81DE9BAA}"/>
              </a:ext>
            </a:extLst>
          </p:cNvPr>
          <p:cNvGrpSpPr/>
          <p:nvPr/>
        </p:nvGrpSpPr>
        <p:grpSpPr>
          <a:xfrm>
            <a:off x="4329156" y="9695736"/>
            <a:ext cx="13958844" cy="666567"/>
            <a:chOff x="4329156" y="9649198"/>
            <a:chExt cx="13958844" cy="666567"/>
          </a:xfrm>
        </p:grpSpPr>
        <p:pic>
          <p:nvPicPr>
            <p:cNvPr id="5" name="Picture 12">
              <a:extLst>
                <a:ext uri="{FF2B5EF4-FFF2-40B4-BE49-F238E27FC236}">
                  <a16:creationId xmlns:a16="http://schemas.microsoft.com/office/drawing/2014/main" id="{00810EF5-3949-4698-A5DE-428CD380175F}"/>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6" name="TextBox 16">
              <a:extLst>
                <a:ext uri="{FF2B5EF4-FFF2-40B4-BE49-F238E27FC236}">
                  <a16:creationId xmlns:a16="http://schemas.microsoft.com/office/drawing/2014/main" id="{EDDD1531-1BDA-4725-B6A3-364F4B7CF76A}"/>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pic>
        <p:nvPicPr>
          <p:cNvPr id="7" name="Picture 12">
            <a:extLst>
              <a:ext uri="{FF2B5EF4-FFF2-40B4-BE49-F238E27FC236}">
                <a16:creationId xmlns:a16="http://schemas.microsoft.com/office/drawing/2014/main" id="{52C35A30-8BA0-4714-8363-E6CE748BA2C3}"/>
              </a:ext>
            </a:extLst>
          </p:cNvPr>
          <p:cNvPicPr>
            <a:picLocks noChangeAspect="1"/>
          </p:cNvPicPr>
          <p:nvPr/>
        </p:nvPicPr>
        <p:blipFill>
          <a:blip r:embed="rId4"/>
          <a:srcRect/>
          <a:stretch>
            <a:fillRect/>
          </a:stretch>
        </p:blipFill>
        <p:spPr>
          <a:xfrm>
            <a:off x="0" y="8901113"/>
            <a:ext cx="5715000" cy="1385887"/>
          </a:xfrm>
          <a:prstGeom prst="rect">
            <a:avLst/>
          </a:prstGeom>
        </p:spPr>
      </p:pic>
      <p:grpSp>
        <p:nvGrpSpPr>
          <p:cNvPr id="8" name="Gruppo 2">
            <a:extLst>
              <a:ext uri="{FF2B5EF4-FFF2-40B4-BE49-F238E27FC236}">
                <a16:creationId xmlns:a16="http://schemas.microsoft.com/office/drawing/2014/main" id="{C9C93A65-4067-4ACC-B2C9-8C15277024E4}"/>
              </a:ext>
            </a:extLst>
          </p:cNvPr>
          <p:cNvGrpSpPr/>
          <p:nvPr/>
        </p:nvGrpSpPr>
        <p:grpSpPr>
          <a:xfrm>
            <a:off x="-12" y="138554"/>
            <a:ext cx="18288002" cy="681138"/>
            <a:chOff x="-12" y="138554"/>
            <a:chExt cx="18288002" cy="681138"/>
          </a:xfrm>
        </p:grpSpPr>
        <p:grpSp>
          <p:nvGrpSpPr>
            <p:cNvPr id="9" name="Gruppo 1">
              <a:extLst>
                <a:ext uri="{FF2B5EF4-FFF2-40B4-BE49-F238E27FC236}">
                  <a16:creationId xmlns:a16="http://schemas.microsoft.com/office/drawing/2014/main" id="{A943E672-738C-4FE3-BD35-ACD7A4E4D95E}"/>
                </a:ext>
              </a:extLst>
            </p:cNvPr>
            <p:cNvGrpSpPr/>
            <p:nvPr/>
          </p:nvGrpSpPr>
          <p:grpSpPr>
            <a:xfrm>
              <a:off x="0" y="153125"/>
              <a:ext cx="17907000" cy="666567"/>
              <a:chOff x="0" y="153125"/>
              <a:chExt cx="17907000" cy="666567"/>
            </a:xfrm>
          </p:grpSpPr>
          <p:grpSp>
            <p:nvGrpSpPr>
              <p:cNvPr id="11" name="Gruppo 15">
                <a:extLst>
                  <a:ext uri="{FF2B5EF4-FFF2-40B4-BE49-F238E27FC236}">
                    <a16:creationId xmlns:a16="http://schemas.microsoft.com/office/drawing/2014/main" id="{10037738-5D9A-4755-B52F-99B1FA543ED3}"/>
                  </a:ext>
                </a:extLst>
              </p:cNvPr>
              <p:cNvGrpSpPr/>
              <p:nvPr/>
            </p:nvGrpSpPr>
            <p:grpSpPr>
              <a:xfrm>
                <a:off x="0" y="153125"/>
                <a:ext cx="13958844" cy="666567"/>
                <a:chOff x="0" y="153125"/>
                <a:chExt cx="13958844" cy="666567"/>
              </a:xfrm>
            </p:grpSpPr>
            <p:pic>
              <p:nvPicPr>
                <p:cNvPr id="13" name="Picture 10">
                  <a:extLst>
                    <a:ext uri="{FF2B5EF4-FFF2-40B4-BE49-F238E27FC236}">
                      <a16:creationId xmlns:a16="http://schemas.microsoft.com/office/drawing/2014/main" id="{30234B5E-6FF9-499F-817A-9B69F1CC9911}"/>
                    </a:ext>
                  </a:extLst>
                </p:cNvPr>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4" name="TextBox 11">
                  <a:extLst>
                    <a:ext uri="{FF2B5EF4-FFF2-40B4-BE49-F238E27FC236}">
                      <a16:creationId xmlns:a16="http://schemas.microsoft.com/office/drawing/2014/main" id="{E5F3FE84-033A-4279-AF93-ABD80EC40550}"/>
                    </a:ext>
                  </a:extLst>
                </p:cNvPr>
                <p:cNvSpPr txBox="1"/>
                <p:nvPr/>
              </p:nvSpPr>
              <p:spPr>
                <a:xfrm>
                  <a:off x="228600" y="257980"/>
                  <a:ext cx="9296400" cy="456856"/>
                </a:xfrm>
                <a:prstGeom prst="rect">
                  <a:avLst/>
                </a:prstGeom>
              </p:spPr>
              <p:txBody>
                <a:bodyPr wrap="square" lIns="0" tIns="0" rIns="0" bIns="0" rtlCol="0" anchor="t">
                  <a:spAutoFit/>
                </a:bodyPr>
                <a:lstStyle/>
                <a:p>
                  <a:pPr>
                    <a:lnSpc>
                      <a:spcPts val="3919"/>
                    </a:lnSpc>
                    <a:spcBef>
                      <a:spcPct val="0"/>
                    </a:spcBef>
                  </a:pPr>
                  <a:endParaRPr lang="en-US" sz="2800" b="1">
                    <a:solidFill>
                      <a:srgbClr val="FFFFFF"/>
                    </a:solidFill>
                    <a:latin typeface="Arial" panose="020B0604020202020204" pitchFamily="34" charset="0"/>
                    <a:cs typeface="Arial" panose="020B0604020202020204" pitchFamily="34" charset="0"/>
                  </a:endParaRPr>
                </a:p>
              </p:txBody>
            </p:sp>
          </p:grpSp>
          <p:sp>
            <p:nvSpPr>
              <p:cNvPr id="12" name="TextBox 11">
                <a:extLst>
                  <a:ext uri="{FF2B5EF4-FFF2-40B4-BE49-F238E27FC236}">
                    <a16:creationId xmlns:a16="http://schemas.microsoft.com/office/drawing/2014/main" id="{7B4365DB-7AB3-494A-91B9-B5781D39B67B}"/>
                  </a:ext>
                </a:extLst>
              </p:cNvPr>
              <p:cNvSpPr txBox="1"/>
              <p:nvPr/>
            </p:nvSpPr>
            <p:spPr>
              <a:xfrm>
                <a:off x="12154296" y="257980"/>
                <a:ext cx="5752704" cy="456856"/>
              </a:xfrm>
              <a:prstGeom prst="rect">
                <a:avLst/>
              </a:prstGeom>
            </p:spPr>
            <p:txBody>
              <a:bodyPr wrap="square" lIns="0" tIns="0" rIns="0" bIns="0" rtlCol="0" anchor="t">
                <a:spAutoFit/>
              </a:bodyPr>
              <a:lstStyle/>
              <a:p>
                <a:pPr algn="r">
                  <a:lnSpc>
                    <a:spcPts val="3919"/>
                  </a:lnSpc>
                  <a:spcBef>
                    <a:spcPct val="0"/>
                  </a:spcBef>
                </a:pPr>
                <a:endParaRPr lang="en-US" sz="2800">
                  <a:solidFill>
                    <a:schemeClr val="tx1">
                      <a:lumMod val="75000"/>
                      <a:lumOff val="25000"/>
                    </a:schemeClr>
                  </a:solidFill>
                  <a:latin typeface="Arial" panose="020B0604020202020204" pitchFamily="34" charset="0"/>
                  <a:cs typeface="Arial" panose="020B0604020202020204" pitchFamily="34" charset="0"/>
                </a:endParaRPr>
              </a:p>
            </p:txBody>
          </p:sp>
        </p:grpSp>
        <p:sp>
          <p:nvSpPr>
            <p:cNvPr id="10" name="Rettangolo 13">
              <a:extLst>
                <a:ext uri="{FF2B5EF4-FFF2-40B4-BE49-F238E27FC236}">
                  <a16:creationId xmlns:a16="http://schemas.microsoft.com/office/drawing/2014/main" id="{BC76EB51-B4AB-4BAB-AAF6-1883074EEF50}"/>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0" name="TextBox 19">
            <a:extLst>
              <a:ext uri="{FF2B5EF4-FFF2-40B4-BE49-F238E27FC236}">
                <a16:creationId xmlns:a16="http://schemas.microsoft.com/office/drawing/2014/main" id="{B4D68CAB-2F99-49CF-9331-08151EAABA39}"/>
              </a:ext>
            </a:extLst>
          </p:cNvPr>
          <p:cNvSpPr txBox="1"/>
          <p:nvPr/>
        </p:nvSpPr>
        <p:spPr>
          <a:xfrm>
            <a:off x="5529863" y="924916"/>
            <a:ext cx="8428981" cy="830997"/>
          </a:xfrm>
          <a:prstGeom prst="rect">
            <a:avLst/>
          </a:prstGeom>
          <a:noFill/>
        </p:spPr>
        <p:txBody>
          <a:bodyPr wrap="square">
            <a:spAutoFit/>
          </a:bodyPr>
          <a:lstStyle/>
          <a:p>
            <a:r>
              <a:rPr lang="sv-SE" sz="4800" b="1">
                <a:solidFill>
                  <a:srgbClr val="CC0033"/>
                </a:solidFill>
                <a:latin typeface="+mj-lt"/>
                <a:cs typeface="Arial" panose="020B0604020202020204" pitchFamily="34" charset="0"/>
              </a:rPr>
              <a:t>RETROFEED at SECIL</a:t>
            </a:r>
          </a:p>
        </p:txBody>
      </p:sp>
      <p:sp>
        <p:nvSpPr>
          <p:cNvPr id="21" name="TextBox 20">
            <a:extLst>
              <a:ext uri="{FF2B5EF4-FFF2-40B4-BE49-F238E27FC236}">
                <a16:creationId xmlns:a16="http://schemas.microsoft.com/office/drawing/2014/main" id="{4D202826-A262-4E51-B95E-1EDEE44997BC}"/>
              </a:ext>
            </a:extLst>
          </p:cNvPr>
          <p:cNvSpPr txBox="1"/>
          <p:nvPr/>
        </p:nvSpPr>
        <p:spPr>
          <a:xfrm>
            <a:off x="711552" y="5306556"/>
            <a:ext cx="12122133" cy="1287532"/>
          </a:xfrm>
          <a:prstGeom prst="rect">
            <a:avLst/>
          </a:prstGeom>
          <a:noFill/>
        </p:spPr>
        <p:txBody>
          <a:bodyPr wrap="square">
            <a:spAutoFit/>
          </a:bodyPr>
          <a:lstStyle/>
          <a:p>
            <a:pPr algn="just">
              <a:lnSpc>
                <a:spcPct val="150000"/>
              </a:lnSpc>
            </a:pPr>
            <a:r>
              <a:rPr lang="en-US">
                <a:solidFill>
                  <a:srgbClr val="000000"/>
                </a:solidFill>
                <a:latin typeface="Arial" panose="020B0604020202020204" pitchFamily="34" charset="0"/>
              </a:rPr>
              <a:t>T</a:t>
            </a:r>
            <a:r>
              <a:rPr lang="en-US" sz="1800" b="0" i="0" u="none" strike="noStrike" baseline="0">
                <a:solidFill>
                  <a:srgbClr val="000000"/>
                </a:solidFill>
                <a:latin typeface="Arial" panose="020B0604020202020204" pitchFamily="34" charset="0"/>
              </a:rPr>
              <a:t>he combustion system (design of a new main burner) of the clinker rotary kiln needs to be retrofitted to allow the increase in knowledge about the process conditions and feedstock characteristics, resulting in a higher use of alternative fuels as opposed to their fossil-based counterparts.</a:t>
            </a:r>
            <a:endParaRPr lang="es-ES"/>
          </a:p>
        </p:txBody>
      </p:sp>
      <p:sp>
        <p:nvSpPr>
          <p:cNvPr id="22" name="TextBox 21">
            <a:extLst>
              <a:ext uri="{FF2B5EF4-FFF2-40B4-BE49-F238E27FC236}">
                <a16:creationId xmlns:a16="http://schemas.microsoft.com/office/drawing/2014/main" id="{A9B20580-BA1E-4C7C-A82E-3639921429A1}"/>
              </a:ext>
            </a:extLst>
          </p:cNvPr>
          <p:cNvSpPr txBox="1"/>
          <p:nvPr/>
        </p:nvSpPr>
        <p:spPr>
          <a:xfrm>
            <a:off x="711552" y="3063530"/>
            <a:ext cx="12122132" cy="1287532"/>
          </a:xfrm>
          <a:prstGeom prst="rect">
            <a:avLst/>
          </a:prstGeom>
          <a:noFill/>
        </p:spPr>
        <p:txBody>
          <a:bodyPr wrap="square">
            <a:spAutoFit/>
          </a:bodyPr>
          <a:lstStyle/>
          <a:p>
            <a:pPr algn="just">
              <a:lnSpc>
                <a:spcPct val="150000"/>
              </a:lnSpc>
            </a:pPr>
            <a:r>
              <a:rPr lang="en-US" sz="1800" b="0" i="0" u="none" strike="noStrike" baseline="0" err="1">
                <a:solidFill>
                  <a:srgbClr val="000000"/>
                </a:solidFill>
                <a:latin typeface="Arial" panose="020B0604020202020204" pitchFamily="34" charset="0"/>
              </a:rPr>
              <a:t>Maceira</a:t>
            </a:r>
            <a:r>
              <a:rPr lang="en-US" sz="1800" b="0" i="0" u="none" strike="noStrike" baseline="0">
                <a:solidFill>
                  <a:srgbClr val="000000"/>
                </a:solidFill>
                <a:latin typeface="Arial" panose="020B0604020202020204" pitchFamily="34" charset="0"/>
              </a:rPr>
              <a:t>-Liz already uses alternative fuels (RDF, tires, fluff) for clinker production, but these types of fuel are characterized by high heterogeneity, high variation of lower calorific value (LCV) and high variation of moisture content, posing operational problems and flame control difficulties. </a:t>
            </a:r>
            <a:endParaRPr lang="en-US" b="0" i="0" u="none" strike="noStrike" baseline="0">
              <a:solidFill>
                <a:srgbClr val="000000"/>
              </a:solidFill>
              <a:latin typeface="Arial" panose="020B0604020202020204" pitchFamily="34" charset="0"/>
            </a:endParaRPr>
          </a:p>
        </p:txBody>
      </p:sp>
      <p:sp>
        <p:nvSpPr>
          <p:cNvPr id="23" name="TextBox 22">
            <a:extLst>
              <a:ext uri="{FF2B5EF4-FFF2-40B4-BE49-F238E27FC236}">
                <a16:creationId xmlns:a16="http://schemas.microsoft.com/office/drawing/2014/main" id="{EDADB62C-C9C5-46BD-B3F0-92C52F43256C}"/>
              </a:ext>
            </a:extLst>
          </p:cNvPr>
          <p:cNvSpPr txBox="1"/>
          <p:nvPr/>
        </p:nvSpPr>
        <p:spPr>
          <a:xfrm>
            <a:off x="711552" y="2352624"/>
            <a:ext cx="9144000" cy="461665"/>
          </a:xfrm>
          <a:prstGeom prst="rect">
            <a:avLst/>
          </a:prstGeom>
          <a:noFill/>
        </p:spPr>
        <p:txBody>
          <a:bodyPr wrap="square">
            <a:spAutoFit/>
          </a:bodyPr>
          <a:lstStyle/>
          <a:p>
            <a:r>
              <a:rPr lang="sv-SE" sz="2400" b="1" err="1">
                <a:solidFill>
                  <a:srgbClr val="CC0033"/>
                </a:solidFill>
                <a:latin typeface="+mj-lt"/>
                <a:cs typeface="Arial" panose="020B0604020202020204" pitchFamily="34" charset="0"/>
              </a:rPr>
              <a:t>Why</a:t>
            </a:r>
            <a:r>
              <a:rPr lang="sv-SE" sz="2400" b="1">
                <a:solidFill>
                  <a:srgbClr val="CC0033"/>
                </a:solidFill>
                <a:latin typeface="+mj-lt"/>
                <a:cs typeface="Arial" panose="020B0604020202020204" pitchFamily="34" charset="0"/>
              </a:rPr>
              <a:t> is </a:t>
            </a:r>
            <a:r>
              <a:rPr lang="sv-SE" sz="2400" b="1" err="1">
                <a:solidFill>
                  <a:srgbClr val="CC0033"/>
                </a:solidFill>
                <a:latin typeface="+mj-lt"/>
                <a:cs typeface="Arial" panose="020B0604020202020204" pitchFamily="34" charset="0"/>
              </a:rPr>
              <a:t>retrofit</a:t>
            </a:r>
            <a:r>
              <a:rPr lang="sv-SE" sz="2400" b="1">
                <a:solidFill>
                  <a:srgbClr val="CC0033"/>
                </a:solidFill>
                <a:latin typeface="+mj-lt"/>
                <a:cs typeface="Arial" panose="020B0604020202020204" pitchFamily="34" charset="0"/>
              </a:rPr>
              <a:t> </a:t>
            </a:r>
            <a:r>
              <a:rPr lang="sv-SE" sz="2400" b="1" err="1">
                <a:solidFill>
                  <a:srgbClr val="CC0033"/>
                </a:solidFill>
                <a:latin typeface="+mj-lt"/>
                <a:cs typeface="Arial" panose="020B0604020202020204" pitchFamily="34" charset="0"/>
              </a:rPr>
              <a:t>needed</a:t>
            </a:r>
            <a:r>
              <a:rPr lang="sv-SE" sz="2400" b="1">
                <a:solidFill>
                  <a:srgbClr val="CC0033"/>
                </a:solidFill>
                <a:latin typeface="+mj-lt"/>
                <a:cs typeface="Arial" panose="020B0604020202020204" pitchFamily="34" charset="0"/>
              </a:rPr>
              <a:t> at SECIL?</a:t>
            </a:r>
          </a:p>
        </p:txBody>
      </p:sp>
      <p:sp>
        <p:nvSpPr>
          <p:cNvPr id="24" name="TextBox 23">
            <a:extLst>
              <a:ext uri="{FF2B5EF4-FFF2-40B4-BE49-F238E27FC236}">
                <a16:creationId xmlns:a16="http://schemas.microsoft.com/office/drawing/2014/main" id="{937FCD4A-B1F9-4E69-A0BA-D616BDBFF034}"/>
              </a:ext>
            </a:extLst>
          </p:cNvPr>
          <p:cNvSpPr txBox="1"/>
          <p:nvPr/>
        </p:nvSpPr>
        <p:spPr>
          <a:xfrm>
            <a:off x="711552" y="4759845"/>
            <a:ext cx="9144000" cy="461665"/>
          </a:xfrm>
          <a:prstGeom prst="rect">
            <a:avLst/>
          </a:prstGeom>
          <a:noFill/>
        </p:spPr>
        <p:txBody>
          <a:bodyPr wrap="square">
            <a:spAutoFit/>
          </a:bodyPr>
          <a:lstStyle/>
          <a:p>
            <a:r>
              <a:rPr lang="sv-SE" sz="2400" b="1" err="1">
                <a:solidFill>
                  <a:srgbClr val="CC0033"/>
                </a:solidFill>
                <a:latin typeface="+mj-lt"/>
                <a:cs typeface="Arial" panose="020B0604020202020204" pitchFamily="34" charset="0"/>
              </a:rPr>
              <a:t>Where</a:t>
            </a:r>
            <a:r>
              <a:rPr lang="sv-SE" sz="2400" b="1">
                <a:solidFill>
                  <a:srgbClr val="CC0033"/>
                </a:solidFill>
                <a:latin typeface="+mj-lt"/>
                <a:cs typeface="Arial" panose="020B0604020202020204" pitchFamily="34" charset="0"/>
              </a:rPr>
              <a:t> is </a:t>
            </a:r>
            <a:r>
              <a:rPr lang="sv-SE" sz="2400" b="1" err="1">
                <a:solidFill>
                  <a:srgbClr val="CC0033"/>
                </a:solidFill>
                <a:latin typeface="+mj-lt"/>
                <a:cs typeface="Arial" panose="020B0604020202020204" pitchFamily="34" charset="0"/>
              </a:rPr>
              <a:t>retrofit</a:t>
            </a:r>
            <a:r>
              <a:rPr lang="sv-SE" sz="2400" b="1">
                <a:solidFill>
                  <a:srgbClr val="CC0033"/>
                </a:solidFill>
                <a:latin typeface="+mj-lt"/>
                <a:cs typeface="Arial" panose="020B0604020202020204" pitchFamily="34" charset="0"/>
              </a:rPr>
              <a:t> </a:t>
            </a:r>
            <a:r>
              <a:rPr lang="sv-SE" sz="2400" b="1" err="1">
                <a:solidFill>
                  <a:srgbClr val="CC0033"/>
                </a:solidFill>
                <a:latin typeface="+mj-lt"/>
                <a:cs typeface="Arial" panose="020B0604020202020204" pitchFamily="34" charset="0"/>
              </a:rPr>
              <a:t>needed</a:t>
            </a:r>
            <a:r>
              <a:rPr lang="sv-SE" sz="2400" b="1">
                <a:solidFill>
                  <a:srgbClr val="CC0033"/>
                </a:solidFill>
                <a:latin typeface="+mj-lt"/>
                <a:cs typeface="Arial" panose="020B0604020202020204" pitchFamily="34" charset="0"/>
              </a:rPr>
              <a:t> at SECIL?</a:t>
            </a:r>
          </a:p>
        </p:txBody>
      </p:sp>
      <p:sp>
        <p:nvSpPr>
          <p:cNvPr id="25" name="TextBox 24">
            <a:extLst>
              <a:ext uri="{FF2B5EF4-FFF2-40B4-BE49-F238E27FC236}">
                <a16:creationId xmlns:a16="http://schemas.microsoft.com/office/drawing/2014/main" id="{0ECC9F57-CF49-4DE9-A193-ACA3C8FEE863}"/>
              </a:ext>
            </a:extLst>
          </p:cNvPr>
          <p:cNvSpPr txBox="1"/>
          <p:nvPr/>
        </p:nvSpPr>
        <p:spPr>
          <a:xfrm>
            <a:off x="1130757" y="7056155"/>
            <a:ext cx="11521785" cy="1131848"/>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anchor="ctr">
            <a:spAutoFit/>
          </a:bodyPr>
          <a:lstStyle/>
          <a:p>
            <a:pPr algn="ctr">
              <a:lnSpc>
                <a:spcPct val="150000"/>
              </a:lnSpc>
            </a:pPr>
            <a:r>
              <a:rPr lang="es-ES" sz="2400" err="1">
                <a:solidFill>
                  <a:schemeClr val="bg1"/>
                </a:solidFill>
              </a:rPr>
              <a:t>With</a:t>
            </a:r>
            <a:r>
              <a:rPr lang="es-ES" sz="2400">
                <a:solidFill>
                  <a:schemeClr val="bg1"/>
                </a:solidFill>
              </a:rPr>
              <a:t> </a:t>
            </a:r>
            <a:r>
              <a:rPr lang="es-ES" sz="2400" err="1">
                <a:solidFill>
                  <a:schemeClr val="bg1"/>
                </a:solidFill>
              </a:rPr>
              <a:t>these</a:t>
            </a:r>
            <a:r>
              <a:rPr lang="es-ES" sz="2400">
                <a:solidFill>
                  <a:schemeClr val="bg1"/>
                </a:solidFill>
              </a:rPr>
              <a:t> </a:t>
            </a:r>
            <a:r>
              <a:rPr lang="es-ES" sz="2400" err="1">
                <a:solidFill>
                  <a:schemeClr val="bg1"/>
                </a:solidFill>
              </a:rPr>
              <a:t>actions</a:t>
            </a:r>
            <a:r>
              <a:rPr lang="es-ES" sz="2400">
                <a:solidFill>
                  <a:schemeClr val="bg1"/>
                </a:solidFill>
              </a:rPr>
              <a:t>, </a:t>
            </a:r>
            <a:r>
              <a:rPr lang="es-ES" sz="2400" err="1">
                <a:solidFill>
                  <a:schemeClr val="bg1"/>
                </a:solidFill>
              </a:rPr>
              <a:t>it</a:t>
            </a:r>
            <a:r>
              <a:rPr lang="es-ES" sz="2400">
                <a:solidFill>
                  <a:schemeClr val="bg1"/>
                </a:solidFill>
              </a:rPr>
              <a:t> </a:t>
            </a:r>
            <a:r>
              <a:rPr lang="es-ES" sz="2400" err="1">
                <a:solidFill>
                  <a:schemeClr val="bg1"/>
                </a:solidFill>
              </a:rPr>
              <a:t>is</a:t>
            </a:r>
            <a:r>
              <a:rPr lang="es-ES" sz="2400">
                <a:solidFill>
                  <a:schemeClr val="bg1"/>
                </a:solidFill>
              </a:rPr>
              <a:t> </a:t>
            </a:r>
            <a:r>
              <a:rPr lang="es-ES" sz="2400" err="1">
                <a:solidFill>
                  <a:schemeClr val="bg1"/>
                </a:solidFill>
              </a:rPr>
              <a:t>expected</a:t>
            </a:r>
            <a:r>
              <a:rPr lang="es-ES" sz="2400">
                <a:solidFill>
                  <a:schemeClr val="bg1"/>
                </a:solidFill>
              </a:rPr>
              <a:t> </a:t>
            </a:r>
            <a:r>
              <a:rPr lang="es-ES" sz="2400" err="1">
                <a:solidFill>
                  <a:schemeClr val="bg1"/>
                </a:solidFill>
              </a:rPr>
              <a:t>to</a:t>
            </a:r>
            <a:r>
              <a:rPr lang="es-ES" sz="2400">
                <a:solidFill>
                  <a:schemeClr val="bg1"/>
                </a:solidFill>
              </a:rPr>
              <a:t> </a:t>
            </a:r>
            <a:r>
              <a:rPr lang="es-ES" sz="2400" err="1">
                <a:solidFill>
                  <a:schemeClr val="bg1"/>
                </a:solidFill>
              </a:rPr>
              <a:t>achieve</a:t>
            </a:r>
            <a:r>
              <a:rPr lang="es-ES" sz="2400">
                <a:solidFill>
                  <a:schemeClr val="bg1"/>
                </a:solidFill>
              </a:rPr>
              <a:t> </a:t>
            </a:r>
            <a:r>
              <a:rPr lang="en-US" sz="2400" b="0" i="0" u="none" strike="noStrike" baseline="0">
                <a:solidFill>
                  <a:schemeClr val="bg1"/>
                </a:solidFill>
                <a:latin typeface="Arial" panose="020B0604020202020204" pitchFamily="34" charset="0"/>
              </a:rPr>
              <a:t>higher energy efficiency and lower CO</a:t>
            </a:r>
            <a:r>
              <a:rPr lang="en-US" sz="2400" b="0" i="0" u="none" strike="noStrike" baseline="-25000">
                <a:solidFill>
                  <a:schemeClr val="bg1"/>
                </a:solidFill>
                <a:latin typeface="Arial" panose="020B0604020202020204" pitchFamily="34" charset="0"/>
              </a:rPr>
              <a:t>2</a:t>
            </a:r>
            <a:r>
              <a:rPr lang="en-US" sz="2400" b="0" i="0" u="none" strike="noStrike" baseline="0">
                <a:solidFill>
                  <a:schemeClr val="bg1"/>
                </a:solidFill>
                <a:latin typeface="Arial" panose="020B0604020202020204" pitchFamily="34" charset="0"/>
              </a:rPr>
              <a:t> emissions.</a:t>
            </a:r>
            <a:endParaRPr lang="sv-SE" sz="2200">
              <a:solidFill>
                <a:schemeClr val="bg1"/>
              </a:solidFill>
            </a:endParaRPr>
          </a:p>
        </p:txBody>
      </p:sp>
      <p:sp>
        <p:nvSpPr>
          <p:cNvPr id="26" name="TextBox 25">
            <a:extLst>
              <a:ext uri="{FF2B5EF4-FFF2-40B4-BE49-F238E27FC236}">
                <a16:creationId xmlns:a16="http://schemas.microsoft.com/office/drawing/2014/main" id="{1AA5A209-B555-46CA-B9DD-77580D840E4F}"/>
              </a:ext>
            </a:extLst>
          </p:cNvPr>
          <p:cNvSpPr txBox="1"/>
          <p:nvPr/>
        </p:nvSpPr>
        <p:spPr>
          <a:xfrm>
            <a:off x="14474384" y="4783336"/>
            <a:ext cx="2542182" cy="523220"/>
          </a:xfrm>
          <a:prstGeom prst="rect">
            <a:avLst/>
          </a:prstGeom>
          <a:noFill/>
        </p:spPr>
        <p:txBody>
          <a:bodyPr wrap="square" rtlCol="0">
            <a:spAutoFit/>
          </a:bodyPr>
          <a:lstStyle/>
          <a:p>
            <a:pPr algn="ctr"/>
            <a:r>
              <a:rPr lang="en-US" sz="1400" kern="100">
                <a:solidFill>
                  <a:srgbClr val="404040"/>
                </a:solidFill>
                <a:latin typeface="Arial (body)"/>
              </a:rPr>
              <a:t>RDFs (Refuse Derived Fuels) with plastic, paper and textile</a:t>
            </a:r>
            <a:endParaRPr lang="sv-SE" sz="1400" kern="100">
              <a:solidFill>
                <a:srgbClr val="404040"/>
              </a:solidFill>
              <a:latin typeface="Arial (body)"/>
            </a:endParaRPr>
          </a:p>
        </p:txBody>
      </p:sp>
      <p:pic>
        <p:nvPicPr>
          <p:cNvPr id="3" name="Picture 2">
            <a:extLst>
              <a:ext uri="{FF2B5EF4-FFF2-40B4-BE49-F238E27FC236}">
                <a16:creationId xmlns:a16="http://schemas.microsoft.com/office/drawing/2014/main" id="{2000C746-102D-4568-A72F-D434C58AD5A5}"/>
              </a:ext>
            </a:extLst>
          </p:cNvPr>
          <p:cNvPicPr>
            <a:picLocks noChangeAspect="1"/>
          </p:cNvPicPr>
          <p:nvPr/>
        </p:nvPicPr>
        <p:blipFill>
          <a:blip r:embed="rId6"/>
          <a:stretch>
            <a:fillRect/>
          </a:stretch>
        </p:blipFill>
        <p:spPr>
          <a:xfrm>
            <a:off x="14069075" y="2442818"/>
            <a:ext cx="3352800" cy="2257425"/>
          </a:xfrm>
          <a:prstGeom prst="rect">
            <a:avLst/>
          </a:prstGeom>
        </p:spPr>
      </p:pic>
      <p:pic>
        <p:nvPicPr>
          <p:cNvPr id="15" name="Picture 14">
            <a:extLst>
              <a:ext uri="{FF2B5EF4-FFF2-40B4-BE49-F238E27FC236}">
                <a16:creationId xmlns:a16="http://schemas.microsoft.com/office/drawing/2014/main" id="{1E96CBF7-F485-4F4C-BAEC-AF1E79E3A165}"/>
              </a:ext>
            </a:extLst>
          </p:cNvPr>
          <p:cNvPicPr>
            <a:picLocks noChangeAspect="1"/>
          </p:cNvPicPr>
          <p:nvPr/>
        </p:nvPicPr>
        <p:blipFill>
          <a:blip r:embed="rId7"/>
          <a:stretch>
            <a:fillRect/>
          </a:stretch>
        </p:blipFill>
        <p:spPr>
          <a:xfrm>
            <a:off x="14121462" y="5712593"/>
            <a:ext cx="3248025" cy="2209800"/>
          </a:xfrm>
          <a:prstGeom prst="rect">
            <a:avLst/>
          </a:prstGeom>
        </p:spPr>
      </p:pic>
      <p:sp>
        <p:nvSpPr>
          <p:cNvPr id="27" name="TextBox 26">
            <a:extLst>
              <a:ext uri="{FF2B5EF4-FFF2-40B4-BE49-F238E27FC236}">
                <a16:creationId xmlns:a16="http://schemas.microsoft.com/office/drawing/2014/main" id="{5C8EA450-7256-4ADE-83D5-9FBC51B246EE}"/>
              </a:ext>
            </a:extLst>
          </p:cNvPr>
          <p:cNvSpPr txBox="1"/>
          <p:nvPr/>
        </p:nvSpPr>
        <p:spPr>
          <a:xfrm>
            <a:off x="14474384" y="8024234"/>
            <a:ext cx="2542182" cy="307777"/>
          </a:xfrm>
          <a:prstGeom prst="rect">
            <a:avLst/>
          </a:prstGeom>
          <a:noFill/>
        </p:spPr>
        <p:txBody>
          <a:bodyPr wrap="square" rtlCol="0">
            <a:spAutoFit/>
          </a:bodyPr>
          <a:lstStyle/>
          <a:p>
            <a:pPr algn="ctr"/>
            <a:r>
              <a:rPr lang="en-US" sz="1400" kern="100">
                <a:solidFill>
                  <a:srgbClr val="404040"/>
                </a:solidFill>
                <a:latin typeface="Arial (body)"/>
              </a:rPr>
              <a:t>Tires used as fuel</a:t>
            </a:r>
            <a:endParaRPr lang="sv-SE" sz="1400" kern="100">
              <a:solidFill>
                <a:srgbClr val="404040"/>
              </a:solidFill>
              <a:latin typeface="Arial (body)"/>
            </a:endParaRPr>
          </a:p>
        </p:txBody>
      </p:sp>
    </p:spTree>
    <p:extLst>
      <p:ext uri="{BB962C8B-B14F-4D97-AF65-F5344CB8AC3E}">
        <p14:creationId xmlns:p14="http://schemas.microsoft.com/office/powerpoint/2010/main" val="141924768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6E4D79FA-32DD-45C8-8356-363B38C104F1}"/>
              </a:ext>
            </a:extLst>
          </p:cNvPr>
          <p:cNvPicPr>
            <a:picLocks noChangeAspect="1"/>
          </p:cNvPicPr>
          <p:nvPr/>
        </p:nvPicPr>
        <p:blipFill rotWithShape="1">
          <a:blip r:embed="rId3" cstate="screen">
            <a:alphaModFix amt="20000"/>
            <a:extLst>
              <a:ext uri="{28A0092B-C50C-407E-A947-70E740481C1C}">
                <a14:useLocalDpi xmlns:a14="http://schemas.microsoft.com/office/drawing/2010/main"/>
              </a:ext>
            </a:extLst>
          </a:blip>
          <a:srcRect t="43759" b="16844"/>
          <a:stretch/>
        </p:blipFill>
        <p:spPr bwMode="auto">
          <a:xfrm>
            <a:off x="324349" y="3640246"/>
            <a:ext cx="17712000" cy="5260867"/>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6"/>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4"/>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5"/>
          <a:srcRect/>
          <a:stretch>
            <a:fillRect/>
          </a:stretch>
        </p:blipFill>
        <p:spPr>
          <a:xfrm>
            <a:off x="0" y="8901113"/>
            <a:ext cx="5715000" cy="1385887"/>
          </a:xfrm>
          <a:prstGeom prst="rect">
            <a:avLst/>
          </a:prstGeom>
        </p:spPr>
      </p:pic>
      <p:grpSp>
        <p:nvGrpSpPr>
          <p:cNvPr id="2" name="Gruppo 1">
            <a:extLst>
              <a:ext uri="{FF2B5EF4-FFF2-40B4-BE49-F238E27FC236}">
                <a16:creationId xmlns:a16="http://schemas.microsoft.com/office/drawing/2014/main" id="{D8D71BB5-458F-411D-AFA9-C648954E9F40}"/>
              </a:ext>
            </a:extLst>
          </p:cNvPr>
          <p:cNvGrpSpPr/>
          <p:nvPr/>
        </p:nvGrpSpPr>
        <p:grpSpPr>
          <a:xfrm>
            <a:off x="-12" y="138554"/>
            <a:ext cx="18288002" cy="681138"/>
            <a:chOff x="-12" y="138554"/>
            <a:chExt cx="18288002" cy="681138"/>
          </a:xfrm>
        </p:grpSpPr>
        <p:grpSp>
          <p:nvGrpSpPr>
            <p:cNvPr id="16" name="Gruppo 15">
              <a:extLst>
                <a:ext uri="{FF2B5EF4-FFF2-40B4-BE49-F238E27FC236}">
                  <a16:creationId xmlns:a16="http://schemas.microsoft.com/office/drawing/2014/main" id="{DAC42A46-917D-41AB-8F07-E15E54D0F7D4}"/>
                </a:ext>
              </a:extLst>
            </p:cNvPr>
            <p:cNvGrpSpPr/>
            <p:nvPr/>
          </p:nvGrpSpPr>
          <p:grpSpPr>
            <a:xfrm>
              <a:off x="0" y="153125"/>
              <a:ext cx="13958844" cy="666567"/>
              <a:chOff x="0" y="153125"/>
              <a:chExt cx="13958844" cy="666567"/>
            </a:xfrm>
          </p:grpSpPr>
          <p:pic>
            <p:nvPicPr>
              <p:cNvPr id="10" name="Picture 10"/>
              <p:cNvPicPr>
                <a:picLocks noChangeAspect="1"/>
              </p:cNvPicPr>
              <p:nvPr/>
            </p:nvPicPr>
            <p:blipFill>
              <a:blip r:embed="rId6"/>
              <a:srcRect l="134" t="91287" b="3943"/>
              <a:stretch>
                <a:fillRect/>
              </a:stretch>
            </p:blipFill>
            <p:spPr>
              <a:xfrm>
                <a:off x="0" y="153125"/>
                <a:ext cx="13958844" cy="666567"/>
              </a:xfrm>
              <a:prstGeom prst="rect">
                <a:avLst/>
              </a:prstGeom>
            </p:spPr>
          </p:pic>
          <p:sp>
            <p:nvSpPr>
              <p:cNvPr id="11" name="TextBox 11"/>
              <p:cNvSpPr txBox="1"/>
              <p:nvPr/>
            </p:nvSpPr>
            <p:spPr>
              <a:xfrm>
                <a:off x="228600" y="257980"/>
                <a:ext cx="5752704" cy="456856"/>
              </a:xfrm>
              <a:prstGeom prst="rect">
                <a:avLst/>
              </a:prstGeom>
            </p:spPr>
            <p:txBody>
              <a:bodyPr wrap="square" lIns="0" tIns="0" rIns="0" bIns="0" rtlCol="0" anchor="t">
                <a:spAutoFit/>
              </a:bodyPr>
              <a:lstStyle/>
              <a:p>
                <a:pPr>
                  <a:lnSpc>
                    <a:spcPts val="3919"/>
                  </a:lnSpc>
                  <a:spcBef>
                    <a:spcPct val="0"/>
                  </a:spcBef>
                </a:pPr>
                <a:endParaRPr lang="en-US" sz="2800" b="1">
                  <a:solidFill>
                    <a:srgbClr val="FFFFFF"/>
                  </a:solidFill>
                  <a:latin typeface="Arial" panose="020B0604020202020204" pitchFamily="34" charset="0"/>
                  <a:cs typeface="Arial" panose="020B0604020202020204" pitchFamily="34" charset="0"/>
                </a:endParaRPr>
              </a:p>
            </p:txBody>
          </p:sp>
        </p:grpSp>
        <p:sp>
          <p:nvSpPr>
            <p:cNvPr id="12" name="Rettangolo 11">
              <a:extLst>
                <a:ext uri="{FF2B5EF4-FFF2-40B4-BE49-F238E27FC236}">
                  <a16:creationId xmlns:a16="http://schemas.microsoft.com/office/drawing/2014/main" id="{F2E90E36-F5DF-479E-BF3B-C6F6A1CEA4E7}"/>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9" name="TextBox 14">
            <a:extLst>
              <a:ext uri="{FF2B5EF4-FFF2-40B4-BE49-F238E27FC236}">
                <a16:creationId xmlns:a16="http://schemas.microsoft.com/office/drawing/2014/main" id="{B5C457C5-5E6A-4DD1-9F95-583C431D5128}"/>
              </a:ext>
            </a:extLst>
          </p:cNvPr>
          <p:cNvSpPr txBox="1"/>
          <p:nvPr/>
        </p:nvSpPr>
        <p:spPr>
          <a:xfrm>
            <a:off x="1038480" y="3640246"/>
            <a:ext cx="7162789" cy="5170646"/>
          </a:xfrm>
          <a:prstGeom prst="rect">
            <a:avLst/>
          </a:prstGeom>
        </p:spPr>
        <p:txBody>
          <a:bodyPr wrap="square" lIns="0" tIns="0" rIns="0" bIns="0" rtlCol="0" anchor="t">
            <a:spAutoFit/>
          </a:bodyPr>
          <a:lstStyle/>
          <a:p>
            <a:pPr>
              <a:buClr>
                <a:schemeClr val="accent5"/>
              </a:buClr>
            </a:pPr>
            <a:r>
              <a:rPr lang="en-US" sz="2800" b="1">
                <a:solidFill>
                  <a:schemeClr val="accent1"/>
                </a:solidFill>
              </a:rPr>
              <a:t>Retrofitting actions</a:t>
            </a:r>
          </a:p>
          <a:p>
            <a:pPr>
              <a:buClr>
                <a:schemeClr val="accent5"/>
              </a:buClr>
            </a:pPr>
            <a:endParaRPr lang="en-US" sz="2800" b="1"/>
          </a:p>
          <a:p>
            <a:pPr marL="457200" indent="-457200">
              <a:buClr>
                <a:srgbClr val="CC0033"/>
              </a:buClr>
              <a:buFont typeface="Wingdings" panose="05000000000000000000" pitchFamily="2" charset="2"/>
              <a:buChar char="ü"/>
            </a:pPr>
            <a:r>
              <a:rPr lang="en-US" sz="2800" b="1"/>
              <a:t>Full-scale multi-fuel burner design</a:t>
            </a:r>
          </a:p>
          <a:p>
            <a:pPr marL="457200" indent="-457200">
              <a:buClr>
                <a:srgbClr val="CC0033"/>
              </a:buClr>
              <a:buFont typeface="Wingdings" panose="05000000000000000000" pitchFamily="2" charset="2"/>
              <a:buChar char="ü"/>
            </a:pPr>
            <a:endParaRPr lang="en-US" sz="2800" b="1"/>
          </a:p>
          <a:p>
            <a:pPr marL="457200" indent="-457200">
              <a:buClr>
                <a:srgbClr val="CC0033"/>
              </a:buClr>
              <a:buFont typeface="Wingdings" panose="05000000000000000000" pitchFamily="2" charset="2"/>
              <a:buChar char="ü"/>
            </a:pPr>
            <a:r>
              <a:rPr lang="en-US" sz="2800" b="1"/>
              <a:t>Image based combustion diagnosis tool</a:t>
            </a:r>
          </a:p>
          <a:p>
            <a:pPr marL="457200" indent="-457200">
              <a:buClr>
                <a:srgbClr val="CC0033"/>
              </a:buClr>
              <a:buFont typeface="Wingdings" panose="05000000000000000000" pitchFamily="2" charset="2"/>
              <a:buChar char="ü"/>
            </a:pPr>
            <a:endParaRPr lang="en-US" sz="2800" b="1"/>
          </a:p>
          <a:p>
            <a:pPr marL="457200" indent="-457200">
              <a:buClr>
                <a:srgbClr val="CC0033"/>
              </a:buClr>
              <a:buFont typeface="Wingdings" panose="05000000000000000000" pitchFamily="2" charset="2"/>
              <a:buChar char="ü"/>
            </a:pPr>
            <a:r>
              <a:rPr lang="en-US" sz="2800" b="1"/>
              <a:t>Alternative fuels properties determination</a:t>
            </a:r>
          </a:p>
          <a:p>
            <a:pPr marL="457200" indent="-457200">
              <a:buClr>
                <a:srgbClr val="CC0033"/>
              </a:buClr>
              <a:buFont typeface="Wingdings" panose="05000000000000000000" pitchFamily="2" charset="2"/>
              <a:buChar char="ü"/>
            </a:pPr>
            <a:endParaRPr lang="en-US" sz="2800" b="1"/>
          </a:p>
          <a:p>
            <a:pPr marL="457200" indent="-457200">
              <a:buClr>
                <a:srgbClr val="CC0033"/>
              </a:buClr>
              <a:buFont typeface="Wingdings" panose="05000000000000000000" pitchFamily="2" charset="2"/>
              <a:buChar char="ü"/>
            </a:pPr>
            <a:r>
              <a:rPr lang="en-US" sz="2800" b="1"/>
              <a:t>Real time clinker optical characterization</a:t>
            </a:r>
            <a:endParaRPr lang="es-ES" sz="2800" b="1"/>
          </a:p>
        </p:txBody>
      </p:sp>
      <p:sp>
        <p:nvSpPr>
          <p:cNvPr id="26" name="TextBox 14">
            <a:extLst>
              <a:ext uri="{FF2B5EF4-FFF2-40B4-BE49-F238E27FC236}">
                <a16:creationId xmlns:a16="http://schemas.microsoft.com/office/drawing/2014/main" id="{7D36EA49-80B0-4761-8A24-F05F322EAC77}"/>
              </a:ext>
            </a:extLst>
          </p:cNvPr>
          <p:cNvSpPr txBox="1"/>
          <p:nvPr/>
        </p:nvSpPr>
        <p:spPr>
          <a:xfrm>
            <a:off x="10086731" y="3964846"/>
            <a:ext cx="7162789" cy="3877985"/>
          </a:xfrm>
          <a:prstGeom prst="rect">
            <a:avLst/>
          </a:prstGeom>
        </p:spPr>
        <p:txBody>
          <a:bodyPr wrap="square" lIns="0" tIns="0" rIns="0" bIns="0" rtlCol="0" anchor="t">
            <a:spAutoFit/>
          </a:bodyPr>
          <a:lstStyle/>
          <a:p>
            <a:pPr>
              <a:buClr>
                <a:schemeClr val="accent5"/>
              </a:buClr>
            </a:pPr>
            <a:r>
              <a:rPr lang="en-US" sz="2800" b="1">
                <a:solidFill>
                  <a:schemeClr val="accent2">
                    <a:lumMod val="75000"/>
                  </a:schemeClr>
                </a:solidFill>
              </a:rPr>
              <a:t>Goals</a:t>
            </a:r>
          </a:p>
          <a:p>
            <a:pPr>
              <a:buClr>
                <a:schemeClr val="accent5"/>
              </a:buClr>
            </a:pPr>
            <a:endParaRPr lang="en-US" sz="2800" b="1"/>
          </a:p>
          <a:p>
            <a:pPr marL="457200" indent="-457200">
              <a:buClr>
                <a:schemeClr val="accent2">
                  <a:lumMod val="75000"/>
                </a:schemeClr>
              </a:buClr>
              <a:buFont typeface="Wingdings" panose="05000000000000000000" pitchFamily="2" charset="2"/>
              <a:buChar char="ü"/>
            </a:pPr>
            <a:r>
              <a:rPr lang="en-US" sz="2800" b="1"/>
              <a:t>CO</a:t>
            </a:r>
            <a:r>
              <a:rPr lang="en-US" sz="2800" b="1" baseline="-25000"/>
              <a:t>2</a:t>
            </a:r>
            <a:r>
              <a:rPr lang="en-US" sz="2800" b="1"/>
              <a:t> emissions reduction</a:t>
            </a:r>
          </a:p>
          <a:p>
            <a:pPr marL="457200" indent="-457200">
              <a:buClr>
                <a:srgbClr val="99CC99"/>
              </a:buClr>
              <a:buFont typeface="Wingdings" panose="05000000000000000000" pitchFamily="2" charset="2"/>
              <a:buChar char="ü"/>
            </a:pPr>
            <a:endParaRPr lang="en-US" sz="2800" b="1"/>
          </a:p>
          <a:p>
            <a:pPr marL="457200" indent="-457200">
              <a:buClr>
                <a:schemeClr val="accent2">
                  <a:lumMod val="75000"/>
                </a:schemeClr>
              </a:buClr>
              <a:buFont typeface="Wingdings" panose="05000000000000000000" pitchFamily="2" charset="2"/>
              <a:buChar char="ü"/>
            </a:pPr>
            <a:r>
              <a:rPr lang="en-US" sz="2800" b="1"/>
              <a:t>Replacement of fossil fuel close to 80%</a:t>
            </a:r>
          </a:p>
          <a:p>
            <a:pPr>
              <a:buClr>
                <a:srgbClr val="99CC99"/>
              </a:buClr>
            </a:pPr>
            <a:endParaRPr lang="en-US" sz="2800" b="1"/>
          </a:p>
          <a:p>
            <a:pPr marL="457200" indent="-457200">
              <a:buClr>
                <a:schemeClr val="accent2">
                  <a:lumMod val="75000"/>
                </a:schemeClr>
              </a:buClr>
              <a:buFont typeface="Wingdings" panose="05000000000000000000" pitchFamily="2" charset="2"/>
              <a:buChar char="ü"/>
            </a:pPr>
            <a:r>
              <a:rPr lang="en-US" sz="2800" b="1"/>
              <a:t>Increment in energy efficiency</a:t>
            </a:r>
          </a:p>
          <a:p>
            <a:pPr marL="457200" indent="-457200">
              <a:buClr>
                <a:srgbClr val="99CC99"/>
              </a:buClr>
              <a:buFont typeface="Wingdings" panose="05000000000000000000" pitchFamily="2" charset="2"/>
              <a:buChar char="ü"/>
            </a:pPr>
            <a:endParaRPr lang="en-US" sz="2800" b="1"/>
          </a:p>
          <a:p>
            <a:pPr marL="457200" indent="-457200">
              <a:buClr>
                <a:schemeClr val="accent2">
                  <a:lumMod val="75000"/>
                </a:schemeClr>
              </a:buClr>
              <a:buFont typeface="Wingdings" panose="05000000000000000000" pitchFamily="2" charset="2"/>
              <a:buChar char="ü"/>
            </a:pPr>
            <a:r>
              <a:rPr lang="en-US" sz="2800" b="1"/>
              <a:t>M&amp;C improvement</a:t>
            </a:r>
          </a:p>
        </p:txBody>
      </p:sp>
      <p:cxnSp>
        <p:nvCxnSpPr>
          <p:cNvPr id="24" name="Conector recto 23">
            <a:extLst>
              <a:ext uri="{FF2B5EF4-FFF2-40B4-BE49-F238E27FC236}">
                <a16:creationId xmlns:a16="http://schemas.microsoft.com/office/drawing/2014/main" id="{98FC0001-D488-4184-8260-ECD10E34CE06}"/>
              </a:ext>
            </a:extLst>
          </p:cNvPr>
          <p:cNvCxnSpPr>
            <a:cxnSpLocks/>
          </p:cNvCxnSpPr>
          <p:nvPr/>
        </p:nvCxnSpPr>
        <p:spPr>
          <a:xfrm>
            <a:off x="8915400" y="3703500"/>
            <a:ext cx="0" cy="2880000"/>
          </a:xfrm>
          <a:prstGeom prst="line">
            <a:avLst/>
          </a:prstGeom>
          <a:ln w="63500"/>
        </p:spPr>
        <p:style>
          <a:lnRef idx="1">
            <a:schemeClr val="accent1"/>
          </a:lnRef>
          <a:fillRef idx="0">
            <a:schemeClr val="accent1"/>
          </a:fillRef>
          <a:effectRef idx="0">
            <a:schemeClr val="accent1"/>
          </a:effectRef>
          <a:fontRef idx="minor">
            <a:schemeClr val="tx1"/>
          </a:fontRef>
        </p:style>
      </p:cxnSp>
      <p:cxnSp>
        <p:nvCxnSpPr>
          <p:cNvPr id="25" name="Conector recto 24">
            <a:extLst>
              <a:ext uri="{FF2B5EF4-FFF2-40B4-BE49-F238E27FC236}">
                <a16:creationId xmlns:a16="http://schemas.microsoft.com/office/drawing/2014/main" id="{AD4CB6C3-8453-40F4-BF92-A74583B9C483}"/>
              </a:ext>
            </a:extLst>
          </p:cNvPr>
          <p:cNvCxnSpPr>
            <a:cxnSpLocks/>
          </p:cNvCxnSpPr>
          <p:nvPr/>
        </p:nvCxnSpPr>
        <p:spPr>
          <a:xfrm>
            <a:off x="8915400" y="6121140"/>
            <a:ext cx="0" cy="2880000"/>
          </a:xfrm>
          <a:prstGeom prst="line">
            <a:avLst/>
          </a:prstGeom>
          <a:ln w="63500">
            <a:solidFill>
              <a:srgbClr val="99CC99"/>
            </a:solidFill>
          </a:ln>
        </p:spPr>
        <p:style>
          <a:lnRef idx="1">
            <a:schemeClr val="accent1"/>
          </a:lnRef>
          <a:fillRef idx="0">
            <a:schemeClr val="accent1"/>
          </a:fillRef>
          <a:effectRef idx="0">
            <a:schemeClr val="accent1"/>
          </a:effectRef>
          <a:fontRef idx="minor">
            <a:schemeClr val="tx1"/>
          </a:fontRef>
        </p:style>
      </p:cxnSp>
      <p:pic>
        <p:nvPicPr>
          <p:cNvPr id="3" name="Imagen 93">
            <a:extLst>
              <a:ext uri="{FF2B5EF4-FFF2-40B4-BE49-F238E27FC236}">
                <a16:creationId xmlns:a16="http://schemas.microsoft.com/office/drawing/2014/main" id="{9BE0D5D6-4F06-4404-AD81-999FF1F22C15}"/>
              </a:ext>
            </a:extLst>
          </p:cNvPr>
          <p:cNvPicPr>
            <a:picLocks noChangeAspect="1"/>
          </p:cNvPicPr>
          <p:nvPr/>
        </p:nvPicPr>
        <p:blipFill rotWithShape="1">
          <a:blip r:embed="rId7"/>
          <a:srcRect l="23084" t="14316" r="9046" b="7091"/>
          <a:stretch/>
        </p:blipFill>
        <p:spPr>
          <a:xfrm>
            <a:off x="13668125" y="1094080"/>
            <a:ext cx="2369044" cy="1936268"/>
          </a:xfrm>
          <a:prstGeom prst="rect">
            <a:avLst/>
          </a:prstGeom>
        </p:spPr>
      </p:pic>
      <p:sp>
        <p:nvSpPr>
          <p:cNvPr id="22" name="TextBox 21">
            <a:extLst>
              <a:ext uri="{FF2B5EF4-FFF2-40B4-BE49-F238E27FC236}">
                <a16:creationId xmlns:a16="http://schemas.microsoft.com/office/drawing/2014/main" id="{28407ABB-9AD6-4592-827F-6C44DEFD0FCA}"/>
              </a:ext>
            </a:extLst>
          </p:cNvPr>
          <p:cNvSpPr txBox="1"/>
          <p:nvPr/>
        </p:nvSpPr>
        <p:spPr>
          <a:xfrm>
            <a:off x="741949" y="1119170"/>
            <a:ext cx="11081084" cy="1569660"/>
          </a:xfrm>
          <a:prstGeom prst="rect">
            <a:avLst/>
          </a:prstGeom>
          <a:noFill/>
        </p:spPr>
        <p:txBody>
          <a:bodyPr wrap="square">
            <a:spAutoFit/>
          </a:bodyPr>
          <a:lstStyle/>
          <a:p>
            <a:r>
              <a:rPr lang="sv-SE" sz="4800" b="1" err="1">
                <a:solidFill>
                  <a:srgbClr val="CC0033"/>
                </a:solidFill>
                <a:latin typeface="+mj-lt"/>
                <a:cs typeface="Arial" panose="020B0604020202020204" pitchFamily="34" charset="0"/>
              </a:rPr>
              <a:t>Summary</a:t>
            </a:r>
            <a:r>
              <a:rPr lang="sv-SE" sz="4800" b="1">
                <a:solidFill>
                  <a:srgbClr val="CC0033"/>
                </a:solidFill>
                <a:latin typeface="+mj-lt"/>
                <a:cs typeface="Arial" panose="020B0604020202020204" pitchFamily="34" charset="0"/>
              </a:rPr>
              <a:t> </a:t>
            </a:r>
            <a:r>
              <a:rPr lang="sv-SE" sz="4800" b="1" err="1">
                <a:solidFill>
                  <a:srgbClr val="CC0033"/>
                </a:solidFill>
                <a:latin typeface="+mj-lt"/>
                <a:cs typeface="Arial" panose="020B0604020202020204" pitchFamily="34" charset="0"/>
              </a:rPr>
              <a:t>of</a:t>
            </a:r>
            <a:r>
              <a:rPr lang="sv-SE" sz="4800" b="1">
                <a:solidFill>
                  <a:srgbClr val="CC0033"/>
                </a:solidFill>
                <a:latin typeface="+mj-lt"/>
                <a:cs typeface="Arial" panose="020B0604020202020204" pitchFamily="34" charset="0"/>
              </a:rPr>
              <a:t> actions and </a:t>
            </a:r>
            <a:r>
              <a:rPr lang="sv-SE" sz="4800" b="1" err="1">
                <a:solidFill>
                  <a:srgbClr val="CC0033"/>
                </a:solidFill>
                <a:latin typeface="+mj-lt"/>
                <a:cs typeface="Arial" panose="020B0604020202020204" pitchFamily="34" charset="0"/>
              </a:rPr>
              <a:t>goals</a:t>
            </a:r>
            <a:r>
              <a:rPr lang="sv-SE" sz="4800" b="1">
                <a:solidFill>
                  <a:srgbClr val="CC0033"/>
                </a:solidFill>
                <a:latin typeface="+mj-lt"/>
                <a:cs typeface="Arial" panose="020B0604020202020204" pitchFamily="34" charset="0"/>
              </a:rPr>
              <a:t> </a:t>
            </a:r>
            <a:r>
              <a:rPr lang="sv-SE" sz="4800" b="1" err="1">
                <a:solidFill>
                  <a:srgbClr val="CC0033"/>
                </a:solidFill>
                <a:latin typeface="+mj-lt"/>
                <a:cs typeface="Arial" panose="020B0604020202020204" pitchFamily="34" charset="0"/>
              </a:rPr>
              <a:t>of</a:t>
            </a:r>
            <a:r>
              <a:rPr lang="sv-SE" sz="4800" b="1">
                <a:solidFill>
                  <a:srgbClr val="CC0033"/>
                </a:solidFill>
                <a:latin typeface="+mj-lt"/>
                <a:cs typeface="Arial" panose="020B0604020202020204" pitchFamily="34" charset="0"/>
              </a:rPr>
              <a:t> SECIL </a:t>
            </a:r>
            <a:r>
              <a:rPr lang="sv-SE" sz="4800" b="1" err="1">
                <a:solidFill>
                  <a:srgbClr val="CC0033"/>
                </a:solidFill>
                <a:latin typeface="+mj-lt"/>
                <a:cs typeface="Arial" panose="020B0604020202020204" pitchFamily="34" charset="0"/>
              </a:rPr>
              <a:t>retrofitting</a:t>
            </a:r>
            <a:endParaRPr lang="sv-SE" sz="4800" b="1">
              <a:solidFill>
                <a:srgbClr val="CC0033"/>
              </a:solidFill>
              <a:latin typeface="+mj-lt"/>
              <a:cs typeface="Arial" panose="020B0604020202020204" pitchFamily="34" charset="0"/>
            </a:endParaRPr>
          </a:p>
        </p:txBody>
      </p:sp>
    </p:spTree>
    <p:extLst>
      <p:ext uri="{BB962C8B-B14F-4D97-AF65-F5344CB8AC3E}">
        <p14:creationId xmlns:p14="http://schemas.microsoft.com/office/powerpoint/2010/main" val="3084934401"/>
      </p:ext>
    </p:extLst>
  </p:cSld>
  <p:clrMapOvr>
    <a:masterClrMapping/>
  </p:clrMapOvr>
  <mc:AlternateContent xmlns:mc="http://schemas.openxmlformats.org/markup-compatibility/2006" xmlns:p14="http://schemas.microsoft.com/office/powerpoint/2010/main">
    <mc:Choice Requires="p14">
      <p:transition spd="slow" p14:dur="2000" advTm="86474"/>
    </mc:Choice>
    <mc:Fallback xmlns="">
      <p:transition spd="slow" advTm="86474"/>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uppo 16">
            <a:extLst>
              <a:ext uri="{FF2B5EF4-FFF2-40B4-BE49-F238E27FC236}">
                <a16:creationId xmlns:a16="http://schemas.microsoft.com/office/drawing/2014/main" id="{7F05FA2D-BA17-4C4E-9DAE-36CC81DE9BAA}"/>
              </a:ext>
            </a:extLst>
          </p:cNvPr>
          <p:cNvGrpSpPr/>
          <p:nvPr/>
        </p:nvGrpSpPr>
        <p:grpSpPr>
          <a:xfrm>
            <a:off x="4329146" y="9620433"/>
            <a:ext cx="13958844" cy="666567"/>
            <a:chOff x="4329156" y="9649198"/>
            <a:chExt cx="13958844" cy="666567"/>
          </a:xfrm>
        </p:grpSpPr>
        <p:pic>
          <p:nvPicPr>
            <p:cNvPr id="5" name="Picture 12">
              <a:extLst>
                <a:ext uri="{FF2B5EF4-FFF2-40B4-BE49-F238E27FC236}">
                  <a16:creationId xmlns:a16="http://schemas.microsoft.com/office/drawing/2014/main" id="{00810EF5-3949-4698-A5DE-428CD380175F}"/>
                </a:ext>
              </a:extLst>
            </p:cNvPr>
            <p:cNvPicPr>
              <a:picLocks noChangeAspect="1"/>
            </p:cNvPicPr>
            <p:nvPr/>
          </p:nvPicPr>
          <p:blipFill>
            <a:blip r:embed="rId4"/>
            <a:srcRect l="134" t="91287" b="3943"/>
            <a:stretch>
              <a:fillRect/>
            </a:stretch>
          </p:blipFill>
          <p:spPr>
            <a:xfrm rot="-10800000">
              <a:off x="4329156" y="9649198"/>
              <a:ext cx="13958844" cy="666567"/>
            </a:xfrm>
            <a:prstGeom prst="rect">
              <a:avLst/>
            </a:prstGeom>
          </p:spPr>
        </p:pic>
        <p:sp>
          <p:nvSpPr>
            <p:cNvPr id="6" name="TextBox 16">
              <a:extLst>
                <a:ext uri="{FF2B5EF4-FFF2-40B4-BE49-F238E27FC236}">
                  <a16:creationId xmlns:a16="http://schemas.microsoft.com/office/drawing/2014/main" id="{EDDD1531-1BDA-4725-B6A3-364F4B7CF76A}"/>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pic>
        <p:nvPicPr>
          <p:cNvPr id="7" name="Picture 12">
            <a:extLst>
              <a:ext uri="{FF2B5EF4-FFF2-40B4-BE49-F238E27FC236}">
                <a16:creationId xmlns:a16="http://schemas.microsoft.com/office/drawing/2014/main" id="{52C35A30-8BA0-4714-8363-E6CE748BA2C3}"/>
              </a:ext>
            </a:extLst>
          </p:cNvPr>
          <p:cNvPicPr>
            <a:picLocks noChangeAspect="1"/>
          </p:cNvPicPr>
          <p:nvPr/>
        </p:nvPicPr>
        <p:blipFill>
          <a:blip r:embed="rId5"/>
          <a:srcRect/>
          <a:stretch>
            <a:fillRect/>
          </a:stretch>
        </p:blipFill>
        <p:spPr>
          <a:xfrm>
            <a:off x="0" y="8901113"/>
            <a:ext cx="5715000" cy="1385887"/>
          </a:xfrm>
          <a:prstGeom prst="rect">
            <a:avLst/>
          </a:prstGeom>
        </p:spPr>
      </p:pic>
      <p:grpSp>
        <p:nvGrpSpPr>
          <p:cNvPr id="8" name="Gruppo 2">
            <a:extLst>
              <a:ext uri="{FF2B5EF4-FFF2-40B4-BE49-F238E27FC236}">
                <a16:creationId xmlns:a16="http://schemas.microsoft.com/office/drawing/2014/main" id="{C9C93A65-4067-4ACC-B2C9-8C15277024E4}"/>
              </a:ext>
            </a:extLst>
          </p:cNvPr>
          <p:cNvGrpSpPr/>
          <p:nvPr/>
        </p:nvGrpSpPr>
        <p:grpSpPr>
          <a:xfrm>
            <a:off x="-12" y="138554"/>
            <a:ext cx="18288002" cy="681138"/>
            <a:chOff x="-12" y="138554"/>
            <a:chExt cx="18288002" cy="681138"/>
          </a:xfrm>
        </p:grpSpPr>
        <p:grpSp>
          <p:nvGrpSpPr>
            <p:cNvPr id="9" name="Gruppo 1">
              <a:extLst>
                <a:ext uri="{FF2B5EF4-FFF2-40B4-BE49-F238E27FC236}">
                  <a16:creationId xmlns:a16="http://schemas.microsoft.com/office/drawing/2014/main" id="{A943E672-738C-4FE3-BD35-ACD7A4E4D95E}"/>
                </a:ext>
              </a:extLst>
            </p:cNvPr>
            <p:cNvGrpSpPr/>
            <p:nvPr/>
          </p:nvGrpSpPr>
          <p:grpSpPr>
            <a:xfrm>
              <a:off x="0" y="153125"/>
              <a:ext cx="17907000" cy="666567"/>
              <a:chOff x="0" y="153125"/>
              <a:chExt cx="17907000" cy="666567"/>
            </a:xfrm>
          </p:grpSpPr>
          <p:grpSp>
            <p:nvGrpSpPr>
              <p:cNvPr id="11" name="Gruppo 15">
                <a:extLst>
                  <a:ext uri="{FF2B5EF4-FFF2-40B4-BE49-F238E27FC236}">
                    <a16:creationId xmlns:a16="http://schemas.microsoft.com/office/drawing/2014/main" id="{10037738-5D9A-4755-B52F-99B1FA543ED3}"/>
                  </a:ext>
                </a:extLst>
              </p:cNvPr>
              <p:cNvGrpSpPr/>
              <p:nvPr/>
            </p:nvGrpSpPr>
            <p:grpSpPr>
              <a:xfrm>
                <a:off x="0" y="153125"/>
                <a:ext cx="13958844" cy="666567"/>
                <a:chOff x="0" y="153125"/>
                <a:chExt cx="13958844" cy="666567"/>
              </a:xfrm>
            </p:grpSpPr>
            <p:pic>
              <p:nvPicPr>
                <p:cNvPr id="13" name="Picture 10">
                  <a:extLst>
                    <a:ext uri="{FF2B5EF4-FFF2-40B4-BE49-F238E27FC236}">
                      <a16:creationId xmlns:a16="http://schemas.microsoft.com/office/drawing/2014/main" id="{30234B5E-6FF9-499F-817A-9B69F1CC9911}"/>
                    </a:ext>
                  </a:extLst>
                </p:cNvPr>
                <p:cNvPicPr>
                  <a:picLocks noChangeAspect="1"/>
                </p:cNvPicPr>
                <p:nvPr/>
              </p:nvPicPr>
              <p:blipFill>
                <a:blip r:embed="rId6"/>
                <a:srcRect l="134" t="91287" b="3943"/>
                <a:stretch>
                  <a:fillRect/>
                </a:stretch>
              </p:blipFill>
              <p:spPr>
                <a:xfrm>
                  <a:off x="0" y="153125"/>
                  <a:ext cx="13958844" cy="666567"/>
                </a:xfrm>
                <a:prstGeom prst="rect">
                  <a:avLst/>
                </a:prstGeom>
              </p:spPr>
            </p:pic>
            <p:sp>
              <p:nvSpPr>
                <p:cNvPr id="14" name="TextBox 11">
                  <a:extLst>
                    <a:ext uri="{FF2B5EF4-FFF2-40B4-BE49-F238E27FC236}">
                      <a16:creationId xmlns:a16="http://schemas.microsoft.com/office/drawing/2014/main" id="{E5F3FE84-033A-4279-AF93-ABD80EC40550}"/>
                    </a:ext>
                  </a:extLst>
                </p:cNvPr>
                <p:cNvSpPr txBox="1"/>
                <p:nvPr/>
              </p:nvSpPr>
              <p:spPr>
                <a:xfrm>
                  <a:off x="228600" y="257980"/>
                  <a:ext cx="9296400" cy="456856"/>
                </a:xfrm>
                <a:prstGeom prst="rect">
                  <a:avLst/>
                </a:prstGeom>
              </p:spPr>
              <p:txBody>
                <a:bodyPr wrap="square" lIns="0" tIns="0" rIns="0" bIns="0" rtlCol="0" anchor="t">
                  <a:spAutoFit/>
                </a:bodyPr>
                <a:lstStyle/>
                <a:p>
                  <a:pPr>
                    <a:lnSpc>
                      <a:spcPts val="3919"/>
                    </a:lnSpc>
                    <a:spcBef>
                      <a:spcPct val="0"/>
                    </a:spcBef>
                  </a:pPr>
                  <a:endParaRPr lang="en-US" sz="2800" b="1">
                    <a:solidFill>
                      <a:srgbClr val="FFFFFF"/>
                    </a:solidFill>
                    <a:latin typeface="Arial" panose="020B0604020202020204" pitchFamily="34" charset="0"/>
                    <a:cs typeface="Arial" panose="020B0604020202020204" pitchFamily="34" charset="0"/>
                  </a:endParaRPr>
                </a:p>
              </p:txBody>
            </p:sp>
          </p:grpSp>
          <p:sp>
            <p:nvSpPr>
              <p:cNvPr id="12" name="TextBox 11">
                <a:extLst>
                  <a:ext uri="{FF2B5EF4-FFF2-40B4-BE49-F238E27FC236}">
                    <a16:creationId xmlns:a16="http://schemas.microsoft.com/office/drawing/2014/main" id="{7B4365DB-7AB3-494A-91B9-B5781D39B67B}"/>
                  </a:ext>
                </a:extLst>
              </p:cNvPr>
              <p:cNvSpPr txBox="1"/>
              <p:nvPr/>
            </p:nvSpPr>
            <p:spPr>
              <a:xfrm>
                <a:off x="12154296" y="257980"/>
                <a:ext cx="5752704" cy="456856"/>
              </a:xfrm>
              <a:prstGeom prst="rect">
                <a:avLst/>
              </a:prstGeom>
            </p:spPr>
            <p:txBody>
              <a:bodyPr wrap="square" lIns="0" tIns="0" rIns="0" bIns="0" rtlCol="0" anchor="t">
                <a:spAutoFit/>
              </a:bodyPr>
              <a:lstStyle/>
              <a:p>
                <a:pPr algn="r">
                  <a:lnSpc>
                    <a:spcPts val="3919"/>
                  </a:lnSpc>
                  <a:spcBef>
                    <a:spcPct val="0"/>
                  </a:spcBef>
                </a:pPr>
                <a:endParaRPr lang="en-US" sz="2800">
                  <a:solidFill>
                    <a:schemeClr val="tx1">
                      <a:lumMod val="75000"/>
                      <a:lumOff val="25000"/>
                    </a:schemeClr>
                  </a:solidFill>
                  <a:latin typeface="Arial" panose="020B0604020202020204" pitchFamily="34" charset="0"/>
                  <a:cs typeface="Arial" panose="020B0604020202020204" pitchFamily="34" charset="0"/>
                </a:endParaRPr>
              </a:p>
            </p:txBody>
          </p:sp>
        </p:grpSp>
        <p:sp>
          <p:nvSpPr>
            <p:cNvPr id="10" name="Rettangolo 13">
              <a:extLst>
                <a:ext uri="{FF2B5EF4-FFF2-40B4-BE49-F238E27FC236}">
                  <a16:creationId xmlns:a16="http://schemas.microsoft.com/office/drawing/2014/main" id="{BC76EB51-B4AB-4BAB-AAF6-1883074EEF50}"/>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4" name="Rectangle 1">
            <a:extLst>
              <a:ext uri="{FF2B5EF4-FFF2-40B4-BE49-F238E27FC236}">
                <a16:creationId xmlns:a16="http://schemas.microsoft.com/office/drawing/2014/main" id="{A97EA764-7BA5-46E6-BD08-CD4E8F4C859F}"/>
              </a:ext>
            </a:extLst>
          </p:cNvPr>
          <p:cNvSpPr>
            <a:spLocks noChangeArrowheads="1"/>
          </p:cNvSpPr>
          <p:nvPr/>
        </p:nvSpPr>
        <p:spPr bwMode="auto">
          <a:xfrm>
            <a:off x="599399" y="719664"/>
            <a:ext cx="17089180" cy="32316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indent="266700"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indent="0" algn="ctr"/>
            <a:r>
              <a:rPr lang="sv-SE" sz="6400" b="1" dirty="0">
                <a:solidFill>
                  <a:srgbClr val="CC0033"/>
                </a:solidFill>
                <a:latin typeface="+mj-lt"/>
                <a:cs typeface="Arial" panose="020B0604020202020204" pitchFamily="34" charset="0"/>
              </a:rPr>
              <a:t>Group </a:t>
            </a:r>
            <a:r>
              <a:rPr lang="sv-SE" sz="6400" b="1" dirty="0" err="1">
                <a:solidFill>
                  <a:srgbClr val="CC0033"/>
                </a:solidFill>
                <a:latin typeface="+mj-lt"/>
                <a:cs typeface="Arial" panose="020B0604020202020204" pitchFamily="34" charset="0"/>
              </a:rPr>
              <a:t>Activity</a:t>
            </a:r>
            <a:r>
              <a:rPr lang="sv-SE" sz="6400" b="1" dirty="0">
                <a:solidFill>
                  <a:srgbClr val="CC0033"/>
                </a:solidFill>
                <a:latin typeface="+mj-lt"/>
                <a:cs typeface="Arial" panose="020B0604020202020204" pitchFamily="34" charset="0"/>
              </a:rPr>
              <a:t>:</a:t>
            </a:r>
          </a:p>
          <a:p>
            <a:pPr indent="0" algn="just"/>
            <a:r>
              <a:rPr lang="en-GB" sz="2800" kern="100" dirty="0">
                <a:solidFill>
                  <a:srgbClr val="404040"/>
                </a:solidFill>
                <a:latin typeface="Arial (body)"/>
              </a:rPr>
              <a:t>From the list of raw materials, identify which raw materials/feedstock should be adapted in the future to make the industry more sustainable? Think about:</a:t>
            </a:r>
          </a:p>
          <a:p>
            <a:pPr marL="457200" indent="-457200">
              <a:buFont typeface="Arial" panose="020B0604020202020204" pitchFamily="34" charset="0"/>
              <a:buChar char="•"/>
            </a:pPr>
            <a:r>
              <a:rPr lang="en-GB" sz="2800" kern="100" dirty="0">
                <a:solidFill>
                  <a:srgbClr val="404040"/>
                </a:solidFill>
                <a:latin typeface="Arial (body)"/>
              </a:rPr>
              <a:t>Availability of materials</a:t>
            </a:r>
          </a:p>
          <a:p>
            <a:pPr marL="457200" indent="-457200">
              <a:buFont typeface="Arial" panose="020B0604020202020204" pitchFamily="34" charset="0"/>
              <a:buChar char="•"/>
            </a:pPr>
            <a:r>
              <a:rPr lang="en-GB" sz="2800" kern="100" dirty="0">
                <a:solidFill>
                  <a:srgbClr val="404040"/>
                </a:solidFill>
                <a:latin typeface="Arial (body)"/>
              </a:rPr>
              <a:t>Price signals</a:t>
            </a:r>
          </a:p>
          <a:p>
            <a:pPr marL="457200" indent="-457200">
              <a:buFont typeface="Arial" panose="020B0604020202020204" pitchFamily="34" charset="0"/>
              <a:buChar char="•"/>
            </a:pPr>
            <a:r>
              <a:rPr lang="en-GB" sz="2800" kern="100" dirty="0">
                <a:solidFill>
                  <a:srgbClr val="404040"/>
                </a:solidFill>
                <a:latin typeface="Arial (body)"/>
              </a:rPr>
              <a:t>Political risks</a:t>
            </a:r>
          </a:p>
        </p:txBody>
      </p:sp>
      <p:graphicFrame>
        <p:nvGraphicFramePr>
          <p:cNvPr id="15" name="Table 14">
            <a:extLst>
              <a:ext uri="{FF2B5EF4-FFF2-40B4-BE49-F238E27FC236}">
                <a16:creationId xmlns:a16="http://schemas.microsoft.com/office/drawing/2014/main" id="{E4138EC8-5766-43DF-981E-243FEF172E9A}"/>
              </a:ext>
            </a:extLst>
          </p:cNvPr>
          <p:cNvGraphicFramePr>
            <a:graphicFrameLocks noGrp="1"/>
          </p:cNvGraphicFramePr>
          <p:nvPr>
            <p:extLst>
              <p:ext uri="{D42A27DB-BD31-4B8C-83A1-F6EECF244321}">
                <p14:modId xmlns:p14="http://schemas.microsoft.com/office/powerpoint/2010/main" val="2694732068"/>
              </p:ext>
            </p:extLst>
          </p:nvPr>
        </p:nvGraphicFramePr>
        <p:xfrm>
          <a:off x="599410" y="4058310"/>
          <a:ext cx="17089179" cy="5230779"/>
        </p:xfrm>
        <a:graphic>
          <a:graphicData uri="http://schemas.openxmlformats.org/drawingml/2006/table">
            <a:tbl>
              <a:tblPr firstRow="1" firstCol="1" lastRow="1" lastCol="1" bandRow="1" bandCol="1">
                <a:tableStyleId>{72833802-FEF1-4C79-8D5D-14CF1EAF98D9}</a:tableStyleId>
              </a:tblPr>
              <a:tblGrid>
                <a:gridCol w="5533132">
                  <a:extLst>
                    <a:ext uri="{9D8B030D-6E8A-4147-A177-3AD203B41FA5}">
                      <a16:colId xmlns:a16="http://schemas.microsoft.com/office/drawing/2014/main" val="4168110393"/>
                    </a:ext>
                  </a:extLst>
                </a:gridCol>
                <a:gridCol w="4021192">
                  <a:extLst>
                    <a:ext uri="{9D8B030D-6E8A-4147-A177-3AD203B41FA5}">
                      <a16:colId xmlns:a16="http://schemas.microsoft.com/office/drawing/2014/main" val="3213319654"/>
                    </a:ext>
                  </a:extLst>
                </a:gridCol>
                <a:gridCol w="3772751">
                  <a:extLst>
                    <a:ext uri="{9D8B030D-6E8A-4147-A177-3AD203B41FA5}">
                      <a16:colId xmlns:a16="http://schemas.microsoft.com/office/drawing/2014/main" val="2063041894"/>
                    </a:ext>
                  </a:extLst>
                </a:gridCol>
                <a:gridCol w="3762104">
                  <a:extLst>
                    <a:ext uri="{9D8B030D-6E8A-4147-A177-3AD203B41FA5}">
                      <a16:colId xmlns:a16="http://schemas.microsoft.com/office/drawing/2014/main" val="2395176814"/>
                    </a:ext>
                  </a:extLst>
                </a:gridCol>
              </a:tblGrid>
              <a:tr h="523738">
                <a:tc>
                  <a:txBody>
                    <a:bodyPr/>
                    <a:lstStyle/>
                    <a:p>
                      <a:pPr marL="711835" marR="710565" algn="ctr">
                        <a:spcBef>
                          <a:spcPts val="360"/>
                        </a:spcBef>
                        <a:spcAft>
                          <a:spcPts val="0"/>
                        </a:spcAft>
                      </a:pPr>
                      <a:r>
                        <a:rPr lang="en-US" sz="2600">
                          <a:solidFill>
                            <a:schemeClr val="tx1"/>
                          </a:solidFill>
                          <a:effectLst/>
                        </a:rPr>
                        <a:t>Product</a:t>
                      </a:r>
                      <a:endParaRPr lang="sv-SE" sz="2600">
                        <a:solidFill>
                          <a:schemeClr val="tx1"/>
                        </a:solidFill>
                        <a:effectLst/>
                        <a:latin typeface="Arial MT"/>
                        <a:ea typeface="Arial MT"/>
                        <a:cs typeface="Arial MT"/>
                      </a:endParaRP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18745" marR="118745" algn="ctr">
                        <a:spcBef>
                          <a:spcPts val="360"/>
                        </a:spcBef>
                        <a:spcAft>
                          <a:spcPts val="0"/>
                        </a:spcAft>
                      </a:pPr>
                      <a:r>
                        <a:rPr lang="en-US" sz="2600">
                          <a:solidFill>
                            <a:schemeClr val="tx1"/>
                          </a:solidFill>
                          <a:effectLst/>
                        </a:rPr>
                        <a:t>2017</a:t>
                      </a:r>
                      <a:endParaRPr lang="sv-SE" sz="2600">
                        <a:solidFill>
                          <a:schemeClr val="tx1"/>
                        </a:solidFill>
                        <a:effectLst/>
                        <a:latin typeface="Arial MT"/>
                        <a:ea typeface="Arial MT"/>
                        <a:cs typeface="Arial M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93675" marR="193675" algn="ctr">
                        <a:spcBef>
                          <a:spcPts val="360"/>
                        </a:spcBef>
                        <a:spcAft>
                          <a:spcPts val="0"/>
                        </a:spcAft>
                      </a:pPr>
                      <a:r>
                        <a:rPr lang="en-US" sz="2600">
                          <a:solidFill>
                            <a:schemeClr val="tx1"/>
                          </a:solidFill>
                          <a:effectLst/>
                        </a:rPr>
                        <a:t>2018</a:t>
                      </a:r>
                      <a:endParaRPr lang="sv-SE" sz="2600">
                        <a:solidFill>
                          <a:schemeClr val="tx1"/>
                        </a:solidFill>
                        <a:effectLst/>
                        <a:latin typeface="Arial MT"/>
                        <a:ea typeface="Arial MT"/>
                        <a:cs typeface="Arial M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347345" marR="347980" algn="ctr">
                        <a:spcBef>
                          <a:spcPts val="300"/>
                        </a:spcBef>
                        <a:spcAft>
                          <a:spcPts val="0"/>
                        </a:spcAft>
                      </a:pPr>
                      <a:r>
                        <a:rPr lang="en-US" sz="2600">
                          <a:solidFill>
                            <a:schemeClr val="tx1"/>
                          </a:solidFill>
                          <a:effectLst/>
                        </a:rPr>
                        <a:t>2019</a:t>
                      </a:r>
                      <a:endParaRPr lang="sv-SE" sz="2600">
                        <a:solidFill>
                          <a:schemeClr val="tx1"/>
                        </a:solidFill>
                        <a:effectLst/>
                        <a:latin typeface="Arial MT"/>
                        <a:ea typeface="Arial MT"/>
                        <a:cs typeface="Arial MT"/>
                      </a:endParaRPr>
                    </a:p>
                  </a:txBody>
                  <a:tcPr marL="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7469559"/>
                  </a:ext>
                </a:extLst>
              </a:tr>
              <a:tr h="523738">
                <a:tc>
                  <a:txBody>
                    <a:bodyPr/>
                    <a:lstStyle/>
                    <a:p>
                      <a:pPr marL="67945" algn="ctr">
                        <a:spcBef>
                          <a:spcPts val="365"/>
                        </a:spcBef>
                        <a:spcAft>
                          <a:spcPts val="0"/>
                        </a:spcAft>
                      </a:pPr>
                      <a:r>
                        <a:rPr lang="en-US" sz="2600" b="0">
                          <a:solidFill>
                            <a:schemeClr val="tx1"/>
                          </a:solidFill>
                          <a:effectLst/>
                        </a:rPr>
                        <a:t>Limestone</a:t>
                      </a:r>
                      <a:endParaRPr lang="sv-SE" sz="2600" b="0">
                        <a:solidFill>
                          <a:schemeClr val="tx1"/>
                        </a:solidFill>
                        <a:effectLst/>
                        <a:latin typeface="Arial MT"/>
                        <a:ea typeface="Arial MT"/>
                        <a:cs typeface="Arial MT"/>
                      </a:endParaRP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18110" marR="118745" algn="ctr">
                        <a:spcBef>
                          <a:spcPts val="365"/>
                        </a:spcBef>
                        <a:spcAft>
                          <a:spcPts val="0"/>
                        </a:spcAft>
                      </a:pPr>
                      <a:r>
                        <a:rPr lang="en-US" sz="2600">
                          <a:solidFill>
                            <a:schemeClr val="tx1"/>
                          </a:solidFill>
                          <a:effectLst/>
                        </a:rPr>
                        <a:t>621,550</a:t>
                      </a:r>
                      <a:endParaRPr lang="sv-SE" sz="2600">
                        <a:solidFill>
                          <a:schemeClr val="tx1"/>
                        </a:solidFill>
                        <a:effectLst/>
                        <a:latin typeface="Arial MT"/>
                        <a:ea typeface="Arial MT"/>
                        <a:cs typeface="Arial M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93675" marR="193675" algn="ctr">
                        <a:spcBef>
                          <a:spcPts val="365"/>
                        </a:spcBef>
                        <a:spcAft>
                          <a:spcPts val="0"/>
                        </a:spcAft>
                      </a:pPr>
                      <a:r>
                        <a:rPr lang="en-US" sz="2600">
                          <a:solidFill>
                            <a:schemeClr val="tx1"/>
                          </a:solidFill>
                          <a:effectLst/>
                        </a:rPr>
                        <a:t>592,126</a:t>
                      </a:r>
                      <a:endParaRPr lang="sv-SE" sz="2600">
                        <a:solidFill>
                          <a:schemeClr val="tx1"/>
                        </a:solidFill>
                        <a:effectLst/>
                        <a:latin typeface="Arial MT"/>
                        <a:ea typeface="Arial MT"/>
                        <a:cs typeface="Arial M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R="417195" algn="ctr">
                        <a:spcBef>
                          <a:spcPts val="365"/>
                        </a:spcBef>
                        <a:spcAft>
                          <a:spcPts val="0"/>
                        </a:spcAft>
                      </a:pPr>
                      <a:r>
                        <a:rPr lang="en-US" sz="2600" b="0">
                          <a:solidFill>
                            <a:schemeClr val="tx1"/>
                          </a:solidFill>
                          <a:effectLst/>
                        </a:rPr>
                        <a:t>519,001</a:t>
                      </a:r>
                      <a:endParaRPr lang="sv-SE" sz="2600" b="0">
                        <a:solidFill>
                          <a:schemeClr val="tx1"/>
                        </a:solidFill>
                        <a:effectLst/>
                        <a:latin typeface="Arial MT"/>
                        <a:ea typeface="Arial MT"/>
                        <a:cs typeface="Arial MT"/>
                      </a:endParaRPr>
                    </a:p>
                  </a:txBody>
                  <a:tcPr marL="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66866429"/>
                  </a:ext>
                </a:extLst>
              </a:tr>
              <a:tr h="523738">
                <a:tc>
                  <a:txBody>
                    <a:bodyPr/>
                    <a:lstStyle/>
                    <a:p>
                      <a:pPr marL="67945" algn="ctr">
                        <a:spcBef>
                          <a:spcPts val="365"/>
                        </a:spcBef>
                        <a:spcAft>
                          <a:spcPts val="0"/>
                        </a:spcAft>
                      </a:pPr>
                      <a:r>
                        <a:rPr lang="en-US" sz="2600" b="0">
                          <a:solidFill>
                            <a:schemeClr val="tx1"/>
                          </a:solidFill>
                          <a:effectLst/>
                        </a:rPr>
                        <a:t>Marl</a:t>
                      </a:r>
                      <a:endParaRPr lang="sv-SE" sz="2600" b="0">
                        <a:solidFill>
                          <a:schemeClr val="tx1"/>
                        </a:solidFill>
                        <a:effectLst/>
                        <a:latin typeface="Arial MT"/>
                        <a:ea typeface="Arial MT"/>
                        <a:cs typeface="Arial MT"/>
                      </a:endParaRP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18110" marR="118745" algn="ctr">
                        <a:spcBef>
                          <a:spcPts val="365"/>
                        </a:spcBef>
                        <a:spcAft>
                          <a:spcPts val="0"/>
                        </a:spcAft>
                      </a:pPr>
                      <a:r>
                        <a:rPr lang="en-US" sz="2600">
                          <a:solidFill>
                            <a:schemeClr val="tx1"/>
                          </a:solidFill>
                          <a:effectLst/>
                        </a:rPr>
                        <a:t>276,952</a:t>
                      </a:r>
                      <a:endParaRPr lang="sv-SE" sz="2600">
                        <a:solidFill>
                          <a:schemeClr val="tx1"/>
                        </a:solidFill>
                        <a:effectLst/>
                        <a:latin typeface="Arial MT"/>
                        <a:ea typeface="Arial MT"/>
                        <a:cs typeface="Arial M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93675" marR="193675" algn="ctr">
                        <a:spcBef>
                          <a:spcPts val="365"/>
                        </a:spcBef>
                        <a:spcAft>
                          <a:spcPts val="0"/>
                        </a:spcAft>
                      </a:pPr>
                      <a:r>
                        <a:rPr lang="en-US" sz="2600">
                          <a:solidFill>
                            <a:schemeClr val="tx1"/>
                          </a:solidFill>
                          <a:effectLst/>
                        </a:rPr>
                        <a:t>266,708</a:t>
                      </a:r>
                      <a:endParaRPr lang="sv-SE" sz="2600">
                        <a:solidFill>
                          <a:schemeClr val="tx1"/>
                        </a:solidFill>
                        <a:effectLst/>
                        <a:latin typeface="Arial MT"/>
                        <a:ea typeface="Arial MT"/>
                        <a:cs typeface="Arial M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R="417195" algn="ctr">
                        <a:spcBef>
                          <a:spcPts val="365"/>
                        </a:spcBef>
                        <a:spcAft>
                          <a:spcPts val="0"/>
                        </a:spcAft>
                      </a:pPr>
                      <a:r>
                        <a:rPr lang="en-US" sz="2600" b="0">
                          <a:solidFill>
                            <a:schemeClr val="tx1"/>
                          </a:solidFill>
                          <a:effectLst/>
                        </a:rPr>
                        <a:t>291,084</a:t>
                      </a:r>
                      <a:endParaRPr lang="sv-SE" sz="2600" b="0">
                        <a:solidFill>
                          <a:schemeClr val="tx1"/>
                        </a:solidFill>
                        <a:effectLst/>
                        <a:latin typeface="Arial MT"/>
                        <a:ea typeface="Arial MT"/>
                        <a:cs typeface="Arial MT"/>
                      </a:endParaRPr>
                    </a:p>
                  </a:txBody>
                  <a:tcPr marL="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88740376"/>
                  </a:ext>
                </a:extLst>
              </a:tr>
              <a:tr h="522418">
                <a:tc>
                  <a:txBody>
                    <a:bodyPr/>
                    <a:lstStyle/>
                    <a:p>
                      <a:pPr marL="67945" algn="ctr">
                        <a:spcBef>
                          <a:spcPts val="360"/>
                        </a:spcBef>
                        <a:spcAft>
                          <a:spcPts val="0"/>
                        </a:spcAft>
                      </a:pPr>
                      <a:r>
                        <a:rPr lang="en-US" sz="2600" b="0">
                          <a:solidFill>
                            <a:schemeClr val="tx1"/>
                          </a:solidFill>
                          <a:effectLst/>
                        </a:rPr>
                        <a:t>Sand</a:t>
                      </a:r>
                      <a:endParaRPr lang="sv-SE" sz="2600" b="0">
                        <a:solidFill>
                          <a:schemeClr val="tx1"/>
                        </a:solidFill>
                        <a:effectLst/>
                        <a:latin typeface="Arial MT"/>
                        <a:ea typeface="Arial MT"/>
                        <a:cs typeface="Arial MT"/>
                      </a:endParaRP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18110" marR="118745" algn="ctr">
                        <a:spcBef>
                          <a:spcPts val="360"/>
                        </a:spcBef>
                        <a:spcAft>
                          <a:spcPts val="0"/>
                        </a:spcAft>
                      </a:pPr>
                      <a:r>
                        <a:rPr lang="en-US" sz="2600">
                          <a:solidFill>
                            <a:schemeClr val="tx1"/>
                          </a:solidFill>
                          <a:effectLst/>
                        </a:rPr>
                        <a:t>4,678</a:t>
                      </a:r>
                      <a:endParaRPr lang="sv-SE" sz="2600">
                        <a:solidFill>
                          <a:schemeClr val="tx1"/>
                        </a:solidFill>
                        <a:effectLst/>
                        <a:latin typeface="Arial MT"/>
                        <a:ea typeface="Arial MT"/>
                        <a:cs typeface="Arial M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93675" marR="193675" algn="ctr">
                        <a:spcBef>
                          <a:spcPts val="360"/>
                        </a:spcBef>
                        <a:spcAft>
                          <a:spcPts val="0"/>
                        </a:spcAft>
                      </a:pPr>
                      <a:r>
                        <a:rPr lang="en-US" sz="2600">
                          <a:solidFill>
                            <a:schemeClr val="tx1"/>
                          </a:solidFill>
                          <a:effectLst/>
                        </a:rPr>
                        <a:t>4,688</a:t>
                      </a:r>
                      <a:endParaRPr lang="sv-SE" sz="2600">
                        <a:solidFill>
                          <a:schemeClr val="tx1"/>
                        </a:solidFill>
                        <a:effectLst/>
                        <a:latin typeface="Arial MT"/>
                        <a:ea typeface="Arial MT"/>
                        <a:cs typeface="Arial M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347345" marR="347345" algn="ctr">
                        <a:spcBef>
                          <a:spcPts val="360"/>
                        </a:spcBef>
                        <a:spcAft>
                          <a:spcPts val="0"/>
                        </a:spcAft>
                      </a:pPr>
                      <a:r>
                        <a:rPr lang="en-US" sz="2600" b="0">
                          <a:solidFill>
                            <a:schemeClr val="tx1"/>
                          </a:solidFill>
                          <a:effectLst/>
                        </a:rPr>
                        <a:t>4,410</a:t>
                      </a:r>
                      <a:endParaRPr lang="sv-SE" sz="2600" b="0">
                        <a:solidFill>
                          <a:schemeClr val="tx1"/>
                        </a:solidFill>
                        <a:effectLst/>
                        <a:latin typeface="Arial MT"/>
                        <a:ea typeface="Arial MT"/>
                        <a:cs typeface="Arial MT"/>
                      </a:endParaRPr>
                    </a:p>
                  </a:txBody>
                  <a:tcPr marL="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68768497"/>
                  </a:ext>
                </a:extLst>
              </a:tr>
              <a:tr h="522418">
                <a:tc>
                  <a:txBody>
                    <a:bodyPr/>
                    <a:lstStyle/>
                    <a:p>
                      <a:pPr marL="67945" algn="ctr">
                        <a:spcBef>
                          <a:spcPts val="360"/>
                        </a:spcBef>
                        <a:spcAft>
                          <a:spcPts val="0"/>
                        </a:spcAft>
                      </a:pPr>
                      <a:r>
                        <a:rPr lang="en-US" sz="2600" b="0">
                          <a:solidFill>
                            <a:schemeClr val="tx1"/>
                          </a:solidFill>
                          <a:effectLst/>
                        </a:rPr>
                        <a:t>Gypsum</a:t>
                      </a:r>
                      <a:endParaRPr lang="sv-SE" sz="2600" b="0">
                        <a:solidFill>
                          <a:schemeClr val="tx1"/>
                        </a:solidFill>
                        <a:effectLst/>
                        <a:latin typeface="Arial MT"/>
                        <a:ea typeface="Arial MT"/>
                        <a:cs typeface="Arial MT"/>
                      </a:endParaRP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18110" marR="118745" algn="ctr">
                        <a:spcBef>
                          <a:spcPts val="360"/>
                        </a:spcBef>
                        <a:spcAft>
                          <a:spcPts val="0"/>
                        </a:spcAft>
                      </a:pPr>
                      <a:r>
                        <a:rPr lang="en-US" sz="2600">
                          <a:solidFill>
                            <a:schemeClr val="tx1"/>
                          </a:solidFill>
                          <a:effectLst/>
                        </a:rPr>
                        <a:t>28,448</a:t>
                      </a:r>
                      <a:endParaRPr lang="sv-SE" sz="2600">
                        <a:solidFill>
                          <a:schemeClr val="tx1"/>
                        </a:solidFill>
                        <a:effectLst/>
                        <a:latin typeface="Arial MT"/>
                        <a:ea typeface="Arial MT"/>
                        <a:cs typeface="Arial M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93675" marR="193675" algn="ctr">
                        <a:spcBef>
                          <a:spcPts val="360"/>
                        </a:spcBef>
                        <a:spcAft>
                          <a:spcPts val="0"/>
                        </a:spcAft>
                      </a:pPr>
                      <a:r>
                        <a:rPr lang="en-US" sz="2600">
                          <a:solidFill>
                            <a:schemeClr val="tx1"/>
                          </a:solidFill>
                          <a:effectLst/>
                        </a:rPr>
                        <a:t>33,894</a:t>
                      </a:r>
                      <a:endParaRPr lang="sv-SE" sz="2600">
                        <a:solidFill>
                          <a:schemeClr val="tx1"/>
                        </a:solidFill>
                        <a:effectLst/>
                        <a:latin typeface="Arial MT"/>
                        <a:ea typeface="Arial MT"/>
                        <a:cs typeface="Arial M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R="417195" algn="ctr">
                        <a:spcBef>
                          <a:spcPts val="360"/>
                        </a:spcBef>
                        <a:spcAft>
                          <a:spcPts val="0"/>
                        </a:spcAft>
                      </a:pPr>
                      <a:r>
                        <a:rPr lang="en-US" sz="2600" b="0">
                          <a:solidFill>
                            <a:schemeClr val="tx1"/>
                          </a:solidFill>
                          <a:effectLst/>
                        </a:rPr>
                        <a:t>657,925</a:t>
                      </a:r>
                      <a:endParaRPr lang="sv-SE" sz="2600" b="0">
                        <a:solidFill>
                          <a:schemeClr val="tx1"/>
                        </a:solidFill>
                        <a:effectLst/>
                        <a:latin typeface="Arial MT"/>
                        <a:ea typeface="Arial MT"/>
                        <a:cs typeface="Arial MT"/>
                      </a:endParaRPr>
                    </a:p>
                  </a:txBody>
                  <a:tcPr marL="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50032306"/>
                  </a:ext>
                </a:extLst>
              </a:tr>
              <a:tr h="522418">
                <a:tc>
                  <a:txBody>
                    <a:bodyPr/>
                    <a:lstStyle/>
                    <a:p>
                      <a:pPr marL="67945" algn="ctr">
                        <a:spcBef>
                          <a:spcPts val="360"/>
                        </a:spcBef>
                        <a:spcAft>
                          <a:spcPts val="0"/>
                        </a:spcAft>
                      </a:pPr>
                      <a:r>
                        <a:rPr lang="en-US" sz="2600" b="0">
                          <a:solidFill>
                            <a:schemeClr val="tx1"/>
                          </a:solidFill>
                          <a:effectLst/>
                        </a:rPr>
                        <a:t>Secondary</a:t>
                      </a:r>
                      <a:r>
                        <a:rPr lang="en-US" sz="2600" b="0" spc="-25">
                          <a:solidFill>
                            <a:schemeClr val="tx1"/>
                          </a:solidFill>
                          <a:effectLst/>
                        </a:rPr>
                        <a:t> </a:t>
                      </a:r>
                      <a:r>
                        <a:rPr lang="en-US" sz="2600" b="0">
                          <a:solidFill>
                            <a:schemeClr val="tx1"/>
                          </a:solidFill>
                          <a:effectLst/>
                        </a:rPr>
                        <a:t>Raw</a:t>
                      </a:r>
                      <a:r>
                        <a:rPr lang="en-US" sz="2600" b="0" spc="-20">
                          <a:solidFill>
                            <a:schemeClr val="tx1"/>
                          </a:solidFill>
                          <a:effectLst/>
                        </a:rPr>
                        <a:t> </a:t>
                      </a:r>
                      <a:r>
                        <a:rPr lang="en-US" sz="2600" b="0">
                          <a:solidFill>
                            <a:schemeClr val="tx1"/>
                          </a:solidFill>
                          <a:effectLst/>
                        </a:rPr>
                        <a:t>Material</a:t>
                      </a:r>
                      <a:endParaRPr lang="sv-SE" sz="2600" b="0">
                        <a:solidFill>
                          <a:schemeClr val="tx1"/>
                        </a:solidFill>
                        <a:effectLst/>
                        <a:latin typeface="Arial MT"/>
                        <a:ea typeface="Arial MT"/>
                        <a:cs typeface="Arial MT"/>
                      </a:endParaRP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18110" marR="118745" algn="ctr">
                        <a:spcBef>
                          <a:spcPts val="360"/>
                        </a:spcBef>
                        <a:spcAft>
                          <a:spcPts val="0"/>
                        </a:spcAft>
                      </a:pPr>
                      <a:r>
                        <a:rPr lang="en-US" sz="2600">
                          <a:solidFill>
                            <a:schemeClr val="tx1"/>
                          </a:solidFill>
                          <a:effectLst/>
                        </a:rPr>
                        <a:t>29,634</a:t>
                      </a:r>
                      <a:endParaRPr lang="sv-SE" sz="2600">
                        <a:solidFill>
                          <a:schemeClr val="tx1"/>
                        </a:solidFill>
                        <a:effectLst/>
                        <a:latin typeface="Arial MT"/>
                        <a:ea typeface="Arial MT"/>
                        <a:cs typeface="Arial M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93675" marR="193675" algn="ctr">
                        <a:spcBef>
                          <a:spcPts val="360"/>
                        </a:spcBef>
                        <a:spcAft>
                          <a:spcPts val="0"/>
                        </a:spcAft>
                      </a:pPr>
                      <a:r>
                        <a:rPr lang="en-US" sz="2600">
                          <a:solidFill>
                            <a:schemeClr val="tx1"/>
                          </a:solidFill>
                          <a:effectLst/>
                        </a:rPr>
                        <a:t>32,500</a:t>
                      </a:r>
                      <a:endParaRPr lang="sv-SE" sz="2600">
                        <a:solidFill>
                          <a:schemeClr val="tx1"/>
                        </a:solidFill>
                        <a:effectLst/>
                        <a:latin typeface="Arial MT"/>
                        <a:ea typeface="Arial MT"/>
                        <a:cs typeface="Arial M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R="456565" algn="ctr">
                        <a:spcBef>
                          <a:spcPts val="360"/>
                        </a:spcBef>
                        <a:spcAft>
                          <a:spcPts val="0"/>
                        </a:spcAft>
                      </a:pPr>
                      <a:r>
                        <a:rPr lang="en-US" sz="2600" b="0">
                          <a:solidFill>
                            <a:schemeClr val="tx1"/>
                          </a:solidFill>
                          <a:effectLst/>
                        </a:rPr>
                        <a:t>28,670</a:t>
                      </a:r>
                      <a:endParaRPr lang="sv-SE" sz="2600" b="0">
                        <a:solidFill>
                          <a:schemeClr val="tx1"/>
                        </a:solidFill>
                        <a:effectLst/>
                        <a:latin typeface="Arial MT"/>
                        <a:ea typeface="Arial MT"/>
                        <a:cs typeface="Arial MT"/>
                      </a:endParaRPr>
                    </a:p>
                  </a:txBody>
                  <a:tcPr marL="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71657862"/>
                  </a:ext>
                </a:extLst>
              </a:tr>
              <a:tr h="522418">
                <a:tc>
                  <a:txBody>
                    <a:bodyPr/>
                    <a:lstStyle/>
                    <a:p>
                      <a:pPr marL="67945" algn="ctr">
                        <a:spcBef>
                          <a:spcPts val="360"/>
                        </a:spcBef>
                        <a:spcAft>
                          <a:spcPts val="0"/>
                        </a:spcAft>
                      </a:pPr>
                      <a:r>
                        <a:rPr lang="en-US" sz="2600" b="0" noProof="0" dirty="0" err="1">
                          <a:solidFill>
                            <a:schemeClr val="tx1"/>
                          </a:solidFill>
                          <a:effectLst/>
                        </a:rPr>
                        <a:t>Petcoke</a:t>
                      </a:r>
                      <a:endParaRPr lang="en-US" sz="2600" b="0" noProof="0" dirty="0">
                        <a:solidFill>
                          <a:schemeClr val="tx1"/>
                        </a:solidFill>
                        <a:effectLst/>
                        <a:latin typeface="Arial MT"/>
                        <a:ea typeface="Arial MT"/>
                        <a:cs typeface="Arial MT"/>
                      </a:endParaRP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18110" marR="118745" algn="ctr">
                        <a:spcBef>
                          <a:spcPts val="360"/>
                        </a:spcBef>
                        <a:spcAft>
                          <a:spcPts val="0"/>
                        </a:spcAft>
                      </a:pPr>
                      <a:r>
                        <a:rPr lang="en-US" sz="2600">
                          <a:solidFill>
                            <a:schemeClr val="tx1"/>
                          </a:solidFill>
                          <a:effectLst/>
                        </a:rPr>
                        <a:t>23,324</a:t>
                      </a:r>
                      <a:endParaRPr lang="sv-SE" sz="2600">
                        <a:solidFill>
                          <a:schemeClr val="tx1"/>
                        </a:solidFill>
                        <a:effectLst/>
                        <a:latin typeface="Arial MT"/>
                        <a:ea typeface="Arial MT"/>
                        <a:cs typeface="Arial M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93675" marR="193675" algn="ctr">
                        <a:spcBef>
                          <a:spcPts val="360"/>
                        </a:spcBef>
                        <a:spcAft>
                          <a:spcPts val="0"/>
                        </a:spcAft>
                      </a:pPr>
                      <a:r>
                        <a:rPr lang="en-US" sz="2600">
                          <a:solidFill>
                            <a:schemeClr val="tx1"/>
                          </a:solidFill>
                          <a:effectLst/>
                        </a:rPr>
                        <a:t>22,227</a:t>
                      </a:r>
                      <a:endParaRPr lang="sv-SE" sz="2600">
                        <a:solidFill>
                          <a:schemeClr val="tx1"/>
                        </a:solidFill>
                        <a:effectLst/>
                        <a:latin typeface="Arial MT"/>
                        <a:ea typeface="Arial MT"/>
                        <a:cs typeface="Arial M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R="456565" algn="ctr">
                        <a:spcBef>
                          <a:spcPts val="360"/>
                        </a:spcBef>
                        <a:spcAft>
                          <a:spcPts val="0"/>
                        </a:spcAft>
                      </a:pPr>
                      <a:r>
                        <a:rPr lang="en-US" sz="2600" b="0">
                          <a:solidFill>
                            <a:schemeClr val="tx1"/>
                          </a:solidFill>
                          <a:effectLst/>
                        </a:rPr>
                        <a:t>23,270</a:t>
                      </a:r>
                      <a:endParaRPr lang="sv-SE" sz="2600" b="0">
                        <a:solidFill>
                          <a:schemeClr val="tx1"/>
                        </a:solidFill>
                        <a:effectLst/>
                        <a:latin typeface="Arial MT"/>
                        <a:ea typeface="Arial MT"/>
                        <a:cs typeface="Arial MT"/>
                      </a:endParaRPr>
                    </a:p>
                  </a:txBody>
                  <a:tcPr marL="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52019256"/>
                  </a:ext>
                </a:extLst>
              </a:tr>
              <a:tr h="522418">
                <a:tc>
                  <a:txBody>
                    <a:bodyPr/>
                    <a:lstStyle/>
                    <a:p>
                      <a:pPr marL="67945" algn="ctr">
                        <a:spcBef>
                          <a:spcPts val="365"/>
                        </a:spcBef>
                        <a:spcAft>
                          <a:spcPts val="0"/>
                        </a:spcAft>
                      </a:pPr>
                      <a:r>
                        <a:rPr lang="en-US" sz="2600" b="0">
                          <a:solidFill>
                            <a:schemeClr val="tx1"/>
                          </a:solidFill>
                          <a:effectLst/>
                        </a:rPr>
                        <a:t>Fuel</a:t>
                      </a:r>
                      <a:endParaRPr lang="sv-SE" sz="2600" b="0">
                        <a:solidFill>
                          <a:schemeClr val="tx1"/>
                        </a:solidFill>
                        <a:effectLst/>
                        <a:latin typeface="Arial MT"/>
                        <a:ea typeface="Arial MT"/>
                        <a:cs typeface="Arial MT"/>
                      </a:endParaRP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18745" marR="118745" algn="ctr">
                        <a:spcBef>
                          <a:spcPts val="365"/>
                        </a:spcBef>
                        <a:spcAft>
                          <a:spcPts val="0"/>
                        </a:spcAft>
                      </a:pPr>
                      <a:r>
                        <a:rPr lang="en-US" sz="2600">
                          <a:solidFill>
                            <a:schemeClr val="tx1"/>
                          </a:solidFill>
                          <a:effectLst/>
                        </a:rPr>
                        <a:t>200</a:t>
                      </a:r>
                      <a:endParaRPr lang="sv-SE" sz="2600">
                        <a:solidFill>
                          <a:schemeClr val="tx1"/>
                        </a:solidFill>
                        <a:effectLst/>
                        <a:latin typeface="Arial MT"/>
                        <a:ea typeface="Arial MT"/>
                        <a:cs typeface="Arial M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93675" marR="193675" algn="ctr">
                        <a:spcBef>
                          <a:spcPts val="365"/>
                        </a:spcBef>
                        <a:spcAft>
                          <a:spcPts val="0"/>
                        </a:spcAft>
                      </a:pPr>
                      <a:r>
                        <a:rPr lang="en-US" sz="2600">
                          <a:solidFill>
                            <a:schemeClr val="tx1"/>
                          </a:solidFill>
                          <a:effectLst/>
                        </a:rPr>
                        <a:t>138</a:t>
                      </a:r>
                      <a:endParaRPr lang="sv-SE" sz="2600">
                        <a:solidFill>
                          <a:schemeClr val="tx1"/>
                        </a:solidFill>
                        <a:effectLst/>
                        <a:latin typeface="Arial MT"/>
                        <a:ea typeface="Arial MT"/>
                        <a:cs typeface="Arial M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347345" marR="347980" algn="ctr">
                        <a:spcBef>
                          <a:spcPts val="365"/>
                        </a:spcBef>
                        <a:spcAft>
                          <a:spcPts val="0"/>
                        </a:spcAft>
                      </a:pPr>
                      <a:r>
                        <a:rPr lang="en-US" sz="2600" b="0">
                          <a:solidFill>
                            <a:schemeClr val="tx1"/>
                          </a:solidFill>
                          <a:effectLst/>
                        </a:rPr>
                        <a:t>99</a:t>
                      </a:r>
                      <a:endParaRPr lang="sv-SE" sz="2600" b="0">
                        <a:solidFill>
                          <a:schemeClr val="tx1"/>
                        </a:solidFill>
                        <a:effectLst/>
                        <a:latin typeface="Arial MT"/>
                        <a:ea typeface="Arial MT"/>
                        <a:cs typeface="Arial MT"/>
                      </a:endParaRPr>
                    </a:p>
                  </a:txBody>
                  <a:tcPr marL="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883238420"/>
                  </a:ext>
                </a:extLst>
              </a:tr>
              <a:tr h="525057">
                <a:tc>
                  <a:txBody>
                    <a:bodyPr/>
                    <a:lstStyle/>
                    <a:p>
                      <a:pPr marL="67945" algn="ctr">
                        <a:spcBef>
                          <a:spcPts val="365"/>
                        </a:spcBef>
                        <a:spcAft>
                          <a:spcPts val="0"/>
                        </a:spcAft>
                      </a:pPr>
                      <a:r>
                        <a:rPr lang="en-US" sz="2600" b="0" dirty="0">
                          <a:solidFill>
                            <a:schemeClr val="tx1"/>
                          </a:solidFill>
                          <a:effectLst/>
                        </a:rPr>
                        <a:t>Tires</a:t>
                      </a:r>
                      <a:endParaRPr lang="sv-SE" sz="2600" b="0" dirty="0">
                        <a:solidFill>
                          <a:schemeClr val="tx1"/>
                        </a:solidFill>
                        <a:effectLst/>
                        <a:latin typeface="Arial MT"/>
                        <a:ea typeface="Arial MT"/>
                        <a:cs typeface="Arial MT"/>
                      </a:endParaRP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18110" marR="118745" algn="ctr">
                        <a:spcBef>
                          <a:spcPts val="365"/>
                        </a:spcBef>
                        <a:spcAft>
                          <a:spcPts val="0"/>
                        </a:spcAft>
                      </a:pPr>
                      <a:r>
                        <a:rPr lang="en-US" sz="2600" kern="1200">
                          <a:solidFill>
                            <a:schemeClr val="tx1"/>
                          </a:solidFill>
                          <a:effectLst/>
                          <a:latin typeface="+mn-lt"/>
                          <a:ea typeface="+mn-ea"/>
                          <a:cs typeface="+mn-cs"/>
                        </a:rPr>
                        <a:t>6,510</a:t>
                      </a:r>
                      <a:endParaRPr lang="sv-SE" sz="2600" kern="1200">
                        <a:solidFill>
                          <a:schemeClr val="tx1"/>
                        </a:solidFill>
                        <a:effectLst/>
                        <a:latin typeface="+mn-lt"/>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93675" marR="193675" algn="ctr">
                        <a:spcBef>
                          <a:spcPts val="365"/>
                        </a:spcBef>
                        <a:spcAft>
                          <a:spcPts val="0"/>
                        </a:spcAft>
                      </a:pPr>
                      <a:r>
                        <a:rPr lang="en-US" sz="2600">
                          <a:solidFill>
                            <a:schemeClr val="tx1"/>
                          </a:solidFill>
                          <a:effectLst/>
                        </a:rPr>
                        <a:t>6,491</a:t>
                      </a:r>
                      <a:endParaRPr lang="sv-SE" sz="2600">
                        <a:solidFill>
                          <a:schemeClr val="tx1"/>
                        </a:solidFill>
                        <a:effectLst/>
                        <a:latin typeface="Arial MT"/>
                        <a:ea typeface="Arial MT"/>
                        <a:cs typeface="Arial M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347345" marR="347345" algn="ctr">
                        <a:spcBef>
                          <a:spcPts val="365"/>
                        </a:spcBef>
                        <a:spcAft>
                          <a:spcPts val="0"/>
                        </a:spcAft>
                      </a:pPr>
                      <a:r>
                        <a:rPr lang="en-US" sz="2600" b="0">
                          <a:solidFill>
                            <a:schemeClr val="tx1"/>
                          </a:solidFill>
                          <a:effectLst/>
                        </a:rPr>
                        <a:t>6,289</a:t>
                      </a:r>
                      <a:endParaRPr lang="sv-SE" sz="2600" b="0">
                        <a:solidFill>
                          <a:schemeClr val="tx1"/>
                        </a:solidFill>
                        <a:effectLst/>
                        <a:latin typeface="Arial MT"/>
                        <a:ea typeface="Arial MT"/>
                        <a:cs typeface="Arial MT"/>
                      </a:endParaRPr>
                    </a:p>
                  </a:txBody>
                  <a:tcPr marL="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50226203"/>
                  </a:ext>
                </a:extLst>
              </a:tr>
              <a:tr h="522418">
                <a:tc>
                  <a:txBody>
                    <a:bodyPr/>
                    <a:lstStyle/>
                    <a:p>
                      <a:pPr marL="67945" algn="ctr">
                        <a:spcBef>
                          <a:spcPts val="360"/>
                        </a:spcBef>
                        <a:spcAft>
                          <a:spcPts val="0"/>
                        </a:spcAft>
                      </a:pPr>
                      <a:r>
                        <a:rPr lang="en-US" sz="2600" b="0">
                          <a:solidFill>
                            <a:schemeClr val="tx1"/>
                          </a:solidFill>
                          <a:effectLst/>
                        </a:rPr>
                        <a:t>RDF</a:t>
                      </a:r>
                      <a:r>
                        <a:rPr lang="en-US" sz="2600" b="0" spc="-20">
                          <a:solidFill>
                            <a:schemeClr val="tx1"/>
                          </a:solidFill>
                          <a:effectLst/>
                        </a:rPr>
                        <a:t> </a:t>
                      </a:r>
                      <a:r>
                        <a:rPr lang="en-US" sz="2600" b="0">
                          <a:solidFill>
                            <a:schemeClr val="tx1"/>
                          </a:solidFill>
                          <a:effectLst/>
                        </a:rPr>
                        <a:t>(Refuse</a:t>
                      </a:r>
                      <a:r>
                        <a:rPr lang="en-US" sz="2600" b="0" spc="-20">
                          <a:solidFill>
                            <a:schemeClr val="tx1"/>
                          </a:solidFill>
                          <a:effectLst/>
                        </a:rPr>
                        <a:t> </a:t>
                      </a:r>
                      <a:r>
                        <a:rPr lang="en-US" sz="2600" b="0">
                          <a:solidFill>
                            <a:schemeClr val="tx1"/>
                          </a:solidFill>
                          <a:effectLst/>
                        </a:rPr>
                        <a:t>Derived</a:t>
                      </a:r>
                      <a:r>
                        <a:rPr lang="en-US" sz="2600" b="0" spc="-10">
                          <a:solidFill>
                            <a:schemeClr val="tx1"/>
                          </a:solidFill>
                          <a:effectLst/>
                        </a:rPr>
                        <a:t> </a:t>
                      </a:r>
                      <a:r>
                        <a:rPr lang="en-US" sz="2600" b="0">
                          <a:solidFill>
                            <a:schemeClr val="tx1"/>
                          </a:solidFill>
                          <a:effectLst/>
                        </a:rPr>
                        <a:t>Fuels)</a:t>
                      </a:r>
                      <a:endParaRPr lang="sv-SE" sz="2600" b="0">
                        <a:solidFill>
                          <a:schemeClr val="tx1"/>
                        </a:solidFill>
                        <a:effectLst/>
                        <a:latin typeface="Arial MT"/>
                        <a:ea typeface="Arial MT"/>
                        <a:cs typeface="Arial MT"/>
                      </a:endParaRP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118110" marR="118745" algn="ctr">
                        <a:spcBef>
                          <a:spcPts val="360"/>
                        </a:spcBef>
                        <a:spcAft>
                          <a:spcPts val="0"/>
                        </a:spcAft>
                      </a:pPr>
                      <a:r>
                        <a:rPr lang="en-US" sz="2600" b="0" kern="1200">
                          <a:solidFill>
                            <a:schemeClr val="tx1"/>
                          </a:solidFill>
                          <a:effectLst/>
                          <a:latin typeface="+mn-lt"/>
                          <a:ea typeface="+mn-ea"/>
                          <a:cs typeface="+mn-cs"/>
                        </a:rPr>
                        <a:t>44,632</a:t>
                      </a:r>
                      <a:endParaRPr lang="sv-SE" sz="2600" b="0" kern="1200">
                        <a:solidFill>
                          <a:schemeClr val="tx1"/>
                        </a:solidFill>
                        <a:effectLst/>
                        <a:latin typeface="+mn-lt"/>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193675" marR="193675" algn="ctr">
                        <a:spcBef>
                          <a:spcPts val="360"/>
                        </a:spcBef>
                        <a:spcAft>
                          <a:spcPts val="0"/>
                        </a:spcAft>
                      </a:pPr>
                      <a:r>
                        <a:rPr lang="en-US" sz="2600" b="0" kern="1200">
                          <a:solidFill>
                            <a:schemeClr val="tx1"/>
                          </a:solidFill>
                          <a:effectLst/>
                          <a:latin typeface="+mn-lt"/>
                          <a:ea typeface="+mn-ea"/>
                          <a:cs typeface="+mn-cs"/>
                        </a:rPr>
                        <a:t>43,915</a:t>
                      </a:r>
                      <a:endParaRPr lang="sv-SE" sz="2600" b="0" kern="1200">
                        <a:solidFill>
                          <a:schemeClr val="tx1"/>
                        </a:solidFill>
                        <a:effectLst/>
                        <a:latin typeface="+mn-lt"/>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R="456565" algn="ctr">
                        <a:spcBef>
                          <a:spcPts val="360"/>
                        </a:spcBef>
                        <a:spcAft>
                          <a:spcPts val="0"/>
                        </a:spcAft>
                      </a:pPr>
                      <a:r>
                        <a:rPr lang="en-US" sz="2600" b="0" kern="1200" dirty="0">
                          <a:solidFill>
                            <a:schemeClr val="tx1"/>
                          </a:solidFill>
                          <a:effectLst/>
                          <a:latin typeface="+mn-lt"/>
                          <a:ea typeface="+mn-ea"/>
                          <a:cs typeface="+mn-cs"/>
                        </a:rPr>
                        <a:t>44,676</a:t>
                      </a:r>
                      <a:endParaRPr lang="sv-SE" sz="2600" b="0" kern="1200" dirty="0">
                        <a:solidFill>
                          <a:schemeClr val="tx1"/>
                        </a:solidFill>
                        <a:effectLst/>
                        <a:latin typeface="+mn-lt"/>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882177508"/>
                  </a:ext>
                </a:extLst>
              </a:tr>
            </a:tbl>
          </a:graphicData>
        </a:graphic>
      </p:graphicFrame>
      <p:sp>
        <p:nvSpPr>
          <p:cNvPr id="20" name="TextBox 19">
            <a:extLst>
              <a:ext uri="{FF2B5EF4-FFF2-40B4-BE49-F238E27FC236}">
                <a16:creationId xmlns:a16="http://schemas.microsoft.com/office/drawing/2014/main" id="{9CB272B9-07A5-4B52-A7D5-A98563AB7A13}"/>
              </a:ext>
            </a:extLst>
          </p:cNvPr>
          <p:cNvSpPr txBox="1"/>
          <p:nvPr/>
        </p:nvSpPr>
        <p:spPr>
          <a:xfrm>
            <a:off x="5886648" y="3535090"/>
            <a:ext cx="9144000" cy="523220"/>
          </a:xfrm>
          <a:prstGeom prst="rect">
            <a:avLst/>
          </a:prstGeom>
          <a:noFill/>
        </p:spPr>
        <p:txBody>
          <a:bodyPr wrap="square">
            <a:spAutoFit/>
          </a:bodyPr>
          <a:lstStyle/>
          <a:p>
            <a:pPr algn="just"/>
            <a:r>
              <a:rPr lang="en-US" sz="2800" kern="100">
                <a:solidFill>
                  <a:srgbClr val="404040"/>
                </a:solidFill>
                <a:latin typeface="Arial (body)"/>
              </a:rPr>
              <a:t>SECIL - Main material inputs at the plant</a:t>
            </a:r>
            <a:endParaRPr lang="sv-SE" sz="2800" kern="100">
              <a:solidFill>
                <a:srgbClr val="404040"/>
              </a:solidFill>
              <a:latin typeface="Arial (body)"/>
            </a:endParaRPr>
          </a:p>
        </p:txBody>
      </p:sp>
    </p:spTree>
    <p:extLst>
      <p:ext uri="{BB962C8B-B14F-4D97-AF65-F5344CB8AC3E}">
        <p14:creationId xmlns:p14="http://schemas.microsoft.com/office/powerpoint/2010/main" val="318738330"/>
      </p:ext>
    </p:extLst>
  </p:cSld>
  <p:clrMapOvr>
    <a:masterClrMapping/>
  </p:clrMapOvr>
  <p:extLst>
    <p:ext uri="{6950BFC3-D8DA-4A85-94F7-54DA5524770B}">
      <p188:commentRel xmlns:p188="http://schemas.microsoft.com/office/powerpoint/2018/8/main" r:id="rId3"/>
    </p:ext>
  </p:extLst>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58" name="Rectangle 57">
            <a:extLst>
              <a:ext uri="{FF2B5EF4-FFF2-40B4-BE49-F238E27FC236}">
                <a16:creationId xmlns:a16="http://schemas.microsoft.com/office/drawing/2014/main" id="{289ED1AA-8684-4D37-B208-8777E1A7780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8283428" cy="10287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0" name="Graphic 33">
            <a:extLst>
              <a:ext uri="{FF2B5EF4-FFF2-40B4-BE49-F238E27FC236}">
                <a16:creationId xmlns:a16="http://schemas.microsoft.com/office/drawing/2014/main" id="{4180E01B-B1F4-437C-807D-1C930718EE6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966176" y="0"/>
            <a:ext cx="14355646" cy="10287000"/>
          </a:xfrm>
          <a:custGeom>
            <a:avLst/>
            <a:gdLst>
              <a:gd name="connsiteX0" fmla="*/ 7178288 w 7187261"/>
              <a:gd name="connsiteY0" fmla="*/ 2604802 h 5150263"/>
              <a:gd name="connsiteX1" fmla="*/ 7169335 w 7187261"/>
              <a:gd name="connsiteY1" fmla="*/ 2328577 h 5150263"/>
              <a:gd name="connsiteX2" fmla="*/ 7060845 w 7187261"/>
              <a:gd name="connsiteY2" fmla="*/ 1661160 h 5150263"/>
              <a:gd name="connsiteX3" fmla="*/ 6212263 w 7187261"/>
              <a:gd name="connsiteY3" fmla="*/ 243840 h 5150263"/>
              <a:gd name="connsiteX4" fmla="*/ 5953564 w 7187261"/>
              <a:gd name="connsiteY4" fmla="*/ 0 h 5150263"/>
              <a:gd name="connsiteX5" fmla="*/ 1408615 w 7187261"/>
              <a:gd name="connsiteY5" fmla="*/ 0 h 5150263"/>
              <a:gd name="connsiteX6" fmla="*/ 805111 w 7187261"/>
              <a:gd name="connsiteY6" fmla="*/ 676275 h 5150263"/>
              <a:gd name="connsiteX7" fmla="*/ 104928 w 7187261"/>
              <a:gd name="connsiteY7" fmla="*/ 2183035 h 5150263"/>
              <a:gd name="connsiteX8" fmla="*/ 51588 w 7187261"/>
              <a:gd name="connsiteY8" fmla="*/ 2400014 h 5150263"/>
              <a:gd name="connsiteX9" fmla="*/ 41301 w 7187261"/>
              <a:gd name="connsiteY9" fmla="*/ 2424208 h 5150263"/>
              <a:gd name="connsiteX10" fmla="*/ 119692 w 7187261"/>
              <a:gd name="connsiteY10" fmla="*/ 1834801 h 5150263"/>
              <a:gd name="connsiteX11" fmla="*/ 870071 w 7187261"/>
              <a:gd name="connsiteY11" fmla="*/ 462248 h 5150263"/>
              <a:gd name="connsiteX12" fmla="*/ 1389279 w 7187261"/>
              <a:gd name="connsiteY12" fmla="*/ 476 h 5150263"/>
              <a:gd name="connsiteX13" fmla="*/ 1320223 w 7187261"/>
              <a:gd name="connsiteY13" fmla="*/ 476 h 5150263"/>
              <a:gd name="connsiteX14" fmla="*/ 423158 w 7187261"/>
              <a:gd name="connsiteY14" fmla="*/ 989743 h 5150263"/>
              <a:gd name="connsiteX15" fmla="*/ 25585 w 7187261"/>
              <a:gd name="connsiteY15" fmla="*/ 2113693 h 5150263"/>
              <a:gd name="connsiteX16" fmla="*/ 2344 w 7187261"/>
              <a:gd name="connsiteY16" fmla="*/ 2725865 h 5150263"/>
              <a:gd name="connsiteX17" fmla="*/ 447256 w 7187261"/>
              <a:gd name="connsiteY17" fmla="*/ 4210717 h 5150263"/>
              <a:gd name="connsiteX18" fmla="*/ 1138962 w 7187261"/>
              <a:gd name="connsiteY18" fmla="*/ 4988910 h 5150263"/>
              <a:gd name="connsiteX19" fmla="*/ 1348512 w 7187261"/>
              <a:gd name="connsiteY19" fmla="*/ 5146834 h 5150263"/>
              <a:gd name="connsiteX20" fmla="*/ 1422712 w 7187261"/>
              <a:gd name="connsiteY20" fmla="*/ 5146834 h 5150263"/>
              <a:gd name="connsiteX21" fmla="*/ 480594 w 7187261"/>
              <a:gd name="connsiteY21" fmla="*/ 4187952 h 5150263"/>
              <a:gd name="connsiteX22" fmla="*/ 398679 w 7187261"/>
              <a:gd name="connsiteY22" fmla="*/ 4046125 h 5150263"/>
              <a:gd name="connsiteX23" fmla="*/ 411823 w 7187261"/>
              <a:gd name="connsiteY23" fmla="*/ 4053078 h 5150263"/>
              <a:gd name="connsiteX24" fmla="*/ 1439380 w 7187261"/>
              <a:gd name="connsiteY24" fmla="*/ 5147405 h 5150263"/>
              <a:gd name="connsiteX25" fmla="*/ 5710010 w 7187261"/>
              <a:gd name="connsiteY25" fmla="*/ 5150263 h 5150263"/>
              <a:gd name="connsiteX26" fmla="*/ 5999665 w 7187261"/>
              <a:gd name="connsiteY26" fmla="*/ 4910900 h 5150263"/>
              <a:gd name="connsiteX27" fmla="*/ 6954165 w 7187261"/>
              <a:gd name="connsiteY27" fmla="*/ 3545777 h 5150263"/>
              <a:gd name="connsiteX28" fmla="*/ 7137712 w 7187261"/>
              <a:gd name="connsiteY28" fmla="*/ 2799207 h 5150263"/>
              <a:gd name="connsiteX29" fmla="*/ 7142951 w 7187261"/>
              <a:gd name="connsiteY29" fmla="*/ 2754535 h 5150263"/>
              <a:gd name="connsiteX30" fmla="*/ 7149428 w 7187261"/>
              <a:gd name="connsiteY30" fmla="*/ 2774823 h 5150263"/>
              <a:gd name="connsiteX31" fmla="*/ 7066465 w 7187261"/>
              <a:gd name="connsiteY31" fmla="*/ 3465672 h 5150263"/>
              <a:gd name="connsiteX32" fmla="*/ 6452578 w 7187261"/>
              <a:gd name="connsiteY32" fmla="*/ 4552760 h 5150263"/>
              <a:gd name="connsiteX33" fmla="*/ 5752110 w 7187261"/>
              <a:gd name="connsiteY33" fmla="*/ 5150263 h 5150263"/>
              <a:gd name="connsiteX34" fmla="*/ 5827643 w 7187261"/>
              <a:gd name="connsiteY34" fmla="*/ 5150263 h 5150263"/>
              <a:gd name="connsiteX35" fmla="*/ 6642793 w 7187261"/>
              <a:gd name="connsiteY35" fmla="*/ 4389406 h 5150263"/>
              <a:gd name="connsiteX36" fmla="*/ 7102469 w 7187261"/>
              <a:gd name="connsiteY36" fmla="*/ 3490817 h 5150263"/>
              <a:gd name="connsiteX37" fmla="*/ 7187242 w 7187261"/>
              <a:gd name="connsiteY37" fmla="*/ 2990183 h 5150263"/>
              <a:gd name="connsiteX38" fmla="*/ 7178288 w 7187261"/>
              <a:gd name="connsiteY38" fmla="*/ 2604802 h 5150263"/>
              <a:gd name="connsiteX39" fmla="*/ 6342565 w 7187261"/>
              <a:gd name="connsiteY39" fmla="*/ 441389 h 5150263"/>
              <a:gd name="connsiteX40" fmla="*/ 7126567 w 7187261"/>
              <a:gd name="connsiteY40" fmla="*/ 2355056 h 5150263"/>
              <a:gd name="connsiteX41" fmla="*/ 6342565 w 7187261"/>
              <a:gd name="connsiteY41" fmla="*/ 441389 h 5150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187261" h="5150263">
                <a:moveTo>
                  <a:pt x="7178288" y="2604802"/>
                </a:moveTo>
                <a:cubicBezTo>
                  <a:pt x="7168763" y="2513076"/>
                  <a:pt x="7174478" y="2420684"/>
                  <a:pt x="7169335" y="2328577"/>
                </a:cubicBezTo>
                <a:cubicBezTo>
                  <a:pt x="7156952" y="2102882"/>
                  <a:pt x="7120586" y="1879149"/>
                  <a:pt x="7060845" y="1661160"/>
                </a:cubicBezTo>
                <a:cubicBezTo>
                  <a:pt x="6910588" y="1121007"/>
                  <a:pt x="6617428" y="631374"/>
                  <a:pt x="6212263" y="243840"/>
                </a:cubicBezTo>
                <a:cubicBezTo>
                  <a:pt x="6126538" y="162496"/>
                  <a:pt x="6040813" y="80201"/>
                  <a:pt x="5953564" y="0"/>
                </a:cubicBezTo>
                <a:lnTo>
                  <a:pt x="1408615" y="0"/>
                </a:lnTo>
                <a:cubicBezTo>
                  <a:pt x="1180967" y="200316"/>
                  <a:pt x="978332" y="427387"/>
                  <a:pt x="805111" y="676275"/>
                </a:cubicBezTo>
                <a:cubicBezTo>
                  <a:pt x="481261" y="1136523"/>
                  <a:pt x="252089" y="1640872"/>
                  <a:pt x="104928" y="2183035"/>
                </a:cubicBezTo>
                <a:cubicBezTo>
                  <a:pt x="85878" y="2254853"/>
                  <a:pt x="69495" y="2327720"/>
                  <a:pt x="51588" y="2400014"/>
                </a:cubicBezTo>
                <a:cubicBezTo>
                  <a:pt x="49683" y="2407634"/>
                  <a:pt x="51588" y="2416969"/>
                  <a:pt x="41301" y="2424208"/>
                </a:cubicBezTo>
                <a:cubicBezTo>
                  <a:pt x="45900" y="2225469"/>
                  <a:pt x="72186" y="2027834"/>
                  <a:pt x="119692" y="1834801"/>
                </a:cubicBezTo>
                <a:cubicBezTo>
                  <a:pt x="247993" y="1310926"/>
                  <a:pt x="506121" y="857726"/>
                  <a:pt x="870071" y="462248"/>
                </a:cubicBezTo>
                <a:cubicBezTo>
                  <a:pt x="1027729" y="291823"/>
                  <a:pt x="1201617" y="137169"/>
                  <a:pt x="1389279" y="476"/>
                </a:cubicBezTo>
                <a:lnTo>
                  <a:pt x="1320223" y="476"/>
                </a:lnTo>
                <a:cubicBezTo>
                  <a:pt x="960844" y="274320"/>
                  <a:pt x="656330" y="599123"/>
                  <a:pt x="423158" y="989743"/>
                </a:cubicBezTo>
                <a:cubicBezTo>
                  <a:pt x="215608" y="1337596"/>
                  <a:pt x="80258" y="1711357"/>
                  <a:pt x="25585" y="2113693"/>
                </a:cubicBezTo>
                <a:cubicBezTo>
                  <a:pt x="-2705" y="2316480"/>
                  <a:pt x="-2228" y="2521077"/>
                  <a:pt x="2344" y="2725865"/>
                </a:cubicBezTo>
                <a:cubicBezTo>
                  <a:pt x="14155" y="3261932"/>
                  <a:pt x="170650" y="3754565"/>
                  <a:pt x="447256" y="4210717"/>
                </a:cubicBezTo>
                <a:cubicBezTo>
                  <a:pt x="629851" y="4511612"/>
                  <a:pt x="866356" y="4767167"/>
                  <a:pt x="1138962" y="4988910"/>
                </a:cubicBezTo>
                <a:cubicBezTo>
                  <a:pt x="1207161" y="5044345"/>
                  <a:pt x="1277008" y="5096990"/>
                  <a:pt x="1348512" y="5146834"/>
                </a:cubicBezTo>
                <a:lnTo>
                  <a:pt x="1422712" y="5146834"/>
                </a:lnTo>
                <a:cubicBezTo>
                  <a:pt x="1043426" y="4892802"/>
                  <a:pt x="724720" y="4577334"/>
                  <a:pt x="480594" y="4187952"/>
                </a:cubicBezTo>
                <a:cubicBezTo>
                  <a:pt x="452019" y="4141851"/>
                  <a:pt x="423444" y="4095179"/>
                  <a:pt x="398679" y="4046125"/>
                </a:cubicBezTo>
                <a:cubicBezTo>
                  <a:pt x="407442" y="4043267"/>
                  <a:pt x="409156" y="4048982"/>
                  <a:pt x="411823" y="4053078"/>
                </a:cubicBezTo>
                <a:cubicBezTo>
                  <a:pt x="683572" y="4484656"/>
                  <a:pt x="1033139" y="4842701"/>
                  <a:pt x="1439380" y="5147405"/>
                </a:cubicBezTo>
                <a:lnTo>
                  <a:pt x="5710010" y="5150263"/>
                </a:lnTo>
                <a:cubicBezTo>
                  <a:pt x="5810594" y="5075482"/>
                  <a:pt x="5907272" y="4995587"/>
                  <a:pt x="5999665" y="4910900"/>
                </a:cubicBezTo>
                <a:cubicBezTo>
                  <a:pt x="6418765" y="4526661"/>
                  <a:pt x="6746901" y="4078129"/>
                  <a:pt x="6954165" y="3545777"/>
                </a:cubicBezTo>
                <a:cubicBezTo>
                  <a:pt x="7048234" y="3306175"/>
                  <a:pt x="7109956" y="3055115"/>
                  <a:pt x="7137712" y="2799207"/>
                </a:cubicBezTo>
                <a:cubicBezTo>
                  <a:pt x="7139236" y="2784920"/>
                  <a:pt x="7141046" y="2770632"/>
                  <a:pt x="7142951" y="2754535"/>
                </a:cubicBezTo>
                <a:cubicBezTo>
                  <a:pt x="7151714" y="2760440"/>
                  <a:pt x="7149237" y="2768441"/>
                  <a:pt x="7149428" y="2774823"/>
                </a:cubicBezTo>
                <a:cubicBezTo>
                  <a:pt x="7156743" y="3007967"/>
                  <a:pt x="7128777" y="3240881"/>
                  <a:pt x="7066465" y="3465672"/>
                </a:cubicBezTo>
                <a:cubicBezTo>
                  <a:pt x="6952165" y="3878580"/>
                  <a:pt x="6737948" y="4235863"/>
                  <a:pt x="6452578" y="4552760"/>
                </a:cubicBezTo>
                <a:cubicBezTo>
                  <a:pt x="6244553" y="4783836"/>
                  <a:pt x="6008809" y="4980242"/>
                  <a:pt x="5752110" y="5150263"/>
                </a:cubicBezTo>
                <a:lnTo>
                  <a:pt x="5827643" y="5150263"/>
                </a:lnTo>
                <a:cubicBezTo>
                  <a:pt x="6136539" y="4938904"/>
                  <a:pt x="6412192" y="4689348"/>
                  <a:pt x="6642793" y="4389406"/>
                </a:cubicBezTo>
                <a:cubicBezTo>
                  <a:pt x="6851295" y="4118324"/>
                  <a:pt x="7009125" y="3820859"/>
                  <a:pt x="7102469" y="3490817"/>
                </a:cubicBezTo>
                <a:cubicBezTo>
                  <a:pt x="7148646" y="3327473"/>
                  <a:pt x="7177069" y="3159624"/>
                  <a:pt x="7187242" y="2990183"/>
                </a:cubicBezTo>
                <a:cubicBezTo>
                  <a:pt x="7187623" y="2984087"/>
                  <a:pt x="7182384" y="2642330"/>
                  <a:pt x="7178288" y="2604802"/>
                </a:cubicBezTo>
                <a:close/>
                <a:moveTo>
                  <a:pt x="6342565" y="441389"/>
                </a:moveTo>
                <a:cubicBezTo>
                  <a:pt x="6829797" y="986533"/>
                  <a:pt x="7091135" y="1624422"/>
                  <a:pt x="7126567" y="2355056"/>
                </a:cubicBezTo>
                <a:cubicBezTo>
                  <a:pt x="7001123" y="1661827"/>
                  <a:pt x="6756426" y="1017365"/>
                  <a:pt x="6342565" y="441389"/>
                </a:cubicBez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Arial"/>
              <a:ea typeface="+mn-ea"/>
              <a:cs typeface="+mn-cs"/>
            </a:endParaRPr>
          </a:p>
        </p:txBody>
      </p:sp>
      <p:sp>
        <p:nvSpPr>
          <p:cNvPr id="4" name="Title 3">
            <a:extLst>
              <a:ext uri="{FF2B5EF4-FFF2-40B4-BE49-F238E27FC236}">
                <a16:creationId xmlns:a16="http://schemas.microsoft.com/office/drawing/2014/main" id="{B009CD84-DA40-4CAA-8A89-DD6DAA862368}"/>
              </a:ext>
            </a:extLst>
          </p:cNvPr>
          <p:cNvSpPr>
            <a:spLocks noGrp="1"/>
          </p:cNvSpPr>
          <p:nvPr>
            <p:ph type="title"/>
          </p:nvPr>
        </p:nvSpPr>
        <p:spPr>
          <a:xfrm>
            <a:off x="2819400" y="1485900"/>
            <a:ext cx="13502422" cy="4348463"/>
          </a:xfrm>
        </p:spPr>
        <p:txBody>
          <a:bodyPr vert="horz" lIns="91440" tIns="45720" rIns="91440" bIns="45720" rtlCol="0" anchor="b">
            <a:normAutofit/>
          </a:bodyPr>
          <a:lstStyle/>
          <a:p>
            <a:pPr indent="457200">
              <a:lnSpc>
                <a:spcPct val="90000"/>
              </a:lnSpc>
              <a:spcAft>
                <a:spcPts val="600"/>
              </a:spcAft>
            </a:pPr>
            <a:r>
              <a:rPr lang="en-GB" sz="6000" b="1" kern="1200" noProof="0" dirty="0">
                <a:solidFill>
                  <a:srgbClr val="FFFFFF"/>
                </a:solidFill>
                <a:latin typeface="+mj-lt"/>
                <a:ea typeface="+mj-ea"/>
                <a:cs typeface="+mj-cs"/>
              </a:rPr>
              <a:t>Chapter 2.3 </a:t>
            </a:r>
            <a:br>
              <a:rPr lang="en-GB" sz="6000" b="1" kern="1200" noProof="0" dirty="0">
                <a:solidFill>
                  <a:srgbClr val="FFFFFF"/>
                </a:solidFill>
                <a:latin typeface="+mj-lt"/>
                <a:ea typeface="+mj-ea"/>
                <a:cs typeface="+mj-cs"/>
              </a:rPr>
            </a:br>
            <a:r>
              <a:rPr lang="en-GB" sz="6000" b="1" noProof="0" dirty="0">
                <a:solidFill>
                  <a:srgbClr val="FFFFFF"/>
                </a:solidFill>
              </a:rPr>
              <a:t>Aluminium production</a:t>
            </a:r>
            <a:endParaRPr lang="en-GB" sz="6000" b="1" kern="1200" noProof="0" dirty="0">
              <a:solidFill>
                <a:srgbClr val="FFFFFF"/>
              </a:solidFill>
              <a:latin typeface="+mj-lt"/>
              <a:ea typeface="+mj-ea"/>
              <a:cs typeface="+mj-cs"/>
            </a:endParaRPr>
          </a:p>
        </p:txBody>
      </p:sp>
      <p:sp>
        <p:nvSpPr>
          <p:cNvPr id="62" name="sketch line">
            <a:extLst>
              <a:ext uri="{FF2B5EF4-FFF2-40B4-BE49-F238E27FC236}">
                <a16:creationId xmlns:a16="http://schemas.microsoft.com/office/drawing/2014/main" id="{41F77738-2AF0-4750-A0C7-F97C2C17590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961309" y="6260247"/>
            <a:ext cx="6365383" cy="27432"/>
          </a:xfrm>
          <a:custGeom>
            <a:avLst/>
            <a:gdLst>
              <a:gd name="connsiteX0" fmla="*/ 0 w 6365383"/>
              <a:gd name="connsiteY0" fmla="*/ 0 h 27432"/>
              <a:gd name="connsiteX1" fmla="*/ 636538 w 6365383"/>
              <a:gd name="connsiteY1" fmla="*/ 0 h 27432"/>
              <a:gd name="connsiteX2" fmla="*/ 1273077 w 6365383"/>
              <a:gd name="connsiteY2" fmla="*/ 0 h 27432"/>
              <a:gd name="connsiteX3" fmla="*/ 1909615 w 6365383"/>
              <a:gd name="connsiteY3" fmla="*/ 0 h 27432"/>
              <a:gd name="connsiteX4" fmla="*/ 2673461 w 6365383"/>
              <a:gd name="connsiteY4" fmla="*/ 0 h 27432"/>
              <a:gd name="connsiteX5" fmla="*/ 3373653 w 6365383"/>
              <a:gd name="connsiteY5" fmla="*/ 0 h 27432"/>
              <a:gd name="connsiteX6" fmla="*/ 3819230 w 6365383"/>
              <a:gd name="connsiteY6" fmla="*/ 0 h 27432"/>
              <a:gd name="connsiteX7" fmla="*/ 4392114 w 6365383"/>
              <a:gd name="connsiteY7" fmla="*/ 0 h 27432"/>
              <a:gd name="connsiteX8" fmla="*/ 5155960 w 6365383"/>
              <a:gd name="connsiteY8" fmla="*/ 0 h 27432"/>
              <a:gd name="connsiteX9" fmla="*/ 5792499 w 6365383"/>
              <a:gd name="connsiteY9" fmla="*/ 0 h 27432"/>
              <a:gd name="connsiteX10" fmla="*/ 6365383 w 6365383"/>
              <a:gd name="connsiteY10" fmla="*/ 0 h 27432"/>
              <a:gd name="connsiteX11" fmla="*/ 6365383 w 6365383"/>
              <a:gd name="connsiteY11" fmla="*/ 27432 h 27432"/>
              <a:gd name="connsiteX12" fmla="*/ 5856152 w 6365383"/>
              <a:gd name="connsiteY12" fmla="*/ 27432 h 27432"/>
              <a:gd name="connsiteX13" fmla="*/ 5092306 w 6365383"/>
              <a:gd name="connsiteY13" fmla="*/ 27432 h 27432"/>
              <a:gd name="connsiteX14" fmla="*/ 4583076 w 6365383"/>
              <a:gd name="connsiteY14" fmla="*/ 27432 h 27432"/>
              <a:gd name="connsiteX15" fmla="*/ 4137499 w 6365383"/>
              <a:gd name="connsiteY15" fmla="*/ 27432 h 27432"/>
              <a:gd name="connsiteX16" fmla="*/ 3691922 w 6365383"/>
              <a:gd name="connsiteY16" fmla="*/ 27432 h 27432"/>
              <a:gd name="connsiteX17" fmla="*/ 2991730 w 6365383"/>
              <a:gd name="connsiteY17" fmla="*/ 27432 h 27432"/>
              <a:gd name="connsiteX18" fmla="*/ 2546153 w 6365383"/>
              <a:gd name="connsiteY18" fmla="*/ 27432 h 27432"/>
              <a:gd name="connsiteX19" fmla="*/ 1909615 w 6365383"/>
              <a:gd name="connsiteY19" fmla="*/ 27432 h 27432"/>
              <a:gd name="connsiteX20" fmla="*/ 1400384 w 6365383"/>
              <a:gd name="connsiteY20" fmla="*/ 27432 h 27432"/>
              <a:gd name="connsiteX21" fmla="*/ 763846 w 6365383"/>
              <a:gd name="connsiteY21" fmla="*/ 27432 h 27432"/>
              <a:gd name="connsiteX22" fmla="*/ 0 w 6365383"/>
              <a:gd name="connsiteY22" fmla="*/ 27432 h 27432"/>
              <a:gd name="connsiteX23" fmla="*/ 0 w 6365383"/>
              <a:gd name="connsiteY23" fmla="*/ 0 h 27432"/>
              <a:gd name="connsiteX0" fmla="*/ 0 w 6365383"/>
              <a:gd name="connsiteY0" fmla="*/ 0 h 27432"/>
              <a:gd name="connsiteX1" fmla="*/ 572884 w 6365383"/>
              <a:gd name="connsiteY1" fmla="*/ 0 h 27432"/>
              <a:gd name="connsiteX2" fmla="*/ 1018461 w 6365383"/>
              <a:gd name="connsiteY2" fmla="*/ 0 h 27432"/>
              <a:gd name="connsiteX3" fmla="*/ 1782307 w 6365383"/>
              <a:gd name="connsiteY3" fmla="*/ 0 h 27432"/>
              <a:gd name="connsiteX4" fmla="*/ 2355192 w 6365383"/>
              <a:gd name="connsiteY4" fmla="*/ 0 h 27432"/>
              <a:gd name="connsiteX5" fmla="*/ 2928076 w 6365383"/>
              <a:gd name="connsiteY5" fmla="*/ 0 h 27432"/>
              <a:gd name="connsiteX6" fmla="*/ 3691922 w 6365383"/>
              <a:gd name="connsiteY6" fmla="*/ 0 h 27432"/>
              <a:gd name="connsiteX7" fmla="*/ 4201153 w 6365383"/>
              <a:gd name="connsiteY7" fmla="*/ 0 h 27432"/>
              <a:gd name="connsiteX8" fmla="*/ 4964999 w 6365383"/>
              <a:gd name="connsiteY8" fmla="*/ 0 h 27432"/>
              <a:gd name="connsiteX9" fmla="*/ 5728845 w 6365383"/>
              <a:gd name="connsiteY9" fmla="*/ 0 h 27432"/>
              <a:gd name="connsiteX10" fmla="*/ 6365383 w 6365383"/>
              <a:gd name="connsiteY10" fmla="*/ 0 h 27432"/>
              <a:gd name="connsiteX11" fmla="*/ 6365383 w 6365383"/>
              <a:gd name="connsiteY11" fmla="*/ 27432 h 27432"/>
              <a:gd name="connsiteX12" fmla="*/ 5665191 w 6365383"/>
              <a:gd name="connsiteY12" fmla="*/ 27432 h 27432"/>
              <a:gd name="connsiteX13" fmla="*/ 4901345 w 6365383"/>
              <a:gd name="connsiteY13" fmla="*/ 27432 h 27432"/>
              <a:gd name="connsiteX14" fmla="*/ 4137499 w 6365383"/>
              <a:gd name="connsiteY14" fmla="*/ 27432 h 27432"/>
              <a:gd name="connsiteX15" fmla="*/ 3628268 w 6365383"/>
              <a:gd name="connsiteY15" fmla="*/ 27432 h 27432"/>
              <a:gd name="connsiteX16" fmla="*/ 2991730 w 6365383"/>
              <a:gd name="connsiteY16" fmla="*/ 27432 h 27432"/>
              <a:gd name="connsiteX17" fmla="*/ 2227884 w 6365383"/>
              <a:gd name="connsiteY17" fmla="*/ 27432 h 27432"/>
              <a:gd name="connsiteX18" fmla="*/ 1591346 w 6365383"/>
              <a:gd name="connsiteY18" fmla="*/ 27432 h 27432"/>
              <a:gd name="connsiteX19" fmla="*/ 1145769 w 6365383"/>
              <a:gd name="connsiteY19" fmla="*/ 27432 h 27432"/>
              <a:gd name="connsiteX20" fmla="*/ 636538 w 6365383"/>
              <a:gd name="connsiteY20" fmla="*/ 27432 h 27432"/>
              <a:gd name="connsiteX21" fmla="*/ 0 w 6365383"/>
              <a:gd name="connsiteY21" fmla="*/ 27432 h 27432"/>
              <a:gd name="connsiteX22" fmla="*/ 0 w 6365383"/>
              <a:gd name="connsiteY22"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365383" h="27432" fill="none" extrusionOk="0">
                <a:moveTo>
                  <a:pt x="0" y="0"/>
                </a:moveTo>
                <a:cubicBezTo>
                  <a:pt x="311910" y="25756"/>
                  <a:pt x="328854" y="-22977"/>
                  <a:pt x="636538" y="0"/>
                </a:cubicBezTo>
                <a:cubicBezTo>
                  <a:pt x="929901" y="50670"/>
                  <a:pt x="1067253" y="-1993"/>
                  <a:pt x="1273077" y="0"/>
                </a:cubicBezTo>
                <a:cubicBezTo>
                  <a:pt x="1507620" y="-24857"/>
                  <a:pt x="1747799" y="-10413"/>
                  <a:pt x="1909615" y="0"/>
                </a:cubicBezTo>
                <a:cubicBezTo>
                  <a:pt x="2041097" y="-21585"/>
                  <a:pt x="2422417" y="-28022"/>
                  <a:pt x="2673461" y="0"/>
                </a:cubicBezTo>
                <a:cubicBezTo>
                  <a:pt x="2948394" y="-4560"/>
                  <a:pt x="3134893" y="36981"/>
                  <a:pt x="3373653" y="0"/>
                </a:cubicBezTo>
                <a:cubicBezTo>
                  <a:pt x="3634761" y="-15887"/>
                  <a:pt x="3700843" y="23167"/>
                  <a:pt x="3819230" y="0"/>
                </a:cubicBezTo>
                <a:cubicBezTo>
                  <a:pt x="3977295" y="2943"/>
                  <a:pt x="4128910" y="-53150"/>
                  <a:pt x="4392114" y="0"/>
                </a:cubicBezTo>
                <a:cubicBezTo>
                  <a:pt x="4672763" y="9214"/>
                  <a:pt x="4999833" y="38501"/>
                  <a:pt x="5155960" y="0"/>
                </a:cubicBezTo>
                <a:cubicBezTo>
                  <a:pt x="5343367" y="-6557"/>
                  <a:pt x="5597661" y="6622"/>
                  <a:pt x="5792499" y="0"/>
                </a:cubicBezTo>
                <a:cubicBezTo>
                  <a:pt x="6020774" y="43813"/>
                  <a:pt x="6148830" y="-13954"/>
                  <a:pt x="6365383" y="0"/>
                </a:cubicBezTo>
                <a:cubicBezTo>
                  <a:pt x="6364517" y="8091"/>
                  <a:pt x="6365728" y="20268"/>
                  <a:pt x="6365383" y="27432"/>
                </a:cubicBezTo>
                <a:cubicBezTo>
                  <a:pt x="6144545" y="15144"/>
                  <a:pt x="6006673" y="-7419"/>
                  <a:pt x="5856152" y="27432"/>
                </a:cubicBezTo>
                <a:cubicBezTo>
                  <a:pt x="5638446" y="81548"/>
                  <a:pt x="5413846" y="52067"/>
                  <a:pt x="5092306" y="27432"/>
                </a:cubicBezTo>
                <a:cubicBezTo>
                  <a:pt x="4768499" y="43350"/>
                  <a:pt x="4708569" y="3163"/>
                  <a:pt x="4583076" y="27432"/>
                </a:cubicBezTo>
                <a:cubicBezTo>
                  <a:pt x="4475482" y="66269"/>
                  <a:pt x="4242792" y="42702"/>
                  <a:pt x="4137499" y="27432"/>
                </a:cubicBezTo>
                <a:cubicBezTo>
                  <a:pt x="4003968" y="24039"/>
                  <a:pt x="3882646" y="-3026"/>
                  <a:pt x="3691922" y="27432"/>
                </a:cubicBezTo>
                <a:cubicBezTo>
                  <a:pt x="3501639" y="8096"/>
                  <a:pt x="3270842" y="-14942"/>
                  <a:pt x="2991730" y="27432"/>
                </a:cubicBezTo>
                <a:cubicBezTo>
                  <a:pt x="2712135" y="55419"/>
                  <a:pt x="2758697" y="31955"/>
                  <a:pt x="2546153" y="27432"/>
                </a:cubicBezTo>
                <a:cubicBezTo>
                  <a:pt x="2362220" y="-818"/>
                  <a:pt x="2130397" y="57099"/>
                  <a:pt x="1909615" y="27432"/>
                </a:cubicBezTo>
                <a:cubicBezTo>
                  <a:pt x="1714835" y="-15389"/>
                  <a:pt x="1636770" y="40318"/>
                  <a:pt x="1400384" y="27432"/>
                </a:cubicBezTo>
                <a:cubicBezTo>
                  <a:pt x="1161504" y="29515"/>
                  <a:pt x="1060819" y="7773"/>
                  <a:pt x="763846" y="27432"/>
                </a:cubicBezTo>
                <a:cubicBezTo>
                  <a:pt x="465096" y="43671"/>
                  <a:pt x="165309" y="15831"/>
                  <a:pt x="0" y="27432"/>
                </a:cubicBezTo>
                <a:cubicBezTo>
                  <a:pt x="-2013" y="18874"/>
                  <a:pt x="-525" y="8614"/>
                  <a:pt x="0" y="0"/>
                </a:cubicBezTo>
                <a:close/>
              </a:path>
              <a:path w="6365383" h="27432" stroke="0" extrusionOk="0">
                <a:moveTo>
                  <a:pt x="0" y="0"/>
                </a:moveTo>
                <a:cubicBezTo>
                  <a:pt x="84020" y="9133"/>
                  <a:pt x="339524" y="24523"/>
                  <a:pt x="572884" y="0"/>
                </a:cubicBezTo>
                <a:cubicBezTo>
                  <a:pt x="803790" y="-14011"/>
                  <a:pt x="837492" y="-10007"/>
                  <a:pt x="1018461" y="0"/>
                </a:cubicBezTo>
                <a:cubicBezTo>
                  <a:pt x="1188530" y="8943"/>
                  <a:pt x="1571061" y="17361"/>
                  <a:pt x="1782307" y="0"/>
                </a:cubicBezTo>
                <a:cubicBezTo>
                  <a:pt x="1967448" y="-16010"/>
                  <a:pt x="2153334" y="-25629"/>
                  <a:pt x="2355192" y="0"/>
                </a:cubicBezTo>
                <a:cubicBezTo>
                  <a:pt x="2541804" y="20205"/>
                  <a:pt x="2779440" y="53811"/>
                  <a:pt x="2928076" y="0"/>
                </a:cubicBezTo>
                <a:cubicBezTo>
                  <a:pt x="3024078" y="-16903"/>
                  <a:pt x="3337092" y="43483"/>
                  <a:pt x="3691922" y="0"/>
                </a:cubicBezTo>
                <a:cubicBezTo>
                  <a:pt x="4060895" y="-1064"/>
                  <a:pt x="4072166" y="-17195"/>
                  <a:pt x="4201153" y="0"/>
                </a:cubicBezTo>
                <a:cubicBezTo>
                  <a:pt x="4349835" y="-22516"/>
                  <a:pt x="4800106" y="-64797"/>
                  <a:pt x="4964999" y="0"/>
                </a:cubicBezTo>
                <a:cubicBezTo>
                  <a:pt x="5186764" y="15779"/>
                  <a:pt x="5564421" y="-10544"/>
                  <a:pt x="5728845" y="0"/>
                </a:cubicBezTo>
                <a:cubicBezTo>
                  <a:pt x="5915953" y="5493"/>
                  <a:pt x="6171384" y="-48026"/>
                  <a:pt x="6365383" y="0"/>
                </a:cubicBezTo>
                <a:cubicBezTo>
                  <a:pt x="6366596" y="6455"/>
                  <a:pt x="6365588" y="14391"/>
                  <a:pt x="6365383" y="27432"/>
                </a:cubicBezTo>
                <a:cubicBezTo>
                  <a:pt x="6172514" y="805"/>
                  <a:pt x="6006523" y="20734"/>
                  <a:pt x="5665191" y="27432"/>
                </a:cubicBezTo>
                <a:cubicBezTo>
                  <a:pt x="5322179" y="66687"/>
                  <a:pt x="5219376" y="21111"/>
                  <a:pt x="4901345" y="27432"/>
                </a:cubicBezTo>
                <a:cubicBezTo>
                  <a:pt x="4621310" y="-13654"/>
                  <a:pt x="4455192" y="54857"/>
                  <a:pt x="4137499" y="27432"/>
                </a:cubicBezTo>
                <a:cubicBezTo>
                  <a:pt x="3853317" y="12285"/>
                  <a:pt x="3862894" y="26263"/>
                  <a:pt x="3628268" y="27432"/>
                </a:cubicBezTo>
                <a:cubicBezTo>
                  <a:pt x="3418779" y="32610"/>
                  <a:pt x="3174456" y="83656"/>
                  <a:pt x="2991730" y="27432"/>
                </a:cubicBezTo>
                <a:cubicBezTo>
                  <a:pt x="2801278" y="6667"/>
                  <a:pt x="2497351" y="22891"/>
                  <a:pt x="2227884" y="27432"/>
                </a:cubicBezTo>
                <a:cubicBezTo>
                  <a:pt x="1986101" y="16297"/>
                  <a:pt x="1767219" y="-7535"/>
                  <a:pt x="1591346" y="27432"/>
                </a:cubicBezTo>
                <a:cubicBezTo>
                  <a:pt x="1447183" y="73731"/>
                  <a:pt x="1315973" y="39477"/>
                  <a:pt x="1145769" y="27432"/>
                </a:cubicBezTo>
                <a:cubicBezTo>
                  <a:pt x="990245" y="8882"/>
                  <a:pt x="810845" y="16910"/>
                  <a:pt x="636538" y="27432"/>
                </a:cubicBezTo>
                <a:cubicBezTo>
                  <a:pt x="482916" y="17795"/>
                  <a:pt x="183027" y="-17710"/>
                  <a:pt x="0" y="27432"/>
                </a:cubicBezTo>
                <a:cubicBezTo>
                  <a:pt x="491" y="19542"/>
                  <a:pt x="-1038" y="8534"/>
                  <a:pt x="0" y="0"/>
                </a:cubicBezTo>
                <a:close/>
              </a:path>
              <a:path w="6365383" h="27432" fill="none" stroke="0" extrusionOk="0">
                <a:moveTo>
                  <a:pt x="0" y="0"/>
                </a:moveTo>
                <a:cubicBezTo>
                  <a:pt x="296223" y="15991"/>
                  <a:pt x="333462" y="-23795"/>
                  <a:pt x="636538" y="0"/>
                </a:cubicBezTo>
                <a:cubicBezTo>
                  <a:pt x="970197" y="30961"/>
                  <a:pt x="1039864" y="3183"/>
                  <a:pt x="1273077" y="0"/>
                </a:cubicBezTo>
                <a:cubicBezTo>
                  <a:pt x="1449809" y="24819"/>
                  <a:pt x="1735152" y="23060"/>
                  <a:pt x="1909615" y="0"/>
                </a:cubicBezTo>
                <a:cubicBezTo>
                  <a:pt x="2016351" y="-41665"/>
                  <a:pt x="2415001" y="34773"/>
                  <a:pt x="2673461" y="0"/>
                </a:cubicBezTo>
                <a:cubicBezTo>
                  <a:pt x="2996983" y="-13411"/>
                  <a:pt x="3130707" y="3741"/>
                  <a:pt x="3373653" y="0"/>
                </a:cubicBezTo>
                <a:cubicBezTo>
                  <a:pt x="3601951" y="-16140"/>
                  <a:pt x="3689909" y="23222"/>
                  <a:pt x="3819230" y="0"/>
                </a:cubicBezTo>
                <a:cubicBezTo>
                  <a:pt x="3931872" y="-29406"/>
                  <a:pt x="4119438" y="24094"/>
                  <a:pt x="4392114" y="0"/>
                </a:cubicBezTo>
                <a:cubicBezTo>
                  <a:pt x="4665359" y="21557"/>
                  <a:pt x="4978709" y="13267"/>
                  <a:pt x="5155960" y="0"/>
                </a:cubicBezTo>
                <a:cubicBezTo>
                  <a:pt x="5299518" y="-18386"/>
                  <a:pt x="5605020" y="-6762"/>
                  <a:pt x="5792499" y="0"/>
                </a:cubicBezTo>
                <a:cubicBezTo>
                  <a:pt x="6013281" y="43398"/>
                  <a:pt x="6167567" y="36727"/>
                  <a:pt x="6365383" y="0"/>
                </a:cubicBezTo>
                <a:cubicBezTo>
                  <a:pt x="6365697" y="8368"/>
                  <a:pt x="6365332" y="21050"/>
                  <a:pt x="6365383" y="27432"/>
                </a:cubicBezTo>
                <a:cubicBezTo>
                  <a:pt x="6154893" y="8454"/>
                  <a:pt x="6014206" y="-8372"/>
                  <a:pt x="5856152" y="27432"/>
                </a:cubicBezTo>
                <a:cubicBezTo>
                  <a:pt x="5659455" y="59503"/>
                  <a:pt x="5350806" y="-35991"/>
                  <a:pt x="5092306" y="27432"/>
                </a:cubicBezTo>
                <a:cubicBezTo>
                  <a:pt x="4756309" y="48260"/>
                  <a:pt x="4699746" y="-4780"/>
                  <a:pt x="4583076" y="27432"/>
                </a:cubicBezTo>
                <a:cubicBezTo>
                  <a:pt x="4462137" y="30142"/>
                  <a:pt x="4226168" y="50236"/>
                  <a:pt x="4137499" y="27432"/>
                </a:cubicBezTo>
                <a:cubicBezTo>
                  <a:pt x="4018570" y="42181"/>
                  <a:pt x="3887179" y="34623"/>
                  <a:pt x="3691922" y="27432"/>
                </a:cubicBezTo>
                <a:cubicBezTo>
                  <a:pt x="3499755" y="32935"/>
                  <a:pt x="3281056" y="-9158"/>
                  <a:pt x="2991730" y="27432"/>
                </a:cubicBezTo>
                <a:cubicBezTo>
                  <a:pt x="2716073" y="57462"/>
                  <a:pt x="2755481" y="34494"/>
                  <a:pt x="2546153" y="27432"/>
                </a:cubicBezTo>
                <a:cubicBezTo>
                  <a:pt x="2356479" y="62622"/>
                  <a:pt x="2079190" y="73729"/>
                  <a:pt x="1909615" y="27432"/>
                </a:cubicBezTo>
                <a:cubicBezTo>
                  <a:pt x="1715819" y="-26444"/>
                  <a:pt x="1631368" y="48131"/>
                  <a:pt x="1400384" y="27432"/>
                </a:cubicBezTo>
                <a:cubicBezTo>
                  <a:pt x="1177327" y="16190"/>
                  <a:pt x="1065236" y="24992"/>
                  <a:pt x="763846" y="27432"/>
                </a:cubicBezTo>
                <a:cubicBezTo>
                  <a:pt x="448643" y="60691"/>
                  <a:pt x="160833" y="2330"/>
                  <a:pt x="0" y="27432"/>
                </a:cubicBezTo>
                <a:cubicBezTo>
                  <a:pt x="1559" y="18666"/>
                  <a:pt x="-585" y="7580"/>
                  <a:pt x="0" y="0"/>
                </a:cubicBezTo>
                <a:close/>
              </a:path>
            </a:pathLst>
          </a:custGeom>
          <a:solidFill>
            <a:srgbClr val="FFFFFF"/>
          </a:solidFill>
          <a:ln w="41275" cap="rnd">
            <a:solidFill>
              <a:srgbClr val="FFFFFF"/>
            </a:solidFill>
            <a:round/>
            <a:extLst>
              <a:ext uri="{C807C97D-BFC1-408E-A445-0C87EB9F89A2}">
                <ask:lineSketchStyleProps xmlns:ask="http://schemas.microsoft.com/office/drawing/2018/sketchyshapes" sd="1219033472">
                  <a:custGeom>
                    <a:avLst/>
                    <a:gdLst>
                      <a:gd name="connsiteX0" fmla="*/ 0 w 6365383"/>
                      <a:gd name="connsiteY0" fmla="*/ 0 h 27432"/>
                      <a:gd name="connsiteX1" fmla="*/ 636538 w 6365383"/>
                      <a:gd name="connsiteY1" fmla="*/ 0 h 27432"/>
                      <a:gd name="connsiteX2" fmla="*/ 1273077 w 6365383"/>
                      <a:gd name="connsiteY2" fmla="*/ 0 h 27432"/>
                      <a:gd name="connsiteX3" fmla="*/ 1909615 w 6365383"/>
                      <a:gd name="connsiteY3" fmla="*/ 0 h 27432"/>
                      <a:gd name="connsiteX4" fmla="*/ 2673461 w 6365383"/>
                      <a:gd name="connsiteY4" fmla="*/ 0 h 27432"/>
                      <a:gd name="connsiteX5" fmla="*/ 3373653 w 6365383"/>
                      <a:gd name="connsiteY5" fmla="*/ 0 h 27432"/>
                      <a:gd name="connsiteX6" fmla="*/ 3819230 w 6365383"/>
                      <a:gd name="connsiteY6" fmla="*/ 0 h 27432"/>
                      <a:gd name="connsiteX7" fmla="*/ 4392114 w 6365383"/>
                      <a:gd name="connsiteY7" fmla="*/ 0 h 27432"/>
                      <a:gd name="connsiteX8" fmla="*/ 5155960 w 6365383"/>
                      <a:gd name="connsiteY8" fmla="*/ 0 h 27432"/>
                      <a:gd name="connsiteX9" fmla="*/ 5792499 w 6365383"/>
                      <a:gd name="connsiteY9" fmla="*/ 0 h 27432"/>
                      <a:gd name="connsiteX10" fmla="*/ 6365383 w 6365383"/>
                      <a:gd name="connsiteY10" fmla="*/ 0 h 27432"/>
                      <a:gd name="connsiteX11" fmla="*/ 6365383 w 6365383"/>
                      <a:gd name="connsiteY11" fmla="*/ 27432 h 27432"/>
                      <a:gd name="connsiteX12" fmla="*/ 5856152 w 6365383"/>
                      <a:gd name="connsiteY12" fmla="*/ 27432 h 27432"/>
                      <a:gd name="connsiteX13" fmla="*/ 5092306 w 6365383"/>
                      <a:gd name="connsiteY13" fmla="*/ 27432 h 27432"/>
                      <a:gd name="connsiteX14" fmla="*/ 4583076 w 6365383"/>
                      <a:gd name="connsiteY14" fmla="*/ 27432 h 27432"/>
                      <a:gd name="connsiteX15" fmla="*/ 4137499 w 6365383"/>
                      <a:gd name="connsiteY15" fmla="*/ 27432 h 27432"/>
                      <a:gd name="connsiteX16" fmla="*/ 3691922 w 6365383"/>
                      <a:gd name="connsiteY16" fmla="*/ 27432 h 27432"/>
                      <a:gd name="connsiteX17" fmla="*/ 2991730 w 6365383"/>
                      <a:gd name="connsiteY17" fmla="*/ 27432 h 27432"/>
                      <a:gd name="connsiteX18" fmla="*/ 2546153 w 6365383"/>
                      <a:gd name="connsiteY18" fmla="*/ 27432 h 27432"/>
                      <a:gd name="connsiteX19" fmla="*/ 1909615 w 6365383"/>
                      <a:gd name="connsiteY19" fmla="*/ 27432 h 27432"/>
                      <a:gd name="connsiteX20" fmla="*/ 1400384 w 6365383"/>
                      <a:gd name="connsiteY20" fmla="*/ 27432 h 27432"/>
                      <a:gd name="connsiteX21" fmla="*/ 763846 w 6365383"/>
                      <a:gd name="connsiteY21" fmla="*/ 27432 h 27432"/>
                      <a:gd name="connsiteX22" fmla="*/ 0 w 6365383"/>
                      <a:gd name="connsiteY22" fmla="*/ 27432 h 27432"/>
                      <a:gd name="connsiteX23" fmla="*/ 0 w 6365383"/>
                      <a:gd name="connsiteY23"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365383" h="27432" fill="none" extrusionOk="0">
                        <a:moveTo>
                          <a:pt x="0" y="0"/>
                        </a:moveTo>
                        <a:cubicBezTo>
                          <a:pt x="305169" y="21509"/>
                          <a:pt x="334704" y="-24261"/>
                          <a:pt x="636538" y="0"/>
                        </a:cubicBezTo>
                        <a:cubicBezTo>
                          <a:pt x="938372" y="24261"/>
                          <a:pt x="1068606" y="2269"/>
                          <a:pt x="1273077" y="0"/>
                        </a:cubicBezTo>
                        <a:cubicBezTo>
                          <a:pt x="1477548" y="-2269"/>
                          <a:pt x="1738189" y="6272"/>
                          <a:pt x="1909615" y="0"/>
                        </a:cubicBezTo>
                        <a:cubicBezTo>
                          <a:pt x="2081041" y="-6272"/>
                          <a:pt x="2377015" y="16623"/>
                          <a:pt x="2673461" y="0"/>
                        </a:cubicBezTo>
                        <a:cubicBezTo>
                          <a:pt x="2969907" y="-16623"/>
                          <a:pt x="3126114" y="13194"/>
                          <a:pt x="3373653" y="0"/>
                        </a:cubicBezTo>
                        <a:cubicBezTo>
                          <a:pt x="3621192" y="-13194"/>
                          <a:pt x="3704499" y="9486"/>
                          <a:pt x="3819230" y="0"/>
                        </a:cubicBezTo>
                        <a:cubicBezTo>
                          <a:pt x="3933961" y="-9486"/>
                          <a:pt x="4142691" y="-8221"/>
                          <a:pt x="4392114" y="0"/>
                        </a:cubicBezTo>
                        <a:cubicBezTo>
                          <a:pt x="4641537" y="8221"/>
                          <a:pt x="4974506" y="12257"/>
                          <a:pt x="5155960" y="0"/>
                        </a:cubicBezTo>
                        <a:cubicBezTo>
                          <a:pt x="5337414" y="-12257"/>
                          <a:pt x="5585731" y="-22537"/>
                          <a:pt x="5792499" y="0"/>
                        </a:cubicBezTo>
                        <a:cubicBezTo>
                          <a:pt x="5999267" y="22537"/>
                          <a:pt x="6164726" y="7303"/>
                          <a:pt x="6365383" y="0"/>
                        </a:cubicBezTo>
                        <a:cubicBezTo>
                          <a:pt x="6365125" y="7487"/>
                          <a:pt x="6364462" y="19984"/>
                          <a:pt x="6365383" y="27432"/>
                        </a:cubicBezTo>
                        <a:cubicBezTo>
                          <a:pt x="6132222" y="28304"/>
                          <a:pt x="6011986" y="2071"/>
                          <a:pt x="5856152" y="27432"/>
                        </a:cubicBezTo>
                        <a:cubicBezTo>
                          <a:pt x="5700318" y="52793"/>
                          <a:pt x="5410732" y="5357"/>
                          <a:pt x="5092306" y="27432"/>
                        </a:cubicBezTo>
                        <a:cubicBezTo>
                          <a:pt x="4773880" y="49507"/>
                          <a:pt x="4705351" y="6645"/>
                          <a:pt x="4583076" y="27432"/>
                        </a:cubicBezTo>
                        <a:cubicBezTo>
                          <a:pt x="4460801" y="48220"/>
                          <a:pt x="4239915" y="42209"/>
                          <a:pt x="4137499" y="27432"/>
                        </a:cubicBezTo>
                        <a:cubicBezTo>
                          <a:pt x="4035083" y="12655"/>
                          <a:pt x="3883665" y="32012"/>
                          <a:pt x="3691922" y="27432"/>
                        </a:cubicBezTo>
                        <a:cubicBezTo>
                          <a:pt x="3500179" y="22852"/>
                          <a:pt x="3265830" y="-126"/>
                          <a:pt x="2991730" y="27432"/>
                        </a:cubicBezTo>
                        <a:cubicBezTo>
                          <a:pt x="2717630" y="54990"/>
                          <a:pt x="2757122" y="34407"/>
                          <a:pt x="2546153" y="27432"/>
                        </a:cubicBezTo>
                        <a:cubicBezTo>
                          <a:pt x="2335184" y="20457"/>
                          <a:pt x="2107331" y="58889"/>
                          <a:pt x="1909615" y="27432"/>
                        </a:cubicBezTo>
                        <a:cubicBezTo>
                          <a:pt x="1711899" y="-4025"/>
                          <a:pt x="1634641" y="48316"/>
                          <a:pt x="1400384" y="27432"/>
                        </a:cubicBezTo>
                        <a:cubicBezTo>
                          <a:pt x="1166127" y="6548"/>
                          <a:pt x="1068288" y="15776"/>
                          <a:pt x="763846" y="27432"/>
                        </a:cubicBezTo>
                        <a:cubicBezTo>
                          <a:pt x="459404" y="39088"/>
                          <a:pt x="170017" y="14515"/>
                          <a:pt x="0" y="27432"/>
                        </a:cubicBezTo>
                        <a:cubicBezTo>
                          <a:pt x="-14" y="18173"/>
                          <a:pt x="-517" y="8990"/>
                          <a:pt x="0" y="0"/>
                        </a:cubicBezTo>
                        <a:close/>
                      </a:path>
                      <a:path w="6365383" h="27432" stroke="0" extrusionOk="0">
                        <a:moveTo>
                          <a:pt x="0" y="0"/>
                        </a:moveTo>
                        <a:cubicBezTo>
                          <a:pt x="114610" y="-2215"/>
                          <a:pt x="340315" y="12554"/>
                          <a:pt x="572884" y="0"/>
                        </a:cubicBezTo>
                        <a:cubicBezTo>
                          <a:pt x="805453" y="-12554"/>
                          <a:pt x="832891" y="-10424"/>
                          <a:pt x="1018461" y="0"/>
                        </a:cubicBezTo>
                        <a:cubicBezTo>
                          <a:pt x="1204031" y="10424"/>
                          <a:pt x="1590875" y="8682"/>
                          <a:pt x="1782307" y="0"/>
                        </a:cubicBezTo>
                        <a:cubicBezTo>
                          <a:pt x="1973739" y="-8682"/>
                          <a:pt x="2150876" y="5508"/>
                          <a:pt x="2355192" y="0"/>
                        </a:cubicBezTo>
                        <a:cubicBezTo>
                          <a:pt x="2559508" y="-5508"/>
                          <a:pt x="2790194" y="26965"/>
                          <a:pt x="2928076" y="0"/>
                        </a:cubicBezTo>
                        <a:cubicBezTo>
                          <a:pt x="3065958" y="-26965"/>
                          <a:pt x="3321537" y="819"/>
                          <a:pt x="3691922" y="0"/>
                        </a:cubicBezTo>
                        <a:cubicBezTo>
                          <a:pt x="4062307" y="-819"/>
                          <a:pt x="4072238" y="-15327"/>
                          <a:pt x="4201153" y="0"/>
                        </a:cubicBezTo>
                        <a:cubicBezTo>
                          <a:pt x="4330068" y="15327"/>
                          <a:pt x="4772079" y="-35646"/>
                          <a:pt x="4964999" y="0"/>
                        </a:cubicBezTo>
                        <a:cubicBezTo>
                          <a:pt x="5157919" y="35646"/>
                          <a:pt x="5543915" y="6802"/>
                          <a:pt x="5728845" y="0"/>
                        </a:cubicBezTo>
                        <a:cubicBezTo>
                          <a:pt x="5913775" y="-6802"/>
                          <a:pt x="6142952" y="-21408"/>
                          <a:pt x="6365383" y="0"/>
                        </a:cubicBezTo>
                        <a:cubicBezTo>
                          <a:pt x="6364552" y="6329"/>
                          <a:pt x="6365787" y="16858"/>
                          <a:pt x="6365383" y="27432"/>
                        </a:cubicBezTo>
                        <a:cubicBezTo>
                          <a:pt x="6176931" y="320"/>
                          <a:pt x="5998736" y="11244"/>
                          <a:pt x="5665191" y="27432"/>
                        </a:cubicBezTo>
                        <a:cubicBezTo>
                          <a:pt x="5331646" y="43620"/>
                          <a:pt x="5198011" y="28615"/>
                          <a:pt x="4901345" y="27432"/>
                        </a:cubicBezTo>
                        <a:cubicBezTo>
                          <a:pt x="4604679" y="26249"/>
                          <a:pt x="4422931" y="40617"/>
                          <a:pt x="4137499" y="27432"/>
                        </a:cubicBezTo>
                        <a:cubicBezTo>
                          <a:pt x="3852067" y="14247"/>
                          <a:pt x="3861939" y="26581"/>
                          <a:pt x="3628268" y="27432"/>
                        </a:cubicBezTo>
                        <a:cubicBezTo>
                          <a:pt x="3394597" y="28283"/>
                          <a:pt x="3171361" y="44132"/>
                          <a:pt x="2991730" y="27432"/>
                        </a:cubicBezTo>
                        <a:cubicBezTo>
                          <a:pt x="2812099" y="10732"/>
                          <a:pt x="2469344" y="24737"/>
                          <a:pt x="2227884" y="27432"/>
                        </a:cubicBezTo>
                        <a:cubicBezTo>
                          <a:pt x="1986424" y="30127"/>
                          <a:pt x="1748067" y="6359"/>
                          <a:pt x="1591346" y="27432"/>
                        </a:cubicBezTo>
                        <a:cubicBezTo>
                          <a:pt x="1434625" y="48505"/>
                          <a:pt x="1307456" y="39663"/>
                          <a:pt x="1145769" y="27432"/>
                        </a:cubicBezTo>
                        <a:cubicBezTo>
                          <a:pt x="984082" y="15201"/>
                          <a:pt x="800279" y="41647"/>
                          <a:pt x="636538" y="27432"/>
                        </a:cubicBezTo>
                        <a:cubicBezTo>
                          <a:pt x="472797" y="13217"/>
                          <a:pt x="160022" y="2213"/>
                          <a:pt x="0" y="27432"/>
                        </a:cubicBezTo>
                        <a:cubicBezTo>
                          <a:pt x="-177" y="19307"/>
                          <a:pt x="-1145" y="9170"/>
                          <a:pt x="0" y="0"/>
                        </a:cubicBezTo>
                        <a:close/>
                      </a:path>
                    </a:pathLst>
                  </a:cu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59199566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6"/>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4"/>
          <a:srcRect/>
          <a:stretch>
            <a:fillRect/>
          </a:stretch>
        </p:blipFill>
        <p:spPr>
          <a:xfrm>
            <a:off x="0" y="9458975"/>
            <a:ext cx="3212757" cy="779093"/>
          </a:xfrm>
          <a:prstGeom prst="rect">
            <a:avLst/>
          </a:prstGeom>
        </p:spPr>
      </p:pic>
      <p:grpSp>
        <p:nvGrpSpPr>
          <p:cNvPr id="3" name="Gruppo 2">
            <a:extLst>
              <a:ext uri="{FF2B5EF4-FFF2-40B4-BE49-F238E27FC236}">
                <a16:creationId xmlns:a16="http://schemas.microsoft.com/office/drawing/2014/main" id="{1C29CBCA-BE0A-4EF6-AC69-329941E1DCFD}"/>
              </a:ext>
            </a:extLst>
          </p:cNvPr>
          <p:cNvGrpSpPr/>
          <p:nvPr/>
        </p:nvGrpSpPr>
        <p:grpSpPr>
          <a:xfrm>
            <a:off x="-12" y="138554"/>
            <a:ext cx="18288002" cy="681138"/>
            <a:chOff x="-12" y="138554"/>
            <a:chExt cx="18288002" cy="681138"/>
          </a:xfrm>
        </p:grpSpPr>
        <p:grpSp>
          <p:nvGrpSpPr>
            <p:cNvPr id="2" name="Gruppo 1">
              <a:extLst>
                <a:ext uri="{FF2B5EF4-FFF2-40B4-BE49-F238E27FC236}">
                  <a16:creationId xmlns:a16="http://schemas.microsoft.com/office/drawing/2014/main" id="{24E9C7AF-0093-476F-826C-A2702AB72892}"/>
                </a:ext>
              </a:extLst>
            </p:cNvPr>
            <p:cNvGrpSpPr/>
            <p:nvPr/>
          </p:nvGrpSpPr>
          <p:grpSpPr>
            <a:xfrm>
              <a:off x="0" y="153125"/>
              <a:ext cx="17907000" cy="666567"/>
              <a:chOff x="0" y="153125"/>
              <a:chExt cx="17907000" cy="666567"/>
            </a:xfrm>
          </p:grpSpPr>
          <p:grpSp>
            <p:nvGrpSpPr>
              <p:cNvPr id="16" name="Gruppo 15">
                <a:extLst>
                  <a:ext uri="{FF2B5EF4-FFF2-40B4-BE49-F238E27FC236}">
                    <a16:creationId xmlns:a16="http://schemas.microsoft.com/office/drawing/2014/main" id="{DAC42A46-917D-41AB-8F07-E15E54D0F7D4}"/>
                  </a:ext>
                </a:extLst>
              </p:cNvPr>
              <p:cNvGrpSpPr/>
              <p:nvPr/>
            </p:nvGrpSpPr>
            <p:grpSpPr>
              <a:xfrm>
                <a:off x="0" y="153125"/>
                <a:ext cx="13958844" cy="666567"/>
                <a:chOff x="0" y="153125"/>
                <a:chExt cx="13958844" cy="666567"/>
              </a:xfrm>
            </p:grpSpPr>
            <p:pic>
              <p:nvPicPr>
                <p:cNvPr id="10" name="Picture 10"/>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1" name="TextBox 11"/>
                <p:cNvSpPr txBox="1"/>
                <p:nvPr/>
              </p:nvSpPr>
              <p:spPr>
                <a:xfrm>
                  <a:off x="228600" y="257980"/>
                  <a:ext cx="9296400" cy="456856"/>
                </a:xfrm>
                <a:prstGeom prst="rect">
                  <a:avLst/>
                </a:prstGeom>
              </p:spPr>
              <p:txBody>
                <a:bodyPr wrap="square" lIns="0" tIns="0" rIns="0" bIns="0" rtlCol="0" anchor="t">
                  <a:spAutoFit/>
                </a:bodyPr>
                <a:lstStyle/>
                <a:p>
                  <a:pPr>
                    <a:lnSpc>
                      <a:spcPts val="3919"/>
                    </a:lnSpc>
                    <a:spcBef>
                      <a:spcPct val="0"/>
                    </a:spcBef>
                  </a:pPr>
                  <a:endParaRPr lang="en-US" sz="2800" b="1">
                    <a:solidFill>
                      <a:srgbClr val="FFFFFF"/>
                    </a:solidFill>
                    <a:latin typeface="Arial" panose="020B0604020202020204" pitchFamily="34" charset="0"/>
                    <a:cs typeface="Arial" panose="020B0604020202020204" pitchFamily="34" charset="0"/>
                  </a:endParaRPr>
                </a:p>
              </p:txBody>
            </p:sp>
          </p:grpSp>
          <p:sp>
            <p:nvSpPr>
              <p:cNvPr id="12" name="TextBox 11">
                <a:extLst>
                  <a:ext uri="{FF2B5EF4-FFF2-40B4-BE49-F238E27FC236}">
                    <a16:creationId xmlns:a16="http://schemas.microsoft.com/office/drawing/2014/main" id="{1BD9B5F4-614C-4EB6-8C5B-120A5420CE43}"/>
                  </a:ext>
                </a:extLst>
              </p:cNvPr>
              <p:cNvSpPr txBox="1"/>
              <p:nvPr/>
            </p:nvSpPr>
            <p:spPr>
              <a:xfrm>
                <a:off x="12154296" y="257980"/>
                <a:ext cx="5752704" cy="456856"/>
              </a:xfrm>
              <a:prstGeom prst="rect">
                <a:avLst/>
              </a:prstGeom>
            </p:spPr>
            <p:txBody>
              <a:bodyPr wrap="square" lIns="0" tIns="0" rIns="0" bIns="0" rtlCol="0" anchor="t">
                <a:spAutoFit/>
              </a:bodyPr>
              <a:lstStyle/>
              <a:p>
                <a:pPr algn="r">
                  <a:lnSpc>
                    <a:spcPts val="3919"/>
                  </a:lnSpc>
                  <a:spcBef>
                    <a:spcPct val="0"/>
                  </a:spcBef>
                </a:pPr>
                <a:endParaRPr lang="en-US" sz="2800">
                  <a:solidFill>
                    <a:schemeClr val="tx1">
                      <a:lumMod val="75000"/>
                      <a:lumOff val="25000"/>
                    </a:schemeClr>
                  </a:solidFill>
                  <a:latin typeface="Arial" panose="020B0604020202020204" pitchFamily="34" charset="0"/>
                  <a:cs typeface="Arial" panose="020B0604020202020204" pitchFamily="34" charset="0"/>
                </a:endParaRPr>
              </a:p>
            </p:txBody>
          </p:sp>
        </p:grpSp>
        <p:sp>
          <p:nvSpPr>
            <p:cNvPr id="14" name="Rettangolo 13">
              <a:extLst>
                <a:ext uri="{FF2B5EF4-FFF2-40B4-BE49-F238E27FC236}">
                  <a16:creationId xmlns:a16="http://schemas.microsoft.com/office/drawing/2014/main" id="{55199736-B8B6-4C9A-8BAF-233E07A0CA89}"/>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5" name="TextBox 24">
            <a:extLst>
              <a:ext uri="{FF2B5EF4-FFF2-40B4-BE49-F238E27FC236}">
                <a16:creationId xmlns:a16="http://schemas.microsoft.com/office/drawing/2014/main" id="{7D94EFFC-06AF-484F-891B-5C268374EA79}"/>
              </a:ext>
            </a:extLst>
          </p:cNvPr>
          <p:cNvSpPr txBox="1"/>
          <p:nvPr/>
        </p:nvSpPr>
        <p:spPr>
          <a:xfrm>
            <a:off x="12634375" y="6797829"/>
            <a:ext cx="2805822" cy="523220"/>
          </a:xfrm>
          <a:prstGeom prst="rect">
            <a:avLst/>
          </a:prstGeom>
          <a:noFill/>
        </p:spPr>
        <p:txBody>
          <a:bodyPr wrap="square">
            <a:spAutoFit/>
          </a:bodyPr>
          <a:lstStyle/>
          <a:p>
            <a:r>
              <a:rPr lang="en-US" sz="2800" kern="100">
                <a:solidFill>
                  <a:srgbClr val="404040"/>
                </a:solidFill>
                <a:latin typeface="Arial (body)"/>
              </a:rPr>
              <a:t>ASAS facilities</a:t>
            </a:r>
            <a:endParaRPr lang="sv-SE" sz="2800" kern="100">
              <a:solidFill>
                <a:srgbClr val="404040"/>
              </a:solidFill>
              <a:latin typeface="Arial (body)"/>
            </a:endParaRPr>
          </a:p>
        </p:txBody>
      </p:sp>
      <p:sp>
        <p:nvSpPr>
          <p:cNvPr id="26" name="TextBox 25">
            <a:extLst>
              <a:ext uri="{FF2B5EF4-FFF2-40B4-BE49-F238E27FC236}">
                <a16:creationId xmlns:a16="http://schemas.microsoft.com/office/drawing/2014/main" id="{A21F6DD0-2BDA-4DD0-995A-49BD41C91E9E}"/>
              </a:ext>
            </a:extLst>
          </p:cNvPr>
          <p:cNvSpPr txBox="1"/>
          <p:nvPr/>
        </p:nvSpPr>
        <p:spPr>
          <a:xfrm>
            <a:off x="228600" y="2208189"/>
            <a:ext cx="9525000" cy="4190314"/>
          </a:xfrm>
          <a:prstGeom prst="rect">
            <a:avLst/>
          </a:prstGeom>
          <a:noFill/>
        </p:spPr>
        <p:txBody>
          <a:bodyPr wrap="square">
            <a:spAutoFit/>
          </a:bodyPr>
          <a:lstStyle/>
          <a:p>
            <a:pPr lvl="1">
              <a:lnSpc>
                <a:spcPct val="150000"/>
              </a:lnSpc>
              <a:spcBef>
                <a:spcPts val="5"/>
              </a:spcBef>
              <a:buSzPts val="1100"/>
              <a:tabLst>
                <a:tab pos="528320" algn="l"/>
                <a:tab pos="528955" algn="l"/>
              </a:tabLst>
            </a:pPr>
            <a:r>
              <a:rPr lang="en-US" sz="2000">
                <a:latin typeface="Arial MT"/>
              </a:rPr>
              <a:t>Since its establishment in 1990 in </a:t>
            </a:r>
            <a:r>
              <a:rPr lang="en-US" sz="2000" err="1">
                <a:latin typeface="Arial MT"/>
              </a:rPr>
              <a:t>Gebze</a:t>
            </a:r>
            <a:r>
              <a:rPr lang="en-US" sz="2000">
                <a:latin typeface="Arial MT"/>
              </a:rPr>
              <a:t>, Turkey, ASAS has become one of the leading aluminum products manufacturers in Europe, carrying out exports to more than 80 countries all over the world . In 2015, the total revenue from international operations was estimated at 83 million USD and the company’s annual turnover approached 400 million, with this value increasing by roughly 26% every year. ASAS counts with five distinct production facilities: aluminum extrusion, aluminum flat rolled products, aluminum composite panel, PVC profile and roller shutter. The annual production of ASAS is:</a:t>
            </a:r>
            <a:endParaRPr lang="sv-SE" sz="2000">
              <a:latin typeface="Arial MT"/>
            </a:endParaRPr>
          </a:p>
          <a:p>
            <a:pPr marL="742950" lvl="1" indent="-285750">
              <a:lnSpc>
                <a:spcPct val="150000"/>
              </a:lnSpc>
              <a:spcBef>
                <a:spcPts val="5"/>
              </a:spcBef>
              <a:buSzPts val="1100"/>
              <a:buFont typeface="Symbol" panose="05050102010706020507" pitchFamily="18" charset="2"/>
              <a:buChar char=""/>
              <a:tabLst>
                <a:tab pos="528320" algn="l"/>
                <a:tab pos="528955" algn="l"/>
              </a:tabLst>
            </a:pPr>
            <a:endParaRPr lang="sv-SE" sz="2000">
              <a:latin typeface="Arial MT"/>
            </a:endParaRPr>
          </a:p>
        </p:txBody>
      </p:sp>
      <p:pic>
        <p:nvPicPr>
          <p:cNvPr id="5" name="Picture 5">
            <a:extLst>
              <a:ext uri="{FF2B5EF4-FFF2-40B4-BE49-F238E27FC236}">
                <a16:creationId xmlns:a16="http://schemas.microsoft.com/office/drawing/2014/main" id="{F26E0E90-16EB-1806-FDCE-9B5372EE88A8}"/>
              </a:ext>
            </a:extLst>
          </p:cNvPr>
          <p:cNvPicPr>
            <a:picLocks noChangeAspect="1"/>
          </p:cNvPicPr>
          <p:nvPr/>
        </p:nvPicPr>
        <p:blipFill>
          <a:blip r:embed="rId6"/>
          <a:stretch>
            <a:fillRect/>
          </a:stretch>
        </p:blipFill>
        <p:spPr>
          <a:xfrm>
            <a:off x="10027751" y="2232316"/>
            <a:ext cx="7752463" cy="4457435"/>
          </a:xfrm>
          <a:prstGeom prst="rect">
            <a:avLst/>
          </a:prstGeom>
        </p:spPr>
      </p:pic>
      <p:pic>
        <p:nvPicPr>
          <p:cNvPr id="7" name="Imagen 113">
            <a:extLst>
              <a:ext uri="{FF2B5EF4-FFF2-40B4-BE49-F238E27FC236}">
                <a16:creationId xmlns:a16="http://schemas.microsoft.com/office/drawing/2014/main" id="{A89A7CC4-D70E-6E67-D00D-58BA23ACEE62}"/>
              </a:ext>
            </a:extLst>
          </p:cNvPr>
          <p:cNvPicPr>
            <a:picLocks noChangeAspect="1"/>
          </p:cNvPicPr>
          <p:nvPr/>
        </p:nvPicPr>
        <p:blipFill rotWithShape="1">
          <a:blip r:embed="rId7"/>
          <a:srcRect r="7132" b="12033"/>
          <a:stretch/>
        </p:blipFill>
        <p:spPr>
          <a:xfrm>
            <a:off x="3730621" y="1015669"/>
            <a:ext cx="2739964" cy="1036941"/>
          </a:xfrm>
          <a:prstGeom prst="rect">
            <a:avLst/>
          </a:prstGeom>
        </p:spPr>
      </p:pic>
      <p:sp>
        <p:nvSpPr>
          <p:cNvPr id="6" name="TextBox 5">
            <a:extLst>
              <a:ext uri="{FF2B5EF4-FFF2-40B4-BE49-F238E27FC236}">
                <a16:creationId xmlns:a16="http://schemas.microsoft.com/office/drawing/2014/main" id="{E5B577D3-68C8-45E6-B95B-FD7E54D982E0}"/>
              </a:ext>
            </a:extLst>
          </p:cNvPr>
          <p:cNvSpPr txBox="1"/>
          <p:nvPr/>
        </p:nvSpPr>
        <p:spPr>
          <a:xfrm>
            <a:off x="201027" y="6110684"/>
            <a:ext cx="9799151" cy="4090094"/>
          </a:xfrm>
          <a:prstGeom prst="rect">
            <a:avLst/>
          </a:prstGeom>
          <a:noFill/>
        </p:spPr>
        <p:txBody>
          <a:bodyPr wrap="square" numCol="2">
            <a:spAutoFit/>
          </a:bodyPr>
          <a:lstStyle/>
          <a:p>
            <a:pPr marL="742950" lvl="1" indent="-285750">
              <a:lnSpc>
                <a:spcPct val="150000"/>
              </a:lnSpc>
              <a:spcBef>
                <a:spcPts val="5"/>
              </a:spcBef>
              <a:buSzPts val="1100"/>
              <a:buFont typeface="Symbol" panose="05050102010706020507" pitchFamily="18" charset="2"/>
              <a:buChar char=""/>
              <a:tabLst>
                <a:tab pos="528320" algn="l"/>
                <a:tab pos="528955" algn="l"/>
              </a:tabLst>
            </a:pPr>
            <a:r>
              <a:rPr lang="en-US" sz="1800">
                <a:latin typeface="Arial MT"/>
              </a:rPr>
              <a:t>Aluminum Billet: 90,000 t/year,</a:t>
            </a:r>
            <a:endParaRPr lang="sv-SE" sz="1800">
              <a:latin typeface="Arial MT"/>
            </a:endParaRPr>
          </a:p>
          <a:p>
            <a:pPr marL="742950" lvl="1" indent="-285750">
              <a:lnSpc>
                <a:spcPct val="150000"/>
              </a:lnSpc>
              <a:spcBef>
                <a:spcPts val="305"/>
              </a:spcBef>
              <a:spcAft>
                <a:spcPts val="0"/>
              </a:spcAft>
              <a:buSzPts val="1100"/>
              <a:buFont typeface="Symbol" panose="05050102010706020507" pitchFamily="18" charset="2"/>
              <a:buChar char=""/>
              <a:tabLst>
                <a:tab pos="528955" algn="l"/>
                <a:tab pos="529590" algn="l"/>
              </a:tabLst>
            </a:pPr>
            <a:r>
              <a:rPr lang="en-US" sz="1800">
                <a:latin typeface="Arial MT"/>
              </a:rPr>
              <a:t>Aluminum Profile: 75,000 t/year,</a:t>
            </a:r>
            <a:endParaRPr lang="sv-SE" sz="1800">
              <a:latin typeface="Arial MT"/>
            </a:endParaRPr>
          </a:p>
          <a:p>
            <a:pPr marL="742950" lvl="1" indent="-285750">
              <a:lnSpc>
                <a:spcPct val="150000"/>
              </a:lnSpc>
              <a:spcBef>
                <a:spcPts val="310"/>
              </a:spcBef>
              <a:spcAft>
                <a:spcPts val="0"/>
              </a:spcAft>
              <a:buSzPts val="1100"/>
              <a:buFont typeface="Symbol" panose="05050102010706020507" pitchFamily="18" charset="2"/>
              <a:buChar char=""/>
              <a:tabLst>
                <a:tab pos="528955" algn="l"/>
                <a:tab pos="529590" algn="l"/>
              </a:tabLst>
            </a:pPr>
            <a:r>
              <a:rPr lang="en-US" sz="1800">
                <a:latin typeface="Arial MT"/>
              </a:rPr>
              <a:t>Anodized Profile: 40,000 t/year,</a:t>
            </a:r>
            <a:endParaRPr lang="sv-SE" sz="1800">
              <a:latin typeface="Arial MT"/>
            </a:endParaRPr>
          </a:p>
          <a:p>
            <a:pPr marL="742950" lvl="1" indent="-285750">
              <a:lnSpc>
                <a:spcPct val="150000"/>
              </a:lnSpc>
              <a:spcBef>
                <a:spcPts val="310"/>
              </a:spcBef>
              <a:spcAft>
                <a:spcPts val="0"/>
              </a:spcAft>
              <a:buSzPts val="1100"/>
              <a:buFont typeface="Symbol" panose="05050102010706020507" pitchFamily="18" charset="2"/>
              <a:buChar char=""/>
              <a:tabLst>
                <a:tab pos="528955" algn="l"/>
                <a:tab pos="530225" algn="l"/>
              </a:tabLst>
            </a:pPr>
            <a:r>
              <a:rPr lang="en-US" sz="1800">
                <a:latin typeface="Arial MT"/>
              </a:rPr>
              <a:t>Powder Coated Profile: 25,000 t/year,</a:t>
            </a:r>
          </a:p>
          <a:p>
            <a:pPr marL="742950" lvl="1" indent="-285750">
              <a:lnSpc>
                <a:spcPct val="150000"/>
              </a:lnSpc>
              <a:spcBef>
                <a:spcPts val="310"/>
              </a:spcBef>
              <a:buSzPts val="1100"/>
              <a:buFont typeface="Symbol" panose="05050102010706020507" pitchFamily="18" charset="2"/>
              <a:buChar char=""/>
              <a:tabLst>
                <a:tab pos="528955" algn="l"/>
                <a:tab pos="530225" algn="l"/>
              </a:tabLst>
            </a:pPr>
            <a:r>
              <a:rPr lang="en-US" sz="1800">
                <a:latin typeface="Arial MT"/>
              </a:rPr>
              <a:t>Aluminum Composite Panel: 7,500,000 m2/year,</a:t>
            </a:r>
            <a:endParaRPr lang="en-US">
              <a:latin typeface="Arial MT"/>
            </a:endParaRPr>
          </a:p>
          <a:p>
            <a:pPr lvl="1">
              <a:lnSpc>
                <a:spcPct val="150000"/>
              </a:lnSpc>
              <a:spcBef>
                <a:spcPts val="310"/>
              </a:spcBef>
              <a:spcAft>
                <a:spcPts val="0"/>
              </a:spcAft>
              <a:buSzPts val="1100"/>
              <a:tabLst>
                <a:tab pos="528955" algn="l"/>
                <a:tab pos="530225" algn="l"/>
              </a:tabLst>
            </a:pPr>
            <a:endParaRPr lang="en-US" sz="1800">
              <a:latin typeface="Arial MT"/>
            </a:endParaRPr>
          </a:p>
          <a:p>
            <a:pPr lvl="1">
              <a:lnSpc>
                <a:spcPct val="150000"/>
              </a:lnSpc>
              <a:spcBef>
                <a:spcPts val="310"/>
              </a:spcBef>
              <a:spcAft>
                <a:spcPts val="0"/>
              </a:spcAft>
              <a:buSzPts val="1100"/>
              <a:tabLst>
                <a:tab pos="528955" algn="l"/>
                <a:tab pos="530225" algn="l"/>
              </a:tabLst>
            </a:pPr>
            <a:endParaRPr lang="en-US">
              <a:latin typeface="Arial MT"/>
            </a:endParaRPr>
          </a:p>
          <a:p>
            <a:pPr lvl="1">
              <a:lnSpc>
                <a:spcPct val="150000"/>
              </a:lnSpc>
              <a:spcBef>
                <a:spcPts val="310"/>
              </a:spcBef>
              <a:spcAft>
                <a:spcPts val="0"/>
              </a:spcAft>
              <a:buSzPts val="1100"/>
              <a:tabLst>
                <a:tab pos="528955" algn="l"/>
                <a:tab pos="530225" algn="l"/>
              </a:tabLst>
            </a:pPr>
            <a:endParaRPr lang="sv-SE" sz="1800">
              <a:latin typeface="Arial MT"/>
            </a:endParaRPr>
          </a:p>
          <a:p>
            <a:pPr marL="742950" marR="473710" lvl="1" indent="-285750">
              <a:lnSpc>
                <a:spcPct val="150000"/>
              </a:lnSpc>
              <a:spcBef>
                <a:spcPts val="305"/>
              </a:spcBef>
              <a:spcAft>
                <a:spcPts val="0"/>
              </a:spcAft>
              <a:buSzPts val="1100"/>
              <a:buFont typeface="Symbol" panose="05050102010706020507" pitchFamily="18" charset="2"/>
              <a:buChar char=""/>
              <a:tabLst>
                <a:tab pos="529590" algn="l"/>
                <a:tab pos="530225" algn="l"/>
              </a:tabLst>
            </a:pPr>
            <a:r>
              <a:rPr lang="en-US" sz="1800">
                <a:latin typeface="Arial MT"/>
              </a:rPr>
              <a:t>Aluminum Flat Rolled Products: Casting: 60,000 t/year, Rolling pin: 140,000 t/year, Folio: 25,000 t/year, Dyed Plate: 50,000 t/year,</a:t>
            </a:r>
            <a:endParaRPr lang="sv-SE" sz="1800">
              <a:latin typeface="Arial MT"/>
            </a:endParaRPr>
          </a:p>
          <a:p>
            <a:pPr marL="742950" lvl="1" indent="-285750">
              <a:lnSpc>
                <a:spcPct val="150000"/>
              </a:lnSpc>
              <a:spcBef>
                <a:spcPts val="305"/>
              </a:spcBef>
              <a:buSzPts val="1100"/>
              <a:buFont typeface="Symbol" panose="05050102010706020507" pitchFamily="18" charset="2"/>
              <a:buChar char=""/>
              <a:tabLst>
                <a:tab pos="528320" algn="l"/>
                <a:tab pos="528955" algn="l"/>
              </a:tabLst>
            </a:pPr>
            <a:r>
              <a:rPr lang="en-US" sz="1800">
                <a:latin typeface="Arial MT"/>
              </a:rPr>
              <a:t>PVC Profile production: 35,000 t/year,</a:t>
            </a:r>
            <a:endParaRPr lang="sv-SE" sz="1800">
              <a:latin typeface="Arial MT"/>
            </a:endParaRPr>
          </a:p>
          <a:p>
            <a:pPr marL="742950" lvl="1" indent="-285750">
              <a:lnSpc>
                <a:spcPct val="150000"/>
              </a:lnSpc>
              <a:spcBef>
                <a:spcPts val="310"/>
              </a:spcBef>
              <a:spcAft>
                <a:spcPts val="0"/>
              </a:spcAft>
              <a:buSzPts val="1100"/>
              <a:buFont typeface="Symbol" panose="05050102010706020507" pitchFamily="18" charset="2"/>
              <a:buChar char=""/>
              <a:tabLst>
                <a:tab pos="528320" algn="l"/>
                <a:tab pos="528955" algn="l"/>
              </a:tabLst>
            </a:pPr>
            <a:r>
              <a:rPr lang="en-US" sz="1800">
                <a:latin typeface="Arial MT"/>
              </a:rPr>
              <a:t>Lamella Roller Shutter: 30,000,000 linear meters/year.</a:t>
            </a:r>
            <a:endParaRPr lang="sv-SE"/>
          </a:p>
        </p:txBody>
      </p:sp>
    </p:spTree>
    <p:extLst>
      <p:ext uri="{BB962C8B-B14F-4D97-AF65-F5344CB8AC3E}">
        <p14:creationId xmlns:p14="http://schemas.microsoft.com/office/powerpoint/2010/main" val="169189182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image27.jpeg">
            <a:extLst>
              <a:ext uri="{FF2B5EF4-FFF2-40B4-BE49-F238E27FC236}">
                <a16:creationId xmlns:a16="http://schemas.microsoft.com/office/drawing/2014/main" id="{792DDF60-EE05-4F1E-8BA4-0AA45539B9C3}"/>
              </a:ext>
            </a:extLst>
          </p:cNvPr>
          <p:cNvPicPr>
            <a:picLocks noChangeAspect="1"/>
          </p:cNvPicPr>
          <p:nvPr/>
        </p:nvPicPr>
        <p:blipFill>
          <a:blip r:embed="rId3" cstate="print"/>
          <a:stretch>
            <a:fillRect/>
          </a:stretch>
        </p:blipFill>
        <p:spPr>
          <a:xfrm>
            <a:off x="3615885" y="834263"/>
            <a:ext cx="12904275" cy="8984893"/>
          </a:xfrm>
          <a:prstGeom prst="rect">
            <a:avLst/>
          </a:prstGeom>
        </p:spPr>
      </p:pic>
      <p:grpSp>
        <p:nvGrpSpPr>
          <p:cNvPr id="4" name="Gruppo 16">
            <a:extLst>
              <a:ext uri="{FF2B5EF4-FFF2-40B4-BE49-F238E27FC236}">
                <a16:creationId xmlns:a16="http://schemas.microsoft.com/office/drawing/2014/main" id="{7F05FA2D-BA17-4C4E-9DAE-36CC81DE9BAA}"/>
              </a:ext>
            </a:extLst>
          </p:cNvPr>
          <p:cNvGrpSpPr/>
          <p:nvPr/>
        </p:nvGrpSpPr>
        <p:grpSpPr>
          <a:xfrm>
            <a:off x="4329156" y="9695736"/>
            <a:ext cx="13958844" cy="666567"/>
            <a:chOff x="4329156" y="9649198"/>
            <a:chExt cx="13958844" cy="666567"/>
          </a:xfrm>
        </p:grpSpPr>
        <p:pic>
          <p:nvPicPr>
            <p:cNvPr id="5" name="Picture 12">
              <a:extLst>
                <a:ext uri="{FF2B5EF4-FFF2-40B4-BE49-F238E27FC236}">
                  <a16:creationId xmlns:a16="http://schemas.microsoft.com/office/drawing/2014/main" id="{00810EF5-3949-4698-A5DE-428CD380175F}"/>
                </a:ext>
              </a:extLst>
            </p:cNvPr>
            <p:cNvPicPr>
              <a:picLocks noChangeAspect="1"/>
            </p:cNvPicPr>
            <p:nvPr/>
          </p:nvPicPr>
          <p:blipFill>
            <a:blip r:embed="rId4"/>
            <a:srcRect l="134" t="91287" b="3943"/>
            <a:stretch>
              <a:fillRect/>
            </a:stretch>
          </p:blipFill>
          <p:spPr>
            <a:xfrm rot="-10800000">
              <a:off x="4329156" y="9649198"/>
              <a:ext cx="13958844" cy="666567"/>
            </a:xfrm>
            <a:prstGeom prst="rect">
              <a:avLst/>
            </a:prstGeom>
          </p:spPr>
        </p:pic>
        <p:sp>
          <p:nvSpPr>
            <p:cNvPr id="6" name="TextBox 16">
              <a:extLst>
                <a:ext uri="{FF2B5EF4-FFF2-40B4-BE49-F238E27FC236}">
                  <a16:creationId xmlns:a16="http://schemas.microsoft.com/office/drawing/2014/main" id="{EDDD1531-1BDA-4725-B6A3-364F4B7CF76A}"/>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pic>
        <p:nvPicPr>
          <p:cNvPr id="7" name="Picture 12">
            <a:extLst>
              <a:ext uri="{FF2B5EF4-FFF2-40B4-BE49-F238E27FC236}">
                <a16:creationId xmlns:a16="http://schemas.microsoft.com/office/drawing/2014/main" id="{52C35A30-8BA0-4714-8363-E6CE748BA2C3}"/>
              </a:ext>
            </a:extLst>
          </p:cNvPr>
          <p:cNvPicPr>
            <a:picLocks noChangeAspect="1"/>
          </p:cNvPicPr>
          <p:nvPr/>
        </p:nvPicPr>
        <p:blipFill>
          <a:blip r:embed="rId5"/>
          <a:srcRect/>
          <a:stretch>
            <a:fillRect/>
          </a:stretch>
        </p:blipFill>
        <p:spPr>
          <a:xfrm>
            <a:off x="0" y="8901113"/>
            <a:ext cx="5715000" cy="1385887"/>
          </a:xfrm>
          <a:prstGeom prst="rect">
            <a:avLst/>
          </a:prstGeom>
        </p:spPr>
      </p:pic>
      <p:grpSp>
        <p:nvGrpSpPr>
          <p:cNvPr id="8" name="Gruppo 2">
            <a:extLst>
              <a:ext uri="{FF2B5EF4-FFF2-40B4-BE49-F238E27FC236}">
                <a16:creationId xmlns:a16="http://schemas.microsoft.com/office/drawing/2014/main" id="{C9C93A65-4067-4ACC-B2C9-8C15277024E4}"/>
              </a:ext>
            </a:extLst>
          </p:cNvPr>
          <p:cNvGrpSpPr/>
          <p:nvPr/>
        </p:nvGrpSpPr>
        <p:grpSpPr>
          <a:xfrm>
            <a:off x="-12" y="138554"/>
            <a:ext cx="18288002" cy="681138"/>
            <a:chOff x="-12" y="138554"/>
            <a:chExt cx="18288002" cy="681138"/>
          </a:xfrm>
        </p:grpSpPr>
        <p:grpSp>
          <p:nvGrpSpPr>
            <p:cNvPr id="9" name="Gruppo 1">
              <a:extLst>
                <a:ext uri="{FF2B5EF4-FFF2-40B4-BE49-F238E27FC236}">
                  <a16:creationId xmlns:a16="http://schemas.microsoft.com/office/drawing/2014/main" id="{A943E672-738C-4FE3-BD35-ACD7A4E4D95E}"/>
                </a:ext>
              </a:extLst>
            </p:cNvPr>
            <p:cNvGrpSpPr/>
            <p:nvPr/>
          </p:nvGrpSpPr>
          <p:grpSpPr>
            <a:xfrm>
              <a:off x="0" y="153125"/>
              <a:ext cx="17907000" cy="666567"/>
              <a:chOff x="0" y="153125"/>
              <a:chExt cx="17907000" cy="666567"/>
            </a:xfrm>
          </p:grpSpPr>
          <p:grpSp>
            <p:nvGrpSpPr>
              <p:cNvPr id="11" name="Gruppo 15">
                <a:extLst>
                  <a:ext uri="{FF2B5EF4-FFF2-40B4-BE49-F238E27FC236}">
                    <a16:creationId xmlns:a16="http://schemas.microsoft.com/office/drawing/2014/main" id="{10037738-5D9A-4755-B52F-99B1FA543ED3}"/>
                  </a:ext>
                </a:extLst>
              </p:cNvPr>
              <p:cNvGrpSpPr/>
              <p:nvPr/>
            </p:nvGrpSpPr>
            <p:grpSpPr>
              <a:xfrm>
                <a:off x="0" y="153125"/>
                <a:ext cx="13958844" cy="666567"/>
                <a:chOff x="0" y="153125"/>
                <a:chExt cx="13958844" cy="666567"/>
              </a:xfrm>
            </p:grpSpPr>
            <p:pic>
              <p:nvPicPr>
                <p:cNvPr id="13" name="Picture 10">
                  <a:extLst>
                    <a:ext uri="{FF2B5EF4-FFF2-40B4-BE49-F238E27FC236}">
                      <a16:creationId xmlns:a16="http://schemas.microsoft.com/office/drawing/2014/main" id="{30234B5E-6FF9-499F-817A-9B69F1CC9911}"/>
                    </a:ext>
                  </a:extLst>
                </p:cNvPr>
                <p:cNvPicPr>
                  <a:picLocks noChangeAspect="1"/>
                </p:cNvPicPr>
                <p:nvPr/>
              </p:nvPicPr>
              <p:blipFill>
                <a:blip r:embed="rId6"/>
                <a:srcRect l="134" t="91287" b="3943"/>
                <a:stretch>
                  <a:fillRect/>
                </a:stretch>
              </p:blipFill>
              <p:spPr>
                <a:xfrm>
                  <a:off x="0" y="153125"/>
                  <a:ext cx="13958844" cy="666567"/>
                </a:xfrm>
                <a:prstGeom prst="rect">
                  <a:avLst/>
                </a:prstGeom>
              </p:spPr>
            </p:pic>
            <p:sp>
              <p:nvSpPr>
                <p:cNvPr id="14" name="TextBox 11">
                  <a:extLst>
                    <a:ext uri="{FF2B5EF4-FFF2-40B4-BE49-F238E27FC236}">
                      <a16:creationId xmlns:a16="http://schemas.microsoft.com/office/drawing/2014/main" id="{E5F3FE84-033A-4279-AF93-ABD80EC40550}"/>
                    </a:ext>
                  </a:extLst>
                </p:cNvPr>
                <p:cNvSpPr txBox="1"/>
                <p:nvPr/>
              </p:nvSpPr>
              <p:spPr>
                <a:xfrm>
                  <a:off x="228600" y="257980"/>
                  <a:ext cx="9296400" cy="456856"/>
                </a:xfrm>
                <a:prstGeom prst="rect">
                  <a:avLst/>
                </a:prstGeom>
              </p:spPr>
              <p:txBody>
                <a:bodyPr wrap="square" lIns="0" tIns="0" rIns="0" bIns="0" rtlCol="0" anchor="t">
                  <a:spAutoFit/>
                </a:bodyPr>
                <a:lstStyle/>
                <a:p>
                  <a:pPr>
                    <a:lnSpc>
                      <a:spcPts val="3919"/>
                    </a:lnSpc>
                    <a:spcBef>
                      <a:spcPct val="0"/>
                    </a:spcBef>
                  </a:pPr>
                  <a:endParaRPr lang="en-US" sz="2800" b="1">
                    <a:solidFill>
                      <a:srgbClr val="FFFFFF"/>
                    </a:solidFill>
                    <a:latin typeface="Arial" panose="020B0604020202020204" pitchFamily="34" charset="0"/>
                    <a:cs typeface="Arial" panose="020B0604020202020204" pitchFamily="34" charset="0"/>
                  </a:endParaRPr>
                </a:p>
              </p:txBody>
            </p:sp>
          </p:grpSp>
          <p:sp>
            <p:nvSpPr>
              <p:cNvPr id="12" name="TextBox 11">
                <a:extLst>
                  <a:ext uri="{FF2B5EF4-FFF2-40B4-BE49-F238E27FC236}">
                    <a16:creationId xmlns:a16="http://schemas.microsoft.com/office/drawing/2014/main" id="{7B4365DB-7AB3-494A-91B9-B5781D39B67B}"/>
                  </a:ext>
                </a:extLst>
              </p:cNvPr>
              <p:cNvSpPr txBox="1"/>
              <p:nvPr/>
            </p:nvSpPr>
            <p:spPr>
              <a:xfrm>
                <a:off x="12154296" y="257980"/>
                <a:ext cx="5752704" cy="456856"/>
              </a:xfrm>
              <a:prstGeom prst="rect">
                <a:avLst/>
              </a:prstGeom>
            </p:spPr>
            <p:txBody>
              <a:bodyPr wrap="square" lIns="0" tIns="0" rIns="0" bIns="0" rtlCol="0" anchor="t">
                <a:spAutoFit/>
              </a:bodyPr>
              <a:lstStyle/>
              <a:p>
                <a:pPr algn="r">
                  <a:lnSpc>
                    <a:spcPts val="3919"/>
                  </a:lnSpc>
                  <a:spcBef>
                    <a:spcPct val="0"/>
                  </a:spcBef>
                </a:pPr>
                <a:endParaRPr lang="en-US" sz="2800">
                  <a:solidFill>
                    <a:schemeClr val="tx1">
                      <a:lumMod val="75000"/>
                      <a:lumOff val="25000"/>
                    </a:schemeClr>
                  </a:solidFill>
                  <a:latin typeface="Arial" panose="020B0604020202020204" pitchFamily="34" charset="0"/>
                  <a:cs typeface="Arial" panose="020B0604020202020204" pitchFamily="34" charset="0"/>
                </a:endParaRPr>
              </a:p>
            </p:txBody>
          </p:sp>
        </p:grpSp>
        <p:sp>
          <p:nvSpPr>
            <p:cNvPr id="10" name="Rettangolo 13">
              <a:extLst>
                <a:ext uri="{FF2B5EF4-FFF2-40B4-BE49-F238E27FC236}">
                  <a16:creationId xmlns:a16="http://schemas.microsoft.com/office/drawing/2014/main" id="{BC76EB51-B4AB-4BAB-AAF6-1883074EEF50}"/>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9" name="TextBox 18">
            <a:extLst>
              <a:ext uri="{FF2B5EF4-FFF2-40B4-BE49-F238E27FC236}">
                <a16:creationId xmlns:a16="http://schemas.microsoft.com/office/drawing/2014/main" id="{687AB5ED-77D2-45EC-AF55-339AC7DA13BE}"/>
              </a:ext>
            </a:extLst>
          </p:cNvPr>
          <p:cNvSpPr txBox="1"/>
          <p:nvPr/>
        </p:nvSpPr>
        <p:spPr>
          <a:xfrm>
            <a:off x="448707" y="1201221"/>
            <a:ext cx="9144000" cy="646331"/>
          </a:xfrm>
          <a:prstGeom prst="rect">
            <a:avLst/>
          </a:prstGeom>
          <a:noFill/>
        </p:spPr>
        <p:txBody>
          <a:bodyPr wrap="square">
            <a:spAutoFit/>
          </a:bodyPr>
          <a:lstStyle/>
          <a:p>
            <a:r>
              <a:rPr lang="en-US" sz="3600" b="1">
                <a:solidFill>
                  <a:srgbClr val="CC0033"/>
                </a:solidFill>
                <a:latin typeface="+mj-lt"/>
                <a:cs typeface="Arial" panose="020B0604020202020204" pitchFamily="34" charset="0"/>
              </a:rPr>
              <a:t>Production process in ASAS</a:t>
            </a:r>
            <a:endParaRPr lang="sv-SE" sz="3600"/>
          </a:p>
        </p:txBody>
      </p:sp>
      <p:sp>
        <p:nvSpPr>
          <p:cNvPr id="15" name="TextBox 14">
            <a:extLst>
              <a:ext uri="{FF2B5EF4-FFF2-40B4-BE49-F238E27FC236}">
                <a16:creationId xmlns:a16="http://schemas.microsoft.com/office/drawing/2014/main" id="{BFC8FDF3-3A10-053E-0099-CA3F51B52B14}"/>
              </a:ext>
            </a:extLst>
          </p:cNvPr>
          <p:cNvSpPr txBox="1"/>
          <p:nvPr/>
        </p:nvSpPr>
        <p:spPr>
          <a:xfrm>
            <a:off x="448707" y="1966979"/>
            <a:ext cx="5060353" cy="3939540"/>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algn="ctr">
              <a:lnSpc>
                <a:spcPct val="150000"/>
              </a:lnSpc>
            </a:pPr>
            <a:r>
              <a:rPr lang="en-US" sz="2000" b="1" i="0" u="none" strike="noStrike" baseline="0">
                <a:solidFill>
                  <a:srgbClr val="000000"/>
                </a:solidFill>
                <a:latin typeface="Arial" panose="020B0604020202020204" pitchFamily="34" charset="0"/>
              </a:rPr>
              <a:t>Process description</a:t>
            </a:r>
          </a:p>
          <a:p>
            <a:pPr algn="just"/>
            <a:r>
              <a:rPr lang="en-US" sz="2000" b="0" i="0">
                <a:solidFill>
                  <a:srgbClr val="374151"/>
                </a:solidFill>
                <a:effectLst/>
                <a:latin typeface="Söhne"/>
              </a:rPr>
              <a:t>A mixture of raw materials </a:t>
            </a:r>
            <a:r>
              <a:rPr lang="en-US" sz="2000">
                <a:solidFill>
                  <a:srgbClr val="374151"/>
                </a:solidFill>
                <a:latin typeface="Söhne"/>
              </a:rPr>
              <a:t>is</a:t>
            </a:r>
            <a:r>
              <a:rPr lang="en-US" sz="2000" b="0" i="0">
                <a:solidFill>
                  <a:srgbClr val="374151"/>
                </a:solidFill>
                <a:effectLst/>
                <a:latin typeface="Söhne"/>
              </a:rPr>
              <a:t> introduced into the melting furnace. Additives are added to the molten aluminum to improve its mechanical properties. Argon or nitrogen gas is bubbled in the molten aluminum to remove hydrogen and any remaining slag. The molten aluminum is cast into billets and solidified. The billets are cut to the desired length, heated and held at the desired temperature to remove segregations and create adequate conditions for phase changes.</a:t>
            </a:r>
            <a:endParaRPr lang="en-US" sz="2000" b="1" i="0" u="none" strike="noStrike" baseline="0">
              <a:solidFill>
                <a:srgbClr val="000000"/>
              </a:solidFill>
              <a:latin typeface="Arial" panose="020B0604020202020204" pitchFamily="34" charset="0"/>
            </a:endParaRPr>
          </a:p>
        </p:txBody>
      </p:sp>
      <p:sp>
        <p:nvSpPr>
          <p:cNvPr id="3" name="textruta 2">
            <a:extLst>
              <a:ext uri="{FF2B5EF4-FFF2-40B4-BE49-F238E27FC236}">
                <a16:creationId xmlns:a16="http://schemas.microsoft.com/office/drawing/2014/main" id="{36121DAF-D9D2-8017-7B5C-A39E197B6E68}"/>
              </a:ext>
            </a:extLst>
          </p:cNvPr>
          <p:cNvSpPr txBox="1"/>
          <p:nvPr/>
        </p:nvSpPr>
        <p:spPr>
          <a:xfrm>
            <a:off x="9403181" y="502788"/>
            <a:ext cx="2872935" cy="369332"/>
          </a:xfrm>
          <a:prstGeom prst="rect">
            <a:avLst/>
          </a:prstGeom>
          <a:noFill/>
        </p:spPr>
        <p:txBody>
          <a:bodyPr wrap="square" rtlCol="0">
            <a:spAutoFit/>
          </a:bodyPr>
          <a:lstStyle/>
          <a:p>
            <a:r>
              <a:rPr lang="sv-SE" b="1"/>
              <a:t>1. </a:t>
            </a:r>
            <a:r>
              <a:rPr lang="sv-SE" b="1" err="1"/>
              <a:t>Raw</a:t>
            </a:r>
            <a:r>
              <a:rPr lang="sv-SE" b="1"/>
              <a:t> materials </a:t>
            </a:r>
            <a:r>
              <a:rPr lang="sv-SE" b="1" err="1"/>
              <a:t>loading</a:t>
            </a:r>
            <a:endParaRPr lang="sv-SE" b="1"/>
          </a:p>
        </p:txBody>
      </p:sp>
      <p:sp>
        <p:nvSpPr>
          <p:cNvPr id="16" name="textruta 15">
            <a:extLst>
              <a:ext uri="{FF2B5EF4-FFF2-40B4-BE49-F238E27FC236}">
                <a16:creationId xmlns:a16="http://schemas.microsoft.com/office/drawing/2014/main" id="{085A448A-2BAE-14B8-3409-17A0BF2555D7}"/>
              </a:ext>
            </a:extLst>
          </p:cNvPr>
          <p:cNvSpPr txBox="1"/>
          <p:nvPr/>
        </p:nvSpPr>
        <p:spPr>
          <a:xfrm>
            <a:off x="9872110" y="3696506"/>
            <a:ext cx="2872935" cy="369332"/>
          </a:xfrm>
          <a:prstGeom prst="rect">
            <a:avLst/>
          </a:prstGeom>
          <a:noFill/>
        </p:spPr>
        <p:txBody>
          <a:bodyPr wrap="square" rtlCol="0">
            <a:spAutoFit/>
          </a:bodyPr>
          <a:lstStyle/>
          <a:p>
            <a:r>
              <a:rPr lang="sv-SE" b="1"/>
              <a:t>2. </a:t>
            </a:r>
            <a:r>
              <a:rPr lang="sv-SE" b="1" err="1"/>
              <a:t>Melting</a:t>
            </a:r>
            <a:r>
              <a:rPr lang="sv-SE" b="1"/>
              <a:t> process</a:t>
            </a:r>
          </a:p>
        </p:txBody>
      </p:sp>
      <p:sp>
        <p:nvSpPr>
          <p:cNvPr id="17" name="textruta 16">
            <a:extLst>
              <a:ext uri="{FF2B5EF4-FFF2-40B4-BE49-F238E27FC236}">
                <a16:creationId xmlns:a16="http://schemas.microsoft.com/office/drawing/2014/main" id="{EDA702BC-8762-9D67-F057-A2C3515F506D}"/>
              </a:ext>
            </a:extLst>
          </p:cNvPr>
          <p:cNvSpPr txBox="1"/>
          <p:nvPr/>
        </p:nvSpPr>
        <p:spPr>
          <a:xfrm>
            <a:off x="4085047" y="7078689"/>
            <a:ext cx="488217" cy="369332"/>
          </a:xfrm>
          <a:prstGeom prst="rect">
            <a:avLst/>
          </a:prstGeom>
          <a:noFill/>
        </p:spPr>
        <p:txBody>
          <a:bodyPr wrap="square" rtlCol="0">
            <a:spAutoFit/>
          </a:bodyPr>
          <a:lstStyle/>
          <a:p>
            <a:r>
              <a:rPr lang="sv-SE" b="1"/>
              <a:t>3. </a:t>
            </a:r>
          </a:p>
        </p:txBody>
      </p:sp>
      <p:sp>
        <p:nvSpPr>
          <p:cNvPr id="18" name="textruta 17">
            <a:extLst>
              <a:ext uri="{FF2B5EF4-FFF2-40B4-BE49-F238E27FC236}">
                <a16:creationId xmlns:a16="http://schemas.microsoft.com/office/drawing/2014/main" id="{9BCB299F-0E9C-1929-98C2-8E0FFEA35D8D}"/>
              </a:ext>
            </a:extLst>
          </p:cNvPr>
          <p:cNvSpPr txBox="1"/>
          <p:nvPr/>
        </p:nvSpPr>
        <p:spPr>
          <a:xfrm>
            <a:off x="5773414" y="7078689"/>
            <a:ext cx="488217" cy="369332"/>
          </a:xfrm>
          <a:prstGeom prst="rect">
            <a:avLst/>
          </a:prstGeom>
          <a:noFill/>
        </p:spPr>
        <p:txBody>
          <a:bodyPr wrap="square" rtlCol="0">
            <a:spAutoFit/>
          </a:bodyPr>
          <a:lstStyle/>
          <a:p>
            <a:r>
              <a:rPr lang="sv-SE" b="1"/>
              <a:t>4. </a:t>
            </a:r>
          </a:p>
        </p:txBody>
      </p:sp>
      <p:sp>
        <p:nvSpPr>
          <p:cNvPr id="20" name="textruta 19">
            <a:extLst>
              <a:ext uri="{FF2B5EF4-FFF2-40B4-BE49-F238E27FC236}">
                <a16:creationId xmlns:a16="http://schemas.microsoft.com/office/drawing/2014/main" id="{34538D3B-C2AC-3FD7-6B64-25A531653654}"/>
              </a:ext>
            </a:extLst>
          </p:cNvPr>
          <p:cNvSpPr txBox="1"/>
          <p:nvPr/>
        </p:nvSpPr>
        <p:spPr>
          <a:xfrm>
            <a:off x="8091621" y="7078689"/>
            <a:ext cx="488217" cy="369332"/>
          </a:xfrm>
          <a:prstGeom prst="rect">
            <a:avLst/>
          </a:prstGeom>
          <a:noFill/>
        </p:spPr>
        <p:txBody>
          <a:bodyPr wrap="square" rtlCol="0">
            <a:spAutoFit/>
          </a:bodyPr>
          <a:lstStyle/>
          <a:p>
            <a:r>
              <a:rPr lang="sv-SE" b="1"/>
              <a:t>5. </a:t>
            </a:r>
          </a:p>
        </p:txBody>
      </p:sp>
      <p:sp>
        <p:nvSpPr>
          <p:cNvPr id="22" name="textruta 21">
            <a:extLst>
              <a:ext uri="{FF2B5EF4-FFF2-40B4-BE49-F238E27FC236}">
                <a16:creationId xmlns:a16="http://schemas.microsoft.com/office/drawing/2014/main" id="{8C56630B-D30B-0EC9-D2C9-A55054E3FB7D}"/>
              </a:ext>
            </a:extLst>
          </p:cNvPr>
          <p:cNvSpPr txBox="1"/>
          <p:nvPr/>
        </p:nvSpPr>
        <p:spPr>
          <a:xfrm>
            <a:off x="10081349" y="7078689"/>
            <a:ext cx="488217" cy="369332"/>
          </a:xfrm>
          <a:prstGeom prst="rect">
            <a:avLst/>
          </a:prstGeom>
          <a:noFill/>
        </p:spPr>
        <p:txBody>
          <a:bodyPr wrap="square" rtlCol="0">
            <a:spAutoFit/>
          </a:bodyPr>
          <a:lstStyle/>
          <a:p>
            <a:r>
              <a:rPr lang="sv-SE" b="1"/>
              <a:t>6. </a:t>
            </a:r>
          </a:p>
        </p:txBody>
      </p:sp>
      <p:sp>
        <p:nvSpPr>
          <p:cNvPr id="23" name="textruta 22">
            <a:extLst>
              <a:ext uri="{FF2B5EF4-FFF2-40B4-BE49-F238E27FC236}">
                <a16:creationId xmlns:a16="http://schemas.microsoft.com/office/drawing/2014/main" id="{1C803B71-8371-899E-A90C-64056F034C90}"/>
              </a:ext>
            </a:extLst>
          </p:cNvPr>
          <p:cNvSpPr txBox="1"/>
          <p:nvPr/>
        </p:nvSpPr>
        <p:spPr>
          <a:xfrm>
            <a:off x="12154296" y="7078689"/>
            <a:ext cx="488217" cy="369332"/>
          </a:xfrm>
          <a:prstGeom prst="rect">
            <a:avLst/>
          </a:prstGeom>
          <a:noFill/>
        </p:spPr>
        <p:txBody>
          <a:bodyPr wrap="square" rtlCol="0">
            <a:spAutoFit/>
          </a:bodyPr>
          <a:lstStyle/>
          <a:p>
            <a:r>
              <a:rPr lang="sv-SE" b="1"/>
              <a:t>7. </a:t>
            </a:r>
          </a:p>
        </p:txBody>
      </p:sp>
      <p:sp>
        <p:nvSpPr>
          <p:cNvPr id="24" name="textruta 23">
            <a:extLst>
              <a:ext uri="{FF2B5EF4-FFF2-40B4-BE49-F238E27FC236}">
                <a16:creationId xmlns:a16="http://schemas.microsoft.com/office/drawing/2014/main" id="{2E4F5F83-4DDE-DD34-E3BA-A4534505E88B}"/>
              </a:ext>
            </a:extLst>
          </p:cNvPr>
          <p:cNvSpPr txBox="1"/>
          <p:nvPr/>
        </p:nvSpPr>
        <p:spPr>
          <a:xfrm>
            <a:off x="14337228" y="7045801"/>
            <a:ext cx="488217" cy="369332"/>
          </a:xfrm>
          <a:prstGeom prst="rect">
            <a:avLst/>
          </a:prstGeom>
          <a:noFill/>
        </p:spPr>
        <p:txBody>
          <a:bodyPr wrap="square" rtlCol="0">
            <a:spAutoFit/>
          </a:bodyPr>
          <a:lstStyle/>
          <a:p>
            <a:r>
              <a:rPr lang="sv-SE" b="1"/>
              <a:t>8. </a:t>
            </a:r>
          </a:p>
        </p:txBody>
      </p:sp>
      <p:sp>
        <p:nvSpPr>
          <p:cNvPr id="25" name="textruta 24">
            <a:extLst>
              <a:ext uri="{FF2B5EF4-FFF2-40B4-BE49-F238E27FC236}">
                <a16:creationId xmlns:a16="http://schemas.microsoft.com/office/drawing/2014/main" id="{BBA08E62-0BC4-04F8-67D2-D2DAFFD85EE2}"/>
              </a:ext>
            </a:extLst>
          </p:cNvPr>
          <p:cNvSpPr txBox="1"/>
          <p:nvPr/>
        </p:nvSpPr>
        <p:spPr>
          <a:xfrm>
            <a:off x="13911812" y="8387213"/>
            <a:ext cx="488217" cy="369332"/>
          </a:xfrm>
          <a:prstGeom prst="rect">
            <a:avLst/>
          </a:prstGeom>
          <a:noFill/>
        </p:spPr>
        <p:txBody>
          <a:bodyPr wrap="square" rtlCol="0">
            <a:spAutoFit/>
          </a:bodyPr>
          <a:lstStyle/>
          <a:p>
            <a:r>
              <a:rPr lang="sv-SE" b="1"/>
              <a:t>9. </a:t>
            </a:r>
          </a:p>
        </p:txBody>
      </p:sp>
    </p:spTree>
    <p:extLst>
      <p:ext uri="{BB962C8B-B14F-4D97-AF65-F5344CB8AC3E}">
        <p14:creationId xmlns:p14="http://schemas.microsoft.com/office/powerpoint/2010/main" val="128143884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6"/>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4"/>
          <a:srcRect/>
          <a:stretch>
            <a:fillRect/>
          </a:stretch>
        </p:blipFill>
        <p:spPr>
          <a:xfrm>
            <a:off x="0" y="8852181"/>
            <a:ext cx="5715000" cy="1385887"/>
          </a:xfrm>
          <a:prstGeom prst="rect">
            <a:avLst/>
          </a:prstGeom>
        </p:spPr>
      </p:pic>
      <p:grpSp>
        <p:nvGrpSpPr>
          <p:cNvPr id="3" name="Gruppo 2">
            <a:extLst>
              <a:ext uri="{FF2B5EF4-FFF2-40B4-BE49-F238E27FC236}">
                <a16:creationId xmlns:a16="http://schemas.microsoft.com/office/drawing/2014/main" id="{1C29CBCA-BE0A-4EF6-AC69-329941E1DCFD}"/>
              </a:ext>
            </a:extLst>
          </p:cNvPr>
          <p:cNvGrpSpPr/>
          <p:nvPr/>
        </p:nvGrpSpPr>
        <p:grpSpPr>
          <a:xfrm>
            <a:off x="-12" y="138554"/>
            <a:ext cx="18288002" cy="681138"/>
            <a:chOff x="-12" y="138554"/>
            <a:chExt cx="18288002" cy="681138"/>
          </a:xfrm>
        </p:grpSpPr>
        <p:grpSp>
          <p:nvGrpSpPr>
            <p:cNvPr id="2" name="Gruppo 1">
              <a:extLst>
                <a:ext uri="{FF2B5EF4-FFF2-40B4-BE49-F238E27FC236}">
                  <a16:creationId xmlns:a16="http://schemas.microsoft.com/office/drawing/2014/main" id="{24E9C7AF-0093-476F-826C-A2702AB72892}"/>
                </a:ext>
              </a:extLst>
            </p:cNvPr>
            <p:cNvGrpSpPr/>
            <p:nvPr/>
          </p:nvGrpSpPr>
          <p:grpSpPr>
            <a:xfrm>
              <a:off x="0" y="153125"/>
              <a:ext cx="17907000" cy="666567"/>
              <a:chOff x="0" y="153125"/>
              <a:chExt cx="17907000" cy="666567"/>
            </a:xfrm>
          </p:grpSpPr>
          <p:grpSp>
            <p:nvGrpSpPr>
              <p:cNvPr id="16" name="Gruppo 15">
                <a:extLst>
                  <a:ext uri="{FF2B5EF4-FFF2-40B4-BE49-F238E27FC236}">
                    <a16:creationId xmlns:a16="http://schemas.microsoft.com/office/drawing/2014/main" id="{DAC42A46-917D-41AB-8F07-E15E54D0F7D4}"/>
                  </a:ext>
                </a:extLst>
              </p:cNvPr>
              <p:cNvGrpSpPr/>
              <p:nvPr/>
            </p:nvGrpSpPr>
            <p:grpSpPr>
              <a:xfrm>
                <a:off x="0" y="153125"/>
                <a:ext cx="13958844" cy="666567"/>
                <a:chOff x="0" y="153125"/>
                <a:chExt cx="13958844" cy="666567"/>
              </a:xfrm>
            </p:grpSpPr>
            <p:pic>
              <p:nvPicPr>
                <p:cNvPr id="10" name="Picture 10"/>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1" name="TextBox 11"/>
                <p:cNvSpPr txBox="1"/>
                <p:nvPr/>
              </p:nvSpPr>
              <p:spPr>
                <a:xfrm>
                  <a:off x="228600" y="257980"/>
                  <a:ext cx="9296400" cy="456856"/>
                </a:xfrm>
                <a:prstGeom prst="rect">
                  <a:avLst/>
                </a:prstGeom>
              </p:spPr>
              <p:txBody>
                <a:bodyPr wrap="square" lIns="0" tIns="0" rIns="0" bIns="0" rtlCol="0" anchor="t">
                  <a:spAutoFit/>
                </a:bodyPr>
                <a:lstStyle/>
                <a:p>
                  <a:pPr>
                    <a:lnSpc>
                      <a:spcPts val="3919"/>
                    </a:lnSpc>
                    <a:spcBef>
                      <a:spcPct val="0"/>
                    </a:spcBef>
                  </a:pPr>
                  <a:endParaRPr lang="en-US" sz="2800" b="1">
                    <a:solidFill>
                      <a:srgbClr val="FFFFFF"/>
                    </a:solidFill>
                    <a:latin typeface="Arial" panose="020B0604020202020204" pitchFamily="34" charset="0"/>
                    <a:cs typeface="Arial" panose="020B0604020202020204" pitchFamily="34" charset="0"/>
                  </a:endParaRPr>
                </a:p>
              </p:txBody>
            </p:sp>
          </p:grpSp>
          <p:sp>
            <p:nvSpPr>
              <p:cNvPr id="12" name="TextBox 11">
                <a:extLst>
                  <a:ext uri="{FF2B5EF4-FFF2-40B4-BE49-F238E27FC236}">
                    <a16:creationId xmlns:a16="http://schemas.microsoft.com/office/drawing/2014/main" id="{1BD9B5F4-614C-4EB6-8C5B-120A5420CE43}"/>
                  </a:ext>
                </a:extLst>
              </p:cNvPr>
              <p:cNvSpPr txBox="1"/>
              <p:nvPr/>
            </p:nvSpPr>
            <p:spPr>
              <a:xfrm>
                <a:off x="12154296" y="257980"/>
                <a:ext cx="5752704" cy="456856"/>
              </a:xfrm>
              <a:prstGeom prst="rect">
                <a:avLst/>
              </a:prstGeom>
            </p:spPr>
            <p:txBody>
              <a:bodyPr wrap="square" lIns="0" tIns="0" rIns="0" bIns="0" rtlCol="0" anchor="t">
                <a:spAutoFit/>
              </a:bodyPr>
              <a:lstStyle/>
              <a:p>
                <a:pPr algn="r">
                  <a:lnSpc>
                    <a:spcPts val="3919"/>
                  </a:lnSpc>
                  <a:spcBef>
                    <a:spcPct val="0"/>
                  </a:spcBef>
                </a:pPr>
                <a:endParaRPr lang="en-US" sz="2800">
                  <a:solidFill>
                    <a:schemeClr val="tx1">
                      <a:lumMod val="75000"/>
                      <a:lumOff val="25000"/>
                    </a:schemeClr>
                  </a:solidFill>
                  <a:latin typeface="Arial" panose="020B0604020202020204" pitchFamily="34" charset="0"/>
                  <a:cs typeface="Arial" panose="020B0604020202020204" pitchFamily="34" charset="0"/>
                </a:endParaRPr>
              </a:p>
            </p:txBody>
          </p:sp>
        </p:grpSp>
        <p:sp>
          <p:nvSpPr>
            <p:cNvPr id="14" name="Rettangolo 13">
              <a:extLst>
                <a:ext uri="{FF2B5EF4-FFF2-40B4-BE49-F238E27FC236}">
                  <a16:creationId xmlns:a16="http://schemas.microsoft.com/office/drawing/2014/main" id="{55199736-B8B6-4C9A-8BAF-233E07A0CA89}"/>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6" name="TextBox 13">
            <a:extLst>
              <a:ext uri="{FF2B5EF4-FFF2-40B4-BE49-F238E27FC236}">
                <a16:creationId xmlns:a16="http://schemas.microsoft.com/office/drawing/2014/main" id="{6C5B5EBB-50F2-4911-9E8B-3B7B88900CA6}"/>
              </a:ext>
            </a:extLst>
          </p:cNvPr>
          <p:cNvSpPr txBox="1"/>
          <p:nvPr/>
        </p:nvSpPr>
        <p:spPr>
          <a:xfrm>
            <a:off x="228600" y="692944"/>
            <a:ext cx="17678400" cy="1005725"/>
          </a:xfrm>
          <a:prstGeom prst="rect">
            <a:avLst/>
          </a:prstGeom>
        </p:spPr>
        <p:txBody>
          <a:bodyPr wrap="square" lIns="0" tIns="0" rIns="0" bIns="0" rtlCol="0" anchor="t">
            <a:spAutoFit/>
          </a:bodyPr>
          <a:lstStyle/>
          <a:p>
            <a:pPr algn="ctr">
              <a:lnSpc>
                <a:spcPts val="8960"/>
              </a:lnSpc>
              <a:spcBef>
                <a:spcPct val="0"/>
              </a:spcBef>
            </a:pPr>
            <a:r>
              <a:rPr lang="en-US" sz="4800" b="1">
                <a:solidFill>
                  <a:srgbClr val="CC0033"/>
                </a:solidFill>
                <a:latin typeface="+mj-lt"/>
                <a:cs typeface="Arial" panose="020B0604020202020204" pitchFamily="34" charset="0"/>
              </a:rPr>
              <a:t>ASAS Characterization</a:t>
            </a:r>
          </a:p>
        </p:txBody>
      </p:sp>
      <p:sp>
        <p:nvSpPr>
          <p:cNvPr id="36" name="TextBox 35">
            <a:extLst>
              <a:ext uri="{FF2B5EF4-FFF2-40B4-BE49-F238E27FC236}">
                <a16:creationId xmlns:a16="http://schemas.microsoft.com/office/drawing/2014/main" id="{8EE001A1-983E-4290-BA1F-BA4ED3EC9E78}"/>
              </a:ext>
            </a:extLst>
          </p:cNvPr>
          <p:cNvSpPr txBox="1"/>
          <p:nvPr/>
        </p:nvSpPr>
        <p:spPr>
          <a:xfrm>
            <a:off x="779601" y="2383786"/>
            <a:ext cx="7099110" cy="3174587"/>
          </a:xfrm>
          <a:prstGeom prst="rect">
            <a:avLst/>
          </a:prstGeom>
          <a:noFill/>
        </p:spPr>
        <p:txBody>
          <a:bodyPr wrap="square">
            <a:spAutoFit/>
          </a:bodyPr>
          <a:lstStyle/>
          <a:p>
            <a:pPr marL="285750" marR="719455" indent="-285750" algn="just">
              <a:lnSpc>
                <a:spcPct val="125000"/>
              </a:lnSpc>
              <a:spcBef>
                <a:spcPts val="1200"/>
              </a:spcBef>
              <a:spcAft>
                <a:spcPts val="0"/>
              </a:spcAft>
              <a:buFont typeface="Arial" panose="020B0604020202020204" pitchFamily="34" charset="0"/>
              <a:buChar char="•"/>
            </a:pPr>
            <a:r>
              <a:rPr lang="en-US" sz="1800">
                <a:effectLst/>
                <a:latin typeface="Arial MT"/>
                <a:ea typeface="Arial MT"/>
                <a:cs typeface="Arial MT"/>
              </a:rPr>
              <a:t>ASAS </a:t>
            </a:r>
            <a:r>
              <a:rPr lang="en-US" sz="1800" b="1">
                <a:effectLst/>
                <a:latin typeface="Arial MT"/>
                <a:ea typeface="Arial MT"/>
                <a:cs typeface="Arial MT"/>
              </a:rPr>
              <a:t>energy demand </a:t>
            </a:r>
            <a:r>
              <a:rPr lang="en-US" sz="1800">
                <a:effectLst/>
                <a:latin typeface="Arial MT"/>
                <a:ea typeface="Arial MT"/>
                <a:cs typeface="Arial MT"/>
              </a:rPr>
              <a:t>is supplied by electricity and natural gas. In terms of primary</a:t>
            </a:r>
            <a:r>
              <a:rPr lang="en-US" sz="1800" spc="5">
                <a:effectLst/>
                <a:latin typeface="Arial MT"/>
                <a:ea typeface="Arial MT"/>
                <a:cs typeface="Arial MT"/>
              </a:rPr>
              <a:t> </a:t>
            </a:r>
            <a:r>
              <a:rPr lang="en-US" sz="1800">
                <a:effectLst/>
                <a:latin typeface="Arial MT"/>
                <a:ea typeface="Arial MT"/>
                <a:cs typeface="Arial MT"/>
              </a:rPr>
              <a:t>energy, natural gas represents the highest share since it covers 62 % of the total consumption and</a:t>
            </a:r>
            <a:r>
              <a:rPr lang="en-US" sz="1800" spc="5">
                <a:effectLst/>
                <a:latin typeface="Arial MT"/>
                <a:ea typeface="Arial MT"/>
                <a:cs typeface="Arial MT"/>
              </a:rPr>
              <a:t> </a:t>
            </a:r>
            <a:r>
              <a:rPr lang="en-US" sz="1800">
                <a:effectLst/>
                <a:latin typeface="Arial MT"/>
                <a:ea typeface="Arial MT"/>
                <a:cs typeface="Arial MT"/>
              </a:rPr>
              <a:t>it is required mainly for the extrusion and flat rolling processes, as well as for electricity production</a:t>
            </a:r>
            <a:r>
              <a:rPr lang="en-US" sz="1800" spc="5">
                <a:effectLst/>
                <a:latin typeface="Arial MT"/>
                <a:ea typeface="Arial MT"/>
                <a:cs typeface="Arial MT"/>
              </a:rPr>
              <a:t> </a:t>
            </a:r>
            <a:r>
              <a:rPr lang="en-US" sz="1800">
                <a:effectLst/>
                <a:latin typeface="Arial MT"/>
                <a:ea typeface="Arial MT"/>
                <a:cs typeface="Arial MT"/>
              </a:rPr>
              <a:t>through cogeneration. The relatively lower share of electricity, 38 %, is also mainly used for the</a:t>
            </a:r>
            <a:r>
              <a:rPr lang="en-US" sz="1800" spc="5">
                <a:effectLst/>
                <a:latin typeface="Arial MT"/>
                <a:ea typeface="Arial MT"/>
                <a:cs typeface="Arial MT"/>
              </a:rPr>
              <a:t> </a:t>
            </a:r>
            <a:r>
              <a:rPr lang="en-US" sz="1800">
                <a:effectLst/>
                <a:latin typeface="Arial MT"/>
                <a:ea typeface="Arial MT"/>
                <a:cs typeface="Arial MT"/>
              </a:rPr>
              <a:t>extrusion and flat rolling processes and, to a lesser extent, for the composite panels’ and PVC</a:t>
            </a:r>
            <a:r>
              <a:rPr lang="en-US" sz="1800" spc="5">
                <a:effectLst/>
                <a:latin typeface="Arial MT"/>
                <a:ea typeface="Arial MT"/>
                <a:cs typeface="Arial MT"/>
              </a:rPr>
              <a:t> </a:t>
            </a:r>
            <a:r>
              <a:rPr lang="en-US" sz="1800">
                <a:effectLst/>
                <a:latin typeface="Arial MT"/>
                <a:ea typeface="Arial MT"/>
                <a:cs typeface="Arial MT"/>
              </a:rPr>
              <a:t>profiles’</a:t>
            </a:r>
            <a:r>
              <a:rPr lang="en-US" sz="1800" spc="-50">
                <a:effectLst/>
                <a:latin typeface="Arial MT"/>
                <a:ea typeface="Arial MT"/>
                <a:cs typeface="Arial MT"/>
              </a:rPr>
              <a:t> </a:t>
            </a:r>
            <a:r>
              <a:rPr lang="en-US" sz="1800">
                <a:effectLst/>
                <a:latin typeface="Arial MT"/>
                <a:ea typeface="Arial MT"/>
                <a:cs typeface="Arial MT"/>
              </a:rPr>
              <a:t>production.</a:t>
            </a:r>
            <a:endParaRPr lang="sv-SE" sz="1800">
              <a:effectLst/>
              <a:latin typeface="Arial MT"/>
              <a:ea typeface="Arial MT"/>
              <a:cs typeface="Arial MT"/>
            </a:endParaRPr>
          </a:p>
        </p:txBody>
      </p:sp>
      <p:sp>
        <p:nvSpPr>
          <p:cNvPr id="21" name="TextBox 20">
            <a:extLst>
              <a:ext uri="{FF2B5EF4-FFF2-40B4-BE49-F238E27FC236}">
                <a16:creationId xmlns:a16="http://schemas.microsoft.com/office/drawing/2014/main" id="{4C3D3616-59F0-4323-9ECD-8988E8318C9E}"/>
              </a:ext>
            </a:extLst>
          </p:cNvPr>
          <p:cNvSpPr txBox="1"/>
          <p:nvPr/>
        </p:nvSpPr>
        <p:spPr>
          <a:xfrm>
            <a:off x="10395284" y="9325349"/>
            <a:ext cx="6176211" cy="307777"/>
          </a:xfrm>
          <a:prstGeom prst="rect">
            <a:avLst/>
          </a:prstGeom>
          <a:noFill/>
        </p:spPr>
        <p:txBody>
          <a:bodyPr wrap="square">
            <a:spAutoFit/>
          </a:bodyPr>
          <a:lstStyle/>
          <a:p>
            <a:r>
              <a:rPr lang="en-US" sz="1400" b="0" i="0" u="none" strike="noStrike" baseline="0">
                <a:solidFill>
                  <a:srgbClr val="000000"/>
                </a:solidFill>
              </a:rPr>
              <a:t>*Based on Commission Delegated Regulation (EU) 2019/331. </a:t>
            </a:r>
            <a:endParaRPr lang="sv-SE" sz="1400"/>
          </a:p>
        </p:txBody>
      </p:sp>
      <p:pic>
        <p:nvPicPr>
          <p:cNvPr id="22" name="image25.jpeg" descr="Chart, pie chart  Description automatically generated">
            <a:extLst>
              <a:ext uri="{FF2B5EF4-FFF2-40B4-BE49-F238E27FC236}">
                <a16:creationId xmlns:a16="http://schemas.microsoft.com/office/drawing/2014/main" id="{5017B774-1427-4EF9-93F6-C50722EE0579}"/>
              </a:ext>
            </a:extLst>
          </p:cNvPr>
          <p:cNvPicPr>
            <a:picLocks noChangeAspect="1"/>
          </p:cNvPicPr>
          <p:nvPr/>
        </p:nvPicPr>
        <p:blipFill>
          <a:blip r:embed="rId6" cstate="print"/>
          <a:stretch>
            <a:fillRect/>
          </a:stretch>
        </p:blipFill>
        <p:spPr>
          <a:xfrm>
            <a:off x="7952336" y="2383786"/>
            <a:ext cx="3893846" cy="2159720"/>
          </a:xfrm>
          <a:prstGeom prst="rect">
            <a:avLst/>
          </a:prstGeom>
        </p:spPr>
      </p:pic>
      <p:pic>
        <p:nvPicPr>
          <p:cNvPr id="23" name="image26.jpeg" descr="Chart, pie chart  Description automatically generated">
            <a:extLst>
              <a:ext uri="{FF2B5EF4-FFF2-40B4-BE49-F238E27FC236}">
                <a16:creationId xmlns:a16="http://schemas.microsoft.com/office/drawing/2014/main" id="{68304416-4A0F-4543-8492-6C38D64544A0}"/>
              </a:ext>
            </a:extLst>
          </p:cNvPr>
          <p:cNvPicPr>
            <a:picLocks noChangeAspect="1"/>
          </p:cNvPicPr>
          <p:nvPr/>
        </p:nvPicPr>
        <p:blipFill>
          <a:blip r:embed="rId7" cstate="print"/>
          <a:stretch>
            <a:fillRect/>
          </a:stretch>
        </p:blipFill>
        <p:spPr>
          <a:xfrm>
            <a:off x="12321625" y="2311160"/>
            <a:ext cx="4249870" cy="2296903"/>
          </a:xfrm>
          <a:prstGeom prst="rect">
            <a:avLst/>
          </a:prstGeom>
        </p:spPr>
      </p:pic>
      <p:graphicFrame>
        <p:nvGraphicFramePr>
          <p:cNvPr id="24" name="Table 23">
            <a:extLst>
              <a:ext uri="{FF2B5EF4-FFF2-40B4-BE49-F238E27FC236}">
                <a16:creationId xmlns:a16="http://schemas.microsoft.com/office/drawing/2014/main" id="{E3D10C16-0E21-4F5B-B722-131863690E8B}"/>
              </a:ext>
            </a:extLst>
          </p:cNvPr>
          <p:cNvGraphicFramePr>
            <a:graphicFrameLocks noGrp="1"/>
          </p:cNvGraphicFramePr>
          <p:nvPr/>
        </p:nvGraphicFramePr>
        <p:xfrm>
          <a:off x="2857500" y="6216832"/>
          <a:ext cx="12470322" cy="2747057"/>
        </p:xfrm>
        <a:graphic>
          <a:graphicData uri="http://schemas.openxmlformats.org/drawingml/2006/table">
            <a:tbl>
              <a:tblPr firstRow="1" firstCol="1" lastRow="1" lastCol="1" bandRow="1" bandCol="1">
                <a:tableStyleId>{72833802-FEF1-4C79-8D5D-14CF1EAF98D9}</a:tableStyleId>
              </a:tblPr>
              <a:tblGrid>
                <a:gridCol w="4380866">
                  <a:extLst>
                    <a:ext uri="{9D8B030D-6E8A-4147-A177-3AD203B41FA5}">
                      <a16:colId xmlns:a16="http://schemas.microsoft.com/office/drawing/2014/main" val="3203473643"/>
                    </a:ext>
                  </a:extLst>
                </a:gridCol>
                <a:gridCol w="3245545">
                  <a:extLst>
                    <a:ext uri="{9D8B030D-6E8A-4147-A177-3AD203B41FA5}">
                      <a16:colId xmlns:a16="http://schemas.microsoft.com/office/drawing/2014/main" val="1554325551"/>
                    </a:ext>
                  </a:extLst>
                </a:gridCol>
                <a:gridCol w="4843911">
                  <a:extLst>
                    <a:ext uri="{9D8B030D-6E8A-4147-A177-3AD203B41FA5}">
                      <a16:colId xmlns:a16="http://schemas.microsoft.com/office/drawing/2014/main" val="1838484279"/>
                    </a:ext>
                  </a:extLst>
                </a:gridCol>
              </a:tblGrid>
              <a:tr h="664494">
                <a:tc>
                  <a:txBody>
                    <a:bodyPr/>
                    <a:lstStyle/>
                    <a:p>
                      <a:pPr indent="0" algn="ctr">
                        <a:lnSpc>
                          <a:spcPct val="100000"/>
                        </a:lnSpc>
                        <a:spcBef>
                          <a:spcPts val="55"/>
                        </a:spcBef>
                      </a:pPr>
                      <a:r>
                        <a:rPr lang="en-US" sz="2000" b="1" kern="1200">
                          <a:solidFill>
                            <a:schemeClr val="tx1"/>
                          </a:solidFill>
                          <a:effectLst/>
                        </a:rPr>
                        <a:t> KPI</a:t>
                      </a:r>
                      <a:endParaRPr lang="sv-SE" sz="2000" b="1" kern="1200">
                        <a:solidFill>
                          <a:schemeClr val="tx1"/>
                        </a:solidFill>
                        <a:effectLst/>
                        <a:latin typeface="+mj-lt"/>
                        <a:ea typeface="+mn-ea"/>
                        <a:cs typeface="+mn-cs"/>
                      </a:endParaRP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solidFill>
                  </a:tcPr>
                </a:tc>
                <a:tc>
                  <a:txBody>
                    <a:bodyPr/>
                    <a:lstStyle/>
                    <a:p>
                      <a:pPr indent="0" algn="ctr">
                        <a:lnSpc>
                          <a:spcPct val="100000"/>
                        </a:lnSpc>
                        <a:spcBef>
                          <a:spcPts val="15"/>
                        </a:spcBef>
                      </a:pPr>
                      <a:r>
                        <a:rPr lang="en-US" sz="2000" b="1" kern="1200">
                          <a:solidFill>
                            <a:schemeClr val="tx1"/>
                          </a:solidFill>
                          <a:effectLst/>
                        </a:rPr>
                        <a:t>ASAS value</a:t>
                      </a:r>
                      <a:endParaRPr lang="sv-SE" sz="2000" b="1" kern="1200">
                        <a:solidFill>
                          <a:schemeClr val="tx1"/>
                        </a:solidFill>
                        <a:effectLst/>
                        <a:latin typeface="+mj-lt"/>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solidFill>
                  </a:tcPr>
                </a:tc>
                <a:tc>
                  <a:txBody>
                    <a:bodyPr/>
                    <a:lstStyle/>
                    <a:p>
                      <a:pPr indent="0" algn="ctr">
                        <a:lnSpc>
                          <a:spcPct val="100000"/>
                        </a:lnSpc>
                        <a:spcBef>
                          <a:spcPts val="15"/>
                        </a:spcBef>
                      </a:pPr>
                      <a:r>
                        <a:rPr lang="sv-SE" sz="2000" b="1" kern="1200">
                          <a:solidFill>
                            <a:schemeClr val="tx1"/>
                          </a:solidFill>
                          <a:effectLst/>
                          <a:latin typeface="+mj-lt"/>
                          <a:ea typeface="+mn-ea"/>
                          <a:cs typeface="+mn-cs"/>
                        </a:rPr>
                        <a:t>Aluminium </a:t>
                      </a:r>
                      <a:r>
                        <a:rPr lang="sv-SE" sz="2000" b="1" kern="1200" err="1">
                          <a:solidFill>
                            <a:schemeClr val="tx1"/>
                          </a:solidFill>
                          <a:effectLst/>
                          <a:latin typeface="+mj-lt"/>
                          <a:ea typeface="+mn-ea"/>
                          <a:cs typeface="+mn-cs"/>
                        </a:rPr>
                        <a:t>sector</a:t>
                      </a:r>
                      <a:r>
                        <a:rPr lang="sv-SE" sz="2000" b="1" kern="1200">
                          <a:solidFill>
                            <a:schemeClr val="tx1"/>
                          </a:solidFill>
                          <a:effectLst/>
                          <a:latin typeface="+mj-lt"/>
                          <a:ea typeface="+mn-ea"/>
                          <a:cs typeface="+mn-cs"/>
                        </a:rPr>
                        <a:t> </a:t>
                      </a:r>
                      <a:r>
                        <a:rPr lang="sv-SE" sz="2000" b="1" kern="1200" err="1">
                          <a:solidFill>
                            <a:schemeClr val="tx1"/>
                          </a:solidFill>
                          <a:effectLst/>
                          <a:latin typeface="+mj-lt"/>
                          <a:ea typeface="+mn-ea"/>
                          <a:cs typeface="+mn-cs"/>
                        </a:rPr>
                        <a:t>average</a:t>
                      </a:r>
                      <a:r>
                        <a:rPr lang="sv-SE" sz="2000" b="1" kern="1200">
                          <a:solidFill>
                            <a:schemeClr val="tx1"/>
                          </a:solidFill>
                          <a:effectLst/>
                          <a:latin typeface="+mj-lt"/>
                          <a:ea typeface="+mn-ea"/>
                          <a:cs typeface="+mn-cs"/>
                        </a:rPr>
                        <a:t> </a:t>
                      </a:r>
                      <a:r>
                        <a:rPr lang="sv-SE" sz="2000" b="1" kern="1200" err="1">
                          <a:solidFill>
                            <a:schemeClr val="tx1"/>
                          </a:solidFill>
                          <a:effectLst/>
                          <a:latin typeface="+mj-lt"/>
                          <a:ea typeface="+mn-ea"/>
                          <a:cs typeface="+mn-cs"/>
                        </a:rPr>
                        <a:t>value</a:t>
                      </a:r>
                      <a:r>
                        <a:rPr lang="sv-SE" sz="2000" b="1" kern="1200">
                          <a:solidFill>
                            <a:schemeClr val="tx1"/>
                          </a:solidFill>
                          <a:effectLst/>
                          <a:latin typeface="+mj-lt"/>
                          <a:ea typeface="+mn-ea"/>
                          <a:cs typeface="+mn-cs"/>
                        </a:rPr>
                        <a: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solidFill>
                  </a:tcPr>
                </a:tc>
                <a:extLst>
                  <a:ext uri="{0D108BD9-81ED-4DB2-BD59-A6C34878D82A}">
                    <a16:rowId xmlns:a16="http://schemas.microsoft.com/office/drawing/2014/main" val="3965927615"/>
                  </a:ext>
                </a:extLst>
              </a:tr>
              <a:tr h="509273">
                <a:tc>
                  <a:txBody>
                    <a:bodyPr/>
                    <a:lstStyle/>
                    <a:p>
                      <a:pPr indent="0" algn="ctr">
                        <a:lnSpc>
                          <a:spcPct val="100000"/>
                        </a:lnSpc>
                        <a:spcBef>
                          <a:spcPts val="30"/>
                        </a:spcBef>
                      </a:pPr>
                      <a:r>
                        <a:rPr lang="en-US" sz="2000" b="1" kern="1200" err="1">
                          <a:solidFill>
                            <a:schemeClr val="tx1"/>
                          </a:solidFill>
                          <a:effectLst/>
                        </a:rPr>
                        <a:t>Primaryenergy</a:t>
                      </a:r>
                      <a:r>
                        <a:rPr lang="en-US" sz="2000" b="1" kern="1200">
                          <a:solidFill>
                            <a:schemeClr val="tx1"/>
                          </a:solidFill>
                          <a:effectLst/>
                        </a:rPr>
                        <a:t> requirements</a:t>
                      </a:r>
                      <a:endParaRPr lang="sv-SE" sz="2000" b="1" kern="1200">
                        <a:solidFill>
                          <a:schemeClr val="tx1"/>
                        </a:solidFill>
                        <a:effectLst/>
                        <a:latin typeface="+mj-lt"/>
                        <a:ea typeface="+mn-ea"/>
                        <a:cs typeface="+mn-cs"/>
                      </a:endParaRP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R="58420" indent="0" algn="ctr">
                        <a:lnSpc>
                          <a:spcPct val="100000"/>
                        </a:lnSpc>
                        <a:spcBef>
                          <a:spcPts val="310"/>
                        </a:spcBef>
                        <a:spcAft>
                          <a:spcPts val="0"/>
                        </a:spcAft>
                      </a:pPr>
                      <a:r>
                        <a:rPr lang="en-US" sz="2000" b="0" kern="1200">
                          <a:solidFill>
                            <a:schemeClr val="tx1"/>
                          </a:solidFill>
                          <a:effectLst/>
                        </a:rPr>
                        <a:t>0.26 toe/t</a:t>
                      </a:r>
                      <a:endParaRPr lang="sv-SE" sz="2000" b="0" kern="1200">
                        <a:solidFill>
                          <a:schemeClr val="tx1"/>
                        </a:solidFill>
                        <a:effectLst/>
                        <a:latin typeface="+mj-lt"/>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R="58420" indent="0" algn="ctr">
                        <a:lnSpc>
                          <a:spcPct val="100000"/>
                        </a:lnSpc>
                        <a:spcBef>
                          <a:spcPts val="310"/>
                        </a:spcBef>
                        <a:spcAft>
                          <a:spcPts val="0"/>
                        </a:spcAft>
                      </a:pPr>
                      <a:r>
                        <a:rPr lang="sv-SE" sz="2000" b="0"/>
                        <a:t>0.05-0.21 </a:t>
                      </a:r>
                      <a:r>
                        <a:rPr lang="sv-SE" sz="2000" b="0" err="1"/>
                        <a:t>toe</a:t>
                      </a:r>
                      <a:r>
                        <a:rPr lang="sv-SE" sz="2000" b="0"/>
                        <a:t>/t</a:t>
                      </a:r>
                      <a:endParaRPr lang="sv-SE" sz="2000" b="0" kern="1200">
                        <a:solidFill>
                          <a:schemeClr val="tx1"/>
                        </a:solidFill>
                        <a:effectLst/>
                        <a:latin typeface="+mj-lt"/>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41460493"/>
                  </a:ext>
                </a:extLst>
              </a:tr>
              <a:tr h="524430">
                <a:tc>
                  <a:txBody>
                    <a:bodyPr/>
                    <a:lstStyle/>
                    <a:p>
                      <a:pPr algn="ctr"/>
                      <a:r>
                        <a:rPr lang="sv-SE" sz="1600"/>
                        <a:t> </a:t>
                      </a:r>
                      <a:r>
                        <a:rPr lang="sv-SE" sz="2000" b="1" kern="1200" err="1">
                          <a:solidFill>
                            <a:schemeClr val="tx1"/>
                          </a:solidFill>
                          <a:effectLst/>
                          <a:latin typeface="+mn-lt"/>
                          <a:ea typeface="+mn-ea"/>
                          <a:cs typeface="+mn-cs"/>
                        </a:rPr>
                        <a:t>Electricity</a:t>
                      </a:r>
                      <a:r>
                        <a:rPr lang="sv-SE" sz="2000" b="1" kern="1200">
                          <a:solidFill>
                            <a:schemeClr val="tx1"/>
                          </a:solidFill>
                          <a:effectLst/>
                          <a:latin typeface="+mn-lt"/>
                          <a:ea typeface="+mn-ea"/>
                          <a:cs typeface="+mn-cs"/>
                        </a:rPr>
                        <a:t> </a:t>
                      </a:r>
                      <a:r>
                        <a:rPr lang="sv-SE" sz="2000" b="1" kern="1200" err="1">
                          <a:solidFill>
                            <a:schemeClr val="tx1"/>
                          </a:solidFill>
                          <a:effectLst/>
                          <a:latin typeface="+mn-lt"/>
                          <a:ea typeface="+mn-ea"/>
                          <a:cs typeface="+mn-cs"/>
                        </a:rPr>
                        <a:t>demand</a:t>
                      </a:r>
                      <a:endParaRPr lang="sv-SE" sz="2000" b="1" kern="1200">
                        <a:solidFill>
                          <a:schemeClr val="tx1"/>
                        </a:solidFill>
                        <a:effectLst/>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sv-SE" sz="2000" b="0" kern="1200">
                          <a:solidFill>
                            <a:schemeClr val="tx1"/>
                          </a:solidFill>
                          <a:effectLst/>
                          <a:latin typeface="+mn-lt"/>
                          <a:ea typeface="+mn-ea"/>
                          <a:cs typeface="+mn-cs"/>
                        </a:rPr>
                        <a:t>0.55 MWh/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rtl="0" eaLnBrk="1" latinLnBrk="0" hangingPunct="1"/>
                      <a:r>
                        <a:rPr lang="sv-SE" sz="2000" b="0" kern="1200">
                          <a:solidFill>
                            <a:schemeClr val="tx1"/>
                          </a:solidFill>
                          <a:effectLst/>
                          <a:latin typeface="+mn-lt"/>
                          <a:ea typeface="+mn-ea"/>
                          <a:cs typeface="+mn-cs"/>
                        </a:rPr>
                        <a: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40504214"/>
                  </a:ext>
                </a:extLst>
              </a:tr>
              <a:tr h="524430">
                <a:tc>
                  <a:txBody>
                    <a:bodyPr/>
                    <a:lstStyle/>
                    <a:p>
                      <a:pPr algn="ctr"/>
                      <a:r>
                        <a:rPr lang="sv-SE" sz="2000" b="1" kern="1200" err="1">
                          <a:solidFill>
                            <a:schemeClr val="tx1"/>
                          </a:solidFill>
                          <a:effectLst/>
                          <a:latin typeface="+mn-lt"/>
                          <a:ea typeface="+mn-ea"/>
                          <a:cs typeface="+mn-cs"/>
                        </a:rPr>
                        <a:t>Natural</a:t>
                      </a:r>
                      <a:r>
                        <a:rPr lang="sv-SE" sz="2000" b="1" kern="1200">
                          <a:solidFill>
                            <a:schemeClr val="tx1"/>
                          </a:solidFill>
                          <a:effectLst/>
                          <a:latin typeface="+mn-lt"/>
                          <a:ea typeface="+mn-ea"/>
                          <a:cs typeface="+mn-cs"/>
                        </a:rPr>
                        <a:t> gas </a:t>
                      </a:r>
                      <a:r>
                        <a:rPr lang="sv-SE" sz="2000" b="1" kern="1200" err="1">
                          <a:solidFill>
                            <a:schemeClr val="tx1"/>
                          </a:solidFill>
                          <a:effectLst/>
                          <a:latin typeface="+mn-lt"/>
                          <a:ea typeface="+mn-ea"/>
                          <a:cs typeface="+mn-cs"/>
                        </a:rPr>
                        <a:t>demand</a:t>
                      </a:r>
                      <a:endParaRPr lang="sv-SE" sz="2000" b="1" kern="1200">
                        <a:solidFill>
                          <a:schemeClr val="tx1"/>
                        </a:solidFill>
                        <a:effectLst/>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sv-SE" sz="2000" b="0" kern="1200">
                          <a:solidFill>
                            <a:schemeClr val="tx1"/>
                          </a:solidFill>
                          <a:effectLst/>
                          <a:latin typeface="+mn-lt"/>
                          <a:ea typeface="+mn-ea"/>
                          <a:cs typeface="+mn-cs"/>
                        </a:rPr>
                        <a:t>1.90 MWh/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rtl="0" eaLnBrk="1" latinLnBrk="0" hangingPunct="1"/>
                      <a:r>
                        <a:rPr lang="sv-SE" sz="2000" b="0" kern="1200">
                          <a:solidFill>
                            <a:schemeClr val="tx1"/>
                          </a:solidFill>
                          <a:effectLst/>
                          <a:latin typeface="+mn-lt"/>
                          <a:ea typeface="+mn-ea"/>
                          <a:cs typeface="+mn-cs"/>
                        </a:rPr>
                        <a: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42484635"/>
                  </a:ext>
                </a:extLst>
              </a:tr>
              <a:tr h="524430">
                <a:tc>
                  <a:txBody>
                    <a:bodyPr/>
                    <a:lstStyle/>
                    <a:p>
                      <a:pPr indent="0" algn="ctr">
                        <a:lnSpc>
                          <a:spcPct val="100000"/>
                        </a:lnSpc>
                        <a:spcBef>
                          <a:spcPts val="310"/>
                        </a:spcBef>
                      </a:pPr>
                      <a:r>
                        <a:rPr lang="en-US" sz="2000" b="1" kern="1200">
                          <a:solidFill>
                            <a:schemeClr val="tx1"/>
                          </a:solidFill>
                          <a:effectLst/>
                        </a:rPr>
                        <a:t> Environmental performance</a:t>
                      </a:r>
                      <a:endParaRPr lang="sv-SE" sz="2000" b="1" kern="1200">
                        <a:solidFill>
                          <a:schemeClr val="tx1"/>
                        </a:solidFill>
                        <a:effectLst/>
                        <a:latin typeface="+mj-lt"/>
                        <a:ea typeface="+mn-ea"/>
                        <a:cs typeface="+mn-cs"/>
                      </a:endParaRP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indent="0" algn="ctr">
                        <a:lnSpc>
                          <a:spcPct val="100000"/>
                        </a:lnSpc>
                        <a:spcBef>
                          <a:spcPts val="310"/>
                        </a:spcBef>
                      </a:pPr>
                      <a:r>
                        <a:rPr lang="en-US" sz="2000" b="0" kern="1200">
                          <a:solidFill>
                            <a:schemeClr val="tx1"/>
                          </a:solidFill>
                          <a:effectLst/>
                        </a:rPr>
                        <a:t>0.57 tCO2eq/t</a:t>
                      </a:r>
                      <a:endParaRPr lang="sv-SE" sz="2000" b="0" kern="1200">
                        <a:solidFill>
                          <a:schemeClr val="tx1"/>
                        </a:solidFill>
                        <a:effectLst/>
                        <a:latin typeface="+mj-lt"/>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indent="0" algn="ctr">
                        <a:lnSpc>
                          <a:spcPct val="100000"/>
                        </a:lnSpc>
                        <a:spcBef>
                          <a:spcPts val="310"/>
                        </a:spcBef>
                      </a:pPr>
                      <a:r>
                        <a:rPr lang="sv-SE" sz="2000" b="0" kern="1200">
                          <a:solidFill>
                            <a:schemeClr val="tx1"/>
                          </a:solidFill>
                          <a:effectLst/>
                          <a:latin typeface="+mj-lt"/>
                          <a:ea typeface="+mn-ea"/>
                          <a:cs typeface="+mn-cs"/>
                        </a:rPr>
                        <a:t>0.154 tCO2eq/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54549919"/>
                  </a:ext>
                </a:extLst>
              </a:tr>
            </a:tbl>
          </a:graphicData>
        </a:graphic>
      </p:graphicFrame>
      <p:sp>
        <p:nvSpPr>
          <p:cNvPr id="25" name="TextBox 24">
            <a:extLst>
              <a:ext uri="{FF2B5EF4-FFF2-40B4-BE49-F238E27FC236}">
                <a16:creationId xmlns:a16="http://schemas.microsoft.com/office/drawing/2014/main" id="{99960F7B-528D-43E7-8FDC-6F655C182C35}"/>
              </a:ext>
            </a:extLst>
          </p:cNvPr>
          <p:cNvSpPr txBox="1"/>
          <p:nvPr/>
        </p:nvSpPr>
        <p:spPr>
          <a:xfrm>
            <a:off x="7952336" y="5115653"/>
            <a:ext cx="9954664" cy="369332"/>
          </a:xfrm>
          <a:prstGeom prst="rect">
            <a:avLst/>
          </a:prstGeom>
          <a:noFill/>
        </p:spPr>
        <p:txBody>
          <a:bodyPr wrap="square">
            <a:spAutoFit/>
          </a:bodyPr>
          <a:lstStyle/>
          <a:p>
            <a:r>
              <a:rPr lang="en-US" kern="100">
                <a:solidFill>
                  <a:srgbClr val="404040"/>
                </a:solidFill>
                <a:latin typeface="Arial (body)"/>
              </a:rPr>
              <a:t>Primary energy consumption and GHG emission of ASAS’ </a:t>
            </a:r>
            <a:r>
              <a:rPr lang="en-US" sz="1800" b="0" i="0" u="none" strike="noStrike" baseline="0">
                <a:solidFill>
                  <a:srgbClr val="000000"/>
                </a:solidFill>
                <a:latin typeface="Arial" panose="020B0604020202020204" pitchFamily="34" charset="0"/>
              </a:rPr>
              <a:t>whole </a:t>
            </a:r>
            <a:r>
              <a:rPr lang="en-US" kern="100">
                <a:solidFill>
                  <a:srgbClr val="404040"/>
                </a:solidFill>
                <a:latin typeface="Arial (body)"/>
              </a:rPr>
              <a:t>plant in </a:t>
            </a:r>
            <a:r>
              <a:rPr lang="en-US" sz="1800" err="1">
                <a:effectLst/>
                <a:latin typeface="Arial MT"/>
                <a:ea typeface="Arial MT"/>
                <a:cs typeface="Arial MT"/>
              </a:rPr>
              <a:t>Gebze</a:t>
            </a:r>
            <a:r>
              <a:rPr lang="en-US" sz="1800">
                <a:effectLst/>
                <a:latin typeface="Arial MT"/>
                <a:ea typeface="Arial MT"/>
                <a:cs typeface="Arial MT"/>
              </a:rPr>
              <a:t> (Turkey)</a:t>
            </a:r>
            <a:endParaRPr lang="sv-SE" kern="100">
              <a:solidFill>
                <a:srgbClr val="404040"/>
              </a:solidFill>
              <a:latin typeface="Arial (body)"/>
            </a:endParaRPr>
          </a:p>
        </p:txBody>
      </p:sp>
    </p:spTree>
    <p:extLst>
      <p:ext uri="{BB962C8B-B14F-4D97-AF65-F5344CB8AC3E}">
        <p14:creationId xmlns:p14="http://schemas.microsoft.com/office/powerpoint/2010/main" val="303475466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6"/>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4"/>
          <a:srcRect/>
          <a:stretch>
            <a:fillRect/>
          </a:stretch>
        </p:blipFill>
        <p:spPr>
          <a:xfrm>
            <a:off x="0" y="8901113"/>
            <a:ext cx="5715000" cy="1385887"/>
          </a:xfrm>
          <a:prstGeom prst="rect">
            <a:avLst/>
          </a:prstGeom>
        </p:spPr>
      </p:pic>
      <p:grpSp>
        <p:nvGrpSpPr>
          <p:cNvPr id="3" name="Gruppo 2">
            <a:extLst>
              <a:ext uri="{FF2B5EF4-FFF2-40B4-BE49-F238E27FC236}">
                <a16:creationId xmlns:a16="http://schemas.microsoft.com/office/drawing/2014/main" id="{1C29CBCA-BE0A-4EF6-AC69-329941E1DCFD}"/>
              </a:ext>
            </a:extLst>
          </p:cNvPr>
          <p:cNvGrpSpPr/>
          <p:nvPr/>
        </p:nvGrpSpPr>
        <p:grpSpPr>
          <a:xfrm>
            <a:off x="-12" y="138554"/>
            <a:ext cx="18288002" cy="681138"/>
            <a:chOff x="-12" y="138554"/>
            <a:chExt cx="18288002" cy="681138"/>
          </a:xfrm>
        </p:grpSpPr>
        <p:grpSp>
          <p:nvGrpSpPr>
            <p:cNvPr id="2" name="Gruppo 1">
              <a:extLst>
                <a:ext uri="{FF2B5EF4-FFF2-40B4-BE49-F238E27FC236}">
                  <a16:creationId xmlns:a16="http://schemas.microsoft.com/office/drawing/2014/main" id="{24E9C7AF-0093-476F-826C-A2702AB72892}"/>
                </a:ext>
              </a:extLst>
            </p:cNvPr>
            <p:cNvGrpSpPr/>
            <p:nvPr/>
          </p:nvGrpSpPr>
          <p:grpSpPr>
            <a:xfrm>
              <a:off x="0" y="153125"/>
              <a:ext cx="17907000" cy="666567"/>
              <a:chOff x="0" y="153125"/>
              <a:chExt cx="17907000" cy="666567"/>
            </a:xfrm>
          </p:grpSpPr>
          <p:pic>
            <p:nvPicPr>
              <p:cNvPr id="10" name="Picture 10"/>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2" name="TextBox 11">
                <a:extLst>
                  <a:ext uri="{FF2B5EF4-FFF2-40B4-BE49-F238E27FC236}">
                    <a16:creationId xmlns:a16="http://schemas.microsoft.com/office/drawing/2014/main" id="{1BD9B5F4-614C-4EB6-8C5B-120A5420CE43}"/>
                  </a:ext>
                </a:extLst>
              </p:cNvPr>
              <p:cNvSpPr txBox="1"/>
              <p:nvPr/>
            </p:nvSpPr>
            <p:spPr>
              <a:xfrm>
                <a:off x="12154296" y="257980"/>
                <a:ext cx="5752704" cy="456856"/>
              </a:xfrm>
              <a:prstGeom prst="rect">
                <a:avLst/>
              </a:prstGeom>
            </p:spPr>
            <p:txBody>
              <a:bodyPr wrap="square" lIns="0" tIns="0" rIns="0" bIns="0" rtlCol="0" anchor="t">
                <a:spAutoFit/>
              </a:bodyPr>
              <a:lstStyle/>
              <a:p>
                <a:pPr algn="r">
                  <a:lnSpc>
                    <a:spcPts val="3919"/>
                  </a:lnSpc>
                  <a:spcBef>
                    <a:spcPct val="0"/>
                  </a:spcBef>
                </a:pPr>
                <a:endParaRPr lang="en-US" sz="2800">
                  <a:solidFill>
                    <a:schemeClr val="tx1">
                      <a:lumMod val="75000"/>
                      <a:lumOff val="25000"/>
                    </a:schemeClr>
                  </a:solidFill>
                  <a:latin typeface="Arial" panose="020B0604020202020204" pitchFamily="34" charset="0"/>
                  <a:cs typeface="Arial" panose="020B0604020202020204" pitchFamily="34" charset="0"/>
                </a:endParaRPr>
              </a:p>
            </p:txBody>
          </p:sp>
        </p:grpSp>
        <p:sp>
          <p:nvSpPr>
            <p:cNvPr id="14" name="Rettangolo 13">
              <a:extLst>
                <a:ext uri="{FF2B5EF4-FFF2-40B4-BE49-F238E27FC236}">
                  <a16:creationId xmlns:a16="http://schemas.microsoft.com/office/drawing/2014/main" id="{55199736-B8B6-4C9A-8BAF-233E07A0CA89}"/>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3" name="TextBox 13"/>
          <p:cNvSpPr txBox="1"/>
          <p:nvPr/>
        </p:nvSpPr>
        <p:spPr>
          <a:xfrm>
            <a:off x="1588688" y="989115"/>
            <a:ext cx="13618595" cy="677108"/>
          </a:xfrm>
          <a:prstGeom prst="rect">
            <a:avLst/>
          </a:prstGeom>
        </p:spPr>
        <p:txBody>
          <a:bodyPr wrap="square" lIns="0" tIns="0" rIns="0" bIns="0" rtlCol="0" anchor="t">
            <a:spAutoFit/>
          </a:bodyPr>
          <a:lstStyle/>
          <a:p>
            <a:pPr>
              <a:spcBef>
                <a:spcPct val="0"/>
              </a:spcBef>
            </a:pPr>
            <a:r>
              <a:rPr lang="en-US" sz="4400" b="1">
                <a:solidFill>
                  <a:srgbClr val="CC0033"/>
                </a:solidFill>
                <a:latin typeface="+mj-lt"/>
                <a:cs typeface="Arial" panose="020B0604020202020204" pitchFamily="34" charset="0"/>
              </a:rPr>
              <a:t>Course Contents:</a:t>
            </a:r>
            <a:endParaRPr lang="en-US" sz="3600" b="1" i="1">
              <a:solidFill>
                <a:srgbClr val="CC0033"/>
              </a:solidFill>
              <a:latin typeface="+mj-lt"/>
              <a:cs typeface="Arial" panose="020B0604020202020204" pitchFamily="34" charset="0"/>
            </a:endParaRPr>
          </a:p>
        </p:txBody>
      </p:sp>
      <p:sp>
        <p:nvSpPr>
          <p:cNvPr id="21" name="Content Placeholder 2">
            <a:extLst>
              <a:ext uri="{FF2B5EF4-FFF2-40B4-BE49-F238E27FC236}">
                <a16:creationId xmlns:a16="http://schemas.microsoft.com/office/drawing/2014/main" id="{7410B400-A91F-45CE-9F10-13149670B085}"/>
              </a:ext>
            </a:extLst>
          </p:cNvPr>
          <p:cNvSpPr txBox="1">
            <a:spLocks/>
          </p:cNvSpPr>
          <p:nvPr/>
        </p:nvSpPr>
        <p:spPr>
          <a:xfrm>
            <a:off x="1109535" y="1835646"/>
            <a:ext cx="16797465" cy="7462239"/>
          </a:xfrm>
          <a:prstGeom prst="rect">
            <a:avLst/>
          </a:prstGeom>
        </p:spPr>
        <p:txBody>
          <a:bodyPr vert="horz" lIns="91440" tIns="45720" rIns="91440" bIns="45720" rtlCol="0">
            <a:normAutofit/>
          </a:bodyPr>
          <a:lstStyle>
            <a:lvl1pPr marL="0" indent="0" algn="ctr" defTabSz="914400" rtl="0" eaLnBrk="1" latinLnBrk="0" hangingPunct="1">
              <a:spcBef>
                <a:spcPct val="20000"/>
              </a:spcBef>
              <a:buFont typeface="Arial" pitchFamily="34" charset="0"/>
              <a:buNone/>
              <a:defRPr sz="3200" kern="1200">
                <a:solidFill>
                  <a:schemeClr val="tx1">
                    <a:tint val="75000"/>
                  </a:schemeClr>
                </a:solidFill>
                <a:latin typeface="+mn-lt"/>
                <a:ea typeface="+mn-ea"/>
                <a:cs typeface="+mn-cs"/>
              </a:defRPr>
            </a:lvl1pPr>
            <a:lvl2pPr marL="457200" indent="0" algn="ctr" defTabSz="914400"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marL="914400" lvl="1" indent="-457200" algn="l">
              <a:buFont typeface="Arial" panose="020B0604020202020204" pitchFamily="34" charset="0"/>
              <a:buChar char="•"/>
            </a:pPr>
            <a:r>
              <a:rPr lang="en-GB" dirty="0">
                <a:solidFill>
                  <a:schemeClr val="tx1"/>
                </a:solidFill>
              </a:rPr>
              <a:t>Chapter 1: Drivers for Retrofitting</a:t>
            </a:r>
          </a:p>
          <a:p>
            <a:pPr marL="914400" lvl="1" indent="-457200" algn="l">
              <a:buFont typeface="Arial" panose="020B0604020202020204" pitchFamily="34" charset="0"/>
              <a:buChar char="•"/>
            </a:pPr>
            <a:r>
              <a:rPr lang="en-GB" dirty="0">
                <a:solidFill>
                  <a:schemeClr val="tx1"/>
                </a:solidFill>
              </a:rPr>
              <a:t>Chapter 2: The RETROFEED Project - Get to know the demo-sites </a:t>
            </a:r>
          </a:p>
          <a:p>
            <a:pPr marL="1371600" lvl="2" indent="-457200" algn="l">
              <a:buFont typeface="Arial" panose="020B0604020202020204" pitchFamily="34" charset="0"/>
              <a:buChar char="•"/>
            </a:pPr>
            <a:r>
              <a:rPr lang="en-GB" sz="2000" dirty="0">
                <a:solidFill>
                  <a:schemeClr val="tx1"/>
                </a:solidFill>
              </a:rPr>
              <a:t>2.1 The RETROFEED Project</a:t>
            </a:r>
          </a:p>
          <a:p>
            <a:pPr marL="1371600" lvl="2" indent="-457200" algn="l">
              <a:buFont typeface="Arial" panose="020B0604020202020204" pitchFamily="34" charset="0"/>
              <a:buChar char="•"/>
            </a:pPr>
            <a:r>
              <a:rPr lang="en-GB" sz="2000" dirty="0">
                <a:solidFill>
                  <a:schemeClr val="tx1"/>
                </a:solidFill>
              </a:rPr>
              <a:t>2.2 Cement Production</a:t>
            </a:r>
          </a:p>
          <a:p>
            <a:pPr marL="1371600" lvl="2" indent="-457200" algn="l">
              <a:buFont typeface="Arial" panose="020B0604020202020204" pitchFamily="34" charset="0"/>
              <a:buChar char="•"/>
            </a:pPr>
            <a:r>
              <a:rPr lang="en-GB" sz="2000" dirty="0">
                <a:solidFill>
                  <a:schemeClr val="tx1"/>
                </a:solidFill>
              </a:rPr>
              <a:t>2.3 Aluminium Production</a:t>
            </a:r>
          </a:p>
          <a:p>
            <a:pPr marL="1371600" lvl="2" indent="-457200" algn="l">
              <a:buFont typeface="Arial" panose="020B0604020202020204" pitchFamily="34" charset="0"/>
              <a:buChar char="•"/>
            </a:pPr>
            <a:r>
              <a:rPr lang="en-GB" sz="2000" dirty="0">
                <a:solidFill>
                  <a:schemeClr val="tx1"/>
                </a:solidFill>
              </a:rPr>
              <a:t>2.4 Fertilizer Production</a:t>
            </a:r>
          </a:p>
          <a:p>
            <a:pPr marL="1371600" lvl="2" indent="-457200" algn="l">
              <a:buFont typeface="Arial" panose="020B0604020202020204" pitchFamily="34" charset="0"/>
              <a:buChar char="•"/>
            </a:pPr>
            <a:r>
              <a:rPr lang="en-GB" sz="2000" dirty="0">
                <a:solidFill>
                  <a:schemeClr val="tx1"/>
                </a:solidFill>
              </a:rPr>
              <a:t>2.5 Steel Production</a:t>
            </a:r>
          </a:p>
          <a:p>
            <a:pPr marL="914400" lvl="1" indent="-457200" algn="l">
              <a:buFont typeface="Arial" panose="020B0604020202020204" pitchFamily="34" charset="0"/>
              <a:buChar char="•"/>
            </a:pPr>
            <a:r>
              <a:rPr lang="en-GB" dirty="0">
                <a:solidFill>
                  <a:schemeClr val="tx1"/>
                </a:solidFill>
              </a:rPr>
              <a:t>Chapter</a:t>
            </a:r>
            <a:r>
              <a:rPr lang="sv-SE" dirty="0">
                <a:solidFill>
                  <a:schemeClr val="tx1"/>
                </a:solidFill>
              </a:rPr>
              <a:t> 3: </a:t>
            </a:r>
            <a:r>
              <a:rPr lang="en-US" dirty="0">
                <a:solidFill>
                  <a:schemeClr val="tx1"/>
                </a:solidFill>
              </a:rPr>
              <a:t>Key Resource Indicators (KRI) , Key Performance Attributes (KPA) and Expected Project Impact</a:t>
            </a:r>
          </a:p>
          <a:p>
            <a:pPr marL="1371600" lvl="2" indent="-457200" algn="l">
              <a:buFont typeface="Arial" panose="020B0604020202020204" pitchFamily="34" charset="0"/>
              <a:buChar char="•"/>
            </a:pPr>
            <a:r>
              <a:rPr lang="en-US" sz="2000" dirty="0">
                <a:solidFill>
                  <a:schemeClr val="tx1"/>
                </a:solidFill>
              </a:rPr>
              <a:t>3.1 KRIs and KPAs</a:t>
            </a:r>
          </a:p>
          <a:p>
            <a:pPr marL="1371600" lvl="2" indent="-457200" algn="l">
              <a:buFont typeface="Arial" panose="020B0604020202020204" pitchFamily="34" charset="0"/>
              <a:buChar char="•"/>
            </a:pPr>
            <a:r>
              <a:rPr lang="sv-SE" sz="2000" dirty="0">
                <a:solidFill>
                  <a:schemeClr val="tx1"/>
                </a:solidFill>
              </a:rPr>
              <a:t>3.2 </a:t>
            </a:r>
            <a:r>
              <a:rPr lang="en-US" sz="2000" dirty="0">
                <a:solidFill>
                  <a:schemeClr val="tx1"/>
                </a:solidFill>
              </a:rPr>
              <a:t>Expected Impacts in RETROFEED demo-sites</a:t>
            </a:r>
            <a:endParaRPr lang="sv-SE" sz="2000" dirty="0">
              <a:solidFill>
                <a:schemeClr val="tx1"/>
              </a:solidFill>
            </a:endParaRPr>
          </a:p>
          <a:p>
            <a:pPr marL="914400" lvl="1" indent="-457200" algn="l">
              <a:buFont typeface="Arial" panose="020B0604020202020204" pitchFamily="34" charset="0"/>
              <a:buChar char="•"/>
            </a:pPr>
            <a:r>
              <a:rPr lang="en-US" dirty="0">
                <a:solidFill>
                  <a:schemeClr val="tx1"/>
                </a:solidFill>
              </a:rPr>
              <a:t>Chapter 4: Digital Twin (DT) Development</a:t>
            </a:r>
          </a:p>
          <a:p>
            <a:pPr marL="1371600" lvl="2" indent="-457200" algn="l">
              <a:buFont typeface="Arial" panose="020B0604020202020204" pitchFamily="34" charset="0"/>
              <a:buChar char="•"/>
            </a:pPr>
            <a:r>
              <a:rPr lang="en-US" sz="2000" dirty="0">
                <a:solidFill>
                  <a:schemeClr val="tx1"/>
                </a:solidFill>
              </a:rPr>
              <a:t>4.1 Digital Readiness Level</a:t>
            </a:r>
          </a:p>
          <a:p>
            <a:pPr marL="1371600" lvl="2" indent="-457200" algn="l">
              <a:buFont typeface="Arial" panose="020B0604020202020204" pitchFamily="34" charset="0"/>
              <a:buChar char="•"/>
            </a:pPr>
            <a:r>
              <a:rPr lang="en-US" sz="2000" dirty="0">
                <a:solidFill>
                  <a:schemeClr val="tx1"/>
                </a:solidFill>
              </a:rPr>
              <a:t>4.2 Digital Twins in Industrial Retrofitting </a:t>
            </a:r>
          </a:p>
          <a:p>
            <a:pPr marL="1371600" lvl="2" indent="-457200" algn="l">
              <a:buFont typeface="Arial" panose="020B0604020202020204" pitchFamily="34" charset="0"/>
              <a:buChar char="•"/>
            </a:pPr>
            <a:r>
              <a:rPr lang="en-US" sz="2000" dirty="0">
                <a:solidFill>
                  <a:schemeClr val="tx1"/>
                </a:solidFill>
              </a:rPr>
              <a:t>4.3 Example of Digital Twin for Agrochemical Sector</a:t>
            </a:r>
          </a:p>
        </p:txBody>
      </p:sp>
      <p:pic>
        <p:nvPicPr>
          <p:cNvPr id="5" name="Picture 4">
            <a:extLst>
              <a:ext uri="{FF2B5EF4-FFF2-40B4-BE49-F238E27FC236}">
                <a16:creationId xmlns:a16="http://schemas.microsoft.com/office/drawing/2014/main" id="{CFD55723-4A96-F3C0-834B-9D352FFC9DF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4270665" y="884259"/>
            <a:ext cx="3895047" cy="3260711"/>
          </a:xfrm>
          <a:prstGeom prst="rect">
            <a:avLst/>
          </a:prstGeom>
        </p:spPr>
      </p:pic>
    </p:spTree>
    <p:extLst>
      <p:ext uri="{BB962C8B-B14F-4D97-AF65-F5344CB8AC3E}">
        <p14:creationId xmlns:p14="http://schemas.microsoft.com/office/powerpoint/2010/main" val="116286115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uppo 16">
            <a:extLst>
              <a:ext uri="{FF2B5EF4-FFF2-40B4-BE49-F238E27FC236}">
                <a16:creationId xmlns:a16="http://schemas.microsoft.com/office/drawing/2014/main" id="{7F05FA2D-BA17-4C4E-9DAE-36CC81DE9BAA}"/>
              </a:ext>
            </a:extLst>
          </p:cNvPr>
          <p:cNvGrpSpPr/>
          <p:nvPr/>
        </p:nvGrpSpPr>
        <p:grpSpPr>
          <a:xfrm>
            <a:off x="4329156" y="9695736"/>
            <a:ext cx="13958844" cy="666567"/>
            <a:chOff x="4329156" y="9649198"/>
            <a:chExt cx="13958844" cy="666567"/>
          </a:xfrm>
        </p:grpSpPr>
        <p:pic>
          <p:nvPicPr>
            <p:cNvPr id="5" name="Picture 12">
              <a:extLst>
                <a:ext uri="{FF2B5EF4-FFF2-40B4-BE49-F238E27FC236}">
                  <a16:creationId xmlns:a16="http://schemas.microsoft.com/office/drawing/2014/main" id="{00810EF5-3949-4698-A5DE-428CD380175F}"/>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6" name="TextBox 16">
              <a:extLst>
                <a:ext uri="{FF2B5EF4-FFF2-40B4-BE49-F238E27FC236}">
                  <a16:creationId xmlns:a16="http://schemas.microsoft.com/office/drawing/2014/main" id="{EDDD1531-1BDA-4725-B6A3-364F4B7CF76A}"/>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pic>
        <p:nvPicPr>
          <p:cNvPr id="7" name="Picture 12">
            <a:extLst>
              <a:ext uri="{FF2B5EF4-FFF2-40B4-BE49-F238E27FC236}">
                <a16:creationId xmlns:a16="http://schemas.microsoft.com/office/drawing/2014/main" id="{52C35A30-8BA0-4714-8363-E6CE748BA2C3}"/>
              </a:ext>
            </a:extLst>
          </p:cNvPr>
          <p:cNvPicPr>
            <a:picLocks noChangeAspect="1"/>
          </p:cNvPicPr>
          <p:nvPr/>
        </p:nvPicPr>
        <p:blipFill>
          <a:blip r:embed="rId4"/>
          <a:srcRect/>
          <a:stretch>
            <a:fillRect/>
          </a:stretch>
        </p:blipFill>
        <p:spPr>
          <a:xfrm>
            <a:off x="0" y="9237180"/>
            <a:ext cx="4329156" cy="1049820"/>
          </a:xfrm>
          <a:prstGeom prst="rect">
            <a:avLst/>
          </a:prstGeom>
        </p:spPr>
      </p:pic>
      <p:grpSp>
        <p:nvGrpSpPr>
          <p:cNvPr id="8" name="Gruppo 2">
            <a:extLst>
              <a:ext uri="{FF2B5EF4-FFF2-40B4-BE49-F238E27FC236}">
                <a16:creationId xmlns:a16="http://schemas.microsoft.com/office/drawing/2014/main" id="{C9C93A65-4067-4ACC-B2C9-8C15277024E4}"/>
              </a:ext>
            </a:extLst>
          </p:cNvPr>
          <p:cNvGrpSpPr/>
          <p:nvPr/>
        </p:nvGrpSpPr>
        <p:grpSpPr>
          <a:xfrm>
            <a:off x="-12" y="138554"/>
            <a:ext cx="18288002" cy="681138"/>
            <a:chOff x="-12" y="138554"/>
            <a:chExt cx="18288002" cy="681138"/>
          </a:xfrm>
        </p:grpSpPr>
        <p:grpSp>
          <p:nvGrpSpPr>
            <p:cNvPr id="9" name="Gruppo 1">
              <a:extLst>
                <a:ext uri="{FF2B5EF4-FFF2-40B4-BE49-F238E27FC236}">
                  <a16:creationId xmlns:a16="http://schemas.microsoft.com/office/drawing/2014/main" id="{A943E672-738C-4FE3-BD35-ACD7A4E4D95E}"/>
                </a:ext>
              </a:extLst>
            </p:cNvPr>
            <p:cNvGrpSpPr/>
            <p:nvPr/>
          </p:nvGrpSpPr>
          <p:grpSpPr>
            <a:xfrm>
              <a:off x="0" y="153125"/>
              <a:ext cx="17907000" cy="666567"/>
              <a:chOff x="0" y="153125"/>
              <a:chExt cx="17907000" cy="666567"/>
            </a:xfrm>
          </p:grpSpPr>
          <p:grpSp>
            <p:nvGrpSpPr>
              <p:cNvPr id="11" name="Gruppo 15">
                <a:extLst>
                  <a:ext uri="{FF2B5EF4-FFF2-40B4-BE49-F238E27FC236}">
                    <a16:creationId xmlns:a16="http://schemas.microsoft.com/office/drawing/2014/main" id="{10037738-5D9A-4755-B52F-99B1FA543ED3}"/>
                  </a:ext>
                </a:extLst>
              </p:cNvPr>
              <p:cNvGrpSpPr/>
              <p:nvPr/>
            </p:nvGrpSpPr>
            <p:grpSpPr>
              <a:xfrm>
                <a:off x="0" y="153125"/>
                <a:ext cx="13958844" cy="666567"/>
                <a:chOff x="0" y="153125"/>
                <a:chExt cx="13958844" cy="666567"/>
              </a:xfrm>
            </p:grpSpPr>
            <p:pic>
              <p:nvPicPr>
                <p:cNvPr id="13" name="Picture 10">
                  <a:extLst>
                    <a:ext uri="{FF2B5EF4-FFF2-40B4-BE49-F238E27FC236}">
                      <a16:creationId xmlns:a16="http://schemas.microsoft.com/office/drawing/2014/main" id="{30234B5E-6FF9-499F-817A-9B69F1CC9911}"/>
                    </a:ext>
                  </a:extLst>
                </p:cNvPr>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4" name="TextBox 11">
                  <a:extLst>
                    <a:ext uri="{FF2B5EF4-FFF2-40B4-BE49-F238E27FC236}">
                      <a16:creationId xmlns:a16="http://schemas.microsoft.com/office/drawing/2014/main" id="{E5F3FE84-033A-4279-AF93-ABD80EC40550}"/>
                    </a:ext>
                  </a:extLst>
                </p:cNvPr>
                <p:cNvSpPr txBox="1"/>
                <p:nvPr/>
              </p:nvSpPr>
              <p:spPr>
                <a:xfrm>
                  <a:off x="228600" y="257980"/>
                  <a:ext cx="9296400" cy="456856"/>
                </a:xfrm>
                <a:prstGeom prst="rect">
                  <a:avLst/>
                </a:prstGeom>
              </p:spPr>
              <p:txBody>
                <a:bodyPr wrap="square" lIns="0" tIns="0" rIns="0" bIns="0" rtlCol="0" anchor="t">
                  <a:spAutoFit/>
                </a:bodyPr>
                <a:lstStyle/>
                <a:p>
                  <a:pPr>
                    <a:lnSpc>
                      <a:spcPts val="3919"/>
                    </a:lnSpc>
                    <a:spcBef>
                      <a:spcPct val="0"/>
                    </a:spcBef>
                  </a:pPr>
                  <a:endParaRPr lang="en-US" sz="2800" b="1">
                    <a:solidFill>
                      <a:srgbClr val="FFFFFF"/>
                    </a:solidFill>
                    <a:latin typeface="Arial" panose="020B0604020202020204" pitchFamily="34" charset="0"/>
                    <a:cs typeface="Arial" panose="020B0604020202020204" pitchFamily="34" charset="0"/>
                  </a:endParaRPr>
                </a:p>
              </p:txBody>
            </p:sp>
          </p:grpSp>
          <p:sp>
            <p:nvSpPr>
              <p:cNvPr id="12" name="TextBox 11">
                <a:extLst>
                  <a:ext uri="{FF2B5EF4-FFF2-40B4-BE49-F238E27FC236}">
                    <a16:creationId xmlns:a16="http://schemas.microsoft.com/office/drawing/2014/main" id="{7B4365DB-7AB3-494A-91B9-B5781D39B67B}"/>
                  </a:ext>
                </a:extLst>
              </p:cNvPr>
              <p:cNvSpPr txBox="1"/>
              <p:nvPr/>
            </p:nvSpPr>
            <p:spPr>
              <a:xfrm>
                <a:off x="12154296" y="257980"/>
                <a:ext cx="5752704" cy="456856"/>
              </a:xfrm>
              <a:prstGeom prst="rect">
                <a:avLst/>
              </a:prstGeom>
            </p:spPr>
            <p:txBody>
              <a:bodyPr wrap="square" lIns="0" tIns="0" rIns="0" bIns="0" rtlCol="0" anchor="t">
                <a:spAutoFit/>
              </a:bodyPr>
              <a:lstStyle/>
              <a:p>
                <a:pPr algn="r">
                  <a:lnSpc>
                    <a:spcPts val="3919"/>
                  </a:lnSpc>
                  <a:spcBef>
                    <a:spcPct val="0"/>
                  </a:spcBef>
                </a:pPr>
                <a:endParaRPr lang="en-US" sz="2800">
                  <a:solidFill>
                    <a:schemeClr val="tx1">
                      <a:lumMod val="75000"/>
                      <a:lumOff val="25000"/>
                    </a:schemeClr>
                  </a:solidFill>
                  <a:latin typeface="Arial" panose="020B0604020202020204" pitchFamily="34" charset="0"/>
                  <a:cs typeface="Arial" panose="020B0604020202020204" pitchFamily="34" charset="0"/>
                </a:endParaRPr>
              </a:p>
            </p:txBody>
          </p:sp>
        </p:grpSp>
        <p:sp>
          <p:nvSpPr>
            <p:cNvPr id="10" name="Rettangolo 13">
              <a:extLst>
                <a:ext uri="{FF2B5EF4-FFF2-40B4-BE49-F238E27FC236}">
                  <a16:creationId xmlns:a16="http://schemas.microsoft.com/office/drawing/2014/main" id="{BC76EB51-B4AB-4BAB-AAF6-1883074EEF50}"/>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0" name="TextBox 19">
            <a:extLst>
              <a:ext uri="{FF2B5EF4-FFF2-40B4-BE49-F238E27FC236}">
                <a16:creationId xmlns:a16="http://schemas.microsoft.com/office/drawing/2014/main" id="{B4D68CAB-2F99-49CF-9331-08151EAABA39}"/>
              </a:ext>
            </a:extLst>
          </p:cNvPr>
          <p:cNvSpPr txBox="1"/>
          <p:nvPr/>
        </p:nvSpPr>
        <p:spPr>
          <a:xfrm>
            <a:off x="5529863" y="924916"/>
            <a:ext cx="8428981" cy="830997"/>
          </a:xfrm>
          <a:prstGeom prst="rect">
            <a:avLst/>
          </a:prstGeom>
          <a:noFill/>
        </p:spPr>
        <p:txBody>
          <a:bodyPr wrap="square">
            <a:spAutoFit/>
          </a:bodyPr>
          <a:lstStyle/>
          <a:p>
            <a:r>
              <a:rPr lang="sv-SE" sz="4800" b="1">
                <a:solidFill>
                  <a:srgbClr val="CC0033"/>
                </a:solidFill>
                <a:latin typeface="+mj-lt"/>
                <a:cs typeface="Arial" panose="020B0604020202020204" pitchFamily="34" charset="0"/>
              </a:rPr>
              <a:t>RETROFEED at ASAS</a:t>
            </a:r>
          </a:p>
        </p:txBody>
      </p:sp>
      <p:sp>
        <p:nvSpPr>
          <p:cNvPr id="21" name="TextBox 20">
            <a:extLst>
              <a:ext uri="{FF2B5EF4-FFF2-40B4-BE49-F238E27FC236}">
                <a16:creationId xmlns:a16="http://schemas.microsoft.com/office/drawing/2014/main" id="{4D202826-A262-4E51-B95E-1EDEE44997BC}"/>
              </a:ext>
            </a:extLst>
          </p:cNvPr>
          <p:cNvSpPr txBox="1"/>
          <p:nvPr/>
        </p:nvSpPr>
        <p:spPr>
          <a:xfrm>
            <a:off x="711553" y="4864596"/>
            <a:ext cx="9880248" cy="2949525"/>
          </a:xfrm>
          <a:prstGeom prst="rect">
            <a:avLst/>
          </a:prstGeom>
          <a:noFill/>
        </p:spPr>
        <p:txBody>
          <a:bodyPr wrap="square">
            <a:spAutoFit/>
          </a:bodyPr>
          <a:lstStyle/>
          <a:p>
            <a:pPr algn="just">
              <a:lnSpc>
                <a:spcPct val="150000"/>
              </a:lnSpc>
            </a:pPr>
            <a:r>
              <a:rPr lang="en-US" sz="1800" dirty="0">
                <a:effectLst/>
                <a:latin typeface="Arial MT"/>
                <a:ea typeface="Arial MT"/>
                <a:cs typeface="Arial MT"/>
              </a:rPr>
              <a:t>The RETROFEED activities</a:t>
            </a:r>
            <a:r>
              <a:rPr lang="en-US" sz="1800" spc="5" dirty="0">
                <a:effectLst/>
                <a:latin typeface="Arial MT"/>
                <a:ea typeface="Arial MT"/>
                <a:cs typeface="Arial MT"/>
              </a:rPr>
              <a:t> </a:t>
            </a:r>
            <a:r>
              <a:rPr lang="en-US" sz="1800" dirty="0">
                <a:effectLst/>
                <a:latin typeface="Arial MT"/>
                <a:ea typeface="Arial MT"/>
                <a:cs typeface="Arial MT"/>
              </a:rPr>
              <a:t>will take place in one of the melting furnaces. The main goal is to increase the share of scrap in the</a:t>
            </a:r>
            <a:r>
              <a:rPr lang="en-US" sz="1800" spc="-295" dirty="0">
                <a:effectLst/>
                <a:latin typeface="Arial MT"/>
                <a:ea typeface="Arial MT"/>
                <a:cs typeface="Arial MT"/>
              </a:rPr>
              <a:t> </a:t>
            </a:r>
            <a:r>
              <a:rPr lang="en-US" sz="1800" dirty="0">
                <a:effectLst/>
                <a:latin typeface="Arial MT"/>
                <a:ea typeface="Arial MT"/>
                <a:cs typeface="Arial MT"/>
              </a:rPr>
              <a:t>raw</a:t>
            </a:r>
            <a:r>
              <a:rPr lang="en-US" sz="1800" spc="-10" dirty="0">
                <a:effectLst/>
                <a:latin typeface="Arial MT"/>
                <a:ea typeface="Arial MT"/>
                <a:cs typeface="Arial MT"/>
              </a:rPr>
              <a:t> </a:t>
            </a:r>
            <a:r>
              <a:rPr lang="en-US" sz="1800" dirty="0">
                <a:effectLst/>
                <a:latin typeface="Arial MT"/>
                <a:ea typeface="Arial MT"/>
                <a:cs typeface="Arial MT"/>
              </a:rPr>
              <a:t>material.</a:t>
            </a:r>
            <a:r>
              <a:rPr lang="en-US" sz="1800" spc="-10" dirty="0">
                <a:effectLst/>
                <a:latin typeface="Arial MT"/>
                <a:ea typeface="Arial MT"/>
                <a:cs typeface="Arial MT"/>
              </a:rPr>
              <a:t> </a:t>
            </a:r>
            <a:r>
              <a:rPr lang="en-US" sz="1800" dirty="0">
                <a:effectLst/>
                <a:latin typeface="Arial MT"/>
                <a:ea typeface="Arial MT"/>
                <a:cs typeface="Arial MT"/>
              </a:rPr>
              <a:t>It</a:t>
            </a:r>
            <a:r>
              <a:rPr lang="en-US" sz="1800" spc="-15" dirty="0">
                <a:effectLst/>
                <a:latin typeface="Arial MT"/>
                <a:ea typeface="Arial MT"/>
                <a:cs typeface="Arial MT"/>
              </a:rPr>
              <a:t> </a:t>
            </a:r>
            <a:r>
              <a:rPr lang="en-US" sz="1800" dirty="0">
                <a:effectLst/>
                <a:latin typeface="Arial MT"/>
                <a:ea typeface="Arial MT"/>
                <a:cs typeface="Arial MT"/>
              </a:rPr>
              <a:t>is</a:t>
            </a:r>
            <a:r>
              <a:rPr lang="en-US" sz="1800" spc="-5" dirty="0">
                <a:effectLst/>
                <a:latin typeface="Arial MT"/>
                <a:ea typeface="Arial MT"/>
                <a:cs typeface="Arial MT"/>
              </a:rPr>
              <a:t> </a:t>
            </a:r>
            <a:r>
              <a:rPr lang="en-US" sz="1800" dirty="0">
                <a:effectLst/>
                <a:latin typeface="Arial MT"/>
                <a:ea typeface="Arial MT"/>
                <a:cs typeface="Arial MT"/>
              </a:rPr>
              <a:t>expected</a:t>
            </a:r>
            <a:r>
              <a:rPr lang="en-US" sz="1800" spc="-10" dirty="0">
                <a:effectLst/>
                <a:latin typeface="Arial MT"/>
                <a:ea typeface="Arial MT"/>
                <a:cs typeface="Arial MT"/>
              </a:rPr>
              <a:t> </a:t>
            </a:r>
            <a:r>
              <a:rPr lang="en-US" sz="1800" dirty="0">
                <a:effectLst/>
                <a:latin typeface="Arial MT"/>
                <a:ea typeface="Arial MT"/>
                <a:cs typeface="Arial MT"/>
              </a:rPr>
              <a:t>that</a:t>
            </a:r>
            <a:r>
              <a:rPr lang="en-US" sz="1800" spc="-10" dirty="0">
                <a:effectLst/>
                <a:latin typeface="Arial MT"/>
                <a:ea typeface="Arial MT"/>
                <a:cs typeface="Arial MT"/>
              </a:rPr>
              <a:t> </a:t>
            </a:r>
            <a:r>
              <a:rPr lang="en-US" sz="1800" dirty="0">
                <a:effectLst/>
                <a:latin typeface="Arial MT"/>
                <a:ea typeface="Arial MT"/>
                <a:cs typeface="Arial MT"/>
              </a:rPr>
              <a:t>the</a:t>
            </a:r>
            <a:r>
              <a:rPr lang="en-US" sz="1800" spc="-5" dirty="0">
                <a:effectLst/>
                <a:latin typeface="Arial MT"/>
                <a:ea typeface="Arial MT"/>
                <a:cs typeface="Arial MT"/>
              </a:rPr>
              <a:t> </a:t>
            </a:r>
            <a:r>
              <a:rPr lang="en-US" sz="1800" dirty="0">
                <a:effectLst/>
                <a:latin typeface="Arial MT"/>
                <a:ea typeface="Arial MT"/>
                <a:cs typeface="Arial MT"/>
              </a:rPr>
              <a:t>increase</a:t>
            </a:r>
            <a:r>
              <a:rPr lang="en-US" sz="1800" spc="-15" dirty="0">
                <a:effectLst/>
                <a:latin typeface="Arial MT"/>
                <a:ea typeface="Arial MT"/>
                <a:cs typeface="Arial MT"/>
              </a:rPr>
              <a:t> </a:t>
            </a:r>
            <a:r>
              <a:rPr lang="en-US" sz="1800" dirty="0">
                <a:effectLst/>
                <a:latin typeface="Arial MT"/>
                <a:ea typeface="Arial MT"/>
                <a:cs typeface="Arial MT"/>
              </a:rPr>
              <a:t>in</a:t>
            </a:r>
            <a:r>
              <a:rPr lang="en-US" sz="1800" spc="-15" dirty="0">
                <a:effectLst/>
                <a:latin typeface="Arial MT"/>
                <a:ea typeface="Arial MT"/>
                <a:cs typeface="Arial MT"/>
              </a:rPr>
              <a:t> </a:t>
            </a:r>
            <a:r>
              <a:rPr lang="en-US" sz="1800" dirty="0">
                <a:effectLst/>
                <a:latin typeface="Arial MT"/>
                <a:ea typeface="Arial MT"/>
                <a:cs typeface="Arial MT"/>
              </a:rPr>
              <a:t>scrap</a:t>
            </a:r>
            <a:r>
              <a:rPr lang="en-US" sz="1800" spc="-5" dirty="0">
                <a:effectLst/>
                <a:latin typeface="Arial MT"/>
                <a:ea typeface="Arial MT"/>
                <a:cs typeface="Arial MT"/>
              </a:rPr>
              <a:t> </a:t>
            </a:r>
            <a:r>
              <a:rPr lang="en-US" sz="1800" dirty="0">
                <a:effectLst/>
                <a:latin typeface="Arial MT"/>
                <a:ea typeface="Arial MT"/>
                <a:cs typeface="Arial MT"/>
              </a:rPr>
              <a:t>share</a:t>
            </a:r>
            <a:r>
              <a:rPr lang="en-US" sz="1800" spc="-25" dirty="0">
                <a:effectLst/>
                <a:latin typeface="Arial MT"/>
                <a:ea typeface="Arial MT"/>
                <a:cs typeface="Arial MT"/>
              </a:rPr>
              <a:t> </a:t>
            </a:r>
            <a:r>
              <a:rPr lang="en-US" sz="1800" dirty="0">
                <a:effectLst/>
                <a:latin typeface="Arial MT"/>
                <a:ea typeface="Arial MT"/>
                <a:cs typeface="Arial MT"/>
              </a:rPr>
              <a:t>will</a:t>
            </a:r>
            <a:r>
              <a:rPr lang="en-US" sz="1800" spc="-10" dirty="0">
                <a:effectLst/>
                <a:latin typeface="Arial MT"/>
                <a:ea typeface="Arial MT"/>
                <a:cs typeface="Arial MT"/>
              </a:rPr>
              <a:t> </a:t>
            </a:r>
            <a:r>
              <a:rPr lang="en-US" sz="1800" dirty="0">
                <a:effectLst/>
                <a:latin typeface="Arial MT"/>
                <a:ea typeface="Arial MT"/>
                <a:cs typeface="Arial MT"/>
              </a:rPr>
              <a:t>be</a:t>
            </a:r>
            <a:r>
              <a:rPr lang="en-US" sz="1800" spc="-10" dirty="0">
                <a:effectLst/>
                <a:latin typeface="Arial MT"/>
                <a:ea typeface="Arial MT"/>
                <a:cs typeface="Arial MT"/>
              </a:rPr>
              <a:t> </a:t>
            </a:r>
            <a:r>
              <a:rPr lang="en-US" sz="1800" dirty="0">
                <a:effectLst/>
                <a:latin typeface="Arial MT"/>
                <a:ea typeface="Arial MT"/>
                <a:cs typeface="Arial MT"/>
              </a:rPr>
              <a:t>possible</a:t>
            </a:r>
            <a:r>
              <a:rPr lang="en-US" sz="1800" spc="-10" dirty="0">
                <a:effectLst/>
                <a:latin typeface="Arial MT"/>
                <a:ea typeface="Arial MT"/>
                <a:cs typeface="Arial MT"/>
              </a:rPr>
              <a:t> </a:t>
            </a:r>
            <a:r>
              <a:rPr lang="en-US" sz="1800" dirty="0">
                <a:effectLst/>
                <a:latin typeface="Arial MT"/>
                <a:ea typeface="Arial MT"/>
                <a:cs typeface="Arial MT"/>
              </a:rPr>
              <a:t>with</a:t>
            </a:r>
            <a:r>
              <a:rPr lang="en-US" sz="1800" spc="-10" dirty="0">
                <a:effectLst/>
                <a:latin typeface="Arial MT"/>
                <a:ea typeface="Arial MT"/>
                <a:cs typeface="Arial MT"/>
              </a:rPr>
              <a:t> </a:t>
            </a:r>
            <a:r>
              <a:rPr lang="en-US" sz="1800" dirty="0">
                <a:effectLst/>
                <a:latin typeface="Arial MT"/>
                <a:ea typeface="Arial MT"/>
                <a:cs typeface="Arial MT"/>
              </a:rPr>
              <a:t>the</a:t>
            </a:r>
            <a:r>
              <a:rPr lang="en-US" sz="1800" spc="-10" dirty="0">
                <a:effectLst/>
                <a:latin typeface="Arial MT"/>
                <a:ea typeface="Arial MT"/>
                <a:cs typeface="Arial MT"/>
              </a:rPr>
              <a:t> </a:t>
            </a:r>
            <a:r>
              <a:rPr lang="en-US" sz="1800" dirty="0">
                <a:effectLst/>
                <a:latin typeface="Arial MT"/>
                <a:ea typeface="Arial MT"/>
                <a:cs typeface="Arial MT"/>
              </a:rPr>
              <a:t>application</a:t>
            </a:r>
            <a:r>
              <a:rPr lang="en-US" sz="1800" spc="-25" dirty="0">
                <a:effectLst/>
                <a:latin typeface="Arial MT"/>
                <a:ea typeface="Arial MT"/>
                <a:cs typeface="Arial MT"/>
              </a:rPr>
              <a:t> </a:t>
            </a:r>
            <a:r>
              <a:rPr lang="en-US" sz="1800" dirty="0">
                <a:effectLst/>
                <a:latin typeface="Arial MT"/>
                <a:ea typeface="Arial MT"/>
                <a:cs typeface="Arial MT"/>
              </a:rPr>
              <a:t>of</a:t>
            </a:r>
            <a:r>
              <a:rPr lang="en-US" sz="1800" spc="-5" dirty="0">
                <a:effectLst/>
                <a:latin typeface="Arial MT"/>
                <a:ea typeface="Arial MT"/>
                <a:cs typeface="Arial MT"/>
              </a:rPr>
              <a:t> </a:t>
            </a:r>
            <a:r>
              <a:rPr lang="en-US" sz="1800" dirty="0">
                <a:effectLst/>
                <a:latin typeface="Arial MT"/>
                <a:ea typeface="Arial MT"/>
                <a:cs typeface="Arial MT"/>
              </a:rPr>
              <a:t>a</a:t>
            </a:r>
            <a:r>
              <a:rPr lang="en-US" sz="1800" spc="-295" dirty="0">
                <a:effectLst/>
                <a:latin typeface="Arial MT"/>
                <a:ea typeface="Arial MT"/>
                <a:cs typeface="Arial MT"/>
              </a:rPr>
              <a:t> </a:t>
            </a:r>
            <a:r>
              <a:rPr lang="en-US" sz="1800" dirty="0" err="1">
                <a:effectLst/>
                <a:latin typeface="Arial MT"/>
                <a:ea typeface="Arial MT"/>
                <a:cs typeface="Arial MT"/>
              </a:rPr>
              <a:t>delacquering</a:t>
            </a:r>
            <a:r>
              <a:rPr lang="en-US" sz="1800" dirty="0">
                <a:effectLst/>
                <a:latin typeface="Arial MT"/>
                <a:ea typeface="Arial MT"/>
                <a:cs typeface="Arial MT"/>
              </a:rPr>
              <a:t> process, which will remove contaminants from the scrap surface and thereby reduce</a:t>
            </a:r>
            <a:r>
              <a:rPr lang="en-US" sz="1800" spc="5" dirty="0">
                <a:effectLst/>
                <a:latin typeface="Arial MT"/>
                <a:ea typeface="Arial MT"/>
                <a:cs typeface="Arial MT"/>
              </a:rPr>
              <a:t> </a:t>
            </a:r>
            <a:r>
              <a:rPr lang="en-US" sz="1800" dirty="0">
                <a:effectLst/>
                <a:latin typeface="Arial MT"/>
                <a:ea typeface="Arial MT"/>
                <a:cs typeface="Arial MT"/>
              </a:rPr>
              <a:t>the dross (a mass of solid impurities) accumulation in the melting process. At the same time,</a:t>
            </a:r>
            <a:r>
              <a:rPr lang="en-US" sz="1800" spc="5" dirty="0">
                <a:effectLst/>
                <a:latin typeface="Arial MT"/>
                <a:ea typeface="Arial MT"/>
                <a:cs typeface="Arial MT"/>
              </a:rPr>
              <a:t> </a:t>
            </a:r>
            <a:r>
              <a:rPr lang="en-US" sz="1800" dirty="0">
                <a:effectLst/>
                <a:latin typeface="Arial MT"/>
                <a:ea typeface="Arial MT"/>
                <a:cs typeface="Arial MT"/>
              </a:rPr>
              <a:t>increasing the proportion of scrap that is fed to the furnace, may reduce the energy demand, since</a:t>
            </a:r>
            <a:r>
              <a:rPr lang="en-US" sz="1800" spc="5" dirty="0">
                <a:effectLst/>
                <a:latin typeface="Arial MT"/>
                <a:ea typeface="Arial MT"/>
                <a:cs typeface="Arial MT"/>
              </a:rPr>
              <a:t> </a:t>
            </a:r>
            <a:r>
              <a:rPr lang="en-US" sz="1800" dirty="0">
                <a:effectLst/>
                <a:latin typeface="Arial MT"/>
                <a:ea typeface="Arial MT"/>
                <a:cs typeface="Arial MT"/>
              </a:rPr>
              <a:t>scrap</a:t>
            </a:r>
            <a:r>
              <a:rPr lang="en-US" sz="1800" spc="5" dirty="0">
                <a:effectLst/>
                <a:latin typeface="Arial MT"/>
                <a:ea typeface="Arial MT"/>
                <a:cs typeface="Arial MT"/>
              </a:rPr>
              <a:t> </a:t>
            </a:r>
            <a:r>
              <a:rPr lang="en-US" sz="1800" dirty="0">
                <a:effectLst/>
                <a:latin typeface="Arial MT"/>
                <a:ea typeface="Arial MT"/>
                <a:cs typeface="Arial MT"/>
              </a:rPr>
              <a:t>requires</a:t>
            </a:r>
            <a:r>
              <a:rPr lang="en-US" sz="1800" spc="5" dirty="0">
                <a:effectLst/>
                <a:latin typeface="Arial MT"/>
                <a:ea typeface="Arial MT"/>
                <a:cs typeface="Arial MT"/>
              </a:rPr>
              <a:t> </a:t>
            </a:r>
            <a:r>
              <a:rPr lang="en-US" sz="1800" dirty="0">
                <a:effectLst/>
                <a:latin typeface="Arial MT"/>
                <a:ea typeface="Arial MT"/>
                <a:cs typeface="Arial MT"/>
              </a:rPr>
              <a:t>considerably</a:t>
            </a:r>
            <a:r>
              <a:rPr lang="en-US" sz="1800" spc="5" dirty="0">
                <a:effectLst/>
                <a:latin typeface="Arial MT"/>
                <a:ea typeface="Arial MT"/>
                <a:cs typeface="Arial MT"/>
              </a:rPr>
              <a:t> </a:t>
            </a:r>
            <a:r>
              <a:rPr lang="en-US" sz="1800" dirty="0">
                <a:effectLst/>
                <a:latin typeface="Arial MT"/>
                <a:ea typeface="Arial MT"/>
                <a:cs typeface="Arial MT"/>
              </a:rPr>
              <a:t>less</a:t>
            </a:r>
            <a:r>
              <a:rPr lang="en-US" sz="1800" spc="5" dirty="0">
                <a:effectLst/>
                <a:latin typeface="Arial MT"/>
                <a:ea typeface="Arial MT"/>
                <a:cs typeface="Arial MT"/>
              </a:rPr>
              <a:t> </a:t>
            </a:r>
            <a:r>
              <a:rPr lang="en-US" sz="1800" dirty="0">
                <a:effectLst/>
                <a:latin typeface="Arial MT"/>
                <a:ea typeface="Arial MT"/>
                <a:cs typeface="Arial MT"/>
              </a:rPr>
              <a:t>energy</a:t>
            </a:r>
            <a:r>
              <a:rPr lang="en-US" sz="1800" spc="5" dirty="0">
                <a:effectLst/>
                <a:latin typeface="Arial MT"/>
                <a:ea typeface="Arial MT"/>
                <a:cs typeface="Arial MT"/>
              </a:rPr>
              <a:t> </a:t>
            </a:r>
            <a:r>
              <a:rPr lang="en-US" sz="1800" dirty="0">
                <a:effectLst/>
                <a:latin typeface="Arial MT"/>
                <a:ea typeface="Arial MT"/>
                <a:cs typeface="Arial MT"/>
              </a:rPr>
              <a:t>than</a:t>
            </a:r>
            <a:r>
              <a:rPr lang="en-US" sz="1800" spc="5" dirty="0">
                <a:effectLst/>
                <a:latin typeface="Arial MT"/>
                <a:ea typeface="Arial MT"/>
                <a:cs typeface="Arial MT"/>
              </a:rPr>
              <a:t> </a:t>
            </a:r>
            <a:r>
              <a:rPr lang="en-US" sz="1800" dirty="0" err="1">
                <a:effectLst/>
                <a:latin typeface="Arial MT"/>
                <a:ea typeface="Arial MT"/>
                <a:cs typeface="Arial MT"/>
              </a:rPr>
              <a:t>aluminium</a:t>
            </a:r>
            <a:r>
              <a:rPr lang="en-US" sz="1800" spc="5" dirty="0">
                <a:effectLst/>
                <a:latin typeface="Arial MT"/>
                <a:ea typeface="Arial MT"/>
                <a:cs typeface="Arial MT"/>
              </a:rPr>
              <a:t> </a:t>
            </a:r>
            <a:r>
              <a:rPr lang="en-US" sz="1800" dirty="0">
                <a:effectLst/>
                <a:latin typeface="Arial MT"/>
                <a:ea typeface="Arial MT"/>
                <a:cs typeface="Arial MT"/>
              </a:rPr>
              <a:t>ingots</a:t>
            </a:r>
            <a:r>
              <a:rPr lang="en-US" sz="1800" spc="5" dirty="0">
                <a:effectLst/>
                <a:latin typeface="Arial MT"/>
                <a:ea typeface="Arial MT"/>
                <a:cs typeface="Arial MT"/>
              </a:rPr>
              <a:t> </a:t>
            </a:r>
            <a:r>
              <a:rPr lang="en-US" sz="1800" dirty="0">
                <a:effectLst/>
                <a:latin typeface="Arial MT"/>
                <a:ea typeface="Arial MT"/>
                <a:cs typeface="Arial MT"/>
              </a:rPr>
              <a:t>to</a:t>
            </a:r>
            <a:r>
              <a:rPr lang="en-US" sz="1800" spc="5" dirty="0">
                <a:effectLst/>
                <a:latin typeface="Arial MT"/>
                <a:ea typeface="Arial MT"/>
                <a:cs typeface="Arial MT"/>
              </a:rPr>
              <a:t> </a:t>
            </a:r>
            <a:r>
              <a:rPr lang="en-US" sz="1800" dirty="0">
                <a:effectLst/>
                <a:latin typeface="Arial MT"/>
                <a:ea typeface="Arial MT"/>
                <a:cs typeface="Arial MT"/>
              </a:rPr>
              <a:t>be</a:t>
            </a:r>
            <a:r>
              <a:rPr lang="en-US" sz="1800" spc="5" dirty="0">
                <a:effectLst/>
                <a:latin typeface="Arial MT"/>
                <a:ea typeface="Arial MT"/>
                <a:cs typeface="Arial MT"/>
              </a:rPr>
              <a:t> </a:t>
            </a:r>
            <a:r>
              <a:rPr lang="en-US" sz="1800" dirty="0">
                <a:effectLst/>
                <a:latin typeface="Arial MT"/>
                <a:ea typeface="Arial MT"/>
                <a:cs typeface="Arial MT"/>
              </a:rPr>
              <a:t>molten.</a:t>
            </a:r>
            <a:r>
              <a:rPr lang="en-US" sz="1800" spc="5" dirty="0">
                <a:effectLst/>
                <a:latin typeface="Arial MT"/>
                <a:ea typeface="Arial MT"/>
                <a:cs typeface="Arial MT"/>
              </a:rPr>
              <a:t> </a:t>
            </a:r>
            <a:r>
              <a:rPr lang="en-US" sz="1800" dirty="0">
                <a:effectLst/>
                <a:latin typeface="Arial MT"/>
                <a:ea typeface="Arial MT"/>
                <a:cs typeface="Arial MT"/>
              </a:rPr>
              <a:t>Each</a:t>
            </a:r>
            <a:r>
              <a:rPr lang="en-US" sz="1800" spc="5" dirty="0">
                <a:effectLst/>
                <a:latin typeface="Arial MT"/>
                <a:ea typeface="Arial MT"/>
                <a:cs typeface="Arial MT"/>
              </a:rPr>
              <a:t> </a:t>
            </a:r>
            <a:r>
              <a:rPr lang="en-US" sz="1800" dirty="0">
                <a:effectLst/>
                <a:latin typeface="Arial MT"/>
                <a:ea typeface="Arial MT"/>
                <a:cs typeface="Arial MT"/>
              </a:rPr>
              <a:t>batch</a:t>
            </a:r>
            <a:r>
              <a:rPr lang="en-US" sz="1800" spc="5" dirty="0">
                <a:effectLst/>
                <a:latin typeface="Arial MT"/>
                <a:ea typeface="Arial MT"/>
                <a:cs typeface="Arial MT"/>
              </a:rPr>
              <a:t> </a:t>
            </a:r>
            <a:r>
              <a:rPr lang="en-US" sz="1800" dirty="0">
                <a:effectLst/>
                <a:latin typeface="Arial MT"/>
                <a:ea typeface="Arial MT"/>
                <a:cs typeface="Arial MT"/>
              </a:rPr>
              <a:t>of</a:t>
            </a:r>
            <a:r>
              <a:rPr lang="en-US" sz="1800" spc="-295" dirty="0">
                <a:effectLst/>
                <a:latin typeface="Arial MT"/>
                <a:ea typeface="Arial MT"/>
                <a:cs typeface="Arial MT"/>
              </a:rPr>
              <a:t> </a:t>
            </a:r>
            <a:r>
              <a:rPr lang="en-US" sz="1800" dirty="0" err="1">
                <a:effectLst/>
                <a:latin typeface="Arial MT"/>
                <a:ea typeface="Arial MT"/>
                <a:cs typeface="Arial MT"/>
              </a:rPr>
              <a:t>aluminium</a:t>
            </a:r>
            <a:r>
              <a:rPr lang="en-US" sz="1800" spc="-25" dirty="0">
                <a:effectLst/>
                <a:latin typeface="Arial MT"/>
                <a:ea typeface="Arial MT"/>
                <a:cs typeface="Arial MT"/>
              </a:rPr>
              <a:t> </a:t>
            </a:r>
            <a:r>
              <a:rPr lang="en-US" sz="1800" dirty="0">
                <a:effectLst/>
                <a:latin typeface="Arial MT"/>
                <a:ea typeface="Arial MT"/>
                <a:cs typeface="Arial MT"/>
              </a:rPr>
              <a:t>production</a:t>
            </a:r>
            <a:r>
              <a:rPr lang="en-US" sz="1800" spc="-25" dirty="0">
                <a:effectLst/>
                <a:latin typeface="Arial MT"/>
                <a:ea typeface="Arial MT"/>
                <a:cs typeface="Arial MT"/>
              </a:rPr>
              <a:t> </a:t>
            </a:r>
            <a:r>
              <a:rPr lang="en-US" sz="1800" dirty="0">
                <a:effectLst/>
                <a:latin typeface="Arial MT"/>
                <a:ea typeface="Arial MT"/>
                <a:cs typeface="Arial MT"/>
              </a:rPr>
              <a:t>is</a:t>
            </a:r>
            <a:r>
              <a:rPr lang="en-US" sz="1800" spc="-20" dirty="0">
                <a:effectLst/>
                <a:latin typeface="Arial MT"/>
                <a:ea typeface="Arial MT"/>
                <a:cs typeface="Arial MT"/>
              </a:rPr>
              <a:t> </a:t>
            </a:r>
            <a:r>
              <a:rPr lang="en-US" sz="1800" dirty="0">
                <a:effectLst/>
                <a:latin typeface="Arial MT"/>
                <a:ea typeface="Arial MT"/>
                <a:cs typeface="Arial MT"/>
              </a:rPr>
              <a:t>called</a:t>
            </a:r>
            <a:r>
              <a:rPr lang="en-US" sz="1800" spc="-25" dirty="0">
                <a:effectLst/>
                <a:latin typeface="Arial MT"/>
                <a:ea typeface="Arial MT"/>
                <a:cs typeface="Arial MT"/>
              </a:rPr>
              <a:t> </a:t>
            </a:r>
            <a:r>
              <a:rPr lang="en-US" sz="1800" dirty="0">
                <a:effectLst/>
                <a:latin typeface="Arial MT"/>
                <a:ea typeface="Arial MT"/>
                <a:cs typeface="Arial MT"/>
              </a:rPr>
              <a:t>“a</a:t>
            </a:r>
            <a:r>
              <a:rPr lang="en-US" sz="1800" spc="-25" dirty="0">
                <a:effectLst/>
                <a:latin typeface="Arial MT"/>
                <a:ea typeface="Arial MT"/>
                <a:cs typeface="Arial MT"/>
              </a:rPr>
              <a:t> </a:t>
            </a:r>
            <a:r>
              <a:rPr lang="en-US" sz="1800" dirty="0">
                <a:effectLst/>
                <a:latin typeface="Arial MT"/>
                <a:ea typeface="Arial MT"/>
                <a:cs typeface="Arial MT"/>
              </a:rPr>
              <a:t>heat”.</a:t>
            </a:r>
            <a:endParaRPr lang="es-ES" dirty="0"/>
          </a:p>
        </p:txBody>
      </p:sp>
      <p:sp>
        <p:nvSpPr>
          <p:cNvPr id="22" name="TextBox 21">
            <a:extLst>
              <a:ext uri="{FF2B5EF4-FFF2-40B4-BE49-F238E27FC236}">
                <a16:creationId xmlns:a16="http://schemas.microsoft.com/office/drawing/2014/main" id="{A9B20580-BA1E-4C7C-A82E-3639921429A1}"/>
              </a:ext>
            </a:extLst>
          </p:cNvPr>
          <p:cNvSpPr txBox="1"/>
          <p:nvPr/>
        </p:nvSpPr>
        <p:spPr>
          <a:xfrm>
            <a:off x="711552" y="2621570"/>
            <a:ext cx="9621168" cy="1287532"/>
          </a:xfrm>
          <a:prstGeom prst="rect">
            <a:avLst/>
          </a:prstGeom>
          <a:noFill/>
        </p:spPr>
        <p:txBody>
          <a:bodyPr wrap="square">
            <a:spAutoFit/>
          </a:bodyPr>
          <a:lstStyle/>
          <a:p>
            <a:pPr algn="just">
              <a:lnSpc>
                <a:spcPct val="150000"/>
              </a:lnSpc>
            </a:pPr>
            <a:r>
              <a:rPr lang="en-US" sz="1800">
                <a:effectLst/>
                <a:latin typeface="Arial MT"/>
                <a:ea typeface="Arial MT"/>
                <a:cs typeface="Arial MT"/>
              </a:rPr>
              <a:t>Through modifications</a:t>
            </a:r>
            <a:r>
              <a:rPr lang="en-US" sz="1800" spc="5">
                <a:effectLst/>
                <a:latin typeface="Arial MT"/>
                <a:ea typeface="Arial MT"/>
                <a:cs typeface="Arial MT"/>
              </a:rPr>
              <a:t> </a:t>
            </a:r>
            <a:r>
              <a:rPr lang="en-US" sz="1800">
                <a:effectLst/>
                <a:latin typeface="Arial MT"/>
                <a:ea typeface="Arial MT"/>
                <a:cs typeface="Arial MT"/>
              </a:rPr>
              <a:t>in</a:t>
            </a:r>
            <a:r>
              <a:rPr lang="en-US" sz="1800" spc="5">
                <a:effectLst/>
                <a:latin typeface="Arial MT"/>
                <a:ea typeface="Arial MT"/>
                <a:cs typeface="Arial MT"/>
              </a:rPr>
              <a:t> </a:t>
            </a:r>
            <a:r>
              <a:rPr lang="en-US" sz="1800">
                <a:effectLst/>
                <a:latin typeface="Arial MT"/>
                <a:ea typeface="Arial MT"/>
                <a:cs typeface="Arial MT"/>
              </a:rPr>
              <a:t>the</a:t>
            </a:r>
            <a:r>
              <a:rPr lang="en-US" sz="1800" spc="5">
                <a:effectLst/>
                <a:latin typeface="Arial MT"/>
                <a:ea typeface="Arial MT"/>
                <a:cs typeface="Arial MT"/>
              </a:rPr>
              <a:t> </a:t>
            </a:r>
            <a:r>
              <a:rPr lang="en-US" sz="1800">
                <a:effectLst/>
                <a:latin typeface="Arial MT"/>
                <a:ea typeface="Arial MT"/>
                <a:cs typeface="Arial MT"/>
              </a:rPr>
              <a:t>raw materials pre-treatment and optimization</a:t>
            </a:r>
            <a:r>
              <a:rPr lang="en-US" sz="1800" spc="5">
                <a:effectLst/>
                <a:latin typeface="Arial MT"/>
                <a:ea typeface="Arial MT"/>
                <a:cs typeface="Arial MT"/>
              </a:rPr>
              <a:t> </a:t>
            </a:r>
            <a:r>
              <a:rPr lang="en-US" sz="1800">
                <a:effectLst/>
                <a:latin typeface="Arial MT"/>
                <a:ea typeface="Arial MT"/>
                <a:cs typeface="Arial MT"/>
              </a:rPr>
              <a:t>of the</a:t>
            </a:r>
            <a:r>
              <a:rPr lang="en-US" sz="1800" spc="5">
                <a:effectLst/>
                <a:latin typeface="Arial MT"/>
                <a:ea typeface="Arial MT"/>
                <a:cs typeface="Arial MT"/>
              </a:rPr>
              <a:t> </a:t>
            </a:r>
            <a:r>
              <a:rPr lang="en-US" sz="1800">
                <a:effectLst/>
                <a:latin typeface="Arial MT"/>
                <a:ea typeface="Arial MT"/>
                <a:cs typeface="Arial MT"/>
              </a:rPr>
              <a:t>combustion</a:t>
            </a:r>
            <a:r>
              <a:rPr lang="en-US" sz="1800" spc="5">
                <a:effectLst/>
                <a:latin typeface="Arial MT"/>
                <a:ea typeface="Arial MT"/>
                <a:cs typeface="Arial MT"/>
              </a:rPr>
              <a:t> </a:t>
            </a:r>
            <a:r>
              <a:rPr lang="en-US" sz="1800">
                <a:effectLst/>
                <a:latin typeface="Arial MT"/>
                <a:ea typeface="Arial MT"/>
                <a:cs typeface="Arial MT"/>
              </a:rPr>
              <a:t>environment in the furnace, ASAS expects to achieve higher energy efficiency in the aluminum</a:t>
            </a:r>
            <a:r>
              <a:rPr lang="en-US" sz="1800" spc="5">
                <a:effectLst/>
                <a:latin typeface="Arial MT"/>
                <a:ea typeface="Arial MT"/>
                <a:cs typeface="Arial MT"/>
              </a:rPr>
              <a:t> </a:t>
            </a:r>
            <a:r>
              <a:rPr lang="en-US" sz="1800">
                <a:effectLst/>
                <a:latin typeface="Arial MT"/>
                <a:ea typeface="Arial MT"/>
                <a:cs typeface="Arial MT"/>
              </a:rPr>
              <a:t>melting process, while controlling emissions and associated costs. </a:t>
            </a:r>
            <a:endParaRPr lang="en-US" b="0" i="0" u="none" strike="noStrike" baseline="0">
              <a:solidFill>
                <a:srgbClr val="000000"/>
              </a:solidFill>
              <a:latin typeface="Arial" panose="020B0604020202020204" pitchFamily="34" charset="0"/>
            </a:endParaRPr>
          </a:p>
        </p:txBody>
      </p:sp>
      <p:sp>
        <p:nvSpPr>
          <p:cNvPr id="23" name="TextBox 22">
            <a:extLst>
              <a:ext uri="{FF2B5EF4-FFF2-40B4-BE49-F238E27FC236}">
                <a16:creationId xmlns:a16="http://schemas.microsoft.com/office/drawing/2014/main" id="{EDADB62C-C9C5-46BD-B3F0-92C52F43256C}"/>
              </a:ext>
            </a:extLst>
          </p:cNvPr>
          <p:cNvSpPr txBox="1"/>
          <p:nvPr/>
        </p:nvSpPr>
        <p:spPr>
          <a:xfrm>
            <a:off x="711552" y="1910664"/>
            <a:ext cx="9144000" cy="461665"/>
          </a:xfrm>
          <a:prstGeom prst="rect">
            <a:avLst/>
          </a:prstGeom>
          <a:noFill/>
        </p:spPr>
        <p:txBody>
          <a:bodyPr wrap="square">
            <a:spAutoFit/>
          </a:bodyPr>
          <a:lstStyle/>
          <a:p>
            <a:r>
              <a:rPr lang="sv-SE" sz="2400" b="1" err="1">
                <a:solidFill>
                  <a:srgbClr val="CC0033"/>
                </a:solidFill>
                <a:latin typeface="+mj-lt"/>
                <a:cs typeface="Arial" panose="020B0604020202020204" pitchFamily="34" charset="0"/>
              </a:rPr>
              <a:t>Why</a:t>
            </a:r>
            <a:r>
              <a:rPr lang="sv-SE" sz="2400" b="1">
                <a:solidFill>
                  <a:srgbClr val="CC0033"/>
                </a:solidFill>
                <a:latin typeface="+mj-lt"/>
                <a:cs typeface="Arial" panose="020B0604020202020204" pitchFamily="34" charset="0"/>
              </a:rPr>
              <a:t> is </a:t>
            </a:r>
            <a:r>
              <a:rPr lang="sv-SE" sz="2400" b="1" err="1">
                <a:solidFill>
                  <a:srgbClr val="CC0033"/>
                </a:solidFill>
                <a:latin typeface="+mj-lt"/>
                <a:cs typeface="Arial" panose="020B0604020202020204" pitchFamily="34" charset="0"/>
              </a:rPr>
              <a:t>retrofit</a:t>
            </a:r>
            <a:r>
              <a:rPr lang="sv-SE" sz="2400" b="1">
                <a:solidFill>
                  <a:srgbClr val="CC0033"/>
                </a:solidFill>
                <a:latin typeface="+mj-lt"/>
                <a:cs typeface="Arial" panose="020B0604020202020204" pitchFamily="34" charset="0"/>
              </a:rPr>
              <a:t> </a:t>
            </a:r>
            <a:r>
              <a:rPr lang="sv-SE" sz="2400" b="1" err="1">
                <a:solidFill>
                  <a:srgbClr val="CC0033"/>
                </a:solidFill>
                <a:latin typeface="+mj-lt"/>
                <a:cs typeface="Arial" panose="020B0604020202020204" pitchFamily="34" charset="0"/>
              </a:rPr>
              <a:t>needed</a:t>
            </a:r>
            <a:r>
              <a:rPr lang="sv-SE" sz="2400" b="1">
                <a:solidFill>
                  <a:srgbClr val="CC0033"/>
                </a:solidFill>
                <a:latin typeface="+mj-lt"/>
                <a:cs typeface="Arial" panose="020B0604020202020204" pitchFamily="34" charset="0"/>
              </a:rPr>
              <a:t> at ASAS?</a:t>
            </a:r>
          </a:p>
        </p:txBody>
      </p:sp>
      <p:sp>
        <p:nvSpPr>
          <p:cNvPr id="24" name="TextBox 23">
            <a:extLst>
              <a:ext uri="{FF2B5EF4-FFF2-40B4-BE49-F238E27FC236}">
                <a16:creationId xmlns:a16="http://schemas.microsoft.com/office/drawing/2014/main" id="{937FCD4A-B1F9-4E69-A0BA-D616BDBFF034}"/>
              </a:ext>
            </a:extLst>
          </p:cNvPr>
          <p:cNvSpPr txBox="1"/>
          <p:nvPr/>
        </p:nvSpPr>
        <p:spPr>
          <a:xfrm>
            <a:off x="711552" y="4317885"/>
            <a:ext cx="9144000" cy="461665"/>
          </a:xfrm>
          <a:prstGeom prst="rect">
            <a:avLst/>
          </a:prstGeom>
          <a:noFill/>
        </p:spPr>
        <p:txBody>
          <a:bodyPr wrap="square">
            <a:spAutoFit/>
          </a:bodyPr>
          <a:lstStyle/>
          <a:p>
            <a:r>
              <a:rPr lang="sv-SE" sz="2400" b="1" err="1">
                <a:solidFill>
                  <a:srgbClr val="CC0033"/>
                </a:solidFill>
                <a:latin typeface="+mj-lt"/>
                <a:cs typeface="Arial" panose="020B0604020202020204" pitchFamily="34" charset="0"/>
              </a:rPr>
              <a:t>Where</a:t>
            </a:r>
            <a:r>
              <a:rPr lang="sv-SE" sz="2400" b="1">
                <a:solidFill>
                  <a:srgbClr val="CC0033"/>
                </a:solidFill>
                <a:latin typeface="+mj-lt"/>
                <a:cs typeface="Arial" panose="020B0604020202020204" pitchFamily="34" charset="0"/>
              </a:rPr>
              <a:t> is </a:t>
            </a:r>
            <a:r>
              <a:rPr lang="sv-SE" sz="2400" b="1" err="1">
                <a:solidFill>
                  <a:srgbClr val="CC0033"/>
                </a:solidFill>
                <a:latin typeface="+mj-lt"/>
                <a:cs typeface="Arial" panose="020B0604020202020204" pitchFamily="34" charset="0"/>
              </a:rPr>
              <a:t>retrofit</a:t>
            </a:r>
            <a:r>
              <a:rPr lang="sv-SE" sz="2400" b="1">
                <a:solidFill>
                  <a:srgbClr val="CC0033"/>
                </a:solidFill>
                <a:latin typeface="+mj-lt"/>
                <a:cs typeface="Arial" panose="020B0604020202020204" pitchFamily="34" charset="0"/>
              </a:rPr>
              <a:t> </a:t>
            </a:r>
            <a:r>
              <a:rPr lang="sv-SE" sz="2400" b="1" err="1">
                <a:solidFill>
                  <a:srgbClr val="CC0033"/>
                </a:solidFill>
                <a:latin typeface="+mj-lt"/>
                <a:cs typeface="Arial" panose="020B0604020202020204" pitchFamily="34" charset="0"/>
              </a:rPr>
              <a:t>needed</a:t>
            </a:r>
            <a:r>
              <a:rPr lang="sv-SE" sz="2400" b="1">
                <a:solidFill>
                  <a:srgbClr val="CC0033"/>
                </a:solidFill>
                <a:latin typeface="+mj-lt"/>
                <a:cs typeface="Arial" panose="020B0604020202020204" pitchFamily="34" charset="0"/>
              </a:rPr>
              <a:t> at ASAS?</a:t>
            </a:r>
          </a:p>
        </p:txBody>
      </p:sp>
      <p:sp>
        <p:nvSpPr>
          <p:cNvPr id="25" name="TextBox 24">
            <a:extLst>
              <a:ext uri="{FF2B5EF4-FFF2-40B4-BE49-F238E27FC236}">
                <a16:creationId xmlns:a16="http://schemas.microsoft.com/office/drawing/2014/main" id="{0ECC9F57-CF49-4DE9-A193-ACA3C8FEE863}"/>
              </a:ext>
            </a:extLst>
          </p:cNvPr>
          <p:cNvSpPr txBox="1"/>
          <p:nvPr/>
        </p:nvSpPr>
        <p:spPr>
          <a:xfrm>
            <a:off x="1357619" y="7953990"/>
            <a:ext cx="11521785" cy="1131848"/>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anchor="ctr">
            <a:spAutoFit/>
          </a:bodyPr>
          <a:lstStyle/>
          <a:p>
            <a:pPr algn="ctr">
              <a:lnSpc>
                <a:spcPct val="150000"/>
              </a:lnSpc>
            </a:pPr>
            <a:r>
              <a:rPr lang="es-ES" sz="2400" err="1">
                <a:solidFill>
                  <a:schemeClr val="bg1"/>
                </a:solidFill>
              </a:rPr>
              <a:t>With</a:t>
            </a:r>
            <a:r>
              <a:rPr lang="es-ES" sz="2400">
                <a:solidFill>
                  <a:schemeClr val="bg1"/>
                </a:solidFill>
              </a:rPr>
              <a:t> </a:t>
            </a:r>
            <a:r>
              <a:rPr lang="es-ES" sz="2400" err="1">
                <a:solidFill>
                  <a:schemeClr val="bg1"/>
                </a:solidFill>
              </a:rPr>
              <a:t>these</a:t>
            </a:r>
            <a:r>
              <a:rPr lang="es-ES" sz="2400">
                <a:solidFill>
                  <a:schemeClr val="bg1"/>
                </a:solidFill>
              </a:rPr>
              <a:t> </a:t>
            </a:r>
            <a:r>
              <a:rPr lang="es-ES" sz="2400" err="1">
                <a:solidFill>
                  <a:schemeClr val="bg1"/>
                </a:solidFill>
              </a:rPr>
              <a:t>actions</a:t>
            </a:r>
            <a:r>
              <a:rPr lang="es-ES" sz="2400">
                <a:solidFill>
                  <a:schemeClr val="bg1"/>
                </a:solidFill>
              </a:rPr>
              <a:t>, </a:t>
            </a:r>
            <a:r>
              <a:rPr lang="es-ES" sz="2400" err="1">
                <a:solidFill>
                  <a:schemeClr val="bg1"/>
                </a:solidFill>
              </a:rPr>
              <a:t>it</a:t>
            </a:r>
            <a:r>
              <a:rPr lang="es-ES" sz="2400">
                <a:solidFill>
                  <a:schemeClr val="bg1"/>
                </a:solidFill>
              </a:rPr>
              <a:t> </a:t>
            </a:r>
            <a:r>
              <a:rPr lang="es-ES" sz="2400" err="1">
                <a:solidFill>
                  <a:schemeClr val="bg1"/>
                </a:solidFill>
              </a:rPr>
              <a:t>is</a:t>
            </a:r>
            <a:r>
              <a:rPr lang="es-ES" sz="2400">
                <a:solidFill>
                  <a:schemeClr val="bg1"/>
                </a:solidFill>
              </a:rPr>
              <a:t> </a:t>
            </a:r>
            <a:r>
              <a:rPr lang="es-ES" sz="2400" err="1">
                <a:solidFill>
                  <a:schemeClr val="bg1"/>
                </a:solidFill>
              </a:rPr>
              <a:t>expected</a:t>
            </a:r>
            <a:r>
              <a:rPr lang="es-ES" sz="2400">
                <a:solidFill>
                  <a:schemeClr val="bg1"/>
                </a:solidFill>
              </a:rPr>
              <a:t> </a:t>
            </a:r>
            <a:r>
              <a:rPr lang="es-ES" sz="2400" err="1">
                <a:solidFill>
                  <a:schemeClr val="bg1"/>
                </a:solidFill>
              </a:rPr>
              <a:t>to</a:t>
            </a:r>
            <a:r>
              <a:rPr lang="es-ES" sz="2400">
                <a:solidFill>
                  <a:schemeClr val="bg1"/>
                </a:solidFill>
              </a:rPr>
              <a:t> </a:t>
            </a:r>
            <a:r>
              <a:rPr lang="es-ES" sz="2400" err="1">
                <a:solidFill>
                  <a:schemeClr val="bg1"/>
                </a:solidFill>
              </a:rPr>
              <a:t>achieve</a:t>
            </a:r>
            <a:r>
              <a:rPr lang="es-ES" sz="2400">
                <a:solidFill>
                  <a:schemeClr val="bg1"/>
                </a:solidFill>
              </a:rPr>
              <a:t> </a:t>
            </a:r>
            <a:r>
              <a:rPr lang="en-US" sz="2400" b="0" i="0" u="none" strike="noStrike" baseline="0">
                <a:solidFill>
                  <a:schemeClr val="bg1"/>
                </a:solidFill>
                <a:latin typeface="Arial" panose="020B0604020202020204" pitchFamily="34" charset="0"/>
              </a:rPr>
              <a:t>higher energy efficiency and </a:t>
            </a:r>
            <a:r>
              <a:rPr lang="en-US" sz="2400">
                <a:effectLst/>
                <a:latin typeface="Arial MT"/>
                <a:ea typeface="Arial MT"/>
                <a:cs typeface="Arial MT"/>
              </a:rPr>
              <a:t>controlling emissions and associated costs</a:t>
            </a:r>
            <a:r>
              <a:rPr lang="en-US" sz="2400" b="0" i="0" u="none" strike="noStrike" baseline="0">
                <a:solidFill>
                  <a:schemeClr val="bg1"/>
                </a:solidFill>
                <a:latin typeface="Arial" panose="020B0604020202020204" pitchFamily="34" charset="0"/>
              </a:rPr>
              <a:t>.</a:t>
            </a:r>
            <a:endParaRPr lang="sv-SE" sz="2200">
              <a:solidFill>
                <a:schemeClr val="bg1"/>
              </a:solidFill>
            </a:endParaRPr>
          </a:p>
        </p:txBody>
      </p:sp>
      <p:pic>
        <p:nvPicPr>
          <p:cNvPr id="28" name="image29.jpeg">
            <a:extLst>
              <a:ext uri="{FF2B5EF4-FFF2-40B4-BE49-F238E27FC236}">
                <a16:creationId xmlns:a16="http://schemas.microsoft.com/office/drawing/2014/main" id="{BEB129D3-79E2-4EC3-A903-C65075DDF10F}"/>
              </a:ext>
            </a:extLst>
          </p:cNvPr>
          <p:cNvPicPr>
            <a:picLocks noChangeAspect="1"/>
          </p:cNvPicPr>
          <p:nvPr/>
        </p:nvPicPr>
        <p:blipFill>
          <a:blip r:embed="rId6" cstate="print"/>
          <a:stretch>
            <a:fillRect/>
          </a:stretch>
        </p:blipFill>
        <p:spPr>
          <a:xfrm>
            <a:off x="11423297" y="1836169"/>
            <a:ext cx="6153150" cy="5181600"/>
          </a:xfrm>
          <a:prstGeom prst="rect">
            <a:avLst/>
          </a:prstGeom>
        </p:spPr>
      </p:pic>
      <p:sp>
        <p:nvSpPr>
          <p:cNvPr id="29" name="TextBox 28">
            <a:extLst>
              <a:ext uri="{FF2B5EF4-FFF2-40B4-BE49-F238E27FC236}">
                <a16:creationId xmlns:a16="http://schemas.microsoft.com/office/drawing/2014/main" id="{6DA5AEA2-9C9B-4D13-A4C3-F978579AF303}"/>
              </a:ext>
            </a:extLst>
          </p:cNvPr>
          <p:cNvSpPr txBox="1"/>
          <p:nvPr/>
        </p:nvSpPr>
        <p:spPr>
          <a:xfrm>
            <a:off x="12690192" y="7301213"/>
            <a:ext cx="3845208" cy="369332"/>
          </a:xfrm>
          <a:prstGeom prst="rect">
            <a:avLst/>
          </a:prstGeom>
          <a:noFill/>
        </p:spPr>
        <p:txBody>
          <a:bodyPr wrap="square">
            <a:spAutoFit/>
          </a:bodyPr>
          <a:lstStyle/>
          <a:p>
            <a:r>
              <a:rPr lang="en-US" sz="1800" i="1" err="1">
                <a:effectLst/>
                <a:latin typeface="Arial" panose="020B0604020202020204" pitchFamily="34" charset="0"/>
                <a:ea typeface="Arial MT"/>
                <a:cs typeface="Arial MT"/>
              </a:rPr>
              <a:t>Delacquering</a:t>
            </a:r>
            <a:r>
              <a:rPr lang="en-US" sz="1800" i="1" spc="-15">
                <a:effectLst/>
                <a:latin typeface="Arial" panose="020B0604020202020204" pitchFamily="34" charset="0"/>
                <a:ea typeface="Arial MT"/>
                <a:cs typeface="Arial MT"/>
              </a:rPr>
              <a:t> </a:t>
            </a:r>
            <a:r>
              <a:rPr lang="en-US" sz="1800" i="1">
                <a:effectLst/>
                <a:latin typeface="Arial" panose="020B0604020202020204" pitchFamily="34" charset="0"/>
                <a:ea typeface="Arial MT"/>
                <a:cs typeface="Arial MT"/>
              </a:rPr>
              <a:t>system</a:t>
            </a:r>
            <a:r>
              <a:rPr lang="en-US" sz="1800" i="1" spc="-10">
                <a:effectLst/>
                <a:latin typeface="Arial" panose="020B0604020202020204" pitchFamily="34" charset="0"/>
                <a:ea typeface="Arial MT"/>
                <a:cs typeface="Arial MT"/>
              </a:rPr>
              <a:t> </a:t>
            </a:r>
            <a:r>
              <a:rPr lang="en-US" sz="1800" i="1">
                <a:effectLst/>
                <a:latin typeface="Arial" panose="020B0604020202020204" pitchFamily="34" charset="0"/>
                <a:ea typeface="Arial MT"/>
                <a:cs typeface="Arial MT"/>
              </a:rPr>
              <a:t>schematic</a:t>
            </a:r>
            <a:endParaRPr lang="sv-SE"/>
          </a:p>
        </p:txBody>
      </p:sp>
    </p:spTree>
    <p:extLst>
      <p:ext uri="{BB962C8B-B14F-4D97-AF65-F5344CB8AC3E}">
        <p14:creationId xmlns:p14="http://schemas.microsoft.com/office/powerpoint/2010/main" val="359938505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descr="A picture containing building, indoor, plane, table&#10;&#10;Description automatically generated">
            <a:extLst>
              <a:ext uri="{FF2B5EF4-FFF2-40B4-BE49-F238E27FC236}">
                <a16:creationId xmlns:a16="http://schemas.microsoft.com/office/drawing/2014/main" id="{2ECBB25D-652A-4D8F-92B4-E30E1ED5FE18}"/>
              </a:ext>
            </a:extLst>
          </p:cNvPr>
          <p:cNvPicPr>
            <a:picLocks noChangeAspect="1"/>
          </p:cNvPicPr>
          <p:nvPr/>
        </p:nvPicPr>
        <p:blipFill rotWithShape="1">
          <a:blip r:embed="rId3">
            <a:alphaModFix amt="20000"/>
            <a:extLst>
              <a:ext uri="{28A0092B-C50C-407E-A947-70E740481C1C}">
                <a14:useLocalDpi xmlns:a14="http://schemas.microsoft.com/office/drawing/2010/main" val="0"/>
              </a:ext>
            </a:extLst>
          </a:blip>
          <a:srcRect t="28368"/>
          <a:stretch/>
        </p:blipFill>
        <p:spPr>
          <a:xfrm>
            <a:off x="228600" y="3115427"/>
            <a:ext cx="17699981" cy="5739113"/>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6"/>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4"/>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5"/>
          <a:srcRect/>
          <a:stretch>
            <a:fillRect/>
          </a:stretch>
        </p:blipFill>
        <p:spPr>
          <a:xfrm>
            <a:off x="0" y="8901113"/>
            <a:ext cx="5715000" cy="1385887"/>
          </a:xfrm>
          <a:prstGeom prst="rect">
            <a:avLst/>
          </a:prstGeom>
        </p:spPr>
      </p:pic>
      <p:grpSp>
        <p:nvGrpSpPr>
          <p:cNvPr id="2" name="Gruppo 1">
            <a:extLst>
              <a:ext uri="{FF2B5EF4-FFF2-40B4-BE49-F238E27FC236}">
                <a16:creationId xmlns:a16="http://schemas.microsoft.com/office/drawing/2014/main" id="{D8D71BB5-458F-411D-AFA9-C648954E9F40}"/>
              </a:ext>
            </a:extLst>
          </p:cNvPr>
          <p:cNvGrpSpPr/>
          <p:nvPr/>
        </p:nvGrpSpPr>
        <p:grpSpPr>
          <a:xfrm>
            <a:off x="-12" y="138554"/>
            <a:ext cx="18288002" cy="681138"/>
            <a:chOff x="-12" y="138554"/>
            <a:chExt cx="18288002" cy="681138"/>
          </a:xfrm>
        </p:grpSpPr>
        <p:grpSp>
          <p:nvGrpSpPr>
            <p:cNvPr id="16" name="Gruppo 15">
              <a:extLst>
                <a:ext uri="{FF2B5EF4-FFF2-40B4-BE49-F238E27FC236}">
                  <a16:creationId xmlns:a16="http://schemas.microsoft.com/office/drawing/2014/main" id="{DAC42A46-917D-41AB-8F07-E15E54D0F7D4}"/>
                </a:ext>
              </a:extLst>
            </p:cNvPr>
            <p:cNvGrpSpPr/>
            <p:nvPr/>
          </p:nvGrpSpPr>
          <p:grpSpPr>
            <a:xfrm>
              <a:off x="0" y="153125"/>
              <a:ext cx="13958844" cy="666567"/>
              <a:chOff x="0" y="153125"/>
              <a:chExt cx="13958844" cy="666567"/>
            </a:xfrm>
          </p:grpSpPr>
          <p:pic>
            <p:nvPicPr>
              <p:cNvPr id="10" name="Picture 10"/>
              <p:cNvPicPr>
                <a:picLocks noChangeAspect="1"/>
              </p:cNvPicPr>
              <p:nvPr/>
            </p:nvPicPr>
            <p:blipFill>
              <a:blip r:embed="rId6"/>
              <a:srcRect l="134" t="91287" b="3943"/>
              <a:stretch>
                <a:fillRect/>
              </a:stretch>
            </p:blipFill>
            <p:spPr>
              <a:xfrm>
                <a:off x="0" y="153125"/>
                <a:ext cx="13958844" cy="666567"/>
              </a:xfrm>
              <a:prstGeom prst="rect">
                <a:avLst/>
              </a:prstGeom>
            </p:spPr>
          </p:pic>
          <p:sp>
            <p:nvSpPr>
              <p:cNvPr id="11" name="TextBox 11"/>
              <p:cNvSpPr txBox="1"/>
              <p:nvPr/>
            </p:nvSpPr>
            <p:spPr>
              <a:xfrm>
                <a:off x="228600" y="257980"/>
                <a:ext cx="5752704" cy="456856"/>
              </a:xfrm>
              <a:prstGeom prst="rect">
                <a:avLst/>
              </a:prstGeom>
            </p:spPr>
            <p:txBody>
              <a:bodyPr wrap="square" lIns="0" tIns="0" rIns="0" bIns="0" rtlCol="0" anchor="t">
                <a:spAutoFit/>
              </a:bodyPr>
              <a:lstStyle/>
              <a:p>
                <a:pPr>
                  <a:lnSpc>
                    <a:spcPts val="3919"/>
                  </a:lnSpc>
                  <a:spcBef>
                    <a:spcPct val="0"/>
                  </a:spcBef>
                </a:pPr>
                <a:endParaRPr lang="en-US" sz="2800" b="1">
                  <a:solidFill>
                    <a:srgbClr val="FFFFFF"/>
                  </a:solidFill>
                  <a:latin typeface="Arial" panose="020B0604020202020204" pitchFamily="34" charset="0"/>
                  <a:cs typeface="Arial" panose="020B0604020202020204" pitchFamily="34" charset="0"/>
                </a:endParaRPr>
              </a:p>
            </p:txBody>
          </p:sp>
        </p:grpSp>
        <p:sp>
          <p:nvSpPr>
            <p:cNvPr id="12" name="Rettangolo 11">
              <a:extLst>
                <a:ext uri="{FF2B5EF4-FFF2-40B4-BE49-F238E27FC236}">
                  <a16:creationId xmlns:a16="http://schemas.microsoft.com/office/drawing/2014/main" id="{F2E90E36-F5DF-479E-BF3B-C6F6A1CEA4E7}"/>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9" name="TextBox 14">
            <a:extLst>
              <a:ext uri="{FF2B5EF4-FFF2-40B4-BE49-F238E27FC236}">
                <a16:creationId xmlns:a16="http://schemas.microsoft.com/office/drawing/2014/main" id="{B5C457C5-5E6A-4DD1-9F95-583C431D5128}"/>
              </a:ext>
            </a:extLst>
          </p:cNvPr>
          <p:cNvSpPr txBox="1"/>
          <p:nvPr/>
        </p:nvSpPr>
        <p:spPr>
          <a:xfrm>
            <a:off x="971806" y="3768991"/>
            <a:ext cx="7162789" cy="4431983"/>
          </a:xfrm>
          <a:prstGeom prst="rect">
            <a:avLst/>
          </a:prstGeom>
        </p:spPr>
        <p:txBody>
          <a:bodyPr wrap="square" lIns="0" tIns="0" rIns="0" bIns="0" rtlCol="0" anchor="t">
            <a:spAutoFit/>
          </a:bodyPr>
          <a:lstStyle/>
          <a:p>
            <a:pPr>
              <a:buClr>
                <a:schemeClr val="accent5"/>
              </a:buClr>
            </a:pPr>
            <a:r>
              <a:rPr lang="en-US" sz="3200" b="1">
                <a:solidFill>
                  <a:schemeClr val="accent1"/>
                </a:solidFill>
              </a:rPr>
              <a:t>Retrofitting actions</a:t>
            </a:r>
          </a:p>
          <a:p>
            <a:pPr>
              <a:buClr>
                <a:schemeClr val="accent5"/>
              </a:buClr>
            </a:pPr>
            <a:endParaRPr lang="en-US" sz="3200" b="1"/>
          </a:p>
          <a:p>
            <a:pPr marL="457200" indent="-457200">
              <a:buClr>
                <a:srgbClr val="CC0033"/>
              </a:buClr>
              <a:buFont typeface="Wingdings" panose="05000000000000000000" pitchFamily="2" charset="2"/>
              <a:buChar char="ü"/>
            </a:pPr>
            <a:r>
              <a:rPr lang="en-US" sz="3200" b="1" err="1"/>
              <a:t>Delacquering</a:t>
            </a:r>
            <a:r>
              <a:rPr lang="en-US" sz="3200" b="1"/>
              <a:t> system</a:t>
            </a:r>
          </a:p>
          <a:p>
            <a:pPr marL="457200" indent="-457200">
              <a:buClr>
                <a:srgbClr val="CC0033"/>
              </a:buClr>
              <a:buFont typeface="Wingdings" panose="05000000000000000000" pitchFamily="2" charset="2"/>
              <a:buChar char="ü"/>
            </a:pPr>
            <a:endParaRPr lang="en-US" sz="3200" b="1"/>
          </a:p>
          <a:p>
            <a:pPr marL="457200" indent="-457200">
              <a:buClr>
                <a:srgbClr val="CC0033"/>
              </a:buClr>
              <a:buFont typeface="Wingdings" panose="05000000000000000000" pitchFamily="2" charset="2"/>
              <a:buChar char="ü"/>
            </a:pPr>
            <a:r>
              <a:rPr lang="en-US" sz="3200" b="1"/>
              <a:t>O</a:t>
            </a:r>
            <a:r>
              <a:rPr lang="en-US" sz="3200" b="1" baseline="-25000"/>
              <a:t>2</a:t>
            </a:r>
            <a:r>
              <a:rPr lang="en-US" sz="3200" b="1"/>
              <a:t> injection system</a:t>
            </a:r>
          </a:p>
          <a:p>
            <a:pPr marL="457200" indent="-457200">
              <a:buClr>
                <a:srgbClr val="CC0033"/>
              </a:buClr>
              <a:buFont typeface="Wingdings" panose="05000000000000000000" pitchFamily="2" charset="2"/>
              <a:buChar char="ü"/>
            </a:pPr>
            <a:endParaRPr lang="en-US" sz="3200" b="1"/>
          </a:p>
          <a:p>
            <a:pPr marL="457200" indent="-457200">
              <a:buClr>
                <a:srgbClr val="CC0033"/>
              </a:buClr>
              <a:buFont typeface="Wingdings" panose="05000000000000000000" pitchFamily="2" charset="2"/>
              <a:buChar char="ü"/>
            </a:pPr>
            <a:r>
              <a:rPr lang="en-US" sz="3200" b="1"/>
              <a:t>New burner head design</a:t>
            </a:r>
          </a:p>
          <a:p>
            <a:pPr marL="457200" indent="-457200">
              <a:buClr>
                <a:srgbClr val="CC0033"/>
              </a:buClr>
              <a:buFont typeface="Wingdings" panose="05000000000000000000" pitchFamily="2" charset="2"/>
              <a:buChar char="ü"/>
            </a:pPr>
            <a:endParaRPr lang="en-US" sz="3200" b="1"/>
          </a:p>
          <a:p>
            <a:pPr marL="457200" indent="-457200">
              <a:buClr>
                <a:srgbClr val="CC0033"/>
              </a:buClr>
              <a:buFont typeface="Wingdings" panose="05000000000000000000" pitchFamily="2" charset="2"/>
              <a:buChar char="ü"/>
            </a:pPr>
            <a:r>
              <a:rPr lang="en-US" sz="3200" b="1"/>
              <a:t>O</a:t>
            </a:r>
            <a:r>
              <a:rPr lang="en-US" sz="3200" b="1" baseline="-25000"/>
              <a:t>2</a:t>
            </a:r>
            <a:r>
              <a:rPr lang="en-US" sz="3200" b="1"/>
              <a:t> and TOC analyzers</a:t>
            </a:r>
            <a:endParaRPr lang="es-ES" sz="3200" b="1"/>
          </a:p>
        </p:txBody>
      </p:sp>
      <p:sp>
        <p:nvSpPr>
          <p:cNvPr id="26" name="TextBox 14">
            <a:extLst>
              <a:ext uri="{FF2B5EF4-FFF2-40B4-BE49-F238E27FC236}">
                <a16:creationId xmlns:a16="http://schemas.microsoft.com/office/drawing/2014/main" id="{7D36EA49-80B0-4761-8A24-F05F322EAC77}"/>
              </a:ext>
            </a:extLst>
          </p:cNvPr>
          <p:cNvSpPr txBox="1"/>
          <p:nvPr/>
        </p:nvSpPr>
        <p:spPr>
          <a:xfrm>
            <a:off x="9264833" y="3307326"/>
            <a:ext cx="8663748" cy="5355312"/>
          </a:xfrm>
          <a:prstGeom prst="rect">
            <a:avLst/>
          </a:prstGeom>
        </p:spPr>
        <p:txBody>
          <a:bodyPr wrap="square" lIns="0" tIns="0" rIns="0" bIns="0" rtlCol="0" anchor="t">
            <a:spAutoFit/>
          </a:bodyPr>
          <a:lstStyle/>
          <a:p>
            <a:pPr>
              <a:buClr>
                <a:schemeClr val="accent5"/>
              </a:buClr>
            </a:pPr>
            <a:r>
              <a:rPr lang="en-US" sz="3200" b="1">
                <a:solidFill>
                  <a:schemeClr val="accent2">
                    <a:lumMod val="75000"/>
                  </a:schemeClr>
                </a:solidFill>
              </a:rPr>
              <a:t>Goals</a:t>
            </a:r>
          </a:p>
          <a:p>
            <a:pPr>
              <a:buClr>
                <a:schemeClr val="accent5"/>
              </a:buClr>
            </a:pPr>
            <a:endParaRPr lang="en-US" sz="3200" b="1"/>
          </a:p>
          <a:p>
            <a:pPr marL="457200" indent="-457200">
              <a:buClr>
                <a:schemeClr val="accent2">
                  <a:lumMod val="75000"/>
                </a:schemeClr>
              </a:buClr>
              <a:buFont typeface="Wingdings" panose="05000000000000000000" pitchFamily="2" charset="2"/>
              <a:buChar char="ü"/>
            </a:pPr>
            <a:r>
              <a:rPr lang="en-GB" sz="3200" b="1"/>
              <a:t>50% increment in the amount of scrap</a:t>
            </a:r>
          </a:p>
          <a:p>
            <a:pPr marL="457200" indent="-457200">
              <a:buClr>
                <a:srgbClr val="99CC99"/>
              </a:buClr>
              <a:buFont typeface="Wingdings" panose="05000000000000000000" pitchFamily="2" charset="2"/>
              <a:buChar char="ü"/>
            </a:pPr>
            <a:endParaRPr lang="en-US" sz="2000" b="1"/>
          </a:p>
          <a:p>
            <a:pPr marL="457200" indent="-457200">
              <a:buClr>
                <a:schemeClr val="accent2">
                  <a:lumMod val="75000"/>
                </a:schemeClr>
              </a:buClr>
              <a:buFont typeface="Wingdings" panose="05000000000000000000" pitchFamily="2" charset="2"/>
              <a:buChar char="ü"/>
            </a:pPr>
            <a:r>
              <a:rPr lang="en-US" sz="3200" b="1"/>
              <a:t>Reduction of the energy consumption 15 times</a:t>
            </a:r>
          </a:p>
          <a:p>
            <a:pPr marL="457200" indent="-457200">
              <a:buClr>
                <a:srgbClr val="99CC99"/>
              </a:buClr>
              <a:buFont typeface="Wingdings" panose="05000000000000000000" pitchFamily="2" charset="2"/>
              <a:buChar char="ü"/>
            </a:pPr>
            <a:endParaRPr lang="en-US" sz="2400" b="1"/>
          </a:p>
          <a:p>
            <a:pPr marL="457200" indent="-457200">
              <a:buClr>
                <a:schemeClr val="accent2">
                  <a:lumMod val="75000"/>
                </a:schemeClr>
              </a:buClr>
              <a:buFont typeface="Wingdings" panose="05000000000000000000" pitchFamily="2" charset="2"/>
              <a:buChar char="ü"/>
            </a:pPr>
            <a:r>
              <a:rPr lang="en-US" sz="3200" b="1"/>
              <a:t>More efficient combustion</a:t>
            </a:r>
          </a:p>
          <a:p>
            <a:pPr marL="457200" indent="-457200">
              <a:buClr>
                <a:srgbClr val="99CC99"/>
              </a:buClr>
              <a:buFont typeface="Wingdings" panose="05000000000000000000" pitchFamily="2" charset="2"/>
              <a:buChar char="ü"/>
            </a:pPr>
            <a:endParaRPr lang="en-US" sz="2400" b="1"/>
          </a:p>
          <a:p>
            <a:pPr marL="457200" indent="-457200">
              <a:buClr>
                <a:schemeClr val="accent2">
                  <a:lumMod val="75000"/>
                </a:schemeClr>
              </a:buClr>
              <a:buFont typeface="Wingdings" panose="05000000000000000000" pitchFamily="2" charset="2"/>
              <a:buChar char="ü"/>
            </a:pPr>
            <a:r>
              <a:rPr lang="en-US" sz="3200" b="1"/>
              <a:t>Reduction of the GHG emissions</a:t>
            </a:r>
          </a:p>
          <a:p>
            <a:pPr marL="457200" indent="-457200">
              <a:buClr>
                <a:srgbClr val="99CC99"/>
              </a:buClr>
              <a:buFont typeface="Wingdings" panose="05000000000000000000" pitchFamily="2" charset="2"/>
              <a:buChar char="ü"/>
            </a:pPr>
            <a:endParaRPr lang="en-US" sz="2400" b="1"/>
          </a:p>
          <a:p>
            <a:pPr marL="457200" indent="-457200">
              <a:buClr>
                <a:schemeClr val="accent2">
                  <a:lumMod val="75000"/>
                </a:schemeClr>
              </a:buClr>
              <a:buFont typeface="Wingdings" panose="05000000000000000000" pitchFamily="2" charset="2"/>
              <a:buChar char="ü"/>
            </a:pPr>
            <a:r>
              <a:rPr lang="en-US" sz="3200" b="1"/>
              <a:t>Improved M&amp;C system</a:t>
            </a:r>
            <a:endParaRPr lang="es-ES" sz="3200" b="1"/>
          </a:p>
        </p:txBody>
      </p:sp>
      <p:cxnSp>
        <p:nvCxnSpPr>
          <p:cNvPr id="22" name="Conector recto 21">
            <a:extLst>
              <a:ext uri="{FF2B5EF4-FFF2-40B4-BE49-F238E27FC236}">
                <a16:creationId xmlns:a16="http://schemas.microsoft.com/office/drawing/2014/main" id="{9FC0026C-9C0D-4C19-96D8-569D0A2602DC}"/>
              </a:ext>
            </a:extLst>
          </p:cNvPr>
          <p:cNvCxnSpPr>
            <a:cxnSpLocks/>
          </p:cNvCxnSpPr>
          <p:nvPr/>
        </p:nvCxnSpPr>
        <p:spPr>
          <a:xfrm>
            <a:off x="8915400" y="3115427"/>
            <a:ext cx="0" cy="2880000"/>
          </a:xfrm>
          <a:prstGeom prst="line">
            <a:avLst/>
          </a:prstGeom>
          <a:ln w="63500"/>
        </p:spPr>
        <p:style>
          <a:lnRef idx="1">
            <a:schemeClr val="accent1"/>
          </a:lnRef>
          <a:fillRef idx="0">
            <a:schemeClr val="accent1"/>
          </a:fillRef>
          <a:effectRef idx="0">
            <a:schemeClr val="accent1"/>
          </a:effectRef>
          <a:fontRef idx="minor">
            <a:schemeClr val="tx1"/>
          </a:fontRef>
        </p:style>
      </p:cxnSp>
      <p:cxnSp>
        <p:nvCxnSpPr>
          <p:cNvPr id="23" name="Conector recto 22">
            <a:extLst>
              <a:ext uri="{FF2B5EF4-FFF2-40B4-BE49-F238E27FC236}">
                <a16:creationId xmlns:a16="http://schemas.microsoft.com/office/drawing/2014/main" id="{4AA0FCEF-C219-4FCC-B709-3C1AA09BC25C}"/>
              </a:ext>
            </a:extLst>
          </p:cNvPr>
          <p:cNvCxnSpPr>
            <a:cxnSpLocks/>
          </p:cNvCxnSpPr>
          <p:nvPr/>
        </p:nvCxnSpPr>
        <p:spPr>
          <a:xfrm>
            <a:off x="8915400" y="5898716"/>
            <a:ext cx="0" cy="2880000"/>
          </a:xfrm>
          <a:prstGeom prst="line">
            <a:avLst/>
          </a:prstGeom>
          <a:ln w="63500">
            <a:solidFill>
              <a:srgbClr val="99CC99"/>
            </a:solidFill>
          </a:ln>
        </p:spPr>
        <p:style>
          <a:lnRef idx="1">
            <a:schemeClr val="accent1"/>
          </a:lnRef>
          <a:fillRef idx="0">
            <a:schemeClr val="accent1"/>
          </a:fillRef>
          <a:effectRef idx="0">
            <a:schemeClr val="accent1"/>
          </a:effectRef>
          <a:fontRef idx="minor">
            <a:schemeClr val="tx1"/>
          </a:fontRef>
        </p:style>
      </p:cxnSp>
      <p:pic>
        <p:nvPicPr>
          <p:cNvPr id="4" name="Imagen 113">
            <a:extLst>
              <a:ext uri="{FF2B5EF4-FFF2-40B4-BE49-F238E27FC236}">
                <a16:creationId xmlns:a16="http://schemas.microsoft.com/office/drawing/2014/main" id="{36157C0D-4F26-46F7-B880-83100D1F971A}"/>
              </a:ext>
            </a:extLst>
          </p:cNvPr>
          <p:cNvPicPr>
            <a:picLocks noChangeAspect="1"/>
          </p:cNvPicPr>
          <p:nvPr/>
        </p:nvPicPr>
        <p:blipFill rotWithShape="1">
          <a:blip r:embed="rId7"/>
          <a:srcRect r="7132" b="12033"/>
          <a:stretch/>
        </p:blipFill>
        <p:spPr>
          <a:xfrm>
            <a:off x="15188617" y="402853"/>
            <a:ext cx="2739964" cy="1036941"/>
          </a:xfrm>
          <a:prstGeom prst="rect">
            <a:avLst/>
          </a:prstGeom>
        </p:spPr>
      </p:pic>
      <p:sp>
        <p:nvSpPr>
          <p:cNvPr id="24" name="TextBox 23">
            <a:extLst>
              <a:ext uri="{FF2B5EF4-FFF2-40B4-BE49-F238E27FC236}">
                <a16:creationId xmlns:a16="http://schemas.microsoft.com/office/drawing/2014/main" id="{18A1E8C5-B4EA-439B-9904-844DAB8EC6FB}"/>
              </a:ext>
            </a:extLst>
          </p:cNvPr>
          <p:cNvSpPr txBox="1"/>
          <p:nvPr/>
        </p:nvSpPr>
        <p:spPr>
          <a:xfrm>
            <a:off x="741949" y="1119170"/>
            <a:ext cx="11081084" cy="1569660"/>
          </a:xfrm>
          <a:prstGeom prst="rect">
            <a:avLst/>
          </a:prstGeom>
          <a:noFill/>
        </p:spPr>
        <p:txBody>
          <a:bodyPr wrap="square">
            <a:spAutoFit/>
          </a:bodyPr>
          <a:lstStyle/>
          <a:p>
            <a:r>
              <a:rPr lang="sv-SE" sz="4800" b="1" err="1">
                <a:solidFill>
                  <a:srgbClr val="CC0033"/>
                </a:solidFill>
                <a:latin typeface="+mj-lt"/>
                <a:cs typeface="Arial" panose="020B0604020202020204" pitchFamily="34" charset="0"/>
              </a:rPr>
              <a:t>Summary</a:t>
            </a:r>
            <a:r>
              <a:rPr lang="sv-SE" sz="4800" b="1">
                <a:solidFill>
                  <a:srgbClr val="CC0033"/>
                </a:solidFill>
                <a:latin typeface="+mj-lt"/>
                <a:cs typeface="Arial" panose="020B0604020202020204" pitchFamily="34" charset="0"/>
              </a:rPr>
              <a:t> </a:t>
            </a:r>
            <a:r>
              <a:rPr lang="sv-SE" sz="4800" b="1" err="1">
                <a:solidFill>
                  <a:srgbClr val="CC0033"/>
                </a:solidFill>
                <a:latin typeface="+mj-lt"/>
                <a:cs typeface="Arial" panose="020B0604020202020204" pitchFamily="34" charset="0"/>
              </a:rPr>
              <a:t>of</a:t>
            </a:r>
            <a:r>
              <a:rPr lang="sv-SE" sz="4800" b="1">
                <a:solidFill>
                  <a:srgbClr val="CC0033"/>
                </a:solidFill>
                <a:latin typeface="+mj-lt"/>
                <a:cs typeface="Arial" panose="020B0604020202020204" pitchFamily="34" charset="0"/>
              </a:rPr>
              <a:t> actions and </a:t>
            </a:r>
            <a:r>
              <a:rPr lang="sv-SE" sz="4800" b="1" err="1">
                <a:solidFill>
                  <a:srgbClr val="CC0033"/>
                </a:solidFill>
                <a:latin typeface="+mj-lt"/>
                <a:cs typeface="Arial" panose="020B0604020202020204" pitchFamily="34" charset="0"/>
              </a:rPr>
              <a:t>goals</a:t>
            </a:r>
            <a:r>
              <a:rPr lang="sv-SE" sz="4800" b="1">
                <a:solidFill>
                  <a:srgbClr val="CC0033"/>
                </a:solidFill>
                <a:latin typeface="+mj-lt"/>
                <a:cs typeface="Arial" panose="020B0604020202020204" pitchFamily="34" charset="0"/>
              </a:rPr>
              <a:t> </a:t>
            </a:r>
            <a:r>
              <a:rPr lang="sv-SE" sz="4800" b="1" err="1">
                <a:solidFill>
                  <a:srgbClr val="CC0033"/>
                </a:solidFill>
                <a:latin typeface="+mj-lt"/>
                <a:cs typeface="Arial" panose="020B0604020202020204" pitchFamily="34" charset="0"/>
              </a:rPr>
              <a:t>of</a:t>
            </a:r>
            <a:r>
              <a:rPr lang="sv-SE" sz="4800" b="1">
                <a:solidFill>
                  <a:srgbClr val="CC0033"/>
                </a:solidFill>
                <a:latin typeface="+mj-lt"/>
                <a:cs typeface="Arial" panose="020B0604020202020204" pitchFamily="34" charset="0"/>
              </a:rPr>
              <a:t> ASAS </a:t>
            </a:r>
            <a:r>
              <a:rPr lang="sv-SE" sz="4800" b="1" err="1">
                <a:solidFill>
                  <a:srgbClr val="CC0033"/>
                </a:solidFill>
                <a:latin typeface="+mj-lt"/>
                <a:cs typeface="Arial" panose="020B0604020202020204" pitchFamily="34" charset="0"/>
              </a:rPr>
              <a:t>retrofitting</a:t>
            </a:r>
            <a:endParaRPr lang="sv-SE" sz="4800" b="1">
              <a:solidFill>
                <a:srgbClr val="CC0033"/>
              </a:solidFill>
              <a:latin typeface="+mj-lt"/>
              <a:cs typeface="Arial" panose="020B0604020202020204" pitchFamily="34" charset="0"/>
            </a:endParaRPr>
          </a:p>
        </p:txBody>
      </p:sp>
    </p:spTree>
    <p:extLst>
      <p:ext uri="{BB962C8B-B14F-4D97-AF65-F5344CB8AC3E}">
        <p14:creationId xmlns:p14="http://schemas.microsoft.com/office/powerpoint/2010/main" val="1410153311"/>
      </p:ext>
    </p:extLst>
  </p:cSld>
  <p:clrMapOvr>
    <a:masterClrMapping/>
  </p:clrMapOvr>
  <mc:AlternateContent xmlns:mc="http://schemas.openxmlformats.org/markup-compatibility/2006" xmlns:p14="http://schemas.microsoft.com/office/powerpoint/2010/main">
    <mc:Choice Requires="p14">
      <p:transition spd="slow" p14:dur="2000" advTm="92160"/>
    </mc:Choice>
    <mc:Fallback xmlns="">
      <p:transition spd="slow" advTm="92160"/>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58" name="Rectangle 57">
            <a:extLst>
              <a:ext uri="{FF2B5EF4-FFF2-40B4-BE49-F238E27FC236}">
                <a16:creationId xmlns:a16="http://schemas.microsoft.com/office/drawing/2014/main" id="{289ED1AA-8684-4D37-B208-8777E1A7780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8283428" cy="10287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0" name="Graphic 33">
            <a:extLst>
              <a:ext uri="{FF2B5EF4-FFF2-40B4-BE49-F238E27FC236}">
                <a16:creationId xmlns:a16="http://schemas.microsoft.com/office/drawing/2014/main" id="{4180E01B-B1F4-437C-807D-1C930718EE6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966176" y="0"/>
            <a:ext cx="14355646" cy="10287000"/>
          </a:xfrm>
          <a:custGeom>
            <a:avLst/>
            <a:gdLst>
              <a:gd name="connsiteX0" fmla="*/ 7178288 w 7187261"/>
              <a:gd name="connsiteY0" fmla="*/ 2604802 h 5150263"/>
              <a:gd name="connsiteX1" fmla="*/ 7169335 w 7187261"/>
              <a:gd name="connsiteY1" fmla="*/ 2328577 h 5150263"/>
              <a:gd name="connsiteX2" fmla="*/ 7060845 w 7187261"/>
              <a:gd name="connsiteY2" fmla="*/ 1661160 h 5150263"/>
              <a:gd name="connsiteX3" fmla="*/ 6212263 w 7187261"/>
              <a:gd name="connsiteY3" fmla="*/ 243840 h 5150263"/>
              <a:gd name="connsiteX4" fmla="*/ 5953564 w 7187261"/>
              <a:gd name="connsiteY4" fmla="*/ 0 h 5150263"/>
              <a:gd name="connsiteX5" fmla="*/ 1408615 w 7187261"/>
              <a:gd name="connsiteY5" fmla="*/ 0 h 5150263"/>
              <a:gd name="connsiteX6" fmla="*/ 805111 w 7187261"/>
              <a:gd name="connsiteY6" fmla="*/ 676275 h 5150263"/>
              <a:gd name="connsiteX7" fmla="*/ 104928 w 7187261"/>
              <a:gd name="connsiteY7" fmla="*/ 2183035 h 5150263"/>
              <a:gd name="connsiteX8" fmla="*/ 51588 w 7187261"/>
              <a:gd name="connsiteY8" fmla="*/ 2400014 h 5150263"/>
              <a:gd name="connsiteX9" fmla="*/ 41301 w 7187261"/>
              <a:gd name="connsiteY9" fmla="*/ 2424208 h 5150263"/>
              <a:gd name="connsiteX10" fmla="*/ 119692 w 7187261"/>
              <a:gd name="connsiteY10" fmla="*/ 1834801 h 5150263"/>
              <a:gd name="connsiteX11" fmla="*/ 870071 w 7187261"/>
              <a:gd name="connsiteY11" fmla="*/ 462248 h 5150263"/>
              <a:gd name="connsiteX12" fmla="*/ 1389279 w 7187261"/>
              <a:gd name="connsiteY12" fmla="*/ 476 h 5150263"/>
              <a:gd name="connsiteX13" fmla="*/ 1320223 w 7187261"/>
              <a:gd name="connsiteY13" fmla="*/ 476 h 5150263"/>
              <a:gd name="connsiteX14" fmla="*/ 423158 w 7187261"/>
              <a:gd name="connsiteY14" fmla="*/ 989743 h 5150263"/>
              <a:gd name="connsiteX15" fmla="*/ 25585 w 7187261"/>
              <a:gd name="connsiteY15" fmla="*/ 2113693 h 5150263"/>
              <a:gd name="connsiteX16" fmla="*/ 2344 w 7187261"/>
              <a:gd name="connsiteY16" fmla="*/ 2725865 h 5150263"/>
              <a:gd name="connsiteX17" fmla="*/ 447256 w 7187261"/>
              <a:gd name="connsiteY17" fmla="*/ 4210717 h 5150263"/>
              <a:gd name="connsiteX18" fmla="*/ 1138962 w 7187261"/>
              <a:gd name="connsiteY18" fmla="*/ 4988910 h 5150263"/>
              <a:gd name="connsiteX19" fmla="*/ 1348512 w 7187261"/>
              <a:gd name="connsiteY19" fmla="*/ 5146834 h 5150263"/>
              <a:gd name="connsiteX20" fmla="*/ 1422712 w 7187261"/>
              <a:gd name="connsiteY20" fmla="*/ 5146834 h 5150263"/>
              <a:gd name="connsiteX21" fmla="*/ 480594 w 7187261"/>
              <a:gd name="connsiteY21" fmla="*/ 4187952 h 5150263"/>
              <a:gd name="connsiteX22" fmla="*/ 398679 w 7187261"/>
              <a:gd name="connsiteY22" fmla="*/ 4046125 h 5150263"/>
              <a:gd name="connsiteX23" fmla="*/ 411823 w 7187261"/>
              <a:gd name="connsiteY23" fmla="*/ 4053078 h 5150263"/>
              <a:gd name="connsiteX24" fmla="*/ 1439380 w 7187261"/>
              <a:gd name="connsiteY24" fmla="*/ 5147405 h 5150263"/>
              <a:gd name="connsiteX25" fmla="*/ 5710010 w 7187261"/>
              <a:gd name="connsiteY25" fmla="*/ 5150263 h 5150263"/>
              <a:gd name="connsiteX26" fmla="*/ 5999665 w 7187261"/>
              <a:gd name="connsiteY26" fmla="*/ 4910900 h 5150263"/>
              <a:gd name="connsiteX27" fmla="*/ 6954165 w 7187261"/>
              <a:gd name="connsiteY27" fmla="*/ 3545777 h 5150263"/>
              <a:gd name="connsiteX28" fmla="*/ 7137712 w 7187261"/>
              <a:gd name="connsiteY28" fmla="*/ 2799207 h 5150263"/>
              <a:gd name="connsiteX29" fmla="*/ 7142951 w 7187261"/>
              <a:gd name="connsiteY29" fmla="*/ 2754535 h 5150263"/>
              <a:gd name="connsiteX30" fmla="*/ 7149428 w 7187261"/>
              <a:gd name="connsiteY30" fmla="*/ 2774823 h 5150263"/>
              <a:gd name="connsiteX31" fmla="*/ 7066465 w 7187261"/>
              <a:gd name="connsiteY31" fmla="*/ 3465672 h 5150263"/>
              <a:gd name="connsiteX32" fmla="*/ 6452578 w 7187261"/>
              <a:gd name="connsiteY32" fmla="*/ 4552760 h 5150263"/>
              <a:gd name="connsiteX33" fmla="*/ 5752110 w 7187261"/>
              <a:gd name="connsiteY33" fmla="*/ 5150263 h 5150263"/>
              <a:gd name="connsiteX34" fmla="*/ 5827643 w 7187261"/>
              <a:gd name="connsiteY34" fmla="*/ 5150263 h 5150263"/>
              <a:gd name="connsiteX35" fmla="*/ 6642793 w 7187261"/>
              <a:gd name="connsiteY35" fmla="*/ 4389406 h 5150263"/>
              <a:gd name="connsiteX36" fmla="*/ 7102469 w 7187261"/>
              <a:gd name="connsiteY36" fmla="*/ 3490817 h 5150263"/>
              <a:gd name="connsiteX37" fmla="*/ 7187242 w 7187261"/>
              <a:gd name="connsiteY37" fmla="*/ 2990183 h 5150263"/>
              <a:gd name="connsiteX38" fmla="*/ 7178288 w 7187261"/>
              <a:gd name="connsiteY38" fmla="*/ 2604802 h 5150263"/>
              <a:gd name="connsiteX39" fmla="*/ 6342565 w 7187261"/>
              <a:gd name="connsiteY39" fmla="*/ 441389 h 5150263"/>
              <a:gd name="connsiteX40" fmla="*/ 7126567 w 7187261"/>
              <a:gd name="connsiteY40" fmla="*/ 2355056 h 5150263"/>
              <a:gd name="connsiteX41" fmla="*/ 6342565 w 7187261"/>
              <a:gd name="connsiteY41" fmla="*/ 441389 h 5150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187261" h="5150263">
                <a:moveTo>
                  <a:pt x="7178288" y="2604802"/>
                </a:moveTo>
                <a:cubicBezTo>
                  <a:pt x="7168763" y="2513076"/>
                  <a:pt x="7174478" y="2420684"/>
                  <a:pt x="7169335" y="2328577"/>
                </a:cubicBezTo>
                <a:cubicBezTo>
                  <a:pt x="7156952" y="2102882"/>
                  <a:pt x="7120586" y="1879149"/>
                  <a:pt x="7060845" y="1661160"/>
                </a:cubicBezTo>
                <a:cubicBezTo>
                  <a:pt x="6910588" y="1121007"/>
                  <a:pt x="6617428" y="631374"/>
                  <a:pt x="6212263" y="243840"/>
                </a:cubicBezTo>
                <a:cubicBezTo>
                  <a:pt x="6126538" y="162496"/>
                  <a:pt x="6040813" y="80201"/>
                  <a:pt x="5953564" y="0"/>
                </a:cubicBezTo>
                <a:lnTo>
                  <a:pt x="1408615" y="0"/>
                </a:lnTo>
                <a:cubicBezTo>
                  <a:pt x="1180967" y="200316"/>
                  <a:pt x="978332" y="427387"/>
                  <a:pt x="805111" y="676275"/>
                </a:cubicBezTo>
                <a:cubicBezTo>
                  <a:pt x="481261" y="1136523"/>
                  <a:pt x="252089" y="1640872"/>
                  <a:pt x="104928" y="2183035"/>
                </a:cubicBezTo>
                <a:cubicBezTo>
                  <a:pt x="85878" y="2254853"/>
                  <a:pt x="69495" y="2327720"/>
                  <a:pt x="51588" y="2400014"/>
                </a:cubicBezTo>
                <a:cubicBezTo>
                  <a:pt x="49683" y="2407634"/>
                  <a:pt x="51588" y="2416969"/>
                  <a:pt x="41301" y="2424208"/>
                </a:cubicBezTo>
                <a:cubicBezTo>
                  <a:pt x="45900" y="2225469"/>
                  <a:pt x="72186" y="2027834"/>
                  <a:pt x="119692" y="1834801"/>
                </a:cubicBezTo>
                <a:cubicBezTo>
                  <a:pt x="247993" y="1310926"/>
                  <a:pt x="506121" y="857726"/>
                  <a:pt x="870071" y="462248"/>
                </a:cubicBezTo>
                <a:cubicBezTo>
                  <a:pt x="1027729" y="291823"/>
                  <a:pt x="1201617" y="137169"/>
                  <a:pt x="1389279" y="476"/>
                </a:cubicBezTo>
                <a:lnTo>
                  <a:pt x="1320223" y="476"/>
                </a:lnTo>
                <a:cubicBezTo>
                  <a:pt x="960844" y="274320"/>
                  <a:pt x="656330" y="599123"/>
                  <a:pt x="423158" y="989743"/>
                </a:cubicBezTo>
                <a:cubicBezTo>
                  <a:pt x="215608" y="1337596"/>
                  <a:pt x="80258" y="1711357"/>
                  <a:pt x="25585" y="2113693"/>
                </a:cubicBezTo>
                <a:cubicBezTo>
                  <a:pt x="-2705" y="2316480"/>
                  <a:pt x="-2228" y="2521077"/>
                  <a:pt x="2344" y="2725865"/>
                </a:cubicBezTo>
                <a:cubicBezTo>
                  <a:pt x="14155" y="3261932"/>
                  <a:pt x="170650" y="3754565"/>
                  <a:pt x="447256" y="4210717"/>
                </a:cubicBezTo>
                <a:cubicBezTo>
                  <a:pt x="629851" y="4511612"/>
                  <a:pt x="866356" y="4767167"/>
                  <a:pt x="1138962" y="4988910"/>
                </a:cubicBezTo>
                <a:cubicBezTo>
                  <a:pt x="1207161" y="5044345"/>
                  <a:pt x="1277008" y="5096990"/>
                  <a:pt x="1348512" y="5146834"/>
                </a:cubicBezTo>
                <a:lnTo>
                  <a:pt x="1422712" y="5146834"/>
                </a:lnTo>
                <a:cubicBezTo>
                  <a:pt x="1043426" y="4892802"/>
                  <a:pt x="724720" y="4577334"/>
                  <a:pt x="480594" y="4187952"/>
                </a:cubicBezTo>
                <a:cubicBezTo>
                  <a:pt x="452019" y="4141851"/>
                  <a:pt x="423444" y="4095179"/>
                  <a:pt x="398679" y="4046125"/>
                </a:cubicBezTo>
                <a:cubicBezTo>
                  <a:pt x="407442" y="4043267"/>
                  <a:pt x="409156" y="4048982"/>
                  <a:pt x="411823" y="4053078"/>
                </a:cubicBezTo>
                <a:cubicBezTo>
                  <a:pt x="683572" y="4484656"/>
                  <a:pt x="1033139" y="4842701"/>
                  <a:pt x="1439380" y="5147405"/>
                </a:cubicBezTo>
                <a:lnTo>
                  <a:pt x="5710010" y="5150263"/>
                </a:lnTo>
                <a:cubicBezTo>
                  <a:pt x="5810594" y="5075482"/>
                  <a:pt x="5907272" y="4995587"/>
                  <a:pt x="5999665" y="4910900"/>
                </a:cubicBezTo>
                <a:cubicBezTo>
                  <a:pt x="6418765" y="4526661"/>
                  <a:pt x="6746901" y="4078129"/>
                  <a:pt x="6954165" y="3545777"/>
                </a:cubicBezTo>
                <a:cubicBezTo>
                  <a:pt x="7048234" y="3306175"/>
                  <a:pt x="7109956" y="3055115"/>
                  <a:pt x="7137712" y="2799207"/>
                </a:cubicBezTo>
                <a:cubicBezTo>
                  <a:pt x="7139236" y="2784920"/>
                  <a:pt x="7141046" y="2770632"/>
                  <a:pt x="7142951" y="2754535"/>
                </a:cubicBezTo>
                <a:cubicBezTo>
                  <a:pt x="7151714" y="2760440"/>
                  <a:pt x="7149237" y="2768441"/>
                  <a:pt x="7149428" y="2774823"/>
                </a:cubicBezTo>
                <a:cubicBezTo>
                  <a:pt x="7156743" y="3007967"/>
                  <a:pt x="7128777" y="3240881"/>
                  <a:pt x="7066465" y="3465672"/>
                </a:cubicBezTo>
                <a:cubicBezTo>
                  <a:pt x="6952165" y="3878580"/>
                  <a:pt x="6737948" y="4235863"/>
                  <a:pt x="6452578" y="4552760"/>
                </a:cubicBezTo>
                <a:cubicBezTo>
                  <a:pt x="6244553" y="4783836"/>
                  <a:pt x="6008809" y="4980242"/>
                  <a:pt x="5752110" y="5150263"/>
                </a:cubicBezTo>
                <a:lnTo>
                  <a:pt x="5827643" y="5150263"/>
                </a:lnTo>
                <a:cubicBezTo>
                  <a:pt x="6136539" y="4938904"/>
                  <a:pt x="6412192" y="4689348"/>
                  <a:pt x="6642793" y="4389406"/>
                </a:cubicBezTo>
                <a:cubicBezTo>
                  <a:pt x="6851295" y="4118324"/>
                  <a:pt x="7009125" y="3820859"/>
                  <a:pt x="7102469" y="3490817"/>
                </a:cubicBezTo>
                <a:cubicBezTo>
                  <a:pt x="7148646" y="3327473"/>
                  <a:pt x="7177069" y="3159624"/>
                  <a:pt x="7187242" y="2990183"/>
                </a:cubicBezTo>
                <a:cubicBezTo>
                  <a:pt x="7187623" y="2984087"/>
                  <a:pt x="7182384" y="2642330"/>
                  <a:pt x="7178288" y="2604802"/>
                </a:cubicBezTo>
                <a:close/>
                <a:moveTo>
                  <a:pt x="6342565" y="441389"/>
                </a:moveTo>
                <a:cubicBezTo>
                  <a:pt x="6829797" y="986533"/>
                  <a:pt x="7091135" y="1624422"/>
                  <a:pt x="7126567" y="2355056"/>
                </a:cubicBezTo>
                <a:cubicBezTo>
                  <a:pt x="7001123" y="1661827"/>
                  <a:pt x="6756426" y="1017365"/>
                  <a:pt x="6342565" y="441389"/>
                </a:cubicBez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Arial"/>
              <a:ea typeface="+mn-ea"/>
              <a:cs typeface="+mn-cs"/>
            </a:endParaRPr>
          </a:p>
        </p:txBody>
      </p:sp>
      <p:sp>
        <p:nvSpPr>
          <p:cNvPr id="4" name="Title 3">
            <a:extLst>
              <a:ext uri="{FF2B5EF4-FFF2-40B4-BE49-F238E27FC236}">
                <a16:creationId xmlns:a16="http://schemas.microsoft.com/office/drawing/2014/main" id="{B009CD84-DA40-4CAA-8A89-DD6DAA862368}"/>
              </a:ext>
            </a:extLst>
          </p:cNvPr>
          <p:cNvSpPr>
            <a:spLocks noGrp="1"/>
          </p:cNvSpPr>
          <p:nvPr>
            <p:ph type="title"/>
          </p:nvPr>
        </p:nvSpPr>
        <p:spPr>
          <a:xfrm>
            <a:off x="2819400" y="1485900"/>
            <a:ext cx="13502422" cy="4348463"/>
          </a:xfrm>
        </p:spPr>
        <p:txBody>
          <a:bodyPr vert="horz" lIns="91440" tIns="45720" rIns="91440" bIns="45720" rtlCol="0" anchor="b">
            <a:normAutofit/>
          </a:bodyPr>
          <a:lstStyle/>
          <a:p>
            <a:pPr indent="457200">
              <a:lnSpc>
                <a:spcPct val="90000"/>
              </a:lnSpc>
              <a:spcAft>
                <a:spcPts val="600"/>
              </a:spcAft>
            </a:pPr>
            <a:r>
              <a:rPr lang="en-GB" sz="6000" b="1" kern="1200" noProof="0" dirty="0">
                <a:solidFill>
                  <a:srgbClr val="FFFFFF"/>
                </a:solidFill>
                <a:latin typeface="+mj-lt"/>
                <a:ea typeface="+mj-ea"/>
                <a:cs typeface="+mj-cs"/>
              </a:rPr>
              <a:t>Chapter 2.4 </a:t>
            </a:r>
            <a:br>
              <a:rPr lang="en-GB" sz="6000" b="1" kern="1200" noProof="0" dirty="0">
                <a:solidFill>
                  <a:srgbClr val="FFFFFF"/>
                </a:solidFill>
                <a:latin typeface="+mj-lt"/>
                <a:ea typeface="+mj-ea"/>
                <a:cs typeface="+mj-cs"/>
              </a:rPr>
            </a:br>
            <a:r>
              <a:rPr lang="en-GB" sz="6000" b="1" noProof="0" dirty="0">
                <a:solidFill>
                  <a:srgbClr val="FFFFFF"/>
                </a:solidFill>
              </a:rPr>
              <a:t>Fertilizer production</a:t>
            </a:r>
            <a:endParaRPr lang="en-GB" sz="6000" b="1" kern="1200" noProof="0" dirty="0">
              <a:solidFill>
                <a:srgbClr val="FFFFFF"/>
              </a:solidFill>
              <a:latin typeface="+mj-lt"/>
              <a:ea typeface="+mj-ea"/>
              <a:cs typeface="+mj-cs"/>
            </a:endParaRPr>
          </a:p>
        </p:txBody>
      </p:sp>
      <p:sp>
        <p:nvSpPr>
          <p:cNvPr id="62" name="sketch line">
            <a:extLst>
              <a:ext uri="{FF2B5EF4-FFF2-40B4-BE49-F238E27FC236}">
                <a16:creationId xmlns:a16="http://schemas.microsoft.com/office/drawing/2014/main" id="{41F77738-2AF0-4750-A0C7-F97C2C17590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961309" y="6260247"/>
            <a:ext cx="6365383" cy="27432"/>
          </a:xfrm>
          <a:custGeom>
            <a:avLst/>
            <a:gdLst>
              <a:gd name="connsiteX0" fmla="*/ 0 w 6365383"/>
              <a:gd name="connsiteY0" fmla="*/ 0 h 27432"/>
              <a:gd name="connsiteX1" fmla="*/ 636538 w 6365383"/>
              <a:gd name="connsiteY1" fmla="*/ 0 h 27432"/>
              <a:gd name="connsiteX2" fmla="*/ 1273077 w 6365383"/>
              <a:gd name="connsiteY2" fmla="*/ 0 h 27432"/>
              <a:gd name="connsiteX3" fmla="*/ 1909615 w 6365383"/>
              <a:gd name="connsiteY3" fmla="*/ 0 h 27432"/>
              <a:gd name="connsiteX4" fmla="*/ 2673461 w 6365383"/>
              <a:gd name="connsiteY4" fmla="*/ 0 h 27432"/>
              <a:gd name="connsiteX5" fmla="*/ 3373653 w 6365383"/>
              <a:gd name="connsiteY5" fmla="*/ 0 h 27432"/>
              <a:gd name="connsiteX6" fmla="*/ 3819230 w 6365383"/>
              <a:gd name="connsiteY6" fmla="*/ 0 h 27432"/>
              <a:gd name="connsiteX7" fmla="*/ 4392114 w 6365383"/>
              <a:gd name="connsiteY7" fmla="*/ 0 h 27432"/>
              <a:gd name="connsiteX8" fmla="*/ 5155960 w 6365383"/>
              <a:gd name="connsiteY8" fmla="*/ 0 h 27432"/>
              <a:gd name="connsiteX9" fmla="*/ 5792499 w 6365383"/>
              <a:gd name="connsiteY9" fmla="*/ 0 h 27432"/>
              <a:gd name="connsiteX10" fmla="*/ 6365383 w 6365383"/>
              <a:gd name="connsiteY10" fmla="*/ 0 h 27432"/>
              <a:gd name="connsiteX11" fmla="*/ 6365383 w 6365383"/>
              <a:gd name="connsiteY11" fmla="*/ 27432 h 27432"/>
              <a:gd name="connsiteX12" fmla="*/ 5856152 w 6365383"/>
              <a:gd name="connsiteY12" fmla="*/ 27432 h 27432"/>
              <a:gd name="connsiteX13" fmla="*/ 5092306 w 6365383"/>
              <a:gd name="connsiteY13" fmla="*/ 27432 h 27432"/>
              <a:gd name="connsiteX14" fmla="*/ 4583076 w 6365383"/>
              <a:gd name="connsiteY14" fmla="*/ 27432 h 27432"/>
              <a:gd name="connsiteX15" fmla="*/ 4137499 w 6365383"/>
              <a:gd name="connsiteY15" fmla="*/ 27432 h 27432"/>
              <a:gd name="connsiteX16" fmla="*/ 3691922 w 6365383"/>
              <a:gd name="connsiteY16" fmla="*/ 27432 h 27432"/>
              <a:gd name="connsiteX17" fmla="*/ 2991730 w 6365383"/>
              <a:gd name="connsiteY17" fmla="*/ 27432 h 27432"/>
              <a:gd name="connsiteX18" fmla="*/ 2546153 w 6365383"/>
              <a:gd name="connsiteY18" fmla="*/ 27432 h 27432"/>
              <a:gd name="connsiteX19" fmla="*/ 1909615 w 6365383"/>
              <a:gd name="connsiteY19" fmla="*/ 27432 h 27432"/>
              <a:gd name="connsiteX20" fmla="*/ 1400384 w 6365383"/>
              <a:gd name="connsiteY20" fmla="*/ 27432 h 27432"/>
              <a:gd name="connsiteX21" fmla="*/ 763846 w 6365383"/>
              <a:gd name="connsiteY21" fmla="*/ 27432 h 27432"/>
              <a:gd name="connsiteX22" fmla="*/ 0 w 6365383"/>
              <a:gd name="connsiteY22" fmla="*/ 27432 h 27432"/>
              <a:gd name="connsiteX23" fmla="*/ 0 w 6365383"/>
              <a:gd name="connsiteY23" fmla="*/ 0 h 27432"/>
              <a:gd name="connsiteX0" fmla="*/ 0 w 6365383"/>
              <a:gd name="connsiteY0" fmla="*/ 0 h 27432"/>
              <a:gd name="connsiteX1" fmla="*/ 572884 w 6365383"/>
              <a:gd name="connsiteY1" fmla="*/ 0 h 27432"/>
              <a:gd name="connsiteX2" fmla="*/ 1018461 w 6365383"/>
              <a:gd name="connsiteY2" fmla="*/ 0 h 27432"/>
              <a:gd name="connsiteX3" fmla="*/ 1782307 w 6365383"/>
              <a:gd name="connsiteY3" fmla="*/ 0 h 27432"/>
              <a:gd name="connsiteX4" fmla="*/ 2355192 w 6365383"/>
              <a:gd name="connsiteY4" fmla="*/ 0 h 27432"/>
              <a:gd name="connsiteX5" fmla="*/ 2928076 w 6365383"/>
              <a:gd name="connsiteY5" fmla="*/ 0 h 27432"/>
              <a:gd name="connsiteX6" fmla="*/ 3691922 w 6365383"/>
              <a:gd name="connsiteY6" fmla="*/ 0 h 27432"/>
              <a:gd name="connsiteX7" fmla="*/ 4201153 w 6365383"/>
              <a:gd name="connsiteY7" fmla="*/ 0 h 27432"/>
              <a:gd name="connsiteX8" fmla="*/ 4964999 w 6365383"/>
              <a:gd name="connsiteY8" fmla="*/ 0 h 27432"/>
              <a:gd name="connsiteX9" fmla="*/ 5728845 w 6365383"/>
              <a:gd name="connsiteY9" fmla="*/ 0 h 27432"/>
              <a:gd name="connsiteX10" fmla="*/ 6365383 w 6365383"/>
              <a:gd name="connsiteY10" fmla="*/ 0 h 27432"/>
              <a:gd name="connsiteX11" fmla="*/ 6365383 w 6365383"/>
              <a:gd name="connsiteY11" fmla="*/ 27432 h 27432"/>
              <a:gd name="connsiteX12" fmla="*/ 5665191 w 6365383"/>
              <a:gd name="connsiteY12" fmla="*/ 27432 h 27432"/>
              <a:gd name="connsiteX13" fmla="*/ 4901345 w 6365383"/>
              <a:gd name="connsiteY13" fmla="*/ 27432 h 27432"/>
              <a:gd name="connsiteX14" fmla="*/ 4137499 w 6365383"/>
              <a:gd name="connsiteY14" fmla="*/ 27432 h 27432"/>
              <a:gd name="connsiteX15" fmla="*/ 3628268 w 6365383"/>
              <a:gd name="connsiteY15" fmla="*/ 27432 h 27432"/>
              <a:gd name="connsiteX16" fmla="*/ 2991730 w 6365383"/>
              <a:gd name="connsiteY16" fmla="*/ 27432 h 27432"/>
              <a:gd name="connsiteX17" fmla="*/ 2227884 w 6365383"/>
              <a:gd name="connsiteY17" fmla="*/ 27432 h 27432"/>
              <a:gd name="connsiteX18" fmla="*/ 1591346 w 6365383"/>
              <a:gd name="connsiteY18" fmla="*/ 27432 h 27432"/>
              <a:gd name="connsiteX19" fmla="*/ 1145769 w 6365383"/>
              <a:gd name="connsiteY19" fmla="*/ 27432 h 27432"/>
              <a:gd name="connsiteX20" fmla="*/ 636538 w 6365383"/>
              <a:gd name="connsiteY20" fmla="*/ 27432 h 27432"/>
              <a:gd name="connsiteX21" fmla="*/ 0 w 6365383"/>
              <a:gd name="connsiteY21" fmla="*/ 27432 h 27432"/>
              <a:gd name="connsiteX22" fmla="*/ 0 w 6365383"/>
              <a:gd name="connsiteY22"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365383" h="27432" fill="none" extrusionOk="0">
                <a:moveTo>
                  <a:pt x="0" y="0"/>
                </a:moveTo>
                <a:cubicBezTo>
                  <a:pt x="311910" y="25756"/>
                  <a:pt x="328854" y="-22977"/>
                  <a:pt x="636538" y="0"/>
                </a:cubicBezTo>
                <a:cubicBezTo>
                  <a:pt x="929901" y="50670"/>
                  <a:pt x="1067253" y="-1993"/>
                  <a:pt x="1273077" y="0"/>
                </a:cubicBezTo>
                <a:cubicBezTo>
                  <a:pt x="1507620" y="-24857"/>
                  <a:pt x="1747799" y="-10413"/>
                  <a:pt x="1909615" y="0"/>
                </a:cubicBezTo>
                <a:cubicBezTo>
                  <a:pt x="2041097" y="-21585"/>
                  <a:pt x="2422417" y="-28022"/>
                  <a:pt x="2673461" y="0"/>
                </a:cubicBezTo>
                <a:cubicBezTo>
                  <a:pt x="2948394" y="-4560"/>
                  <a:pt x="3134893" y="36981"/>
                  <a:pt x="3373653" y="0"/>
                </a:cubicBezTo>
                <a:cubicBezTo>
                  <a:pt x="3634761" y="-15887"/>
                  <a:pt x="3700843" y="23167"/>
                  <a:pt x="3819230" y="0"/>
                </a:cubicBezTo>
                <a:cubicBezTo>
                  <a:pt x="3977295" y="2943"/>
                  <a:pt x="4128910" y="-53150"/>
                  <a:pt x="4392114" y="0"/>
                </a:cubicBezTo>
                <a:cubicBezTo>
                  <a:pt x="4672763" y="9214"/>
                  <a:pt x="4999833" y="38501"/>
                  <a:pt x="5155960" y="0"/>
                </a:cubicBezTo>
                <a:cubicBezTo>
                  <a:pt x="5343367" y="-6557"/>
                  <a:pt x="5597661" y="6622"/>
                  <a:pt x="5792499" y="0"/>
                </a:cubicBezTo>
                <a:cubicBezTo>
                  <a:pt x="6020774" y="43813"/>
                  <a:pt x="6148830" y="-13954"/>
                  <a:pt x="6365383" y="0"/>
                </a:cubicBezTo>
                <a:cubicBezTo>
                  <a:pt x="6364517" y="8091"/>
                  <a:pt x="6365728" y="20268"/>
                  <a:pt x="6365383" y="27432"/>
                </a:cubicBezTo>
                <a:cubicBezTo>
                  <a:pt x="6144545" y="15144"/>
                  <a:pt x="6006673" y="-7419"/>
                  <a:pt x="5856152" y="27432"/>
                </a:cubicBezTo>
                <a:cubicBezTo>
                  <a:pt x="5638446" y="81548"/>
                  <a:pt x="5413846" y="52067"/>
                  <a:pt x="5092306" y="27432"/>
                </a:cubicBezTo>
                <a:cubicBezTo>
                  <a:pt x="4768499" y="43350"/>
                  <a:pt x="4708569" y="3163"/>
                  <a:pt x="4583076" y="27432"/>
                </a:cubicBezTo>
                <a:cubicBezTo>
                  <a:pt x="4475482" y="66269"/>
                  <a:pt x="4242792" y="42702"/>
                  <a:pt x="4137499" y="27432"/>
                </a:cubicBezTo>
                <a:cubicBezTo>
                  <a:pt x="4003968" y="24039"/>
                  <a:pt x="3882646" y="-3026"/>
                  <a:pt x="3691922" y="27432"/>
                </a:cubicBezTo>
                <a:cubicBezTo>
                  <a:pt x="3501639" y="8096"/>
                  <a:pt x="3270842" y="-14942"/>
                  <a:pt x="2991730" y="27432"/>
                </a:cubicBezTo>
                <a:cubicBezTo>
                  <a:pt x="2712135" y="55419"/>
                  <a:pt x="2758697" y="31955"/>
                  <a:pt x="2546153" y="27432"/>
                </a:cubicBezTo>
                <a:cubicBezTo>
                  <a:pt x="2362220" y="-818"/>
                  <a:pt x="2130397" y="57099"/>
                  <a:pt x="1909615" y="27432"/>
                </a:cubicBezTo>
                <a:cubicBezTo>
                  <a:pt x="1714835" y="-15389"/>
                  <a:pt x="1636770" y="40318"/>
                  <a:pt x="1400384" y="27432"/>
                </a:cubicBezTo>
                <a:cubicBezTo>
                  <a:pt x="1161504" y="29515"/>
                  <a:pt x="1060819" y="7773"/>
                  <a:pt x="763846" y="27432"/>
                </a:cubicBezTo>
                <a:cubicBezTo>
                  <a:pt x="465096" y="43671"/>
                  <a:pt x="165309" y="15831"/>
                  <a:pt x="0" y="27432"/>
                </a:cubicBezTo>
                <a:cubicBezTo>
                  <a:pt x="-2013" y="18874"/>
                  <a:pt x="-525" y="8614"/>
                  <a:pt x="0" y="0"/>
                </a:cubicBezTo>
                <a:close/>
              </a:path>
              <a:path w="6365383" h="27432" stroke="0" extrusionOk="0">
                <a:moveTo>
                  <a:pt x="0" y="0"/>
                </a:moveTo>
                <a:cubicBezTo>
                  <a:pt x="84020" y="9133"/>
                  <a:pt x="339524" y="24523"/>
                  <a:pt x="572884" y="0"/>
                </a:cubicBezTo>
                <a:cubicBezTo>
                  <a:pt x="803790" y="-14011"/>
                  <a:pt x="837492" y="-10007"/>
                  <a:pt x="1018461" y="0"/>
                </a:cubicBezTo>
                <a:cubicBezTo>
                  <a:pt x="1188530" y="8943"/>
                  <a:pt x="1571061" y="17361"/>
                  <a:pt x="1782307" y="0"/>
                </a:cubicBezTo>
                <a:cubicBezTo>
                  <a:pt x="1967448" y="-16010"/>
                  <a:pt x="2153334" y="-25629"/>
                  <a:pt x="2355192" y="0"/>
                </a:cubicBezTo>
                <a:cubicBezTo>
                  <a:pt x="2541804" y="20205"/>
                  <a:pt x="2779440" y="53811"/>
                  <a:pt x="2928076" y="0"/>
                </a:cubicBezTo>
                <a:cubicBezTo>
                  <a:pt x="3024078" y="-16903"/>
                  <a:pt x="3337092" y="43483"/>
                  <a:pt x="3691922" y="0"/>
                </a:cubicBezTo>
                <a:cubicBezTo>
                  <a:pt x="4060895" y="-1064"/>
                  <a:pt x="4072166" y="-17195"/>
                  <a:pt x="4201153" y="0"/>
                </a:cubicBezTo>
                <a:cubicBezTo>
                  <a:pt x="4349835" y="-22516"/>
                  <a:pt x="4800106" y="-64797"/>
                  <a:pt x="4964999" y="0"/>
                </a:cubicBezTo>
                <a:cubicBezTo>
                  <a:pt x="5186764" y="15779"/>
                  <a:pt x="5564421" y="-10544"/>
                  <a:pt x="5728845" y="0"/>
                </a:cubicBezTo>
                <a:cubicBezTo>
                  <a:pt x="5915953" y="5493"/>
                  <a:pt x="6171384" y="-48026"/>
                  <a:pt x="6365383" y="0"/>
                </a:cubicBezTo>
                <a:cubicBezTo>
                  <a:pt x="6366596" y="6455"/>
                  <a:pt x="6365588" y="14391"/>
                  <a:pt x="6365383" y="27432"/>
                </a:cubicBezTo>
                <a:cubicBezTo>
                  <a:pt x="6172514" y="805"/>
                  <a:pt x="6006523" y="20734"/>
                  <a:pt x="5665191" y="27432"/>
                </a:cubicBezTo>
                <a:cubicBezTo>
                  <a:pt x="5322179" y="66687"/>
                  <a:pt x="5219376" y="21111"/>
                  <a:pt x="4901345" y="27432"/>
                </a:cubicBezTo>
                <a:cubicBezTo>
                  <a:pt x="4621310" y="-13654"/>
                  <a:pt x="4455192" y="54857"/>
                  <a:pt x="4137499" y="27432"/>
                </a:cubicBezTo>
                <a:cubicBezTo>
                  <a:pt x="3853317" y="12285"/>
                  <a:pt x="3862894" y="26263"/>
                  <a:pt x="3628268" y="27432"/>
                </a:cubicBezTo>
                <a:cubicBezTo>
                  <a:pt x="3418779" y="32610"/>
                  <a:pt x="3174456" y="83656"/>
                  <a:pt x="2991730" y="27432"/>
                </a:cubicBezTo>
                <a:cubicBezTo>
                  <a:pt x="2801278" y="6667"/>
                  <a:pt x="2497351" y="22891"/>
                  <a:pt x="2227884" y="27432"/>
                </a:cubicBezTo>
                <a:cubicBezTo>
                  <a:pt x="1986101" y="16297"/>
                  <a:pt x="1767219" y="-7535"/>
                  <a:pt x="1591346" y="27432"/>
                </a:cubicBezTo>
                <a:cubicBezTo>
                  <a:pt x="1447183" y="73731"/>
                  <a:pt x="1315973" y="39477"/>
                  <a:pt x="1145769" y="27432"/>
                </a:cubicBezTo>
                <a:cubicBezTo>
                  <a:pt x="990245" y="8882"/>
                  <a:pt x="810845" y="16910"/>
                  <a:pt x="636538" y="27432"/>
                </a:cubicBezTo>
                <a:cubicBezTo>
                  <a:pt x="482916" y="17795"/>
                  <a:pt x="183027" y="-17710"/>
                  <a:pt x="0" y="27432"/>
                </a:cubicBezTo>
                <a:cubicBezTo>
                  <a:pt x="491" y="19542"/>
                  <a:pt x="-1038" y="8534"/>
                  <a:pt x="0" y="0"/>
                </a:cubicBezTo>
                <a:close/>
              </a:path>
              <a:path w="6365383" h="27432" fill="none" stroke="0" extrusionOk="0">
                <a:moveTo>
                  <a:pt x="0" y="0"/>
                </a:moveTo>
                <a:cubicBezTo>
                  <a:pt x="296223" y="15991"/>
                  <a:pt x="333462" y="-23795"/>
                  <a:pt x="636538" y="0"/>
                </a:cubicBezTo>
                <a:cubicBezTo>
                  <a:pt x="970197" y="30961"/>
                  <a:pt x="1039864" y="3183"/>
                  <a:pt x="1273077" y="0"/>
                </a:cubicBezTo>
                <a:cubicBezTo>
                  <a:pt x="1449809" y="24819"/>
                  <a:pt x="1735152" y="23060"/>
                  <a:pt x="1909615" y="0"/>
                </a:cubicBezTo>
                <a:cubicBezTo>
                  <a:pt x="2016351" y="-41665"/>
                  <a:pt x="2415001" y="34773"/>
                  <a:pt x="2673461" y="0"/>
                </a:cubicBezTo>
                <a:cubicBezTo>
                  <a:pt x="2996983" y="-13411"/>
                  <a:pt x="3130707" y="3741"/>
                  <a:pt x="3373653" y="0"/>
                </a:cubicBezTo>
                <a:cubicBezTo>
                  <a:pt x="3601951" y="-16140"/>
                  <a:pt x="3689909" y="23222"/>
                  <a:pt x="3819230" y="0"/>
                </a:cubicBezTo>
                <a:cubicBezTo>
                  <a:pt x="3931872" y="-29406"/>
                  <a:pt x="4119438" y="24094"/>
                  <a:pt x="4392114" y="0"/>
                </a:cubicBezTo>
                <a:cubicBezTo>
                  <a:pt x="4665359" y="21557"/>
                  <a:pt x="4978709" y="13267"/>
                  <a:pt x="5155960" y="0"/>
                </a:cubicBezTo>
                <a:cubicBezTo>
                  <a:pt x="5299518" y="-18386"/>
                  <a:pt x="5605020" y="-6762"/>
                  <a:pt x="5792499" y="0"/>
                </a:cubicBezTo>
                <a:cubicBezTo>
                  <a:pt x="6013281" y="43398"/>
                  <a:pt x="6167567" y="36727"/>
                  <a:pt x="6365383" y="0"/>
                </a:cubicBezTo>
                <a:cubicBezTo>
                  <a:pt x="6365697" y="8368"/>
                  <a:pt x="6365332" y="21050"/>
                  <a:pt x="6365383" y="27432"/>
                </a:cubicBezTo>
                <a:cubicBezTo>
                  <a:pt x="6154893" y="8454"/>
                  <a:pt x="6014206" y="-8372"/>
                  <a:pt x="5856152" y="27432"/>
                </a:cubicBezTo>
                <a:cubicBezTo>
                  <a:pt x="5659455" y="59503"/>
                  <a:pt x="5350806" y="-35991"/>
                  <a:pt x="5092306" y="27432"/>
                </a:cubicBezTo>
                <a:cubicBezTo>
                  <a:pt x="4756309" y="48260"/>
                  <a:pt x="4699746" y="-4780"/>
                  <a:pt x="4583076" y="27432"/>
                </a:cubicBezTo>
                <a:cubicBezTo>
                  <a:pt x="4462137" y="30142"/>
                  <a:pt x="4226168" y="50236"/>
                  <a:pt x="4137499" y="27432"/>
                </a:cubicBezTo>
                <a:cubicBezTo>
                  <a:pt x="4018570" y="42181"/>
                  <a:pt x="3887179" y="34623"/>
                  <a:pt x="3691922" y="27432"/>
                </a:cubicBezTo>
                <a:cubicBezTo>
                  <a:pt x="3499755" y="32935"/>
                  <a:pt x="3281056" y="-9158"/>
                  <a:pt x="2991730" y="27432"/>
                </a:cubicBezTo>
                <a:cubicBezTo>
                  <a:pt x="2716073" y="57462"/>
                  <a:pt x="2755481" y="34494"/>
                  <a:pt x="2546153" y="27432"/>
                </a:cubicBezTo>
                <a:cubicBezTo>
                  <a:pt x="2356479" y="62622"/>
                  <a:pt x="2079190" y="73729"/>
                  <a:pt x="1909615" y="27432"/>
                </a:cubicBezTo>
                <a:cubicBezTo>
                  <a:pt x="1715819" y="-26444"/>
                  <a:pt x="1631368" y="48131"/>
                  <a:pt x="1400384" y="27432"/>
                </a:cubicBezTo>
                <a:cubicBezTo>
                  <a:pt x="1177327" y="16190"/>
                  <a:pt x="1065236" y="24992"/>
                  <a:pt x="763846" y="27432"/>
                </a:cubicBezTo>
                <a:cubicBezTo>
                  <a:pt x="448643" y="60691"/>
                  <a:pt x="160833" y="2330"/>
                  <a:pt x="0" y="27432"/>
                </a:cubicBezTo>
                <a:cubicBezTo>
                  <a:pt x="1559" y="18666"/>
                  <a:pt x="-585" y="7580"/>
                  <a:pt x="0" y="0"/>
                </a:cubicBezTo>
                <a:close/>
              </a:path>
            </a:pathLst>
          </a:custGeom>
          <a:solidFill>
            <a:srgbClr val="FFFFFF"/>
          </a:solidFill>
          <a:ln w="41275" cap="rnd">
            <a:solidFill>
              <a:srgbClr val="FFFFFF"/>
            </a:solidFill>
            <a:round/>
            <a:extLst>
              <a:ext uri="{C807C97D-BFC1-408E-A445-0C87EB9F89A2}">
                <ask:lineSketchStyleProps xmlns:ask="http://schemas.microsoft.com/office/drawing/2018/sketchyshapes" sd="1219033472">
                  <a:custGeom>
                    <a:avLst/>
                    <a:gdLst>
                      <a:gd name="connsiteX0" fmla="*/ 0 w 6365383"/>
                      <a:gd name="connsiteY0" fmla="*/ 0 h 27432"/>
                      <a:gd name="connsiteX1" fmla="*/ 636538 w 6365383"/>
                      <a:gd name="connsiteY1" fmla="*/ 0 h 27432"/>
                      <a:gd name="connsiteX2" fmla="*/ 1273077 w 6365383"/>
                      <a:gd name="connsiteY2" fmla="*/ 0 h 27432"/>
                      <a:gd name="connsiteX3" fmla="*/ 1909615 w 6365383"/>
                      <a:gd name="connsiteY3" fmla="*/ 0 h 27432"/>
                      <a:gd name="connsiteX4" fmla="*/ 2673461 w 6365383"/>
                      <a:gd name="connsiteY4" fmla="*/ 0 h 27432"/>
                      <a:gd name="connsiteX5" fmla="*/ 3373653 w 6365383"/>
                      <a:gd name="connsiteY5" fmla="*/ 0 h 27432"/>
                      <a:gd name="connsiteX6" fmla="*/ 3819230 w 6365383"/>
                      <a:gd name="connsiteY6" fmla="*/ 0 h 27432"/>
                      <a:gd name="connsiteX7" fmla="*/ 4392114 w 6365383"/>
                      <a:gd name="connsiteY7" fmla="*/ 0 h 27432"/>
                      <a:gd name="connsiteX8" fmla="*/ 5155960 w 6365383"/>
                      <a:gd name="connsiteY8" fmla="*/ 0 h 27432"/>
                      <a:gd name="connsiteX9" fmla="*/ 5792499 w 6365383"/>
                      <a:gd name="connsiteY9" fmla="*/ 0 h 27432"/>
                      <a:gd name="connsiteX10" fmla="*/ 6365383 w 6365383"/>
                      <a:gd name="connsiteY10" fmla="*/ 0 h 27432"/>
                      <a:gd name="connsiteX11" fmla="*/ 6365383 w 6365383"/>
                      <a:gd name="connsiteY11" fmla="*/ 27432 h 27432"/>
                      <a:gd name="connsiteX12" fmla="*/ 5856152 w 6365383"/>
                      <a:gd name="connsiteY12" fmla="*/ 27432 h 27432"/>
                      <a:gd name="connsiteX13" fmla="*/ 5092306 w 6365383"/>
                      <a:gd name="connsiteY13" fmla="*/ 27432 h 27432"/>
                      <a:gd name="connsiteX14" fmla="*/ 4583076 w 6365383"/>
                      <a:gd name="connsiteY14" fmla="*/ 27432 h 27432"/>
                      <a:gd name="connsiteX15" fmla="*/ 4137499 w 6365383"/>
                      <a:gd name="connsiteY15" fmla="*/ 27432 h 27432"/>
                      <a:gd name="connsiteX16" fmla="*/ 3691922 w 6365383"/>
                      <a:gd name="connsiteY16" fmla="*/ 27432 h 27432"/>
                      <a:gd name="connsiteX17" fmla="*/ 2991730 w 6365383"/>
                      <a:gd name="connsiteY17" fmla="*/ 27432 h 27432"/>
                      <a:gd name="connsiteX18" fmla="*/ 2546153 w 6365383"/>
                      <a:gd name="connsiteY18" fmla="*/ 27432 h 27432"/>
                      <a:gd name="connsiteX19" fmla="*/ 1909615 w 6365383"/>
                      <a:gd name="connsiteY19" fmla="*/ 27432 h 27432"/>
                      <a:gd name="connsiteX20" fmla="*/ 1400384 w 6365383"/>
                      <a:gd name="connsiteY20" fmla="*/ 27432 h 27432"/>
                      <a:gd name="connsiteX21" fmla="*/ 763846 w 6365383"/>
                      <a:gd name="connsiteY21" fmla="*/ 27432 h 27432"/>
                      <a:gd name="connsiteX22" fmla="*/ 0 w 6365383"/>
                      <a:gd name="connsiteY22" fmla="*/ 27432 h 27432"/>
                      <a:gd name="connsiteX23" fmla="*/ 0 w 6365383"/>
                      <a:gd name="connsiteY23"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365383" h="27432" fill="none" extrusionOk="0">
                        <a:moveTo>
                          <a:pt x="0" y="0"/>
                        </a:moveTo>
                        <a:cubicBezTo>
                          <a:pt x="305169" y="21509"/>
                          <a:pt x="334704" y="-24261"/>
                          <a:pt x="636538" y="0"/>
                        </a:cubicBezTo>
                        <a:cubicBezTo>
                          <a:pt x="938372" y="24261"/>
                          <a:pt x="1068606" y="2269"/>
                          <a:pt x="1273077" y="0"/>
                        </a:cubicBezTo>
                        <a:cubicBezTo>
                          <a:pt x="1477548" y="-2269"/>
                          <a:pt x="1738189" y="6272"/>
                          <a:pt x="1909615" y="0"/>
                        </a:cubicBezTo>
                        <a:cubicBezTo>
                          <a:pt x="2081041" y="-6272"/>
                          <a:pt x="2377015" y="16623"/>
                          <a:pt x="2673461" y="0"/>
                        </a:cubicBezTo>
                        <a:cubicBezTo>
                          <a:pt x="2969907" y="-16623"/>
                          <a:pt x="3126114" y="13194"/>
                          <a:pt x="3373653" y="0"/>
                        </a:cubicBezTo>
                        <a:cubicBezTo>
                          <a:pt x="3621192" y="-13194"/>
                          <a:pt x="3704499" y="9486"/>
                          <a:pt x="3819230" y="0"/>
                        </a:cubicBezTo>
                        <a:cubicBezTo>
                          <a:pt x="3933961" y="-9486"/>
                          <a:pt x="4142691" y="-8221"/>
                          <a:pt x="4392114" y="0"/>
                        </a:cubicBezTo>
                        <a:cubicBezTo>
                          <a:pt x="4641537" y="8221"/>
                          <a:pt x="4974506" y="12257"/>
                          <a:pt x="5155960" y="0"/>
                        </a:cubicBezTo>
                        <a:cubicBezTo>
                          <a:pt x="5337414" y="-12257"/>
                          <a:pt x="5585731" y="-22537"/>
                          <a:pt x="5792499" y="0"/>
                        </a:cubicBezTo>
                        <a:cubicBezTo>
                          <a:pt x="5999267" y="22537"/>
                          <a:pt x="6164726" y="7303"/>
                          <a:pt x="6365383" y="0"/>
                        </a:cubicBezTo>
                        <a:cubicBezTo>
                          <a:pt x="6365125" y="7487"/>
                          <a:pt x="6364462" y="19984"/>
                          <a:pt x="6365383" y="27432"/>
                        </a:cubicBezTo>
                        <a:cubicBezTo>
                          <a:pt x="6132222" y="28304"/>
                          <a:pt x="6011986" y="2071"/>
                          <a:pt x="5856152" y="27432"/>
                        </a:cubicBezTo>
                        <a:cubicBezTo>
                          <a:pt x="5700318" y="52793"/>
                          <a:pt x="5410732" y="5357"/>
                          <a:pt x="5092306" y="27432"/>
                        </a:cubicBezTo>
                        <a:cubicBezTo>
                          <a:pt x="4773880" y="49507"/>
                          <a:pt x="4705351" y="6645"/>
                          <a:pt x="4583076" y="27432"/>
                        </a:cubicBezTo>
                        <a:cubicBezTo>
                          <a:pt x="4460801" y="48220"/>
                          <a:pt x="4239915" y="42209"/>
                          <a:pt x="4137499" y="27432"/>
                        </a:cubicBezTo>
                        <a:cubicBezTo>
                          <a:pt x="4035083" y="12655"/>
                          <a:pt x="3883665" y="32012"/>
                          <a:pt x="3691922" y="27432"/>
                        </a:cubicBezTo>
                        <a:cubicBezTo>
                          <a:pt x="3500179" y="22852"/>
                          <a:pt x="3265830" y="-126"/>
                          <a:pt x="2991730" y="27432"/>
                        </a:cubicBezTo>
                        <a:cubicBezTo>
                          <a:pt x="2717630" y="54990"/>
                          <a:pt x="2757122" y="34407"/>
                          <a:pt x="2546153" y="27432"/>
                        </a:cubicBezTo>
                        <a:cubicBezTo>
                          <a:pt x="2335184" y="20457"/>
                          <a:pt x="2107331" y="58889"/>
                          <a:pt x="1909615" y="27432"/>
                        </a:cubicBezTo>
                        <a:cubicBezTo>
                          <a:pt x="1711899" y="-4025"/>
                          <a:pt x="1634641" y="48316"/>
                          <a:pt x="1400384" y="27432"/>
                        </a:cubicBezTo>
                        <a:cubicBezTo>
                          <a:pt x="1166127" y="6548"/>
                          <a:pt x="1068288" y="15776"/>
                          <a:pt x="763846" y="27432"/>
                        </a:cubicBezTo>
                        <a:cubicBezTo>
                          <a:pt x="459404" y="39088"/>
                          <a:pt x="170017" y="14515"/>
                          <a:pt x="0" y="27432"/>
                        </a:cubicBezTo>
                        <a:cubicBezTo>
                          <a:pt x="-14" y="18173"/>
                          <a:pt x="-517" y="8990"/>
                          <a:pt x="0" y="0"/>
                        </a:cubicBezTo>
                        <a:close/>
                      </a:path>
                      <a:path w="6365383" h="27432" stroke="0" extrusionOk="0">
                        <a:moveTo>
                          <a:pt x="0" y="0"/>
                        </a:moveTo>
                        <a:cubicBezTo>
                          <a:pt x="114610" y="-2215"/>
                          <a:pt x="340315" y="12554"/>
                          <a:pt x="572884" y="0"/>
                        </a:cubicBezTo>
                        <a:cubicBezTo>
                          <a:pt x="805453" y="-12554"/>
                          <a:pt x="832891" y="-10424"/>
                          <a:pt x="1018461" y="0"/>
                        </a:cubicBezTo>
                        <a:cubicBezTo>
                          <a:pt x="1204031" y="10424"/>
                          <a:pt x="1590875" y="8682"/>
                          <a:pt x="1782307" y="0"/>
                        </a:cubicBezTo>
                        <a:cubicBezTo>
                          <a:pt x="1973739" y="-8682"/>
                          <a:pt x="2150876" y="5508"/>
                          <a:pt x="2355192" y="0"/>
                        </a:cubicBezTo>
                        <a:cubicBezTo>
                          <a:pt x="2559508" y="-5508"/>
                          <a:pt x="2790194" y="26965"/>
                          <a:pt x="2928076" y="0"/>
                        </a:cubicBezTo>
                        <a:cubicBezTo>
                          <a:pt x="3065958" y="-26965"/>
                          <a:pt x="3321537" y="819"/>
                          <a:pt x="3691922" y="0"/>
                        </a:cubicBezTo>
                        <a:cubicBezTo>
                          <a:pt x="4062307" y="-819"/>
                          <a:pt x="4072238" y="-15327"/>
                          <a:pt x="4201153" y="0"/>
                        </a:cubicBezTo>
                        <a:cubicBezTo>
                          <a:pt x="4330068" y="15327"/>
                          <a:pt x="4772079" y="-35646"/>
                          <a:pt x="4964999" y="0"/>
                        </a:cubicBezTo>
                        <a:cubicBezTo>
                          <a:pt x="5157919" y="35646"/>
                          <a:pt x="5543915" y="6802"/>
                          <a:pt x="5728845" y="0"/>
                        </a:cubicBezTo>
                        <a:cubicBezTo>
                          <a:pt x="5913775" y="-6802"/>
                          <a:pt x="6142952" y="-21408"/>
                          <a:pt x="6365383" y="0"/>
                        </a:cubicBezTo>
                        <a:cubicBezTo>
                          <a:pt x="6364552" y="6329"/>
                          <a:pt x="6365787" y="16858"/>
                          <a:pt x="6365383" y="27432"/>
                        </a:cubicBezTo>
                        <a:cubicBezTo>
                          <a:pt x="6176931" y="320"/>
                          <a:pt x="5998736" y="11244"/>
                          <a:pt x="5665191" y="27432"/>
                        </a:cubicBezTo>
                        <a:cubicBezTo>
                          <a:pt x="5331646" y="43620"/>
                          <a:pt x="5198011" y="28615"/>
                          <a:pt x="4901345" y="27432"/>
                        </a:cubicBezTo>
                        <a:cubicBezTo>
                          <a:pt x="4604679" y="26249"/>
                          <a:pt x="4422931" y="40617"/>
                          <a:pt x="4137499" y="27432"/>
                        </a:cubicBezTo>
                        <a:cubicBezTo>
                          <a:pt x="3852067" y="14247"/>
                          <a:pt x="3861939" y="26581"/>
                          <a:pt x="3628268" y="27432"/>
                        </a:cubicBezTo>
                        <a:cubicBezTo>
                          <a:pt x="3394597" y="28283"/>
                          <a:pt x="3171361" y="44132"/>
                          <a:pt x="2991730" y="27432"/>
                        </a:cubicBezTo>
                        <a:cubicBezTo>
                          <a:pt x="2812099" y="10732"/>
                          <a:pt x="2469344" y="24737"/>
                          <a:pt x="2227884" y="27432"/>
                        </a:cubicBezTo>
                        <a:cubicBezTo>
                          <a:pt x="1986424" y="30127"/>
                          <a:pt x="1748067" y="6359"/>
                          <a:pt x="1591346" y="27432"/>
                        </a:cubicBezTo>
                        <a:cubicBezTo>
                          <a:pt x="1434625" y="48505"/>
                          <a:pt x="1307456" y="39663"/>
                          <a:pt x="1145769" y="27432"/>
                        </a:cubicBezTo>
                        <a:cubicBezTo>
                          <a:pt x="984082" y="15201"/>
                          <a:pt x="800279" y="41647"/>
                          <a:pt x="636538" y="27432"/>
                        </a:cubicBezTo>
                        <a:cubicBezTo>
                          <a:pt x="472797" y="13217"/>
                          <a:pt x="160022" y="2213"/>
                          <a:pt x="0" y="27432"/>
                        </a:cubicBezTo>
                        <a:cubicBezTo>
                          <a:pt x="-177" y="19307"/>
                          <a:pt x="-1145" y="9170"/>
                          <a:pt x="0" y="0"/>
                        </a:cubicBezTo>
                        <a:close/>
                      </a:path>
                    </a:pathLst>
                  </a:cu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71168451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6"/>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4"/>
          <a:srcRect/>
          <a:stretch>
            <a:fillRect/>
          </a:stretch>
        </p:blipFill>
        <p:spPr>
          <a:xfrm>
            <a:off x="0" y="8852181"/>
            <a:ext cx="5715000" cy="1385887"/>
          </a:xfrm>
          <a:prstGeom prst="rect">
            <a:avLst/>
          </a:prstGeom>
        </p:spPr>
      </p:pic>
      <p:grpSp>
        <p:nvGrpSpPr>
          <p:cNvPr id="3" name="Gruppo 2">
            <a:extLst>
              <a:ext uri="{FF2B5EF4-FFF2-40B4-BE49-F238E27FC236}">
                <a16:creationId xmlns:a16="http://schemas.microsoft.com/office/drawing/2014/main" id="{1C29CBCA-BE0A-4EF6-AC69-329941E1DCFD}"/>
              </a:ext>
            </a:extLst>
          </p:cNvPr>
          <p:cNvGrpSpPr/>
          <p:nvPr/>
        </p:nvGrpSpPr>
        <p:grpSpPr>
          <a:xfrm>
            <a:off x="-12" y="138554"/>
            <a:ext cx="18288002" cy="681138"/>
            <a:chOff x="-12" y="138554"/>
            <a:chExt cx="18288002" cy="681138"/>
          </a:xfrm>
        </p:grpSpPr>
        <p:grpSp>
          <p:nvGrpSpPr>
            <p:cNvPr id="2" name="Gruppo 1">
              <a:extLst>
                <a:ext uri="{FF2B5EF4-FFF2-40B4-BE49-F238E27FC236}">
                  <a16:creationId xmlns:a16="http://schemas.microsoft.com/office/drawing/2014/main" id="{24E9C7AF-0093-476F-826C-A2702AB72892}"/>
                </a:ext>
              </a:extLst>
            </p:cNvPr>
            <p:cNvGrpSpPr/>
            <p:nvPr/>
          </p:nvGrpSpPr>
          <p:grpSpPr>
            <a:xfrm>
              <a:off x="0" y="153125"/>
              <a:ext cx="17907000" cy="666567"/>
              <a:chOff x="0" y="153125"/>
              <a:chExt cx="17907000" cy="666567"/>
            </a:xfrm>
          </p:grpSpPr>
          <p:grpSp>
            <p:nvGrpSpPr>
              <p:cNvPr id="16" name="Gruppo 15">
                <a:extLst>
                  <a:ext uri="{FF2B5EF4-FFF2-40B4-BE49-F238E27FC236}">
                    <a16:creationId xmlns:a16="http://schemas.microsoft.com/office/drawing/2014/main" id="{DAC42A46-917D-41AB-8F07-E15E54D0F7D4}"/>
                  </a:ext>
                </a:extLst>
              </p:cNvPr>
              <p:cNvGrpSpPr/>
              <p:nvPr/>
            </p:nvGrpSpPr>
            <p:grpSpPr>
              <a:xfrm>
                <a:off x="0" y="153125"/>
                <a:ext cx="13958844" cy="666567"/>
                <a:chOff x="0" y="153125"/>
                <a:chExt cx="13958844" cy="666567"/>
              </a:xfrm>
            </p:grpSpPr>
            <p:pic>
              <p:nvPicPr>
                <p:cNvPr id="10" name="Picture 10"/>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1" name="TextBox 11"/>
                <p:cNvSpPr txBox="1"/>
                <p:nvPr/>
              </p:nvSpPr>
              <p:spPr>
                <a:xfrm>
                  <a:off x="228600" y="257980"/>
                  <a:ext cx="9296400" cy="456856"/>
                </a:xfrm>
                <a:prstGeom prst="rect">
                  <a:avLst/>
                </a:prstGeom>
              </p:spPr>
              <p:txBody>
                <a:bodyPr wrap="square" lIns="0" tIns="0" rIns="0" bIns="0" rtlCol="0" anchor="t">
                  <a:spAutoFit/>
                </a:bodyPr>
                <a:lstStyle/>
                <a:p>
                  <a:pPr>
                    <a:lnSpc>
                      <a:spcPts val="3919"/>
                    </a:lnSpc>
                    <a:spcBef>
                      <a:spcPct val="0"/>
                    </a:spcBef>
                  </a:pPr>
                  <a:endParaRPr lang="en-US" sz="2800" b="1">
                    <a:solidFill>
                      <a:srgbClr val="FFFFFF"/>
                    </a:solidFill>
                    <a:latin typeface="Arial" panose="020B0604020202020204" pitchFamily="34" charset="0"/>
                    <a:cs typeface="Arial" panose="020B0604020202020204" pitchFamily="34" charset="0"/>
                  </a:endParaRPr>
                </a:p>
              </p:txBody>
            </p:sp>
          </p:grpSp>
          <p:sp>
            <p:nvSpPr>
              <p:cNvPr id="12" name="TextBox 11">
                <a:extLst>
                  <a:ext uri="{FF2B5EF4-FFF2-40B4-BE49-F238E27FC236}">
                    <a16:creationId xmlns:a16="http://schemas.microsoft.com/office/drawing/2014/main" id="{1BD9B5F4-614C-4EB6-8C5B-120A5420CE43}"/>
                  </a:ext>
                </a:extLst>
              </p:cNvPr>
              <p:cNvSpPr txBox="1"/>
              <p:nvPr/>
            </p:nvSpPr>
            <p:spPr>
              <a:xfrm>
                <a:off x="12154296" y="257980"/>
                <a:ext cx="5752704" cy="456856"/>
              </a:xfrm>
              <a:prstGeom prst="rect">
                <a:avLst/>
              </a:prstGeom>
            </p:spPr>
            <p:txBody>
              <a:bodyPr wrap="square" lIns="0" tIns="0" rIns="0" bIns="0" rtlCol="0" anchor="t">
                <a:spAutoFit/>
              </a:bodyPr>
              <a:lstStyle/>
              <a:p>
                <a:pPr algn="r">
                  <a:lnSpc>
                    <a:spcPts val="3919"/>
                  </a:lnSpc>
                  <a:spcBef>
                    <a:spcPct val="0"/>
                  </a:spcBef>
                </a:pPr>
                <a:endParaRPr lang="en-US" sz="2800">
                  <a:solidFill>
                    <a:schemeClr val="tx1">
                      <a:lumMod val="75000"/>
                      <a:lumOff val="25000"/>
                    </a:schemeClr>
                  </a:solidFill>
                  <a:latin typeface="Arial" panose="020B0604020202020204" pitchFamily="34" charset="0"/>
                  <a:cs typeface="Arial" panose="020B0604020202020204" pitchFamily="34" charset="0"/>
                </a:endParaRPr>
              </a:p>
            </p:txBody>
          </p:sp>
        </p:grpSp>
        <p:sp>
          <p:nvSpPr>
            <p:cNvPr id="14" name="Rettangolo 13">
              <a:extLst>
                <a:ext uri="{FF2B5EF4-FFF2-40B4-BE49-F238E27FC236}">
                  <a16:creationId xmlns:a16="http://schemas.microsoft.com/office/drawing/2014/main" id="{55199736-B8B6-4C9A-8BAF-233E07A0CA89}"/>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extBox 22">
            <a:extLst>
              <a:ext uri="{FF2B5EF4-FFF2-40B4-BE49-F238E27FC236}">
                <a16:creationId xmlns:a16="http://schemas.microsoft.com/office/drawing/2014/main" id="{35E82F0C-B9E7-446E-A03B-40B1AC18A676}"/>
              </a:ext>
            </a:extLst>
          </p:cNvPr>
          <p:cNvSpPr txBox="1"/>
          <p:nvPr/>
        </p:nvSpPr>
        <p:spPr>
          <a:xfrm>
            <a:off x="9883386" y="5344096"/>
            <a:ext cx="9144000" cy="400110"/>
          </a:xfrm>
          <a:prstGeom prst="rect">
            <a:avLst/>
          </a:prstGeom>
          <a:noFill/>
        </p:spPr>
        <p:txBody>
          <a:bodyPr wrap="square">
            <a:spAutoFit/>
          </a:bodyPr>
          <a:lstStyle/>
          <a:p>
            <a:r>
              <a:rPr lang="en-US" sz="2000" kern="100" err="1">
                <a:solidFill>
                  <a:srgbClr val="404040"/>
                </a:solidFill>
                <a:latin typeface="Arial (body)"/>
              </a:rPr>
              <a:t>Fertiberia’s</a:t>
            </a:r>
            <a:r>
              <a:rPr lang="en-US" sz="2000" kern="100">
                <a:solidFill>
                  <a:srgbClr val="404040"/>
                </a:solidFill>
                <a:latin typeface="Arial (body)"/>
              </a:rPr>
              <a:t> Huelva plant in Spain</a:t>
            </a:r>
            <a:endParaRPr lang="sv-SE" sz="2000" kern="100">
              <a:solidFill>
                <a:srgbClr val="404040"/>
              </a:solidFill>
              <a:latin typeface="Arial (body)"/>
            </a:endParaRPr>
          </a:p>
        </p:txBody>
      </p:sp>
      <p:sp>
        <p:nvSpPr>
          <p:cNvPr id="24" name="TextBox 23">
            <a:extLst>
              <a:ext uri="{FF2B5EF4-FFF2-40B4-BE49-F238E27FC236}">
                <a16:creationId xmlns:a16="http://schemas.microsoft.com/office/drawing/2014/main" id="{53BB3632-45DF-4475-AFF0-C8E3DBFBF385}"/>
              </a:ext>
            </a:extLst>
          </p:cNvPr>
          <p:cNvSpPr txBox="1"/>
          <p:nvPr/>
        </p:nvSpPr>
        <p:spPr>
          <a:xfrm>
            <a:off x="11590806" y="8873849"/>
            <a:ext cx="7235932" cy="400110"/>
          </a:xfrm>
          <a:prstGeom prst="rect">
            <a:avLst/>
          </a:prstGeom>
          <a:noFill/>
        </p:spPr>
        <p:txBody>
          <a:bodyPr wrap="square">
            <a:spAutoFit/>
          </a:bodyPr>
          <a:lstStyle/>
          <a:p>
            <a:r>
              <a:rPr lang="en-US" sz="2000" kern="100">
                <a:solidFill>
                  <a:srgbClr val="404040"/>
                </a:solidFill>
                <a:latin typeface="Arial (body)"/>
              </a:rPr>
              <a:t>Close-up of the production facility</a:t>
            </a:r>
            <a:endParaRPr lang="sv-SE" sz="2000" kern="100">
              <a:solidFill>
                <a:srgbClr val="404040"/>
              </a:solidFill>
              <a:latin typeface="Arial (body)"/>
            </a:endParaRPr>
          </a:p>
        </p:txBody>
      </p:sp>
      <p:sp>
        <p:nvSpPr>
          <p:cNvPr id="22" name="TextBox 21">
            <a:extLst>
              <a:ext uri="{FF2B5EF4-FFF2-40B4-BE49-F238E27FC236}">
                <a16:creationId xmlns:a16="http://schemas.microsoft.com/office/drawing/2014/main" id="{A62B0953-D773-4D67-AD34-F5E0CA958321}"/>
              </a:ext>
            </a:extLst>
          </p:cNvPr>
          <p:cNvSpPr txBox="1"/>
          <p:nvPr/>
        </p:nvSpPr>
        <p:spPr>
          <a:xfrm>
            <a:off x="724654" y="3473085"/>
            <a:ext cx="8304291" cy="4651979"/>
          </a:xfrm>
          <a:prstGeom prst="rect">
            <a:avLst/>
          </a:prstGeom>
          <a:noFill/>
        </p:spPr>
        <p:txBody>
          <a:bodyPr wrap="square">
            <a:spAutoFit/>
          </a:bodyPr>
          <a:lstStyle/>
          <a:p>
            <a:pPr marL="0" marR="0" lvl="0" indent="0" algn="just" defTabSz="914400" rtl="0" eaLnBrk="1" fontAlgn="auto" latinLnBrk="0" hangingPunct="1">
              <a:lnSpc>
                <a:spcPct val="150000"/>
              </a:lnSpc>
              <a:spcBef>
                <a:spcPts val="0"/>
              </a:spcBef>
              <a:spcAft>
                <a:spcPts val="0"/>
              </a:spcAft>
              <a:buClrTx/>
              <a:buSzTx/>
              <a:buFontTx/>
              <a:buNone/>
              <a:tabLst/>
              <a:defRPr/>
            </a:pPr>
            <a:r>
              <a:rPr lang="en-US" sz="2000">
                <a:effectLst/>
                <a:latin typeface="Arial MT"/>
                <a:ea typeface="Arial MT"/>
                <a:cs typeface="Arial MT"/>
              </a:rPr>
              <a:t>FERTIBERIA Group is a Spanish fertilizer and industrial products producer </a:t>
            </a:r>
            <a:r>
              <a:rPr lang="en-US" sz="2000" b="0" i="0" u="none" strike="noStrike" baseline="0">
                <a:solidFill>
                  <a:srgbClr val="000000"/>
                </a:solidFill>
                <a:latin typeface="Arial" panose="020B0604020202020204" pitchFamily="34" charset="0"/>
              </a:rPr>
              <a:t>and one of the leading international providers of ammonia and its derivates. FERTIBERIA and its subsidiaries’ fertilizer production capacities amount to 75% of the total production in Spain and 100% in Portugal. It has 14 factories distributed across Spain, Portugal and France, producing roughly 8 million annual tons of fertilizer products.</a:t>
            </a:r>
          </a:p>
          <a:p>
            <a:pPr marL="0" marR="0" lvl="0" indent="0" algn="just" defTabSz="914400" rtl="0" eaLnBrk="1" fontAlgn="auto" latinLnBrk="0" hangingPunct="1">
              <a:lnSpc>
                <a:spcPct val="150000"/>
              </a:lnSpc>
              <a:spcBef>
                <a:spcPts val="0"/>
              </a:spcBef>
              <a:spcAft>
                <a:spcPts val="0"/>
              </a:spcAft>
              <a:buClrTx/>
              <a:buSzTx/>
              <a:buFontTx/>
              <a:buNone/>
              <a:tabLst/>
              <a:defRPr/>
            </a:pPr>
            <a:r>
              <a:rPr lang="en-US" sz="2000">
                <a:solidFill>
                  <a:srgbClr val="000000"/>
                </a:solidFill>
                <a:effectLst/>
                <a:latin typeface="Arial" panose="020B0604020202020204" pitchFamily="34" charset="0"/>
                <a:ea typeface="Arial MT"/>
                <a:cs typeface="Arial MT"/>
              </a:rPr>
              <a:t>FERTIBERIA’s fertilizers can be categorized as </a:t>
            </a:r>
            <a:r>
              <a:rPr lang="en-US" sz="2000" u="sng">
                <a:solidFill>
                  <a:srgbClr val="0070C0"/>
                </a:solidFill>
                <a:effectLst/>
                <a:latin typeface="Arial" panose="020B0604020202020204" pitchFamily="34" charset="0"/>
                <a:ea typeface="Arial MT"/>
                <a:cs typeface="Arial MT"/>
              </a:rPr>
              <a:t>simple</a:t>
            </a:r>
            <a:r>
              <a:rPr lang="en-US" sz="2000">
                <a:solidFill>
                  <a:srgbClr val="000000"/>
                </a:solidFill>
                <a:effectLst/>
                <a:latin typeface="Arial" panose="020B0604020202020204" pitchFamily="34" charset="0"/>
                <a:ea typeface="Arial MT"/>
                <a:cs typeface="Arial MT"/>
              </a:rPr>
              <a:t> and </a:t>
            </a:r>
            <a:r>
              <a:rPr lang="en-US" sz="2000" u="sng">
                <a:solidFill>
                  <a:srgbClr val="0070C0"/>
                </a:solidFill>
                <a:effectLst/>
                <a:latin typeface="Arial" panose="020B0604020202020204" pitchFamily="34" charset="0"/>
                <a:ea typeface="Arial MT"/>
                <a:cs typeface="Arial MT"/>
              </a:rPr>
              <a:t>complex</a:t>
            </a:r>
            <a:r>
              <a:rPr lang="en-US" sz="2000">
                <a:solidFill>
                  <a:srgbClr val="000000"/>
                </a:solidFill>
                <a:effectLst/>
                <a:latin typeface="Arial" panose="020B0604020202020204" pitchFamily="34" charset="0"/>
                <a:ea typeface="Arial MT"/>
                <a:cs typeface="Arial MT"/>
              </a:rPr>
              <a:t>. </a:t>
            </a:r>
            <a:r>
              <a:rPr lang="en-US" sz="2000" b="0" i="0" u="none" strike="noStrike" baseline="0">
                <a:solidFill>
                  <a:srgbClr val="000000"/>
                </a:solidFill>
                <a:latin typeface="Arial" panose="020B0604020202020204" pitchFamily="34" charset="0"/>
              </a:rPr>
              <a:t>In Huelva, Spain, </a:t>
            </a:r>
            <a:r>
              <a:rPr lang="en-US" sz="2000" b="0" i="0" u="none" strike="noStrike" baseline="0" err="1">
                <a:solidFill>
                  <a:srgbClr val="000000"/>
                </a:solidFill>
                <a:latin typeface="Arial" panose="020B0604020202020204" pitchFamily="34" charset="0"/>
              </a:rPr>
              <a:t>Fertiberia</a:t>
            </a:r>
            <a:r>
              <a:rPr lang="en-US" sz="2000" b="0" i="0" u="none" strike="noStrike" baseline="0">
                <a:solidFill>
                  <a:srgbClr val="000000"/>
                </a:solidFill>
                <a:latin typeface="Arial" panose="020B0604020202020204" pitchFamily="34" charset="0"/>
              </a:rPr>
              <a:t> manufactures these complex NPK (nitrogen-phosphorous-potassium) products, with an annual production of 250,000 tons. </a:t>
            </a:r>
            <a:endParaRPr lang="sv-SE" sz="2000" u="sng">
              <a:solidFill>
                <a:schemeClr val="accent1"/>
              </a:solidFill>
            </a:endParaRPr>
          </a:p>
        </p:txBody>
      </p:sp>
      <p:pic>
        <p:nvPicPr>
          <p:cNvPr id="26" name="Picture 8" descr="RETROFEED FERTIBERIA">
            <a:extLst>
              <a:ext uri="{FF2B5EF4-FFF2-40B4-BE49-F238E27FC236}">
                <a16:creationId xmlns:a16="http://schemas.microsoft.com/office/drawing/2014/main" id="{3DE88DDE-90F5-4BA7-AB7A-030F118101E7}"/>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201044" y="1686532"/>
            <a:ext cx="2886573" cy="1062259"/>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438486E6-89EB-4EC0-9F03-8EFD7E83B7E9}"/>
              </a:ext>
            </a:extLst>
          </p:cNvPr>
          <p:cNvPicPr>
            <a:picLocks noChangeAspect="1"/>
          </p:cNvPicPr>
          <p:nvPr/>
        </p:nvPicPr>
        <p:blipFill>
          <a:blip r:embed="rId7"/>
          <a:stretch>
            <a:fillRect/>
          </a:stretch>
        </p:blipFill>
        <p:spPr>
          <a:xfrm>
            <a:off x="9883386" y="2207182"/>
            <a:ext cx="7235931" cy="2998104"/>
          </a:xfrm>
          <a:prstGeom prst="rect">
            <a:avLst/>
          </a:prstGeom>
        </p:spPr>
      </p:pic>
      <p:pic>
        <p:nvPicPr>
          <p:cNvPr id="7" name="Picture 6">
            <a:extLst>
              <a:ext uri="{FF2B5EF4-FFF2-40B4-BE49-F238E27FC236}">
                <a16:creationId xmlns:a16="http://schemas.microsoft.com/office/drawing/2014/main" id="{79642FA2-D2F9-4F87-A755-C8DD09C5B72E}"/>
              </a:ext>
            </a:extLst>
          </p:cNvPr>
          <p:cNvPicPr>
            <a:picLocks noChangeAspect="1"/>
          </p:cNvPicPr>
          <p:nvPr/>
        </p:nvPicPr>
        <p:blipFill>
          <a:blip r:embed="rId8"/>
          <a:stretch>
            <a:fillRect/>
          </a:stretch>
        </p:blipFill>
        <p:spPr>
          <a:xfrm>
            <a:off x="12077363" y="6188397"/>
            <a:ext cx="2847975" cy="2447925"/>
          </a:xfrm>
          <a:prstGeom prst="rect">
            <a:avLst/>
          </a:prstGeom>
        </p:spPr>
      </p:pic>
    </p:spTree>
    <p:extLst>
      <p:ext uri="{BB962C8B-B14F-4D97-AF65-F5344CB8AC3E}">
        <p14:creationId xmlns:p14="http://schemas.microsoft.com/office/powerpoint/2010/main" val="51043166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281BF25F-B98F-4817-BE74-4CF8C4BD2997}"/>
              </a:ext>
            </a:extLst>
          </p:cNvPr>
          <p:cNvPicPr>
            <a:picLocks noChangeAspect="1"/>
          </p:cNvPicPr>
          <p:nvPr/>
        </p:nvPicPr>
        <p:blipFill>
          <a:blip r:embed="rId3"/>
          <a:stretch>
            <a:fillRect/>
          </a:stretch>
        </p:blipFill>
        <p:spPr>
          <a:xfrm>
            <a:off x="1936273" y="1622941"/>
            <a:ext cx="16061350" cy="8015346"/>
          </a:xfrm>
          <a:prstGeom prst="rect">
            <a:avLst/>
          </a:prstGeom>
        </p:spPr>
      </p:pic>
      <p:grpSp>
        <p:nvGrpSpPr>
          <p:cNvPr id="4" name="Gruppo 16">
            <a:extLst>
              <a:ext uri="{FF2B5EF4-FFF2-40B4-BE49-F238E27FC236}">
                <a16:creationId xmlns:a16="http://schemas.microsoft.com/office/drawing/2014/main" id="{7F05FA2D-BA17-4C4E-9DAE-36CC81DE9BAA}"/>
              </a:ext>
            </a:extLst>
          </p:cNvPr>
          <p:cNvGrpSpPr/>
          <p:nvPr/>
        </p:nvGrpSpPr>
        <p:grpSpPr>
          <a:xfrm>
            <a:off x="4346079" y="9593301"/>
            <a:ext cx="13958844" cy="666567"/>
            <a:chOff x="4329156" y="9649198"/>
            <a:chExt cx="13958844" cy="666567"/>
          </a:xfrm>
        </p:grpSpPr>
        <p:pic>
          <p:nvPicPr>
            <p:cNvPr id="5" name="Picture 12">
              <a:extLst>
                <a:ext uri="{FF2B5EF4-FFF2-40B4-BE49-F238E27FC236}">
                  <a16:creationId xmlns:a16="http://schemas.microsoft.com/office/drawing/2014/main" id="{00810EF5-3949-4698-A5DE-428CD380175F}"/>
                </a:ext>
              </a:extLst>
            </p:cNvPr>
            <p:cNvPicPr>
              <a:picLocks noChangeAspect="1"/>
            </p:cNvPicPr>
            <p:nvPr/>
          </p:nvPicPr>
          <p:blipFill>
            <a:blip r:embed="rId4"/>
            <a:srcRect l="134" t="91287" b="3943"/>
            <a:stretch>
              <a:fillRect/>
            </a:stretch>
          </p:blipFill>
          <p:spPr>
            <a:xfrm rot="-10800000">
              <a:off x="4329156" y="9649198"/>
              <a:ext cx="13958844" cy="666567"/>
            </a:xfrm>
            <a:prstGeom prst="rect">
              <a:avLst/>
            </a:prstGeom>
          </p:spPr>
        </p:pic>
        <p:sp>
          <p:nvSpPr>
            <p:cNvPr id="6" name="TextBox 16">
              <a:extLst>
                <a:ext uri="{FF2B5EF4-FFF2-40B4-BE49-F238E27FC236}">
                  <a16:creationId xmlns:a16="http://schemas.microsoft.com/office/drawing/2014/main" id="{EDDD1531-1BDA-4725-B6A3-364F4B7CF76A}"/>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pic>
        <p:nvPicPr>
          <p:cNvPr id="7" name="Picture 12">
            <a:extLst>
              <a:ext uri="{FF2B5EF4-FFF2-40B4-BE49-F238E27FC236}">
                <a16:creationId xmlns:a16="http://schemas.microsoft.com/office/drawing/2014/main" id="{52C35A30-8BA0-4714-8363-E6CE748BA2C3}"/>
              </a:ext>
            </a:extLst>
          </p:cNvPr>
          <p:cNvPicPr>
            <a:picLocks noChangeAspect="1"/>
          </p:cNvPicPr>
          <p:nvPr/>
        </p:nvPicPr>
        <p:blipFill>
          <a:blip r:embed="rId5"/>
          <a:srcRect/>
          <a:stretch>
            <a:fillRect/>
          </a:stretch>
        </p:blipFill>
        <p:spPr>
          <a:xfrm>
            <a:off x="1" y="9683732"/>
            <a:ext cx="2487706" cy="603268"/>
          </a:xfrm>
          <a:prstGeom prst="rect">
            <a:avLst/>
          </a:prstGeom>
        </p:spPr>
      </p:pic>
      <p:grpSp>
        <p:nvGrpSpPr>
          <p:cNvPr id="8" name="Gruppo 2">
            <a:extLst>
              <a:ext uri="{FF2B5EF4-FFF2-40B4-BE49-F238E27FC236}">
                <a16:creationId xmlns:a16="http://schemas.microsoft.com/office/drawing/2014/main" id="{C9C93A65-4067-4ACC-B2C9-8C15277024E4}"/>
              </a:ext>
            </a:extLst>
          </p:cNvPr>
          <p:cNvGrpSpPr/>
          <p:nvPr/>
        </p:nvGrpSpPr>
        <p:grpSpPr>
          <a:xfrm>
            <a:off x="-12" y="138554"/>
            <a:ext cx="18288002" cy="681138"/>
            <a:chOff x="-12" y="138554"/>
            <a:chExt cx="18288002" cy="681138"/>
          </a:xfrm>
        </p:grpSpPr>
        <p:grpSp>
          <p:nvGrpSpPr>
            <p:cNvPr id="9" name="Gruppo 1">
              <a:extLst>
                <a:ext uri="{FF2B5EF4-FFF2-40B4-BE49-F238E27FC236}">
                  <a16:creationId xmlns:a16="http://schemas.microsoft.com/office/drawing/2014/main" id="{A943E672-738C-4FE3-BD35-ACD7A4E4D95E}"/>
                </a:ext>
              </a:extLst>
            </p:cNvPr>
            <p:cNvGrpSpPr/>
            <p:nvPr/>
          </p:nvGrpSpPr>
          <p:grpSpPr>
            <a:xfrm>
              <a:off x="0" y="153125"/>
              <a:ext cx="17907000" cy="666567"/>
              <a:chOff x="0" y="153125"/>
              <a:chExt cx="17907000" cy="666567"/>
            </a:xfrm>
          </p:grpSpPr>
          <p:grpSp>
            <p:nvGrpSpPr>
              <p:cNvPr id="11" name="Gruppo 15">
                <a:extLst>
                  <a:ext uri="{FF2B5EF4-FFF2-40B4-BE49-F238E27FC236}">
                    <a16:creationId xmlns:a16="http://schemas.microsoft.com/office/drawing/2014/main" id="{10037738-5D9A-4755-B52F-99B1FA543ED3}"/>
                  </a:ext>
                </a:extLst>
              </p:cNvPr>
              <p:cNvGrpSpPr/>
              <p:nvPr/>
            </p:nvGrpSpPr>
            <p:grpSpPr>
              <a:xfrm>
                <a:off x="0" y="153125"/>
                <a:ext cx="13958844" cy="666567"/>
                <a:chOff x="0" y="153125"/>
                <a:chExt cx="13958844" cy="666567"/>
              </a:xfrm>
            </p:grpSpPr>
            <p:pic>
              <p:nvPicPr>
                <p:cNvPr id="13" name="Picture 10">
                  <a:extLst>
                    <a:ext uri="{FF2B5EF4-FFF2-40B4-BE49-F238E27FC236}">
                      <a16:creationId xmlns:a16="http://schemas.microsoft.com/office/drawing/2014/main" id="{30234B5E-6FF9-499F-817A-9B69F1CC9911}"/>
                    </a:ext>
                  </a:extLst>
                </p:cNvPr>
                <p:cNvPicPr>
                  <a:picLocks noChangeAspect="1"/>
                </p:cNvPicPr>
                <p:nvPr/>
              </p:nvPicPr>
              <p:blipFill>
                <a:blip r:embed="rId6"/>
                <a:srcRect l="134" t="91287" b="3943"/>
                <a:stretch>
                  <a:fillRect/>
                </a:stretch>
              </p:blipFill>
              <p:spPr>
                <a:xfrm>
                  <a:off x="0" y="153125"/>
                  <a:ext cx="13958844" cy="666567"/>
                </a:xfrm>
                <a:prstGeom prst="rect">
                  <a:avLst/>
                </a:prstGeom>
              </p:spPr>
            </p:pic>
            <p:sp>
              <p:nvSpPr>
                <p:cNvPr id="14" name="TextBox 11">
                  <a:extLst>
                    <a:ext uri="{FF2B5EF4-FFF2-40B4-BE49-F238E27FC236}">
                      <a16:creationId xmlns:a16="http://schemas.microsoft.com/office/drawing/2014/main" id="{E5F3FE84-033A-4279-AF93-ABD80EC40550}"/>
                    </a:ext>
                  </a:extLst>
                </p:cNvPr>
                <p:cNvSpPr txBox="1"/>
                <p:nvPr/>
              </p:nvSpPr>
              <p:spPr>
                <a:xfrm>
                  <a:off x="228600" y="257980"/>
                  <a:ext cx="9296400" cy="456856"/>
                </a:xfrm>
                <a:prstGeom prst="rect">
                  <a:avLst/>
                </a:prstGeom>
              </p:spPr>
              <p:txBody>
                <a:bodyPr wrap="square" lIns="0" tIns="0" rIns="0" bIns="0" rtlCol="0" anchor="t">
                  <a:spAutoFit/>
                </a:bodyPr>
                <a:lstStyle/>
                <a:p>
                  <a:pPr>
                    <a:lnSpc>
                      <a:spcPts val="3919"/>
                    </a:lnSpc>
                    <a:spcBef>
                      <a:spcPct val="0"/>
                    </a:spcBef>
                  </a:pPr>
                  <a:endParaRPr lang="en-US" sz="2800" b="1">
                    <a:solidFill>
                      <a:srgbClr val="FFFFFF"/>
                    </a:solidFill>
                    <a:latin typeface="Arial" panose="020B0604020202020204" pitchFamily="34" charset="0"/>
                    <a:cs typeface="Arial" panose="020B0604020202020204" pitchFamily="34" charset="0"/>
                  </a:endParaRPr>
                </a:p>
              </p:txBody>
            </p:sp>
          </p:grpSp>
          <p:sp>
            <p:nvSpPr>
              <p:cNvPr id="12" name="TextBox 11">
                <a:extLst>
                  <a:ext uri="{FF2B5EF4-FFF2-40B4-BE49-F238E27FC236}">
                    <a16:creationId xmlns:a16="http://schemas.microsoft.com/office/drawing/2014/main" id="{7B4365DB-7AB3-494A-91B9-B5781D39B67B}"/>
                  </a:ext>
                </a:extLst>
              </p:cNvPr>
              <p:cNvSpPr txBox="1"/>
              <p:nvPr/>
            </p:nvSpPr>
            <p:spPr>
              <a:xfrm>
                <a:off x="12154296" y="257980"/>
                <a:ext cx="5752704" cy="456856"/>
              </a:xfrm>
              <a:prstGeom prst="rect">
                <a:avLst/>
              </a:prstGeom>
            </p:spPr>
            <p:txBody>
              <a:bodyPr wrap="square" lIns="0" tIns="0" rIns="0" bIns="0" rtlCol="0" anchor="t">
                <a:spAutoFit/>
              </a:bodyPr>
              <a:lstStyle/>
              <a:p>
                <a:pPr algn="r">
                  <a:lnSpc>
                    <a:spcPts val="3919"/>
                  </a:lnSpc>
                  <a:spcBef>
                    <a:spcPct val="0"/>
                  </a:spcBef>
                </a:pPr>
                <a:endParaRPr lang="en-US" sz="2800">
                  <a:solidFill>
                    <a:schemeClr val="tx1">
                      <a:lumMod val="75000"/>
                      <a:lumOff val="25000"/>
                    </a:schemeClr>
                  </a:solidFill>
                  <a:latin typeface="Arial" panose="020B0604020202020204" pitchFamily="34" charset="0"/>
                  <a:cs typeface="Arial" panose="020B0604020202020204" pitchFamily="34" charset="0"/>
                </a:endParaRPr>
              </a:p>
            </p:txBody>
          </p:sp>
        </p:grpSp>
        <p:sp>
          <p:nvSpPr>
            <p:cNvPr id="10" name="Rettangolo 13">
              <a:extLst>
                <a:ext uri="{FF2B5EF4-FFF2-40B4-BE49-F238E27FC236}">
                  <a16:creationId xmlns:a16="http://schemas.microsoft.com/office/drawing/2014/main" id="{BC76EB51-B4AB-4BAB-AAF6-1883074EEF50}"/>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0" name="TextBox 19">
            <a:extLst>
              <a:ext uri="{FF2B5EF4-FFF2-40B4-BE49-F238E27FC236}">
                <a16:creationId xmlns:a16="http://schemas.microsoft.com/office/drawing/2014/main" id="{99C0CE19-22C6-4951-8DB9-D20C1DC4179E}"/>
              </a:ext>
            </a:extLst>
          </p:cNvPr>
          <p:cNvSpPr txBox="1"/>
          <p:nvPr/>
        </p:nvSpPr>
        <p:spPr>
          <a:xfrm>
            <a:off x="9686781" y="8993520"/>
            <a:ext cx="6953538" cy="369332"/>
          </a:xfrm>
          <a:prstGeom prst="rect">
            <a:avLst/>
          </a:prstGeom>
          <a:noFill/>
        </p:spPr>
        <p:txBody>
          <a:bodyPr wrap="square" rtlCol="0">
            <a:spAutoFit/>
          </a:bodyPr>
          <a:lstStyle/>
          <a:p>
            <a:r>
              <a:rPr lang="en-US" kern="100">
                <a:solidFill>
                  <a:srgbClr val="404040"/>
                </a:solidFill>
                <a:latin typeface="Arial (body)"/>
              </a:rPr>
              <a:t>Block diagram of </a:t>
            </a:r>
            <a:r>
              <a:rPr lang="en-US" kern="100" err="1">
                <a:solidFill>
                  <a:srgbClr val="404040"/>
                </a:solidFill>
                <a:latin typeface="Arial (body)"/>
              </a:rPr>
              <a:t>Fertiberia’s</a:t>
            </a:r>
            <a:r>
              <a:rPr lang="en-US" kern="100">
                <a:solidFill>
                  <a:srgbClr val="404040"/>
                </a:solidFill>
                <a:latin typeface="Arial (body)"/>
              </a:rPr>
              <a:t> demo-site</a:t>
            </a:r>
            <a:endParaRPr lang="sv-SE" kern="100">
              <a:solidFill>
                <a:srgbClr val="404040"/>
              </a:solidFill>
              <a:latin typeface="Arial (body)"/>
            </a:endParaRPr>
          </a:p>
        </p:txBody>
      </p:sp>
      <p:sp>
        <p:nvSpPr>
          <p:cNvPr id="15" name="TextBox 13">
            <a:extLst>
              <a:ext uri="{FF2B5EF4-FFF2-40B4-BE49-F238E27FC236}">
                <a16:creationId xmlns:a16="http://schemas.microsoft.com/office/drawing/2014/main" id="{45ECE1C0-D450-4FA4-BCD5-5FAEAA13DE58}"/>
              </a:ext>
            </a:extLst>
          </p:cNvPr>
          <p:cNvSpPr txBox="1"/>
          <p:nvPr/>
        </p:nvSpPr>
        <p:spPr>
          <a:xfrm>
            <a:off x="228600" y="692944"/>
            <a:ext cx="10814538" cy="1005725"/>
          </a:xfrm>
          <a:prstGeom prst="rect">
            <a:avLst/>
          </a:prstGeom>
        </p:spPr>
        <p:txBody>
          <a:bodyPr wrap="square" lIns="0" tIns="0" rIns="0" bIns="0" rtlCol="0" anchor="t">
            <a:spAutoFit/>
          </a:bodyPr>
          <a:lstStyle/>
          <a:p>
            <a:pPr algn="ctr">
              <a:lnSpc>
                <a:spcPts val="8960"/>
              </a:lnSpc>
              <a:spcBef>
                <a:spcPct val="0"/>
              </a:spcBef>
            </a:pPr>
            <a:r>
              <a:rPr lang="en-US" sz="4800" b="1">
                <a:solidFill>
                  <a:srgbClr val="CC0033"/>
                </a:solidFill>
                <a:latin typeface="+mj-lt"/>
                <a:cs typeface="Arial" panose="020B0604020202020204" pitchFamily="34" charset="0"/>
              </a:rPr>
              <a:t>Production process in FERTIBERIA</a:t>
            </a:r>
          </a:p>
        </p:txBody>
      </p:sp>
      <p:sp>
        <p:nvSpPr>
          <p:cNvPr id="18" name="TextBox 17">
            <a:extLst>
              <a:ext uri="{FF2B5EF4-FFF2-40B4-BE49-F238E27FC236}">
                <a16:creationId xmlns:a16="http://schemas.microsoft.com/office/drawing/2014/main" id="{6937525C-ADE5-4F15-A4B2-A5AA3B5E6467}"/>
              </a:ext>
            </a:extLst>
          </p:cNvPr>
          <p:cNvSpPr txBox="1"/>
          <p:nvPr/>
        </p:nvSpPr>
        <p:spPr>
          <a:xfrm>
            <a:off x="923678" y="6863642"/>
            <a:ext cx="6642100" cy="2632003"/>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algn="ctr">
              <a:lnSpc>
                <a:spcPct val="150000"/>
              </a:lnSpc>
            </a:pPr>
            <a:r>
              <a:rPr lang="en-US" sz="1600" b="1" i="0" u="none" strike="noStrike" baseline="0">
                <a:solidFill>
                  <a:srgbClr val="000000"/>
                </a:solidFill>
                <a:latin typeface="Arial" panose="020B0604020202020204" pitchFamily="34" charset="0"/>
              </a:rPr>
              <a:t>Process description</a:t>
            </a:r>
          </a:p>
          <a:p>
            <a:pPr algn="ctr">
              <a:lnSpc>
                <a:spcPct val="150000"/>
              </a:lnSpc>
            </a:pPr>
            <a:r>
              <a:rPr lang="en-US" sz="1600">
                <a:solidFill>
                  <a:srgbClr val="000000"/>
                </a:solidFill>
                <a:latin typeface="Arial" panose="020B0604020202020204" pitchFamily="34" charset="0"/>
              </a:rPr>
              <a:t>Solid and liquid raw materials of specific formulation are mixed, reacted and heated up in a granulator forming granules from a slurry. These granules are then dried, screened and cooled down to achieve the final product. The product out of physical specification is recycled to the granulator after been grinded. Gas emission is washed, and water is recycled to process. No wastewater is produced.</a:t>
            </a:r>
          </a:p>
        </p:txBody>
      </p:sp>
      <p:sp>
        <p:nvSpPr>
          <p:cNvPr id="23" name="textruta 22">
            <a:extLst>
              <a:ext uri="{FF2B5EF4-FFF2-40B4-BE49-F238E27FC236}">
                <a16:creationId xmlns:a16="http://schemas.microsoft.com/office/drawing/2014/main" id="{01F2F044-F35D-6935-152E-0213DB799829}"/>
              </a:ext>
            </a:extLst>
          </p:cNvPr>
          <p:cNvSpPr txBox="1"/>
          <p:nvPr/>
        </p:nvSpPr>
        <p:spPr>
          <a:xfrm>
            <a:off x="2487707" y="1791829"/>
            <a:ext cx="1612682" cy="369332"/>
          </a:xfrm>
          <a:prstGeom prst="rect">
            <a:avLst/>
          </a:prstGeom>
          <a:noFill/>
        </p:spPr>
        <p:txBody>
          <a:bodyPr wrap="square">
            <a:spAutoFit/>
          </a:bodyPr>
          <a:lstStyle/>
          <a:p>
            <a:pPr algn="ctr"/>
            <a:r>
              <a:rPr lang="sv-SE" b="1">
                <a:solidFill>
                  <a:schemeClr val="tx1"/>
                </a:solidFill>
              </a:rPr>
              <a:t>UNIT 1</a:t>
            </a:r>
          </a:p>
        </p:txBody>
      </p:sp>
      <p:sp>
        <p:nvSpPr>
          <p:cNvPr id="24" name="textruta 23">
            <a:extLst>
              <a:ext uri="{FF2B5EF4-FFF2-40B4-BE49-F238E27FC236}">
                <a16:creationId xmlns:a16="http://schemas.microsoft.com/office/drawing/2014/main" id="{4F7E8EAE-17C5-8B53-6A76-F84656117A39}"/>
              </a:ext>
            </a:extLst>
          </p:cNvPr>
          <p:cNvSpPr txBox="1"/>
          <p:nvPr/>
        </p:nvSpPr>
        <p:spPr>
          <a:xfrm>
            <a:off x="6448964" y="2843365"/>
            <a:ext cx="1612682" cy="369332"/>
          </a:xfrm>
          <a:prstGeom prst="rect">
            <a:avLst/>
          </a:prstGeom>
          <a:noFill/>
        </p:spPr>
        <p:txBody>
          <a:bodyPr wrap="square">
            <a:spAutoFit/>
          </a:bodyPr>
          <a:lstStyle/>
          <a:p>
            <a:pPr algn="ctr"/>
            <a:r>
              <a:rPr lang="sv-SE" b="1">
                <a:solidFill>
                  <a:schemeClr val="tx1"/>
                </a:solidFill>
              </a:rPr>
              <a:t>UNIT 2</a:t>
            </a:r>
          </a:p>
        </p:txBody>
      </p:sp>
      <p:sp>
        <p:nvSpPr>
          <p:cNvPr id="25" name="textruta 24">
            <a:extLst>
              <a:ext uri="{FF2B5EF4-FFF2-40B4-BE49-F238E27FC236}">
                <a16:creationId xmlns:a16="http://schemas.microsoft.com/office/drawing/2014/main" id="{578FA5A8-FE4E-07CC-F6C6-9E3A358B5D66}"/>
              </a:ext>
            </a:extLst>
          </p:cNvPr>
          <p:cNvSpPr txBox="1"/>
          <p:nvPr/>
        </p:nvSpPr>
        <p:spPr>
          <a:xfrm>
            <a:off x="7705608" y="4036570"/>
            <a:ext cx="1612682" cy="369332"/>
          </a:xfrm>
          <a:prstGeom prst="rect">
            <a:avLst/>
          </a:prstGeom>
          <a:noFill/>
        </p:spPr>
        <p:txBody>
          <a:bodyPr wrap="square">
            <a:spAutoFit/>
          </a:bodyPr>
          <a:lstStyle/>
          <a:p>
            <a:pPr algn="ctr"/>
            <a:r>
              <a:rPr lang="sv-SE" b="1">
                <a:solidFill>
                  <a:schemeClr val="tx1"/>
                </a:solidFill>
              </a:rPr>
              <a:t>UNIT 3</a:t>
            </a:r>
          </a:p>
        </p:txBody>
      </p:sp>
      <p:sp>
        <p:nvSpPr>
          <p:cNvPr id="28" name="textruta 27">
            <a:extLst>
              <a:ext uri="{FF2B5EF4-FFF2-40B4-BE49-F238E27FC236}">
                <a16:creationId xmlns:a16="http://schemas.microsoft.com/office/drawing/2014/main" id="{06AC25FA-16D8-2EB7-A2C2-5E276722EE97}"/>
              </a:ext>
            </a:extLst>
          </p:cNvPr>
          <p:cNvSpPr txBox="1"/>
          <p:nvPr/>
        </p:nvSpPr>
        <p:spPr>
          <a:xfrm>
            <a:off x="10617820" y="1981940"/>
            <a:ext cx="1612682" cy="369332"/>
          </a:xfrm>
          <a:prstGeom prst="rect">
            <a:avLst/>
          </a:prstGeom>
          <a:noFill/>
        </p:spPr>
        <p:txBody>
          <a:bodyPr wrap="square">
            <a:spAutoFit/>
          </a:bodyPr>
          <a:lstStyle/>
          <a:p>
            <a:pPr algn="ctr"/>
            <a:r>
              <a:rPr lang="sv-SE" b="1">
                <a:solidFill>
                  <a:schemeClr val="tx1"/>
                </a:solidFill>
              </a:rPr>
              <a:t>UNIT </a:t>
            </a:r>
            <a:r>
              <a:rPr lang="sv-SE" b="1"/>
              <a:t>6</a:t>
            </a:r>
            <a:endParaRPr lang="sv-SE" b="1">
              <a:solidFill>
                <a:schemeClr val="tx1"/>
              </a:solidFill>
            </a:endParaRPr>
          </a:p>
        </p:txBody>
      </p:sp>
      <p:sp>
        <p:nvSpPr>
          <p:cNvPr id="29" name="textruta 28">
            <a:extLst>
              <a:ext uri="{FF2B5EF4-FFF2-40B4-BE49-F238E27FC236}">
                <a16:creationId xmlns:a16="http://schemas.microsoft.com/office/drawing/2014/main" id="{789C6105-3FF9-D514-32F4-7DF509CB0496}"/>
              </a:ext>
            </a:extLst>
          </p:cNvPr>
          <p:cNvSpPr txBox="1"/>
          <p:nvPr/>
        </p:nvSpPr>
        <p:spPr>
          <a:xfrm>
            <a:off x="14314495" y="2798469"/>
            <a:ext cx="1612682" cy="369332"/>
          </a:xfrm>
          <a:prstGeom prst="rect">
            <a:avLst/>
          </a:prstGeom>
          <a:noFill/>
        </p:spPr>
        <p:txBody>
          <a:bodyPr wrap="square">
            <a:spAutoFit/>
          </a:bodyPr>
          <a:lstStyle/>
          <a:p>
            <a:pPr algn="ctr"/>
            <a:r>
              <a:rPr lang="sv-SE" b="1">
                <a:solidFill>
                  <a:schemeClr val="tx1"/>
                </a:solidFill>
              </a:rPr>
              <a:t>UNIT 5</a:t>
            </a:r>
          </a:p>
        </p:txBody>
      </p:sp>
      <p:sp>
        <p:nvSpPr>
          <p:cNvPr id="30" name="textruta 29">
            <a:extLst>
              <a:ext uri="{FF2B5EF4-FFF2-40B4-BE49-F238E27FC236}">
                <a16:creationId xmlns:a16="http://schemas.microsoft.com/office/drawing/2014/main" id="{2DE50463-CAB3-A113-5397-16F6F56B4FA9}"/>
              </a:ext>
            </a:extLst>
          </p:cNvPr>
          <p:cNvSpPr txBox="1"/>
          <p:nvPr/>
        </p:nvSpPr>
        <p:spPr>
          <a:xfrm>
            <a:off x="12512659" y="5921482"/>
            <a:ext cx="1612682" cy="369332"/>
          </a:xfrm>
          <a:prstGeom prst="rect">
            <a:avLst/>
          </a:prstGeom>
          <a:noFill/>
        </p:spPr>
        <p:txBody>
          <a:bodyPr wrap="square">
            <a:spAutoFit/>
          </a:bodyPr>
          <a:lstStyle/>
          <a:p>
            <a:pPr algn="ctr"/>
            <a:r>
              <a:rPr lang="sv-SE" b="1">
                <a:solidFill>
                  <a:schemeClr val="tx1"/>
                </a:solidFill>
              </a:rPr>
              <a:t>UNIT 4</a:t>
            </a:r>
          </a:p>
        </p:txBody>
      </p:sp>
    </p:spTree>
    <p:extLst>
      <p:ext uri="{BB962C8B-B14F-4D97-AF65-F5344CB8AC3E}">
        <p14:creationId xmlns:p14="http://schemas.microsoft.com/office/powerpoint/2010/main" val="161631210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281BF25F-B98F-4817-BE74-4CF8C4BD2997}"/>
              </a:ext>
            </a:extLst>
          </p:cNvPr>
          <p:cNvPicPr>
            <a:picLocks noChangeAspect="1"/>
          </p:cNvPicPr>
          <p:nvPr/>
        </p:nvPicPr>
        <p:blipFill>
          <a:blip r:embed="rId3"/>
          <a:stretch>
            <a:fillRect/>
          </a:stretch>
        </p:blipFill>
        <p:spPr>
          <a:xfrm>
            <a:off x="1936273" y="1622941"/>
            <a:ext cx="16061350" cy="8015346"/>
          </a:xfrm>
          <a:prstGeom prst="rect">
            <a:avLst/>
          </a:prstGeom>
        </p:spPr>
      </p:pic>
      <p:grpSp>
        <p:nvGrpSpPr>
          <p:cNvPr id="4" name="Gruppo 16">
            <a:extLst>
              <a:ext uri="{FF2B5EF4-FFF2-40B4-BE49-F238E27FC236}">
                <a16:creationId xmlns:a16="http://schemas.microsoft.com/office/drawing/2014/main" id="{7F05FA2D-BA17-4C4E-9DAE-36CC81DE9BAA}"/>
              </a:ext>
            </a:extLst>
          </p:cNvPr>
          <p:cNvGrpSpPr/>
          <p:nvPr/>
        </p:nvGrpSpPr>
        <p:grpSpPr>
          <a:xfrm>
            <a:off x="4346079" y="9593301"/>
            <a:ext cx="13958844" cy="666567"/>
            <a:chOff x="4329156" y="9649198"/>
            <a:chExt cx="13958844" cy="666567"/>
          </a:xfrm>
        </p:grpSpPr>
        <p:pic>
          <p:nvPicPr>
            <p:cNvPr id="5" name="Picture 12">
              <a:extLst>
                <a:ext uri="{FF2B5EF4-FFF2-40B4-BE49-F238E27FC236}">
                  <a16:creationId xmlns:a16="http://schemas.microsoft.com/office/drawing/2014/main" id="{00810EF5-3949-4698-A5DE-428CD380175F}"/>
                </a:ext>
              </a:extLst>
            </p:cNvPr>
            <p:cNvPicPr>
              <a:picLocks noChangeAspect="1"/>
            </p:cNvPicPr>
            <p:nvPr/>
          </p:nvPicPr>
          <p:blipFill>
            <a:blip r:embed="rId4"/>
            <a:srcRect l="134" t="91287" b="3943"/>
            <a:stretch>
              <a:fillRect/>
            </a:stretch>
          </p:blipFill>
          <p:spPr>
            <a:xfrm rot="-10800000">
              <a:off x="4329156" y="9649198"/>
              <a:ext cx="13958844" cy="666567"/>
            </a:xfrm>
            <a:prstGeom prst="rect">
              <a:avLst/>
            </a:prstGeom>
          </p:spPr>
        </p:pic>
        <p:sp>
          <p:nvSpPr>
            <p:cNvPr id="6" name="TextBox 16">
              <a:extLst>
                <a:ext uri="{FF2B5EF4-FFF2-40B4-BE49-F238E27FC236}">
                  <a16:creationId xmlns:a16="http://schemas.microsoft.com/office/drawing/2014/main" id="{EDDD1531-1BDA-4725-B6A3-364F4B7CF76A}"/>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pic>
        <p:nvPicPr>
          <p:cNvPr id="7" name="Picture 12">
            <a:extLst>
              <a:ext uri="{FF2B5EF4-FFF2-40B4-BE49-F238E27FC236}">
                <a16:creationId xmlns:a16="http://schemas.microsoft.com/office/drawing/2014/main" id="{52C35A30-8BA0-4714-8363-E6CE748BA2C3}"/>
              </a:ext>
            </a:extLst>
          </p:cNvPr>
          <p:cNvPicPr>
            <a:picLocks noChangeAspect="1"/>
          </p:cNvPicPr>
          <p:nvPr/>
        </p:nvPicPr>
        <p:blipFill>
          <a:blip r:embed="rId5"/>
          <a:srcRect/>
          <a:stretch>
            <a:fillRect/>
          </a:stretch>
        </p:blipFill>
        <p:spPr>
          <a:xfrm>
            <a:off x="1" y="9683732"/>
            <a:ext cx="2487706" cy="603268"/>
          </a:xfrm>
          <a:prstGeom prst="rect">
            <a:avLst/>
          </a:prstGeom>
        </p:spPr>
      </p:pic>
      <p:grpSp>
        <p:nvGrpSpPr>
          <p:cNvPr id="8" name="Gruppo 2">
            <a:extLst>
              <a:ext uri="{FF2B5EF4-FFF2-40B4-BE49-F238E27FC236}">
                <a16:creationId xmlns:a16="http://schemas.microsoft.com/office/drawing/2014/main" id="{C9C93A65-4067-4ACC-B2C9-8C15277024E4}"/>
              </a:ext>
            </a:extLst>
          </p:cNvPr>
          <p:cNvGrpSpPr/>
          <p:nvPr/>
        </p:nvGrpSpPr>
        <p:grpSpPr>
          <a:xfrm>
            <a:off x="-12" y="138554"/>
            <a:ext cx="18288002" cy="681138"/>
            <a:chOff x="-12" y="138554"/>
            <a:chExt cx="18288002" cy="681138"/>
          </a:xfrm>
        </p:grpSpPr>
        <p:grpSp>
          <p:nvGrpSpPr>
            <p:cNvPr id="9" name="Gruppo 1">
              <a:extLst>
                <a:ext uri="{FF2B5EF4-FFF2-40B4-BE49-F238E27FC236}">
                  <a16:creationId xmlns:a16="http://schemas.microsoft.com/office/drawing/2014/main" id="{A943E672-738C-4FE3-BD35-ACD7A4E4D95E}"/>
                </a:ext>
              </a:extLst>
            </p:cNvPr>
            <p:cNvGrpSpPr/>
            <p:nvPr/>
          </p:nvGrpSpPr>
          <p:grpSpPr>
            <a:xfrm>
              <a:off x="0" y="153125"/>
              <a:ext cx="17907000" cy="666567"/>
              <a:chOff x="0" y="153125"/>
              <a:chExt cx="17907000" cy="666567"/>
            </a:xfrm>
          </p:grpSpPr>
          <p:grpSp>
            <p:nvGrpSpPr>
              <p:cNvPr id="11" name="Gruppo 15">
                <a:extLst>
                  <a:ext uri="{FF2B5EF4-FFF2-40B4-BE49-F238E27FC236}">
                    <a16:creationId xmlns:a16="http://schemas.microsoft.com/office/drawing/2014/main" id="{10037738-5D9A-4755-B52F-99B1FA543ED3}"/>
                  </a:ext>
                </a:extLst>
              </p:cNvPr>
              <p:cNvGrpSpPr/>
              <p:nvPr/>
            </p:nvGrpSpPr>
            <p:grpSpPr>
              <a:xfrm>
                <a:off x="0" y="153125"/>
                <a:ext cx="13958844" cy="666567"/>
                <a:chOff x="0" y="153125"/>
                <a:chExt cx="13958844" cy="666567"/>
              </a:xfrm>
            </p:grpSpPr>
            <p:pic>
              <p:nvPicPr>
                <p:cNvPr id="13" name="Picture 10">
                  <a:extLst>
                    <a:ext uri="{FF2B5EF4-FFF2-40B4-BE49-F238E27FC236}">
                      <a16:creationId xmlns:a16="http://schemas.microsoft.com/office/drawing/2014/main" id="{30234B5E-6FF9-499F-817A-9B69F1CC9911}"/>
                    </a:ext>
                  </a:extLst>
                </p:cNvPr>
                <p:cNvPicPr>
                  <a:picLocks noChangeAspect="1"/>
                </p:cNvPicPr>
                <p:nvPr/>
              </p:nvPicPr>
              <p:blipFill>
                <a:blip r:embed="rId6"/>
                <a:srcRect l="134" t="91287" b="3943"/>
                <a:stretch>
                  <a:fillRect/>
                </a:stretch>
              </p:blipFill>
              <p:spPr>
                <a:xfrm>
                  <a:off x="0" y="153125"/>
                  <a:ext cx="13958844" cy="666567"/>
                </a:xfrm>
                <a:prstGeom prst="rect">
                  <a:avLst/>
                </a:prstGeom>
              </p:spPr>
            </p:pic>
            <p:sp>
              <p:nvSpPr>
                <p:cNvPr id="14" name="TextBox 11">
                  <a:extLst>
                    <a:ext uri="{FF2B5EF4-FFF2-40B4-BE49-F238E27FC236}">
                      <a16:creationId xmlns:a16="http://schemas.microsoft.com/office/drawing/2014/main" id="{E5F3FE84-033A-4279-AF93-ABD80EC40550}"/>
                    </a:ext>
                  </a:extLst>
                </p:cNvPr>
                <p:cNvSpPr txBox="1"/>
                <p:nvPr/>
              </p:nvSpPr>
              <p:spPr>
                <a:xfrm>
                  <a:off x="228600" y="257980"/>
                  <a:ext cx="9296400" cy="456856"/>
                </a:xfrm>
                <a:prstGeom prst="rect">
                  <a:avLst/>
                </a:prstGeom>
              </p:spPr>
              <p:txBody>
                <a:bodyPr wrap="square" lIns="0" tIns="0" rIns="0" bIns="0" rtlCol="0" anchor="t">
                  <a:spAutoFit/>
                </a:bodyPr>
                <a:lstStyle/>
                <a:p>
                  <a:pPr>
                    <a:lnSpc>
                      <a:spcPts val="3919"/>
                    </a:lnSpc>
                    <a:spcBef>
                      <a:spcPct val="0"/>
                    </a:spcBef>
                  </a:pPr>
                  <a:endParaRPr lang="en-US" sz="2800" b="1">
                    <a:solidFill>
                      <a:srgbClr val="FFFFFF"/>
                    </a:solidFill>
                    <a:latin typeface="Arial" panose="020B0604020202020204" pitchFamily="34" charset="0"/>
                    <a:cs typeface="Arial" panose="020B0604020202020204" pitchFamily="34" charset="0"/>
                  </a:endParaRPr>
                </a:p>
              </p:txBody>
            </p:sp>
          </p:grpSp>
          <p:sp>
            <p:nvSpPr>
              <p:cNvPr id="12" name="TextBox 11">
                <a:extLst>
                  <a:ext uri="{FF2B5EF4-FFF2-40B4-BE49-F238E27FC236}">
                    <a16:creationId xmlns:a16="http://schemas.microsoft.com/office/drawing/2014/main" id="{7B4365DB-7AB3-494A-91B9-B5781D39B67B}"/>
                  </a:ext>
                </a:extLst>
              </p:cNvPr>
              <p:cNvSpPr txBox="1"/>
              <p:nvPr/>
            </p:nvSpPr>
            <p:spPr>
              <a:xfrm>
                <a:off x="12154296" y="257980"/>
                <a:ext cx="5752704" cy="456856"/>
              </a:xfrm>
              <a:prstGeom prst="rect">
                <a:avLst/>
              </a:prstGeom>
            </p:spPr>
            <p:txBody>
              <a:bodyPr wrap="square" lIns="0" tIns="0" rIns="0" bIns="0" rtlCol="0" anchor="t">
                <a:spAutoFit/>
              </a:bodyPr>
              <a:lstStyle/>
              <a:p>
                <a:pPr algn="r">
                  <a:lnSpc>
                    <a:spcPts val="3919"/>
                  </a:lnSpc>
                  <a:spcBef>
                    <a:spcPct val="0"/>
                  </a:spcBef>
                </a:pPr>
                <a:endParaRPr lang="en-US" sz="2800">
                  <a:solidFill>
                    <a:schemeClr val="tx1">
                      <a:lumMod val="75000"/>
                      <a:lumOff val="25000"/>
                    </a:schemeClr>
                  </a:solidFill>
                  <a:latin typeface="Arial" panose="020B0604020202020204" pitchFamily="34" charset="0"/>
                  <a:cs typeface="Arial" panose="020B0604020202020204" pitchFamily="34" charset="0"/>
                </a:endParaRPr>
              </a:p>
            </p:txBody>
          </p:sp>
        </p:grpSp>
        <p:sp>
          <p:nvSpPr>
            <p:cNvPr id="10" name="Rettangolo 13">
              <a:extLst>
                <a:ext uri="{FF2B5EF4-FFF2-40B4-BE49-F238E27FC236}">
                  <a16:creationId xmlns:a16="http://schemas.microsoft.com/office/drawing/2014/main" id="{BC76EB51-B4AB-4BAB-AAF6-1883074EEF50}"/>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0" name="TextBox 19">
            <a:extLst>
              <a:ext uri="{FF2B5EF4-FFF2-40B4-BE49-F238E27FC236}">
                <a16:creationId xmlns:a16="http://schemas.microsoft.com/office/drawing/2014/main" id="{99C0CE19-22C6-4951-8DB9-D20C1DC4179E}"/>
              </a:ext>
            </a:extLst>
          </p:cNvPr>
          <p:cNvSpPr txBox="1"/>
          <p:nvPr/>
        </p:nvSpPr>
        <p:spPr>
          <a:xfrm>
            <a:off x="9686781" y="8993520"/>
            <a:ext cx="6953538" cy="369332"/>
          </a:xfrm>
          <a:prstGeom prst="rect">
            <a:avLst/>
          </a:prstGeom>
          <a:noFill/>
        </p:spPr>
        <p:txBody>
          <a:bodyPr wrap="square" rtlCol="0">
            <a:spAutoFit/>
          </a:bodyPr>
          <a:lstStyle/>
          <a:p>
            <a:r>
              <a:rPr lang="en-US" kern="100">
                <a:solidFill>
                  <a:srgbClr val="404040"/>
                </a:solidFill>
                <a:latin typeface="Arial (body)"/>
              </a:rPr>
              <a:t>Block diagram of </a:t>
            </a:r>
            <a:r>
              <a:rPr lang="en-US" kern="100" err="1">
                <a:solidFill>
                  <a:srgbClr val="404040"/>
                </a:solidFill>
                <a:latin typeface="Arial (body)"/>
              </a:rPr>
              <a:t>Fertiberia’s</a:t>
            </a:r>
            <a:r>
              <a:rPr lang="en-US" kern="100">
                <a:solidFill>
                  <a:srgbClr val="404040"/>
                </a:solidFill>
                <a:latin typeface="Arial (body)"/>
              </a:rPr>
              <a:t> demo-site</a:t>
            </a:r>
            <a:endParaRPr lang="sv-SE" kern="100">
              <a:solidFill>
                <a:srgbClr val="404040"/>
              </a:solidFill>
              <a:latin typeface="Arial (body)"/>
            </a:endParaRPr>
          </a:p>
        </p:txBody>
      </p:sp>
      <p:sp>
        <p:nvSpPr>
          <p:cNvPr id="15" name="TextBox 13">
            <a:extLst>
              <a:ext uri="{FF2B5EF4-FFF2-40B4-BE49-F238E27FC236}">
                <a16:creationId xmlns:a16="http://schemas.microsoft.com/office/drawing/2014/main" id="{45ECE1C0-D450-4FA4-BCD5-5FAEAA13DE58}"/>
              </a:ext>
            </a:extLst>
          </p:cNvPr>
          <p:cNvSpPr txBox="1"/>
          <p:nvPr/>
        </p:nvSpPr>
        <p:spPr>
          <a:xfrm>
            <a:off x="228600" y="692944"/>
            <a:ext cx="10814538" cy="1005725"/>
          </a:xfrm>
          <a:prstGeom prst="rect">
            <a:avLst/>
          </a:prstGeom>
        </p:spPr>
        <p:txBody>
          <a:bodyPr wrap="square" lIns="0" tIns="0" rIns="0" bIns="0" rtlCol="0" anchor="t">
            <a:spAutoFit/>
          </a:bodyPr>
          <a:lstStyle/>
          <a:p>
            <a:pPr algn="ctr">
              <a:lnSpc>
                <a:spcPts val="8960"/>
              </a:lnSpc>
              <a:spcBef>
                <a:spcPct val="0"/>
              </a:spcBef>
            </a:pPr>
            <a:r>
              <a:rPr lang="en-US" sz="4800" b="1">
                <a:solidFill>
                  <a:srgbClr val="CC0033"/>
                </a:solidFill>
                <a:latin typeface="+mj-lt"/>
                <a:cs typeface="Arial" panose="020B0604020202020204" pitchFamily="34" charset="0"/>
              </a:rPr>
              <a:t>Production process in FERTIBERIA</a:t>
            </a:r>
          </a:p>
        </p:txBody>
      </p:sp>
      <p:sp>
        <p:nvSpPr>
          <p:cNvPr id="18" name="TextBox 17">
            <a:extLst>
              <a:ext uri="{FF2B5EF4-FFF2-40B4-BE49-F238E27FC236}">
                <a16:creationId xmlns:a16="http://schemas.microsoft.com/office/drawing/2014/main" id="{6937525C-ADE5-4F15-A4B2-A5AA3B5E6467}"/>
              </a:ext>
            </a:extLst>
          </p:cNvPr>
          <p:cNvSpPr txBox="1"/>
          <p:nvPr/>
        </p:nvSpPr>
        <p:spPr>
          <a:xfrm>
            <a:off x="923678" y="6863642"/>
            <a:ext cx="6642100" cy="2632003"/>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algn="ctr">
              <a:lnSpc>
                <a:spcPct val="150000"/>
              </a:lnSpc>
            </a:pPr>
            <a:r>
              <a:rPr lang="en-US" sz="1600" b="1" i="0" u="none" strike="noStrike" baseline="0">
                <a:solidFill>
                  <a:srgbClr val="000000"/>
                </a:solidFill>
                <a:latin typeface="Arial" panose="020B0604020202020204" pitchFamily="34" charset="0"/>
              </a:rPr>
              <a:t>Process description</a:t>
            </a:r>
          </a:p>
          <a:p>
            <a:pPr algn="ctr">
              <a:lnSpc>
                <a:spcPct val="150000"/>
              </a:lnSpc>
            </a:pPr>
            <a:r>
              <a:rPr lang="en-US" sz="1600">
                <a:solidFill>
                  <a:srgbClr val="000000"/>
                </a:solidFill>
                <a:latin typeface="Arial" panose="020B0604020202020204" pitchFamily="34" charset="0"/>
              </a:rPr>
              <a:t>Solid and liquid raw materials of specific formulation are mixed, reacted and heated up in a granulator forming granules from a slurry. These granules are then dried, screened and cooled down to achieve the final product. The product out of physical specification is recycled to the granulator after been grinded. Gas emission is washed, and water is recycled to process. No wastewater is produced.</a:t>
            </a:r>
          </a:p>
        </p:txBody>
      </p:sp>
      <p:sp>
        <p:nvSpPr>
          <p:cNvPr id="2" name="Rectangle 2">
            <a:extLst>
              <a:ext uri="{FF2B5EF4-FFF2-40B4-BE49-F238E27FC236}">
                <a16:creationId xmlns:a16="http://schemas.microsoft.com/office/drawing/2014/main" id="{972E2FA2-7AD7-FD8B-F0A3-75E2EA5E26AC}"/>
              </a:ext>
            </a:extLst>
          </p:cNvPr>
          <p:cNvSpPr/>
          <p:nvPr/>
        </p:nvSpPr>
        <p:spPr>
          <a:xfrm>
            <a:off x="2783733" y="1623828"/>
            <a:ext cx="3405712" cy="2823966"/>
          </a:xfrm>
          <a:prstGeom prst="rect">
            <a:avLst/>
          </a:prstGeom>
          <a:noFill/>
          <a:ln w="38100">
            <a:solidFill>
              <a:schemeClr val="accent1"/>
            </a:solidFill>
          </a:ln>
        </p:spPr>
        <p:style>
          <a:lnRef idx="0">
            <a:scrgbClr r="0" g="0" b="0"/>
          </a:lnRef>
          <a:fillRef idx="0">
            <a:scrgbClr r="0" g="0" b="0"/>
          </a:fillRef>
          <a:effectRef idx="0">
            <a:scrgbClr r="0" g="0" b="0"/>
          </a:effectRef>
          <a:fontRef idx="minor">
            <a:schemeClr val="lt1"/>
          </a:fontRef>
        </p:style>
        <p:txBody>
          <a:bodyPr rtlCol="0" anchor="ctr"/>
          <a:lstStyle/>
          <a:p>
            <a:pPr algn="ctr"/>
            <a:endParaRPr lang="sv-SE">
              <a:solidFill>
                <a:schemeClr val="tx1"/>
              </a:solidFill>
            </a:endParaRPr>
          </a:p>
        </p:txBody>
      </p:sp>
      <p:sp>
        <p:nvSpPr>
          <p:cNvPr id="3" name="Rectangle 20">
            <a:extLst>
              <a:ext uri="{FF2B5EF4-FFF2-40B4-BE49-F238E27FC236}">
                <a16:creationId xmlns:a16="http://schemas.microsoft.com/office/drawing/2014/main" id="{D2F4609F-F4D7-8390-587C-6DF80383AC90}"/>
              </a:ext>
            </a:extLst>
          </p:cNvPr>
          <p:cNvSpPr/>
          <p:nvPr/>
        </p:nvSpPr>
        <p:spPr>
          <a:xfrm>
            <a:off x="7565778" y="3683768"/>
            <a:ext cx="2684067" cy="1558570"/>
          </a:xfrm>
          <a:prstGeom prst="rect">
            <a:avLst/>
          </a:prstGeom>
          <a:noFill/>
          <a:ln w="38100">
            <a:solidFill>
              <a:schemeClr val="accent1"/>
            </a:solidFill>
          </a:ln>
        </p:spPr>
        <p:style>
          <a:lnRef idx="0">
            <a:scrgbClr r="0" g="0" b="0"/>
          </a:lnRef>
          <a:fillRef idx="0">
            <a:scrgbClr r="0" g="0" b="0"/>
          </a:fillRef>
          <a:effectRef idx="0">
            <a:scrgbClr r="0" g="0" b="0"/>
          </a:effectRef>
          <a:fontRef idx="minor">
            <a:schemeClr val="lt1"/>
          </a:fontRef>
        </p:style>
        <p:txBody>
          <a:bodyPr rtlCol="0" anchor="ctr"/>
          <a:lstStyle/>
          <a:p>
            <a:pPr algn="ctr"/>
            <a:endParaRPr lang="sv-SE">
              <a:solidFill>
                <a:schemeClr val="tx1"/>
              </a:solidFill>
            </a:endParaRPr>
          </a:p>
        </p:txBody>
      </p:sp>
      <p:sp>
        <p:nvSpPr>
          <p:cNvPr id="16" name="Rectangle 22">
            <a:extLst>
              <a:ext uri="{FF2B5EF4-FFF2-40B4-BE49-F238E27FC236}">
                <a16:creationId xmlns:a16="http://schemas.microsoft.com/office/drawing/2014/main" id="{31D5FFC7-471D-7E24-8065-677EE6B5D944}"/>
              </a:ext>
            </a:extLst>
          </p:cNvPr>
          <p:cNvSpPr/>
          <p:nvPr/>
        </p:nvSpPr>
        <p:spPr>
          <a:xfrm>
            <a:off x="14375769" y="2669255"/>
            <a:ext cx="1490134" cy="1980945"/>
          </a:xfrm>
          <a:prstGeom prst="rect">
            <a:avLst/>
          </a:prstGeom>
          <a:noFill/>
          <a:ln w="38100">
            <a:solidFill>
              <a:schemeClr val="accent1"/>
            </a:solidFill>
          </a:ln>
        </p:spPr>
        <p:style>
          <a:lnRef idx="0">
            <a:scrgbClr r="0" g="0" b="0"/>
          </a:lnRef>
          <a:fillRef idx="0">
            <a:scrgbClr r="0" g="0" b="0"/>
          </a:fillRef>
          <a:effectRef idx="0">
            <a:scrgbClr r="0" g="0" b="0"/>
          </a:effectRef>
          <a:fontRef idx="minor">
            <a:schemeClr val="lt1"/>
          </a:fontRef>
        </p:style>
        <p:txBody>
          <a:bodyPr rtlCol="0" anchor="ctr"/>
          <a:lstStyle/>
          <a:p>
            <a:pPr algn="ctr"/>
            <a:endParaRPr lang="sv-SE">
              <a:solidFill>
                <a:schemeClr val="tx1"/>
              </a:solidFill>
            </a:endParaRPr>
          </a:p>
        </p:txBody>
      </p:sp>
      <p:sp>
        <p:nvSpPr>
          <p:cNvPr id="17" name="L-Shape 26">
            <a:extLst>
              <a:ext uri="{FF2B5EF4-FFF2-40B4-BE49-F238E27FC236}">
                <a16:creationId xmlns:a16="http://schemas.microsoft.com/office/drawing/2014/main" id="{0B57C302-3AA6-3CE8-C441-924348C84C6D}"/>
              </a:ext>
            </a:extLst>
          </p:cNvPr>
          <p:cNvSpPr/>
          <p:nvPr/>
        </p:nvSpPr>
        <p:spPr>
          <a:xfrm rot="16200000">
            <a:off x="4406492" y="1166162"/>
            <a:ext cx="2442635" cy="5517851"/>
          </a:xfrm>
          <a:prstGeom prst="corner">
            <a:avLst>
              <a:gd name="adj1" fmla="val 68324"/>
              <a:gd name="adj2" fmla="val 25989"/>
            </a:avLst>
          </a:prstGeom>
          <a:noFill/>
          <a:ln w="38100">
            <a:solidFill>
              <a:schemeClr val="accent1"/>
            </a:solidFill>
          </a:ln>
        </p:spPr>
        <p:style>
          <a:lnRef idx="0">
            <a:scrgbClr r="0" g="0" b="0"/>
          </a:lnRef>
          <a:fillRef idx="0">
            <a:scrgbClr r="0" g="0" b="0"/>
          </a:fillRef>
          <a:effectRef idx="0">
            <a:scrgbClr r="0" g="0" b="0"/>
          </a:effectRef>
          <a:fontRef idx="minor">
            <a:schemeClr val="lt1"/>
          </a:fontRef>
        </p:style>
        <p:txBody>
          <a:bodyPr vert="vert" rtlCol="0" anchor="ctr"/>
          <a:lstStyle/>
          <a:p>
            <a:pPr algn="ctr"/>
            <a:endParaRPr lang="sv-SE">
              <a:solidFill>
                <a:schemeClr val="tx1"/>
              </a:solidFill>
            </a:endParaRPr>
          </a:p>
        </p:txBody>
      </p:sp>
      <p:sp>
        <p:nvSpPr>
          <p:cNvPr id="19" name="L-Shape 27">
            <a:extLst>
              <a:ext uri="{FF2B5EF4-FFF2-40B4-BE49-F238E27FC236}">
                <a16:creationId xmlns:a16="http://schemas.microsoft.com/office/drawing/2014/main" id="{06611EBA-31D8-FF0D-8DE5-DCCE3413FDDE}"/>
              </a:ext>
            </a:extLst>
          </p:cNvPr>
          <p:cNvSpPr/>
          <p:nvPr/>
        </p:nvSpPr>
        <p:spPr>
          <a:xfrm rot="5400000" flipH="1">
            <a:off x="11994131" y="3711004"/>
            <a:ext cx="4701902" cy="3664845"/>
          </a:xfrm>
          <a:prstGeom prst="corner">
            <a:avLst>
              <a:gd name="adj1" fmla="val 43027"/>
              <a:gd name="adj2" fmla="val 83897"/>
            </a:avLst>
          </a:prstGeom>
          <a:noFill/>
          <a:ln w="38100">
            <a:solidFill>
              <a:schemeClr val="accent1"/>
            </a:solidFill>
          </a:ln>
        </p:spPr>
        <p:style>
          <a:lnRef idx="0">
            <a:scrgbClr r="0" g="0" b="0"/>
          </a:lnRef>
          <a:fillRef idx="0">
            <a:scrgbClr r="0" g="0" b="0"/>
          </a:fillRef>
          <a:effectRef idx="0">
            <a:scrgbClr r="0" g="0" b="0"/>
          </a:effectRef>
          <a:fontRef idx="minor">
            <a:schemeClr val="lt1"/>
          </a:fontRef>
        </p:style>
        <p:txBody>
          <a:bodyPr vert="vert270" rtlCol="0" anchor="ctr"/>
          <a:lstStyle/>
          <a:p>
            <a:pPr algn="ctr"/>
            <a:endParaRPr lang="sv-SE">
              <a:solidFill>
                <a:schemeClr val="tx1"/>
              </a:solidFill>
            </a:endParaRPr>
          </a:p>
        </p:txBody>
      </p:sp>
      <p:sp>
        <p:nvSpPr>
          <p:cNvPr id="21" name="Rectangle 30">
            <a:extLst>
              <a:ext uri="{FF2B5EF4-FFF2-40B4-BE49-F238E27FC236}">
                <a16:creationId xmlns:a16="http://schemas.microsoft.com/office/drawing/2014/main" id="{1B122963-6299-D870-F516-2954B65AC755}"/>
              </a:ext>
            </a:extLst>
          </p:cNvPr>
          <p:cNvSpPr/>
          <p:nvPr/>
        </p:nvSpPr>
        <p:spPr>
          <a:xfrm>
            <a:off x="10679094" y="1976495"/>
            <a:ext cx="1490134" cy="1980945"/>
          </a:xfrm>
          <a:prstGeom prst="rect">
            <a:avLst/>
          </a:prstGeom>
          <a:noFill/>
          <a:ln w="38100">
            <a:solidFill>
              <a:schemeClr val="accent1"/>
            </a:solidFill>
          </a:ln>
        </p:spPr>
        <p:style>
          <a:lnRef idx="0">
            <a:scrgbClr r="0" g="0" b="0"/>
          </a:lnRef>
          <a:fillRef idx="0">
            <a:scrgbClr r="0" g="0" b="0"/>
          </a:fillRef>
          <a:effectRef idx="0">
            <a:scrgbClr r="0" g="0" b="0"/>
          </a:effectRef>
          <a:fontRef idx="minor">
            <a:schemeClr val="lt1"/>
          </a:fontRef>
        </p:style>
        <p:txBody>
          <a:bodyPr rtlCol="0" anchor="ctr"/>
          <a:lstStyle/>
          <a:p>
            <a:pPr algn="ctr"/>
            <a:endParaRPr lang="sv-SE">
              <a:solidFill>
                <a:schemeClr val="tx1"/>
              </a:solidFill>
            </a:endParaRPr>
          </a:p>
        </p:txBody>
      </p:sp>
      <p:sp>
        <p:nvSpPr>
          <p:cNvPr id="23" name="textruta 22">
            <a:extLst>
              <a:ext uri="{FF2B5EF4-FFF2-40B4-BE49-F238E27FC236}">
                <a16:creationId xmlns:a16="http://schemas.microsoft.com/office/drawing/2014/main" id="{01F2F044-F35D-6935-152E-0213DB799829}"/>
              </a:ext>
            </a:extLst>
          </p:cNvPr>
          <p:cNvSpPr txBox="1"/>
          <p:nvPr/>
        </p:nvSpPr>
        <p:spPr>
          <a:xfrm>
            <a:off x="2542270" y="1768504"/>
            <a:ext cx="1612682" cy="369332"/>
          </a:xfrm>
          <a:prstGeom prst="rect">
            <a:avLst/>
          </a:prstGeom>
          <a:noFill/>
        </p:spPr>
        <p:txBody>
          <a:bodyPr wrap="square">
            <a:spAutoFit/>
          </a:bodyPr>
          <a:lstStyle/>
          <a:p>
            <a:pPr algn="ctr"/>
            <a:r>
              <a:rPr lang="sv-SE" b="1">
                <a:solidFill>
                  <a:schemeClr val="tx1"/>
                </a:solidFill>
              </a:rPr>
              <a:t>UNIT 1</a:t>
            </a:r>
          </a:p>
        </p:txBody>
      </p:sp>
      <p:sp>
        <p:nvSpPr>
          <p:cNvPr id="24" name="textruta 23">
            <a:extLst>
              <a:ext uri="{FF2B5EF4-FFF2-40B4-BE49-F238E27FC236}">
                <a16:creationId xmlns:a16="http://schemas.microsoft.com/office/drawing/2014/main" id="{4F7E8EAE-17C5-8B53-6A76-F84656117A39}"/>
              </a:ext>
            </a:extLst>
          </p:cNvPr>
          <p:cNvSpPr txBox="1"/>
          <p:nvPr/>
        </p:nvSpPr>
        <p:spPr>
          <a:xfrm>
            <a:off x="6448964" y="2843365"/>
            <a:ext cx="1612682" cy="369332"/>
          </a:xfrm>
          <a:prstGeom prst="rect">
            <a:avLst/>
          </a:prstGeom>
          <a:noFill/>
        </p:spPr>
        <p:txBody>
          <a:bodyPr wrap="square">
            <a:spAutoFit/>
          </a:bodyPr>
          <a:lstStyle/>
          <a:p>
            <a:pPr algn="ctr"/>
            <a:r>
              <a:rPr lang="sv-SE" b="1">
                <a:solidFill>
                  <a:schemeClr val="tx1"/>
                </a:solidFill>
              </a:rPr>
              <a:t>UNIT 2</a:t>
            </a:r>
          </a:p>
        </p:txBody>
      </p:sp>
      <p:sp>
        <p:nvSpPr>
          <p:cNvPr id="25" name="textruta 24">
            <a:extLst>
              <a:ext uri="{FF2B5EF4-FFF2-40B4-BE49-F238E27FC236}">
                <a16:creationId xmlns:a16="http://schemas.microsoft.com/office/drawing/2014/main" id="{578FA5A8-FE4E-07CC-F6C6-9E3A358B5D66}"/>
              </a:ext>
            </a:extLst>
          </p:cNvPr>
          <p:cNvSpPr txBox="1"/>
          <p:nvPr/>
        </p:nvSpPr>
        <p:spPr>
          <a:xfrm>
            <a:off x="7705608" y="4036570"/>
            <a:ext cx="1612682" cy="369332"/>
          </a:xfrm>
          <a:prstGeom prst="rect">
            <a:avLst/>
          </a:prstGeom>
          <a:noFill/>
        </p:spPr>
        <p:txBody>
          <a:bodyPr wrap="square">
            <a:spAutoFit/>
          </a:bodyPr>
          <a:lstStyle/>
          <a:p>
            <a:pPr algn="ctr"/>
            <a:r>
              <a:rPr lang="sv-SE" b="1">
                <a:solidFill>
                  <a:schemeClr val="tx1"/>
                </a:solidFill>
              </a:rPr>
              <a:t>UNIT 3</a:t>
            </a:r>
          </a:p>
        </p:txBody>
      </p:sp>
      <p:sp>
        <p:nvSpPr>
          <p:cNvPr id="28" name="textruta 27">
            <a:extLst>
              <a:ext uri="{FF2B5EF4-FFF2-40B4-BE49-F238E27FC236}">
                <a16:creationId xmlns:a16="http://schemas.microsoft.com/office/drawing/2014/main" id="{06AC25FA-16D8-2EB7-A2C2-5E276722EE97}"/>
              </a:ext>
            </a:extLst>
          </p:cNvPr>
          <p:cNvSpPr txBox="1"/>
          <p:nvPr/>
        </p:nvSpPr>
        <p:spPr>
          <a:xfrm>
            <a:off x="10617820" y="1981940"/>
            <a:ext cx="1612682" cy="369332"/>
          </a:xfrm>
          <a:prstGeom prst="rect">
            <a:avLst/>
          </a:prstGeom>
          <a:noFill/>
        </p:spPr>
        <p:txBody>
          <a:bodyPr wrap="square">
            <a:spAutoFit/>
          </a:bodyPr>
          <a:lstStyle/>
          <a:p>
            <a:pPr algn="ctr"/>
            <a:r>
              <a:rPr lang="sv-SE" b="1">
                <a:solidFill>
                  <a:schemeClr val="tx1"/>
                </a:solidFill>
              </a:rPr>
              <a:t>UNIT </a:t>
            </a:r>
            <a:r>
              <a:rPr lang="sv-SE" b="1"/>
              <a:t>6</a:t>
            </a:r>
            <a:endParaRPr lang="sv-SE" b="1">
              <a:solidFill>
                <a:schemeClr val="tx1"/>
              </a:solidFill>
            </a:endParaRPr>
          </a:p>
        </p:txBody>
      </p:sp>
      <p:sp>
        <p:nvSpPr>
          <p:cNvPr id="29" name="textruta 28">
            <a:extLst>
              <a:ext uri="{FF2B5EF4-FFF2-40B4-BE49-F238E27FC236}">
                <a16:creationId xmlns:a16="http://schemas.microsoft.com/office/drawing/2014/main" id="{789C6105-3FF9-D514-32F4-7DF509CB0496}"/>
              </a:ext>
            </a:extLst>
          </p:cNvPr>
          <p:cNvSpPr txBox="1"/>
          <p:nvPr/>
        </p:nvSpPr>
        <p:spPr>
          <a:xfrm>
            <a:off x="14314495" y="2798469"/>
            <a:ext cx="1612682" cy="369332"/>
          </a:xfrm>
          <a:prstGeom prst="rect">
            <a:avLst/>
          </a:prstGeom>
          <a:noFill/>
        </p:spPr>
        <p:txBody>
          <a:bodyPr wrap="square">
            <a:spAutoFit/>
          </a:bodyPr>
          <a:lstStyle/>
          <a:p>
            <a:pPr algn="ctr"/>
            <a:r>
              <a:rPr lang="sv-SE" b="1">
                <a:solidFill>
                  <a:schemeClr val="tx1"/>
                </a:solidFill>
              </a:rPr>
              <a:t>UNIT 5</a:t>
            </a:r>
          </a:p>
        </p:txBody>
      </p:sp>
      <p:sp>
        <p:nvSpPr>
          <p:cNvPr id="30" name="textruta 29">
            <a:extLst>
              <a:ext uri="{FF2B5EF4-FFF2-40B4-BE49-F238E27FC236}">
                <a16:creationId xmlns:a16="http://schemas.microsoft.com/office/drawing/2014/main" id="{2DE50463-CAB3-A113-5397-16F6F56B4FA9}"/>
              </a:ext>
            </a:extLst>
          </p:cNvPr>
          <p:cNvSpPr txBox="1"/>
          <p:nvPr/>
        </p:nvSpPr>
        <p:spPr>
          <a:xfrm>
            <a:off x="12512659" y="5921482"/>
            <a:ext cx="1612682" cy="369332"/>
          </a:xfrm>
          <a:prstGeom prst="rect">
            <a:avLst/>
          </a:prstGeom>
          <a:noFill/>
        </p:spPr>
        <p:txBody>
          <a:bodyPr wrap="square">
            <a:spAutoFit/>
          </a:bodyPr>
          <a:lstStyle/>
          <a:p>
            <a:pPr algn="ctr"/>
            <a:r>
              <a:rPr lang="sv-SE" b="1">
                <a:solidFill>
                  <a:schemeClr val="tx1"/>
                </a:solidFill>
              </a:rPr>
              <a:t>UNIT 4</a:t>
            </a:r>
          </a:p>
        </p:txBody>
      </p:sp>
    </p:spTree>
    <p:extLst>
      <p:ext uri="{BB962C8B-B14F-4D97-AF65-F5344CB8AC3E}">
        <p14:creationId xmlns:p14="http://schemas.microsoft.com/office/powerpoint/2010/main" val="84609299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6"/>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4"/>
          <a:srcRect/>
          <a:stretch>
            <a:fillRect/>
          </a:stretch>
        </p:blipFill>
        <p:spPr>
          <a:xfrm>
            <a:off x="0" y="8852181"/>
            <a:ext cx="5715000" cy="1385887"/>
          </a:xfrm>
          <a:prstGeom prst="rect">
            <a:avLst/>
          </a:prstGeom>
        </p:spPr>
      </p:pic>
      <p:grpSp>
        <p:nvGrpSpPr>
          <p:cNvPr id="3" name="Gruppo 2">
            <a:extLst>
              <a:ext uri="{FF2B5EF4-FFF2-40B4-BE49-F238E27FC236}">
                <a16:creationId xmlns:a16="http://schemas.microsoft.com/office/drawing/2014/main" id="{1C29CBCA-BE0A-4EF6-AC69-329941E1DCFD}"/>
              </a:ext>
            </a:extLst>
          </p:cNvPr>
          <p:cNvGrpSpPr/>
          <p:nvPr/>
        </p:nvGrpSpPr>
        <p:grpSpPr>
          <a:xfrm>
            <a:off x="-12" y="138554"/>
            <a:ext cx="18288002" cy="681138"/>
            <a:chOff x="-12" y="138554"/>
            <a:chExt cx="18288002" cy="681138"/>
          </a:xfrm>
        </p:grpSpPr>
        <p:grpSp>
          <p:nvGrpSpPr>
            <p:cNvPr id="2" name="Gruppo 1">
              <a:extLst>
                <a:ext uri="{FF2B5EF4-FFF2-40B4-BE49-F238E27FC236}">
                  <a16:creationId xmlns:a16="http://schemas.microsoft.com/office/drawing/2014/main" id="{24E9C7AF-0093-476F-826C-A2702AB72892}"/>
                </a:ext>
              </a:extLst>
            </p:cNvPr>
            <p:cNvGrpSpPr/>
            <p:nvPr/>
          </p:nvGrpSpPr>
          <p:grpSpPr>
            <a:xfrm>
              <a:off x="0" y="153125"/>
              <a:ext cx="17907000" cy="666567"/>
              <a:chOff x="0" y="153125"/>
              <a:chExt cx="17907000" cy="666567"/>
            </a:xfrm>
          </p:grpSpPr>
          <p:grpSp>
            <p:nvGrpSpPr>
              <p:cNvPr id="16" name="Gruppo 15">
                <a:extLst>
                  <a:ext uri="{FF2B5EF4-FFF2-40B4-BE49-F238E27FC236}">
                    <a16:creationId xmlns:a16="http://schemas.microsoft.com/office/drawing/2014/main" id="{DAC42A46-917D-41AB-8F07-E15E54D0F7D4}"/>
                  </a:ext>
                </a:extLst>
              </p:cNvPr>
              <p:cNvGrpSpPr/>
              <p:nvPr/>
            </p:nvGrpSpPr>
            <p:grpSpPr>
              <a:xfrm>
                <a:off x="0" y="153125"/>
                <a:ext cx="13958844" cy="666567"/>
                <a:chOff x="0" y="153125"/>
                <a:chExt cx="13958844" cy="666567"/>
              </a:xfrm>
            </p:grpSpPr>
            <p:pic>
              <p:nvPicPr>
                <p:cNvPr id="10" name="Picture 10"/>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1" name="TextBox 11"/>
                <p:cNvSpPr txBox="1"/>
                <p:nvPr/>
              </p:nvSpPr>
              <p:spPr>
                <a:xfrm>
                  <a:off x="228600" y="257980"/>
                  <a:ext cx="9296400" cy="456856"/>
                </a:xfrm>
                <a:prstGeom prst="rect">
                  <a:avLst/>
                </a:prstGeom>
              </p:spPr>
              <p:txBody>
                <a:bodyPr wrap="square" lIns="0" tIns="0" rIns="0" bIns="0" rtlCol="0" anchor="t">
                  <a:spAutoFit/>
                </a:bodyPr>
                <a:lstStyle/>
                <a:p>
                  <a:pPr>
                    <a:lnSpc>
                      <a:spcPts val="3919"/>
                    </a:lnSpc>
                    <a:spcBef>
                      <a:spcPct val="0"/>
                    </a:spcBef>
                  </a:pPr>
                  <a:endParaRPr lang="en-US" sz="2800" b="1">
                    <a:solidFill>
                      <a:srgbClr val="FFFFFF"/>
                    </a:solidFill>
                    <a:latin typeface="Arial" panose="020B0604020202020204" pitchFamily="34" charset="0"/>
                    <a:cs typeface="Arial" panose="020B0604020202020204" pitchFamily="34" charset="0"/>
                  </a:endParaRPr>
                </a:p>
              </p:txBody>
            </p:sp>
          </p:grpSp>
          <p:sp>
            <p:nvSpPr>
              <p:cNvPr id="12" name="TextBox 11">
                <a:extLst>
                  <a:ext uri="{FF2B5EF4-FFF2-40B4-BE49-F238E27FC236}">
                    <a16:creationId xmlns:a16="http://schemas.microsoft.com/office/drawing/2014/main" id="{1BD9B5F4-614C-4EB6-8C5B-120A5420CE43}"/>
                  </a:ext>
                </a:extLst>
              </p:cNvPr>
              <p:cNvSpPr txBox="1"/>
              <p:nvPr/>
            </p:nvSpPr>
            <p:spPr>
              <a:xfrm>
                <a:off x="12154296" y="257980"/>
                <a:ext cx="5752704" cy="456856"/>
              </a:xfrm>
              <a:prstGeom prst="rect">
                <a:avLst/>
              </a:prstGeom>
            </p:spPr>
            <p:txBody>
              <a:bodyPr wrap="square" lIns="0" tIns="0" rIns="0" bIns="0" rtlCol="0" anchor="t">
                <a:spAutoFit/>
              </a:bodyPr>
              <a:lstStyle/>
              <a:p>
                <a:pPr algn="r">
                  <a:lnSpc>
                    <a:spcPts val="3919"/>
                  </a:lnSpc>
                  <a:spcBef>
                    <a:spcPct val="0"/>
                  </a:spcBef>
                </a:pPr>
                <a:endParaRPr lang="en-US" sz="2800">
                  <a:solidFill>
                    <a:schemeClr val="tx1">
                      <a:lumMod val="75000"/>
                      <a:lumOff val="25000"/>
                    </a:schemeClr>
                  </a:solidFill>
                  <a:latin typeface="Arial" panose="020B0604020202020204" pitchFamily="34" charset="0"/>
                  <a:cs typeface="Arial" panose="020B0604020202020204" pitchFamily="34" charset="0"/>
                </a:endParaRPr>
              </a:p>
            </p:txBody>
          </p:sp>
        </p:grpSp>
        <p:sp>
          <p:nvSpPr>
            <p:cNvPr id="14" name="Rettangolo 13">
              <a:extLst>
                <a:ext uri="{FF2B5EF4-FFF2-40B4-BE49-F238E27FC236}">
                  <a16:creationId xmlns:a16="http://schemas.microsoft.com/office/drawing/2014/main" id="{55199736-B8B6-4C9A-8BAF-233E07A0CA89}"/>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6" name="TextBox 13">
            <a:extLst>
              <a:ext uri="{FF2B5EF4-FFF2-40B4-BE49-F238E27FC236}">
                <a16:creationId xmlns:a16="http://schemas.microsoft.com/office/drawing/2014/main" id="{6C5B5EBB-50F2-4911-9E8B-3B7B88900CA6}"/>
              </a:ext>
            </a:extLst>
          </p:cNvPr>
          <p:cNvSpPr txBox="1"/>
          <p:nvPr/>
        </p:nvSpPr>
        <p:spPr>
          <a:xfrm>
            <a:off x="228600" y="692944"/>
            <a:ext cx="17678400" cy="1005725"/>
          </a:xfrm>
          <a:prstGeom prst="rect">
            <a:avLst/>
          </a:prstGeom>
        </p:spPr>
        <p:txBody>
          <a:bodyPr wrap="square" lIns="0" tIns="0" rIns="0" bIns="0" rtlCol="0" anchor="t">
            <a:spAutoFit/>
          </a:bodyPr>
          <a:lstStyle/>
          <a:p>
            <a:pPr algn="ctr">
              <a:lnSpc>
                <a:spcPts val="8960"/>
              </a:lnSpc>
              <a:spcBef>
                <a:spcPct val="0"/>
              </a:spcBef>
            </a:pPr>
            <a:r>
              <a:rPr lang="en-US" sz="4800" b="1">
                <a:solidFill>
                  <a:srgbClr val="CC0033"/>
                </a:solidFill>
                <a:latin typeface="+mj-lt"/>
                <a:cs typeface="Arial" panose="020B0604020202020204" pitchFamily="34" charset="0"/>
              </a:rPr>
              <a:t>FERTIBERIA - Characterization</a:t>
            </a:r>
          </a:p>
        </p:txBody>
      </p:sp>
      <p:graphicFrame>
        <p:nvGraphicFramePr>
          <p:cNvPr id="27" name="Table 26">
            <a:extLst>
              <a:ext uri="{FF2B5EF4-FFF2-40B4-BE49-F238E27FC236}">
                <a16:creationId xmlns:a16="http://schemas.microsoft.com/office/drawing/2014/main" id="{F8FCF3BC-C8B3-492B-B92D-64C10225015C}"/>
              </a:ext>
            </a:extLst>
          </p:cNvPr>
          <p:cNvGraphicFramePr>
            <a:graphicFrameLocks noGrp="1"/>
          </p:cNvGraphicFramePr>
          <p:nvPr>
            <p:extLst>
              <p:ext uri="{D42A27DB-BD31-4B8C-83A1-F6EECF244321}">
                <p14:modId xmlns:p14="http://schemas.microsoft.com/office/powerpoint/2010/main" val="2387124808"/>
              </p:ext>
            </p:extLst>
          </p:nvPr>
        </p:nvGraphicFramePr>
        <p:xfrm>
          <a:off x="2832639" y="6123439"/>
          <a:ext cx="12470322" cy="2800801"/>
        </p:xfrm>
        <a:graphic>
          <a:graphicData uri="http://schemas.openxmlformats.org/drawingml/2006/table">
            <a:tbl>
              <a:tblPr firstRow="1" firstCol="1" lastRow="1" lastCol="1" bandRow="1" bandCol="1">
                <a:tableStyleId>{72833802-FEF1-4C79-8D5D-14CF1EAF98D9}</a:tableStyleId>
              </a:tblPr>
              <a:tblGrid>
                <a:gridCol w="4380866">
                  <a:extLst>
                    <a:ext uri="{9D8B030D-6E8A-4147-A177-3AD203B41FA5}">
                      <a16:colId xmlns:a16="http://schemas.microsoft.com/office/drawing/2014/main" val="3203473643"/>
                    </a:ext>
                  </a:extLst>
                </a:gridCol>
                <a:gridCol w="3245545">
                  <a:extLst>
                    <a:ext uri="{9D8B030D-6E8A-4147-A177-3AD203B41FA5}">
                      <a16:colId xmlns:a16="http://schemas.microsoft.com/office/drawing/2014/main" val="1554325551"/>
                    </a:ext>
                  </a:extLst>
                </a:gridCol>
                <a:gridCol w="4843911">
                  <a:extLst>
                    <a:ext uri="{9D8B030D-6E8A-4147-A177-3AD203B41FA5}">
                      <a16:colId xmlns:a16="http://schemas.microsoft.com/office/drawing/2014/main" val="1838484279"/>
                    </a:ext>
                  </a:extLst>
                </a:gridCol>
              </a:tblGrid>
              <a:tr h="843099">
                <a:tc>
                  <a:txBody>
                    <a:bodyPr/>
                    <a:lstStyle/>
                    <a:p>
                      <a:pPr indent="0" algn="ctr">
                        <a:lnSpc>
                          <a:spcPct val="100000"/>
                        </a:lnSpc>
                        <a:spcBef>
                          <a:spcPts val="55"/>
                        </a:spcBef>
                      </a:pPr>
                      <a:r>
                        <a:rPr lang="en-US" sz="2400" b="1" kern="1200">
                          <a:solidFill>
                            <a:schemeClr val="tx1"/>
                          </a:solidFill>
                          <a:effectLst/>
                        </a:rPr>
                        <a:t> KPI</a:t>
                      </a:r>
                      <a:endParaRPr lang="sv-SE" sz="2400" b="1" kern="1200">
                        <a:solidFill>
                          <a:schemeClr val="tx1"/>
                        </a:solidFill>
                        <a:effectLst/>
                        <a:latin typeface="+mj-lt"/>
                        <a:ea typeface="+mn-ea"/>
                        <a:cs typeface="+mn-cs"/>
                      </a:endParaRP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solidFill>
                  </a:tcPr>
                </a:tc>
                <a:tc>
                  <a:txBody>
                    <a:bodyPr/>
                    <a:lstStyle/>
                    <a:p>
                      <a:pPr indent="0" algn="ctr">
                        <a:lnSpc>
                          <a:spcPct val="100000"/>
                        </a:lnSpc>
                        <a:spcBef>
                          <a:spcPts val="15"/>
                        </a:spcBef>
                      </a:pPr>
                      <a:r>
                        <a:rPr lang="en-US" sz="2400" b="1" kern="1200">
                          <a:solidFill>
                            <a:schemeClr val="tx1"/>
                          </a:solidFill>
                          <a:effectLst/>
                        </a:rPr>
                        <a:t>Fertiberia NPK value</a:t>
                      </a:r>
                      <a:endParaRPr lang="sv-SE" sz="2400" b="1" kern="1200">
                        <a:solidFill>
                          <a:schemeClr val="tx1"/>
                        </a:solidFill>
                        <a:effectLst/>
                        <a:latin typeface="+mj-lt"/>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solidFill>
                  </a:tcPr>
                </a:tc>
                <a:tc>
                  <a:txBody>
                    <a:bodyPr/>
                    <a:lstStyle/>
                    <a:p>
                      <a:pPr indent="0" algn="ctr">
                        <a:lnSpc>
                          <a:spcPct val="100000"/>
                        </a:lnSpc>
                        <a:spcBef>
                          <a:spcPts val="15"/>
                        </a:spcBef>
                      </a:pPr>
                      <a:r>
                        <a:rPr lang="sv-SE" sz="2400" b="1" kern="1200">
                          <a:solidFill>
                            <a:schemeClr val="tx1"/>
                          </a:solidFill>
                          <a:effectLst/>
                          <a:latin typeface="+mj-lt"/>
                          <a:ea typeface="+mn-ea"/>
                          <a:cs typeface="+mn-cs"/>
                        </a:rPr>
                        <a:t>NPK line average value</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solidFill>
                  </a:tcPr>
                </a:tc>
                <a:extLst>
                  <a:ext uri="{0D108BD9-81ED-4DB2-BD59-A6C34878D82A}">
                    <a16:rowId xmlns:a16="http://schemas.microsoft.com/office/drawing/2014/main" val="3965927615"/>
                  </a:ext>
                </a:extLst>
              </a:tr>
              <a:tr h="646157">
                <a:tc>
                  <a:txBody>
                    <a:bodyPr/>
                    <a:lstStyle/>
                    <a:p>
                      <a:pPr indent="0" algn="ctr">
                        <a:lnSpc>
                          <a:spcPct val="100000"/>
                        </a:lnSpc>
                        <a:spcBef>
                          <a:spcPts val="30"/>
                        </a:spcBef>
                      </a:pPr>
                      <a:r>
                        <a:rPr lang="en-US" sz="2400" b="1" kern="1200">
                          <a:solidFill>
                            <a:schemeClr val="tx1"/>
                          </a:solidFill>
                          <a:effectLst/>
                        </a:rPr>
                        <a:t> Electricity requirements</a:t>
                      </a:r>
                      <a:endParaRPr lang="sv-SE" sz="2400" b="1" kern="1200">
                        <a:solidFill>
                          <a:schemeClr val="tx1"/>
                        </a:solidFill>
                        <a:effectLst/>
                        <a:latin typeface="+mj-lt"/>
                        <a:ea typeface="+mn-ea"/>
                        <a:cs typeface="+mn-cs"/>
                      </a:endParaRP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sv-SE" sz="2400" b="0" kern="1200">
                          <a:solidFill>
                            <a:schemeClr val="tx1"/>
                          </a:solidFill>
                          <a:effectLst/>
                          <a:latin typeface="+mn-lt"/>
                          <a:ea typeface="+mn-ea"/>
                          <a:cs typeface="+mn-cs"/>
                        </a:rPr>
                        <a:t>0.07 MWh/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R="58420" indent="0" algn="ctr">
                        <a:lnSpc>
                          <a:spcPct val="100000"/>
                        </a:lnSpc>
                        <a:spcBef>
                          <a:spcPts val="310"/>
                        </a:spcBef>
                        <a:spcAft>
                          <a:spcPts val="0"/>
                        </a:spcAft>
                      </a:pPr>
                      <a:r>
                        <a:rPr lang="sv-SE" sz="2400" b="0" kern="1200">
                          <a:solidFill>
                            <a:schemeClr val="tx1"/>
                          </a:solidFill>
                          <a:effectLst/>
                          <a:latin typeface="+mn-lt"/>
                          <a:ea typeface="+mn-ea"/>
                          <a:cs typeface="+mn-cs"/>
                        </a:rPr>
                        <a:t>0.03-0.08 MWh/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41460493"/>
                  </a:ext>
                </a:extLst>
              </a:tr>
              <a:tr h="646157">
                <a:tc>
                  <a:txBody>
                    <a:bodyPr/>
                    <a:lstStyle/>
                    <a:p>
                      <a:pPr indent="0" algn="ctr">
                        <a:lnSpc>
                          <a:spcPct val="100000"/>
                        </a:lnSpc>
                        <a:spcBef>
                          <a:spcPts val="30"/>
                        </a:spcBef>
                      </a:pPr>
                      <a:r>
                        <a:rPr lang="sv-SE" sz="2400" b="1" kern="1200" err="1">
                          <a:solidFill>
                            <a:schemeClr val="tx1"/>
                          </a:solidFill>
                          <a:effectLst/>
                          <a:latin typeface="+mj-lt"/>
                          <a:ea typeface="+mn-ea"/>
                          <a:cs typeface="+mn-cs"/>
                        </a:rPr>
                        <a:t>Natural</a:t>
                      </a:r>
                      <a:r>
                        <a:rPr lang="sv-SE" sz="2400" b="1" kern="1200">
                          <a:solidFill>
                            <a:schemeClr val="tx1"/>
                          </a:solidFill>
                          <a:effectLst/>
                          <a:latin typeface="+mj-lt"/>
                          <a:ea typeface="+mn-ea"/>
                          <a:cs typeface="+mn-cs"/>
                        </a:rPr>
                        <a:t> gas </a:t>
                      </a:r>
                      <a:r>
                        <a:rPr lang="sv-SE" sz="2400" b="1" kern="1200" err="1">
                          <a:solidFill>
                            <a:schemeClr val="tx1"/>
                          </a:solidFill>
                          <a:effectLst/>
                          <a:latin typeface="+mj-lt"/>
                          <a:ea typeface="+mn-ea"/>
                          <a:cs typeface="+mn-cs"/>
                        </a:rPr>
                        <a:t>requirements</a:t>
                      </a:r>
                      <a:endParaRPr lang="sv-SE" sz="2400" b="1" kern="1200">
                        <a:solidFill>
                          <a:schemeClr val="tx1"/>
                        </a:solidFill>
                        <a:effectLst/>
                        <a:latin typeface="+mj-lt"/>
                        <a:ea typeface="+mn-ea"/>
                        <a:cs typeface="+mn-cs"/>
                      </a:endParaRP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sv-SE" sz="2400" b="0" kern="1200">
                          <a:solidFill>
                            <a:schemeClr val="tx1"/>
                          </a:solidFill>
                          <a:effectLst/>
                          <a:latin typeface="+mn-lt"/>
                          <a:ea typeface="+mn-ea"/>
                          <a:cs typeface="+mn-cs"/>
                        </a:rPr>
                        <a:t>0.14 MWh/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58420" lvl="0" indent="0" algn="ctr" defTabSz="914400" rtl="0" eaLnBrk="1" fontAlgn="auto" latinLnBrk="0" hangingPunct="1">
                        <a:lnSpc>
                          <a:spcPct val="100000"/>
                        </a:lnSpc>
                        <a:spcBef>
                          <a:spcPts val="310"/>
                        </a:spcBef>
                        <a:spcAft>
                          <a:spcPts val="0"/>
                        </a:spcAft>
                        <a:buClrTx/>
                        <a:buSzTx/>
                        <a:buFontTx/>
                        <a:buNone/>
                        <a:tabLst/>
                        <a:defRPr/>
                      </a:pPr>
                      <a:r>
                        <a:rPr lang="sv-SE" sz="2400" b="0" kern="1200">
                          <a:solidFill>
                            <a:schemeClr val="tx1"/>
                          </a:solidFill>
                          <a:effectLst/>
                          <a:latin typeface="+mn-lt"/>
                          <a:ea typeface="+mn-ea"/>
                          <a:cs typeface="+mn-cs"/>
                        </a:rPr>
                        <a:t>0.209 MWh/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42734578"/>
                  </a:ext>
                </a:extLst>
              </a:tr>
              <a:tr h="665388">
                <a:tc>
                  <a:txBody>
                    <a:bodyPr/>
                    <a:lstStyle/>
                    <a:p>
                      <a:pPr indent="0" algn="ctr">
                        <a:lnSpc>
                          <a:spcPct val="100000"/>
                        </a:lnSpc>
                        <a:spcBef>
                          <a:spcPts val="310"/>
                        </a:spcBef>
                      </a:pPr>
                      <a:r>
                        <a:rPr lang="en-US" sz="2400" b="1" kern="1200">
                          <a:solidFill>
                            <a:schemeClr val="tx1"/>
                          </a:solidFill>
                          <a:effectLst/>
                        </a:rPr>
                        <a:t> Environmental performance</a:t>
                      </a:r>
                      <a:endParaRPr lang="sv-SE" sz="2400" b="1" kern="1200">
                        <a:solidFill>
                          <a:schemeClr val="tx1"/>
                        </a:solidFill>
                        <a:effectLst/>
                        <a:latin typeface="+mj-lt"/>
                        <a:ea typeface="+mn-ea"/>
                        <a:cs typeface="+mn-cs"/>
                      </a:endParaRP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indent="0" algn="ctr">
                        <a:lnSpc>
                          <a:spcPct val="100000"/>
                        </a:lnSpc>
                        <a:spcBef>
                          <a:spcPts val="310"/>
                        </a:spcBef>
                      </a:pPr>
                      <a:r>
                        <a:rPr lang="en-US" sz="2400" b="0" kern="1200" dirty="0">
                          <a:solidFill>
                            <a:schemeClr val="tx1"/>
                          </a:solidFill>
                          <a:effectLst/>
                        </a:rPr>
                        <a:t>0.04 tCO2eq/t</a:t>
                      </a:r>
                      <a:endParaRPr lang="sv-SE" sz="2400" b="0" kern="1200" dirty="0">
                        <a:solidFill>
                          <a:schemeClr val="tx1"/>
                        </a:solidFill>
                        <a:effectLst/>
                        <a:latin typeface="+mj-lt"/>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indent="0" algn="ctr">
                        <a:lnSpc>
                          <a:spcPct val="100000"/>
                        </a:lnSpc>
                        <a:spcBef>
                          <a:spcPts val="310"/>
                        </a:spcBef>
                      </a:pPr>
                      <a:r>
                        <a:rPr lang="sv-SE" sz="2400" b="0" kern="1200" dirty="0">
                          <a:solidFill>
                            <a:schemeClr val="tx1"/>
                          </a:solidFill>
                          <a:effectLst/>
                          <a:latin typeface="+mj-lt"/>
                          <a:ea typeface="+mn-ea"/>
                          <a:cs typeface="+mn-cs"/>
                        </a:rPr>
                        <a: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40504214"/>
                  </a:ext>
                </a:extLst>
              </a:tr>
            </a:tbl>
          </a:graphicData>
        </a:graphic>
      </p:graphicFrame>
      <p:sp>
        <p:nvSpPr>
          <p:cNvPr id="36" name="TextBox 35">
            <a:extLst>
              <a:ext uri="{FF2B5EF4-FFF2-40B4-BE49-F238E27FC236}">
                <a16:creationId xmlns:a16="http://schemas.microsoft.com/office/drawing/2014/main" id="{8EE001A1-983E-4290-BA1F-BA4ED3EC9E78}"/>
              </a:ext>
            </a:extLst>
          </p:cNvPr>
          <p:cNvSpPr txBox="1"/>
          <p:nvPr/>
        </p:nvSpPr>
        <p:spPr>
          <a:xfrm>
            <a:off x="711552" y="2639171"/>
            <a:ext cx="6480080" cy="1703030"/>
          </a:xfrm>
          <a:prstGeom prst="rect">
            <a:avLst/>
          </a:prstGeom>
          <a:noFill/>
        </p:spPr>
        <p:txBody>
          <a:bodyPr wrap="square">
            <a:spAutoFit/>
          </a:bodyPr>
          <a:lstStyle/>
          <a:p>
            <a:pPr marL="285750" indent="-285750" algn="just">
              <a:lnSpc>
                <a:spcPct val="150000"/>
              </a:lnSpc>
              <a:buFont typeface="Arial" panose="020B0604020202020204" pitchFamily="34" charset="0"/>
              <a:buChar char="•"/>
            </a:pPr>
            <a:r>
              <a:rPr lang="en-US" b="0" i="0" u="none" strike="noStrike" baseline="0" err="1">
                <a:solidFill>
                  <a:srgbClr val="000000"/>
                </a:solidFill>
                <a:latin typeface="Arial" panose="020B0604020202020204" pitchFamily="34" charset="0"/>
              </a:rPr>
              <a:t>Fertiberia’s</a:t>
            </a:r>
            <a:r>
              <a:rPr lang="en-US">
                <a:solidFill>
                  <a:srgbClr val="000000"/>
                </a:solidFill>
                <a:latin typeface="Arial" panose="020B0604020202020204" pitchFamily="34" charset="0"/>
              </a:rPr>
              <a:t> </a:t>
            </a:r>
            <a:r>
              <a:rPr lang="en-US" b="1">
                <a:solidFill>
                  <a:srgbClr val="000000"/>
                </a:solidFill>
                <a:latin typeface="Arial" panose="020B0604020202020204" pitchFamily="34" charset="0"/>
              </a:rPr>
              <a:t>primary energy requirements for the NPK production line </a:t>
            </a:r>
            <a:r>
              <a:rPr lang="en-US">
                <a:solidFill>
                  <a:srgbClr val="000000"/>
                </a:solidFill>
                <a:latin typeface="Arial" panose="020B0604020202020204" pitchFamily="34" charset="0"/>
              </a:rPr>
              <a:t>are from electricity, followed by natural gas. The average energy usage for </a:t>
            </a:r>
            <a:r>
              <a:rPr lang="en-US" err="1">
                <a:solidFill>
                  <a:srgbClr val="000000"/>
                </a:solidFill>
                <a:latin typeface="Arial" panose="020B0604020202020204" pitchFamily="34" charset="0"/>
              </a:rPr>
              <a:t>Fertiberia</a:t>
            </a:r>
            <a:r>
              <a:rPr lang="en-US">
                <a:solidFill>
                  <a:srgbClr val="000000"/>
                </a:solidFill>
                <a:latin typeface="Arial" panose="020B0604020202020204" pitchFamily="34" charset="0"/>
              </a:rPr>
              <a:t> lays below the average value of the NPK production line.</a:t>
            </a:r>
          </a:p>
        </p:txBody>
      </p:sp>
      <p:pic>
        <p:nvPicPr>
          <p:cNvPr id="8" name="Picture 7">
            <a:extLst>
              <a:ext uri="{FF2B5EF4-FFF2-40B4-BE49-F238E27FC236}">
                <a16:creationId xmlns:a16="http://schemas.microsoft.com/office/drawing/2014/main" id="{1FA3425A-D231-44F7-A265-39E0B30145E2}"/>
              </a:ext>
            </a:extLst>
          </p:cNvPr>
          <p:cNvPicPr>
            <a:picLocks noChangeAspect="1"/>
          </p:cNvPicPr>
          <p:nvPr/>
        </p:nvPicPr>
        <p:blipFill>
          <a:blip r:embed="rId6"/>
          <a:stretch>
            <a:fillRect/>
          </a:stretch>
        </p:blipFill>
        <p:spPr>
          <a:xfrm>
            <a:off x="7826849" y="2524125"/>
            <a:ext cx="9048750" cy="2619375"/>
          </a:xfrm>
          <a:prstGeom prst="rect">
            <a:avLst/>
          </a:prstGeom>
        </p:spPr>
      </p:pic>
      <p:sp>
        <p:nvSpPr>
          <p:cNvPr id="21" name="TextBox 20">
            <a:extLst>
              <a:ext uri="{FF2B5EF4-FFF2-40B4-BE49-F238E27FC236}">
                <a16:creationId xmlns:a16="http://schemas.microsoft.com/office/drawing/2014/main" id="{7E41B0FC-13CE-48F1-BB16-AD5E9BE4A2B5}"/>
              </a:ext>
            </a:extLst>
          </p:cNvPr>
          <p:cNvSpPr txBox="1"/>
          <p:nvPr/>
        </p:nvSpPr>
        <p:spPr>
          <a:xfrm>
            <a:off x="8747484" y="5327870"/>
            <a:ext cx="9144000" cy="369332"/>
          </a:xfrm>
          <a:prstGeom prst="rect">
            <a:avLst/>
          </a:prstGeom>
          <a:noFill/>
        </p:spPr>
        <p:txBody>
          <a:bodyPr wrap="square">
            <a:spAutoFit/>
          </a:bodyPr>
          <a:lstStyle/>
          <a:p>
            <a:r>
              <a:rPr lang="en-US" kern="100">
                <a:solidFill>
                  <a:srgbClr val="404040"/>
                </a:solidFill>
                <a:latin typeface="Arial (body)"/>
              </a:rPr>
              <a:t>Primary energy consumption and GHG emission of the NPK production line</a:t>
            </a:r>
            <a:endParaRPr lang="sv-SE" kern="100">
              <a:solidFill>
                <a:srgbClr val="404040"/>
              </a:solidFill>
              <a:latin typeface="Arial (body)"/>
            </a:endParaRPr>
          </a:p>
        </p:txBody>
      </p:sp>
      <p:sp>
        <p:nvSpPr>
          <p:cNvPr id="22" name="TextBox 21">
            <a:extLst>
              <a:ext uri="{FF2B5EF4-FFF2-40B4-BE49-F238E27FC236}">
                <a16:creationId xmlns:a16="http://schemas.microsoft.com/office/drawing/2014/main" id="{C52C154E-0086-4357-B9EB-3119ADC619E5}"/>
              </a:ext>
            </a:extLst>
          </p:cNvPr>
          <p:cNvSpPr txBox="1"/>
          <p:nvPr/>
        </p:nvSpPr>
        <p:spPr>
          <a:xfrm>
            <a:off x="10231378" y="9036805"/>
            <a:ext cx="6176211" cy="307777"/>
          </a:xfrm>
          <a:prstGeom prst="rect">
            <a:avLst/>
          </a:prstGeom>
          <a:noFill/>
        </p:spPr>
        <p:txBody>
          <a:bodyPr wrap="square">
            <a:spAutoFit/>
          </a:bodyPr>
          <a:lstStyle/>
          <a:p>
            <a:r>
              <a:rPr lang="en-US" sz="1400" b="0" i="0" u="none" strike="noStrike" baseline="0" dirty="0">
                <a:solidFill>
                  <a:srgbClr val="000000"/>
                </a:solidFill>
              </a:rPr>
              <a:t>*Based on Commission Delegated Regulation (EU) 2019/331. </a:t>
            </a:r>
            <a:endParaRPr lang="sv-SE" sz="1400" dirty="0"/>
          </a:p>
        </p:txBody>
      </p:sp>
    </p:spTree>
    <p:extLst>
      <p:ext uri="{BB962C8B-B14F-4D97-AF65-F5344CB8AC3E}">
        <p14:creationId xmlns:p14="http://schemas.microsoft.com/office/powerpoint/2010/main" val="374501595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uppo 16">
            <a:extLst>
              <a:ext uri="{FF2B5EF4-FFF2-40B4-BE49-F238E27FC236}">
                <a16:creationId xmlns:a16="http://schemas.microsoft.com/office/drawing/2014/main" id="{7F05FA2D-BA17-4C4E-9DAE-36CC81DE9BAA}"/>
              </a:ext>
            </a:extLst>
          </p:cNvPr>
          <p:cNvGrpSpPr/>
          <p:nvPr/>
        </p:nvGrpSpPr>
        <p:grpSpPr>
          <a:xfrm>
            <a:off x="4329156" y="9695736"/>
            <a:ext cx="13958844" cy="666567"/>
            <a:chOff x="4329156" y="9649198"/>
            <a:chExt cx="13958844" cy="666567"/>
          </a:xfrm>
        </p:grpSpPr>
        <p:pic>
          <p:nvPicPr>
            <p:cNvPr id="5" name="Picture 12">
              <a:extLst>
                <a:ext uri="{FF2B5EF4-FFF2-40B4-BE49-F238E27FC236}">
                  <a16:creationId xmlns:a16="http://schemas.microsoft.com/office/drawing/2014/main" id="{00810EF5-3949-4698-A5DE-428CD380175F}"/>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6" name="TextBox 16">
              <a:extLst>
                <a:ext uri="{FF2B5EF4-FFF2-40B4-BE49-F238E27FC236}">
                  <a16:creationId xmlns:a16="http://schemas.microsoft.com/office/drawing/2014/main" id="{EDDD1531-1BDA-4725-B6A3-364F4B7CF76A}"/>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pic>
        <p:nvPicPr>
          <p:cNvPr id="7" name="Picture 12">
            <a:extLst>
              <a:ext uri="{FF2B5EF4-FFF2-40B4-BE49-F238E27FC236}">
                <a16:creationId xmlns:a16="http://schemas.microsoft.com/office/drawing/2014/main" id="{52C35A30-8BA0-4714-8363-E6CE748BA2C3}"/>
              </a:ext>
            </a:extLst>
          </p:cNvPr>
          <p:cNvPicPr>
            <a:picLocks noChangeAspect="1"/>
          </p:cNvPicPr>
          <p:nvPr/>
        </p:nvPicPr>
        <p:blipFill>
          <a:blip r:embed="rId4"/>
          <a:srcRect/>
          <a:stretch>
            <a:fillRect/>
          </a:stretch>
        </p:blipFill>
        <p:spPr>
          <a:xfrm>
            <a:off x="0" y="9464707"/>
            <a:ext cx="3390900" cy="822293"/>
          </a:xfrm>
          <a:prstGeom prst="rect">
            <a:avLst/>
          </a:prstGeom>
        </p:spPr>
      </p:pic>
      <p:grpSp>
        <p:nvGrpSpPr>
          <p:cNvPr id="8" name="Gruppo 2">
            <a:extLst>
              <a:ext uri="{FF2B5EF4-FFF2-40B4-BE49-F238E27FC236}">
                <a16:creationId xmlns:a16="http://schemas.microsoft.com/office/drawing/2014/main" id="{C9C93A65-4067-4ACC-B2C9-8C15277024E4}"/>
              </a:ext>
            </a:extLst>
          </p:cNvPr>
          <p:cNvGrpSpPr/>
          <p:nvPr/>
        </p:nvGrpSpPr>
        <p:grpSpPr>
          <a:xfrm>
            <a:off x="-12" y="138554"/>
            <a:ext cx="18288002" cy="681138"/>
            <a:chOff x="-12" y="138554"/>
            <a:chExt cx="18288002" cy="681138"/>
          </a:xfrm>
        </p:grpSpPr>
        <p:grpSp>
          <p:nvGrpSpPr>
            <p:cNvPr id="9" name="Gruppo 1">
              <a:extLst>
                <a:ext uri="{FF2B5EF4-FFF2-40B4-BE49-F238E27FC236}">
                  <a16:creationId xmlns:a16="http://schemas.microsoft.com/office/drawing/2014/main" id="{A943E672-738C-4FE3-BD35-ACD7A4E4D95E}"/>
                </a:ext>
              </a:extLst>
            </p:cNvPr>
            <p:cNvGrpSpPr/>
            <p:nvPr/>
          </p:nvGrpSpPr>
          <p:grpSpPr>
            <a:xfrm>
              <a:off x="0" y="153125"/>
              <a:ext cx="17907000" cy="666567"/>
              <a:chOff x="0" y="153125"/>
              <a:chExt cx="17907000" cy="666567"/>
            </a:xfrm>
          </p:grpSpPr>
          <p:grpSp>
            <p:nvGrpSpPr>
              <p:cNvPr id="11" name="Gruppo 15">
                <a:extLst>
                  <a:ext uri="{FF2B5EF4-FFF2-40B4-BE49-F238E27FC236}">
                    <a16:creationId xmlns:a16="http://schemas.microsoft.com/office/drawing/2014/main" id="{10037738-5D9A-4755-B52F-99B1FA543ED3}"/>
                  </a:ext>
                </a:extLst>
              </p:cNvPr>
              <p:cNvGrpSpPr/>
              <p:nvPr/>
            </p:nvGrpSpPr>
            <p:grpSpPr>
              <a:xfrm>
                <a:off x="0" y="153125"/>
                <a:ext cx="13958844" cy="666567"/>
                <a:chOff x="0" y="153125"/>
                <a:chExt cx="13958844" cy="666567"/>
              </a:xfrm>
            </p:grpSpPr>
            <p:pic>
              <p:nvPicPr>
                <p:cNvPr id="13" name="Picture 10">
                  <a:extLst>
                    <a:ext uri="{FF2B5EF4-FFF2-40B4-BE49-F238E27FC236}">
                      <a16:creationId xmlns:a16="http://schemas.microsoft.com/office/drawing/2014/main" id="{30234B5E-6FF9-499F-817A-9B69F1CC9911}"/>
                    </a:ext>
                  </a:extLst>
                </p:cNvPr>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4" name="TextBox 11">
                  <a:extLst>
                    <a:ext uri="{FF2B5EF4-FFF2-40B4-BE49-F238E27FC236}">
                      <a16:creationId xmlns:a16="http://schemas.microsoft.com/office/drawing/2014/main" id="{E5F3FE84-033A-4279-AF93-ABD80EC40550}"/>
                    </a:ext>
                  </a:extLst>
                </p:cNvPr>
                <p:cNvSpPr txBox="1"/>
                <p:nvPr/>
              </p:nvSpPr>
              <p:spPr>
                <a:xfrm>
                  <a:off x="228600" y="257980"/>
                  <a:ext cx="9296400" cy="456856"/>
                </a:xfrm>
                <a:prstGeom prst="rect">
                  <a:avLst/>
                </a:prstGeom>
              </p:spPr>
              <p:txBody>
                <a:bodyPr wrap="square" lIns="0" tIns="0" rIns="0" bIns="0" rtlCol="0" anchor="t">
                  <a:spAutoFit/>
                </a:bodyPr>
                <a:lstStyle/>
                <a:p>
                  <a:pPr>
                    <a:lnSpc>
                      <a:spcPts val="3919"/>
                    </a:lnSpc>
                    <a:spcBef>
                      <a:spcPct val="0"/>
                    </a:spcBef>
                  </a:pPr>
                  <a:endParaRPr lang="en-US" sz="2800" b="1">
                    <a:solidFill>
                      <a:srgbClr val="FFFFFF"/>
                    </a:solidFill>
                    <a:latin typeface="Arial" panose="020B0604020202020204" pitchFamily="34" charset="0"/>
                    <a:cs typeface="Arial" panose="020B0604020202020204" pitchFamily="34" charset="0"/>
                  </a:endParaRPr>
                </a:p>
              </p:txBody>
            </p:sp>
          </p:grpSp>
          <p:sp>
            <p:nvSpPr>
              <p:cNvPr id="12" name="TextBox 11">
                <a:extLst>
                  <a:ext uri="{FF2B5EF4-FFF2-40B4-BE49-F238E27FC236}">
                    <a16:creationId xmlns:a16="http://schemas.microsoft.com/office/drawing/2014/main" id="{7B4365DB-7AB3-494A-91B9-B5781D39B67B}"/>
                  </a:ext>
                </a:extLst>
              </p:cNvPr>
              <p:cNvSpPr txBox="1"/>
              <p:nvPr/>
            </p:nvSpPr>
            <p:spPr>
              <a:xfrm>
                <a:off x="12154296" y="257980"/>
                <a:ext cx="5752704" cy="456856"/>
              </a:xfrm>
              <a:prstGeom prst="rect">
                <a:avLst/>
              </a:prstGeom>
            </p:spPr>
            <p:txBody>
              <a:bodyPr wrap="square" lIns="0" tIns="0" rIns="0" bIns="0" rtlCol="0" anchor="t">
                <a:spAutoFit/>
              </a:bodyPr>
              <a:lstStyle/>
              <a:p>
                <a:pPr algn="r">
                  <a:lnSpc>
                    <a:spcPts val="3919"/>
                  </a:lnSpc>
                  <a:spcBef>
                    <a:spcPct val="0"/>
                  </a:spcBef>
                </a:pPr>
                <a:endParaRPr lang="en-US" sz="2800">
                  <a:solidFill>
                    <a:schemeClr val="tx1">
                      <a:lumMod val="75000"/>
                      <a:lumOff val="25000"/>
                    </a:schemeClr>
                  </a:solidFill>
                  <a:latin typeface="Arial" panose="020B0604020202020204" pitchFamily="34" charset="0"/>
                  <a:cs typeface="Arial" panose="020B0604020202020204" pitchFamily="34" charset="0"/>
                </a:endParaRPr>
              </a:p>
            </p:txBody>
          </p:sp>
        </p:grpSp>
        <p:sp>
          <p:nvSpPr>
            <p:cNvPr id="10" name="Rettangolo 13">
              <a:extLst>
                <a:ext uri="{FF2B5EF4-FFF2-40B4-BE49-F238E27FC236}">
                  <a16:creationId xmlns:a16="http://schemas.microsoft.com/office/drawing/2014/main" id="{BC76EB51-B4AB-4BAB-AAF6-1883074EEF50}"/>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0" name="TextBox 19">
            <a:extLst>
              <a:ext uri="{FF2B5EF4-FFF2-40B4-BE49-F238E27FC236}">
                <a16:creationId xmlns:a16="http://schemas.microsoft.com/office/drawing/2014/main" id="{B4D68CAB-2F99-49CF-9331-08151EAABA39}"/>
              </a:ext>
            </a:extLst>
          </p:cNvPr>
          <p:cNvSpPr txBox="1"/>
          <p:nvPr/>
        </p:nvSpPr>
        <p:spPr>
          <a:xfrm>
            <a:off x="4814845" y="924916"/>
            <a:ext cx="9143999" cy="830997"/>
          </a:xfrm>
          <a:prstGeom prst="rect">
            <a:avLst/>
          </a:prstGeom>
          <a:noFill/>
        </p:spPr>
        <p:txBody>
          <a:bodyPr wrap="square">
            <a:spAutoFit/>
          </a:bodyPr>
          <a:lstStyle/>
          <a:p>
            <a:r>
              <a:rPr lang="sv-SE" sz="4800" b="1">
                <a:solidFill>
                  <a:srgbClr val="CC0033"/>
                </a:solidFill>
                <a:latin typeface="+mj-lt"/>
                <a:cs typeface="Arial" panose="020B0604020202020204" pitchFamily="34" charset="0"/>
              </a:rPr>
              <a:t>RETROFEED at FERTIBERIA</a:t>
            </a:r>
          </a:p>
        </p:txBody>
      </p:sp>
      <p:sp>
        <p:nvSpPr>
          <p:cNvPr id="21" name="TextBox 20">
            <a:extLst>
              <a:ext uri="{FF2B5EF4-FFF2-40B4-BE49-F238E27FC236}">
                <a16:creationId xmlns:a16="http://schemas.microsoft.com/office/drawing/2014/main" id="{4D202826-A262-4E51-B95E-1EDEE44997BC}"/>
              </a:ext>
            </a:extLst>
          </p:cNvPr>
          <p:cNvSpPr txBox="1"/>
          <p:nvPr/>
        </p:nvSpPr>
        <p:spPr>
          <a:xfrm>
            <a:off x="711552" y="5526699"/>
            <a:ext cx="16459133" cy="2534027"/>
          </a:xfrm>
          <a:prstGeom prst="rect">
            <a:avLst/>
          </a:prstGeom>
          <a:noFill/>
        </p:spPr>
        <p:txBody>
          <a:bodyPr wrap="square">
            <a:spAutoFit/>
          </a:bodyPr>
          <a:lstStyle/>
          <a:p>
            <a:pPr algn="just">
              <a:lnSpc>
                <a:spcPct val="150000"/>
              </a:lnSpc>
            </a:pPr>
            <a:r>
              <a:rPr lang="en-US" sz="1800" b="0" i="0" u="none" strike="noStrike" baseline="0">
                <a:solidFill>
                  <a:srgbClr val="000000"/>
                </a:solidFill>
                <a:latin typeface="Arial" panose="020B0604020202020204" pitchFamily="34" charset="0"/>
              </a:rPr>
              <a:t>The tubular reactor which currently supplies energy for granulation by means of a chemical reaction (aided on occasions by steam) will be replaced with a novel reactor where a more exothermic reaction of sulfuric acid and ammonia  will take place. This will not only allow to reduce steam consumption, but also achieve greater flexibility in the raw material sources the process can admit, thus reducing costs associated to purchasing feedstock and increasing the overall process sustainability. Also, P2O5 from circular economy such as ashes, need higher temperature and lower pH to be solubilized in the slurry and so be available as fertilizer. The novel pipe reactor can cope with both goals.</a:t>
            </a:r>
          </a:p>
          <a:p>
            <a:pPr algn="just">
              <a:lnSpc>
                <a:spcPct val="150000"/>
              </a:lnSpc>
            </a:pPr>
            <a:endParaRPr lang="es-ES"/>
          </a:p>
        </p:txBody>
      </p:sp>
      <p:sp>
        <p:nvSpPr>
          <p:cNvPr id="22" name="TextBox 21">
            <a:extLst>
              <a:ext uri="{FF2B5EF4-FFF2-40B4-BE49-F238E27FC236}">
                <a16:creationId xmlns:a16="http://schemas.microsoft.com/office/drawing/2014/main" id="{A9B20580-BA1E-4C7C-A82E-3639921429A1}"/>
              </a:ext>
            </a:extLst>
          </p:cNvPr>
          <p:cNvSpPr txBox="1"/>
          <p:nvPr/>
        </p:nvSpPr>
        <p:spPr>
          <a:xfrm>
            <a:off x="711552" y="2641772"/>
            <a:ext cx="13357523" cy="2118529"/>
          </a:xfrm>
          <a:prstGeom prst="rect">
            <a:avLst/>
          </a:prstGeom>
          <a:noFill/>
        </p:spPr>
        <p:txBody>
          <a:bodyPr wrap="square">
            <a:spAutoFit/>
          </a:bodyPr>
          <a:lstStyle/>
          <a:p>
            <a:pPr>
              <a:lnSpc>
                <a:spcPct val="150000"/>
              </a:lnSpc>
            </a:pPr>
            <a:r>
              <a:rPr lang="en-US" sz="1800" b="0" i="0" u="none" strike="noStrike" baseline="0">
                <a:solidFill>
                  <a:srgbClr val="000000"/>
                </a:solidFill>
                <a:latin typeface="Arial" panose="020B0604020202020204" pitchFamily="34" charset="0"/>
              </a:rPr>
              <a:t>Phosphorous compounds are a major concern since they are widely used across all NPK fertilizer formulations. These are obtained by extraction of P2O5 from phosphoric rock, known to be a highly polluting process. Sulphur compounds, such as ammonium sulphate, are purchased from a third party, although they could potentially be produced on-site if adequate raw materials and reactor were made available. It is therefore of particular interest, to obtain alternate P and S sources. These alternative resources normally require more heat to be processed.</a:t>
            </a:r>
            <a:endParaRPr lang="en-US" b="0" i="0" u="none" strike="noStrike" baseline="0">
              <a:solidFill>
                <a:srgbClr val="000000"/>
              </a:solidFill>
              <a:latin typeface="Arial" panose="020B0604020202020204" pitchFamily="34" charset="0"/>
            </a:endParaRPr>
          </a:p>
        </p:txBody>
      </p:sp>
      <p:sp>
        <p:nvSpPr>
          <p:cNvPr id="23" name="TextBox 22">
            <a:extLst>
              <a:ext uri="{FF2B5EF4-FFF2-40B4-BE49-F238E27FC236}">
                <a16:creationId xmlns:a16="http://schemas.microsoft.com/office/drawing/2014/main" id="{EDADB62C-C9C5-46BD-B3F0-92C52F43256C}"/>
              </a:ext>
            </a:extLst>
          </p:cNvPr>
          <p:cNvSpPr txBox="1"/>
          <p:nvPr/>
        </p:nvSpPr>
        <p:spPr>
          <a:xfrm>
            <a:off x="711552" y="2117336"/>
            <a:ext cx="9144000" cy="461665"/>
          </a:xfrm>
          <a:prstGeom prst="rect">
            <a:avLst/>
          </a:prstGeom>
          <a:noFill/>
        </p:spPr>
        <p:txBody>
          <a:bodyPr wrap="square">
            <a:spAutoFit/>
          </a:bodyPr>
          <a:lstStyle/>
          <a:p>
            <a:r>
              <a:rPr lang="sv-SE" sz="2400" b="1" err="1">
                <a:solidFill>
                  <a:srgbClr val="CC0033"/>
                </a:solidFill>
                <a:latin typeface="+mj-lt"/>
                <a:cs typeface="Arial" panose="020B0604020202020204" pitchFamily="34" charset="0"/>
              </a:rPr>
              <a:t>Why</a:t>
            </a:r>
            <a:r>
              <a:rPr lang="sv-SE" sz="2400" b="1">
                <a:solidFill>
                  <a:srgbClr val="CC0033"/>
                </a:solidFill>
                <a:latin typeface="+mj-lt"/>
                <a:cs typeface="Arial" panose="020B0604020202020204" pitchFamily="34" charset="0"/>
              </a:rPr>
              <a:t> is </a:t>
            </a:r>
            <a:r>
              <a:rPr lang="sv-SE" sz="2400" b="1" err="1">
                <a:solidFill>
                  <a:srgbClr val="CC0033"/>
                </a:solidFill>
                <a:latin typeface="+mj-lt"/>
                <a:cs typeface="Arial" panose="020B0604020202020204" pitchFamily="34" charset="0"/>
              </a:rPr>
              <a:t>retrofit</a:t>
            </a:r>
            <a:r>
              <a:rPr lang="sv-SE" sz="2400" b="1">
                <a:solidFill>
                  <a:srgbClr val="CC0033"/>
                </a:solidFill>
                <a:latin typeface="+mj-lt"/>
                <a:cs typeface="Arial" panose="020B0604020202020204" pitchFamily="34" charset="0"/>
              </a:rPr>
              <a:t> </a:t>
            </a:r>
            <a:r>
              <a:rPr lang="sv-SE" sz="2400" b="1" err="1">
                <a:solidFill>
                  <a:srgbClr val="CC0033"/>
                </a:solidFill>
                <a:latin typeface="+mj-lt"/>
                <a:cs typeface="Arial" panose="020B0604020202020204" pitchFamily="34" charset="0"/>
              </a:rPr>
              <a:t>needed</a:t>
            </a:r>
            <a:r>
              <a:rPr lang="sv-SE" sz="2400" b="1">
                <a:solidFill>
                  <a:srgbClr val="CC0033"/>
                </a:solidFill>
                <a:latin typeface="+mj-lt"/>
                <a:cs typeface="Arial" panose="020B0604020202020204" pitchFamily="34" charset="0"/>
              </a:rPr>
              <a:t> at FERTIBERIA?</a:t>
            </a:r>
          </a:p>
        </p:txBody>
      </p:sp>
      <p:sp>
        <p:nvSpPr>
          <p:cNvPr id="24" name="TextBox 23">
            <a:extLst>
              <a:ext uri="{FF2B5EF4-FFF2-40B4-BE49-F238E27FC236}">
                <a16:creationId xmlns:a16="http://schemas.microsoft.com/office/drawing/2014/main" id="{937FCD4A-B1F9-4E69-A0BA-D616BDBFF034}"/>
              </a:ext>
            </a:extLst>
          </p:cNvPr>
          <p:cNvSpPr txBox="1"/>
          <p:nvPr/>
        </p:nvSpPr>
        <p:spPr>
          <a:xfrm>
            <a:off x="711552" y="4929056"/>
            <a:ext cx="9144000" cy="461665"/>
          </a:xfrm>
          <a:prstGeom prst="rect">
            <a:avLst/>
          </a:prstGeom>
          <a:noFill/>
        </p:spPr>
        <p:txBody>
          <a:bodyPr wrap="square">
            <a:spAutoFit/>
          </a:bodyPr>
          <a:lstStyle/>
          <a:p>
            <a:r>
              <a:rPr lang="sv-SE" sz="2400" b="1" err="1">
                <a:solidFill>
                  <a:srgbClr val="CC0033"/>
                </a:solidFill>
                <a:latin typeface="+mj-lt"/>
                <a:cs typeface="Arial" panose="020B0604020202020204" pitchFamily="34" charset="0"/>
              </a:rPr>
              <a:t>Where</a:t>
            </a:r>
            <a:r>
              <a:rPr lang="sv-SE" sz="2400" b="1">
                <a:solidFill>
                  <a:srgbClr val="CC0033"/>
                </a:solidFill>
                <a:latin typeface="+mj-lt"/>
                <a:cs typeface="Arial" panose="020B0604020202020204" pitchFamily="34" charset="0"/>
              </a:rPr>
              <a:t> is </a:t>
            </a:r>
            <a:r>
              <a:rPr lang="sv-SE" sz="2400" b="1" err="1">
                <a:solidFill>
                  <a:srgbClr val="CC0033"/>
                </a:solidFill>
                <a:latin typeface="+mj-lt"/>
                <a:cs typeface="Arial" panose="020B0604020202020204" pitchFamily="34" charset="0"/>
              </a:rPr>
              <a:t>retrofit</a:t>
            </a:r>
            <a:r>
              <a:rPr lang="sv-SE" sz="2400" b="1">
                <a:solidFill>
                  <a:srgbClr val="CC0033"/>
                </a:solidFill>
                <a:latin typeface="+mj-lt"/>
                <a:cs typeface="Arial" panose="020B0604020202020204" pitchFamily="34" charset="0"/>
              </a:rPr>
              <a:t> </a:t>
            </a:r>
            <a:r>
              <a:rPr lang="sv-SE" sz="2400" b="1" err="1">
                <a:solidFill>
                  <a:srgbClr val="CC0033"/>
                </a:solidFill>
                <a:latin typeface="+mj-lt"/>
                <a:cs typeface="Arial" panose="020B0604020202020204" pitchFamily="34" charset="0"/>
              </a:rPr>
              <a:t>needed</a:t>
            </a:r>
            <a:r>
              <a:rPr lang="sv-SE" sz="2400" b="1">
                <a:solidFill>
                  <a:srgbClr val="CC0033"/>
                </a:solidFill>
                <a:latin typeface="+mj-lt"/>
                <a:cs typeface="Arial" panose="020B0604020202020204" pitchFamily="34" charset="0"/>
              </a:rPr>
              <a:t> at FERTIBERIA?</a:t>
            </a:r>
          </a:p>
        </p:txBody>
      </p:sp>
      <p:sp>
        <p:nvSpPr>
          <p:cNvPr id="25" name="TextBox 24">
            <a:extLst>
              <a:ext uri="{FF2B5EF4-FFF2-40B4-BE49-F238E27FC236}">
                <a16:creationId xmlns:a16="http://schemas.microsoft.com/office/drawing/2014/main" id="{0ECC9F57-CF49-4DE9-A193-ACA3C8FEE863}"/>
              </a:ext>
            </a:extLst>
          </p:cNvPr>
          <p:cNvSpPr txBox="1"/>
          <p:nvPr/>
        </p:nvSpPr>
        <p:spPr>
          <a:xfrm>
            <a:off x="1383666" y="7887277"/>
            <a:ext cx="15558543" cy="1045223"/>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anchor="ctr">
            <a:spAutoFit/>
          </a:bodyPr>
          <a:lstStyle/>
          <a:p>
            <a:pPr>
              <a:lnSpc>
                <a:spcPct val="150000"/>
              </a:lnSpc>
            </a:pPr>
            <a:r>
              <a:rPr lang="es-ES" sz="2200" err="1"/>
              <a:t>With</a:t>
            </a:r>
            <a:r>
              <a:rPr lang="es-ES" sz="2200"/>
              <a:t> </a:t>
            </a:r>
            <a:r>
              <a:rPr lang="es-ES" sz="2200" err="1"/>
              <a:t>these</a:t>
            </a:r>
            <a:r>
              <a:rPr lang="es-ES" sz="2200"/>
              <a:t> </a:t>
            </a:r>
            <a:r>
              <a:rPr lang="es-ES" sz="2200" err="1"/>
              <a:t>actions</a:t>
            </a:r>
            <a:r>
              <a:rPr lang="es-ES" sz="2200"/>
              <a:t>, </a:t>
            </a:r>
            <a:r>
              <a:rPr lang="es-ES" sz="2200" err="1"/>
              <a:t>it</a:t>
            </a:r>
            <a:r>
              <a:rPr lang="es-ES" sz="2200"/>
              <a:t> </a:t>
            </a:r>
            <a:r>
              <a:rPr lang="es-ES" sz="2200" err="1"/>
              <a:t>is</a:t>
            </a:r>
            <a:r>
              <a:rPr lang="es-ES" sz="2200"/>
              <a:t> </a:t>
            </a:r>
            <a:r>
              <a:rPr lang="es-ES" sz="2200" err="1"/>
              <a:t>expected</a:t>
            </a:r>
            <a:r>
              <a:rPr lang="es-ES" sz="2200"/>
              <a:t> </a:t>
            </a:r>
            <a:r>
              <a:rPr lang="es-ES" sz="2200" err="1"/>
              <a:t>to</a:t>
            </a:r>
            <a:r>
              <a:rPr lang="es-ES" sz="2200"/>
              <a:t> </a:t>
            </a:r>
            <a:r>
              <a:rPr lang="es-ES" sz="2200" err="1"/>
              <a:t>achieve</a:t>
            </a:r>
            <a:r>
              <a:rPr lang="es-ES" sz="2200"/>
              <a:t> </a:t>
            </a:r>
            <a:r>
              <a:rPr lang="es-ES" sz="2200" err="1"/>
              <a:t>energy</a:t>
            </a:r>
            <a:r>
              <a:rPr lang="es-ES" sz="2200"/>
              <a:t> </a:t>
            </a:r>
            <a:r>
              <a:rPr lang="es-ES" sz="2200" err="1"/>
              <a:t>consumption</a:t>
            </a:r>
            <a:r>
              <a:rPr lang="es-ES" sz="2200"/>
              <a:t> </a:t>
            </a:r>
            <a:r>
              <a:rPr lang="es-ES" sz="2200" err="1"/>
              <a:t>reduction</a:t>
            </a:r>
            <a:r>
              <a:rPr lang="es-ES" sz="2200"/>
              <a:t> (Steam) and </a:t>
            </a:r>
            <a:r>
              <a:rPr lang="es-ES" sz="2200" err="1"/>
              <a:t>contribute</a:t>
            </a:r>
            <a:r>
              <a:rPr lang="es-ES" sz="2200"/>
              <a:t> </a:t>
            </a:r>
            <a:r>
              <a:rPr lang="es-ES" sz="2200" err="1"/>
              <a:t>to</a:t>
            </a:r>
            <a:r>
              <a:rPr lang="es-ES" sz="2200"/>
              <a:t> circular </a:t>
            </a:r>
            <a:r>
              <a:rPr lang="es-ES" sz="2200" err="1"/>
              <a:t>economy</a:t>
            </a:r>
            <a:r>
              <a:rPr lang="es-ES" sz="2200"/>
              <a:t> and industrial </a:t>
            </a:r>
            <a:r>
              <a:rPr lang="es-ES" sz="2200" err="1"/>
              <a:t>symbiosis</a:t>
            </a:r>
            <a:r>
              <a:rPr lang="es-ES" sz="2200"/>
              <a:t> </a:t>
            </a:r>
            <a:r>
              <a:rPr lang="es-ES" sz="2200" err="1"/>
              <a:t>by</a:t>
            </a:r>
            <a:r>
              <a:rPr lang="es-ES" sz="2200"/>
              <a:t> </a:t>
            </a:r>
            <a:r>
              <a:rPr lang="es-ES" sz="2200" err="1"/>
              <a:t>using</a:t>
            </a:r>
            <a:r>
              <a:rPr lang="es-ES" sz="2200"/>
              <a:t> </a:t>
            </a:r>
            <a:r>
              <a:rPr lang="es-ES" sz="2200" err="1"/>
              <a:t>waste</a:t>
            </a:r>
            <a:r>
              <a:rPr lang="es-ES" sz="2200"/>
              <a:t> </a:t>
            </a:r>
            <a:r>
              <a:rPr lang="es-ES" sz="2200" err="1"/>
              <a:t>streams</a:t>
            </a:r>
            <a:r>
              <a:rPr lang="es-ES" sz="2200"/>
              <a:t> </a:t>
            </a:r>
            <a:r>
              <a:rPr lang="es-ES" sz="2200" err="1"/>
              <a:t>from</a:t>
            </a:r>
            <a:r>
              <a:rPr lang="es-ES" sz="2200"/>
              <a:t> </a:t>
            </a:r>
            <a:r>
              <a:rPr lang="es-ES" sz="2200" err="1"/>
              <a:t>other</a:t>
            </a:r>
            <a:r>
              <a:rPr lang="es-ES" sz="2200"/>
              <a:t> industries in </a:t>
            </a:r>
            <a:r>
              <a:rPr lang="es-ES" sz="2200" err="1"/>
              <a:t>replacement</a:t>
            </a:r>
            <a:r>
              <a:rPr lang="es-ES" sz="2200"/>
              <a:t> </a:t>
            </a:r>
            <a:r>
              <a:rPr lang="es-ES" sz="2200" err="1"/>
              <a:t>from</a:t>
            </a:r>
            <a:r>
              <a:rPr lang="es-ES" sz="2200"/>
              <a:t> </a:t>
            </a:r>
            <a:r>
              <a:rPr lang="es-ES" sz="2200" err="1"/>
              <a:t>virgin</a:t>
            </a:r>
            <a:r>
              <a:rPr lang="es-ES" sz="2200"/>
              <a:t> P and S </a:t>
            </a:r>
            <a:r>
              <a:rPr lang="es-ES" sz="2200" err="1"/>
              <a:t>sources</a:t>
            </a:r>
            <a:endParaRPr lang="sv-SE" sz="2200"/>
          </a:p>
        </p:txBody>
      </p:sp>
      <p:pic>
        <p:nvPicPr>
          <p:cNvPr id="3" name="Picture 2">
            <a:extLst>
              <a:ext uri="{FF2B5EF4-FFF2-40B4-BE49-F238E27FC236}">
                <a16:creationId xmlns:a16="http://schemas.microsoft.com/office/drawing/2014/main" id="{B9E734F6-C82D-40CA-A00A-01FCB4862063}"/>
              </a:ext>
            </a:extLst>
          </p:cNvPr>
          <p:cNvPicPr>
            <a:picLocks noChangeAspect="1"/>
          </p:cNvPicPr>
          <p:nvPr/>
        </p:nvPicPr>
        <p:blipFill>
          <a:blip r:embed="rId6"/>
          <a:stretch>
            <a:fillRect/>
          </a:stretch>
        </p:blipFill>
        <p:spPr>
          <a:xfrm>
            <a:off x="14082909" y="1840524"/>
            <a:ext cx="3176419" cy="2814401"/>
          </a:xfrm>
          <a:prstGeom prst="rect">
            <a:avLst/>
          </a:prstGeom>
        </p:spPr>
      </p:pic>
      <p:sp>
        <p:nvSpPr>
          <p:cNvPr id="30" name="TextBox 29">
            <a:extLst>
              <a:ext uri="{FF2B5EF4-FFF2-40B4-BE49-F238E27FC236}">
                <a16:creationId xmlns:a16="http://schemas.microsoft.com/office/drawing/2014/main" id="{9F84E796-4BF5-4524-A28B-FCAF5DBF90B2}"/>
              </a:ext>
            </a:extLst>
          </p:cNvPr>
          <p:cNvSpPr txBox="1"/>
          <p:nvPr/>
        </p:nvSpPr>
        <p:spPr>
          <a:xfrm>
            <a:off x="14400027" y="4760400"/>
            <a:ext cx="2542182" cy="307777"/>
          </a:xfrm>
          <a:prstGeom prst="rect">
            <a:avLst/>
          </a:prstGeom>
          <a:noFill/>
        </p:spPr>
        <p:txBody>
          <a:bodyPr wrap="square" rtlCol="0">
            <a:spAutoFit/>
          </a:bodyPr>
          <a:lstStyle/>
          <a:p>
            <a:pPr algn="ctr"/>
            <a:r>
              <a:rPr lang="sv-SE" sz="1400" kern="100">
                <a:solidFill>
                  <a:srgbClr val="404040"/>
                </a:solidFill>
                <a:latin typeface="Arial (body)"/>
              </a:rPr>
              <a:t>NPK </a:t>
            </a:r>
            <a:r>
              <a:rPr lang="sv-SE" sz="1400" kern="100" err="1">
                <a:solidFill>
                  <a:srgbClr val="404040"/>
                </a:solidFill>
                <a:latin typeface="Arial (body)"/>
              </a:rPr>
              <a:t>fertilizers</a:t>
            </a:r>
            <a:r>
              <a:rPr lang="sv-SE" sz="1400" kern="100">
                <a:solidFill>
                  <a:srgbClr val="404040"/>
                </a:solidFill>
                <a:latin typeface="Arial (body)"/>
              </a:rPr>
              <a:t> from </a:t>
            </a:r>
            <a:r>
              <a:rPr lang="sv-SE" sz="1400" kern="100" err="1">
                <a:solidFill>
                  <a:srgbClr val="404040"/>
                </a:solidFill>
                <a:latin typeface="Arial (body)"/>
              </a:rPr>
              <a:t>Fertiberia</a:t>
            </a:r>
            <a:endParaRPr lang="sv-SE" sz="1400" kern="100">
              <a:solidFill>
                <a:srgbClr val="404040"/>
              </a:solidFill>
              <a:latin typeface="Arial (body)"/>
            </a:endParaRPr>
          </a:p>
        </p:txBody>
      </p:sp>
    </p:spTree>
    <p:extLst>
      <p:ext uri="{BB962C8B-B14F-4D97-AF65-F5344CB8AC3E}">
        <p14:creationId xmlns:p14="http://schemas.microsoft.com/office/powerpoint/2010/main" val="62425294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descr="A close up of a road&#10;&#10;Description automatically generated">
            <a:extLst>
              <a:ext uri="{FF2B5EF4-FFF2-40B4-BE49-F238E27FC236}">
                <a16:creationId xmlns:a16="http://schemas.microsoft.com/office/drawing/2014/main" id="{8D6F7200-C8C8-4924-A4EC-00672247B088}"/>
              </a:ext>
            </a:extLst>
          </p:cNvPr>
          <p:cNvPicPr>
            <a:picLocks noChangeAspect="1"/>
          </p:cNvPicPr>
          <p:nvPr/>
        </p:nvPicPr>
        <p:blipFill>
          <a:blip r:embed="rId3" cstate="print">
            <a:alphaModFix amt="20000"/>
            <a:extLst>
              <a:ext uri="{28A0092B-C50C-407E-A947-70E740481C1C}">
                <a14:useLocalDpi xmlns:a14="http://schemas.microsoft.com/office/drawing/2010/main" val="0"/>
              </a:ext>
            </a:extLst>
          </a:blip>
          <a:stretch>
            <a:fillRect/>
          </a:stretch>
        </p:blipFill>
        <p:spPr>
          <a:xfrm>
            <a:off x="286074" y="3040002"/>
            <a:ext cx="17715829" cy="5821477"/>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6"/>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4"/>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5"/>
          <a:srcRect/>
          <a:stretch>
            <a:fillRect/>
          </a:stretch>
        </p:blipFill>
        <p:spPr>
          <a:xfrm>
            <a:off x="0" y="8901113"/>
            <a:ext cx="5715000" cy="1385887"/>
          </a:xfrm>
          <a:prstGeom prst="rect">
            <a:avLst/>
          </a:prstGeom>
        </p:spPr>
      </p:pic>
      <p:grpSp>
        <p:nvGrpSpPr>
          <p:cNvPr id="2" name="Gruppo 1">
            <a:extLst>
              <a:ext uri="{FF2B5EF4-FFF2-40B4-BE49-F238E27FC236}">
                <a16:creationId xmlns:a16="http://schemas.microsoft.com/office/drawing/2014/main" id="{D8D71BB5-458F-411D-AFA9-C648954E9F40}"/>
              </a:ext>
            </a:extLst>
          </p:cNvPr>
          <p:cNvGrpSpPr/>
          <p:nvPr/>
        </p:nvGrpSpPr>
        <p:grpSpPr>
          <a:xfrm>
            <a:off x="-12" y="138554"/>
            <a:ext cx="18288002" cy="681138"/>
            <a:chOff x="-12" y="138554"/>
            <a:chExt cx="18288002" cy="681138"/>
          </a:xfrm>
        </p:grpSpPr>
        <p:grpSp>
          <p:nvGrpSpPr>
            <p:cNvPr id="16" name="Gruppo 15">
              <a:extLst>
                <a:ext uri="{FF2B5EF4-FFF2-40B4-BE49-F238E27FC236}">
                  <a16:creationId xmlns:a16="http://schemas.microsoft.com/office/drawing/2014/main" id="{DAC42A46-917D-41AB-8F07-E15E54D0F7D4}"/>
                </a:ext>
              </a:extLst>
            </p:cNvPr>
            <p:cNvGrpSpPr/>
            <p:nvPr/>
          </p:nvGrpSpPr>
          <p:grpSpPr>
            <a:xfrm>
              <a:off x="0" y="153125"/>
              <a:ext cx="13958844" cy="666567"/>
              <a:chOff x="0" y="153125"/>
              <a:chExt cx="13958844" cy="666567"/>
            </a:xfrm>
          </p:grpSpPr>
          <p:pic>
            <p:nvPicPr>
              <p:cNvPr id="10" name="Picture 10"/>
              <p:cNvPicPr>
                <a:picLocks noChangeAspect="1"/>
              </p:cNvPicPr>
              <p:nvPr/>
            </p:nvPicPr>
            <p:blipFill>
              <a:blip r:embed="rId6"/>
              <a:srcRect l="134" t="91287" b="3943"/>
              <a:stretch>
                <a:fillRect/>
              </a:stretch>
            </p:blipFill>
            <p:spPr>
              <a:xfrm>
                <a:off x="0" y="153125"/>
                <a:ext cx="13958844" cy="666567"/>
              </a:xfrm>
              <a:prstGeom prst="rect">
                <a:avLst/>
              </a:prstGeom>
            </p:spPr>
          </p:pic>
          <p:sp>
            <p:nvSpPr>
              <p:cNvPr id="11" name="TextBox 11"/>
              <p:cNvSpPr txBox="1"/>
              <p:nvPr/>
            </p:nvSpPr>
            <p:spPr>
              <a:xfrm>
                <a:off x="228600" y="257980"/>
                <a:ext cx="5752704" cy="456856"/>
              </a:xfrm>
              <a:prstGeom prst="rect">
                <a:avLst/>
              </a:prstGeom>
            </p:spPr>
            <p:txBody>
              <a:bodyPr wrap="square" lIns="0" tIns="0" rIns="0" bIns="0" rtlCol="0" anchor="t">
                <a:spAutoFit/>
              </a:bodyPr>
              <a:lstStyle/>
              <a:p>
                <a:pPr>
                  <a:lnSpc>
                    <a:spcPts val="3919"/>
                  </a:lnSpc>
                  <a:spcBef>
                    <a:spcPct val="0"/>
                  </a:spcBef>
                </a:pPr>
                <a:endParaRPr lang="en-US" sz="2800" b="1">
                  <a:solidFill>
                    <a:srgbClr val="FFFFFF"/>
                  </a:solidFill>
                  <a:latin typeface="Arial" panose="020B0604020202020204" pitchFamily="34" charset="0"/>
                  <a:cs typeface="Arial" panose="020B0604020202020204" pitchFamily="34" charset="0"/>
                </a:endParaRPr>
              </a:p>
            </p:txBody>
          </p:sp>
        </p:grpSp>
        <p:sp>
          <p:nvSpPr>
            <p:cNvPr id="12" name="Rettangolo 11">
              <a:extLst>
                <a:ext uri="{FF2B5EF4-FFF2-40B4-BE49-F238E27FC236}">
                  <a16:creationId xmlns:a16="http://schemas.microsoft.com/office/drawing/2014/main" id="{F2E90E36-F5DF-479E-BF3B-C6F6A1CEA4E7}"/>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9" name="TextBox 14">
            <a:extLst>
              <a:ext uri="{FF2B5EF4-FFF2-40B4-BE49-F238E27FC236}">
                <a16:creationId xmlns:a16="http://schemas.microsoft.com/office/drawing/2014/main" id="{B5C457C5-5E6A-4DD1-9F95-583C431D5128}"/>
              </a:ext>
            </a:extLst>
          </p:cNvPr>
          <p:cNvSpPr txBox="1"/>
          <p:nvPr/>
        </p:nvSpPr>
        <p:spPr>
          <a:xfrm>
            <a:off x="773531" y="4711033"/>
            <a:ext cx="7162789" cy="2462213"/>
          </a:xfrm>
          <a:prstGeom prst="rect">
            <a:avLst/>
          </a:prstGeom>
        </p:spPr>
        <p:txBody>
          <a:bodyPr wrap="square" lIns="0" tIns="0" rIns="0" bIns="0" rtlCol="0" anchor="t">
            <a:spAutoFit/>
          </a:bodyPr>
          <a:lstStyle/>
          <a:p>
            <a:pPr>
              <a:buClr>
                <a:schemeClr val="accent5"/>
              </a:buClr>
            </a:pPr>
            <a:r>
              <a:rPr lang="en-US" sz="3200" b="1">
                <a:solidFill>
                  <a:schemeClr val="accent1"/>
                </a:solidFill>
              </a:rPr>
              <a:t>Retrofitting actions</a:t>
            </a:r>
          </a:p>
          <a:p>
            <a:pPr>
              <a:buClr>
                <a:schemeClr val="accent5"/>
              </a:buClr>
            </a:pPr>
            <a:endParaRPr lang="en-US" sz="3200" b="1"/>
          </a:p>
          <a:p>
            <a:pPr marL="457200" indent="-457200">
              <a:buClr>
                <a:srgbClr val="CC0033"/>
              </a:buClr>
              <a:buFont typeface="Wingdings" panose="05000000000000000000" pitchFamily="2" charset="2"/>
              <a:buChar char="ü"/>
            </a:pPr>
            <a:r>
              <a:rPr lang="en-US" sz="3200" b="1"/>
              <a:t>New design of an in-line reactor for alternative phosphorus sources. </a:t>
            </a:r>
            <a:endParaRPr lang="es-ES" sz="3200" b="1"/>
          </a:p>
        </p:txBody>
      </p:sp>
      <p:sp>
        <p:nvSpPr>
          <p:cNvPr id="26" name="TextBox 14">
            <a:extLst>
              <a:ext uri="{FF2B5EF4-FFF2-40B4-BE49-F238E27FC236}">
                <a16:creationId xmlns:a16="http://schemas.microsoft.com/office/drawing/2014/main" id="{7D36EA49-80B0-4761-8A24-F05F322EAC77}"/>
              </a:ext>
            </a:extLst>
          </p:cNvPr>
          <p:cNvSpPr txBox="1"/>
          <p:nvPr/>
        </p:nvSpPr>
        <p:spPr>
          <a:xfrm>
            <a:off x="9372601" y="3242306"/>
            <a:ext cx="8511346" cy="5170646"/>
          </a:xfrm>
          <a:prstGeom prst="rect">
            <a:avLst/>
          </a:prstGeom>
        </p:spPr>
        <p:txBody>
          <a:bodyPr wrap="square" lIns="0" tIns="0" rIns="0" bIns="0" rtlCol="0" anchor="t">
            <a:spAutoFit/>
          </a:bodyPr>
          <a:lstStyle/>
          <a:p>
            <a:pPr>
              <a:buClr>
                <a:schemeClr val="accent5"/>
              </a:buClr>
            </a:pPr>
            <a:r>
              <a:rPr lang="en-US" sz="2800" b="1">
                <a:solidFill>
                  <a:schemeClr val="accent2">
                    <a:lumMod val="75000"/>
                  </a:schemeClr>
                </a:solidFill>
              </a:rPr>
              <a:t>Goals</a:t>
            </a:r>
          </a:p>
          <a:p>
            <a:pPr>
              <a:buClr>
                <a:schemeClr val="accent5"/>
              </a:buClr>
            </a:pPr>
            <a:endParaRPr lang="en-US" sz="2800" b="1"/>
          </a:p>
          <a:p>
            <a:pPr marL="457200" indent="-457200">
              <a:buClr>
                <a:schemeClr val="accent2">
                  <a:lumMod val="75000"/>
                </a:schemeClr>
              </a:buClr>
              <a:buFont typeface="Wingdings" panose="05000000000000000000" pitchFamily="2" charset="2"/>
              <a:buChar char="ü"/>
            </a:pPr>
            <a:r>
              <a:rPr lang="en-GB" sz="2800" b="1"/>
              <a:t>Replace at least 10% of the currently used phosphorous sources.</a:t>
            </a:r>
          </a:p>
          <a:p>
            <a:pPr marL="457200" indent="-457200">
              <a:buClr>
                <a:srgbClr val="99CC99"/>
              </a:buClr>
              <a:buFont typeface="Wingdings" panose="05000000000000000000" pitchFamily="2" charset="2"/>
              <a:buChar char="ü"/>
            </a:pPr>
            <a:endParaRPr lang="en-GB" sz="2800" b="1"/>
          </a:p>
          <a:p>
            <a:pPr marL="457200" indent="-457200">
              <a:buClr>
                <a:schemeClr val="accent2">
                  <a:lumMod val="75000"/>
                </a:schemeClr>
              </a:buClr>
              <a:buFont typeface="Wingdings" panose="05000000000000000000" pitchFamily="2" charset="2"/>
              <a:buChar char="ü"/>
            </a:pPr>
            <a:r>
              <a:rPr lang="en-GB" sz="2800" b="1"/>
              <a:t>Recover valuable raw materials from wastes such as ashes, </a:t>
            </a:r>
            <a:r>
              <a:rPr lang="en-GB" sz="2800" b="1" err="1"/>
              <a:t>struvites</a:t>
            </a:r>
            <a:r>
              <a:rPr lang="en-GB" sz="2800" b="1"/>
              <a:t>, etc.</a:t>
            </a:r>
          </a:p>
          <a:p>
            <a:pPr marL="457200" indent="-457200">
              <a:buClr>
                <a:srgbClr val="99CC99"/>
              </a:buClr>
              <a:buFont typeface="Wingdings" panose="05000000000000000000" pitchFamily="2" charset="2"/>
              <a:buChar char="ü"/>
            </a:pPr>
            <a:endParaRPr lang="en-US" sz="2800" b="1"/>
          </a:p>
          <a:p>
            <a:pPr marL="457200" indent="-457200">
              <a:buClr>
                <a:schemeClr val="accent2">
                  <a:lumMod val="75000"/>
                </a:schemeClr>
              </a:buClr>
              <a:buFont typeface="Wingdings" panose="05000000000000000000" pitchFamily="2" charset="2"/>
              <a:buChar char="ü"/>
            </a:pPr>
            <a:r>
              <a:rPr lang="en-US" sz="2800" b="1"/>
              <a:t>Reduction of cost and energy consumption (reduction of CO2 emission).</a:t>
            </a:r>
          </a:p>
          <a:p>
            <a:pPr marL="457200" indent="-457200">
              <a:buClr>
                <a:srgbClr val="99CC99"/>
              </a:buClr>
              <a:buFont typeface="Wingdings" panose="05000000000000000000" pitchFamily="2" charset="2"/>
              <a:buChar char="ü"/>
            </a:pPr>
            <a:endParaRPr lang="en-US" sz="2800" b="1"/>
          </a:p>
          <a:p>
            <a:pPr marL="457200" indent="-457200">
              <a:buClr>
                <a:schemeClr val="accent2">
                  <a:lumMod val="75000"/>
                </a:schemeClr>
              </a:buClr>
              <a:buFont typeface="Wingdings" panose="05000000000000000000" pitchFamily="2" charset="2"/>
              <a:buChar char="ü"/>
            </a:pPr>
            <a:r>
              <a:rPr lang="en-US" sz="2800" b="1"/>
              <a:t>M&amp;C system improvement.</a:t>
            </a:r>
            <a:endParaRPr lang="es-ES" sz="2800" b="1"/>
          </a:p>
        </p:txBody>
      </p:sp>
      <p:cxnSp>
        <p:nvCxnSpPr>
          <p:cNvPr id="21" name="Conector recto 20">
            <a:extLst>
              <a:ext uri="{FF2B5EF4-FFF2-40B4-BE49-F238E27FC236}">
                <a16:creationId xmlns:a16="http://schemas.microsoft.com/office/drawing/2014/main" id="{6FC5688E-FA35-45DB-8675-BD50E91004D5}"/>
              </a:ext>
            </a:extLst>
          </p:cNvPr>
          <p:cNvCxnSpPr>
            <a:cxnSpLocks/>
          </p:cNvCxnSpPr>
          <p:nvPr/>
        </p:nvCxnSpPr>
        <p:spPr>
          <a:xfrm>
            <a:off x="8915400" y="3040002"/>
            <a:ext cx="0" cy="2880000"/>
          </a:xfrm>
          <a:prstGeom prst="line">
            <a:avLst/>
          </a:prstGeom>
          <a:ln w="63500"/>
        </p:spPr>
        <p:style>
          <a:lnRef idx="1">
            <a:schemeClr val="accent1"/>
          </a:lnRef>
          <a:fillRef idx="0">
            <a:schemeClr val="accent1"/>
          </a:fillRef>
          <a:effectRef idx="0">
            <a:schemeClr val="accent1"/>
          </a:effectRef>
          <a:fontRef idx="minor">
            <a:schemeClr val="tx1"/>
          </a:fontRef>
        </p:style>
      </p:cxnSp>
      <p:cxnSp>
        <p:nvCxnSpPr>
          <p:cNvPr id="22" name="Conector recto 21">
            <a:extLst>
              <a:ext uri="{FF2B5EF4-FFF2-40B4-BE49-F238E27FC236}">
                <a16:creationId xmlns:a16="http://schemas.microsoft.com/office/drawing/2014/main" id="{BDDCA4B0-4414-4BBC-A6F3-7F4FC6B01A01}"/>
              </a:ext>
            </a:extLst>
          </p:cNvPr>
          <p:cNvCxnSpPr>
            <a:cxnSpLocks/>
          </p:cNvCxnSpPr>
          <p:nvPr/>
        </p:nvCxnSpPr>
        <p:spPr>
          <a:xfrm>
            <a:off x="8915400" y="5920002"/>
            <a:ext cx="0" cy="2981111"/>
          </a:xfrm>
          <a:prstGeom prst="line">
            <a:avLst/>
          </a:prstGeom>
          <a:ln w="63500">
            <a:solidFill>
              <a:srgbClr val="99CC99"/>
            </a:solidFill>
          </a:ln>
        </p:spPr>
        <p:style>
          <a:lnRef idx="1">
            <a:schemeClr val="accent1"/>
          </a:lnRef>
          <a:fillRef idx="0">
            <a:schemeClr val="accent1"/>
          </a:fillRef>
          <a:effectRef idx="0">
            <a:schemeClr val="accent1"/>
          </a:effectRef>
          <a:fontRef idx="minor">
            <a:schemeClr val="tx1"/>
          </a:fontRef>
        </p:style>
      </p:cxnSp>
      <p:pic>
        <p:nvPicPr>
          <p:cNvPr id="4" name="Imagen 117">
            <a:extLst>
              <a:ext uri="{FF2B5EF4-FFF2-40B4-BE49-F238E27FC236}">
                <a16:creationId xmlns:a16="http://schemas.microsoft.com/office/drawing/2014/main" id="{EB7893A8-61CD-43A4-B79A-81E1004AE936}"/>
              </a:ext>
            </a:extLst>
          </p:cNvPr>
          <p:cNvPicPr>
            <a:picLocks noChangeAspect="1"/>
          </p:cNvPicPr>
          <p:nvPr/>
        </p:nvPicPr>
        <p:blipFill>
          <a:blip r:embed="rId7"/>
          <a:stretch>
            <a:fillRect/>
          </a:stretch>
        </p:blipFill>
        <p:spPr>
          <a:xfrm>
            <a:off x="12924836" y="1187337"/>
            <a:ext cx="2950385" cy="1105105"/>
          </a:xfrm>
          <a:prstGeom prst="rect">
            <a:avLst/>
          </a:prstGeom>
        </p:spPr>
      </p:pic>
      <p:sp>
        <p:nvSpPr>
          <p:cNvPr id="24" name="TextBox 23">
            <a:extLst>
              <a:ext uri="{FF2B5EF4-FFF2-40B4-BE49-F238E27FC236}">
                <a16:creationId xmlns:a16="http://schemas.microsoft.com/office/drawing/2014/main" id="{B33BF360-6490-4FF4-B634-878D9753F424}"/>
              </a:ext>
            </a:extLst>
          </p:cNvPr>
          <p:cNvSpPr txBox="1"/>
          <p:nvPr/>
        </p:nvSpPr>
        <p:spPr>
          <a:xfrm>
            <a:off x="741949" y="1119170"/>
            <a:ext cx="11081084" cy="1569660"/>
          </a:xfrm>
          <a:prstGeom prst="rect">
            <a:avLst/>
          </a:prstGeom>
          <a:noFill/>
        </p:spPr>
        <p:txBody>
          <a:bodyPr wrap="square" lIns="91440" tIns="45720" rIns="91440" bIns="45720" anchor="t">
            <a:spAutoFit/>
          </a:bodyPr>
          <a:lstStyle/>
          <a:p>
            <a:r>
              <a:rPr lang="sv-SE" sz="4800" b="1" err="1">
                <a:solidFill>
                  <a:srgbClr val="CC0033"/>
                </a:solidFill>
                <a:latin typeface="+mj-lt"/>
                <a:cs typeface="Arial"/>
              </a:rPr>
              <a:t>Summary</a:t>
            </a:r>
            <a:r>
              <a:rPr lang="sv-SE" sz="4800" b="1">
                <a:solidFill>
                  <a:srgbClr val="CC0033"/>
                </a:solidFill>
                <a:latin typeface="+mj-lt"/>
                <a:cs typeface="Arial"/>
              </a:rPr>
              <a:t> </a:t>
            </a:r>
            <a:r>
              <a:rPr lang="sv-SE" sz="4800" b="1" err="1">
                <a:solidFill>
                  <a:srgbClr val="CC0033"/>
                </a:solidFill>
                <a:latin typeface="+mj-lt"/>
                <a:cs typeface="Arial"/>
              </a:rPr>
              <a:t>of</a:t>
            </a:r>
            <a:r>
              <a:rPr lang="sv-SE" sz="4800" b="1">
                <a:solidFill>
                  <a:srgbClr val="CC0033"/>
                </a:solidFill>
                <a:latin typeface="+mj-lt"/>
                <a:cs typeface="Arial"/>
              </a:rPr>
              <a:t> actions and </a:t>
            </a:r>
            <a:r>
              <a:rPr lang="sv-SE" sz="4800" b="1" err="1">
                <a:solidFill>
                  <a:srgbClr val="CC0033"/>
                </a:solidFill>
                <a:latin typeface="+mj-lt"/>
                <a:cs typeface="Arial"/>
              </a:rPr>
              <a:t>goals</a:t>
            </a:r>
            <a:r>
              <a:rPr lang="sv-SE" sz="4800" b="1">
                <a:solidFill>
                  <a:srgbClr val="CC0033"/>
                </a:solidFill>
                <a:latin typeface="+mj-lt"/>
                <a:cs typeface="Arial"/>
              </a:rPr>
              <a:t> </a:t>
            </a:r>
            <a:r>
              <a:rPr lang="sv-SE" sz="4800" b="1" err="1">
                <a:solidFill>
                  <a:srgbClr val="CC0033"/>
                </a:solidFill>
                <a:latin typeface="+mj-lt"/>
                <a:cs typeface="Arial"/>
              </a:rPr>
              <a:t>of</a:t>
            </a:r>
            <a:r>
              <a:rPr lang="sv-SE" sz="4800" b="1">
                <a:solidFill>
                  <a:srgbClr val="CC0033"/>
                </a:solidFill>
                <a:latin typeface="+mj-lt"/>
                <a:cs typeface="Arial"/>
              </a:rPr>
              <a:t> </a:t>
            </a:r>
            <a:r>
              <a:rPr lang="sv-SE" sz="4800" b="1" err="1">
                <a:solidFill>
                  <a:srgbClr val="CC0033"/>
                </a:solidFill>
                <a:latin typeface="+mj-lt"/>
                <a:cs typeface="Arial"/>
              </a:rPr>
              <a:t>FERTIBERIA</a:t>
            </a:r>
            <a:r>
              <a:rPr lang="sv-SE" sz="4800" b="1">
                <a:solidFill>
                  <a:srgbClr val="CC0033"/>
                </a:solidFill>
                <a:latin typeface="+mj-lt"/>
                <a:cs typeface="Arial"/>
              </a:rPr>
              <a:t> </a:t>
            </a:r>
            <a:r>
              <a:rPr lang="sv-SE" sz="4800" b="1" err="1">
                <a:solidFill>
                  <a:srgbClr val="CC0033"/>
                </a:solidFill>
                <a:latin typeface="+mj-lt"/>
                <a:cs typeface="Arial"/>
              </a:rPr>
              <a:t>retrofitting</a:t>
            </a:r>
            <a:endParaRPr lang="sv-SE" sz="4800" b="1" err="1">
              <a:solidFill>
                <a:srgbClr val="CC0033"/>
              </a:solidFill>
              <a:latin typeface="+mj-lt"/>
              <a:cs typeface="Arial" panose="020B0604020202020204" pitchFamily="34" charset="0"/>
            </a:endParaRPr>
          </a:p>
        </p:txBody>
      </p:sp>
    </p:spTree>
    <p:extLst>
      <p:ext uri="{BB962C8B-B14F-4D97-AF65-F5344CB8AC3E}">
        <p14:creationId xmlns:p14="http://schemas.microsoft.com/office/powerpoint/2010/main" val="1163249556"/>
      </p:ext>
    </p:extLst>
  </p:cSld>
  <p:clrMapOvr>
    <a:masterClrMapping/>
  </p:clrMapOvr>
  <mc:AlternateContent xmlns:mc="http://schemas.openxmlformats.org/markup-compatibility/2006" xmlns:p14="http://schemas.microsoft.com/office/powerpoint/2010/main">
    <mc:Choice Requires="p14">
      <p:transition spd="slow" p14:dur="2000" advTm="57810"/>
    </mc:Choice>
    <mc:Fallback xmlns="">
      <p:transition spd="slow" advTm="57810"/>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58" name="Rectangle 57">
            <a:extLst>
              <a:ext uri="{FF2B5EF4-FFF2-40B4-BE49-F238E27FC236}">
                <a16:creationId xmlns:a16="http://schemas.microsoft.com/office/drawing/2014/main" id="{289ED1AA-8684-4D37-B208-8777E1A7780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8283428" cy="10287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0" name="Graphic 33">
            <a:extLst>
              <a:ext uri="{FF2B5EF4-FFF2-40B4-BE49-F238E27FC236}">
                <a16:creationId xmlns:a16="http://schemas.microsoft.com/office/drawing/2014/main" id="{4180E01B-B1F4-437C-807D-1C930718EE6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966176" y="0"/>
            <a:ext cx="14355646" cy="10287000"/>
          </a:xfrm>
          <a:custGeom>
            <a:avLst/>
            <a:gdLst>
              <a:gd name="connsiteX0" fmla="*/ 7178288 w 7187261"/>
              <a:gd name="connsiteY0" fmla="*/ 2604802 h 5150263"/>
              <a:gd name="connsiteX1" fmla="*/ 7169335 w 7187261"/>
              <a:gd name="connsiteY1" fmla="*/ 2328577 h 5150263"/>
              <a:gd name="connsiteX2" fmla="*/ 7060845 w 7187261"/>
              <a:gd name="connsiteY2" fmla="*/ 1661160 h 5150263"/>
              <a:gd name="connsiteX3" fmla="*/ 6212263 w 7187261"/>
              <a:gd name="connsiteY3" fmla="*/ 243840 h 5150263"/>
              <a:gd name="connsiteX4" fmla="*/ 5953564 w 7187261"/>
              <a:gd name="connsiteY4" fmla="*/ 0 h 5150263"/>
              <a:gd name="connsiteX5" fmla="*/ 1408615 w 7187261"/>
              <a:gd name="connsiteY5" fmla="*/ 0 h 5150263"/>
              <a:gd name="connsiteX6" fmla="*/ 805111 w 7187261"/>
              <a:gd name="connsiteY6" fmla="*/ 676275 h 5150263"/>
              <a:gd name="connsiteX7" fmla="*/ 104928 w 7187261"/>
              <a:gd name="connsiteY7" fmla="*/ 2183035 h 5150263"/>
              <a:gd name="connsiteX8" fmla="*/ 51588 w 7187261"/>
              <a:gd name="connsiteY8" fmla="*/ 2400014 h 5150263"/>
              <a:gd name="connsiteX9" fmla="*/ 41301 w 7187261"/>
              <a:gd name="connsiteY9" fmla="*/ 2424208 h 5150263"/>
              <a:gd name="connsiteX10" fmla="*/ 119692 w 7187261"/>
              <a:gd name="connsiteY10" fmla="*/ 1834801 h 5150263"/>
              <a:gd name="connsiteX11" fmla="*/ 870071 w 7187261"/>
              <a:gd name="connsiteY11" fmla="*/ 462248 h 5150263"/>
              <a:gd name="connsiteX12" fmla="*/ 1389279 w 7187261"/>
              <a:gd name="connsiteY12" fmla="*/ 476 h 5150263"/>
              <a:gd name="connsiteX13" fmla="*/ 1320223 w 7187261"/>
              <a:gd name="connsiteY13" fmla="*/ 476 h 5150263"/>
              <a:gd name="connsiteX14" fmla="*/ 423158 w 7187261"/>
              <a:gd name="connsiteY14" fmla="*/ 989743 h 5150263"/>
              <a:gd name="connsiteX15" fmla="*/ 25585 w 7187261"/>
              <a:gd name="connsiteY15" fmla="*/ 2113693 h 5150263"/>
              <a:gd name="connsiteX16" fmla="*/ 2344 w 7187261"/>
              <a:gd name="connsiteY16" fmla="*/ 2725865 h 5150263"/>
              <a:gd name="connsiteX17" fmla="*/ 447256 w 7187261"/>
              <a:gd name="connsiteY17" fmla="*/ 4210717 h 5150263"/>
              <a:gd name="connsiteX18" fmla="*/ 1138962 w 7187261"/>
              <a:gd name="connsiteY18" fmla="*/ 4988910 h 5150263"/>
              <a:gd name="connsiteX19" fmla="*/ 1348512 w 7187261"/>
              <a:gd name="connsiteY19" fmla="*/ 5146834 h 5150263"/>
              <a:gd name="connsiteX20" fmla="*/ 1422712 w 7187261"/>
              <a:gd name="connsiteY20" fmla="*/ 5146834 h 5150263"/>
              <a:gd name="connsiteX21" fmla="*/ 480594 w 7187261"/>
              <a:gd name="connsiteY21" fmla="*/ 4187952 h 5150263"/>
              <a:gd name="connsiteX22" fmla="*/ 398679 w 7187261"/>
              <a:gd name="connsiteY22" fmla="*/ 4046125 h 5150263"/>
              <a:gd name="connsiteX23" fmla="*/ 411823 w 7187261"/>
              <a:gd name="connsiteY23" fmla="*/ 4053078 h 5150263"/>
              <a:gd name="connsiteX24" fmla="*/ 1439380 w 7187261"/>
              <a:gd name="connsiteY24" fmla="*/ 5147405 h 5150263"/>
              <a:gd name="connsiteX25" fmla="*/ 5710010 w 7187261"/>
              <a:gd name="connsiteY25" fmla="*/ 5150263 h 5150263"/>
              <a:gd name="connsiteX26" fmla="*/ 5999665 w 7187261"/>
              <a:gd name="connsiteY26" fmla="*/ 4910900 h 5150263"/>
              <a:gd name="connsiteX27" fmla="*/ 6954165 w 7187261"/>
              <a:gd name="connsiteY27" fmla="*/ 3545777 h 5150263"/>
              <a:gd name="connsiteX28" fmla="*/ 7137712 w 7187261"/>
              <a:gd name="connsiteY28" fmla="*/ 2799207 h 5150263"/>
              <a:gd name="connsiteX29" fmla="*/ 7142951 w 7187261"/>
              <a:gd name="connsiteY29" fmla="*/ 2754535 h 5150263"/>
              <a:gd name="connsiteX30" fmla="*/ 7149428 w 7187261"/>
              <a:gd name="connsiteY30" fmla="*/ 2774823 h 5150263"/>
              <a:gd name="connsiteX31" fmla="*/ 7066465 w 7187261"/>
              <a:gd name="connsiteY31" fmla="*/ 3465672 h 5150263"/>
              <a:gd name="connsiteX32" fmla="*/ 6452578 w 7187261"/>
              <a:gd name="connsiteY32" fmla="*/ 4552760 h 5150263"/>
              <a:gd name="connsiteX33" fmla="*/ 5752110 w 7187261"/>
              <a:gd name="connsiteY33" fmla="*/ 5150263 h 5150263"/>
              <a:gd name="connsiteX34" fmla="*/ 5827643 w 7187261"/>
              <a:gd name="connsiteY34" fmla="*/ 5150263 h 5150263"/>
              <a:gd name="connsiteX35" fmla="*/ 6642793 w 7187261"/>
              <a:gd name="connsiteY35" fmla="*/ 4389406 h 5150263"/>
              <a:gd name="connsiteX36" fmla="*/ 7102469 w 7187261"/>
              <a:gd name="connsiteY36" fmla="*/ 3490817 h 5150263"/>
              <a:gd name="connsiteX37" fmla="*/ 7187242 w 7187261"/>
              <a:gd name="connsiteY37" fmla="*/ 2990183 h 5150263"/>
              <a:gd name="connsiteX38" fmla="*/ 7178288 w 7187261"/>
              <a:gd name="connsiteY38" fmla="*/ 2604802 h 5150263"/>
              <a:gd name="connsiteX39" fmla="*/ 6342565 w 7187261"/>
              <a:gd name="connsiteY39" fmla="*/ 441389 h 5150263"/>
              <a:gd name="connsiteX40" fmla="*/ 7126567 w 7187261"/>
              <a:gd name="connsiteY40" fmla="*/ 2355056 h 5150263"/>
              <a:gd name="connsiteX41" fmla="*/ 6342565 w 7187261"/>
              <a:gd name="connsiteY41" fmla="*/ 441389 h 5150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187261" h="5150263">
                <a:moveTo>
                  <a:pt x="7178288" y="2604802"/>
                </a:moveTo>
                <a:cubicBezTo>
                  <a:pt x="7168763" y="2513076"/>
                  <a:pt x="7174478" y="2420684"/>
                  <a:pt x="7169335" y="2328577"/>
                </a:cubicBezTo>
                <a:cubicBezTo>
                  <a:pt x="7156952" y="2102882"/>
                  <a:pt x="7120586" y="1879149"/>
                  <a:pt x="7060845" y="1661160"/>
                </a:cubicBezTo>
                <a:cubicBezTo>
                  <a:pt x="6910588" y="1121007"/>
                  <a:pt x="6617428" y="631374"/>
                  <a:pt x="6212263" y="243840"/>
                </a:cubicBezTo>
                <a:cubicBezTo>
                  <a:pt x="6126538" y="162496"/>
                  <a:pt x="6040813" y="80201"/>
                  <a:pt x="5953564" y="0"/>
                </a:cubicBezTo>
                <a:lnTo>
                  <a:pt x="1408615" y="0"/>
                </a:lnTo>
                <a:cubicBezTo>
                  <a:pt x="1180967" y="200316"/>
                  <a:pt x="978332" y="427387"/>
                  <a:pt x="805111" y="676275"/>
                </a:cubicBezTo>
                <a:cubicBezTo>
                  <a:pt x="481261" y="1136523"/>
                  <a:pt x="252089" y="1640872"/>
                  <a:pt x="104928" y="2183035"/>
                </a:cubicBezTo>
                <a:cubicBezTo>
                  <a:pt x="85878" y="2254853"/>
                  <a:pt x="69495" y="2327720"/>
                  <a:pt x="51588" y="2400014"/>
                </a:cubicBezTo>
                <a:cubicBezTo>
                  <a:pt x="49683" y="2407634"/>
                  <a:pt x="51588" y="2416969"/>
                  <a:pt x="41301" y="2424208"/>
                </a:cubicBezTo>
                <a:cubicBezTo>
                  <a:pt x="45900" y="2225469"/>
                  <a:pt x="72186" y="2027834"/>
                  <a:pt x="119692" y="1834801"/>
                </a:cubicBezTo>
                <a:cubicBezTo>
                  <a:pt x="247993" y="1310926"/>
                  <a:pt x="506121" y="857726"/>
                  <a:pt x="870071" y="462248"/>
                </a:cubicBezTo>
                <a:cubicBezTo>
                  <a:pt x="1027729" y="291823"/>
                  <a:pt x="1201617" y="137169"/>
                  <a:pt x="1389279" y="476"/>
                </a:cubicBezTo>
                <a:lnTo>
                  <a:pt x="1320223" y="476"/>
                </a:lnTo>
                <a:cubicBezTo>
                  <a:pt x="960844" y="274320"/>
                  <a:pt x="656330" y="599123"/>
                  <a:pt x="423158" y="989743"/>
                </a:cubicBezTo>
                <a:cubicBezTo>
                  <a:pt x="215608" y="1337596"/>
                  <a:pt x="80258" y="1711357"/>
                  <a:pt x="25585" y="2113693"/>
                </a:cubicBezTo>
                <a:cubicBezTo>
                  <a:pt x="-2705" y="2316480"/>
                  <a:pt x="-2228" y="2521077"/>
                  <a:pt x="2344" y="2725865"/>
                </a:cubicBezTo>
                <a:cubicBezTo>
                  <a:pt x="14155" y="3261932"/>
                  <a:pt x="170650" y="3754565"/>
                  <a:pt x="447256" y="4210717"/>
                </a:cubicBezTo>
                <a:cubicBezTo>
                  <a:pt x="629851" y="4511612"/>
                  <a:pt x="866356" y="4767167"/>
                  <a:pt x="1138962" y="4988910"/>
                </a:cubicBezTo>
                <a:cubicBezTo>
                  <a:pt x="1207161" y="5044345"/>
                  <a:pt x="1277008" y="5096990"/>
                  <a:pt x="1348512" y="5146834"/>
                </a:cubicBezTo>
                <a:lnTo>
                  <a:pt x="1422712" y="5146834"/>
                </a:lnTo>
                <a:cubicBezTo>
                  <a:pt x="1043426" y="4892802"/>
                  <a:pt x="724720" y="4577334"/>
                  <a:pt x="480594" y="4187952"/>
                </a:cubicBezTo>
                <a:cubicBezTo>
                  <a:pt x="452019" y="4141851"/>
                  <a:pt x="423444" y="4095179"/>
                  <a:pt x="398679" y="4046125"/>
                </a:cubicBezTo>
                <a:cubicBezTo>
                  <a:pt x="407442" y="4043267"/>
                  <a:pt x="409156" y="4048982"/>
                  <a:pt x="411823" y="4053078"/>
                </a:cubicBezTo>
                <a:cubicBezTo>
                  <a:pt x="683572" y="4484656"/>
                  <a:pt x="1033139" y="4842701"/>
                  <a:pt x="1439380" y="5147405"/>
                </a:cubicBezTo>
                <a:lnTo>
                  <a:pt x="5710010" y="5150263"/>
                </a:lnTo>
                <a:cubicBezTo>
                  <a:pt x="5810594" y="5075482"/>
                  <a:pt x="5907272" y="4995587"/>
                  <a:pt x="5999665" y="4910900"/>
                </a:cubicBezTo>
                <a:cubicBezTo>
                  <a:pt x="6418765" y="4526661"/>
                  <a:pt x="6746901" y="4078129"/>
                  <a:pt x="6954165" y="3545777"/>
                </a:cubicBezTo>
                <a:cubicBezTo>
                  <a:pt x="7048234" y="3306175"/>
                  <a:pt x="7109956" y="3055115"/>
                  <a:pt x="7137712" y="2799207"/>
                </a:cubicBezTo>
                <a:cubicBezTo>
                  <a:pt x="7139236" y="2784920"/>
                  <a:pt x="7141046" y="2770632"/>
                  <a:pt x="7142951" y="2754535"/>
                </a:cubicBezTo>
                <a:cubicBezTo>
                  <a:pt x="7151714" y="2760440"/>
                  <a:pt x="7149237" y="2768441"/>
                  <a:pt x="7149428" y="2774823"/>
                </a:cubicBezTo>
                <a:cubicBezTo>
                  <a:pt x="7156743" y="3007967"/>
                  <a:pt x="7128777" y="3240881"/>
                  <a:pt x="7066465" y="3465672"/>
                </a:cubicBezTo>
                <a:cubicBezTo>
                  <a:pt x="6952165" y="3878580"/>
                  <a:pt x="6737948" y="4235863"/>
                  <a:pt x="6452578" y="4552760"/>
                </a:cubicBezTo>
                <a:cubicBezTo>
                  <a:pt x="6244553" y="4783836"/>
                  <a:pt x="6008809" y="4980242"/>
                  <a:pt x="5752110" y="5150263"/>
                </a:cubicBezTo>
                <a:lnTo>
                  <a:pt x="5827643" y="5150263"/>
                </a:lnTo>
                <a:cubicBezTo>
                  <a:pt x="6136539" y="4938904"/>
                  <a:pt x="6412192" y="4689348"/>
                  <a:pt x="6642793" y="4389406"/>
                </a:cubicBezTo>
                <a:cubicBezTo>
                  <a:pt x="6851295" y="4118324"/>
                  <a:pt x="7009125" y="3820859"/>
                  <a:pt x="7102469" y="3490817"/>
                </a:cubicBezTo>
                <a:cubicBezTo>
                  <a:pt x="7148646" y="3327473"/>
                  <a:pt x="7177069" y="3159624"/>
                  <a:pt x="7187242" y="2990183"/>
                </a:cubicBezTo>
                <a:cubicBezTo>
                  <a:pt x="7187623" y="2984087"/>
                  <a:pt x="7182384" y="2642330"/>
                  <a:pt x="7178288" y="2604802"/>
                </a:cubicBezTo>
                <a:close/>
                <a:moveTo>
                  <a:pt x="6342565" y="441389"/>
                </a:moveTo>
                <a:cubicBezTo>
                  <a:pt x="6829797" y="986533"/>
                  <a:pt x="7091135" y="1624422"/>
                  <a:pt x="7126567" y="2355056"/>
                </a:cubicBezTo>
                <a:cubicBezTo>
                  <a:pt x="7001123" y="1661827"/>
                  <a:pt x="6756426" y="1017365"/>
                  <a:pt x="6342565" y="441389"/>
                </a:cubicBez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Arial"/>
              <a:ea typeface="+mn-ea"/>
              <a:cs typeface="+mn-cs"/>
            </a:endParaRPr>
          </a:p>
        </p:txBody>
      </p:sp>
      <p:sp>
        <p:nvSpPr>
          <p:cNvPr id="4" name="Title 3">
            <a:extLst>
              <a:ext uri="{FF2B5EF4-FFF2-40B4-BE49-F238E27FC236}">
                <a16:creationId xmlns:a16="http://schemas.microsoft.com/office/drawing/2014/main" id="{B009CD84-DA40-4CAA-8A89-DD6DAA862368}"/>
              </a:ext>
            </a:extLst>
          </p:cNvPr>
          <p:cNvSpPr>
            <a:spLocks noGrp="1"/>
          </p:cNvSpPr>
          <p:nvPr>
            <p:ph type="title"/>
          </p:nvPr>
        </p:nvSpPr>
        <p:spPr>
          <a:xfrm>
            <a:off x="2819400" y="1485900"/>
            <a:ext cx="13502422" cy="4348463"/>
          </a:xfrm>
        </p:spPr>
        <p:txBody>
          <a:bodyPr vert="horz" lIns="91440" tIns="45720" rIns="91440" bIns="45720" rtlCol="0" anchor="b">
            <a:normAutofit/>
          </a:bodyPr>
          <a:lstStyle/>
          <a:p>
            <a:pPr indent="457200">
              <a:lnSpc>
                <a:spcPct val="90000"/>
              </a:lnSpc>
              <a:spcAft>
                <a:spcPts val="600"/>
              </a:spcAft>
            </a:pPr>
            <a:r>
              <a:rPr lang="en-GB" sz="6000" b="1" kern="1200" noProof="0" dirty="0">
                <a:solidFill>
                  <a:srgbClr val="FFFFFF"/>
                </a:solidFill>
                <a:latin typeface="+mj-lt"/>
                <a:ea typeface="+mj-ea"/>
                <a:cs typeface="+mj-cs"/>
              </a:rPr>
              <a:t>Chapter 2.5 </a:t>
            </a:r>
            <a:br>
              <a:rPr lang="en-GB" sz="6000" b="1" kern="1200" noProof="0" dirty="0">
                <a:solidFill>
                  <a:srgbClr val="FFFFFF"/>
                </a:solidFill>
                <a:latin typeface="+mj-lt"/>
                <a:ea typeface="+mj-ea"/>
                <a:cs typeface="+mj-cs"/>
              </a:rPr>
            </a:br>
            <a:r>
              <a:rPr lang="en-GB" sz="6000" b="1" noProof="0" dirty="0">
                <a:solidFill>
                  <a:srgbClr val="FFFFFF"/>
                </a:solidFill>
              </a:rPr>
              <a:t>Steel production</a:t>
            </a:r>
            <a:endParaRPr lang="en-GB" sz="6000" b="1" kern="1200" noProof="0" dirty="0">
              <a:solidFill>
                <a:srgbClr val="FFFFFF"/>
              </a:solidFill>
              <a:latin typeface="+mj-lt"/>
              <a:ea typeface="+mj-ea"/>
              <a:cs typeface="+mj-cs"/>
            </a:endParaRPr>
          </a:p>
        </p:txBody>
      </p:sp>
      <p:sp>
        <p:nvSpPr>
          <p:cNvPr id="62" name="sketch line">
            <a:extLst>
              <a:ext uri="{FF2B5EF4-FFF2-40B4-BE49-F238E27FC236}">
                <a16:creationId xmlns:a16="http://schemas.microsoft.com/office/drawing/2014/main" id="{41F77738-2AF0-4750-A0C7-F97C2C17590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961309" y="6260247"/>
            <a:ext cx="6365383" cy="27432"/>
          </a:xfrm>
          <a:custGeom>
            <a:avLst/>
            <a:gdLst>
              <a:gd name="connsiteX0" fmla="*/ 0 w 6365383"/>
              <a:gd name="connsiteY0" fmla="*/ 0 h 27432"/>
              <a:gd name="connsiteX1" fmla="*/ 636538 w 6365383"/>
              <a:gd name="connsiteY1" fmla="*/ 0 h 27432"/>
              <a:gd name="connsiteX2" fmla="*/ 1273077 w 6365383"/>
              <a:gd name="connsiteY2" fmla="*/ 0 h 27432"/>
              <a:gd name="connsiteX3" fmla="*/ 1909615 w 6365383"/>
              <a:gd name="connsiteY3" fmla="*/ 0 h 27432"/>
              <a:gd name="connsiteX4" fmla="*/ 2673461 w 6365383"/>
              <a:gd name="connsiteY4" fmla="*/ 0 h 27432"/>
              <a:gd name="connsiteX5" fmla="*/ 3373653 w 6365383"/>
              <a:gd name="connsiteY5" fmla="*/ 0 h 27432"/>
              <a:gd name="connsiteX6" fmla="*/ 3819230 w 6365383"/>
              <a:gd name="connsiteY6" fmla="*/ 0 h 27432"/>
              <a:gd name="connsiteX7" fmla="*/ 4392114 w 6365383"/>
              <a:gd name="connsiteY7" fmla="*/ 0 h 27432"/>
              <a:gd name="connsiteX8" fmla="*/ 5155960 w 6365383"/>
              <a:gd name="connsiteY8" fmla="*/ 0 h 27432"/>
              <a:gd name="connsiteX9" fmla="*/ 5792499 w 6365383"/>
              <a:gd name="connsiteY9" fmla="*/ 0 h 27432"/>
              <a:gd name="connsiteX10" fmla="*/ 6365383 w 6365383"/>
              <a:gd name="connsiteY10" fmla="*/ 0 h 27432"/>
              <a:gd name="connsiteX11" fmla="*/ 6365383 w 6365383"/>
              <a:gd name="connsiteY11" fmla="*/ 27432 h 27432"/>
              <a:gd name="connsiteX12" fmla="*/ 5856152 w 6365383"/>
              <a:gd name="connsiteY12" fmla="*/ 27432 h 27432"/>
              <a:gd name="connsiteX13" fmla="*/ 5092306 w 6365383"/>
              <a:gd name="connsiteY13" fmla="*/ 27432 h 27432"/>
              <a:gd name="connsiteX14" fmla="*/ 4583076 w 6365383"/>
              <a:gd name="connsiteY14" fmla="*/ 27432 h 27432"/>
              <a:gd name="connsiteX15" fmla="*/ 4137499 w 6365383"/>
              <a:gd name="connsiteY15" fmla="*/ 27432 h 27432"/>
              <a:gd name="connsiteX16" fmla="*/ 3691922 w 6365383"/>
              <a:gd name="connsiteY16" fmla="*/ 27432 h 27432"/>
              <a:gd name="connsiteX17" fmla="*/ 2991730 w 6365383"/>
              <a:gd name="connsiteY17" fmla="*/ 27432 h 27432"/>
              <a:gd name="connsiteX18" fmla="*/ 2546153 w 6365383"/>
              <a:gd name="connsiteY18" fmla="*/ 27432 h 27432"/>
              <a:gd name="connsiteX19" fmla="*/ 1909615 w 6365383"/>
              <a:gd name="connsiteY19" fmla="*/ 27432 h 27432"/>
              <a:gd name="connsiteX20" fmla="*/ 1400384 w 6365383"/>
              <a:gd name="connsiteY20" fmla="*/ 27432 h 27432"/>
              <a:gd name="connsiteX21" fmla="*/ 763846 w 6365383"/>
              <a:gd name="connsiteY21" fmla="*/ 27432 h 27432"/>
              <a:gd name="connsiteX22" fmla="*/ 0 w 6365383"/>
              <a:gd name="connsiteY22" fmla="*/ 27432 h 27432"/>
              <a:gd name="connsiteX23" fmla="*/ 0 w 6365383"/>
              <a:gd name="connsiteY23" fmla="*/ 0 h 27432"/>
              <a:gd name="connsiteX0" fmla="*/ 0 w 6365383"/>
              <a:gd name="connsiteY0" fmla="*/ 0 h 27432"/>
              <a:gd name="connsiteX1" fmla="*/ 572884 w 6365383"/>
              <a:gd name="connsiteY1" fmla="*/ 0 h 27432"/>
              <a:gd name="connsiteX2" fmla="*/ 1018461 w 6365383"/>
              <a:gd name="connsiteY2" fmla="*/ 0 h 27432"/>
              <a:gd name="connsiteX3" fmla="*/ 1782307 w 6365383"/>
              <a:gd name="connsiteY3" fmla="*/ 0 h 27432"/>
              <a:gd name="connsiteX4" fmla="*/ 2355192 w 6365383"/>
              <a:gd name="connsiteY4" fmla="*/ 0 h 27432"/>
              <a:gd name="connsiteX5" fmla="*/ 2928076 w 6365383"/>
              <a:gd name="connsiteY5" fmla="*/ 0 h 27432"/>
              <a:gd name="connsiteX6" fmla="*/ 3691922 w 6365383"/>
              <a:gd name="connsiteY6" fmla="*/ 0 h 27432"/>
              <a:gd name="connsiteX7" fmla="*/ 4201153 w 6365383"/>
              <a:gd name="connsiteY7" fmla="*/ 0 h 27432"/>
              <a:gd name="connsiteX8" fmla="*/ 4964999 w 6365383"/>
              <a:gd name="connsiteY8" fmla="*/ 0 h 27432"/>
              <a:gd name="connsiteX9" fmla="*/ 5728845 w 6365383"/>
              <a:gd name="connsiteY9" fmla="*/ 0 h 27432"/>
              <a:gd name="connsiteX10" fmla="*/ 6365383 w 6365383"/>
              <a:gd name="connsiteY10" fmla="*/ 0 h 27432"/>
              <a:gd name="connsiteX11" fmla="*/ 6365383 w 6365383"/>
              <a:gd name="connsiteY11" fmla="*/ 27432 h 27432"/>
              <a:gd name="connsiteX12" fmla="*/ 5665191 w 6365383"/>
              <a:gd name="connsiteY12" fmla="*/ 27432 h 27432"/>
              <a:gd name="connsiteX13" fmla="*/ 4901345 w 6365383"/>
              <a:gd name="connsiteY13" fmla="*/ 27432 h 27432"/>
              <a:gd name="connsiteX14" fmla="*/ 4137499 w 6365383"/>
              <a:gd name="connsiteY14" fmla="*/ 27432 h 27432"/>
              <a:gd name="connsiteX15" fmla="*/ 3628268 w 6365383"/>
              <a:gd name="connsiteY15" fmla="*/ 27432 h 27432"/>
              <a:gd name="connsiteX16" fmla="*/ 2991730 w 6365383"/>
              <a:gd name="connsiteY16" fmla="*/ 27432 h 27432"/>
              <a:gd name="connsiteX17" fmla="*/ 2227884 w 6365383"/>
              <a:gd name="connsiteY17" fmla="*/ 27432 h 27432"/>
              <a:gd name="connsiteX18" fmla="*/ 1591346 w 6365383"/>
              <a:gd name="connsiteY18" fmla="*/ 27432 h 27432"/>
              <a:gd name="connsiteX19" fmla="*/ 1145769 w 6365383"/>
              <a:gd name="connsiteY19" fmla="*/ 27432 h 27432"/>
              <a:gd name="connsiteX20" fmla="*/ 636538 w 6365383"/>
              <a:gd name="connsiteY20" fmla="*/ 27432 h 27432"/>
              <a:gd name="connsiteX21" fmla="*/ 0 w 6365383"/>
              <a:gd name="connsiteY21" fmla="*/ 27432 h 27432"/>
              <a:gd name="connsiteX22" fmla="*/ 0 w 6365383"/>
              <a:gd name="connsiteY22"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365383" h="27432" fill="none" extrusionOk="0">
                <a:moveTo>
                  <a:pt x="0" y="0"/>
                </a:moveTo>
                <a:cubicBezTo>
                  <a:pt x="311910" y="25756"/>
                  <a:pt x="328854" y="-22977"/>
                  <a:pt x="636538" y="0"/>
                </a:cubicBezTo>
                <a:cubicBezTo>
                  <a:pt x="929901" y="50670"/>
                  <a:pt x="1067253" y="-1993"/>
                  <a:pt x="1273077" y="0"/>
                </a:cubicBezTo>
                <a:cubicBezTo>
                  <a:pt x="1507620" y="-24857"/>
                  <a:pt x="1747799" y="-10413"/>
                  <a:pt x="1909615" y="0"/>
                </a:cubicBezTo>
                <a:cubicBezTo>
                  <a:pt x="2041097" y="-21585"/>
                  <a:pt x="2422417" y="-28022"/>
                  <a:pt x="2673461" y="0"/>
                </a:cubicBezTo>
                <a:cubicBezTo>
                  <a:pt x="2948394" y="-4560"/>
                  <a:pt x="3134893" y="36981"/>
                  <a:pt x="3373653" y="0"/>
                </a:cubicBezTo>
                <a:cubicBezTo>
                  <a:pt x="3634761" y="-15887"/>
                  <a:pt x="3700843" y="23167"/>
                  <a:pt x="3819230" y="0"/>
                </a:cubicBezTo>
                <a:cubicBezTo>
                  <a:pt x="3977295" y="2943"/>
                  <a:pt x="4128910" y="-53150"/>
                  <a:pt x="4392114" y="0"/>
                </a:cubicBezTo>
                <a:cubicBezTo>
                  <a:pt x="4672763" y="9214"/>
                  <a:pt x="4999833" y="38501"/>
                  <a:pt x="5155960" y="0"/>
                </a:cubicBezTo>
                <a:cubicBezTo>
                  <a:pt x="5343367" y="-6557"/>
                  <a:pt x="5597661" y="6622"/>
                  <a:pt x="5792499" y="0"/>
                </a:cubicBezTo>
                <a:cubicBezTo>
                  <a:pt x="6020774" y="43813"/>
                  <a:pt x="6148830" y="-13954"/>
                  <a:pt x="6365383" y="0"/>
                </a:cubicBezTo>
                <a:cubicBezTo>
                  <a:pt x="6364517" y="8091"/>
                  <a:pt x="6365728" y="20268"/>
                  <a:pt x="6365383" y="27432"/>
                </a:cubicBezTo>
                <a:cubicBezTo>
                  <a:pt x="6144545" y="15144"/>
                  <a:pt x="6006673" y="-7419"/>
                  <a:pt x="5856152" y="27432"/>
                </a:cubicBezTo>
                <a:cubicBezTo>
                  <a:pt x="5638446" y="81548"/>
                  <a:pt x="5413846" y="52067"/>
                  <a:pt x="5092306" y="27432"/>
                </a:cubicBezTo>
                <a:cubicBezTo>
                  <a:pt x="4768499" y="43350"/>
                  <a:pt x="4708569" y="3163"/>
                  <a:pt x="4583076" y="27432"/>
                </a:cubicBezTo>
                <a:cubicBezTo>
                  <a:pt x="4475482" y="66269"/>
                  <a:pt x="4242792" y="42702"/>
                  <a:pt x="4137499" y="27432"/>
                </a:cubicBezTo>
                <a:cubicBezTo>
                  <a:pt x="4003968" y="24039"/>
                  <a:pt x="3882646" y="-3026"/>
                  <a:pt x="3691922" y="27432"/>
                </a:cubicBezTo>
                <a:cubicBezTo>
                  <a:pt x="3501639" y="8096"/>
                  <a:pt x="3270842" y="-14942"/>
                  <a:pt x="2991730" y="27432"/>
                </a:cubicBezTo>
                <a:cubicBezTo>
                  <a:pt x="2712135" y="55419"/>
                  <a:pt x="2758697" y="31955"/>
                  <a:pt x="2546153" y="27432"/>
                </a:cubicBezTo>
                <a:cubicBezTo>
                  <a:pt x="2362220" y="-818"/>
                  <a:pt x="2130397" y="57099"/>
                  <a:pt x="1909615" y="27432"/>
                </a:cubicBezTo>
                <a:cubicBezTo>
                  <a:pt x="1714835" y="-15389"/>
                  <a:pt x="1636770" y="40318"/>
                  <a:pt x="1400384" y="27432"/>
                </a:cubicBezTo>
                <a:cubicBezTo>
                  <a:pt x="1161504" y="29515"/>
                  <a:pt x="1060819" y="7773"/>
                  <a:pt x="763846" y="27432"/>
                </a:cubicBezTo>
                <a:cubicBezTo>
                  <a:pt x="465096" y="43671"/>
                  <a:pt x="165309" y="15831"/>
                  <a:pt x="0" y="27432"/>
                </a:cubicBezTo>
                <a:cubicBezTo>
                  <a:pt x="-2013" y="18874"/>
                  <a:pt x="-525" y="8614"/>
                  <a:pt x="0" y="0"/>
                </a:cubicBezTo>
                <a:close/>
              </a:path>
              <a:path w="6365383" h="27432" stroke="0" extrusionOk="0">
                <a:moveTo>
                  <a:pt x="0" y="0"/>
                </a:moveTo>
                <a:cubicBezTo>
                  <a:pt x="84020" y="9133"/>
                  <a:pt x="339524" y="24523"/>
                  <a:pt x="572884" y="0"/>
                </a:cubicBezTo>
                <a:cubicBezTo>
                  <a:pt x="803790" y="-14011"/>
                  <a:pt x="837492" y="-10007"/>
                  <a:pt x="1018461" y="0"/>
                </a:cubicBezTo>
                <a:cubicBezTo>
                  <a:pt x="1188530" y="8943"/>
                  <a:pt x="1571061" y="17361"/>
                  <a:pt x="1782307" y="0"/>
                </a:cubicBezTo>
                <a:cubicBezTo>
                  <a:pt x="1967448" y="-16010"/>
                  <a:pt x="2153334" y="-25629"/>
                  <a:pt x="2355192" y="0"/>
                </a:cubicBezTo>
                <a:cubicBezTo>
                  <a:pt x="2541804" y="20205"/>
                  <a:pt x="2779440" y="53811"/>
                  <a:pt x="2928076" y="0"/>
                </a:cubicBezTo>
                <a:cubicBezTo>
                  <a:pt x="3024078" y="-16903"/>
                  <a:pt x="3337092" y="43483"/>
                  <a:pt x="3691922" y="0"/>
                </a:cubicBezTo>
                <a:cubicBezTo>
                  <a:pt x="4060895" y="-1064"/>
                  <a:pt x="4072166" y="-17195"/>
                  <a:pt x="4201153" y="0"/>
                </a:cubicBezTo>
                <a:cubicBezTo>
                  <a:pt x="4349835" y="-22516"/>
                  <a:pt x="4800106" y="-64797"/>
                  <a:pt x="4964999" y="0"/>
                </a:cubicBezTo>
                <a:cubicBezTo>
                  <a:pt x="5186764" y="15779"/>
                  <a:pt x="5564421" y="-10544"/>
                  <a:pt x="5728845" y="0"/>
                </a:cubicBezTo>
                <a:cubicBezTo>
                  <a:pt x="5915953" y="5493"/>
                  <a:pt x="6171384" y="-48026"/>
                  <a:pt x="6365383" y="0"/>
                </a:cubicBezTo>
                <a:cubicBezTo>
                  <a:pt x="6366596" y="6455"/>
                  <a:pt x="6365588" y="14391"/>
                  <a:pt x="6365383" y="27432"/>
                </a:cubicBezTo>
                <a:cubicBezTo>
                  <a:pt x="6172514" y="805"/>
                  <a:pt x="6006523" y="20734"/>
                  <a:pt x="5665191" y="27432"/>
                </a:cubicBezTo>
                <a:cubicBezTo>
                  <a:pt x="5322179" y="66687"/>
                  <a:pt x="5219376" y="21111"/>
                  <a:pt x="4901345" y="27432"/>
                </a:cubicBezTo>
                <a:cubicBezTo>
                  <a:pt x="4621310" y="-13654"/>
                  <a:pt x="4455192" y="54857"/>
                  <a:pt x="4137499" y="27432"/>
                </a:cubicBezTo>
                <a:cubicBezTo>
                  <a:pt x="3853317" y="12285"/>
                  <a:pt x="3862894" y="26263"/>
                  <a:pt x="3628268" y="27432"/>
                </a:cubicBezTo>
                <a:cubicBezTo>
                  <a:pt x="3418779" y="32610"/>
                  <a:pt x="3174456" y="83656"/>
                  <a:pt x="2991730" y="27432"/>
                </a:cubicBezTo>
                <a:cubicBezTo>
                  <a:pt x="2801278" y="6667"/>
                  <a:pt x="2497351" y="22891"/>
                  <a:pt x="2227884" y="27432"/>
                </a:cubicBezTo>
                <a:cubicBezTo>
                  <a:pt x="1986101" y="16297"/>
                  <a:pt x="1767219" y="-7535"/>
                  <a:pt x="1591346" y="27432"/>
                </a:cubicBezTo>
                <a:cubicBezTo>
                  <a:pt x="1447183" y="73731"/>
                  <a:pt x="1315973" y="39477"/>
                  <a:pt x="1145769" y="27432"/>
                </a:cubicBezTo>
                <a:cubicBezTo>
                  <a:pt x="990245" y="8882"/>
                  <a:pt x="810845" y="16910"/>
                  <a:pt x="636538" y="27432"/>
                </a:cubicBezTo>
                <a:cubicBezTo>
                  <a:pt x="482916" y="17795"/>
                  <a:pt x="183027" y="-17710"/>
                  <a:pt x="0" y="27432"/>
                </a:cubicBezTo>
                <a:cubicBezTo>
                  <a:pt x="491" y="19542"/>
                  <a:pt x="-1038" y="8534"/>
                  <a:pt x="0" y="0"/>
                </a:cubicBezTo>
                <a:close/>
              </a:path>
              <a:path w="6365383" h="27432" fill="none" stroke="0" extrusionOk="0">
                <a:moveTo>
                  <a:pt x="0" y="0"/>
                </a:moveTo>
                <a:cubicBezTo>
                  <a:pt x="296223" y="15991"/>
                  <a:pt x="333462" y="-23795"/>
                  <a:pt x="636538" y="0"/>
                </a:cubicBezTo>
                <a:cubicBezTo>
                  <a:pt x="970197" y="30961"/>
                  <a:pt x="1039864" y="3183"/>
                  <a:pt x="1273077" y="0"/>
                </a:cubicBezTo>
                <a:cubicBezTo>
                  <a:pt x="1449809" y="24819"/>
                  <a:pt x="1735152" y="23060"/>
                  <a:pt x="1909615" y="0"/>
                </a:cubicBezTo>
                <a:cubicBezTo>
                  <a:pt x="2016351" y="-41665"/>
                  <a:pt x="2415001" y="34773"/>
                  <a:pt x="2673461" y="0"/>
                </a:cubicBezTo>
                <a:cubicBezTo>
                  <a:pt x="2996983" y="-13411"/>
                  <a:pt x="3130707" y="3741"/>
                  <a:pt x="3373653" y="0"/>
                </a:cubicBezTo>
                <a:cubicBezTo>
                  <a:pt x="3601951" y="-16140"/>
                  <a:pt x="3689909" y="23222"/>
                  <a:pt x="3819230" y="0"/>
                </a:cubicBezTo>
                <a:cubicBezTo>
                  <a:pt x="3931872" y="-29406"/>
                  <a:pt x="4119438" y="24094"/>
                  <a:pt x="4392114" y="0"/>
                </a:cubicBezTo>
                <a:cubicBezTo>
                  <a:pt x="4665359" y="21557"/>
                  <a:pt x="4978709" y="13267"/>
                  <a:pt x="5155960" y="0"/>
                </a:cubicBezTo>
                <a:cubicBezTo>
                  <a:pt x="5299518" y="-18386"/>
                  <a:pt x="5605020" y="-6762"/>
                  <a:pt x="5792499" y="0"/>
                </a:cubicBezTo>
                <a:cubicBezTo>
                  <a:pt x="6013281" y="43398"/>
                  <a:pt x="6167567" y="36727"/>
                  <a:pt x="6365383" y="0"/>
                </a:cubicBezTo>
                <a:cubicBezTo>
                  <a:pt x="6365697" y="8368"/>
                  <a:pt x="6365332" y="21050"/>
                  <a:pt x="6365383" y="27432"/>
                </a:cubicBezTo>
                <a:cubicBezTo>
                  <a:pt x="6154893" y="8454"/>
                  <a:pt x="6014206" y="-8372"/>
                  <a:pt x="5856152" y="27432"/>
                </a:cubicBezTo>
                <a:cubicBezTo>
                  <a:pt x="5659455" y="59503"/>
                  <a:pt x="5350806" y="-35991"/>
                  <a:pt x="5092306" y="27432"/>
                </a:cubicBezTo>
                <a:cubicBezTo>
                  <a:pt x="4756309" y="48260"/>
                  <a:pt x="4699746" y="-4780"/>
                  <a:pt x="4583076" y="27432"/>
                </a:cubicBezTo>
                <a:cubicBezTo>
                  <a:pt x="4462137" y="30142"/>
                  <a:pt x="4226168" y="50236"/>
                  <a:pt x="4137499" y="27432"/>
                </a:cubicBezTo>
                <a:cubicBezTo>
                  <a:pt x="4018570" y="42181"/>
                  <a:pt x="3887179" y="34623"/>
                  <a:pt x="3691922" y="27432"/>
                </a:cubicBezTo>
                <a:cubicBezTo>
                  <a:pt x="3499755" y="32935"/>
                  <a:pt x="3281056" y="-9158"/>
                  <a:pt x="2991730" y="27432"/>
                </a:cubicBezTo>
                <a:cubicBezTo>
                  <a:pt x="2716073" y="57462"/>
                  <a:pt x="2755481" y="34494"/>
                  <a:pt x="2546153" y="27432"/>
                </a:cubicBezTo>
                <a:cubicBezTo>
                  <a:pt x="2356479" y="62622"/>
                  <a:pt x="2079190" y="73729"/>
                  <a:pt x="1909615" y="27432"/>
                </a:cubicBezTo>
                <a:cubicBezTo>
                  <a:pt x="1715819" y="-26444"/>
                  <a:pt x="1631368" y="48131"/>
                  <a:pt x="1400384" y="27432"/>
                </a:cubicBezTo>
                <a:cubicBezTo>
                  <a:pt x="1177327" y="16190"/>
                  <a:pt x="1065236" y="24992"/>
                  <a:pt x="763846" y="27432"/>
                </a:cubicBezTo>
                <a:cubicBezTo>
                  <a:pt x="448643" y="60691"/>
                  <a:pt x="160833" y="2330"/>
                  <a:pt x="0" y="27432"/>
                </a:cubicBezTo>
                <a:cubicBezTo>
                  <a:pt x="1559" y="18666"/>
                  <a:pt x="-585" y="7580"/>
                  <a:pt x="0" y="0"/>
                </a:cubicBezTo>
                <a:close/>
              </a:path>
            </a:pathLst>
          </a:custGeom>
          <a:solidFill>
            <a:srgbClr val="FFFFFF"/>
          </a:solidFill>
          <a:ln w="41275" cap="rnd">
            <a:solidFill>
              <a:srgbClr val="FFFFFF"/>
            </a:solidFill>
            <a:round/>
            <a:extLst>
              <a:ext uri="{C807C97D-BFC1-408E-A445-0C87EB9F89A2}">
                <ask:lineSketchStyleProps xmlns:ask="http://schemas.microsoft.com/office/drawing/2018/sketchyshapes" sd="1219033472">
                  <a:custGeom>
                    <a:avLst/>
                    <a:gdLst>
                      <a:gd name="connsiteX0" fmla="*/ 0 w 6365383"/>
                      <a:gd name="connsiteY0" fmla="*/ 0 h 27432"/>
                      <a:gd name="connsiteX1" fmla="*/ 636538 w 6365383"/>
                      <a:gd name="connsiteY1" fmla="*/ 0 h 27432"/>
                      <a:gd name="connsiteX2" fmla="*/ 1273077 w 6365383"/>
                      <a:gd name="connsiteY2" fmla="*/ 0 h 27432"/>
                      <a:gd name="connsiteX3" fmla="*/ 1909615 w 6365383"/>
                      <a:gd name="connsiteY3" fmla="*/ 0 h 27432"/>
                      <a:gd name="connsiteX4" fmla="*/ 2673461 w 6365383"/>
                      <a:gd name="connsiteY4" fmla="*/ 0 h 27432"/>
                      <a:gd name="connsiteX5" fmla="*/ 3373653 w 6365383"/>
                      <a:gd name="connsiteY5" fmla="*/ 0 h 27432"/>
                      <a:gd name="connsiteX6" fmla="*/ 3819230 w 6365383"/>
                      <a:gd name="connsiteY6" fmla="*/ 0 h 27432"/>
                      <a:gd name="connsiteX7" fmla="*/ 4392114 w 6365383"/>
                      <a:gd name="connsiteY7" fmla="*/ 0 h 27432"/>
                      <a:gd name="connsiteX8" fmla="*/ 5155960 w 6365383"/>
                      <a:gd name="connsiteY8" fmla="*/ 0 h 27432"/>
                      <a:gd name="connsiteX9" fmla="*/ 5792499 w 6365383"/>
                      <a:gd name="connsiteY9" fmla="*/ 0 h 27432"/>
                      <a:gd name="connsiteX10" fmla="*/ 6365383 w 6365383"/>
                      <a:gd name="connsiteY10" fmla="*/ 0 h 27432"/>
                      <a:gd name="connsiteX11" fmla="*/ 6365383 w 6365383"/>
                      <a:gd name="connsiteY11" fmla="*/ 27432 h 27432"/>
                      <a:gd name="connsiteX12" fmla="*/ 5856152 w 6365383"/>
                      <a:gd name="connsiteY12" fmla="*/ 27432 h 27432"/>
                      <a:gd name="connsiteX13" fmla="*/ 5092306 w 6365383"/>
                      <a:gd name="connsiteY13" fmla="*/ 27432 h 27432"/>
                      <a:gd name="connsiteX14" fmla="*/ 4583076 w 6365383"/>
                      <a:gd name="connsiteY14" fmla="*/ 27432 h 27432"/>
                      <a:gd name="connsiteX15" fmla="*/ 4137499 w 6365383"/>
                      <a:gd name="connsiteY15" fmla="*/ 27432 h 27432"/>
                      <a:gd name="connsiteX16" fmla="*/ 3691922 w 6365383"/>
                      <a:gd name="connsiteY16" fmla="*/ 27432 h 27432"/>
                      <a:gd name="connsiteX17" fmla="*/ 2991730 w 6365383"/>
                      <a:gd name="connsiteY17" fmla="*/ 27432 h 27432"/>
                      <a:gd name="connsiteX18" fmla="*/ 2546153 w 6365383"/>
                      <a:gd name="connsiteY18" fmla="*/ 27432 h 27432"/>
                      <a:gd name="connsiteX19" fmla="*/ 1909615 w 6365383"/>
                      <a:gd name="connsiteY19" fmla="*/ 27432 h 27432"/>
                      <a:gd name="connsiteX20" fmla="*/ 1400384 w 6365383"/>
                      <a:gd name="connsiteY20" fmla="*/ 27432 h 27432"/>
                      <a:gd name="connsiteX21" fmla="*/ 763846 w 6365383"/>
                      <a:gd name="connsiteY21" fmla="*/ 27432 h 27432"/>
                      <a:gd name="connsiteX22" fmla="*/ 0 w 6365383"/>
                      <a:gd name="connsiteY22" fmla="*/ 27432 h 27432"/>
                      <a:gd name="connsiteX23" fmla="*/ 0 w 6365383"/>
                      <a:gd name="connsiteY23"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365383" h="27432" fill="none" extrusionOk="0">
                        <a:moveTo>
                          <a:pt x="0" y="0"/>
                        </a:moveTo>
                        <a:cubicBezTo>
                          <a:pt x="305169" y="21509"/>
                          <a:pt x="334704" y="-24261"/>
                          <a:pt x="636538" y="0"/>
                        </a:cubicBezTo>
                        <a:cubicBezTo>
                          <a:pt x="938372" y="24261"/>
                          <a:pt x="1068606" y="2269"/>
                          <a:pt x="1273077" y="0"/>
                        </a:cubicBezTo>
                        <a:cubicBezTo>
                          <a:pt x="1477548" y="-2269"/>
                          <a:pt x="1738189" y="6272"/>
                          <a:pt x="1909615" y="0"/>
                        </a:cubicBezTo>
                        <a:cubicBezTo>
                          <a:pt x="2081041" y="-6272"/>
                          <a:pt x="2377015" y="16623"/>
                          <a:pt x="2673461" y="0"/>
                        </a:cubicBezTo>
                        <a:cubicBezTo>
                          <a:pt x="2969907" y="-16623"/>
                          <a:pt x="3126114" y="13194"/>
                          <a:pt x="3373653" y="0"/>
                        </a:cubicBezTo>
                        <a:cubicBezTo>
                          <a:pt x="3621192" y="-13194"/>
                          <a:pt x="3704499" y="9486"/>
                          <a:pt x="3819230" y="0"/>
                        </a:cubicBezTo>
                        <a:cubicBezTo>
                          <a:pt x="3933961" y="-9486"/>
                          <a:pt x="4142691" y="-8221"/>
                          <a:pt x="4392114" y="0"/>
                        </a:cubicBezTo>
                        <a:cubicBezTo>
                          <a:pt x="4641537" y="8221"/>
                          <a:pt x="4974506" y="12257"/>
                          <a:pt x="5155960" y="0"/>
                        </a:cubicBezTo>
                        <a:cubicBezTo>
                          <a:pt x="5337414" y="-12257"/>
                          <a:pt x="5585731" y="-22537"/>
                          <a:pt x="5792499" y="0"/>
                        </a:cubicBezTo>
                        <a:cubicBezTo>
                          <a:pt x="5999267" y="22537"/>
                          <a:pt x="6164726" y="7303"/>
                          <a:pt x="6365383" y="0"/>
                        </a:cubicBezTo>
                        <a:cubicBezTo>
                          <a:pt x="6365125" y="7487"/>
                          <a:pt x="6364462" y="19984"/>
                          <a:pt x="6365383" y="27432"/>
                        </a:cubicBezTo>
                        <a:cubicBezTo>
                          <a:pt x="6132222" y="28304"/>
                          <a:pt x="6011986" y="2071"/>
                          <a:pt x="5856152" y="27432"/>
                        </a:cubicBezTo>
                        <a:cubicBezTo>
                          <a:pt x="5700318" y="52793"/>
                          <a:pt x="5410732" y="5357"/>
                          <a:pt x="5092306" y="27432"/>
                        </a:cubicBezTo>
                        <a:cubicBezTo>
                          <a:pt x="4773880" y="49507"/>
                          <a:pt x="4705351" y="6645"/>
                          <a:pt x="4583076" y="27432"/>
                        </a:cubicBezTo>
                        <a:cubicBezTo>
                          <a:pt x="4460801" y="48220"/>
                          <a:pt x="4239915" y="42209"/>
                          <a:pt x="4137499" y="27432"/>
                        </a:cubicBezTo>
                        <a:cubicBezTo>
                          <a:pt x="4035083" y="12655"/>
                          <a:pt x="3883665" y="32012"/>
                          <a:pt x="3691922" y="27432"/>
                        </a:cubicBezTo>
                        <a:cubicBezTo>
                          <a:pt x="3500179" y="22852"/>
                          <a:pt x="3265830" y="-126"/>
                          <a:pt x="2991730" y="27432"/>
                        </a:cubicBezTo>
                        <a:cubicBezTo>
                          <a:pt x="2717630" y="54990"/>
                          <a:pt x="2757122" y="34407"/>
                          <a:pt x="2546153" y="27432"/>
                        </a:cubicBezTo>
                        <a:cubicBezTo>
                          <a:pt x="2335184" y="20457"/>
                          <a:pt x="2107331" y="58889"/>
                          <a:pt x="1909615" y="27432"/>
                        </a:cubicBezTo>
                        <a:cubicBezTo>
                          <a:pt x="1711899" y="-4025"/>
                          <a:pt x="1634641" y="48316"/>
                          <a:pt x="1400384" y="27432"/>
                        </a:cubicBezTo>
                        <a:cubicBezTo>
                          <a:pt x="1166127" y="6548"/>
                          <a:pt x="1068288" y="15776"/>
                          <a:pt x="763846" y="27432"/>
                        </a:cubicBezTo>
                        <a:cubicBezTo>
                          <a:pt x="459404" y="39088"/>
                          <a:pt x="170017" y="14515"/>
                          <a:pt x="0" y="27432"/>
                        </a:cubicBezTo>
                        <a:cubicBezTo>
                          <a:pt x="-14" y="18173"/>
                          <a:pt x="-517" y="8990"/>
                          <a:pt x="0" y="0"/>
                        </a:cubicBezTo>
                        <a:close/>
                      </a:path>
                      <a:path w="6365383" h="27432" stroke="0" extrusionOk="0">
                        <a:moveTo>
                          <a:pt x="0" y="0"/>
                        </a:moveTo>
                        <a:cubicBezTo>
                          <a:pt x="114610" y="-2215"/>
                          <a:pt x="340315" y="12554"/>
                          <a:pt x="572884" y="0"/>
                        </a:cubicBezTo>
                        <a:cubicBezTo>
                          <a:pt x="805453" y="-12554"/>
                          <a:pt x="832891" y="-10424"/>
                          <a:pt x="1018461" y="0"/>
                        </a:cubicBezTo>
                        <a:cubicBezTo>
                          <a:pt x="1204031" y="10424"/>
                          <a:pt x="1590875" y="8682"/>
                          <a:pt x="1782307" y="0"/>
                        </a:cubicBezTo>
                        <a:cubicBezTo>
                          <a:pt x="1973739" y="-8682"/>
                          <a:pt x="2150876" y="5508"/>
                          <a:pt x="2355192" y="0"/>
                        </a:cubicBezTo>
                        <a:cubicBezTo>
                          <a:pt x="2559508" y="-5508"/>
                          <a:pt x="2790194" y="26965"/>
                          <a:pt x="2928076" y="0"/>
                        </a:cubicBezTo>
                        <a:cubicBezTo>
                          <a:pt x="3065958" y="-26965"/>
                          <a:pt x="3321537" y="819"/>
                          <a:pt x="3691922" y="0"/>
                        </a:cubicBezTo>
                        <a:cubicBezTo>
                          <a:pt x="4062307" y="-819"/>
                          <a:pt x="4072238" y="-15327"/>
                          <a:pt x="4201153" y="0"/>
                        </a:cubicBezTo>
                        <a:cubicBezTo>
                          <a:pt x="4330068" y="15327"/>
                          <a:pt x="4772079" y="-35646"/>
                          <a:pt x="4964999" y="0"/>
                        </a:cubicBezTo>
                        <a:cubicBezTo>
                          <a:pt x="5157919" y="35646"/>
                          <a:pt x="5543915" y="6802"/>
                          <a:pt x="5728845" y="0"/>
                        </a:cubicBezTo>
                        <a:cubicBezTo>
                          <a:pt x="5913775" y="-6802"/>
                          <a:pt x="6142952" y="-21408"/>
                          <a:pt x="6365383" y="0"/>
                        </a:cubicBezTo>
                        <a:cubicBezTo>
                          <a:pt x="6364552" y="6329"/>
                          <a:pt x="6365787" y="16858"/>
                          <a:pt x="6365383" y="27432"/>
                        </a:cubicBezTo>
                        <a:cubicBezTo>
                          <a:pt x="6176931" y="320"/>
                          <a:pt x="5998736" y="11244"/>
                          <a:pt x="5665191" y="27432"/>
                        </a:cubicBezTo>
                        <a:cubicBezTo>
                          <a:pt x="5331646" y="43620"/>
                          <a:pt x="5198011" y="28615"/>
                          <a:pt x="4901345" y="27432"/>
                        </a:cubicBezTo>
                        <a:cubicBezTo>
                          <a:pt x="4604679" y="26249"/>
                          <a:pt x="4422931" y="40617"/>
                          <a:pt x="4137499" y="27432"/>
                        </a:cubicBezTo>
                        <a:cubicBezTo>
                          <a:pt x="3852067" y="14247"/>
                          <a:pt x="3861939" y="26581"/>
                          <a:pt x="3628268" y="27432"/>
                        </a:cubicBezTo>
                        <a:cubicBezTo>
                          <a:pt x="3394597" y="28283"/>
                          <a:pt x="3171361" y="44132"/>
                          <a:pt x="2991730" y="27432"/>
                        </a:cubicBezTo>
                        <a:cubicBezTo>
                          <a:pt x="2812099" y="10732"/>
                          <a:pt x="2469344" y="24737"/>
                          <a:pt x="2227884" y="27432"/>
                        </a:cubicBezTo>
                        <a:cubicBezTo>
                          <a:pt x="1986424" y="30127"/>
                          <a:pt x="1748067" y="6359"/>
                          <a:pt x="1591346" y="27432"/>
                        </a:cubicBezTo>
                        <a:cubicBezTo>
                          <a:pt x="1434625" y="48505"/>
                          <a:pt x="1307456" y="39663"/>
                          <a:pt x="1145769" y="27432"/>
                        </a:cubicBezTo>
                        <a:cubicBezTo>
                          <a:pt x="984082" y="15201"/>
                          <a:pt x="800279" y="41647"/>
                          <a:pt x="636538" y="27432"/>
                        </a:cubicBezTo>
                        <a:cubicBezTo>
                          <a:pt x="472797" y="13217"/>
                          <a:pt x="160022" y="2213"/>
                          <a:pt x="0" y="27432"/>
                        </a:cubicBezTo>
                        <a:cubicBezTo>
                          <a:pt x="-177" y="19307"/>
                          <a:pt x="-1145" y="9170"/>
                          <a:pt x="0" y="0"/>
                        </a:cubicBezTo>
                        <a:close/>
                      </a:path>
                    </a:pathLst>
                  </a:cu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2603953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6"/>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4"/>
          <a:srcRect/>
          <a:stretch>
            <a:fillRect/>
          </a:stretch>
        </p:blipFill>
        <p:spPr>
          <a:xfrm>
            <a:off x="0" y="8901113"/>
            <a:ext cx="5715000" cy="1385887"/>
          </a:xfrm>
          <a:prstGeom prst="rect">
            <a:avLst/>
          </a:prstGeom>
        </p:spPr>
      </p:pic>
      <p:grpSp>
        <p:nvGrpSpPr>
          <p:cNvPr id="3" name="Gruppo 2">
            <a:extLst>
              <a:ext uri="{FF2B5EF4-FFF2-40B4-BE49-F238E27FC236}">
                <a16:creationId xmlns:a16="http://schemas.microsoft.com/office/drawing/2014/main" id="{1C29CBCA-BE0A-4EF6-AC69-329941E1DCFD}"/>
              </a:ext>
            </a:extLst>
          </p:cNvPr>
          <p:cNvGrpSpPr/>
          <p:nvPr/>
        </p:nvGrpSpPr>
        <p:grpSpPr>
          <a:xfrm>
            <a:off x="-12" y="138554"/>
            <a:ext cx="18288002" cy="681138"/>
            <a:chOff x="-12" y="138554"/>
            <a:chExt cx="18288002" cy="681138"/>
          </a:xfrm>
        </p:grpSpPr>
        <p:grpSp>
          <p:nvGrpSpPr>
            <p:cNvPr id="2" name="Gruppo 1">
              <a:extLst>
                <a:ext uri="{FF2B5EF4-FFF2-40B4-BE49-F238E27FC236}">
                  <a16:creationId xmlns:a16="http://schemas.microsoft.com/office/drawing/2014/main" id="{24E9C7AF-0093-476F-826C-A2702AB72892}"/>
                </a:ext>
              </a:extLst>
            </p:cNvPr>
            <p:cNvGrpSpPr/>
            <p:nvPr/>
          </p:nvGrpSpPr>
          <p:grpSpPr>
            <a:xfrm>
              <a:off x="0" y="153125"/>
              <a:ext cx="17907000" cy="666567"/>
              <a:chOff x="0" y="153125"/>
              <a:chExt cx="17907000" cy="666567"/>
            </a:xfrm>
          </p:grpSpPr>
          <p:pic>
            <p:nvPicPr>
              <p:cNvPr id="10" name="Picture 10"/>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2" name="TextBox 11">
                <a:extLst>
                  <a:ext uri="{FF2B5EF4-FFF2-40B4-BE49-F238E27FC236}">
                    <a16:creationId xmlns:a16="http://schemas.microsoft.com/office/drawing/2014/main" id="{1BD9B5F4-614C-4EB6-8C5B-120A5420CE43}"/>
                  </a:ext>
                </a:extLst>
              </p:cNvPr>
              <p:cNvSpPr txBox="1"/>
              <p:nvPr/>
            </p:nvSpPr>
            <p:spPr>
              <a:xfrm>
                <a:off x="12154296" y="257980"/>
                <a:ext cx="5752704" cy="456856"/>
              </a:xfrm>
              <a:prstGeom prst="rect">
                <a:avLst/>
              </a:prstGeom>
            </p:spPr>
            <p:txBody>
              <a:bodyPr wrap="square" lIns="0" tIns="0" rIns="0" bIns="0" rtlCol="0" anchor="t">
                <a:spAutoFit/>
              </a:bodyPr>
              <a:lstStyle/>
              <a:p>
                <a:pPr algn="r">
                  <a:lnSpc>
                    <a:spcPts val="3919"/>
                  </a:lnSpc>
                  <a:spcBef>
                    <a:spcPct val="0"/>
                  </a:spcBef>
                </a:pPr>
                <a:endParaRPr lang="en-US" sz="2800">
                  <a:solidFill>
                    <a:schemeClr val="tx1">
                      <a:lumMod val="75000"/>
                      <a:lumOff val="25000"/>
                    </a:schemeClr>
                  </a:solidFill>
                  <a:latin typeface="Arial" panose="020B0604020202020204" pitchFamily="34" charset="0"/>
                  <a:cs typeface="Arial" panose="020B0604020202020204" pitchFamily="34" charset="0"/>
                </a:endParaRPr>
              </a:p>
            </p:txBody>
          </p:sp>
        </p:grpSp>
        <p:sp>
          <p:nvSpPr>
            <p:cNvPr id="14" name="Rettangolo 13">
              <a:extLst>
                <a:ext uri="{FF2B5EF4-FFF2-40B4-BE49-F238E27FC236}">
                  <a16:creationId xmlns:a16="http://schemas.microsoft.com/office/drawing/2014/main" id="{55199736-B8B6-4C9A-8BAF-233E07A0CA89}"/>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3" name="TextBox 13"/>
          <p:cNvSpPr txBox="1"/>
          <p:nvPr/>
        </p:nvSpPr>
        <p:spPr>
          <a:xfrm>
            <a:off x="1588688" y="989115"/>
            <a:ext cx="13618595" cy="677108"/>
          </a:xfrm>
          <a:prstGeom prst="rect">
            <a:avLst/>
          </a:prstGeom>
        </p:spPr>
        <p:txBody>
          <a:bodyPr wrap="square" lIns="0" tIns="0" rIns="0" bIns="0" rtlCol="0" anchor="t">
            <a:spAutoFit/>
          </a:bodyPr>
          <a:lstStyle/>
          <a:p>
            <a:pPr>
              <a:spcBef>
                <a:spcPct val="0"/>
              </a:spcBef>
            </a:pPr>
            <a:r>
              <a:rPr lang="en-US" sz="4400" b="1">
                <a:solidFill>
                  <a:srgbClr val="CC0033"/>
                </a:solidFill>
                <a:latin typeface="+mj-lt"/>
                <a:cs typeface="Arial" panose="020B0604020202020204" pitchFamily="34" charset="0"/>
              </a:rPr>
              <a:t>Course Contents:</a:t>
            </a:r>
            <a:endParaRPr lang="en-US" sz="3600" b="1" i="1">
              <a:solidFill>
                <a:srgbClr val="CC0033"/>
              </a:solidFill>
              <a:latin typeface="+mj-lt"/>
              <a:cs typeface="Arial" panose="020B0604020202020204" pitchFamily="34" charset="0"/>
            </a:endParaRPr>
          </a:p>
        </p:txBody>
      </p:sp>
      <p:sp>
        <p:nvSpPr>
          <p:cNvPr id="21" name="Content Placeholder 2">
            <a:extLst>
              <a:ext uri="{FF2B5EF4-FFF2-40B4-BE49-F238E27FC236}">
                <a16:creationId xmlns:a16="http://schemas.microsoft.com/office/drawing/2014/main" id="{7410B400-A91F-45CE-9F10-13149670B085}"/>
              </a:ext>
            </a:extLst>
          </p:cNvPr>
          <p:cNvSpPr txBox="1">
            <a:spLocks/>
          </p:cNvSpPr>
          <p:nvPr/>
        </p:nvSpPr>
        <p:spPr>
          <a:xfrm>
            <a:off x="1109535" y="1835646"/>
            <a:ext cx="16797465" cy="7462239"/>
          </a:xfrm>
          <a:prstGeom prst="rect">
            <a:avLst/>
          </a:prstGeom>
        </p:spPr>
        <p:txBody>
          <a:bodyPr vert="horz" lIns="91440" tIns="45720" rIns="91440" bIns="45720" rtlCol="0">
            <a:normAutofit/>
          </a:bodyPr>
          <a:lstStyle>
            <a:lvl1pPr marL="0" indent="0" algn="ctr" defTabSz="914400" rtl="0" eaLnBrk="1" latinLnBrk="0" hangingPunct="1">
              <a:spcBef>
                <a:spcPct val="20000"/>
              </a:spcBef>
              <a:buFont typeface="Arial" pitchFamily="34" charset="0"/>
              <a:buNone/>
              <a:defRPr sz="3200" kern="1200">
                <a:solidFill>
                  <a:schemeClr val="tx1">
                    <a:tint val="75000"/>
                  </a:schemeClr>
                </a:solidFill>
                <a:latin typeface="+mn-lt"/>
                <a:ea typeface="+mn-ea"/>
                <a:cs typeface="+mn-cs"/>
              </a:defRPr>
            </a:lvl1pPr>
            <a:lvl2pPr marL="457200" indent="0" algn="ctr" defTabSz="914400"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marL="914400" lvl="1" indent="-457200" algn="l">
              <a:buFont typeface="Arial" panose="020B0604020202020204" pitchFamily="34" charset="0"/>
              <a:buChar char="•"/>
            </a:pPr>
            <a:r>
              <a:rPr lang="sv-SE" dirty="0" err="1">
                <a:solidFill>
                  <a:schemeClr val="tx1"/>
                </a:solidFill>
              </a:rPr>
              <a:t>Chapter</a:t>
            </a:r>
            <a:r>
              <a:rPr lang="sv-SE" dirty="0">
                <a:solidFill>
                  <a:schemeClr val="tx1"/>
                </a:solidFill>
              </a:rPr>
              <a:t> 5: Life </a:t>
            </a:r>
            <a:r>
              <a:rPr lang="sv-SE" dirty="0" err="1">
                <a:solidFill>
                  <a:schemeClr val="tx1"/>
                </a:solidFill>
              </a:rPr>
              <a:t>Cycle</a:t>
            </a:r>
            <a:r>
              <a:rPr lang="sv-SE" dirty="0">
                <a:solidFill>
                  <a:schemeClr val="tx1"/>
                </a:solidFill>
              </a:rPr>
              <a:t> </a:t>
            </a:r>
            <a:r>
              <a:rPr lang="en-GB" dirty="0">
                <a:solidFill>
                  <a:schemeClr val="tx1"/>
                </a:solidFill>
              </a:rPr>
              <a:t>Assessment (LCA)</a:t>
            </a:r>
          </a:p>
          <a:p>
            <a:pPr marL="1371600" lvl="2" indent="-457200" algn="l">
              <a:buFont typeface="Arial" panose="020B0604020202020204" pitchFamily="34" charset="0"/>
              <a:buChar char="•"/>
            </a:pPr>
            <a:r>
              <a:rPr lang="en-GB" sz="2000" dirty="0">
                <a:solidFill>
                  <a:schemeClr val="tx1"/>
                </a:solidFill>
              </a:rPr>
              <a:t>5.1 LCA</a:t>
            </a:r>
          </a:p>
          <a:p>
            <a:pPr marL="1371600" lvl="2" indent="-457200" algn="l">
              <a:buFont typeface="Arial" panose="020B0604020202020204" pitchFamily="34" charset="0"/>
              <a:buChar char="•"/>
            </a:pPr>
            <a:r>
              <a:rPr lang="en-GB" sz="2000" dirty="0">
                <a:solidFill>
                  <a:schemeClr val="tx1"/>
                </a:solidFill>
              </a:rPr>
              <a:t>5.2 LCC</a:t>
            </a:r>
          </a:p>
          <a:p>
            <a:pPr marL="1371600" lvl="2" indent="-457200" algn="l">
              <a:buFont typeface="Arial" panose="020B0604020202020204" pitchFamily="34" charset="0"/>
              <a:buChar char="•"/>
            </a:pPr>
            <a:r>
              <a:rPr lang="en-GB" sz="2000" dirty="0">
                <a:solidFill>
                  <a:schemeClr val="tx1"/>
                </a:solidFill>
              </a:rPr>
              <a:t>5.3 S-LCA</a:t>
            </a:r>
          </a:p>
          <a:p>
            <a:pPr marL="1371600" lvl="2" indent="-457200" algn="l">
              <a:buFont typeface="Arial" panose="020B0604020202020204" pitchFamily="34" charset="0"/>
              <a:buChar char="•"/>
            </a:pPr>
            <a:r>
              <a:rPr lang="en-GB" sz="2000" dirty="0">
                <a:solidFill>
                  <a:schemeClr val="tx1"/>
                </a:solidFill>
              </a:rPr>
              <a:t>5.4 Example of LCA from Agrochemical Sector</a:t>
            </a:r>
            <a:endParaRPr lang="sv-SE" sz="2000" dirty="0">
              <a:solidFill>
                <a:schemeClr val="tx1"/>
              </a:solidFill>
            </a:endParaRPr>
          </a:p>
          <a:p>
            <a:pPr marL="914400" lvl="1" indent="-457200" algn="l">
              <a:buFont typeface="Arial" panose="020B0604020202020204" pitchFamily="34" charset="0"/>
              <a:buChar char="•"/>
            </a:pPr>
            <a:r>
              <a:rPr lang="sv-SE" dirty="0" err="1">
                <a:solidFill>
                  <a:schemeClr val="tx1"/>
                </a:solidFill>
              </a:rPr>
              <a:t>Chaper</a:t>
            </a:r>
            <a:r>
              <a:rPr lang="sv-SE" dirty="0">
                <a:solidFill>
                  <a:schemeClr val="tx1"/>
                </a:solidFill>
              </a:rPr>
              <a:t> 6: </a:t>
            </a:r>
            <a:r>
              <a:rPr lang="sv-SE" dirty="0" err="1">
                <a:solidFill>
                  <a:schemeClr val="tx1"/>
                </a:solidFill>
              </a:rPr>
              <a:t>Results</a:t>
            </a:r>
            <a:r>
              <a:rPr lang="sv-SE" dirty="0">
                <a:solidFill>
                  <a:schemeClr val="tx1"/>
                </a:solidFill>
              </a:rPr>
              <a:t> from </a:t>
            </a:r>
            <a:r>
              <a:rPr lang="sv-SE" dirty="0" err="1">
                <a:solidFill>
                  <a:schemeClr val="tx1"/>
                </a:solidFill>
              </a:rPr>
              <a:t>Retrofitting</a:t>
            </a:r>
            <a:r>
              <a:rPr lang="sv-SE" dirty="0">
                <a:solidFill>
                  <a:schemeClr val="tx1"/>
                </a:solidFill>
              </a:rPr>
              <a:t> Actions</a:t>
            </a:r>
          </a:p>
          <a:p>
            <a:pPr marL="1371600" lvl="2" indent="-457200" algn="l">
              <a:buFont typeface="Arial" panose="020B0604020202020204" pitchFamily="34" charset="0"/>
              <a:buChar char="•"/>
            </a:pPr>
            <a:r>
              <a:rPr lang="sv-SE" sz="2000" dirty="0">
                <a:solidFill>
                  <a:schemeClr val="tx1"/>
                </a:solidFill>
              </a:rPr>
              <a:t>6.1 </a:t>
            </a:r>
            <a:r>
              <a:rPr lang="en-US" sz="2000" dirty="0">
                <a:solidFill>
                  <a:schemeClr val="tx1"/>
                </a:solidFill>
              </a:rPr>
              <a:t>Demo-sites retrofitting actions, goals and results</a:t>
            </a:r>
            <a:endParaRPr lang="sv-SE" sz="2000" dirty="0">
              <a:solidFill>
                <a:schemeClr val="tx1"/>
              </a:solidFill>
            </a:endParaRPr>
          </a:p>
          <a:p>
            <a:pPr marL="1371600" lvl="2" indent="-457200" algn="l">
              <a:buFont typeface="Arial" panose="020B0604020202020204" pitchFamily="34" charset="0"/>
              <a:buChar char="•"/>
            </a:pPr>
            <a:r>
              <a:rPr lang="sv-SE" sz="2000" dirty="0">
                <a:solidFill>
                  <a:schemeClr val="tx1"/>
                </a:solidFill>
              </a:rPr>
              <a:t>6.2 </a:t>
            </a:r>
            <a:r>
              <a:rPr lang="en-US" sz="2000" dirty="0">
                <a:solidFill>
                  <a:schemeClr val="tx1"/>
                </a:solidFill>
              </a:rPr>
              <a:t>Analyzing LCA and LCC Findings for </a:t>
            </a:r>
            <a:r>
              <a:rPr lang="en-US" sz="2000" dirty="0" err="1">
                <a:solidFill>
                  <a:schemeClr val="tx1"/>
                </a:solidFill>
              </a:rPr>
              <a:t>Fertiberia</a:t>
            </a:r>
            <a:r>
              <a:rPr lang="en-US" sz="2000" dirty="0">
                <a:solidFill>
                  <a:schemeClr val="tx1"/>
                </a:solidFill>
              </a:rPr>
              <a:t>: Demo's Perspective</a:t>
            </a:r>
          </a:p>
          <a:p>
            <a:pPr marL="1371600" lvl="2" indent="-457200" algn="l">
              <a:buFont typeface="Arial" panose="020B0604020202020204" pitchFamily="34" charset="0"/>
              <a:buChar char="•"/>
            </a:pPr>
            <a:r>
              <a:rPr lang="en-US" sz="2000" dirty="0">
                <a:solidFill>
                  <a:schemeClr val="tx1"/>
                </a:solidFill>
              </a:rPr>
              <a:t>6.3 Navigating Challenges: The Demo Experience</a:t>
            </a:r>
          </a:p>
          <a:p>
            <a:pPr marL="1371600" lvl="2" indent="-457200" algn="l">
              <a:buFont typeface="Arial" panose="020B0604020202020204" pitchFamily="34" charset="0"/>
              <a:buChar char="•"/>
            </a:pPr>
            <a:r>
              <a:rPr lang="en-US" sz="2000" dirty="0">
                <a:solidFill>
                  <a:schemeClr val="tx1"/>
                </a:solidFill>
              </a:rPr>
              <a:t>6.4 Future Outlook: Replicability Potential and Legislation </a:t>
            </a:r>
            <a:endParaRPr lang="sv-SE" sz="2000" dirty="0">
              <a:solidFill>
                <a:schemeClr val="tx1"/>
              </a:solidFill>
            </a:endParaRPr>
          </a:p>
        </p:txBody>
      </p:sp>
      <p:pic>
        <p:nvPicPr>
          <p:cNvPr id="5" name="Picture 4">
            <a:extLst>
              <a:ext uri="{FF2B5EF4-FFF2-40B4-BE49-F238E27FC236}">
                <a16:creationId xmlns:a16="http://schemas.microsoft.com/office/drawing/2014/main" id="{CFD55723-4A96-F3C0-834B-9D352FFC9DF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4270665" y="884259"/>
            <a:ext cx="3895047" cy="3260711"/>
          </a:xfrm>
          <a:prstGeom prst="rect">
            <a:avLst/>
          </a:prstGeom>
        </p:spPr>
      </p:pic>
    </p:spTree>
    <p:extLst>
      <p:ext uri="{BB962C8B-B14F-4D97-AF65-F5344CB8AC3E}">
        <p14:creationId xmlns:p14="http://schemas.microsoft.com/office/powerpoint/2010/main" val="177800710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6"/>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4"/>
          <a:srcRect/>
          <a:stretch>
            <a:fillRect/>
          </a:stretch>
        </p:blipFill>
        <p:spPr>
          <a:xfrm>
            <a:off x="0" y="8852181"/>
            <a:ext cx="5715000" cy="1385887"/>
          </a:xfrm>
          <a:prstGeom prst="rect">
            <a:avLst/>
          </a:prstGeom>
        </p:spPr>
      </p:pic>
      <p:grpSp>
        <p:nvGrpSpPr>
          <p:cNvPr id="3" name="Gruppo 2">
            <a:extLst>
              <a:ext uri="{FF2B5EF4-FFF2-40B4-BE49-F238E27FC236}">
                <a16:creationId xmlns:a16="http://schemas.microsoft.com/office/drawing/2014/main" id="{1C29CBCA-BE0A-4EF6-AC69-329941E1DCFD}"/>
              </a:ext>
            </a:extLst>
          </p:cNvPr>
          <p:cNvGrpSpPr/>
          <p:nvPr/>
        </p:nvGrpSpPr>
        <p:grpSpPr>
          <a:xfrm>
            <a:off x="-12" y="138554"/>
            <a:ext cx="18288002" cy="681138"/>
            <a:chOff x="-12" y="138554"/>
            <a:chExt cx="18288002" cy="681138"/>
          </a:xfrm>
        </p:grpSpPr>
        <p:grpSp>
          <p:nvGrpSpPr>
            <p:cNvPr id="2" name="Gruppo 1">
              <a:extLst>
                <a:ext uri="{FF2B5EF4-FFF2-40B4-BE49-F238E27FC236}">
                  <a16:creationId xmlns:a16="http://schemas.microsoft.com/office/drawing/2014/main" id="{24E9C7AF-0093-476F-826C-A2702AB72892}"/>
                </a:ext>
              </a:extLst>
            </p:cNvPr>
            <p:cNvGrpSpPr/>
            <p:nvPr/>
          </p:nvGrpSpPr>
          <p:grpSpPr>
            <a:xfrm>
              <a:off x="0" y="153125"/>
              <a:ext cx="17907000" cy="666567"/>
              <a:chOff x="0" y="153125"/>
              <a:chExt cx="17907000" cy="666567"/>
            </a:xfrm>
          </p:grpSpPr>
          <p:grpSp>
            <p:nvGrpSpPr>
              <p:cNvPr id="16" name="Gruppo 15">
                <a:extLst>
                  <a:ext uri="{FF2B5EF4-FFF2-40B4-BE49-F238E27FC236}">
                    <a16:creationId xmlns:a16="http://schemas.microsoft.com/office/drawing/2014/main" id="{DAC42A46-917D-41AB-8F07-E15E54D0F7D4}"/>
                  </a:ext>
                </a:extLst>
              </p:cNvPr>
              <p:cNvGrpSpPr/>
              <p:nvPr/>
            </p:nvGrpSpPr>
            <p:grpSpPr>
              <a:xfrm>
                <a:off x="0" y="153125"/>
                <a:ext cx="13958844" cy="666567"/>
                <a:chOff x="0" y="153125"/>
                <a:chExt cx="13958844" cy="666567"/>
              </a:xfrm>
            </p:grpSpPr>
            <p:pic>
              <p:nvPicPr>
                <p:cNvPr id="10" name="Picture 10"/>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1" name="TextBox 11"/>
                <p:cNvSpPr txBox="1"/>
                <p:nvPr/>
              </p:nvSpPr>
              <p:spPr>
                <a:xfrm>
                  <a:off x="228600" y="257980"/>
                  <a:ext cx="9296400" cy="456856"/>
                </a:xfrm>
                <a:prstGeom prst="rect">
                  <a:avLst/>
                </a:prstGeom>
              </p:spPr>
              <p:txBody>
                <a:bodyPr wrap="square" lIns="0" tIns="0" rIns="0" bIns="0" rtlCol="0" anchor="t">
                  <a:spAutoFit/>
                </a:bodyPr>
                <a:lstStyle/>
                <a:p>
                  <a:pPr>
                    <a:lnSpc>
                      <a:spcPts val="3919"/>
                    </a:lnSpc>
                    <a:spcBef>
                      <a:spcPct val="0"/>
                    </a:spcBef>
                  </a:pPr>
                  <a:endParaRPr lang="en-US" sz="2800" b="1">
                    <a:solidFill>
                      <a:srgbClr val="FFFFFF"/>
                    </a:solidFill>
                    <a:latin typeface="Arial" panose="020B0604020202020204" pitchFamily="34" charset="0"/>
                    <a:cs typeface="Arial" panose="020B0604020202020204" pitchFamily="34" charset="0"/>
                  </a:endParaRPr>
                </a:p>
              </p:txBody>
            </p:sp>
          </p:grpSp>
          <p:sp>
            <p:nvSpPr>
              <p:cNvPr id="12" name="TextBox 11">
                <a:extLst>
                  <a:ext uri="{FF2B5EF4-FFF2-40B4-BE49-F238E27FC236}">
                    <a16:creationId xmlns:a16="http://schemas.microsoft.com/office/drawing/2014/main" id="{1BD9B5F4-614C-4EB6-8C5B-120A5420CE43}"/>
                  </a:ext>
                </a:extLst>
              </p:cNvPr>
              <p:cNvSpPr txBox="1"/>
              <p:nvPr/>
            </p:nvSpPr>
            <p:spPr>
              <a:xfrm>
                <a:off x="12154296" y="257980"/>
                <a:ext cx="5752704" cy="456856"/>
              </a:xfrm>
              <a:prstGeom prst="rect">
                <a:avLst/>
              </a:prstGeom>
            </p:spPr>
            <p:txBody>
              <a:bodyPr wrap="square" lIns="0" tIns="0" rIns="0" bIns="0" rtlCol="0" anchor="t">
                <a:spAutoFit/>
              </a:bodyPr>
              <a:lstStyle/>
              <a:p>
                <a:pPr algn="r">
                  <a:lnSpc>
                    <a:spcPts val="3919"/>
                  </a:lnSpc>
                  <a:spcBef>
                    <a:spcPct val="0"/>
                  </a:spcBef>
                </a:pPr>
                <a:endParaRPr lang="en-US" sz="2800">
                  <a:solidFill>
                    <a:schemeClr val="tx1">
                      <a:lumMod val="75000"/>
                      <a:lumOff val="25000"/>
                    </a:schemeClr>
                  </a:solidFill>
                  <a:latin typeface="Arial" panose="020B0604020202020204" pitchFamily="34" charset="0"/>
                  <a:cs typeface="Arial" panose="020B0604020202020204" pitchFamily="34" charset="0"/>
                </a:endParaRPr>
              </a:p>
            </p:txBody>
          </p:sp>
        </p:grpSp>
        <p:sp>
          <p:nvSpPr>
            <p:cNvPr id="14" name="Rettangolo 13">
              <a:extLst>
                <a:ext uri="{FF2B5EF4-FFF2-40B4-BE49-F238E27FC236}">
                  <a16:creationId xmlns:a16="http://schemas.microsoft.com/office/drawing/2014/main" id="{55199736-B8B6-4C9A-8BAF-233E07A0CA89}"/>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5" name="TextBox 24">
            <a:extLst>
              <a:ext uri="{FF2B5EF4-FFF2-40B4-BE49-F238E27FC236}">
                <a16:creationId xmlns:a16="http://schemas.microsoft.com/office/drawing/2014/main" id="{7D94EFFC-06AF-484F-891B-5C268374EA79}"/>
              </a:ext>
            </a:extLst>
          </p:cNvPr>
          <p:cNvSpPr txBox="1"/>
          <p:nvPr/>
        </p:nvSpPr>
        <p:spPr>
          <a:xfrm>
            <a:off x="12154296" y="7055481"/>
            <a:ext cx="4391778" cy="369332"/>
          </a:xfrm>
          <a:prstGeom prst="rect">
            <a:avLst/>
          </a:prstGeom>
          <a:noFill/>
        </p:spPr>
        <p:txBody>
          <a:bodyPr wrap="square">
            <a:spAutoFit/>
          </a:bodyPr>
          <a:lstStyle/>
          <a:p>
            <a:r>
              <a:rPr lang="en-US" sz="1800" i="1">
                <a:effectLst/>
                <a:latin typeface="Arial" panose="020B0604020202020204" pitchFamily="34" charset="0"/>
                <a:ea typeface="Arial MT"/>
                <a:cs typeface="Arial MT"/>
              </a:rPr>
              <a:t>View</a:t>
            </a:r>
            <a:r>
              <a:rPr lang="en-US" sz="1800" i="1" spc="-15">
                <a:effectLst/>
                <a:latin typeface="Arial" panose="020B0604020202020204" pitchFamily="34" charset="0"/>
                <a:ea typeface="Arial MT"/>
                <a:cs typeface="Arial MT"/>
              </a:rPr>
              <a:t> </a:t>
            </a:r>
            <a:r>
              <a:rPr lang="en-US" sz="1800" i="1">
                <a:effectLst/>
                <a:latin typeface="Arial" panose="020B0604020202020204" pitchFamily="34" charset="0"/>
                <a:ea typeface="Arial MT"/>
                <a:cs typeface="Arial MT"/>
              </a:rPr>
              <a:t>of</a:t>
            </a:r>
            <a:r>
              <a:rPr lang="en-US" sz="1800" i="1" spc="-20">
                <a:effectLst/>
                <a:latin typeface="Arial" panose="020B0604020202020204" pitchFamily="34" charset="0"/>
                <a:ea typeface="Arial MT"/>
                <a:cs typeface="Arial MT"/>
              </a:rPr>
              <a:t> </a:t>
            </a:r>
            <a:r>
              <a:rPr lang="en-US" sz="1800" i="1" err="1">
                <a:effectLst/>
                <a:latin typeface="Arial" panose="020B0604020202020204" pitchFamily="34" charset="0"/>
                <a:ea typeface="Arial MT"/>
                <a:cs typeface="Arial MT"/>
              </a:rPr>
              <a:t>Ferriere</a:t>
            </a:r>
            <a:r>
              <a:rPr lang="en-US" sz="1800" i="1" spc="-15">
                <a:effectLst/>
                <a:latin typeface="Arial" panose="020B0604020202020204" pitchFamily="34" charset="0"/>
                <a:ea typeface="Arial MT"/>
                <a:cs typeface="Arial MT"/>
              </a:rPr>
              <a:t> </a:t>
            </a:r>
            <a:r>
              <a:rPr lang="en-US" sz="1800" i="1">
                <a:effectLst/>
                <a:latin typeface="Arial" panose="020B0604020202020204" pitchFamily="34" charset="0"/>
                <a:ea typeface="Arial MT"/>
                <a:cs typeface="Arial MT"/>
              </a:rPr>
              <a:t>Nord’s</a:t>
            </a:r>
            <a:r>
              <a:rPr lang="en-US" sz="1800" i="1" spc="-30">
                <a:effectLst/>
                <a:latin typeface="Arial" panose="020B0604020202020204" pitchFamily="34" charset="0"/>
                <a:ea typeface="Arial MT"/>
                <a:cs typeface="Arial MT"/>
              </a:rPr>
              <a:t> </a:t>
            </a:r>
            <a:r>
              <a:rPr lang="en-US" sz="1800" i="1">
                <a:effectLst/>
                <a:latin typeface="Arial" panose="020B0604020202020204" pitchFamily="34" charset="0"/>
                <a:ea typeface="Arial MT"/>
                <a:cs typeface="Arial MT"/>
              </a:rPr>
              <a:t>facility at</a:t>
            </a:r>
            <a:r>
              <a:rPr lang="en-US" sz="1800" i="1" spc="-25">
                <a:effectLst/>
                <a:latin typeface="Arial" panose="020B0604020202020204" pitchFamily="34" charset="0"/>
                <a:ea typeface="Arial MT"/>
                <a:cs typeface="Arial MT"/>
              </a:rPr>
              <a:t> </a:t>
            </a:r>
            <a:r>
              <a:rPr lang="en-US" sz="1800" i="1" err="1">
                <a:effectLst/>
                <a:latin typeface="Arial" panose="020B0604020202020204" pitchFamily="34" charset="0"/>
                <a:ea typeface="Arial MT"/>
                <a:cs typeface="Arial MT"/>
              </a:rPr>
              <a:t>Osoppo</a:t>
            </a:r>
            <a:endParaRPr lang="sv-SE" sz="2800" kern="100">
              <a:solidFill>
                <a:srgbClr val="404040"/>
              </a:solidFill>
              <a:latin typeface="Arial (body)"/>
            </a:endParaRPr>
          </a:p>
        </p:txBody>
      </p:sp>
      <p:sp>
        <p:nvSpPr>
          <p:cNvPr id="26" name="TextBox 25">
            <a:extLst>
              <a:ext uri="{FF2B5EF4-FFF2-40B4-BE49-F238E27FC236}">
                <a16:creationId xmlns:a16="http://schemas.microsoft.com/office/drawing/2014/main" id="{A21F6DD0-2BDA-4DD0-995A-49BD41C91E9E}"/>
              </a:ext>
            </a:extLst>
          </p:cNvPr>
          <p:cNvSpPr txBox="1"/>
          <p:nvPr/>
        </p:nvSpPr>
        <p:spPr>
          <a:xfrm>
            <a:off x="808947" y="3017873"/>
            <a:ext cx="8177835" cy="5632311"/>
          </a:xfrm>
          <a:prstGeom prst="rect">
            <a:avLst/>
          </a:prstGeom>
          <a:noFill/>
        </p:spPr>
        <p:txBody>
          <a:bodyPr wrap="square">
            <a:spAutoFit/>
          </a:bodyPr>
          <a:lstStyle/>
          <a:p>
            <a:pPr lvl="1" algn="just">
              <a:buSzPts val="1100"/>
              <a:tabLst>
                <a:tab pos="528320" algn="l"/>
                <a:tab pos="528955" algn="l"/>
              </a:tabLst>
            </a:pPr>
            <a:r>
              <a:rPr lang="en-US" sz="2000" dirty="0">
                <a:effectLst/>
                <a:latin typeface="Arial MT"/>
                <a:ea typeface="Arial MT"/>
                <a:cs typeface="Arial MT"/>
              </a:rPr>
              <a:t>FERRIERE NORD S.p.A. (FENO), founded in the sixties, is nowadays the leading company of the</a:t>
            </a:r>
            <a:r>
              <a:rPr lang="en-US" sz="2000" spc="5" dirty="0">
                <a:effectLst/>
                <a:latin typeface="Arial MT"/>
                <a:ea typeface="Arial MT"/>
                <a:cs typeface="Arial MT"/>
              </a:rPr>
              <a:t> </a:t>
            </a:r>
            <a:r>
              <a:rPr lang="en-US" sz="2000" dirty="0" err="1">
                <a:effectLst/>
                <a:latin typeface="Arial MT"/>
                <a:ea typeface="Arial MT"/>
                <a:cs typeface="Arial MT"/>
              </a:rPr>
              <a:t>Pittini</a:t>
            </a:r>
            <a:r>
              <a:rPr lang="en-US" sz="2000" dirty="0">
                <a:effectLst/>
                <a:latin typeface="Arial MT"/>
                <a:ea typeface="Arial MT"/>
                <a:cs typeface="Arial MT"/>
              </a:rPr>
              <a:t> Group, an international firm that operates in the field of steel, mainly for the construction and</a:t>
            </a:r>
            <a:r>
              <a:rPr lang="en-US" sz="2000" spc="5" dirty="0">
                <a:effectLst/>
                <a:latin typeface="Arial MT"/>
                <a:ea typeface="Arial MT"/>
                <a:cs typeface="Arial MT"/>
              </a:rPr>
              <a:t> </a:t>
            </a:r>
            <a:r>
              <a:rPr lang="en-US" sz="2000" dirty="0">
                <a:effectLst/>
                <a:latin typeface="Arial MT"/>
                <a:ea typeface="Arial MT"/>
                <a:cs typeface="Arial MT"/>
              </a:rPr>
              <a:t>mechanical industries. </a:t>
            </a:r>
            <a:r>
              <a:rPr lang="en-US" sz="2000" dirty="0" err="1">
                <a:effectLst/>
                <a:latin typeface="Arial MT"/>
                <a:ea typeface="Arial MT"/>
                <a:cs typeface="Arial MT"/>
              </a:rPr>
              <a:t>Pittini</a:t>
            </a:r>
            <a:r>
              <a:rPr lang="en-US" sz="2000" dirty="0">
                <a:effectLst/>
                <a:latin typeface="Arial MT"/>
                <a:ea typeface="Arial MT"/>
                <a:cs typeface="Arial MT"/>
              </a:rPr>
              <a:t> group, with its three manufacturing facilities in </a:t>
            </a:r>
            <a:r>
              <a:rPr lang="en-US" sz="2000" dirty="0" err="1">
                <a:effectLst/>
                <a:latin typeface="Arial MT"/>
                <a:ea typeface="Arial MT"/>
                <a:cs typeface="Arial MT"/>
              </a:rPr>
              <a:t>Osoppo</a:t>
            </a:r>
            <a:r>
              <a:rPr lang="en-US" sz="2000" dirty="0">
                <a:latin typeface="Arial MT"/>
                <a:ea typeface="Arial MT"/>
                <a:cs typeface="Arial MT"/>
              </a:rPr>
              <a:t>, </a:t>
            </a:r>
            <a:r>
              <a:rPr lang="en-US" sz="2000" dirty="0">
                <a:effectLst/>
                <a:latin typeface="Arial MT"/>
                <a:ea typeface="Arial MT"/>
                <a:cs typeface="Arial MT"/>
              </a:rPr>
              <a:t>Potenza and Verona,</a:t>
            </a:r>
            <a:r>
              <a:rPr lang="en-US" sz="2000" spc="5" dirty="0">
                <a:effectLst/>
                <a:latin typeface="Arial MT"/>
                <a:ea typeface="Arial MT"/>
                <a:cs typeface="Arial MT"/>
              </a:rPr>
              <a:t> </a:t>
            </a:r>
            <a:r>
              <a:rPr lang="en-US" sz="2000" dirty="0">
                <a:effectLst/>
                <a:latin typeface="Arial MT"/>
                <a:ea typeface="Arial MT"/>
                <a:cs typeface="Arial MT"/>
              </a:rPr>
              <a:t>can rely on three electric steel mills, three rolling mills for the production of steel bars and coils for</a:t>
            </a:r>
            <a:r>
              <a:rPr lang="en-US" sz="2000" spc="5" dirty="0">
                <a:effectLst/>
                <a:latin typeface="Arial MT"/>
                <a:ea typeface="Arial MT"/>
                <a:cs typeface="Arial MT"/>
              </a:rPr>
              <a:t> </a:t>
            </a:r>
            <a:r>
              <a:rPr lang="en-US" sz="2000" dirty="0">
                <a:effectLst/>
                <a:latin typeface="Arial MT"/>
                <a:ea typeface="Arial MT"/>
                <a:cs typeface="Arial MT"/>
              </a:rPr>
              <a:t>reinforced concrete, one rolling plant for wire rod and several plants for the production of meshes</a:t>
            </a:r>
            <a:r>
              <a:rPr lang="en-US" sz="2000" spc="5" dirty="0">
                <a:effectLst/>
                <a:latin typeface="Arial MT"/>
                <a:ea typeface="Arial MT"/>
                <a:cs typeface="Arial MT"/>
              </a:rPr>
              <a:t> </a:t>
            </a:r>
            <a:r>
              <a:rPr lang="en-US" sz="2000" dirty="0">
                <a:effectLst/>
                <a:latin typeface="Arial MT"/>
                <a:ea typeface="Arial MT"/>
                <a:cs typeface="Arial MT"/>
              </a:rPr>
              <a:t>and</a:t>
            </a:r>
            <a:r>
              <a:rPr lang="en-US" sz="2000" spc="-25" dirty="0">
                <a:effectLst/>
                <a:latin typeface="Arial MT"/>
                <a:ea typeface="Arial MT"/>
                <a:cs typeface="Arial MT"/>
              </a:rPr>
              <a:t> </a:t>
            </a:r>
            <a:r>
              <a:rPr lang="en-US" sz="2000" dirty="0">
                <a:effectLst/>
                <a:latin typeface="Arial MT"/>
                <a:ea typeface="Arial MT"/>
                <a:cs typeface="Arial MT"/>
              </a:rPr>
              <a:t>lattice</a:t>
            </a:r>
            <a:r>
              <a:rPr lang="en-US" sz="2000" spc="-25" dirty="0">
                <a:effectLst/>
                <a:latin typeface="Arial MT"/>
                <a:ea typeface="Arial MT"/>
                <a:cs typeface="Arial MT"/>
              </a:rPr>
              <a:t> </a:t>
            </a:r>
            <a:r>
              <a:rPr lang="en-US" sz="2000" dirty="0">
                <a:effectLst/>
                <a:latin typeface="Arial MT"/>
                <a:ea typeface="Arial MT"/>
                <a:cs typeface="Arial MT"/>
              </a:rPr>
              <a:t>girders.</a:t>
            </a:r>
            <a:r>
              <a:rPr lang="en-US" sz="2000" spc="-25" dirty="0">
                <a:effectLst/>
                <a:latin typeface="Arial MT"/>
                <a:ea typeface="Arial MT"/>
                <a:cs typeface="Arial MT"/>
              </a:rPr>
              <a:t> </a:t>
            </a:r>
            <a:r>
              <a:rPr lang="en-US" sz="2000" dirty="0">
                <a:effectLst/>
                <a:latin typeface="Arial MT"/>
                <a:ea typeface="Arial MT"/>
                <a:cs typeface="Arial MT"/>
              </a:rPr>
              <a:t>FERRIERE</a:t>
            </a:r>
            <a:r>
              <a:rPr lang="en-US" sz="2000" spc="-30" dirty="0">
                <a:effectLst/>
                <a:latin typeface="Arial MT"/>
                <a:ea typeface="Arial MT"/>
                <a:cs typeface="Arial MT"/>
              </a:rPr>
              <a:t> </a:t>
            </a:r>
            <a:r>
              <a:rPr lang="en-US" sz="2000" dirty="0">
                <a:effectLst/>
                <a:latin typeface="Arial MT"/>
                <a:ea typeface="Arial MT"/>
                <a:cs typeface="Arial MT"/>
              </a:rPr>
              <a:t>NORD</a:t>
            </a:r>
            <a:r>
              <a:rPr lang="en-US" sz="2000" spc="-60" dirty="0">
                <a:effectLst/>
                <a:latin typeface="Arial MT"/>
                <a:ea typeface="Arial MT"/>
                <a:cs typeface="Arial MT"/>
              </a:rPr>
              <a:t> </a:t>
            </a:r>
            <a:r>
              <a:rPr lang="en-US" sz="2000" dirty="0">
                <a:effectLst/>
                <a:latin typeface="Arial MT"/>
                <a:ea typeface="Arial MT"/>
                <a:cs typeface="Arial MT"/>
              </a:rPr>
              <a:t>S.p.A.</a:t>
            </a:r>
            <a:r>
              <a:rPr lang="en-US" sz="2000" spc="-25" dirty="0">
                <a:effectLst/>
                <a:latin typeface="Arial MT"/>
                <a:ea typeface="Arial MT"/>
                <a:cs typeface="Arial MT"/>
              </a:rPr>
              <a:t> </a:t>
            </a:r>
            <a:r>
              <a:rPr lang="en-US" sz="2000" dirty="0">
                <a:effectLst/>
                <a:latin typeface="Arial MT"/>
                <a:ea typeface="Arial MT"/>
                <a:cs typeface="Arial MT"/>
              </a:rPr>
              <a:t>steel</a:t>
            </a:r>
            <a:r>
              <a:rPr lang="en-US" sz="2000" spc="-40" dirty="0">
                <a:effectLst/>
                <a:latin typeface="Arial MT"/>
                <a:ea typeface="Arial MT"/>
                <a:cs typeface="Arial MT"/>
              </a:rPr>
              <a:t> </a:t>
            </a:r>
            <a:r>
              <a:rPr lang="en-US" sz="2000" dirty="0">
                <a:effectLst/>
                <a:latin typeface="Arial MT"/>
                <a:ea typeface="Arial MT"/>
                <a:cs typeface="Arial MT"/>
              </a:rPr>
              <a:t>production</a:t>
            </a:r>
            <a:r>
              <a:rPr lang="en-US" sz="2000" spc="-20" dirty="0">
                <a:effectLst/>
                <a:latin typeface="Arial MT"/>
                <a:ea typeface="Arial MT"/>
                <a:cs typeface="Arial MT"/>
              </a:rPr>
              <a:t> </a:t>
            </a:r>
            <a:r>
              <a:rPr lang="en-US" sz="2000" dirty="0">
                <a:effectLst/>
                <a:latin typeface="Arial MT"/>
                <a:ea typeface="Arial MT"/>
                <a:cs typeface="Arial MT"/>
              </a:rPr>
              <a:t>in</a:t>
            </a:r>
            <a:r>
              <a:rPr lang="en-US" sz="2000" spc="-50" dirty="0">
                <a:effectLst/>
                <a:latin typeface="Arial MT"/>
                <a:ea typeface="Arial MT"/>
                <a:cs typeface="Arial MT"/>
              </a:rPr>
              <a:t> </a:t>
            </a:r>
            <a:r>
              <a:rPr lang="en-US" sz="2000" dirty="0">
                <a:effectLst/>
                <a:latin typeface="Arial MT"/>
                <a:ea typeface="Arial MT"/>
                <a:cs typeface="Arial MT"/>
              </a:rPr>
              <a:t>the</a:t>
            </a:r>
            <a:r>
              <a:rPr lang="en-US" sz="2000" spc="-20" dirty="0">
                <a:effectLst/>
                <a:latin typeface="Arial MT"/>
                <a:ea typeface="Arial MT"/>
                <a:cs typeface="Arial MT"/>
              </a:rPr>
              <a:t> </a:t>
            </a:r>
            <a:r>
              <a:rPr lang="en-US" sz="2000" dirty="0" err="1">
                <a:effectLst/>
                <a:latin typeface="Arial MT"/>
                <a:ea typeface="Arial MT"/>
                <a:cs typeface="Arial MT"/>
              </a:rPr>
              <a:t>Osoppo</a:t>
            </a:r>
            <a:r>
              <a:rPr lang="en-US" sz="2000" spc="-25" dirty="0">
                <a:effectLst/>
                <a:latin typeface="Arial MT"/>
                <a:ea typeface="Arial MT"/>
                <a:cs typeface="Arial MT"/>
              </a:rPr>
              <a:t> </a:t>
            </a:r>
            <a:r>
              <a:rPr lang="en-US" sz="2000" dirty="0">
                <a:effectLst/>
                <a:latin typeface="Arial MT"/>
                <a:ea typeface="Arial MT"/>
                <a:cs typeface="Arial MT"/>
              </a:rPr>
              <a:t>site</a:t>
            </a:r>
            <a:r>
              <a:rPr lang="en-US" sz="2000" spc="-25" dirty="0">
                <a:effectLst/>
                <a:latin typeface="Arial MT"/>
                <a:ea typeface="Arial MT"/>
                <a:cs typeface="Arial MT"/>
              </a:rPr>
              <a:t> </a:t>
            </a:r>
            <a:r>
              <a:rPr lang="en-US" sz="2000" dirty="0">
                <a:effectLst/>
                <a:latin typeface="Arial MT"/>
                <a:ea typeface="Arial MT"/>
                <a:cs typeface="Arial MT"/>
              </a:rPr>
              <a:t>reaches</a:t>
            </a:r>
            <a:r>
              <a:rPr lang="en-US" sz="2000" spc="-30" dirty="0">
                <a:effectLst/>
                <a:latin typeface="Arial MT"/>
                <a:ea typeface="Arial MT"/>
                <a:cs typeface="Arial MT"/>
              </a:rPr>
              <a:t> </a:t>
            </a:r>
            <a:r>
              <a:rPr lang="en-US" sz="2000" dirty="0">
                <a:effectLst/>
                <a:latin typeface="Arial MT"/>
                <a:ea typeface="Arial MT"/>
                <a:cs typeface="Arial MT"/>
              </a:rPr>
              <a:t>1.5</a:t>
            </a:r>
            <a:r>
              <a:rPr lang="en-US" sz="2000" spc="-25" dirty="0">
                <a:effectLst/>
                <a:latin typeface="Arial MT"/>
                <a:ea typeface="Arial MT"/>
                <a:cs typeface="Arial MT"/>
              </a:rPr>
              <a:t> </a:t>
            </a:r>
            <a:r>
              <a:rPr lang="en-US" sz="2000" dirty="0">
                <a:effectLst/>
                <a:latin typeface="Arial MT"/>
                <a:ea typeface="Arial MT"/>
                <a:cs typeface="Arial MT"/>
              </a:rPr>
              <a:t>million</a:t>
            </a:r>
            <a:r>
              <a:rPr lang="en-US" sz="2000" spc="-295" dirty="0">
                <a:effectLst/>
                <a:latin typeface="Arial MT"/>
                <a:ea typeface="Arial MT"/>
                <a:cs typeface="Arial MT"/>
              </a:rPr>
              <a:t> </a:t>
            </a:r>
            <a:r>
              <a:rPr lang="en-US" sz="2000" dirty="0">
                <a:effectLst/>
                <a:latin typeface="Arial MT"/>
                <a:ea typeface="Arial MT"/>
                <a:cs typeface="Arial MT"/>
              </a:rPr>
              <a:t>tons</a:t>
            </a:r>
            <a:r>
              <a:rPr lang="en-US" sz="2000" spc="-25" dirty="0">
                <a:effectLst/>
                <a:latin typeface="Arial MT"/>
                <a:ea typeface="Arial MT"/>
                <a:cs typeface="Arial MT"/>
              </a:rPr>
              <a:t> </a:t>
            </a:r>
            <a:r>
              <a:rPr lang="en-US" sz="2000" dirty="0">
                <a:effectLst/>
                <a:latin typeface="Arial MT"/>
                <a:ea typeface="Arial MT"/>
                <a:cs typeface="Arial MT"/>
              </a:rPr>
              <a:t>per</a:t>
            </a:r>
            <a:r>
              <a:rPr lang="en-US" sz="2000" spc="-5" dirty="0">
                <a:effectLst/>
                <a:latin typeface="Arial MT"/>
                <a:ea typeface="Arial MT"/>
                <a:cs typeface="Arial MT"/>
              </a:rPr>
              <a:t> </a:t>
            </a:r>
            <a:r>
              <a:rPr lang="en-US" sz="2000" dirty="0">
                <a:effectLst/>
                <a:latin typeface="Arial MT"/>
                <a:ea typeface="Arial MT"/>
                <a:cs typeface="Arial MT"/>
              </a:rPr>
              <a:t>year</a:t>
            </a:r>
            <a:r>
              <a:rPr lang="en-US" sz="2000" spc="-10" dirty="0">
                <a:effectLst/>
                <a:latin typeface="Arial MT"/>
                <a:ea typeface="Arial MT"/>
                <a:cs typeface="Arial MT"/>
              </a:rPr>
              <a:t> </a:t>
            </a:r>
            <a:r>
              <a:rPr lang="en-US" sz="2000" dirty="0">
                <a:effectLst/>
                <a:latin typeface="Arial MT"/>
                <a:ea typeface="Arial MT"/>
                <a:cs typeface="Arial MT"/>
              </a:rPr>
              <a:t>using</a:t>
            </a:r>
            <a:r>
              <a:rPr lang="en-US" sz="2000" spc="-10" dirty="0">
                <a:effectLst/>
                <a:latin typeface="Arial MT"/>
                <a:ea typeface="Arial MT"/>
                <a:cs typeface="Arial MT"/>
              </a:rPr>
              <a:t> </a:t>
            </a:r>
            <a:r>
              <a:rPr lang="en-US" sz="2000" dirty="0">
                <a:effectLst/>
                <a:latin typeface="Arial MT"/>
                <a:ea typeface="Arial MT"/>
                <a:cs typeface="Arial MT"/>
              </a:rPr>
              <a:t>a</a:t>
            </a:r>
            <a:r>
              <a:rPr lang="en-US" sz="2000" spc="10" dirty="0">
                <a:effectLst/>
                <a:latin typeface="Arial MT"/>
                <a:ea typeface="Arial MT"/>
                <a:cs typeface="Arial MT"/>
              </a:rPr>
              <a:t> </a:t>
            </a:r>
            <a:r>
              <a:rPr lang="en-US" sz="2000" dirty="0">
                <a:effectLst/>
                <a:latin typeface="Arial MT"/>
                <a:ea typeface="Arial MT"/>
                <a:cs typeface="Arial MT"/>
              </a:rPr>
              <a:t>single</a:t>
            </a:r>
            <a:r>
              <a:rPr lang="en-US" sz="2000" spc="15" dirty="0">
                <a:effectLst/>
                <a:latin typeface="Arial MT"/>
                <a:ea typeface="Arial MT"/>
                <a:cs typeface="Arial MT"/>
              </a:rPr>
              <a:t> </a:t>
            </a:r>
            <a:r>
              <a:rPr lang="en-US" sz="2000" dirty="0">
                <a:effectLst/>
                <a:latin typeface="Arial MT"/>
                <a:ea typeface="Arial MT"/>
                <a:cs typeface="Arial MT"/>
              </a:rPr>
              <a:t>EAF</a:t>
            </a:r>
            <a:r>
              <a:rPr lang="en-US" sz="2000" spc="-5" dirty="0">
                <a:effectLst/>
                <a:latin typeface="Arial MT"/>
                <a:ea typeface="Arial MT"/>
                <a:cs typeface="Arial MT"/>
              </a:rPr>
              <a:t> </a:t>
            </a:r>
            <a:r>
              <a:rPr lang="en-US" sz="2000" dirty="0">
                <a:effectLst/>
                <a:latin typeface="Arial MT"/>
                <a:ea typeface="Arial MT"/>
                <a:cs typeface="Arial MT"/>
              </a:rPr>
              <a:t>(electric</a:t>
            </a:r>
            <a:r>
              <a:rPr lang="en-US" sz="2000" spc="5" dirty="0">
                <a:effectLst/>
                <a:latin typeface="Arial MT"/>
                <a:ea typeface="Arial MT"/>
                <a:cs typeface="Arial MT"/>
              </a:rPr>
              <a:t> </a:t>
            </a:r>
            <a:r>
              <a:rPr lang="en-US" sz="2000" dirty="0">
                <a:effectLst/>
                <a:latin typeface="Arial MT"/>
                <a:ea typeface="Arial MT"/>
                <a:cs typeface="Arial MT"/>
              </a:rPr>
              <a:t>arc</a:t>
            </a:r>
            <a:r>
              <a:rPr lang="en-US" sz="2000" spc="-25" dirty="0">
                <a:effectLst/>
                <a:latin typeface="Arial MT"/>
                <a:ea typeface="Arial MT"/>
                <a:cs typeface="Arial MT"/>
              </a:rPr>
              <a:t> </a:t>
            </a:r>
            <a:r>
              <a:rPr lang="en-US" sz="2000" dirty="0">
                <a:effectLst/>
                <a:latin typeface="Arial MT"/>
                <a:ea typeface="Arial MT"/>
                <a:cs typeface="Arial MT"/>
              </a:rPr>
              <a:t>furnace)</a:t>
            </a:r>
            <a:r>
              <a:rPr lang="en-US" sz="2000" spc="-5" dirty="0">
                <a:effectLst/>
                <a:latin typeface="Arial MT"/>
                <a:ea typeface="Arial MT"/>
                <a:cs typeface="Arial MT"/>
              </a:rPr>
              <a:t> </a:t>
            </a:r>
            <a:r>
              <a:rPr lang="en-US" sz="2000" dirty="0">
                <a:effectLst/>
                <a:latin typeface="Arial MT"/>
                <a:ea typeface="Arial MT"/>
                <a:cs typeface="Arial MT"/>
              </a:rPr>
              <a:t>charged</a:t>
            </a:r>
            <a:r>
              <a:rPr lang="en-US" sz="2000" spc="10" dirty="0">
                <a:effectLst/>
                <a:latin typeface="Arial MT"/>
                <a:ea typeface="Arial MT"/>
                <a:cs typeface="Arial MT"/>
              </a:rPr>
              <a:t> </a:t>
            </a:r>
            <a:r>
              <a:rPr lang="en-US" sz="2000" dirty="0">
                <a:effectLst/>
                <a:latin typeface="Arial MT"/>
                <a:ea typeface="Arial MT"/>
                <a:cs typeface="Arial MT"/>
              </a:rPr>
              <a:t>with</a:t>
            </a:r>
            <a:r>
              <a:rPr lang="en-US" sz="2000" spc="-10" dirty="0">
                <a:effectLst/>
                <a:latin typeface="Arial MT"/>
                <a:ea typeface="Arial MT"/>
                <a:cs typeface="Arial MT"/>
              </a:rPr>
              <a:t> </a:t>
            </a:r>
            <a:r>
              <a:rPr lang="en-US" sz="2000" dirty="0">
                <a:effectLst/>
                <a:latin typeface="Arial MT"/>
                <a:ea typeface="Arial MT"/>
                <a:cs typeface="Arial MT"/>
              </a:rPr>
              <a:t>scrap.</a:t>
            </a:r>
          </a:p>
          <a:p>
            <a:pPr lvl="1" algn="just">
              <a:buSzPts val="1100"/>
              <a:tabLst>
                <a:tab pos="528320" algn="l"/>
                <a:tab pos="528955" algn="l"/>
              </a:tabLst>
            </a:pPr>
            <a:r>
              <a:rPr lang="en-US" sz="2000" dirty="0">
                <a:effectLst/>
                <a:latin typeface="Arial MT"/>
                <a:ea typeface="Arial MT"/>
                <a:cs typeface="Arial MT"/>
              </a:rPr>
              <a:t>FERRIERE NORD </a:t>
            </a:r>
            <a:r>
              <a:rPr lang="en-US" sz="2000" dirty="0" err="1">
                <a:effectLst/>
                <a:latin typeface="Arial MT"/>
                <a:ea typeface="Arial MT"/>
                <a:cs typeface="Arial MT"/>
              </a:rPr>
              <a:t>S.p.A.’s</a:t>
            </a:r>
            <a:r>
              <a:rPr lang="en-US" sz="2000" dirty="0">
                <a:effectLst/>
                <a:latin typeface="Arial MT"/>
                <a:ea typeface="Arial MT"/>
                <a:cs typeface="Arial MT"/>
              </a:rPr>
              <a:t> manufacturing practices are centered around the company’s Zero Waste</a:t>
            </a:r>
            <a:r>
              <a:rPr lang="en-US" sz="2000" spc="-295" dirty="0">
                <a:effectLst/>
                <a:latin typeface="Arial MT"/>
                <a:ea typeface="Arial MT"/>
                <a:cs typeface="Arial MT"/>
              </a:rPr>
              <a:t> </a:t>
            </a:r>
            <a:r>
              <a:rPr lang="en-US" sz="2000" spc="-5" dirty="0">
                <a:effectLst/>
                <a:latin typeface="Arial MT"/>
                <a:ea typeface="Arial MT"/>
                <a:cs typeface="Arial MT"/>
              </a:rPr>
              <a:t>Project,</a:t>
            </a:r>
            <a:r>
              <a:rPr lang="en-US" sz="2000" spc="-65" dirty="0">
                <a:effectLst/>
                <a:latin typeface="Arial MT"/>
                <a:ea typeface="Arial MT"/>
                <a:cs typeface="Arial MT"/>
              </a:rPr>
              <a:t> </a:t>
            </a:r>
            <a:r>
              <a:rPr lang="en-US" sz="2000" spc="-5" dirty="0">
                <a:effectLst/>
                <a:latin typeface="Arial MT"/>
                <a:ea typeface="Arial MT"/>
                <a:cs typeface="Arial MT"/>
              </a:rPr>
              <a:t>devoting</a:t>
            </a:r>
            <a:r>
              <a:rPr lang="en-US" sz="2000" spc="-60" dirty="0">
                <a:effectLst/>
                <a:latin typeface="Arial MT"/>
                <a:ea typeface="Arial MT"/>
                <a:cs typeface="Arial MT"/>
              </a:rPr>
              <a:t> </a:t>
            </a:r>
            <a:r>
              <a:rPr lang="en-US" sz="2000" spc="-5" dirty="0">
                <a:effectLst/>
                <a:latin typeface="Arial MT"/>
                <a:ea typeface="Arial MT"/>
                <a:cs typeface="Arial MT"/>
              </a:rPr>
              <a:t>efforts</a:t>
            </a:r>
            <a:r>
              <a:rPr lang="en-US" sz="2000" spc="-70" dirty="0">
                <a:effectLst/>
                <a:latin typeface="Arial MT"/>
                <a:ea typeface="Arial MT"/>
                <a:cs typeface="Arial MT"/>
              </a:rPr>
              <a:t> </a:t>
            </a:r>
            <a:r>
              <a:rPr lang="en-US" sz="2000" spc="-5" dirty="0">
                <a:effectLst/>
                <a:latin typeface="Arial MT"/>
                <a:ea typeface="Arial MT"/>
                <a:cs typeface="Arial MT"/>
              </a:rPr>
              <a:t>to</a:t>
            </a:r>
            <a:r>
              <a:rPr lang="en-US" sz="2000" spc="-35" dirty="0">
                <a:effectLst/>
                <a:latin typeface="Arial MT"/>
                <a:ea typeface="Arial MT"/>
                <a:cs typeface="Arial MT"/>
              </a:rPr>
              <a:t> </a:t>
            </a:r>
            <a:r>
              <a:rPr lang="en-US" sz="2000" spc="-5" dirty="0">
                <a:effectLst/>
                <a:latin typeface="Arial MT"/>
                <a:ea typeface="Arial MT"/>
                <a:cs typeface="Arial MT"/>
              </a:rPr>
              <a:t>recycling</a:t>
            </a:r>
            <a:r>
              <a:rPr lang="en-US" sz="2000" spc="-35" dirty="0">
                <a:effectLst/>
                <a:latin typeface="Arial MT"/>
                <a:ea typeface="Arial MT"/>
                <a:cs typeface="Arial MT"/>
              </a:rPr>
              <a:t> </a:t>
            </a:r>
            <a:r>
              <a:rPr lang="en-US" sz="2000" spc="-5" dirty="0">
                <a:effectLst/>
                <a:latin typeface="Arial MT"/>
                <a:ea typeface="Arial MT"/>
                <a:cs typeface="Arial MT"/>
              </a:rPr>
              <a:t>raw</a:t>
            </a:r>
            <a:r>
              <a:rPr lang="en-US" sz="2000" spc="-75" dirty="0">
                <a:effectLst/>
                <a:latin typeface="Arial MT"/>
                <a:ea typeface="Arial MT"/>
                <a:cs typeface="Arial MT"/>
              </a:rPr>
              <a:t> </a:t>
            </a:r>
            <a:r>
              <a:rPr lang="en-US" sz="2000" spc="-5" dirty="0">
                <a:effectLst/>
                <a:latin typeface="Arial MT"/>
                <a:ea typeface="Arial MT"/>
                <a:cs typeface="Arial MT"/>
              </a:rPr>
              <a:t>materials</a:t>
            </a:r>
            <a:r>
              <a:rPr lang="en-US" sz="2000" spc="-85" dirty="0">
                <a:effectLst/>
                <a:latin typeface="Arial MT"/>
                <a:ea typeface="Arial MT"/>
                <a:cs typeface="Arial MT"/>
              </a:rPr>
              <a:t> </a:t>
            </a:r>
            <a:r>
              <a:rPr lang="en-US" sz="2000" spc="-5" dirty="0">
                <a:effectLst/>
                <a:latin typeface="Arial MT"/>
                <a:ea typeface="Arial MT"/>
                <a:cs typeface="Arial MT"/>
              </a:rPr>
              <a:t>and</a:t>
            </a:r>
            <a:r>
              <a:rPr lang="en-US" sz="2000" spc="-35" dirty="0">
                <a:effectLst/>
                <a:latin typeface="Arial MT"/>
                <a:ea typeface="Arial MT"/>
                <a:cs typeface="Arial MT"/>
              </a:rPr>
              <a:t> </a:t>
            </a:r>
            <a:r>
              <a:rPr lang="en-US" sz="2000" spc="-5" dirty="0">
                <a:effectLst/>
                <a:latin typeface="Arial MT"/>
                <a:ea typeface="Arial MT"/>
                <a:cs typeface="Arial MT"/>
              </a:rPr>
              <a:t>waste.</a:t>
            </a:r>
            <a:r>
              <a:rPr lang="en-US" sz="2000" spc="-65" dirty="0">
                <a:effectLst/>
                <a:latin typeface="Arial MT"/>
                <a:ea typeface="Arial MT"/>
                <a:cs typeface="Arial MT"/>
              </a:rPr>
              <a:t> </a:t>
            </a:r>
            <a:r>
              <a:rPr lang="en-US" sz="2000" dirty="0">
                <a:effectLst/>
                <a:latin typeface="Arial MT"/>
                <a:ea typeface="Arial MT"/>
                <a:cs typeface="Arial MT"/>
              </a:rPr>
              <a:t>The</a:t>
            </a:r>
            <a:r>
              <a:rPr lang="en-US" sz="2000" spc="-60" dirty="0">
                <a:effectLst/>
                <a:latin typeface="Arial MT"/>
                <a:ea typeface="Arial MT"/>
                <a:cs typeface="Arial MT"/>
              </a:rPr>
              <a:t> </a:t>
            </a:r>
            <a:r>
              <a:rPr lang="en-US" sz="2000" dirty="0">
                <a:effectLst/>
                <a:latin typeface="Arial MT"/>
                <a:ea typeface="Arial MT"/>
                <a:cs typeface="Arial MT"/>
              </a:rPr>
              <a:t>facilities</a:t>
            </a:r>
            <a:r>
              <a:rPr lang="en-US" sz="2000" spc="-70" dirty="0">
                <a:effectLst/>
                <a:latin typeface="Arial MT"/>
                <a:ea typeface="Arial MT"/>
                <a:cs typeface="Arial MT"/>
              </a:rPr>
              <a:t> </a:t>
            </a:r>
            <a:r>
              <a:rPr lang="en-US" sz="2000" dirty="0">
                <a:effectLst/>
                <a:latin typeface="Arial MT"/>
                <a:ea typeface="Arial MT"/>
                <a:cs typeface="Arial MT"/>
              </a:rPr>
              <a:t>have</a:t>
            </a:r>
            <a:r>
              <a:rPr lang="en-US" sz="2000" spc="-60" dirty="0">
                <a:effectLst/>
                <a:latin typeface="Arial MT"/>
                <a:ea typeface="Arial MT"/>
                <a:cs typeface="Arial MT"/>
              </a:rPr>
              <a:t> </a:t>
            </a:r>
            <a:r>
              <a:rPr lang="en-US" sz="2000" dirty="0">
                <a:effectLst/>
                <a:latin typeface="Arial MT"/>
                <a:ea typeface="Arial MT"/>
                <a:cs typeface="Arial MT"/>
              </a:rPr>
              <a:t>been</a:t>
            </a:r>
            <a:r>
              <a:rPr lang="en-US" sz="2000" spc="-60" dirty="0">
                <a:effectLst/>
                <a:latin typeface="Arial MT"/>
                <a:ea typeface="Arial MT"/>
                <a:cs typeface="Arial MT"/>
              </a:rPr>
              <a:t> </a:t>
            </a:r>
            <a:r>
              <a:rPr lang="en-US" sz="2000" dirty="0">
                <a:effectLst/>
                <a:latin typeface="Arial MT"/>
                <a:ea typeface="Arial MT"/>
                <a:cs typeface="Arial MT"/>
              </a:rPr>
              <a:t>certified</a:t>
            </a:r>
            <a:r>
              <a:rPr lang="en-US" sz="2000" spc="-55" dirty="0">
                <a:effectLst/>
                <a:latin typeface="Arial MT"/>
                <a:ea typeface="Arial MT"/>
                <a:cs typeface="Arial MT"/>
              </a:rPr>
              <a:t> </a:t>
            </a:r>
            <a:r>
              <a:rPr lang="en-US" sz="2000" dirty="0">
                <a:effectLst/>
                <a:latin typeface="Arial MT"/>
                <a:ea typeface="Arial MT"/>
                <a:cs typeface="Arial MT"/>
              </a:rPr>
              <a:t>under</a:t>
            </a:r>
            <a:r>
              <a:rPr lang="en-US" sz="2000" spc="5" dirty="0">
                <a:effectLst/>
                <a:latin typeface="Arial MT"/>
                <a:ea typeface="Arial MT"/>
                <a:cs typeface="Arial MT"/>
              </a:rPr>
              <a:t> </a:t>
            </a:r>
            <a:r>
              <a:rPr lang="en-US" sz="2000" dirty="0">
                <a:effectLst/>
                <a:latin typeface="Arial MT"/>
                <a:ea typeface="Arial MT"/>
                <a:cs typeface="Arial MT"/>
              </a:rPr>
              <a:t>ISO 9001:2015 for meeting quality management standards and ISO 14001:2015 and 50001:2011</a:t>
            </a:r>
            <a:r>
              <a:rPr lang="en-US" sz="2000" spc="5" dirty="0">
                <a:effectLst/>
                <a:latin typeface="Arial MT"/>
                <a:ea typeface="Arial MT"/>
                <a:cs typeface="Arial MT"/>
              </a:rPr>
              <a:t> </a:t>
            </a:r>
            <a:r>
              <a:rPr lang="en-US" sz="2000" dirty="0">
                <a:effectLst/>
                <a:latin typeface="Arial MT"/>
                <a:ea typeface="Arial MT"/>
                <a:cs typeface="Arial MT"/>
              </a:rPr>
              <a:t>corresponding</a:t>
            </a:r>
            <a:r>
              <a:rPr lang="en-US" sz="2000" spc="-5" dirty="0">
                <a:effectLst/>
                <a:latin typeface="Arial MT"/>
                <a:ea typeface="Arial MT"/>
                <a:cs typeface="Arial MT"/>
              </a:rPr>
              <a:t> </a:t>
            </a:r>
            <a:r>
              <a:rPr lang="en-US" sz="2000" dirty="0">
                <a:effectLst/>
                <a:latin typeface="Arial MT"/>
                <a:ea typeface="Arial MT"/>
                <a:cs typeface="Arial MT"/>
              </a:rPr>
              <a:t>to environmental</a:t>
            </a:r>
            <a:r>
              <a:rPr lang="en-US" sz="2000" spc="-40" dirty="0">
                <a:effectLst/>
                <a:latin typeface="Arial MT"/>
                <a:ea typeface="Arial MT"/>
                <a:cs typeface="Arial MT"/>
              </a:rPr>
              <a:t> </a:t>
            </a:r>
            <a:r>
              <a:rPr lang="en-US" sz="2000" dirty="0">
                <a:effectLst/>
                <a:latin typeface="Arial MT"/>
                <a:ea typeface="Arial MT"/>
                <a:cs typeface="Arial MT"/>
              </a:rPr>
              <a:t>and</a:t>
            </a:r>
            <a:r>
              <a:rPr lang="en-US" sz="2000" spc="-25" dirty="0">
                <a:effectLst/>
                <a:latin typeface="Arial MT"/>
                <a:ea typeface="Arial MT"/>
                <a:cs typeface="Arial MT"/>
              </a:rPr>
              <a:t> </a:t>
            </a:r>
            <a:r>
              <a:rPr lang="en-US" sz="2000" dirty="0">
                <a:effectLst/>
                <a:latin typeface="Arial MT"/>
                <a:ea typeface="Arial MT"/>
                <a:cs typeface="Arial MT"/>
              </a:rPr>
              <a:t>energy</a:t>
            </a:r>
            <a:r>
              <a:rPr lang="en-US" sz="2000" spc="-10" dirty="0">
                <a:effectLst/>
                <a:latin typeface="Arial MT"/>
                <a:ea typeface="Arial MT"/>
                <a:cs typeface="Arial MT"/>
              </a:rPr>
              <a:t> </a:t>
            </a:r>
            <a:r>
              <a:rPr lang="en-US" sz="2000" dirty="0">
                <a:effectLst/>
                <a:latin typeface="Arial MT"/>
                <a:ea typeface="Arial MT"/>
                <a:cs typeface="Arial MT"/>
              </a:rPr>
              <a:t>management</a:t>
            </a:r>
            <a:r>
              <a:rPr lang="en-US" sz="2000" spc="-30" dirty="0">
                <a:effectLst/>
                <a:latin typeface="Arial MT"/>
                <a:ea typeface="Arial MT"/>
                <a:cs typeface="Arial MT"/>
              </a:rPr>
              <a:t> </a:t>
            </a:r>
            <a:r>
              <a:rPr lang="en-US" sz="2000" dirty="0">
                <a:effectLst/>
                <a:latin typeface="Arial MT"/>
                <a:ea typeface="Arial MT"/>
                <a:cs typeface="Arial MT"/>
              </a:rPr>
              <a:t>standards</a:t>
            </a:r>
            <a:r>
              <a:rPr lang="en-US" sz="2000" spc="-35" dirty="0">
                <a:effectLst/>
                <a:latin typeface="Arial MT"/>
                <a:ea typeface="Arial MT"/>
                <a:cs typeface="Arial MT"/>
              </a:rPr>
              <a:t> </a:t>
            </a:r>
            <a:r>
              <a:rPr lang="en-US" sz="2000" dirty="0">
                <a:effectLst/>
                <a:latin typeface="Arial MT"/>
                <a:ea typeface="Arial MT"/>
                <a:cs typeface="Arial MT"/>
              </a:rPr>
              <a:t>compliance,</a:t>
            </a:r>
            <a:r>
              <a:rPr lang="en-US" sz="2000" spc="-10" dirty="0">
                <a:effectLst/>
                <a:latin typeface="Arial MT"/>
                <a:ea typeface="Arial MT"/>
                <a:cs typeface="Arial MT"/>
              </a:rPr>
              <a:t> </a:t>
            </a:r>
            <a:r>
              <a:rPr lang="en-US" sz="2000" dirty="0">
                <a:effectLst/>
                <a:latin typeface="Arial MT"/>
                <a:ea typeface="Arial MT"/>
                <a:cs typeface="Arial MT"/>
              </a:rPr>
              <a:t>respectively.</a:t>
            </a:r>
            <a:endParaRPr lang="sv-SE" sz="2000" kern="100" dirty="0">
              <a:solidFill>
                <a:srgbClr val="404040"/>
              </a:solidFill>
              <a:latin typeface="Arial (body)"/>
            </a:endParaRPr>
          </a:p>
        </p:txBody>
      </p:sp>
      <p:pic>
        <p:nvPicPr>
          <p:cNvPr id="21" name="image40.jpeg">
            <a:extLst>
              <a:ext uri="{FF2B5EF4-FFF2-40B4-BE49-F238E27FC236}">
                <a16:creationId xmlns:a16="http://schemas.microsoft.com/office/drawing/2014/main" id="{64FE5F8D-67B9-45A8-98D4-66ACA642D403}"/>
              </a:ext>
            </a:extLst>
          </p:cNvPr>
          <p:cNvPicPr>
            <a:picLocks noChangeAspect="1"/>
          </p:cNvPicPr>
          <p:nvPr/>
        </p:nvPicPr>
        <p:blipFill>
          <a:blip r:embed="rId6" cstate="print"/>
          <a:stretch>
            <a:fillRect/>
          </a:stretch>
        </p:blipFill>
        <p:spPr>
          <a:xfrm>
            <a:off x="10320337" y="2537667"/>
            <a:ext cx="7158716" cy="4278094"/>
          </a:xfrm>
          <a:prstGeom prst="rect">
            <a:avLst/>
          </a:prstGeom>
        </p:spPr>
      </p:pic>
      <p:pic>
        <p:nvPicPr>
          <p:cNvPr id="22" name="Imagen 115">
            <a:extLst>
              <a:ext uri="{FF2B5EF4-FFF2-40B4-BE49-F238E27FC236}">
                <a16:creationId xmlns:a16="http://schemas.microsoft.com/office/drawing/2014/main" id="{39605F8B-6D50-4E47-88E6-5E260EBB71C9}"/>
              </a:ext>
            </a:extLst>
          </p:cNvPr>
          <p:cNvPicPr>
            <a:picLocks noChangeAspect="1"/>
          </p:cNvPicPr>
          <p:nvPr/>
        </p:nvPicPr>
        <p:blipFill>
          <a:blip r:embed="rId7"/>
          <a:stretch>
            <a:fillRect/>
          </a:stretch>
        </p:blipFill>
        <p:spPr>
          <a:xfrm>
            <a:off x="4124416" y="1294464"/>
            <a:ext cx="1812359" cy="1521412"/>
          </a:xfrm>
          <a:prstGeom prst="rect">
            <a:avLst/>
          </a:prstGeom>
        </p:spPr>
      </p:pic>
    </p:spTree>
    <p:extLst>
      <p:ext uri="{BB962C8B-B14F-4D97-AF65-F5344CB8AC3E}">
        <p14:creationId xmlns:p14="http://schemas.microsoft.com/office/powerpoint/2010/main" val="239088258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uppo 16">
            <a:extLst>
              <a:ext uri="{FF2B5EF4-FFF2-40B4-BE49-F238E27FC236}">
                <a16:creationId xmlns:a16="http://schemas.microsoft.com/office/drawing/2014/main" id="{7F05FA2D-BA17-4C4E-9DAE-36CC81DE9BAA}"/>
              </a:ext>
            </a:extLst>
          </p:cNvPr>
          <p:cNvGrpSpPr/>
          <p:nvPr/>
        </p:nvGrpSpPr>
        <p:grpSpPr>
          <a:xfrm>
            <a:off x="4329156" y="9695736"/>
            <a:ext cx="13958844" cy="666567"/>
            <a:chOff x="4329156" y="9649198"/>
            <a:chExt cx="13958844" cy="666567"/>
          </a:xfrm>
        </p:grpSpPr>
        <p:pic>
          <p:nvPicPr>
            <p:cNvPr id="5" name="Picture 12">
              <a:extLst>
                <a:ext uri="{FF2B5EF4-FFF2-40B4-BE49-F238E27FC236}">
                  <a16:creationId xmlns:a16="http://schemas.microsoft.com/office/drawing/2014/main" id="{00810EF5-3949-4698-A5DE-428CD380175F}"/>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6" name="TextBox 16">
              <a:extLst>
                <a:ext uri="{FF2B5EF4-FFF2-40B4-BE49-F238E27FC236}">
                  <a16:creationId xmlns:a16="http://schemas.microsoft.com/office/drawing/2014/main" id="{EDDD1531-1BDA-4725-B6A3-364F4B7CF76A}"/>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pic>
        <p:nvPicPr>
          <p:cNvPr id="7" name="Picture 12">
            <a:extLst>
              <a:ext uri="{FF2B5EF4-FFF2-40B4-BE49-F238E27FC236}">
                <a16:creationId xmlns:a16="http://schemas.microsoft.com/office/drawing/2014/main" id="{52C35A30-8BA0-4714-8363-E6CE748BA2C3}"/>
              </a:ext>
            </a:extLst>
          </p:cNvPr>
          <p:cNvPicPr>
            <a:picLocks noChangeAspect="1"/>
          </p:cNvPicPr>
          <p:nvPr/>
        </p:nvPicPr>
        <p:blipFill>
          <a:blip r:embed="rId4"/>
          <a:srcRect/>
          <a:stretch>
            <a:fillRect/>
          </a:stretch>
        </p:blipFill>
        <p:spPr>
          <a:xfrm>
            <a:off x="0" y="8901113"/>
            <a:ext cx="5715000" cy="1385887"/>
          </a:xfrm>
          <a:prstGeom prst="rect">
            <a:avLst/>
          </a:prstGeom>
        </p:spPr>
      </p:pic>
      <p:grpSp>
        <p:nvGrpSpPr>
          <p:cNvPr id="8" name="Gruppo 2">
            <a:extLst>
              <a:ext uri="{FF2B5EF4-FFF2-40B4-BE49-F238E27FC236}">
                <a16:creationId xmlns:a16="http://schemas.microsoft.com/office/drawing/2014/main" id="{C9C93A65-4067-4ACC-B2C9-8C15277024E4}"/>
              </a:ext>
            </a:extLst>
          </p:cNvPr>
          <p:cNvGrpSpPr/>
          <p:nvPr/>
        </p:nvGrpSpPr>
        <p:grpSpPr>
          <a:xfrm>
            <a:off x="-12" y="138554"/>
            <a:ext cx="18288002" cy="681138"/>
            <a:chOff x="-12" y="138554"/>
            <a:chExt cx="18288002" cy="681138"/>
          </a:xfrm>
        </p:grpSpPr>
        <p:grpSp>
          <p:nvGrpSpPr>
            <p:cNvPr id="9" name="Gruppo 1">
              <a:extLst>
                <a:ext uri="{FF2B5EF4-FFF2-40B4-BE49-F238E27FC236}">
                  <a16:creationId xmlns:a16="http://schemas.microsoft.com/office/drawing/2014/main" id="{A943E672-738C-4FE3-BD35-ACD7A4E4D95E}"/>
                </a:ext>
              </a:extLst>
            </p:cNvPr>
            <p:cNvGrpSpPr/>
            <p:nvPr/>
          </p:nvGrpSpPr>
          <p:grpSpPr>
            <a:xfrm>
              <a:off x="0" y="153125"/>
              <a:ext cx="17907000" cy="666567"/>
              <a:chOff x="0" y="153125"/>
              <a:chExt cx="17907000" cy="666567"/>
            </a:xfrm>
          </p:grpSpPr>
          <p:grpSp>
            <p:nvGrpSpPr>
              <p:cNvPr id="11" name="Gruppo 15">
                <a:extLst>
                  <a:ext uri="{FF2B5EF4-FFF2-40B4-BE49-F238E27FC236}">
                    <a16:creationId xmlns:a16="http://schemas.microsoft.com/office/drawing/2014/main" id="{10037738-5D9A-4755-B52F-99B1FA543ED3}"/>
                  </a:ext>
                </a:extLst>
              </p:cNvPr>
              <p:cNvGrpSpPr/>
              <p:nvPr/>
            </p:nvGrpSpPr>
            <p:grpSpPr>
              <a:xfrm>
                <a:off x="0" y="153125"/>
                <a:ext cx="13958844" cy="666567"/>
                <a:chOff x="0" y="153125"/>
                <a:chExt cx="13958844" cy="666567"/>
              </a:xfrm>
            </p:grpSpPr>
            <p:pic>
              <p:nvPicPr>
                <p:cNvPr id="13" name="Picture 10">
                  <a:extLst>
                    <a:ext uri="{FF2B5EF4-FFF2-40B4-BE49-F238E27FC236}">
                      <a16:creationId xmlns:a16="http://schemas.microsoft.com/office/drawing/2014/main" id="{30234B5E-6FF9-499F-817A-9B69F1CC9911}"/>
                    </a:ext>
                  </a:extLst>
                </p:cNvPr>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4" name="TextBox 11">
                  <a:extLst>
                    <a:ext uri="{FF2B5EF4-FFF2-40B4-BE49-F238E27FC236}">
                      <a16:creationId xmlns:a16="http://schemas.microsoft.com/office/drawing/2014/main" id="{E5F3FE84-033A-4279-AF93-ABD80EC40550}"/>
                    </a:ext>
                  </a:extLst>
                </p:cNvPr>
                <p:cNvSpPr txBox="1"/>
                <p:nvPr/>
              </p:nvSpPr>
              <p:spPr>
                <a:xfrm>
                  <a:off x="228600" y="257980"/>
                  <a:ext cx="9296400" cy="456856"/>
                </a:xfrm>
                <a:prstGeom prst="rect">
                  <a:avLst/>
                </a:prstGeom>
              </p:spPr>
              <p:txBody>
                <a:bodyPr wrap="square" lIns="0" tIns="0" rIns="0" bIns="0" rtlCol="0" anchor="t">
                  <a:spAutoFit/>
                </a:bodyPr>
                <a:lstStyle/>
                <a:p>
                  <a:pPr>
                    <a:lnSpc>
                      <a:spcPts val="3919"/>
                    </a:lnSpc>
                    <a:spcBef>
                      <a:spcPct val="0"/>
                    </a:spcBef>
                  </a:pPr>
                  <a:endParaRPr lang="en-US" sz="2800" b="1">
                    <a:solidFill>
                      <a:srgbClr val="FFFFFF"/>
                    </a:solidFill>
                    <a:latin typeface="Arial" panose="020B0604020202020204" pitchFamily="34" charset="0"/>
                    <a:cs typeface="Arial" panose="020B0604020202020204" pitchFamily="34" charset="0"/>
                  </a:endParaRPr>
                </a:p>
              </p:txBody>
            </p:sp>
          </p:grpSp>
          <p:sp>
            <p:nvSpPr>
              <p:cNvPr id="12" name="TextBox 11">
                <a:extLst>
                  <a:ext uri="{FF2B5EF4-FFF2-40B4-BE49-F238E27FC236}">
                    <a16:creationId xmlns:a16="http://schemas.microsoft.com/office/drawing/2014/main" id="{7B4365DB-7AB3-494A-91B9-B5781D39B67B}"/>
                  </a:ext>
                </a:extLst>
              </p:cNvPr>
              <p:cNvSpPr txBox="1"/>
              <p:nvPr/>
            </p:nvSpPr>
            <p:spPr>
              <a:xfrm>
                <a:off x="12154296" y="257980"/>
                <a:ext cx="5752704" cy="456856"/>
              </a:xfrm>
              <a:prstGeom prst="rect">
                <a:avLst/>
              </a:prstGeom>
            </p:spPr>
            <p:txBody>
              <a:bodyPr wrap="square" lIns="0" tIns="0" rIns="0" bIns="0" rtlCol="0" anchor="t">
                <a:spAutoFit/>
              </a:bodyPr>
              <a:lstStyle/>
              <a:p>
                <a:pPr algn="r">
                  <a:lnSpc>
                    <a:spcPts val="3919"/>
                  </a:lnSpc>
                  <a:spcBef>
                    <a:spcPct val="0"/>
                  </a:spcBef>
                </a:pPr>
                <a:endParaRPr lang="en-US" sz="2800">
                  <a:solidFill>
                    <a:schemeClr val="tx1">
                      <a:lumMod val="75000"/>
                      <a:lumOff val="25000"/>
                    </a:schemeClr>
                  </a:solidFill>
                  <a:latin typeface="Arial" panose="020B0604020202020204" pitchFamily="34" charset="0"/>
                  <a:cs typeface="Arial" panose="020B0604020202020204" pitchFamily="34" charset="0"/>
                </a:endParaRPr>
              </a:p>
            </p:txBody>
          </p:sp>
        </p:grpSp>
        <p:sp>
          <p:nvSpPr>
            <p:cNvPr id="10" name="Rettangolo 13">
              <a:extLst>
                <a:ext uri="{FF2B5EF4-FFF2-40B4-BE49-F238E27FC236}">
                  <a16:creationId xmlns:a16="http://schemas.microsoft.com/office/drawing/2014/main" id="{BC76EB51-B4AB-4BAB-AAF6-1883074EEF50}"/>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9" name="TextBox 18">
            <a:extLst>
              <a:ext uri="{FF2B5EF4-FFF2-40B4-BE49-F238E27FC236}">
                <a16:creationId xmlns:a16="http://schemas.microsoft.com/office/drawing/2014/main" id="{687AB5ED-77D2-45EC-AF55-339AC7DA13BE}"/>
              </a:ext>
            </a:extLst>
          </p:cNvPr>
          <p:cNvSpPr txBox="1"/>
          <p:nvPr/>
        </p:nvSpPr>
        <p:spPr>
          <a:xfrm>
            <a:off x="448707" y="1201221"/>
            <a:ext cx="9144000" cy="646331"/>
          </a:xfrm>
          <a:prstGeom prst="rect">
            <a:avLst/>
          </a:prstGeom>
          <a:noFill/>
        </p:spPr>
        <p:txBody>
          <a:bodyPr wrap="square">
            <a:spAutoFit/>
          </a:bodyPr>
          <a:lstStyle/>
          <a:p>
            <a:r>
              <a:rPr lang="en-US" sz="3600" b="1">
                <a:solidFill>
                  <a:srgbClr val="CC0033"/>
                </a:solidFill>
                <a:latin typeface="+mj-lt"/>
                <a:cs typeface="Arial" panose="020B0604020202020204" pitchFamily="34" charset="0"/>
              </a:rPr>
              <a:t>Production process in PITTINI-FENO</a:t>
            </a:r>
            <a:endParaRPr lang="sv-SE" sz="3600"/>
          </a:p>
        </p:txBody>
      </p:sp>
      <p:pic>
        <p:nvPicPr>
          <p:cNvPr id="29" name="image41.png">
            <a:extLst>
              <a:ext uri="{FF2B5EF4-FFF2-40B4-BE49-F238E27FC236}">
                <a16:creationId xmlns:a16="http://schemas.microsoft.com/office/drawing/2014/main" id="{CD68272E-D765-4006-9DAC-6A197D513C9D}"/>
              </a:ext>
            </a:extLst>
          </p:cNvPr>
          <p:cNvPicPr>
            <a:picLocks noChangeAspect="1"/>
          </p:cNvPicPr>
          <p:nvPr/>
        </p:nvPicPr>
        <p:blipFill>
          <a:blip r:embed="rId6" cstate="print"/>
          <a:stretch>
            <a:fillRect/>
          </a:stretch>
        </p:blipFill>
        <p:spPr>
          <a:xfrm>
            <a:off x="2857500" y="851122"/>
            <a:ext cx="14533172" cy="8535059"/>
          </a:xfrm>
          <a:prstGeom prst="rect">
            <a:avLst/>
          </a:prstGeom>
        </p:spPr>
      </p:pic>
      <p:sp>
        <p:nvSpPr>
          <p:cNvPr id="3" name="TextBox 2">
            <a:extLst>
              <a:ext uri="{FF2B5EF4-FFF2-40B4-BE49-F238E27FC236}">
                <a16:creationId xmlns:a16="http://schemas.microsoft.com/office/drawing/2014/main" id="{D4D89C44-C14B-269F-B505-BA01265DDEB3}"/>
              </a:ext>
            </a:extLst>
          </p:cNvPr>
          <p:cNvSpPr txBox="1"/>
          <p:nvPr/>
        </p:nvSpPr>
        <p:spPr>
          <a:xfrm>
            <a:off x="897328" y="5665116"/>
            <a:ext cx="8938060" cy="2926442"/>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algn="ctr">
              <a:lnSpc>
                <a:spcPct val="150000"/>
              </a:lnSpc>
            </a:pPr>
            <a:r>
              <a:rPr lang="en-US" sz="2400" b="1" i="0" u="none" strike="noStrike" baseline="0">
                <a:solidFill>
                  <a:srgbClr val="000000"/>
                </a:solidFill>
                <a:latin typeface="+mj-lt"/>
              </a:rPr>
              <a:t>Process description</a:t>
            </a:r>
          </a:p>
          <a:p>
            <a:pPr marL="71120" marR="294640" algn="just">
              <a:spcBef>
                <a:spcPts val="470"/>
              </a:spcBef>
              <a:spcAft>
                <a:spcPts val="0"/>
              </a:spcAft>
            </a:pPr>
            <a:r>
              <a:rPr lang="en-US" sz="2400">
                <a:solidFill>
                  <a:srgbClr val="374151"/>
                </a:solidFill>
                <a:latin typeface="+mj-lt"/>
              </a:rPr>
              <a:t>The Electric Arc Furnace melts the scrap to liquid steel and increases its temperature to the desired value. The liquid steel is treated in the Ladle Furnace, where the chemical composition and steel temperature are adjusted. It is then put into a Continuous Casting Machine where liquid steel becomes solid in the shape of square billets. </a:t>
            </a:r>
          </a:p>
        </p:txBody>
      </p:sp>
      <p:sp>
        <p:nvSpPr>
          <p:cNvPr id="2" name="textruta 1">
            <a:extLst>
              <a:ext uri="{FF2B5EF4-FFF2-40B4-BE49-F238E27FC236}">
                <a16:creationId xmlns:a16="http://schemas.microsoft.com/office/drawing/2014/main" id="{4379A702-9341-057D-9EEF-75A024332069}"/>
              </a:ext>
            </a:extLst>
          </p:cNvPr>
          <p:cNvSpPr txBox="1"/>
          <p:nvPr/>
        </p:nvSpPr>
        <p:spPr>
          <a:xfrm>
            <a:off x="3753676" y="4532400"/>
            <a:ext cx="1612682" cy="369332"/>
          </a:xfrm>
          <a:prstGeom prst="rect">
            <a:avLst/>
          </a:prstGeom>
          <a:noFill/>
        </p:spPr>
        <p:txBody>
          <a:bodyPr wrap="square">
            <a:spAutoFit/>
          </a:bodyPr>
          <a:lstStyle/>
          <a:p>
            <a:pPr algn="ctr"/>
            <a:r>
              <a:rPr lang="sv-SE" b="1"/>
              <a:t>2</a:t>
            </a:r>
            <a:r>
              <a:rPr lang="sv-SE" b="1">
                <a:solidFill>
                  <a:schemeClr val="tx1"/>
                </a:solidFill>
              </a:rPr>
              <a:t>.</a:t>
            </a:r>
          </a:p>
        </p:txBody>
      </p:sp>
      <p:sp>
        <p:nvSpPr>
          <p:cNvPr id="15" name="textruta 14">
            <a:extLst>
              <a:ext uri="{FF2B5EF4-FFF2-40B4-BE49-F238E27FC236}">
                <a16:creationId xmlns:a16="http://schemas.microsoft.com/office/drawing/2014/main" id="{BCADA39F-47D1-EBA2-0078-E576835E784B}"/>
              </a:ext>
            </a:extLst>
          </p:cNvPr>
          <p:cNvSpPr txBox="1"/>
          <p:nvPr/>
        </p:nvSpPr>
        <p:spPr>
          <a:xfrm>
            <a:off x="1967249" y="4532400"/>
            <a:ext cx="1612682" cy="369332"/>
          </a:xfrm>
          <a:prstGeom prst="rect">
            <a:avLst/>
          </a:prstGeom>
          <a:noFill/>
        </p:spPr>
        <p:txBody>
          <a:bodyPr wrap="square">
            <a:spAutoFit/>
          </a:bodyPr>
          <a:lstStyle/>
          <a:p>
            <a:pPr algn="ctr"/>
            <a:r>
              <a:rPr lang="sv-SE" b="1">
                <a:solidFill>
                  <a:schemeClr val="tx1"/>
                </a:solidFill>
              </a:rPr>
              <a:t>1.</a:t>
            </a:r>
          </a:p>
        </p:txBody>
      </p:sp>
      <p:sp>
        <p:nvSpPr>
          <p:cNvPr id="16" name="textruta 15">
            <a:extLst>
              <a:ext uri="{FF2B5EF4-FFF2-40B4-BE49-F238E27FC236}">
                <a16:creationId xmlns:a16="http://schemas.microsoft.com/office/drawing/2014/main" id="{4D0691D0-5405-8A0D-A736-C7C7E4B3E34E}"/>
              </a:ext>
            </a:extLst>
          </p:cNvPr>
          <p:cNvSpPr txBox="1"/>
          <p:nvPr/>
        </p:nvSpPr>
        <p:spPr>
          <a:xfrm>
            <a:off x="5631090" y="4452590"/>
            <a:ext cx="1612682" cy="369332"/>
          </a:xfrm>
          <a:prstGeom prst="rect">
            <a:avLst/>
          </a:prstGeom>
          <a:noFill/>
        </p:spPr>
        <p:txBody>
          <a:bodyPr wrap="square">
            <a:spAutoFit/>
          </a:bodyPr>
          <a:lstStyle/>
          <a:p>
            <a:pPr algn="ctr"/>
            <a:r>
              <a:rPr lang="sv-SE" b="1">
                <a:solidFill>
                  <a:schemeClr val="tx1"/>
                </a:solidFill>
              </a:rPr>
              <a:t>3.</a:t>
            </a:r>
          </a:p>
        </p:txBody>
      </p:sp>
      <p:sp>
        <p:nvSpPr>
          <p:cNvPr id="17" name="textruta 16">
            <a:extLst>
              <a:ext uri="{FF2B5EF4-FFF2-40B4-BE49-F238E27FC236}">
                <a16:creationId xmlns:a16="http://schemas.microsoft.com/office/drawing/2014/main" id="{E6182F17-55F4-AE21-A65D-D7C40365F574}"/>
              </a:ext>
            </a:extLst>
          </p:cNvPr>
          <p:cNvSpPr txBox="1"/>
          <p:nvPr/>
        </p:nvSpPr>
        <p:spPr>
          <a:xfrm>
            <a:off x="7243772" y="4491070"/>
            <a:ext cx="1612682" cy="369332"/>
          </a:xfrm>
          <a:prstGeom prst="rect">
            <a:avLst/>
          </a:prstGeom>
          <a:noFill/>
        </p:spPr>
        <p:txBody>
          <a:bodyPr wrap="square">
            <a:spAutoFit/>
          </a:bodyPr>
          <a:lstStyle/>
          <a:p>
            <a:pPr algn="ctr"/>
            <a:r>
              <a:rPr lang="sv-SE" b="1">
                <a:solidFill>
                  <a:schemeClr val="tx1"/>
                </a:solidFill>
              </a:rPr>
              <a:t>4.</a:t>
            </a:r>
          </a:p>
        </p:txBody>
      </p:sp>
      <p:sp>
        <p:nvSpPr>
          <p:cNvPr id="18" name="textruta 17">
            <a:extLst>
              <a:ext uri="{FF2B5EF4-FFF2-40B4-BE49-F238E27FC236}">
                <a16:creationId xmlns:a16="http://schemas.microsoft.com/office/drawing/2014/main" id="{11650C62-2951-27CB-1820-8179B7E6A02D}"/>
              </a:ext>
            </a:extLst>
          </p:cNvPr>
          <p:cNvSpPr txBox="1"/>
          <p:nvPr/>
        </p:nvSpPr>
        <p:spPr>
          <a:xfrm>
            <a:off x="10774590" y="2452340"/>
            <a:ext cx="1612682" cy="369332"/>
          </a:xfrm>
          <a:prstGeom prst="rect">
            <a:avLst/>
          </a:prstGeom>
          <a:noFill/>
        </p:spPr>
        <p:txBody>
          <a:bodyPr wrap="square">
            <a:spAutoFit/>
          </a:bodyPr>
          <a:lstStyle/>
          <a:p>
            <a:pPr algn="ctr"/>
            <a:r>
              <a:rPr lang="sv-SE" b="1"/>
              <a:t>5</a:t>
            </a:r>
            <a:r>
              <a:rPr lang="sv-SE" b="1">
                <a:solidFill>
                  <a:schemeClr val="tx1"/>
                </a:solidFill>
              </a:rPr>
              <a:t>.</a:t>
            </a:r>
          </a:p>
        </p:txBody>
      </p:sp>
      <p:sp>
        <p:nvSpPr>
          <p:cNvPr id="20" name="textruta 19">
            <a:extLst>
              <a:ext uri="{FF2B5EF4-FFF2-40B4-BE49-F238E27FC236}">
                <a16:creationId xmlns:a16="http://schemas.microsoft.com/office/drawing/2014/main" id="{D62A11D7-C543-4D36-5321-8C94C423E96A}"/>
              </a:ext>
            </a:extLst>
          </p:cNvPr>
          <p:cNvSpPr txBox="1"/>
          <p:nvPr/>
        </p:nvSpPr>
        <p:spPr>
          <a:xfrm>
            <a:off x="14224307" y="3442940"/>
            <a:ext cx="1612682" cy="369332"/>
          </a:xfrm>
          <a:prstGeom prst="rect">
            <a:avLst/>
          </a:prstGeom>
          <a:noFill/>
        </p:spPr>
        <p:txBody>
          <a:bodyPr wrap="square">
            <a:spAutoFit/>
          </a:bodyPr>
          <a:lstStyle/>
          <a:p>
            <a:pPr algn="ctr"/>
            <a:r>
              <a:rPr lang="sv-SE" b="1"/>
              <a:t>5</a:t>
            </a:r>
            <a:r>
              <a:rPr lang="sv-SE" b="1">
                <a:solidFill>
                  <a:schemeClr val="tx1"/>
                </a:solidFill>
              </a:rPr>
              <a:t>.</a:t>
            </a:r>
          </a:p>
        </p:txBody>
      </p:sp>
    </p:spTree>
    <p:extLst>
      <p:ext uri="{BB962C8B-B14F-4D97-AF65-F5344CB8AC3E}">
        <p14:creationId xmlns:p14="http://schemas.microsoft.com/office/powerpoint/2010/main" val="79154842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6"/>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4"/>
          <a:srcRect/>
          <a:stretch>
            <a:fillRect/>
          </a:stretch>
        </p:blipFill>
        <p:spPr>
          <a:xfrm>
            <a:off x="0" y="8852181"/>
            <a:ext cx="5715000" cy="1385887"/>
          </a:xfrm>
          <a:prstGeom prst="rect">
            <a:avLst/>
          </a:prstGeom>
        </p:spPr>
      </p:pic>
      <p:grpSp>
        <p:nvGrpSpPr>
          <p:cNvPr id="3" name="Gruppo 2">
            <a:extLst>
              <a:ext uri="{FF2B5EF4-FFF2-40B4-BE49-F238E27FC236}">
                <a16:creationId xmlns:a16="http://schemas.microsoft.com/office/drawing/2014/main" id="{1C29CBCA-BE0A-4EF6-AC69-329941E1DCFD}"/>
              </a:ext>
            </a:extLst>
          </p:cNvPr>
          <p:cNvGrpSpPr/>
          <p:nvPr/>
        </p:nvGrpSpPr>
        <p:grpSpPr>
          <a:xfrm>
            <a:off x="-12" y="138554"/>
            <a:ext cx="18288002" cy="681138"/>
            <a:chOff x="-12" y="138554"/>
            <a:chExt cx="18288002" cy="681138"/>
          </a:xfrm>
        </p:grpSpPr>
        <p:grpSp>
          <p:nvGrpSpPr>
            <p:cNvPr id="2" name="Gruppo 1">
              <a:extLst>
                <a:ext uri="{FF2B5EF4-FFF2-40B4-BE49-F238E27FC236}">
                  <a16:creationId xmlns:a16="http://schemas.microsoft.com/office/drawing/2014/main" id="{24E9C7AF-0093-476F-826C-A2702AB72892}"/>
                </a:ext>
              </a:extLst>
            </p:cNvPr>
            <p:cNvGrpSpPr/>
            <p:nvPr/>
          </p:nvGrpSpPr>
          <p:grpSpPr>
            <a:xfrm>
              <a:off x="0" y="153125"/>
              <a:ext cx="17907000" cy="666567"/>
              <a:chOff x="0" y="153125"/>
              <a:chExt cx="17907000" cy="666567"/>
            </a:xfrm>
          </p:grpSpPr>
          <p:grpSp>
            <p:nvGrpSpPr>
              <p:cNvPr id="16" name="Gruppo 15">
                <a:extLst>
                  <a:ext uri="{FF2B5EF4-FFF2-40B4-BE49-F238E27FC236}">
                    <a16:creationId xmlns:a16="http://schemas.microsoft.com/office/drawing/2014/main" id="{DAC42A46-917D-41AB-8F07-E15E54D0F7D4}"/>
                  </a:ext>
                </a:extLst>
              </p:cNvPr>
              <p:cNvGrpSpPr/>
              <p:nvPr/>
            </p:nvGrpSpPr>
            <p:grpSpPr>
              <a:xfrm>
                <a:off x="0" y="153125"/>
                <a:ext cx="13958844" cy="666567"/>
                <a:chOff x="0" y="153125"/>
                <a:chExt cx="13958844" cy="666567"/>
              </a:xfrm>
            </p:grpSpPr>
            <p:pic>
              <p:nvPicPr>
                <p:cNvPr id="10" name="Picture 10"/>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1" name="TextBox 11"/>
                <p:cNvSpPr txBox="1"/>
                <p:nvPr/>
              </p:nvSpPr>
              <p:spPr>
                <a:xfrm>
                  <a:off x="228600" y="257980"/>
                  <a:ext cx="9296400" cy="456856"/>
                </a:xfrm>
                <a:prstGeom prst="rect">
                  <a:avLst/>
                </a:prstGeom>
              </p:spPr>
              <p:txBody>
                <a:bodyPr wrap="square" lIns="0" tIns="0" rIns="0" bIns="0" rtlCol="0" anchor="t">
                  <a:spAutoFit/>
                </a:bodyPr>
                <a:lstStyle/>
                <a:p>
                  <a:pPr>
                    <a:lnSpc>
                      <a:spcPts val="3919"/>
                    </a:lnSpc>
                    <a:spcBef>
                      <a:spcPct val="0"/>
                    </a:spcBef>
                  </a:pPr>
                  <a:endParaRPr lang="en-US" sz="2800" b="1">
                    <a:solidFill>
                      <a:srgbClr val="FFFFFF"/>
                    </a:solidFill>
                    <a:latin typeface="Arial" panose="020B0604020202020204" pitchFamily="34" charset="0"/>
                    <a:cs typeface="Arial" panose="020B0604020202020204" pitchFamily="34" charset="0"/>
                  </a:endParaRPr>
                </a:p>
              </p:txBody>
            </p:sp>
          </p:grpSp>
          <p:sp>
            <p:nvSpPr>
              <p:cNvPr id="12" name="TextBox 11">
                <a:extLst>
                  <a:ext uri="{FF2B5EF4-FFF2-40B4-BE49-F238E27FC236}">
                    <a16:creationId xmlns:a16="http://schemas.microsoft.com/office/drawing/2014/main" id="{1BD9B5F4-614C-4EB6-8C5B-120A5420CE43}"/>
                  </a:ext>
                </a:extLst>
              </p:cNvPr>
              <p:cNvSpPr txBox="1"/>
              <p:nvPr/>
            </p:nvSpPr>
            <p:spPr>
              <a:xfrm>
                <a:off x="12154296" y="257980"/>
                <a:ext cx="5752704" cy="456856"/>
              </a:xfrm>
              <a:prstGeom prst="rect">
                <a:avLst/>
              </a:prstGeom>
            </p:spPr>
            <p:txBody>
              <a:bodyPr wrap="square" lIns="0" tIns="0" rIns="0" bIns="0" rtlCol="0" anchor="t">
                <a:spAutoFit/>
              </a:bodyPr>
              <a:lstStyle/>
              <a:p>
                <a:pPr algn="r">
                  <a:lnSpc>
                    <a:spcPts val="3919"/>
                  </a:lnSpc>
                  <a:spcBef>
                    <a:spcPct val="0"/>
                  </a:spcBef>
                </a:pPr>
                <a:endParaRPr lang="en-US" sz="2800">
                  <a:solidFill>
                    <a:schemeClr val="tx1">
                      <a:lumMod val="75000"/>
                      <a:lumOff val="25000"/>
                    </a:schemeClr>
                  </a:solidFill>
                  <a:latin typeface="Arial" panose="020B0604020202020204" pitchFamily="34" charset="0"/>
                  <a:cs typeface="Arial" panose="020B0604020202020204" pitchFamily="34" charset="0"/>
                </a:endParaRPr>
              </a:p>
            </p:txBody>
          </p:sp>
        </p:grpSp>
        <p:sp>
          <p:nvSpPr>
            <p:cNvPr id="14" name="Rettangolo 13">
              <a:extLst>
                <a:ext uri="{FF2B5EF4-FFF2-40B4-BE49-F238E27FC236}">
                  <a16:creationId xmlns:a16="http://schemas.microsoft.com/office/drawing/2014/main" id="{55199736-B8B6-4C9A-8BAF-233E07A0CA89}"/>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6" name="TextBox 13">
            <a:extLst>
              <a:ext uri="{FF2B5EF4-FFF2-40B4-BE49-F238E27FC236}">
                <a16:creationId xmlns:a16="http://schemas.microsoft.com/office/drawing/2014/main" id="{6C5B5EBB-50F2-4911-9E8B-3B7B88900CA6}"/>
              </a:ext>
            </a:extLst>
          </p:cNvPr>
          <p:cNvSpPr txBox="1"/>
          <p:nvPr/>
        </p:nvSpPr>
        <p:spPr>
          <a:xfrm>
            <a:off x="228600" y="692944"/>
            <a:ext cx="17678400" cy="1005725"/>
          </a:xfrm>
          <a:prstGeom prst="rect">
            <a:avLst/>
          </a:prstGeom>
        </p:spPr>
        <p:txBody>
          <a:bodyPr wrap="square" lIns="0" tIns="0" rIns="0" bIns="0" rtlCol="0" anchor="t">
            <a:spAutoFit/>
          </a:bodyPr>
          <a:lstStyle/>
          <a:p>
            <a:pPr algn="ctr">
              <a:lnSpc>
                <a:spcPts val="8960"/>
              </a:lnSpc>
              <a:spcBef>
                <a:spcPct val="0"/>
              </a:spcBef>
            </a:pPr>
            <a:r>
              <a:rPr lang="en-US" sz="4800" b="1">
                <a:solidFill>
                  <a:srgbClr val="CC0033"/>
                </a:solidFill>
                <a:latin typeface="+mj-lt"/>
                <a:cs typeface="Arial" panose="020B0604020202020204" pitchFamily="34" charset="0"/>
              </a:rPr>
              <a:t>PITTINI-FENO Characterization</a:t>
            </a:r>
          </a:p>
        </p:txBody>
      </p:sp>
      <p:sp>
        <p:nvSpPr>
          <p:cNvPr id="36" name="TextBox 35">
            <a:extLst>
              <a:ext uri="{FF2B5EF4-FFF2-40B4-BE49-F238E27FC236}">
                <a16:creationId xmlns:a16="http://schemas.microsoft.com/office/drawing/2014/main" id="{8EE001A1-983E-4290-BA1F-BA4ED3EC9E78}"/>
              </a:ext>
            </a:extLst>
          </p:cNvPr>
          <p:cNvSpPr txBox="1"/>
          <p:nvPr/>
        </p:nvSpPr>
        <p:spPr>
          <a:xfrm>
            <a:off x="626395" y="2569308"/>
            <a:ext cx="6353027" cy="2635978"/>
          </a:xfrm>
          <a:prstGeom prst="rect">
            <a:avLst/>
          </a:prstGeom>
          <a:noFill/>
        </p:spPr>
        <p:txBody>
          <a:bodyPr wrap="square">
            <a:spAutoFit/>
          </a:bodyPr>
          <a:lstStyle/>
          <a:p>
            <a:pPr marL="285750" marR="718185" indent="-285750" algn="just">
              <a:lnSpc>
                <a:spcPct val="125000"/>
              </a:lnSpc>
              <a:spcBef>
                <a:spcPts val="1200"/>
              </a:spcBef>
              <a:buFont typeface="Arial" panose="020B0604020202020204" pitchFamily="34" charset="0"/>
              <a:buChar char="•"/>
            </a:pPr>
            <a:r>
              <a:rPr lang="en-US">
                <a:latin typeface="Arial MT"/>
              </a:rPr>
              <a:t>The FENO furnace is mainly relying on electricity and natural gas. In terms of </a:t>
            </a:r>
            <a:r>
              <a:rPr lang="en-US" b="1">
                <a:latin typeface="Arial MT"/>
              </a:rPr>
              <a:t>primary energy</a:t>
            </a:r>
            <a:r>
              <a:rPr lang="en-US">
                <a:latin typeface="Arial MT"/>
              </a:rPr>
              <a:t>, electricity represents the higher share since it covers 95 % of the total consumption. </a:t>
            </a:r>
          </a:p>
          <a:p>
            <a:pPr marL="285750" marR="718185" indent="-285750" algn="just">
              <a:lnSpc>
                <a:spcPct val="125000"/>
              </a:lnSpc>
              <a:spcBef>
                <a:spcPts val="1200"/>
              </a:spcBef>
              <a:buFont typeface="Arial" panose="020B0604020202020204" pitchFamily="34" charset="0"/>
              <a:buChar char="•"/>
            </a:pPr>
            <a:r>
              <a:rPr lang="en-US" b="0" i="0" u="none" strike="noStrike" baseline="0">
                <a:solidFill>
                  <a:srgbClr val="000000"/>
                </a:solidFill>
                <a:latin typeface="Arial" panose="020B0604020202020204" pitchFamily="34" charset="0"/>
              </a:rPr>
              <a:t>The </a:t>
            </a:r>
            <a:r>
              <a:rPr lang="en-US" b="1" i="0" u="none" strike="noStrike" baseline="0">
                <a:solidFill>
                  <a:srgbClr val="000000"/>
                </a:solidFill>
                <a:latin typeface="Arial" panose="020B0604020202020204" pitchFamily="34" charset="0"/>
              </a:rPr>
              <a:t>GH</a:t>
            </a:r>
            <a:r>
              <a:rPr lang="en-US" b="1">
                <a:solidFill>
                  <a:srgbClr val="000000"/>
                </a:solidFill>
                <a:latin typeface="Arial" panose="020B0604020202020204" pitchFamily="34" charset="0"/>
              </a:rPr>
              <a:t>G emissions </a:t>
            </a:r>
            <a:r>
              <a:rPr lang="en-US">
                <a:solidFill>
                  <a:srgbClr val="000000"/>
                </a:solidFill>
                <a:latin typeface="Arial" panose="020B0604020202020204" pitchFamily="34" charset="0"/>
              </a:rPr>
              <a:t>associated with the consumption of these sources of energy lay below the average of the sector. </a:t>
            </a:r>
            <a:endParaRPr lang="sv-SE" sz="1800">
              <a:effectLst/>
              <a:latin typeface="Arial MT"/>
              <a:ea typeface="Arial MT"/>
              <a:cs typeface="Arial MT"/>
            </a:endParaRPr>
          </a:p>
        </p:txBody>
      </p:sp>
      <p:sp>
        <p:nvSpPr>
          <p:cNvPr id="21" name="TextBox 20">
            <a:extLst>
              <a:ext uri="{FF2B5EF4-FFF2-40B4-BE49-F238E27FC236}">
                <a16:creationId xmlns:a16="http://schemas.microsoft.com/office/drawing/2014/main" id="{4C3D3616-59F0-4323-9ECD-8988E8318C9E}"/>
              </a:ext>
            </a:extLst>
          </p:cNvPr>
          <p:cNvSpPr txBox="1"/>
          <p:nvPr/>
        </p:nvSpPr>
        <p:spPr>
          <a:xfrm>
            <a:off x="10041978" y="8910495"/>
            <a:ext cx="6176211" cy="861774"/>
          </a:xfrm>
          <a:prstGeom prst="rect">
            <a:avLst/>
          </a:prstGeom>
          <a:noFill/>
        </p:spPr>
        <p:txBody>
          <a:bodyPr wrap="square">
            <a:spAutoFit/>
          </a:bodyPr>
          <a:lstStyle/>
          <a:p>
            <a:r>
              <a:rPr lang="en-US" sz="1400" b="0" i="0" u="none" strike="noStrike" baseline="0">
                <a:solidFill>
                  <a:srgbClr val="000000"/>
                </a:solidFill>
              </a:rPr>
              <a:t>*Based on Commission Delegated Regulation (EU) 2019/331</a:t>
            </a:r>
          </a:p>
          <a:p>
            <a:pPr algn="l"/>
            <a:r>
              <a:rPr lang="en-US" sz="1400">
                <a:solidFill>
                  <a:srgbClr val="000000"/>
                </a:solidFill>
              </a:rPr>
              <a:t>**Based on </a:t>
            </a:r>
            <a:r>
              <a:rPr lang="sv-SE" sz="1800" b="0" i="0" u="none" strike="noStrike" baseline="0">
                <a:latin typeface="ECSquareSansPro"/>
              </a:rPr>
              <a:t>JRC referens </a:t>
            </a:r>
            <a:r>
              <a:rPr lang="en-GB" sz="1800" b="0" i="0" u="none" strike="noStrike" baseline="0">
                <a:latin typeface="ECSquareSansPro"/>
              </a:rPr>
              <a:t>report</a:t>
            </a:r>
            <a:r>
              <a:rPr lang="sv-SE">
                <a:latin typeface="ECSquareSansPro"/>
              </a:rPr>
              <a:t> </a:t>
            </a:r>
            <a:r>
              <a:rPr lang="fr-FR" sz="1800" b="0" i="0" u="none" strike="noStrike" baseline="0">
                <a:latin typeface="ECSquareSansPro"/>
              </a:rPr>
              <a:t>Best </a:t>
            </a:r>
            <a:r>
              <a:rPr lang="fr-FR" sz="1800" b="0" i="0" u="none" strike="noStrike" baseline="0" err="1">
                <a:latin typeface="ECSquareSansPro"/>
              </a:rPr>
              <a:t>Available</a:t>
            </a:r>
            <a:r>
              <a:rPr lang="fr-FR" sz="1800" b="0" i="0" u="none" strike="noStrike" baseline="0">
                <a:latin typeface="ECSquareSansPro"/>
              </a:rPr>
              <a:t> Techniques (BAT) Reference </a:t>
            </a:r>
            <a:r>
              <a:rPr lang="en-US" sz="1800" b="0" i="0" u="none" strike="noStrike" baseline="0">
                <a:latin typeface="ECSquareSansPro"/>
              </a:rPr>
              <a:t>Document for Iron and Steel Production</a:t>
            </a:r>
            <a:r>
              <a:rPr lang="en-US" sz="1400" b="0" i="0" u="none" strike="noStrike" baseline="0">
                <a:solidFill>
                  <a:srgbClr val="000000"/>
                </a:solidFill>
              </a:rPr>
              <a:t> </a:t>
            </a:r>
            <a:endParaRPr lang="sv-SE" sz="1400"/>
          </a:p>
        </p:txBody>
      </p:sp>
      <p:graphicFrame>
        <p:nvGraphicFramePr>
          <p:cNvPr id="22" name="Table 21">
            <a:extLst>
              <a:ext uri="{FF2B5EF4-FFF2-40B4-BE49-F238E27FC236}">
                <a16:creationId xmlns:a16="http://schemas.microsoft.com/office/drawing/2014/main" id="{8E3DCA3D-5DA4-4072-BD61-D826FFE9257A}"/>
              </a:ext>
            </a:extLst>
          </p:cNvPr>
          <p:cNvGraphicFramePr>
            <a:graphicFrameLocks noGrp="1"/>
          </p:cNvGraphicFramePr>
          <p:nvPr/>
        </p:nvGraphicFramePr>
        <p:xfrm>
          <a:off x="2432372" y="5989777"/>
          <a:ext cx="12470322" cy="2747057"/>
        </p:xfrm>
        <a:graphic>
          <a:graphicData uri="http://schemas.openxmlformats.org/drawingml/2006/table">
            <a:tbl>
              <a:tblPr firstRow="1" firstCol="1" lastRow="1" lastCol="1" bandRow="1" bandCol="1">
                <a:tableStyleId>{72833802-FEF1-4C79-8D5D-14CF1EAF98D9}</a:tableStyleId>
              </a:tblPr>
              <a:tblGrid>
                <a:gridCol w="4380866">
                  <a:extLst>
                    <a:ext uri="{9D8B030D-6E8A-4147-A177-3AD203B41FA5}">
                      <a16:colId xmlns:a16="http://schemas.microsoft.com/office/drawing/2014/main" val="3203473643"/>
                    </a:ext>
                  </a:extLst>
                </a:gridCol>
                <a:gridCol w="3245545">
                  <a:extLst>
                    <a:ext uri="{9D8B030D-6E8A-4147-A177-3AD203B41FA5}">
                      <a16:colId xmlns:a16="http://schemas.microsoft.com/office/drawing/2014/main" val="1554325551"/>
                    </a:ext>
                  </a:extLst>
                </a:gridCol>
                <a:gridCol w="4843911">
                  <a:extLst>
                    <a:ext uri="{9D8B030D-6E8A-4147-A177-3AD203B41FA5}">
                      <a16:colId xmlns:a16="http://schemas.microsoft.com/office/drawing/2014/main" val="1838484279"/>
                    </a:ext>
                  </a:extLst>
                </a:gridCol>
              </a:tblGrid>
              <a:tr h="664494">
                <a:tc>
                  <a:txBody>
                    <a:bodyPr/>
                    <a:lstStyle/>
                    <a:p>
                      <a:pPr indent="0" algn="ctr">
                        <a:lnSpc>
                          <a:spcPct val="100000"/>
                        </a:lnSpc>
                        <a:spcBef>
                          <a:spcPts val="55"/>
                        </a:spcBef>
                      </a:pPr>
                      <a:r>
                        <a:rPr lang="en-US" sz="2000" b="1" kern="1200">
                          <a:solidFill>
                            <a:schemeClr val="tx1"/>
                          </a:solidFill>
                          <a:effectLst/>
                        </a:rPr>
                        <a:t> KPI</a:t>
                      </a:r>
                      <a:endParaRPr lang="sv-SE" sz="2000" b="1" kern="1200">
                        <a:solidFill>
                          <a:schemeClr val="tx1"/>
                        </a:solidFill>
                        <a:effectLst/>
                        <a:latin typeface="+mj-lt"/>
                        <a:ea typeface="+mn-ea"/>
                        <a:cs typeface="+mn-cs"/>
                      </a:endParaRP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solidFill>
                  </a:tcPr>
                </a:tc>
                <a:tc>
                  <a:txBody>
                    <a:bodyPr/>
                    <a:lstStyle/>
                    <a:p>
                      <a:pPr indent="0" algn="ctr">
                        <a:lnSpc>
                          <a:spcPct val="100000"/>
                        </a:lnSpc>
                        <a:spcBef>
                          <a:spcPts val="15"/>
                        </a:spcBef>
                      </a:pPr>
                      <a:r>
                        <a:rPr lang="en-US" sz="2000" b="1" kern="1200">
                          <a:solidFill>
                            <a:schemeClr val="tx1"/>
                          </a:solidFill>
                          <a:effectLst/>
                        </a:rPr>
                        <a:t>FENO’s EAF value</a:t>
                      </a:r>
                      <a:endParaRPr lang="sv-SE" sz="2000" b="1" kern="1200">
                        <a:solidFill>
                          <a:schemeClr val="tx1"/>
                        </a:solidFill>
                        <a:effectLst/>
                        <a:latin typeface="+mj-lt"/>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solidFill>
                  </a:tcPr>
                </a:tc>
                <a:tc>
                  <a:txBody>
                    <a:bodyPr/>
                    <a:lstStyle/>
                    <a:p>
                      <a:pPr indent="0" algn="ctr">
                        <a:lnSpc>
                          <a:spcPct val="100000"/>
                        </a:lnSpc>
                        <a:spcBef>
                          <a:spcPts val="15"/>
                        </a:spcBef>
                      </a:pPr>
                      <a:r>
                        <a:rPr lang="sv-SE" sz="2000" b="1" kern="1200">
                          <a:solidFill>
                            <a:schemeClr val="tx1"/>
                          </a:solidFill>
                          <a:effectLst/>
                          <a:latin typeface="+mj-lt"/>
                          <a:ea typeface="+mn-ea"/>
                          <a:cs typeface="+mn-cs"/>
                        </a:rPr>
                        <a:t>Steel </a:t>
                      </a:r>
                      <a:r>
                        <a:rPr lang="sv-SE" sz="2000" b="1" kern="1200" err="1">
                          <a:solidFill>
                            <a:schemeClr val="tx1"/>
                          </a:solidFill>
                          <a:effectLst/>
                          <a:latin typeface="+mj-lt"/>
                          <a:ea typeface="+mn-ea"/>
                          <a:cs typeface="+mn-cs"/>
                        </a:rPr>
                        <a:t>sector</a:t>
                      </a:r>
                      <a:r>
                        <a:rPr lang="sv-SE" sz="2000" b="1" kern="1200">
                          <a:solidFill>
                            <a:schemeClr val="tx1"/>
                          </a:solidFill>
                          <a:effectLst/>
                          <a:latin typeface="+mj-lt"/>
                          <a:ea typeface="+mn-ea"/>
                          <a:cs typeface="+mn-cs"/>
                        </a:rPr>
                        <a:t> (EAF) </a:t>
                      </a:r>
                      <a:r>
                        <a:rPr lang="sv-SE" sz="2000" b="1" kern="1200" err="1">
                          <a:solidFill>
                            <a:schemeClr val="tx1"/>
                          </a:solidFill>
                          <a:effectLst/>
                          <a:latin typeface="+mj-lt"/>
                          <a:ea typeface="+mn-ea"/>
                          <a:cs typeface="+mn-cs"/>
                        </a:rPr>
                        <a:t>average</a:t>
                      </a:r>
                      <a:r>
                        <a:rPr lang="sv-SE" sz="2000" b="1" kern="1200">
                          <a:solidFill>
                            <a:schemeClr val="tx1"/>
                          </a:solidFill>
                          <a:effectLst/>
                          <a:latin typeface="+mj-lt"/>
                          <a:ea typeface="+mn-ea"/>
                          <a:cs typeface="+mn-cs"/>
                        </a:rPr>
                        <a:t> </a:t>
                      </a:r>
                      <a:r>
                        <a:rPr lang="sv-SE" sz="2000" b="1" kern="1200" err="1">
                          <a:solidFill>
                            <a:schemeClr val="tx1"/>
                          </a:solidFill>
                          <a:effectLst/>
                          <a:latin typeface="+mj-lt"/>
                          <a:ea typeface="+mn-ea"/>
                          <a:cs typeface="+mn-cs"/>
                        </a:rPr>
                        <a:t>value</a:t>
                      </a:r>
                      <a:endParaRPr lang="sv-SE" sz="2000" b="1" kern="1200">
                        <a:solidFill>
                          <a:schemeClr val="tx1"/>
                        </a:solidFill>
                        <a:effectLst/>
                        <a:latin typeface="+mj-lt"/>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solidFill>
                  </a:tcPr>
                </a:tc>
                <a:extLst>
                  <a:ext uri="{0D108BD9-81ED-4DB2-BD59-A6C34878D82A}">
                    <a16:rowId xmlns:a16="http://schemas.microsoft.com/office/drawing/2014/main" val="3965927615"/>
                  </a:ext>
                </a:extLst>
              </a:tr>
              <a:tr h="509273">
                <a:tc>
                  <a:txBody>
                    <a:bodyPr/>
                    <a:lstStyle/>
                    <a:p>
                      <a:pPr indent="0" algn="ctr">
                        <a:lnSpc>
                          <a:spcPct val="100000"/>
                        </a:lnSpc>
                        <a:spcBef>
                          <a:spcPts val="30"/>
                        </a:spcBef>
                      </a:pPr>
                      <a:r>
                        <a:rPr lang="en-US" sz="2000" b="1" kern="1200">
                          <a:solidFill>
                            <a:schemeClr val="tx1"/>
                          </a:solidFill>
                          <a:effectLst/>
                        </a:rPr>
                        <a:t>Primary energy requirements</a:t>
                      </a:r>
                      <a:endParaRPr lang="sv-SE" sz="2000" b="1" kern="1200">
                        <a:solidFill>
                          <a:schemeClr val="tx1"/>
                        </a:solidFill>
                        <a:effectLst/>
                        <a:latin typeface="+mj-lt"/>
                        <a:ea typeface="+mn-ea"/>
                        <a:cs typeface="+mn-cs"/>
                      </a:endParaRP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R="58420" indent="0" algn="ctr">
                        <a:lnSpc>
                          <a:spcPct val="100000"/>
                        </a:lnSpc>
                        <a:spcBef>
                          <a:spcPts val="310"/>
                        </a:spcBef>
                        <a:spcAft>
                          <a:spcPts val="0"/>
                        </a:spcAft>
                      </a:pPr>
                      <a:r>
                        <a:rPr lang="en-US" sz="2000" b="0" kern="1200">
                          <a:solidFill>
                            <a:schemeClr val="tx1"/>
                          </a:solidFill>
                          <a:effectLst/>
                        </a:rPr>
                        <a:t>0.08 toe/t</a:t>
                      </a:r>
                      <a:endParaRPr lang="sv-SE" sz="2000" b="0" kern="1200">
                        <a:solidFill>
                          <a:schemeClr val="tx1"/>
                        </a:solidFill>
                        <a:effectLst/>
                        <a:latin typeface="+mj-lt"/>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R="58420" indent="0" algn="ctr">
                        <a:lnSpc>
                          <a:spcPct val="100000"/>
                        </a:lnSpc>
                        <a:spcBef>
                          <a:spcPts val="310"/>
                        </a:spcBef>
                        <a:spcAft>
                          <a:spcPts val="0"/>
                        </a:spcAft>
                      </a:pPr>
                      <a:r>
                        <a:rPr lang="sv-SE" sz="2000" b="0" kern="1200">
                          <a:solidFill>
                            <a:schemeClr val="tx1"/>
                          </a:solidFill>
                          <a:effectLst/>
                          <a:latin typeface="+mj-lt"/>
                          <a:ea typeface="+mn-ea"/>
                          <a:cs typeface="+mn-cs"/>
                        </a:rPr>
                        <a: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41460493"/>
                  </a:ext>
                </a:extLst>
              </a:tr>
              <a:tr h="524430">
                <a:tc>
                  <a:txBody>
                    <a:bodyPr/>
                    <a:lstStyle/>
                    <a:p>
                      <a:pPr algn="ctr"/>
                      <a:r>
                        <a:rPr lang="sv-SE" sz="1600"/>
                        <a:t> </a:t>
                      </a:r>
                      <a:r>
                        <a:rPr lang="sv-SE" sz="2000" b="1" kern="1200" err="1">
                          <a:solidFill>
                            <a:schemeClr val="tx1"/>
                          </a:solidFill>
                          <a:effectLst/>
                          <a:latin typeface="+mn-lt"/>
                          <a:ea typeface="+mn-ea"/>
                          <a:cs typeface="+mn-cs"/>
                        </a:rPr>
                        <a:t>Electricity</a:t>
                      </a:r>
                      <a:r>
                        <a:rPr lang="sv-SE" sz="2000" b="1" kern="1200">
                          <a:solidFill>
                            <a:schemeClr val="tx1"/>
                          </a:solidFill>
                          <a:effectLst/>
                          <a:latin typeface="+mn-lt"/>
                          <a:ea typeface="+mn-ea"/>
                          <a:cs typeface="+mn-cs"/>
                        </a:rPr>
                        <a:t> </a:t>
                      </a:r>
                      <a:r>
                        <a:rPr lang="sv-SE" sz="2000" b="1" kern="1200" err="1">
                          <a:solidFill>
                            <a:schemeClr val="tx1"/>
                          </a:solidFill>
                          <a:effectLst/>
                          <a:latin typeface="+mn-lt"/>
                          <a:ea typeface="+mn-ea"/>
                          <a:cs typeface="+mn-cs"/>
                        </a:rPr>
                        <a:t>demand</a:t>
                      </a:r>
                      <a:endParaRPr lang="sv-SE" sz="2000" b="1" kern="1200">
                        <a:solidFill>
                          <a:schemeClr val="tx1"/>
                        </a:solidFill>
                        <a:effectLst/>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sv-SE" sz="2000" b="0" kern="1200">
                          <a:solidFill>
                            <a:schemeClr val="tx1"/>
                          </a:solidFill>
                          <a:effectLst/>
                          <a:latin typeface="+mn-lt"/>
                          <a:ea typeface="+mn-ea"/>
                          <a:cs typeface="+mn-cs"/>
                        </a:rPr>
                        <a:t>0.42 MWh/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rtl="0" eaLnBrk="1" latinLnBrk="0" hangingPunct="1"/>
                      <a:r>
                        <a:rPr lang="sv-SE" sz="2000" b="0" kern="1200">
                          <a:solidFill>
                            <a:schemeClr val="tx1"/>
                          </a:solidFill>
                          <a:effectLst/>
                          <a:latin typeface="+mn-lt"/>
                          <a:ea typeface="+mn-ea"/>
                          <a:cs typeface="+mn-cs"/>
                        </a:rPr>
                        <a:t>0.404-748**</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40504214"/>
                  </a:ext>
                </a:extLst>
              </a:tr>
              <a:tr h="524430">
                <a:tc>
                  <a:txBody>
                    <a:bodyPr/>
                    <a:lstStyle/>
                    <a:p>
                      <a:pPr algn="ctr"/>
                      <a:r>
                        <a:rPr lang="sv-SE" sz="2000" b="1" kern="1200" err="1">
                          <a:solidFill>
                            <a:schemeClr val="tx1"/>
                          </a:solidFill>
                          <a:effectLst/>
                          <a:latin typeface="+mn-lt"/>
                          <a:ea typeface="+mn-ea"/>
                          <a:cs typeface="+mn-cs"/>
                        </a:rPr>
                        <a:t>Natural</a:t>
                      </a:r>
                      <a:r>
                        <a:rPr lang="sv-SE" sz="2000" b="1" kern="1200">
                          <a:solidFill>
                            <a:schemeClr val="tx1"/>
                          </a:solidFill>
                          <a:effectLst/>
                          <a:latin typeface="+mn-lt"/>
                          <a:ea typeface="+mn-ea"/>
                          <a:cs typeface="+mn-cs"/>
                        </a:rPr>
                        <a:t> gas </a:t>
                      </a:r>
                      <a:r>
                        <a:rPr lang="sv-SE" sz="2000" b="1" kern="1200" err="1">
                          <a:solidFill>
                            <a:schemeClr val="tx1"/>
                          </a:solidFill>
                          <a:effectLst/>
                          <a:latin typeface="+mn-lt"/>
                          <a:ea typeface="+mn-ea"/>
                          <a:cs typeface="+mn-cs"/>
                        </a:rPr>
                        <a:t>demand</a:t>
                      </a:r>
                      <a:endParaRPr lang="sv-SE" sz="2000" b="1" kern="1200">
                        <a:solidFill>
                          <a:schemeClr val="tx1"/>
                        </a:solidFill>
                        <a:effectLst/>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sv-SE" sz="2000" b="0" kern="1200">
                          <a:solidFill>
                            <a:schemeClr val="tx1"/>
                          </a:solidFill>
                          <a:effectLst/>
                          <a:latin typeface="+mn-lt"/>
                          <a:ea typeface="+mn-ea"/>
                          <a:cs typeface="+mn-cs"/>
                        </a:rPr>
                        <a:t>0.05 MWh/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rtl="0" eaLnBrk="1" latinLnBrk="0" hangingPunct="1"/>
                      <a:r>
                        <a:rPr lang="sv-SE" sz="2000" b="0" kern="1200">
                          <a:solidFill>
                            <a:schemeClr val="tx1"/>
                          </a:solidFill>
                          <a:effectLst/>
                          <a:latin typeface="+mn-lt"/>
                          <a:ea typeface="+mn-ea"/>
                          <a:cs typeface="+mn-cs"/>
                        </a:rPr>
                        <a:t>0.138-0.417**</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42484635"/>
                  </a:ext>
                </a:extLst>
              </a:tr>
              <a:tr h="524430">
                <a:tc>
                  <a:txBody>
                    <a:bodyPr/>
                    <a:lstStyle/>
                    <a:p>
                      <a:pPr indent="0" algn="ctr">
                        <a:lnSpc>
                          <a:spcPct val="100000"/>
                        </a:lnSpc>
                        <a:spcBef>
                          <a:spcPts val="310"/>
                        </a:spcBef>
                      </a:pPr>
                      <a:r>
                        <a:rPr lang="en-US" sz="2000" b="1" kern="1200">
                          <a:solidFill>
                            <a:schemeClr val="tx1"/>
                          </a:solidFill>
                          <a:effectLst/>
                        </a:rPr>
                        <a:t> Environmental performance</a:t>
                      </a:r>
                      <a:endParaRPr lang="sv-SE" sz="2000" b="1" kern="1200">
                        <a:solidFill>
                          <a:schemeClr val="tx1"/>
                        </a:solidFill>
                        <a:effectLst/>
                        <a:latin typeface="+mj-lt"/>
                        <a:ea typeface="+mn-ea"/>
                        <a:cs typeface="+mn-cs"/>
                      </a:endParaRP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indent="0" algn="ctr">
                        <a:lnSpc>
                          <a:spcPct val="100000"/>
                        </a:lnSpc>
                        <a:spcBef>
                          <a:spcPts val="310"/>
                        </a:spcBef>
                      </a:pPr>
                      <a:r>
                        <a:rPr lang="en-US" sz="2000" b="0" kern="1200">
                          <a:solidFill>
                            <a:schemeClr val="tx1"/>
                          </a:solidFill>
                          <a:effectLst/>
                        </a:rPr>
                        <a:t>0.11 tCO2eq/t</a:t>
                      </a:r>
                      <a:endParaRPr lang="sv-SE" sz="2000" b="0" kern="1200">
                        <a:solidFill>
                          <a:schemeClr val="tx1"/>
                        </a:solidFill>
                        <a:effectLst/>
                        <a:latin typeface="+mj-lt"/>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indent="0" algn="ctr">
                        <a:lnSpc>
                          <a:spcPct val="100000"/>
                        </a:lnSpc>
                        <a:spcBef>
                          <a:spcPts val="310"/>
                        </a:spcBef>
                      </a:pPr>
                      <a:r>
                        <a:rPr lang="sv-SE" sz="2000" b="0" kern="1200">
                          <a:solidFill>
                            <a:schemeClr val="tx1"/>
                          </a:solidFill>
                          <a:effectLst/>
                          <a:latin typeface="+mj-lt"/>
                          <a:ea typeface="+mn-ea"/>
                          <a:cs typeface="+mn-cs"/>
                        </a:rPr>
                        <a:t>0.283 tCO2eq/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54549919"/>
                  </a:ext>
                </a:extLst>
              </a:tr>
            </a:tbl>
          </a:graphicData>
        </a:graphic>
      </p:graphicFrame>
      <p:sp>
        <p:nvSpPr>
          <p:cNvPr id="23" name="TextBox 22">
            <a:extLst>
              <a:ext uri="{FF2B5EF4-FFF2-40B4-BE49-F238E27FC236}">
                <a16:creationId xmlns:a16="http://schemas.microsoft.com/office/drawing/2014/main" id="{0EE42EB4-D37E-4350-A5C6-2CFBE4589E33}"/>
              </a:ext>
            </a:extLst>
          </p:cNvPr>
          <p:cNvSpPr txBox="1"/>
          <p:nvPr/>
        </p:nvSpPr>
        <p:spPr>
          <a:xfrm>
            <a:off x="6673755" y="5115653"/>
            <a:ext cx="11362594" cy="369332"/>
          </a:xfrm>
          <a:prstGeom prst="rect">
            <a:avLst/>
          </a:prstGeom>
          <a:noFill/>
        </p:spPr>
        <p:txBody>
          <a:bodyPr wrap="square">
            <a:spAutoFit/>
          </a:bodyPr>
          <a:lstStyle/>
          <a:p>
            <a:r>
              <a:rPr lang="en-US" kern="100">
                <a:solidFill>
                  <a:srgbClr val="404040"/>
                </a:solidFill>
                <a:latin typeface="Arial (body)"/>
              </a:rPr>
              <a:t>Primary energy consumption and GHG emission of FENO’s Electric Arc Furnace (EAF) in </a:t>
            </a:r>
            <a:r>
              <a:rPr lang="en-US" kern="100" err="1">
                <a:solidFill>
                  <a:srgbClr val="404040"/>
                </a:solidFill>
                <a:latin typeface="Arial (body)"/>
              </a:rPr>
              <a:t>Osoppo</a:t>
            </a:r>
            <a:r>
              <a:rPr lang="en-US" kern="100">
                <a:solidFill>
                  <a:srgbClr val="404040"/>
                </a:solidFill>
                <a:latin typeface="Arial (body)"/>
              </a:rPr>
              <a:t> (Italy)</a:t>
            </a:r>
            <a:endParaRPr lang="sv-SE" kern="100">
              <a:solidFill>
                <a:srgbClr val="404040"/>
              </a:solidFill>
              <a:latin typeface="Arial (body)"/>
            </a:endParaRPr>
          </a:p>
        </p:txBody>
      </p:sp>
      <p:pic>
        <p:nvPicPr>
          <p:cNvPr id="6" name="Picture 5">
            <a:extLst>
              <a:ext uri="{FF2B5EF4-FFF2-40B4-BE49-F238E27FC236}">
                <a16:creationId xmlns:a16="http://schemas.microsoft.com/office/drawing/2014/main" id="{0AF9F078-A021-4FB3-9886-1B6B5C87DB51}"/>
              </a:ext>
            </a:extLst>
          </p:cNvPr>
          <p:cNvPicPr>
            <a:picLocks noChangeAspect="1"/>
          </p:cNvPicPr>
          <p:nvPr/>
        </p:nvPicPr>
        <p:blipFill>
          <a:blip r:embed="rId6"/>
          <a:stretch>
            <a:fillRect/>
          </a:stretch>
        </p:blipFill>
        <p:spPr>
          <a:xfrm>
            <a:off x="7758080" y="1851215"/>
            <a:ext cx="8792432" cy="3013870"/>
          </a:xfrm>
          <a:prstGeom prst="rect">
            <a:avLst/>
          </a:prstGeom>
        </p:spPr>
      </p:pic>
      <p:sp>
        <p:nvSpPr>
          <p:cNvPr id="24" name="TextBox 23">
            <a:extLst>
              <a:ext uri="{FF2B5EF4-FFF2-40B4-BE49-F238E27FC236}">
                <a16:creationId xmlns:a16="http://schemas.microsoft.com/office/drawing/2014/main" id="{36A1E9A7-E4EA-4059-A8C1-331355915675}"/>
              </a:ext>
            </a:extLst>
          </p:cNvPr>
          <p:cNvSpPr txBox="1"/>
          <p:nvPr/>
        </p:nvSpPr>
        <p:spPr>
          <a:xfrm>
            <a:off x="15514671" y="6811265"/>
            <a:ext cx="1581665" cy="1200329"/>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wrap="square" rtlCol="0">
            <a:spAutoFit/>
          </a:bodyPr>
          <a:lstStyle/>
          <a:p>
            <a:pPr algn="ctr"/>
            <a:r>
              <a:rPr lang="sv-SE" b="1"/>
              <a:t>The </a:t>
            </a:r>
            <a:r>
              <a:rPr lang="sv-SE" b="1" err="1"/>
              <a:t>tones</a:t>
            </a:r>
            <a:r>
              <a:rPr lang="sv-SE" b="1"/>
              <a:t> </a:t>
            </a:r>
            <a:r>
              <a:rPr lang="sv-SE" b="1" err="1"/>
              <a:t>refer</a:t>
            </a:r>
            <a:r>
              <a:rPr lang="sv-SE" b="1"/>
              <a:t> to EAF </a:t>
            </a:r>
            <a:r>
              <a:rPr lang="sv-SE" b="1" err="1"/>
              <a:t>carbon</a:t>
            </a:r>
            <a:r>
              <a:rPr lang="sv-SE" b="1"/>
              <a:t> </a:t>
            </a:r>
            <a:r>
              <a:rPr lang="sv-SE" b="1" err="1"/>
              <a:t>steel</a:t>
            </a:r>
            <a:r>
              <a:rPr lang="sv-SE" b="1"/>
              <a:t> </a:t>
            </a:r>
            <a:r>
              <a:rPr lang="sv-SE" b="1" err="1"/>
              <a:t>produced</a:t>
            </a:r>
            <a:endParaRPr lang="sv-SE" b="1"/>
          </a:p>
        </p:txBody>
      </p:sp>
    </p:spTree>
    <p:extLst>
      <p:ext uri="{BB962C8B-B14F-4D97-AF65-F5344CB8AC3E}">
        <p14:creationId xmlns:p14="http://schemas.microsoft.com/office/powerpoint/2010/main" val="118719919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uppo 16">
            <a:extLst>
              <a:ext uri="{FF2B5EF4-FFF2-40B4-BE49-F238E27FC236}">
                <a16:creationId xmlns:a16="http://schemas.microsoft.com/office/drawing/2014/main" id="{7F05FA2D-BA17-4C4E-9DAE-36CC81DE9BAA}"/>
              </a:ext>
            </a:extLst>
          </p:cNvPr>
          <p:cNvGrpSpPr/>
          <p:nvPr/>
        </p:nvGrpSpPr>
        <p:grpSpPr>
          <a:xfrm>
            <a:off x="4329156" y="9695736"/>
            <a:ext cx="13958844" cy="666567"/>
            <a:chOff x="4329156" y="9649198"/>
            <a:chExt cx="13958844" cy="666567"/>
          </a:xfrm>
        </p:grpSpPr>
        <p:pic>
          <p:nvPicPr>
            <p:cNvPr id="5" name="Picture 12">
              <a:extLst>
                <a:ext uri="{FF2B5EF4-FFF2-40B4-BE49-F238E27FC236}">
                  <a16:creationId xmlns:a16="http://schemas.microsoft.com/office/drawing/2014/main" id="{00810EF5-3949-4698-A5DE-428CD380175F}"/>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6" name="TextBox 16">
              <a:extLst>
                <a:ext uri="{FF2B5EF4-FFF2-40B4-BE49-F238E27FC236}">
                  <a16:creationId xmlns:a16="http://schemas.microsoft.com/office/drawing/2014/main" id="{EDDD1531-1BDA-4725-B6A3-364F4B7CF76A}"/>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pic>
        <p:nvPicPr>
          <p:cNvPr id="7" name="Picture 12">
            <a:extLst>
              <a:ext uri="{FF2B5EF4-FFF2-40B4-BE49-F238E27FC236}">
                <a16:creationId xmlns:a16="http://schemas.microsoft.com/office/drawing/2014/main" id="{52C35A30-8BA0-4714-8363-E6CE748BA2C3}"/>
              </a:ext>
            </a:extLst>
          </p:cNvPr>
          <p:cNvPicPr>
            <a:picLocks noChangeAspect="1"/>
          </p:cNvPicPr>
          <p:nvPr/>
        </p:nvPicPr>
        <p:blipFill>
          <a:blip r:embed="rId4"/>
          <a:srcRect/>
          <a:stretch>
            <a:fillRect/>
          </a:stretch>
        </p:blipFill>
        <p:spPr>
          <a:xfrm>
            <a:off x="0" y="9295662"/>
            <a:ext cx="4087993" cy="991338"/>
          </a:xfrm>
          <a:prstGeom prst="rect">
            <a:avLst/>
          </a:prstGeom>
        </p:spPr>
      </p:pic>
      <p:grpSp>
        <p:nvGrpSpPr>
          <p:cNvPr id="8" name="Gruppo 2">
            <a:extLst>
              <a:ext uri="{FF2B5EF4-FFF2-40B4-BE49-F238E27FC236}">
                <a16:creationId xmlns:a16="http://schemas.microsoft.com/office/drawing/2014/main" id="{C9C93A65-4067-4ACC-B2C9-8C15277024E4}"/>
              </a:ext>
            </a:extLst>
          </p:cNvPr>
          <p:cNvGrpSpPr/>
          <p:nvPr/>
        </p:nvGrpSpPr>
        <p:grpSpPr>
          <a:xfrm>
            <a:off x="-12" y="138554"/>
            <a:ext cx="18288002" cy="681138"/>
            <a:chOff x="-12" y="138554"/>
            <a:chExt cx="18288002" cy="681138"/>
          </a:xfrm>
        </p:grpSpPr>
        <p:grpSp>
          <p:nvGrpSpPr>
            <p:cNvPr id="9" name="Gruppo 1">
              <a:extLst>
                <a:ext uri="{FF2B5EF4-FFF2-40B4-BE49-F238E27FC236}">
                  <a16:creationId xmlns:a16="http://schemas.microsoft.com/office/drawing/2014/main" id="{A943E672-738C-4FE3-BD35-ACD7A4E4D95E}"/>
                </a:ext>
              </a:extLst>
            </p:cNvPr>
            <p:cNvGrpSpPr/>
            <p:nvPr/>
          </p:nvGrpSpPr>
          <p:grpSpPr>
            <a:xfrm>
              <a:off x="0" y="153125"/>
              <a:ext cx="17907000" cy="666567"/>
              <a:chOff x="0" y="153125"/>
              <a:chExt cx="17907000" cy="666567"/>
            </a:xfrm>
          </p:grpSpPr>
          <p:grpSp>
            <p:nvGrpSpPr>
              <p:cNvPr id="11" name="Gruppo 15">
                <a:extLst>
                  <a:ext uri="{FF2B5EF4-FFF2-40B4-BE49-F238E27FC236}">
                    <a16:creationId xmlns:a16="http://schemas.microsoft.com/office/drawing/2014/main" id="{10037738-5D9A-4755-B52F-99B1FA543ED3}"/>
                  </a:ext>
                </a:extLst>
              </p:cNvPr>
              <p:cNvGrpSpPr/>
              <p:nvPr/>
            </p:nvGrpSpPr>
            <p:grpSpPr>
              <a:xfrm>
                <a:off x="0" y="153125"/>
                <a:ext cx="13958844" cy="666567"/>
                <a:chOff x="0" y="153125"/>
                <a:chExt cx="13958844" cy="666567"/>
              </a:xfrm>
            </p:grpSpPr>
            <p:pic>
              <p:nvPicPr>
                <p:cNvPr id="13" name="Picture 10">
                  <a:extLst>
                    <a:ext uri="{FF2B5EF4-FFF2-40B4-BE49-F238E27FC236}">
                      <a16:creationId xmlns:a16="http://schemas.microsoft.com/office/drawing/2014/main" id="{30234B5E-6FF9-499F-817A-9B69F1CC9911}"/>
                    </a:ext>
                  </a:extLst>
                </p:cNvPr>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4" name="TextBox 11">
                  <a:extLst>
                    <a:ext uri="{FF2B5EF4-FFF2-40B4-BE49-F238E27FC236}">
                      <a16:creationId xmlns:a16="http://schemas.microsoft.com/office/drawing/2014/main" id="{E5F3FE84-033A-4279-AF93-ABD80EC40550}"/>
                    </a:ext>
                  </a:extLst>
                </p:cNvPr>
                <p:cNvSpPr txBox="1"/>
                <p:nvPr/>
              </p:nvSpPr>
              <p:spPr>
                <a:xfrm>
                  <a:off x="228600" y="257980"/>
                  <a:ext cx="9296400" cy="456856"/>
                </a:xfrm>
                <a:prstGeom prst="rect">
                  <a:avLst/>
                </a:prstGeom>
              </p:spPr>
              <p:txBody>
                <a:bodyPr wrap="square" lIns="0" tIns="0" rIns="0" bIns="0" rtlCol="0" anchor="t">
                  <a:spAutoFit/>
                </a:bodyPr>
                <a:lstStyle/>
                <a:p>
                  <a:pPr>
                    <a:lnSpc>
                      <a:spcPts val="3919"/>
                    </a:lnSpc>
                    <a:spcBef>
                      <a:spcPct val="0"/>
                    </a:spcBef>
                  </a:pPr>
                  <a:endParaRPr lang="en-US" sz="2800" b="1">
                    <a:solidFill>
                      <a:srgbClr val="FFFFFF"/>
                    </a:solidFill>
                    <a:latin typeface="Arial" panose="020B0604020202020204" pitchFamily="34" charset="0"/>
                    <a:cs typeface="Arial" panose="020B0604020202020204" pitchFamily="34" charset="0"/>
                  </a:endParaRPr>
                </a:p>
              </p:txBody>
            </p:sp>
          </p:grpSp>
          <p:sp>
            <p:nvSpPr>
              <p:cNvPr id="12" name="TextBox 11">
                <a:extLst>
                  <a:ext uri="{FF2B5EF4-FFF2-40B4-BE49-F238E27FC236}">
                    <a16:creationId xmlns:a16="http://schemas.microsoft.com/office/drawing/2014/main" id="{7B4365DB-7AB3-494A-91B9-B5781D39B67B}"/>
                  </a:ext>
                </a:extLst>
              </p:cNvPr>
              <p:cNvSpPr txBox="1"/>
              <p:nvPr/>
            </p:nvSpPr>
            <p:spPr>
              <a:xfrm>
                <a:off x="12154296" y="257980"/>
                <a:ext cx="5752704" cy="456856"/>
              </a:xfrm>
              <a:prstGeom prst="rect">
                <a:avLst/>
              </a:prstGeom>
            </p:spPr>
            <p:txBody>
              <a:bodyPr wrap="square" lIns="0" tIns="0" rIns="0" bIns="0" rtlCol="0" anchor="t">
                <a:spAutoFit/>
              </a:bodyPr>
              <a:lstStyle/>
              <a:p>
                <a:pPr algn="r">
                  <a:lnSpc>
                    <a:spcPts val="3919"/>
                  </a:lnSpc>
                  <a:spcBef>
                    <a:spcPct val="0"/>
                  </a:spcBef>
                </a:pPr>
                <a:endParaRPr lang="en-US" sz="2800">
                  <a:solidFill>
                    <a:schemeClr val="tx1">
                      <a:lumMod val="75000"/>
                      <a:lumOff val="25000"/>
                    </a:schemeClr>
                  </a:solidFill>
                  <a:latin typeface="Arial" panose="020B0604020202020204" pitchFamily="34" charset="0"/>
                  <a:cs typeface="Arial" panose="020B0604020202020204" pitchFamily="34" charset="0"/>
                </a:endParaRPr>
              </a:p>
            </p:txBody>
          </p:sp>
        </p:grpSp>
        <p:sp>
          <p:nvSpPr>
            <p:cNvPr id="10" name="Rettangolo 13">
              <a:extLst>
                <a:ext uri="{FF2B5EF4-FFF2-40B4-BE49-F238E27FC236}">
                  <a16:creationId xmlns:a16="http://schemas.microsoft.com/office/drawing/2014/main" id="{BC76EB51-B4AB-4BAB-AAF6-1883074EEF50}"/>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0" name="TextBox 19">
            <a:extLst>
              <a:ext uri="{FF2B5EF4-FFF2-40B4-BE49-F238E27FC236}">
                <a16:creationId xmlns:a16="http://schemas.microsoft.com/office/drawing/2014/main" id="{B4D68CAB-2F99-49CF-9331-08151EAABA39}"/>
              </a:ext>
            </a:extLst>
          </p:cNvPr>
          <p:cNvSpPr txBox="1"/>
          <p:nvPr/>
        </p:nvSpPr>
        <p:spPr>
          <a:xfrm>
            <a:off x="5529863" y="924916"/>
            <a:ext cx="8428981" cy="830997"/>
          </a:xfrm>
          <a:prstGeom prst="rect">
            <a:avLst/>
          </a:prstGeom>
          <a:noFill/>
        </p:spPr>
        <p:txBody>
          <a:bodyPr wrap="square">
            <a:spAutoFit/>
          </a:bodyPr>
          <a:lstStyle/>
          <a:p>
            <a:r>
              <a:rPr lang="sv-SE" sz="4800" b="1">
                <a:solidFill>
                  <a:srgbClr val="CC0033"/>
                </a:solidFill>
                <a:latin typeface="+mj-lt"/>
                <a:cs typeface="Arial" panose="020B0604020202020204" pitchFamily="34" charset="0"/>
              </a:rPr>
              <a:t>RETROFEED at FENO</a:t>
            </a:r>
          </a:p>
        </p:txBody>
      </p:sp>
      <p:sp>
        <p:nvSpPr>
          <p:cNvPr id="21" name="TextBox 20">
            <a:extLst>
              <a:ext uri="{FF2B5EF4-FFF2-40B4-BE49-F238E27FC236}">
                <a16:creationId xmlns:a16="http://schemas.microsoft.com/office/drawing/2014/main" id="{4D202826-A262-4E51-B95E-1EDEE44997BC}"/>
              </a:ext>
            </a:extLst>
          </p:cNvPr>
          <p:cNvSpPr txBox="1"/>
          <p:nvPr/>
        </p:nvSpPr>
        <p:spPr>
          <a:xfrm>
            <a:off x="711553" y="4864596"/>
            <a:ext cx="9880248" cy="2118529"/>
          </a:xfrm>
          <a:prstGeom prst="rect">
            <a:avLst/>
          </a:prstGeom>
          <a:noFill/>
        </p:spPr>
        <p:txBody>
          <a:bodyPr wrap="square">
            <a:spAutoFit/>
          </a:bodyPr>
          <a:lstStyle/>
          <a:p>
            <a:pPr algn="just">
              <a:lnSpc>
                <a:spcPct val="150000"/>
              </a:lnSpc>
            </a:pPr>
            <a:r>
              <a:rPr lang="en-US" sz="1800">
                <a:effectLst/>
                <a:latin typeface="Arial MT"/>
                <a:ea typeface="Arial MT"/>
                <a:cs typeface="Arial MT"/>
              </a:rPr>
              <a:t>The objective of the project is to achieve a reduction in the fossil fuel consumption of the steel</a:t>
            </a:r>
            <a:r>
              <a:rPr lang="en-US" sz="1800" spc="5">
                <a:effectLst/>
                <a:latin typeface="Arial MT"/>
                <a:ea typeface="Arial MT"/>
                <a:cs typeface="Arial MT"/>
              </a:rPr>
              <a:t> </a:t>
            </a:r>
            <a:r>
              <a:rPr lang="en-US" sz="1800">
                <a:effectLst/>
                <a:latin typeface="Arial MT"/>
                <a:ea typeface="Arial MT"/>
                <a:cs typeface="Arial MT"/>
              </a:rPr>
              <a:t>production process, through utilization of wastes and biobased sources as fuel and fossil carbon</a:t>
            </a:r>
            <a:r>
              <a:rPr lang="en-US" sz="1800" spc="5">
                <a:effectLst/>
                <a:latin typeface="Arial MT"/>
                <a:ea typeface="Arial MT"/>
                <a:cs typeface="Arial MT"/>
              </a:rPr>
              <a:t> </a:t>
            </a:r>
            <a:r>
              <a:rPr lang="en-US" sz="1800">
                <a:effectLst/>
                <a:latin typeface="Arial MT"/>
                <a:ea typeface="Arial MT"/>
                <a:cs typeface="Arial MT"/>
              </a:rPr>
              <a:t>replacements. Pathways devised to accomplish such goal are to modify a burner to be able to burn</a:t>
            </a:r>
            <a:r>
              <a:rPr lang="en-US" sz="1800" spc="-295">
                <a:effectLst/>
                <a:latin typeface="Arial MT"/>
                <a:ea typeface="Arial MT"/>
                <a:cs typeface="Arial MT"/>
              </a:rPr>
              <a:t> </a:t>
            </a:r>
            <a:r>
              <a:rPr lang="en-US" sz="1800">
                <a:effectLst/>
                <a:latin typeface="Arial MT"/>
                <a:ea typeface="Arial MT"/>
                <a:cs typeface="Arial MT"/>
              </a:rPr>
              <a:t>plastic grains and biochar as fuel alternatives to natural gas, and revamp an injector, allowing it to</a:t>
            </a:r>
            <a:r>
              <a:rPr lang="en-US" sz="1800" spc="5">
                <a:effectLst/>
                <a:latin typeface="Arial MT"/>
                <a:ea typeface="Arial MT"/>
                <a:cs typeface="Arial MT"/>
              </a:rPr>
              <a:t> </a:t>
            </a:r>
            <a:r>
              <a:rPr lang="en-US" sz="1800">
                <a:effectLst/>
                <a:latin typeface="Arial MT"/>
                <a:ea typeface="Arial MT"/>
                <a:cs typeface="Arial MT"/>
              </a:rPr>
              <a:t>blow</a:t>
            </a:r>
            <a:r>
              <a:rPr lang="en-US" sz="1800" spc="-30">
                <a:effectLst/>
                <a:latin typeface="Arial MT"/>
                <a:ea typeface="Arial MT"/>
                <a:cs typeface="Arial MT"/>
              </a:rPr>
              <a:t> </a:t>
            </a:r>
            <a:r>
              <a:rPr lang="en-US" sz="1800">
                <a:effectLst/>
                <a:latin typeface="Arial MT"/>
                <a:ea typeface="Arial MT"/>
                <a:cs typeface="Arial MT"/>
              </a:rPr>
              <a:t>biochar</a:t>
            </a:r>
            <a:r>
              <a:rPr lang="en-US" sz="1800" spc="-5">
                <a:effectLst/>
                <a:latin typeface="Arial MT"/>
                <a:ea typeface="Arial MT"/>
                <a:cs typeface="Arial MT"/>
              </a:rPr>
              <a:t> </a:t>
            </a:r>
            <a:r>
              <a:rPr lang="en-US" sz="1800">
                <a:effectLst/>
                <a:latin typeface="Arial MT"/>
                <a:ea typeface="Arial MT"/>
                <a:cs typeface="Arial MT"/>
              </a:rPr>
              <a:t>instead</a:t>
            </a:r>
            <a:r>
              <a:rPr lang="en-US" sz="1800" spc="-10">
                <a:effectLst/>
                <a:latin typeface="Arial MT"/>
                <a:ea typeface="Arial MT"/>
                <a:cs typeface="Arial MT"/>
              </a:rPr>
              <a:t> </a:t>
            </a:r>
            <a:r>
              <a:rPr lang="en-US" sz="1800">
                <a:effectLst/>
                <a:latin typeface="Arial MT"/>
                <a:ea typeface="Arial MT"/>
                <a:cs typeface="Arial MT"/>
              </a:rPr>
              <a:t>of</a:t>
            </a:r>
            <a:r>
              <a:rPr lang="en-US" sz="1800" spc="-15">
                <a:effectLst/>
                <a:latin typeface="Arial MT"/>
                <a:ea typeface="Arial MT"/>
                <a:cs typeface="Arial MT"/>
              </a:rPr>
              <a:t> </a:t>
            </a:r>
            <a:r>
              <a:rPr lang="en-US" sz="1800">
                <a:effectLst/>
                <a:latin typeface="Arial MT"/>
                <a:ea typeface="Arial MT"/>
                <a:cs typeface="Arial MT"/>
              </a:rPr>
              <a:t>anthracite</a:t>
            </a:r>
            <a:r>
              <a:rPr lang="en-US" sz="1800" spc="-10">
                <a:effectLst/>
                <a:latin typeface="Arial MT"/>
                <a:ea typeface="Arial MT"/>
                <a:cs typeface="Arial MT"/>
              </a:rPr>
              <a:t> </a:t>
            </a:r>
            <a:r>
              <a:rPr lang="en-US" sz="1800">
                <a:effectLst/>
                <a:latin typeface="Arial MT"/>
                <a:ea typeface="Arial MT"/>
                <a:cs typeface="Arial MT"/>
              </a:rPr>
              <a:t>to</a:t>
            </a:r>
            <a:r>
              <a:rPr lang="en-US" sz="1800" spc="-10">
                <a:effectLst/>
                <a:latin typeface="Arial MT"/>
                <a:ea typeface="Arial MT"/>
                <a:cs typeface="Arial MT"/>
              </a:rPr>
              <a:t> </a:t>
            </a:r>
            <a:r>
              <a:rPr lang="en-US" sz="1800">
                <a:effectLst/>
                <a:latin typeface="Arial MT"/>
                <a:ea typeface="Arial MT"/>
                <a:cs typeface="Arial MT"/>
              </a:rPr>
              <a:t>the</a:t>
            </a:r>
            <a:r>
              <a:rPr lang="en-US" sz="1800" spc="15">
                <a:effectLst/>
                <a:latin typeface="Arial MT"/>
                <a:ea typeface="Arial MT"/>
                <a:cs typeface="Arial MT"/>
              </a:rPr>
              <a:t> </a:t>
            </a:r>
            <a:r>
              <a:rPr lang="en-US" sz="1800">
                <a:effectLst/>
                <a:latin typeface="Arial MT"/>
                <a:ea typeface="Arial MT"/>
                <a:cs typeface="Arial MT"/>
              </a:rPr>
              <a:t>melt.</a:t>
            </a:r>
            <a:endParaRPr lang="es-ES"/>
          </a:p>
        </p:txBody>
      </p:sp>
      <p:sp>
        <p:nvSpPr>
          <p:cNvPr id="22" name="TextBox 21">
            <a:extLst>
              <a:ext uri="{FF2B5EF4-FFF2-40B4-BE49-F238E27FC236}">
                <a16:creationId xmlns:a16="http://schemas.microsoft.com/office/drawing/2014/main" id="{A9B20580-BA1E-4C7C-A82E-3639921429A1}"/>
              </a:ext>
            </a:extLst>
          </p:cNvPr>
          <p:cNvSpPr txBox="1"/>
          <p:nvPr/>
        </p:nvSpPr>
        <p:spPr>
          <a:xfrm>
            <a:off x="604872" y="2447908"/>
            <a:ext cx="9621168" cy="1703030"/>
          </a:xfrm>
          <a:prstGeom prst="rect">
            <a:avLst/>
          </a:prstGeom>
          <a:noFill/>
        </p:spPr>
        <p:txBody>
          <a:bodyPr wrap="square">
            <a:spAutoFit/>
          </a:bodyPr>
          <a:lstStyle/>
          <a:p>
            <a:pPr algn="just">
              <a:lnSpc>
                <a:spcPct val="150000"/>
              </a:lnSpc>
            </a:pPr>
            <a:r>
              <a:rPr lang="en-US" sz="1800">
                <a:effectLst/>
                <a:latin typeface="Arial MT"/>
                <a:ea typeface="Arial MT"/>
                <a:cs typeface="Arial MT"/>
              </a:rPr>
              <a:t>The main motivation for FERRIERE NORD S.p.A. to take part in the RETROFEED project is to</a:t>
            </a:r>
            <a:r>
              <a:rPr lang="en-US" sz="1800" spc="5">
                <a:effectLst/>
                <a:latin typeface="Arial MT"/>
                <a:ea typeface="Arial MT"/>
                <a:cs typeface="Arial MT"/>
              </a:rPr>
              <a:t> </a:t>
            </a:r>
            <a:r>
              <a:rPr lang="en-US" sz="1800">
                <a:effectLst/>
                <a:latin typeface="Arial MT"/>
                <a:ea typeface="Arial MT"/>
                <a:cs typeface="Arial MT"/>
              </a:rPr>
              <a:t>significantly cut</a:t>
            </a:r>
            <a:r>
              <a:rPr lang="en-US" sz="1800" spc="5">
                <a:effectLst/>
                <a:latin typeface="Arial MT"/>
                <a:ea typeface="Arial MT"/>
                <a:cs typeface="Arial MT"/>
              </a:rPr>
              <a:t> </a:t>
            </a:r>
            <a:r>
              <a:rPr lang="en-US" sz="1800">
                <a:effectLst/>
                <a:latin typeface="Arial MT"/>
                <a:ea typeface="Arial MT"/>
                <a:cs typeface="Arial MT"/>
              </a:rPr>
              <a:t>back on</a:t>
            </a:r>
            <a:r>
              <a:rPr lang="en-US" sz="1800" spc="5">
                <a:effectLst/>
                <a:latin typeface="Arial MT"/>
                <a:ea typeface="Arial MT"/>
                <a:cs typeface="Arial MT"/>
              </a:rPr>
              <a:t> </a:t>
            </a:r>
            <a:r>
              <a:rPr lang="en-US" sz="1800">
                <a:effectLst/>
                <a:latin typeface="Arial MT"/>
                <a:ea typeface="Arial MT"/>
                <a:cs typeface="Arial MT"/>
              </a:rPr>
              <a:t>their</a:t>
            </a:r>
            <a:r>
              <a:rPr lang="en-US" sz="1800" spc="5">
                <a:effectLst/>
                <a:latin typeface="Arial MT"/>
                <a:ea typeface="Arial MT"/>
                <a:cs typeface="Arial MT"/>
              </a:rPr>
              <a:t> </a:t>
            </a:r>
            <a:r>
              <a:rPr lang="en-US" sz="1800">
                <a:effectLst/>
                <a:latin typeface="Arial MT"/>
                <a:ea typeface="Arial MT"/>
                <a:cs typeface="Arial MT"/>
              </a:rPr>
              <a:t>fossil</a:t>
            </a:r>
            <a:r>
              <a:rPr lang="en-US" sz="1800" spc="5">
                <a:effectLst/>
                <a:latin typeface="Arial MT"/>
                <a:ea typeface="Arial MT"/>
                <a:cs typeface="Arial MT"/>
              </a:rPr>
              <a:t> </a:t>
            </a:r>
            <a:r>
              <a:rPr lang="en-US" sz="1800">
                <a:effectLst/>
                <a:latin typeface="Arial MT"/>
                <a:ea typeface="Arial MT"/>
                <a:cs typeface="Arial MT"/>
              </a:rPr>
              <a:t>fuel reliance</a:t>
            </a:r>
            <a:r>
              <a:rPr lang="en-US" sz="1800" spc="5">
                <a:effectLst/>
                <a:latin typeface="Arial MT"/>
                <a:ea typeface="Arial MT"/>
                <a:cs typeface="Arial MT"/>
              </a:rPr>
              <a:t> </a:t>
            </a:r>
            <a:r>
              <a:rPr lang="en-US" sz="1800">
                <a:effectLst/>
                <a:latin typeface="Arial MT"/>
                <a:ea typeface="Arial MT"/>
                <a:cs typeface="Arial MT"/>
              </a:rPr>
              <a:t>and</a:t>
            </a:r>
            <a:r>
              <a:rPr lang="en-US" sz="1800" spc="5">
                <a:effectLst/>
                <a:latin typeface="Arial MT"/>
                <a:ea typeface="Arial MT"/>
                <a:cs typeface="Arial MT"/>
              </a:rPr>
              <a:t> </a:t>
            </a:r>
            <a:r>
              <a:rPr lang="en-US" sz="1800">
                <a:effectLst/>
                <a:latin typeface="Arial MT"/>
                <a:ea typeface="Arial MT"/>
                <a:cs typeface="Arial MT"/>
              </a:rPr>
              <a:t>associated</a:t>
            </a:r>
            <a:r>
              <a:rPr lang="en-US" sz="1800" spc="5">
                <a:effectLst/>
                <a:latin typeface="Arial MT"/>
                <a:ea typeface="Arial MT"/>
                <a:cs typeface="Arial MT"/>
              </a:rPr>
              <a:t> </a:t>
            </a:r>
            <a:r>
              <a:rPr lang="en-US" sz="1800">
                <a:effectLst/>
                <a:latin typeface="Arial MT"/>
                <a:ea typeface="Arial MT"/>
                <a:cs typeface="Arial MT"/>
              </a:rPr>
              <a:t>CO2</a:t>
            </a:r>
            <a:r>
              <a:rPr lang="en-US" sz="1800" spc="5">
                <a:effectLst/>
                <a:latin typeface="Arial MT"/>
                <a:ea typeface="Arial MT"/>
                <a:cs typeface="Arial MT"/>
              </a:rPr>
              <a:t> </a:t>
            </a:r>
            <a:r>
              <a:rPr lang="en-US" sz="1800">
                <a:effectLst/>
                <a:latin typeface="Arial MT"/>
                <a:ea typeface="Arial MT"/>
                <a:cs typeface="Arial MT"/>
              </a:rPr>
              <a:t>emissions through</a:t>
            </a:r>
            <a:r>
              <a:rPr lang="en-US" sz="1800" spc="5">
                <a:effectLst/>
                <a:latin typeface="Arial MT"/>
                <a:ea typeface="Arial MT"/>
                <a:cs typeface="Arial MT"/>
              </a:rPr>
              <a:t> </a:t>
            </a:r>
            <a:r>
              <a:rPr lang="en-US" sz="1800">
                <a:effectLst/>
                <a:latin typeface="Arial MT"/>
                <a:ea typeface="Arial MT"/>
                <a:cs typeface="Arial MT"/>
              </a:rPr>
              <a:t>the</a:t>
            </a:r>
            <a:r>
              <a:rPr lang="en-US" sz="1800" spc="5">
                <a:effectLst/>
                <a:latin typeface="Arial MT"/>
                <a:ea typeface="Arial MT"/>
                <a:cs typeface="Arial MT"/>
              </a:rPr>
              <a:t> </a:t>
            </a:r>
            <a:r>
              <a:rPr lang="en-US" sz="1800">
                <a:effectLst/>
                <a:latin typeface="Arial MT"/>
                <a:ea typeface="Arial MT"/>
                <a:cs typeface="Arial MT"/>
              </a:rPr>
              <a:t>adaptation of key process equipment to recycled and biobased sources, while leaving productivity</a:t>
            </a:r>
            <a:r>
              <a:rPr lang="en-US" sz="1800" spc="5">
                <a:effectLst/>
                <a:latin typeface="Arial MT"/>
                <a:ea typeface="Arial MT"/>
                <a:cs typeface="Arial MT"/>
              </a:rPr>
              <a:t> </a:t>
            </a:r>
            <a:r>
              <a:rPr lang="en-US" sz="1800">
                <a:effectLst/>
                <a:latin typeface="Arial MT"/>
                <a:ea typeface="Arial MT"/>
                <a:cs typeface="Arial MT"/>
              </a:rPr>
              <a:t>and</a:t>
            </a:r>
            <a:r>
              <a:rPr lang="en-US" sz="1800" spc="5">
                <a:effectLst/>
                <a:latin typeface="Arial MT"/>
                <a:ea typeface="Arial MT"/>
                <a:cs typeface="Arial MT"/>
              </a:rPr>
              <a:t> </a:t>
            </a:r>
            <a:r>
              <a:rPr lang="en-US" sz="1800">
                <a:effectLst/>
                <a:latin typeface="Arial MT"/>
                <a:ea typeface="Arial MT"/>
                <a:cs typeface="Arial MT"/>
              </a:rPr>
              <a:t>product</a:t>
            </a:r>
            <a:r>
              <a:rPr lang="en-US" sz="1800" spc="-25">
                <a:effectLst/>
                <a:latin typeface="Arial MT"/>
                <a:ea typeface="Arial MT"/>
                <a:cs typeface="Arial MT"/>
              </a:rPr>
              <a:t> </a:t>
            </a:r>
            <a:r>
              <a:rPr lang="en-US" sz="1800">
                <a:effectLst/>
                <a:latin typeface="Arial MT"/>
                <a:ea typeface="Arial MT"/>
                <a:cs typeface="Arial MT"/>
              </a:rPr>
              <a:t>quality</a:t>
            </a:r>
            <a:r>
              <a:rPr lang="en-US" sz="1800" spc="-30">
                <a:effectLst/>
                <a:latin typeface="Arial MT"/>
                <a:ea typeface="Arial MT"/>
                <a:cs typeface="Arial MT"/>
              </a:rPr>
              <a:t> </a:t>
            </a:r>
            <a:r>
              <a:rPr lang="en-US" sz="1800">
                <a:effectLst/>
                <a:latin typeface="Arial MT"/>
                <a:ea typeface="Arial MT"/>
                <a:cs typeface="Arial MT"/>
              </a:rPr>
              <a:t>unaffected.</a:t>
            </a:r>
            <a:endParaRPr lang="en-US" b="0" i="0" u="none" strike="noStrike" baseline="0">
              <a:solidFill>
                <a:srgbClr val="000000"/>
              </a:solidFill>
              <a:latin typeface="Arial" panose="020B0604020202020204" pitchFamily="34" charset="0"/>
            </a:endParaRPr>
          </a:p>
        </p:txBody>
      </p:sp>
      <p:sp>
        <p:nvSpPr>
          <p:cNvPr id="23" name="TextBox 22">
            <a:extLst>
              <a:ext uri="{FF2B5EF4-FFF2-40B4-BE49-F238E27FC236}">
                <a16:creationId xmlns:a16="http://schemas.microsoft.com/office/drawing/2014/main" id="{EDADB62C-C9C5-46BD-B3F0-92C52F43256C}"/>
              </a:ext>
            </a:extLst>
          </p:cNvPr>
          <p:cNvSpPr txBox="1"/>
          <p:nvPr/>
        </p:nvSpPr>
        <p:spPr>
          <a:xfrm>
            <a:off x="711552" y="1910664"/>
            <a:ext cx="9144000" cy="461665"/>
          </a:xfrm>
          <a:prstGeom prst="rect">
            <a:avLst/>
          </a:prstGeom>
          <a:noFill/>
        </p:spPr>
        <p:txBody>
          <a:bodyPr wrap="square">
            <a:spAutoFit/>
          </a:bodyPr>
          <a:lstStyle/>
          <a:p>
            <a:r>
              <a:rPr lang="sv-SE" sz="2400" b="1" err="1">
                <a:solidFill>
                  <a:srgbClr val="CC0033"/>
                </a:solidFill>
                <a:latin typeface="+mj-lt"/>
                <a:cs typeface="Arial" panose="020B0604020202020204" pitchFamily="34" charset="0"/>
              </a:rPr>
              <a:t>Why</a:t>
            </a:r>
            <a:r>
              <a:rPr lang="sv-SE" sz="2400" b="1">
                <a:solidFill>
                  <a:srgbClr val="CC0033"/>
                </a:solidFill>
                <a:latin typeface="+mj-lt"/>
                <a:cs typeface="Arial" panose="020B0604020202020204" pitchFamily="34" charset="0"/>
              </a:rPr>
              <a:t> is </a:t>
            </a:r>
            <a:r>
              <a:rPr lang="sv-SE" sz="2400" b="1" err="1">
                <a:solidFill>
                  <a:srgbClr val="CC0033"/>
                </a:solidFill>
                <a:latin typeface="+mj-lt"/>
                <a:cs typeface="Arial" panose="020B0604020202020204" pitchFamily="34" charset="0"/>
              </a:rPr>
              <a:t>retrofit</a:t>
            </a:r>
            <a:r>
              <a:rPr lang="sv-SE" sz="2400" b="1">
                <a:solidFill>
                  <a:srgbClr val="CC0033"/>
                </a:solidFill>
                <a:latin typeface="+mj-lt"/>
                <a:cs typeface="Arial" panose="020B0604020202020204" pitchFamily="34" charset="0"/>
              </a:rPr>
              <a:t> </a:t>
            </a:r>
            <a:r>
              <a:rPr lang="sv-SE" sz="2400" b="1" err="1">
                <a:solidFill>
                  <a:srgbClr val="CC0033"/>
                </a:solidFill>
                <a:latin typeface="+mj-lt"/>
                <a:cs typeface="Arial" panose="020B0604020202020204" pitchFamily="34" charset="0"/>
              </a:rPr>
              <a:t>needed</a:t>
            </a:r>
            <a:r>
              <a:rPr lang="sv-SE" sz="2400" b="1">
                <a:solidFill>
                  <a:srgbClr val="CC0033"/>
                </a:solidFill>
                <a:latin typeface="+mj-lt"/>
                <a:cs typeface="Arial" panose="020B0604020202020204" pitchFamily="34" charset="0"/>
              </a:rPr>
              <a:t> at FENO?</a:t>
            </a:r>
          </a:p>
        </p:txBody>
      </p:sp>
      <p:sp>
        <p:nvSpPr>
          <p:cNvPr id="24" name="TextBox 23">
            <a:extLst>
              <a:ext uri="{FF2B5EF4-FFF2-40B4-BE49-F238E27FC236}">
                <a16:creationId xmlns:a16="http://schemas.microsoft.com/office/drawing/2014/main" id="{937FCD4A-B1F9-4E69-A0BA-D616BDBFF034}"/>
              </a:ext>
            </a:extLst>
          </p:cNvPr>
          <p:cNvSpPr txBox="1"/>
          <p:nvPr/>
        </p:nvSpPr>
        <p:spPr>
          <a:xfrm>
            <a:off x="711552" y="4317885"/>
            <a:ext cx="9144000" cy="461665"/>
          </a:xfrm>
          <a:prstGeom prst="rect">
            <a:avLst/>
          </a:prstGeom>
          <a:noFill/>
        </p:spPr>
        <p:txBody>
          <a:bodyPr wrap="square">
            <a:spAutoFit/>
          </a:bodyPr>
          <a:lstStyle/>
          <a:p>
            <a:r>
              <a:rPr lang="sv-SE" sz="2400" b="1" err="1">
                <a:solidFill>
                  <a:srgbClr val="CC0033"/>
                </a:solidFill>
                <a:latin typeface="+mj-lt"/>
                <a:cs typeface="Arial" panose="020B0604020202020204" pitchFamily="34" charset="0"/>
              </a:rPr>
              <a:t>Where</a:t>
            </a:r>
            <a:r>
              <a:rPr lang="sv-SE" sz="2400" b="1">
                <a:solidFill>
                  <a:srgbClr val="CC0033"/>
                </a:solidFill>
                <a:latin typeface="+mj-lt"/>
                <a:cs typeface="Arial" panose="020B0604020202020204" pitchFamily="34" charset="0"/>
              </a:rPr>
              <a:t> is </a:t>
            </a:r>
            <a:r>
              <a:rPr lang="sv-SE" sz="2400" b="1" err="1">
                <a:solidFill>
                  <a:srgbClr val="CC0033"/>
                </a:solidFill>
                <a:latin typeface="+mj-lt"/>
                <a:cs typeface="Arial" panose="020B0604020202020204" pitchFamily="34" charset="0"/>
              </a:rPr>
              <a:t>retrofit</a:t>
            </a:r>
            <a:r>
              <a:rPr lang="sv-SE" sz="2400" b="1">
                <a:solidFill>
                  <a:srgbClr val="CC0033"/>
                </a:solidFill>
                <a:latin typeface="+mj-lt"/>
                <a:cs typeface="Arial" panose="020B0604020202020204" pitchFamily="34" charset="0"/>
              </a:rPr>
              <a:t> </a:t>
            </a:r>
            <a:r>
              <a:rPr lang="sv-SE" sz="2400" b="1" err="1">
                <a:solidFill>
                  <a:srgbClr val="CC0033"/>
                </a:solidFill>
                <a:latin typeface="+mj-lt"/>
                <a:cs typeface="Arial" panose="020B0604020202020204" pitchFamily="34" charset="0"/>
              </a:rPr>
              <a:t>needed</a:t>
            </a:r>
            <a:r>
              <a:rPr lang="sv-SE" sz="2400" b="1">
                <a:solidFill>
                  <a:srgbClr val="CC0033"/>
                </a:solidFill>
                <a:latin typeface="+mj-lt"/>
                <a:cs typeface="Arial" panose="020B0604020202020204" pitchFamily="34" charset="0"/>
              </a:rPr>
              <a:t> at FENO?</a:t>
            </a:r>
          </a:p>
        </p:txBody>
      </p:sp>
      <p:sp>
        <p:nvSpPr>
          <p:cNvPr id="25" name="TextBox 24">
            <a:extLst>
              <a:ext uri="{FF2B5EF4-FFF2-40B4-BE49-F238E27FC236}">
                <a16:creationId xmlns:a16="http://schemas.microsoft.com/office/drawing/2014/main" id="{0ECC9F57-CF49-4DE9-A193-ACA3C8FEE863}"/>
              </a:ext>
            </a:extLst>
          </p:cNvPr>
          <p:cNvSpPr txBox="1"/>
          <p:nvPr/>
        </p:nvSpPr>
        <p:spPr>
          <a:xfrm>
            <a:off x="331905" y="7545426"/>
            <a:ext cx="11521785" cy="1131848"/>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anchor="ctr">
            <a:spAutoFit/>
          </a:bodyPr>
          <a:lstStyle/>
          <a:p>
            <a:pPr algn="ctr">
              <a:lnSpc>
                <a:spcPct val="150000"/>
              </a:lnSpc>
            </a:pPr>
            <a:r>
              <a:rPr lang="es-ES" sz="2400" err="1">
                <a:solidFill>
                  <a:schemeClr val="bg1"/>
                </a:solidFill>
              </a:rPr>
              <a:t>With</a:t>
            </a:r>
            <a:r>
              <a:rPr lang="es-ES" sz="2400">
                <a:solidFill>
                  <a:schemeClr val="bg1"/>
                </a:solidFill>
              </a:rPr>
              <a:t> </a:t>
            </a:r>
            <a:r>
              <a:rPr lang="es-ES" sz="2400" err="1">
                <a:solidFill>
                  <a:schemeClr val="bg1"/>
                </a:solidFill>
              </a:rPr>
              <a:t>these</a:t>
            </a:r>
            <a:r>
              <a:rPr lang="es-ES" sz="2400">
                <a:solidFill>
                  <a:schemeClr val="bg1"/>
                </a:solidFill>
              </a:rPr>
              <a:t> </a:t>
            </a:r>
            <a:r>
              <a:rPr lang="es-ES" sz="2400" err="1">
                <a:solidFill>
                  <a:schemeClr val="bg1"/>
                </a:solidFill>
              </a:rPr>
              <a:t>actions</a:t>
            </a:r>
            <a:r>
              <a:rPr lang="es-ES" sz="2400">
                <a:solidFill>
                  <a:schemeClr val="bg1"/>
                </a:solidFill>
              </a:rPr>
              <a:t>, </a:t>
            </a:r>
            <a:r>
              <a:rPr lang="es-ES" sz="2400" err="1">
                <a:solidFill>
                  <a:schemeClr val="bg1"/>
                </a:solidFill>
              </a:rPr>
              <a:t>it</a:t>
            </a:r>
            <a:r>
              <a:rPr lang="es-ES" sz="2400">
                <a:solidFill>
                  <a:schemeClr val="bg1"/>
                </a:solidFill>
              </a:rPr>
              <a:t> </a:t>
            </a:r>
            <a:r>
              <a:rPr lang="es-ES" sz="2400" err="1">
                <a:solidFill>
                  <a:schemeClr val="bg1"/>
                </a:solidFill>
              </a:rPr>
              <a:t>is</a:t>
            </a:r>
            <a:r>
              <a:rPr lang="es-ES" sz="2400">
                <a:solidFill>
                  <a:schemeClr val="bg1"/>
                </a:solidFill>
              </a:rPr>
              <a:t> </a:t>
            </a:r>
            <a:r>
              <a:rPr lang="es-ES" sz="2400" err="1">
                <a:solidFill>
                  <a:schemeClr val="bg1"/>
                </a:solidFill>
              </a:rPr>
              <a:t>expected</a:t>
            </a:r>
            <a:r>
              <a:rPr lang="es-ES" sz="2400">
                <a:solidFill>
                  <a:schemeClr val="bg1"/>
                </a:solidFill>
              </a:rPr>
              <a:t> </a:t>
            </a:r>
            <a:r>
              <a:rPr lang="es-ES" sz="2400" err="1">
                <a:solidFill>
                  <a:schemeClr val="bg1"/>
                </a:solidFill>
              </a:rPr>
              <a:t>to</a:t>
            </a:r>
            <a:r>
              <a:rPr lang="es-ES" sz="2400">
                <a:solidFill>
                  <a:schemeClr val="bg1"/>
                </a:solidFill>
              </a:rPr>
              <a:t> </a:t>
            </a:r>
            <a:r>
              <a:rPr lang="es-ES" sz="2400" err="1">
                <a:solidFill>
                  <a:schemeClr val="bg1"/>
                </a:solidFill>
              </a:rPr>
              <a:t>achieve</a:t>
            </a:r>
            <a:r>
              <a:rPr lang="es-ES" sz="2400">
                <a:solidFill>
                  <a:schemeClr val="bg1"/>
                </a:solidFill>
              </a:rPr>
              <a:t> </a:t>
            </a:r>
            <a:r>
              <a:rPr lang="en-US" sz="2400">
                <a:effectLst/>
                <a:latin typeface="Arial MT"/>
                <a:ea typeface="Arial MT"/>
                <a:cs typeface="Arial MT"/>
              </a:rPr>
              <a:t>achieve a reduction in the fossil fuel consumption and</a:t>
            </a:r>
            <a:r>
              <a:rPr lang="en-US" sz="2400" spc="5">
                <a:effectLst/>
                <a:latin typeface="Arial MT"/>
                <a:ea typeface="Arial MT"/>
                <a:cs typeface="Arial MT"/>
              </a:rPr>
              <a:t> </a:t>
            </a:r>
            <a:r>
              <a:rPr lang="en-US" sz="2400">
                <a:effectLst/>
                <a:latin typeface="Arial MT"/>
                <a:ea typeface="Arial MT"/>
                <a:cs typeface="Arial MT"/>
              </a:rPr>
              <a:t>associated</a:t>
            </a:r>
            <a:r>
              <a:rPr lang="en-US" sz="2400" spc="5">
                <a:effectLst/>
                <a:latin typeface="Arial MT"/>
                <a:ea typeface="Arial MT"/>
                <a:cs typeface="Arial MT"/>
              </a:rPr>
              <a:t> </a:t>
            </a:r>
            <a:r>
              <a:rPr lang="en-US" sz="2400">
                <a:effectLst/>
                <a:latin typeface="Arial MT"/>
                <a:ea typeface="Arial MT"/>
                <a:cs typeface="Arial MT"/>
              </a:rPr>
              <a:t>CO2</a:t>
            </a:r>
            <a:r>
              <a:rPr lang="en-US" sz="2400" spc="5">
                <a:effectLst/>
                <a:latin typeface="Arial MT"/>
                <a:ea typeface="Arial MT"/>
                <a:cs typeface="Arial MT"/>
              </a:rPr>
              <a:t> </a:t>
            </a:r>
            <a:r>
              <a:rPr lang="en-US" sz="2400">
                <a:effectLst/>
                <a:latin typeface="Arial MT"/>
                <a:ea typeface="Arial MT"/>
                <a:cs typeface="Arial MT"/>
              </a:rPr>
              <a:t>emissions of the steel</a:t>
            </a:r>
            <a:r>
              <a:rPr lang="en-US" sz="2400" spc="5">
                <a:effectLst/>
                <a:latin typeface="Arial MT"/>
                <a:ea typeface="Arial MT"/>
                <a:cs typeface="Arial MT"/>
              </a:rPr>
              <a:t> </a:t>
            </a:r>
            <a:r>
              <a:rPr lang="en-US" sz="2400">
                <a:effectLst/>
                <a:latin typeface="Arial MT"/>
                <a:ea typeface="Arial MT"/>
                <a:cs typeface="Arial MT"/>
              </a:rPr>
              <a:t>production process</a:t>
            </a:r>
            <a:r>
              <a:rPr lang="en-US" sz="2400" b="0" i="0" u="none" strike="noStrike" baseline="0">
                <a:solidFill>
                  <a:schemeClr val="bg1"/>
                </a:solidFill>
                <a:latin typeface="Arial" panose="020B0604020202020204" pitchFamily="34" charset="0"/>
              </a:rPr>
              <a:t>.</a:t>
            </a:r>
            <a:endParaRPr lang="sv-SE" sz="2200">
              <a:solidFill>
                <a:schemeClr val="bg1"/>
              </a:solidFill>
            </a:endParaRPr>
          </a:p>
        </p:txBody>
      </p:sp>
      <p:pic>
        <p:nvPicPr>
          <p:cNvPr id="26" name="image45.jpeg">
            <a:extLst>
              <a:ext uri="{FF2B5EF4-FFF2-40B4-BE49-F238E27FC236}">
                <a16:creationId xmlns:a16="http://schemas.microsoft.com/office/drawing/2014/main" id="{DC79D133-3DC7-493E-A227-00462CD69B25}"/>
              </a:ext>
            </a:extLst>
          </p:cNvPr>
          <p:cNvPicPr>
            <a:picLocks noChangeAspect="1"/>
          </p:cNvPicPr>
          <p:nvPr/>
        </p:nvPicPr>
        <p:blipFill>
          <a:blip r:embed="rId6" cstate="print"/>
          <a:stretch>
            <a:fillRect/>
          </a:stretch>
        </p:blipFill>
        <p:spPr>
          <a:xfrm>
            <a:off x="11014392" y="1796416"/>
            <a:ext cx="5235132" cy="3491864"/>
          </a:xfrm>
          <a:prstGeom prst="rect">
            <a:avLst/>
          </a:prstGeom>
        </p:spPr>
      </p:pic>
      <p:sp>
        <p:nvSpPr>
          <p:cNvPr id="27" name="TextBox 26">
            <a:extLst>
              <a:ext uri="{FF2B5EF4-FFF2-40B4-BE49-F238E27FC236}">
                <a16:creationId xmlns:a16="http://schemas.microsoft.com/office/drawing/2014/main" id="{27B009C8-959E-4FF7-8463-7D48E40FAEEA}"/>
              </a:ext>
            </a:extLst>
          </p:cNvPr>
          <p:cNvSpPr txBox="1"/>
          <p:nvPr/>
        </p:nvSpPr>
        <p:spPr>
          <a:xfrm>
            <a:off x="11567160" y="5411355"/>
            <a:ext cx="4381896" cy="646331"/>
          </a:xfrm>
          <a:prstGeom prst="rect">
            <a:avLst/>
          </a:prstGeom>
          <a:noFill/>
        </p:spPr>
        <p:txBody>
          <a:bodyPr wrap="square">
            <a:spAutoFit/>
          </a:bodyPr>
          <a:lstStyle/>
          <a:p>
            <a:r>
              <a:rPr lang="en-US" sz="1800" i="1">
                <a:effectLst/>
                <a:latin typeface="Arial" panose="020B0604020202020204" pitchFamily="34" charset="0"/>
                <a:ea typeface="Arial MT"/>
                <a:cs typeface="Arial MT"/>
              </a:rPr>
              <a:t>FERRIERE</a:t>
            </a:r>
            <a:r>
              <a:rPr lang="en-US" sz="1800" i="1" spc="-40">
                <a:effectLst/>
                <a:latin typeface="Arial" panose="020B0604020202020204" pitchFamily="34" charset="0"/>
                <a:ea typeface="Arial MT"/>
                <a:cs typeface="Arial MT"/>
              </a:rPr>
              <a:t> </a:t>
            </a:r>
            <a:r>
              <a:rPr lang="en-US" sz="1800" i="1">
                <a:effectLst/>
                <a:latin typeface="Arial" panose="020B0604020202020204" pitchFamily="34" charset="0"/>
                <a:ea typeface="Arial MT"/>
                <a:cs typeface="Arial MT"/>
              </a:rPr>
              <a:t>NORD</a:t>
            </a:r>
            <a:r>
              <a:rPr lang="en-US" sz="1800" i="1" spc="-45">
                <a:effectLst/>
                <a:latin typeface="Arial" panose="020B0604020202020204" pitchFamily="34" charset="0"/>
                <a:ea typeface="Arial MT"/>
                <a:cs typeface="Arial MT"/>
              </a:rPr>
              <a:t> </a:t>
            </a:r>
            <a:r>
              <a:rPr lang="en-US" sz="1800" i="1">
                <a:effectLst/>
                <a:latin typeface="Arial" panose="020B0604020202020204" pitchFamily="34" charset="0"/>
                <a:ea typeface="Arial MT"/>
                <a:cs typeface="Arial MT"/>
              </a:rPr>
              <a:t>EAF,</a:t>
            </a:r>
            <a:r>
              <a:rPr lang="en-US" sz="1800" i="1" spc="-30">
                <a:effectLst/>
                <a:latin typeface="Arial" panose="020B0604020202020204" pitchFamily="34" charset="0"/>
                <a:ea typeface="Arial MT"/>
                <a:cs typeface="Arial MT"/>
              </a:rPr>
              <a:t> </a:t>
            </a:r>
            <a:r>
              <a:rPr lang="en-US" sz="1800" i="1">
                <a:effectLst/>
                <a:latin typeface="Arial" panose="020B0604020202020204" pitchFamily="34" charset="0"/>
                <a:ea typeface="Arial MT"/>
                <a:cs typeface="Arial MT"/>
              </a:rPr>
              <a:t>position</a:t>
            </a:r>
            <a:r>
              <a:rPr lang="en-US" sz="1800" i="1" spc="-25">
                <a:effectLst/>
                <a:latin typeface="Arial" panose="020B0604020202020204" pitchFamily="34" charset="0"/>
                <a:ea typeface="Arial MT"/>
                <a:cs typeface="Arial MT"/>
              </a:rPr>
              <a:t> </a:t>
            </a:r>
            <a:r>
              <a:rPr lang="en-US" sz="1800" i="1">
                <a:effectLst/>
                <a:latin typeface="Arial" panose="020B0604020202020204" pitchFamily="34" charset="0"/>
                <a:ea typeface="Arial MT"/>
                <a:cs typeface="Arial MT"/>
              </a:rPr>
              <a:t>of</a:t>
            </a:r>
            <a:r>
              <a:rPr lang="en-US" sz="1800" i="1" spc="-10">
                <a:effectLst/>
                <a:latin typeface="Arial" panose="020B0604020202020204" pitchFamily="34" charset="0"/>
                <a:ea typeface="Arial MT"/>
                <a:cs typeface="Arial MT"/>
              </a:rPr>
              <a:t> </a:t>
            </a:r>
            <a:r>
              <a:rPr lang="en-US" sz="1800" i="1">
                <a:effectLst/>
                <a:latin typeface="Arial" panose="020B0604020202020204" pitchFamily="34" charset="0"/>
                <a:ea typeface="Arial MT"/>
                <a:cs typeface="Arial MT"/>
              </a:rPr>
              <a:t>burners</a:t>
            </a:r>
            <a:r>
              <a:rPr lang="en-US" sz="1800" i="1" spc="-35">
                <a:effectLst/>
                <a:latin typeface="Arial" panose="020B0604020202020204" pitchFamily="34" charset="0"/>
                <a:ea typeface="Arial MT"/>
                <a:cs typeface="Arial MT"/>
              </a:rPr>
              <a:t> </a:t>
            </a:r>
            <a:r>
              <a:rPr lang="en-US" sz="1800" i="1">
                <a:effectLst/>
                <a:latin typeface="Arial" panose="020B0604020202020204" pitchFamily="34" charset="0"/>
                <a:ea typeface="Arial MT"/>
                <a:cs typeface="Arial MT"/>
              </a:rPr>
              <a:t>and</a:t>
            </a:r>
            <a:r>
              <a:rPr lang="en-US" sz="1800" i="1" spc="-25">
                <a:effectLst/>
                <a:latin typeface="Arial" panose="020B0604020202020204" pitchFamily="34" charset="0"/>
                <a:ea typeface="Arial MT"/>
                <a:cs typeface="Arial MT"/>
              </a:rPr>
              <a:t> </a:t>
            </a:r>
            <a:r>
              <a:rPr lang="en-US" sz="1800" i="1">
                <a:effectLst/>
                <a:latin typeface="Arial" panose="020B0604020202020204" pitchFamily="34" charset="0"/>
                <a:ea typeface="Arial MT"/>
                <a:cs typeface="Arial MT"/>
              </a:rPr>
              <a:t>injectors</a:t>
            </a:r>
            <a:endParaRPr lang="sv-SE"/>
          </a:p>
        </p:txBody>
      </p:sp>
      <p:pic>
        <p:nvPicPr>
          <p:cNvPr id="30" name="image47.jpeg">
            <a:extLst>
              <a:ext uri="{FF2B5EF4-FFF2-40B4-BE49-F238E27FC236}">
                <a16:creationId xmlns:a16="http://schemas.microsoft.com/office/drawing/2014/main" id="{C0F30964-55CB-47CE-95FF-3BF8DD10E23B}"/>
              </a:ext>
            </a:extLst>
          </p:cNvPr>
          <p:cNvPicPr>
            <a:picLocks noChangeAspect="1"/>
          </p:cNvPicPr>
          <p:nvPr/>
        </p:nvPicPr>
        <p:blipFill>
          <a:blip r:embed="rId7" cstate="print"/>
          <a:stretch>
            <a:fillRect/>
          </a:stretch>
        </p:blipFill>
        <p:spPr>
          <a:xfrm>
            <a:off x="13300689" y="6138774"/>
            <a:ext cx="3459917" cy="2706468"/>
          </a:xfrm>
          <a:prstGeom prst="rect">
            <a:avLst/>
          </a:prstGeom>
        </p:spPr>
      </p:pic>
      <p:sp>
        <p:nvSpPr>
          <p:cNvPr id="31" name="TextBox 30">
            <a:extLst>
              <a:ext uri="{FF2B5EF4-FFF2-40B4-BE49-F238E27FC236}">
                <a16:creationId xmlns:a16="http://schemas.microsoft.com/office/drawing/2014/main" id="{256E3415-4A6B-495F-AB10-C51A94703041}"/>
              </a:ext>
            </a:extLst>
          </p:cNvPr>
          <p:cNvSpPr txBox="1"/>
          <p:nvPr/>
        </p:nvSpPr>
        <p:spPr>
          <a:xfrm>
            <a:off x="14400029" y="8926330"/>
            <a:ext cx="2788422" cy="369332"/>
          </a:xfrm>
          <a:prstGeom prst="rect">
            <a:avLst/>
          </a:prstGeom>
          <a:noFill/>
        </p:spPr>
        <p:txBody>
          <a:bodyPr wrap="square">
            <a:spAutoFit/>
          </a:bodyPr>
          <a:lstStyle/>
          <a:p>
            <a:r>
              <a:rPr lang="en-US" sz="1800" i="1">
                <a:effectLst/>
                <a:latin typeface="Arial" panose="020B0604020202020204" pitchFamily="34" charset="0"/>
                <a:ea typeface="Arial MT"/>
                <a:cs typeface="Arial MT"/>
              </a:rPr>
              <a:t>Burner example</a:t>
            </a:r>
            <a:r>
              <a:rPr lang="en-US" sz="1800" i="1" spc="-35">
                <a:effectLst/>
                <a:latin typeface="Arial" panose="020B0604020202020204" pitchFamily="34" charset="0"/>
                <a:ea typeface="Arial MT"/>
                <a:cs typeface="Arial MT"/>
              </a:rPr>
              <a:t> </a:t>
            </a:r>
            <a:endParaRPr lang="sv-SE"/>
          </a:p>
        </p:txBody>
      </p:sp>
    </p:spTree>
    <p:extLst>
      <p:ext uri="{BB962C8B-B14F-4D97-AF65-F5344CB8AC3E}">
        <p14:creationId xmlns:p14="http://schemas.microsoft.com/office/powerpoint/2010/main" val="9858756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6FB10D54-872A-4321-A299-5E7A8C17CAF5}"/>
              </a:ext>
            </a:extLst>
          </p:cNvPr>
          <p:cNvPicPr>
            <a:picLocks noChangeAspect="1"/>
          </p:cNvPicPr>
          <p:nvPr/>
        </p:nvPicPr>
        <p:blipFill rotWithShape="1">
          <a:blip r:embed="rId3">
            <a:alphaModFix amt="20000"/>
          </a:blip>
          <a:srcRect t="23260" b="17641"/>
          <a:stretch/>
        </p:blipFill>
        <p:spPr>
          <a:xfrm>
            <a:off x="287989" y="3397713"/>
            <a:ext cx="17712000" cy="5461853"/>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6"/>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4"/>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5"/>
          <a:srcRect/>
          <a:stretch>
            <a:fillRect/>
          </a:stretch>
        </p:blipFill>
        <p:spPr>
          <a:xfrm>
            <a:off x="0" y="8901113"/>
            <a:ext cx="5715000" cy="1385887"/>
          </a:xfrm>
          <a:prstGeom prst="rect">
            <a:avLst/>
          </a:prstGeom>
        </p:spPr>
      </p:pic>
      <p:grpSp>
        <p:nvGrpSpPr>
          <p:cNvPr id="2" name="Gruppo 1">
            <a:extLst>
              <a:ext uri="{FF2B5EF4-FFF2-40B4-BE49-F238E27FC236}">
                <a16:creationId xmlns:a16="http://schemas.microsoft.com/office/drawing/2014/main" id="{D8D71BB5-458F-411D-AFA9-C648954E9F40}"/>
              </a:ext>
            </a:extLst>
          </p:cNvPr>
          <p:cNvGrpSpPr/>
          <p:nvPr/>
        </p:nvGrpSpPr>
        <p:grpSpPr>
          <a:xfrm>
            <a:off x="-12" y="138554"/>
            <a:ext cx="18288002" cy="681138"/>
            <a:chOff x="-12" y="138554"/>
            <a:chExt cx="18288002" cy="681138"/>
          </a:xfrm>
        </p:grpSpPr>
        <p:grpSp>
          <p:nvGrpSpPr>
            <p:cNvPr id="16" name="Gruppo 15">
              <a:extLst>
                <a:ext uri="{FF2B5EF4-FFF2-40B4-BE49-F238E27FC236}">
                  <a16:creationId xmlns:a16="http://schemas.microsoft.com/office/drawing/2014/main" id="{DAC42A46-917D-41AB-8F07-E15E54D0F7D4}"/>
                </a:ext>
              </a:extLst>
            </p:cNvPr>
            <p:cNvGrpSpPr/>
            <p:nvPr/>
          </p:nvGrpSpPr>
          <p:grpSpPr>
            <a:xfrm>
              <a:off x="0" y="153125"/>
              <a:ext cx="13958844" cy="666567"/>
              <a:chOff x="0" y="153125"/>
              <a:chExt cx="13958844" cy="666567"/>
            </a:xfrm>
          </p:grpSpPr>
          <p:pic>
            <p:nvPicPr>
              <p:cNvPr id="10" name="Picture 10"/>
              <p:cNvPicPr>
                <a:picLocks noChangeAspect="1"/>
              </p:cNvPicPr>
              <p:nvPr/>
            </p:nvPicPr>
            <p:blipFill>
              <a:blip r:embed="rId6"/>
              <a:srcRect l="134" t="91287" b="3943"/>
              <a:stretch>
                <a:fillRect/>
              </a:stretch>
            </p:blipFill>
            <p:spPr>
              <a:xfrm>
                <a:off x="0" y="153125"/>
                <a:ext cx="13958844" cy="666567"/>
              </a:xfrm>
              <a:prstGeom prst="rect">
                <a:avLst/>
              </a:prstGeom>
            </p:spPr>
          </p:pic>
          <p:sp>
            <p:nvSpPr>
              <p:cNvPr id="11" name="TextBox 11"/>
              <p:cNvSpPr txBox="1"/>
              <p:nvPr/>
            </p:nvSpPr>
            <p:spPr>
              <a:xfrm>
                <a:off x="228600" y="257980"/>
                <a:ext cx="5752704" cy="456856"/>
              </a:xfrm>
              <a:prstGeom prst="rect">
                <a:avLst/>
              </a:prstGeom>
            </p:spPr>
            <p:txBody>
              <a:bodyPr wrap="square" lIns="0" tIns="0" rIns="0" bIns="0" rtlCol="0" anchor="t">
                <a:spAutoFit/>
              </a:bodyPr>
              <a:lstStyle/>
              <a:p>
                <a:pPr>
                  <a:lnSpc>
                    <a:spcPts val="3919"/>
                  </a:lnSpc>
                  <a:spcBef>
                    <a:spcPct val="0"/>
                  </a:spcBef>
                </a:pPr>
                <a:endParaRPr lang="en-US" sz="2800" b="1">
                  <a:solidFill>
                    <a:srgbClr val="FFFFFF"/>
                  </a:solidFill>
                  <a:latin typeface="Arial" panose="020B0604020202020204" pitchFamily="34" charset="0"/>
                  <a:cs typeface="Arial" panose="020B0604020202020204" pitchFamily="34" charset="0"/>
                </a:endParaRPr>
              </a:p>
            </p:txBody>
          </p:sp>
        </p:grpSp>
        <p:sp>
          <p:nvSpPr>
            <p:cNvPr id="12" name="Rettangolo 11">
              <a:extLst>
                <a:ext uri="{FF2B5EF4-FFF2-40B4-BE49-F238E27FC236}">
                  <a16:creationId xmlns:a16="http://schemas.microsoft.com/office/drawing/2014/main" id="{F2E90E36-F5DF-479E-BF3B-C6F6A1CEA4E7}"/>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9" name="TextBox 14">
            <a:extLst>
              <a:ext uri="{FF2B5EF4-FFF2-40B4-BE49-F238E27FC236}">
                <a16:creationId xmlns:a16="http://schemas.microsoft.com/office/drawing/2014/main" id="{B5C457C5-5E6A-4DD1-9F95-583C431D5128}"/>
              </a:ext>
            </a:extLst>
          </p:cNvPr>
          <p:cNvSpPr txBox="1"/>
          <p:nvPr/>
        </p:nvSpPr>
        <p:spPr>
          <a:xfrm>
            <a:off x="1020300" y="4224565"/>
            <a:ext cx="7162789" cy="5909310"/>
          </a:xfrm>
          <a:prstGeom prst="rect">
            <a:avLst/>
          </a:prstGeom>
        </p:spPr>
        <p:txBody>
          <a:bodyPr wrap="square" lIns="0" tIns="0" rIns="0" bIns="0" rtlCol="0" anchor="t">
            <a:spAutoFit/>
          </a:bodyPr>
          <a:lstStyle/>
          <a:p>
            <a:pPr>
              <a:buClr>
                <a:schemeClr val="accent5"/>
              </a:buClr>
            </a:pPr>
            <a:r>
              <a:rPr lang="en-US" sz="3200" b="1">
                <a:solidFill>
                  <a:schemeClr val="accent1"/>
                </a:solidFill>
              </a:rPr>
              <a:t>Retrofitting actions FENO </a:t>
            </a:r>
          </a:p>
          <a:p>
            <a:pPr>
              <a:buClr>
                <a:schemeClr val="accent5"/>
              </a:buClr>
            </a:pPr>
            <a:endParaRPr lang="en-US" sz="3200" b="1"/>
          </a:p>
          <a:p>
            <a:pPr marL="457200" indent="-457200">
              <a:buClr>
                <a:srgbClr val="CC0033"/>
              </a:buClr>
              <a:buFont typeface="Wingdings" panose="05000000000000000000" pitchFamily="2" charset="2"/>
              <a:buChar char="ü"/>
            </a:pPr>
            <a:r>
              <a:rPr lang="en-US" sz="3200" b="1"/>
              <a:t>Burner modification for feeding biochar and plastic grains </a:t>
            </a:r>
          </a:p>
          <a:p>
            <a:pPr marL="457200" indent="-457200">
              <a:buClr>
                <a:srgbClr val="CC0033"/>
              </a:buClr>
              <a:buFont typeface="Wingdings" panose="05000000000000000000" pitchFamily="2" charset="2"/>
              <a:buChar char="ü"/>
            </a:pPr>
            <a:endParaRPr lang="en-US" sz="3200" b="1"/>
          </a:p>
          <a:p>
            <a:pPr marL="457200" indent="-457200">
              <a:buClr>
                <a:srgbClr val="CC0033"/>
              </a:buClr>
              <a:buFont typeface="Wingdings" panose="05000000000000000000" pitchFamily="2" charset="2"/>
              <a:buChar char="ü"/>
            </a:pPr>
            <a:r>
              <a:rPr lang="en-US" sz="3200" b="1"/>
              <a:t>Injection system </a:t>
            </a:r>
          </a:p>
          <a:p>
            <a:pPr marL="457200" indent="-457200">
              <a:buClr>
                <a:srgbClr val="CC0033"/>
              </a:buClr>
              <a:buFont typeface="Wingdings" panose="05000000000000000000" pitchFamily="2" charset="2"/>
              <a:buChar char="ü"/>
            </a:pPr>
            <a:endParaRPr lang="en-US" sz="3200" b="1"/>
          </a:p>
          <a:p>
            <a:pPr>
              <a:buClr>
                <a:srgbClr val="CC0033"/>
              </a:buClr>
            </a:pPr>
            <a:endParaRPr lang="en-US" sz="3200" b="1">
              <a:solidFill>
                <a:schemeClr val="accent1"/>
              </a:solidFill>
            </a:endParaRPr>
          </a:p>
          <a:p>
            <a:pPr marL="457200" indent="-457200">
              <a:buClr>
                <a:srgbClr val="CC0033"/>
              </a:buClr>
              <a:buFont typeface="Wingdings" panose="05000000000000000000" pitchFamily="2" charset="2"/>
              <a:buChar char="ü"/>
            </a:pPr>
            <a:endParaRPr lang="en-US" sz="3200" b="1">
              <a:solidFill>
                <a:schemeClr val="accent1"/>
              </a:solidFill>
            </a:endParaRPr>
          </a:p>
          <a:p>
            <a:pPr>
              <a:buClr>
                <a:srgbClr val="CC0033"/>
              </a:buClr>
            </a:pPr>
            <a:endParaRPr lang="en-US" sz="3200" b="1">
              <a:solidFill>
                <a:schemeClr val="accent1"/>
              </a:solidFill>
            </a:endParaRPr>
          </a:p>
          <a:p>
            <a:pPr>
              <a:buClr>
                <a:srgbClr val="CC0033"/>
              </a:buClr>
            </a:pPr>
            <a:endParaRPr lang="en-US" sz="3200" b="1">
              <a:solidFill>
                <a:schemeClr val="accent1"/>
              </a:solidFill>
            </a:endParaRPr>
          </a:p>
          <a:p>
            <a:pPr marL="457200" indent="-457200">
              <a:buClr>
                <a:srgbClr val="CC0033"/>
              </a:buClr>
              <a:buFont typeface="Wingdings" panose="05000000000000000000" pitchFamily="2" charset="2"/>
              <a:buChar char="ü"/>
            </a:pPr>
            <a:endParaRPr lang="es-ES" sz="3200" b="1"/>
          </a:p>
        </p:txBody>
      </p:sp>
      <p:sp>
        <p:nvSpPr>
          <p:cNvPr id="26" name="TextBox 14">
            <a:extLst>
              <a:ext uri="{FF2B5EF4-FFF2-40B4-BE49-F238E27FC236}">
                <a16:creationId xmlns:a16="http://schemas.microsoft.com/office/drawing/2014/main" id="{7D36EA49-80B0-4761-8A24-F05F322EAC77}"/>
              </a:ext>
            </a:extLst>
          </p:cNvPr>
          <p:cNvSpPr txBox="1"/>
          <p:nvPr/>
        </p:nvSpPr>
        <p:spPr>
          <a:xfrm>
            <a:off x="10380023" y="4007611"/>
            <a:ext cx="7162789" cy="3447098"/>
          </a:xfrm>
          <a:prstGeom prst="rect">
            <a:avLst/>
          </a:prstGeom>
        </p:spPr>
        <p:txBody>
          <a:bodyPr wrap="square" lIns="0" tIns="0" rIns="0" bIns="0" rtlCol="0" anchor="t">
            <a:spAutoFit/>
          </a:bodyPr>
          <a:lstStyle/>
          <a:p>
            <a:pPr>
              <a:buClr>
                <a:schemeClr val="accent5"/>
              </a:buClr>
            </a:pPr>
            <a:r>
              <a:rPr lang="en-US" sz="3200" b="1">
                <a:solidFill>
                  <a:schemeClr val="accent2">
                    <a:lumMod val="75000"/>
                  </a:schemeClr>
                </a:solidFill>
              </a:rPr>
              <a:t>Goals</a:t>
            </a:r>
          </a:p>
          <a:p>
            <a:pPr>
              <a:buClr>
                <a:schemeClr val="accent5"/>
              </a:buClr>
            </a:pPr>
            <a:endParaRPr lang="en-US" sz="3200" b="1"/>
          </a:p>
          <a:p>
            <a:pPr marL="457200" indent="-457200">
              <a:buClr>
                <a:schemeClr val="accent2">
                  <a:lumMod val="75000"/>
                </a:schemeClr>
              </a:buClr>
              <a:buFont typeface="Wingdings" panose="05000000000000000000" pitchFamily="2" charset="2"/>
              <a:buChar char="ü"/>
            </a:pPr>
            <a:r>
              <a:rPr lang="en-US" sz="3200" b="1"/>
              <a:t>Reduction of GHG emissions </a:t>
            </a:r>
          </a:p>
          <a:p>
            <a:pPr marL="457200" indent="-457200">
              <a:buClr>
                <a:srgbClr val="99CC99"/>
              </a:buClr>
              <a:buFont typeface="Wingdings" panose="05000000000000000000" pitchFamily="2" charset="2"/>
              <a:buChar char="ü"/>
            </a:pPr>
            <a:endParaRPr lang="en-US" sz="3200" b="1"/>
          </a:p>
          <a:p>
            <a:pPr marL="457200" indent="-457200">
              <a:buClr>
                <a:schemeClr val="accent2">
                  <a:lumMod val="75000"/>
                </a:schemeClr>
              </a:buClr>
              <a:buFont typeface="Wingdings" panose="05000000000000000000" pitchFamily="2" charset="2"/>
              <a:buChar char="ü"/>
            </a:pPr>
            <a:r>
              <a:rPr lang="en-US" sz="3200" b="1"/>
              <a:t>Use of alternative feedstock</a:t>
            </a:r>
          </a:p>
          <a:p>
            <a:pPr>
              <a:buClr>
                <a:schemeClr val="accent2">
                  <a:lumMod val="75000"/>
                </a:schemeClr>
              </a:buClr>
            </a:pPr>
            <a:endParaRPr lang="en-US" sz="3200" b="1"/>
          </a:p>
          <a:p>
            <a:pPr marL="457200" indent="-457200">
              <a:buClr>
                <a:schemeClr val="accent2">
                  <a:lumMod val="75000"/>
                </a:schemeClr>
              </a:buClr>
              <a:buFont typeface="Wingdings" panose="05000000000000000000" pitchFamily="2" charset="2"/>
              <a:buChar char="ü"/>
            </a:pPr>
            <a:r>
              <a:rPr lang="en-US" sz="3200" b="1"/>
              <a:t>M&amp;C system improvement</a:t>
            </a:r>
            <a:endParaRPr lang="es-ES" sz="3200" b="1"/>
          </a:p>
        </p:txBody>
      </p:sp>
      <p:cxnSp>
        <p:nvCxnSpPr>
          <p:cNvPr id="22" name="Conector recto 21">
            <a:extLst>
              <a:ext uri="{FF2B5EF4-FFF2-40B4-BE49-F238E27FC236}">
                <a16:creationId xmlns:a16="http://schemas.microsoft.com/office/drawing/2014/main" id="{C1C13E5C-9B1F-4C49-A1A9-8711ED072063}"/>
              </a:ext>
            </a:extLst>
          </p:cNvPr>
          <p:cNvCxnSpPr>
            <a:cxnSpLocks/>
          </p:cNvCxnSpPr>
          <p:nvPr/>
        </p:nvCxnSpPr>
        <p:spPr>
          <a:xfrm>
            <a:off x="8915400" y="3397713"/>
            <a:ext cx="0" cy="2880000"/>
          </a:xfrm>
          <a:prstGeom prst="line">
            <a:avLst/>
          </a:prstGeom>
          <a:ln w="63500"/>
        </p:spPr>
        <p:style>
          <a:lnRef idx="1">
            <a:schemeClr val="accent1"/>
          </a:lnRef>
          <a:fillRef idx="0">
            <a:schemeClr val="accent1"/>
          </a:fillRef>
          <a:effectRef idx="0">
            <a:schemeClr val="accent1"/>
          </a:effectRef>
          <a:fontRef idx="minor">
            <a:schemeClr val="tx1"/>
          </a:fontRef>
        </p:style>
      </p:cxnSp>
      <p:cxnSp>
        <p:nvCxnSpPr>
          <p:cNvPr id="23" name="Conector recto 22">
            <a:extLst>
              <a:ext uri="{FF2B5EF4-FFF2-40B4-BE49-F238E27FC236}">
                <a16:creationId xmlns:a16="http://schemas.microsoft.com/office/drawing/2014/main" id="{F94BB75A-6E76-4134-ACE8-6F0CFB1646EA}"/>
              </a:ext>
            </a:extLst>
          </p:cNvPr>
          <p:cNvCxnSpPr>
            <a:cxnSpLocks/>
          </p:cNvCxnSpPr>
          <p:nvPr/>
        </p:nvCxnSpPr>
        <p:spPr>
          <a:xfrm>
            <a:off x="8905164" y="6021113"/>
            <a:ext cx="0" cy="2880000"/>
          </a:xfrm>
          <a:prstGeom prst="line">
            <a:avLst/>
          </a:prstGeom>
          <a:ln w="63500">
            <a:solidFill>
              <a:srgbClr val="99CC99"/>
            </a:solidFill>
          </a:ln>
        </p:spPr>
        <p:style>
          <a:lnRef idx="1">
            <a:schemeClr val="accent1"/>
          </a:lnRef>
          <a:fillRef idx="0">
            <a:schemeClr val="accent1"/>
          </a:fillRef>
          <a:effectRef idx="0">
            <a:schemeClr val="accent1"/>
          </a:effectRef>
          <a:fontRef idx="minor">
            <a:schemeClr val="tx1"/>
          </a:fontRef>
        </p:style>
      </p:cxnSp>
      <p:pic>
        <p:nvPicPr>
          <p:cNvPr id="3" name="Imagen 115">
            <a:extLst>
              <a:ext uri="{FF2B5EF4-FFF2-40B4-BE49-F238E27FC236}">
                <a16:creationId xmlns:a16="http://schemas.microsoft.com/office/drawing/2014/main" id="{B5E46839-6851-4D0B-A989-A54DF41E5DB2}"/>
              </a:ext>
            </a:extLst>
          </p:cNvPr>
          <p:cNvPicPr>
            <a:picLocks noChangeAspect="1"/>
          </p:cNvPicPr>
          <p:nvPr/>
        </p:nvPicPr>
        <p:blipFill>
          <a:blip r:embed="rId7"/>
          <a:stretch>
            <a:fillRect/>
          </a:stretch>
        </p:blipFill>
        <p:spPr>
          <a:xfrm>
            <a:off x="13958844" y="1182993"/>
            <a:ext cx="1426810" cy="1197757"/>
          </a:xfrm>
          <a:prstGeom prst="rect">
            <a:avLst/>
          </a:prstGeom>
        </p:spPr>
      </p:pic>
      <p:sp>
        <p:nvSpPr>
          <p:cNvPr id="24" name="TextBox 23">
            <a:extLst>
              <a:ext uri="{FF2B5EF4-FFF2-40B4-BE49-F238E27FC236}">
                <a16:creationId xmlns:a16="http://schemas.microsoft.com/office/drawing/2014/main" id="{3F5DCC90-D9F9-4E55-AED0-35F9D5B030D9}"/>
              </a:ext>
            </a:extLst>
          </p:cNvPr>
          <p:cNvSpPr txBox="1"/>
          <p:nvPr/>
        </p:nvSpPr>
        <p:spPr>
          <a:xfrm>
            <a:off x="741949" y="1119170"/>
            <a:ext cx="11081084" cy="1569660"/>
          </a:xfrm>
          <a:prstGeom prst="rect">
            <a:avLst/>
          </a:prstGeom>
          <a:noFill/>
        </p:spPr>
        <p:txBody>
          <a:bodyPr wrap="square">
            <a:spAutoFit/>
          </a:bodyPr>
          <a:lstStyle/>
          <a:p>
            <a:r>
              <a:rPr lang="sv-SE" sz="4800" b="1" err="1">
                <a:solidFill>
                  <a:srgbClr val="CC0033"/>
                </a:solidFill>
                <a:latin typeface="+mj-lt"/>
                <a:cs typeface="Arial" panose="020B0604020202020204" pitchFamily="34" charset="0"/>
              </a:rPr>
              <a:t>Summary</a:t>
            </a:r>
            <a:r>
              <a:rPr lang="sv-SE" sz="4800" b="1">
                <a:solidFill>
                  <a:srgbClr val="CC0033"/>
                </a:solidFill>
                <a:latin typeface="+mj-lt"/>
                <a:cs typeface="Arial" panose="020B0604020202020204" pitchFamily="34" charset="0"/>
              </a:rPr>
              <a:t> </a:t>
            </a:r>
            <a:r>
              <a:rPr lang="sv-SE" sz="4800" b="1" err="1">
                <a:solidFill>
                  <a:srgbClr val="CC0033"/>
                </a:solidFill>
                <a:latin typeface="+mj-lt"/>
                <a:cs typeface="Arial" panose="020B0604020202020204" pitchFamily="34" charset="0"/>
              </a:rPr>
              <a:t>of</a:t>
            </a:r>
            <a:r>
              <a:rPr lang="sv-SE" sz="4800" b="1">
                <a:solidFill>
                  <a:srgbClr val="CC0033"/>
                </a:solidFill>
                <a:latin typeface="+mj-lt"/>
                <a:cs typeface="Arial" panose="020B0604020202020204" pitchFamily="34" charset="0"/>
              </a:rPr>
              <a:t> actions and </a:t>
            </a:r>
            <a:r>
              <a:rPr lang="sv-SE" sz="4800" b="1" err="1">
                <a:solidFill>
                  <a:srgbClr val="CC0033"/>
                </a:solidFill>
                <a:latin typeface="+mj-lt"/>
                <a:cs typeface="Arial" panose="020B0604020202020204" pitchFamily="34" charset="0"/>
              </a:rPr>
              <a:t>goals</a:t>
            </a:r>
            <a:r>
              <a:rPr lang="sv-SE" sz="4800" b="1">
                <a:solidFill>
                  <a:srgbClr val="CC0033"/>
                </a:solidFill>
                <a:latin typeface="+mj-lt"/>
                <a:cs typeface="Arial" panose="020B0604020202020204" pitchFamily="34" charset="0"/>
              </a:rPr>
              <a:t> </a:t>
            </a:r>
            <a:r>
              <a:rPr lang="sv-SE" sz="4800" b="1" err="1">
                <a:solidFill>
                  <a:srgbClr val="CC0033"/>
                </a:solidFill>
                <a:latin typeface="+mj-lt"/>
                <a:cs typeface="Arial" panose="020B0604020202020204" pitchFamily="34" charset="0"/>
              </a:rPr>
              <a:t>of</a:t>
            </a:r>
            <a:r>
              <a:rPr lang="sv-SE" sz="4800" b="1">
                <a:solidFill>
                  <a:srgbClr val="CC0033"/>
                </a:solidFill>
                <a:latin typeface="+mj-lt"/>
                <a:cs typeface="Arial" panose="020B0604020202020204" pitchFamily="34" charset="0"/>
              </a:rPr>
              <a:t> FENO </a:t>
            </a:r>
            <a:r>
              <a:rPr lang="sv-SE" sz="4800" b="1" err="1">
                <a:solidFill>
                  <a:srgbClr val="CC0033"/>
                </a:solidFill>
                <a:latin typeface="+mj-lt"/>
                <a:cs typeface="Arial" panose="020B0604020202020204" pitchFamily="34" charset="0"/>
              </a:rPr>
              <a:t>retrofitting</a:t>
            </a:r>
            <a:endParaRPr lang="sv-SE" sz="4800" b="1">
              <a:solidFill>
                <a:srgbClr val="CC0033"/>
              </a:solidFill>
              <a:latin typeface="+mj-lt"/>
              <a:cs typeface="Arial" panose="020B0604020202020204" pitchFamily="34" charset="0"/>
            </a:endParaRPr>
          </a:p>
        </p:txBody>
      </p:sp>
    </p:spTree>
    <p:extLst>
      <p:ext uri="{BB962C8B-B14F-4D97-AF65-F5344CB8AC3E}">
        <p14:creationId xmlns:p14="http://schemas.microsoft.com/office/powerpoint/2010/main" val="4241684571"/>
      </p:ext>
    </p:extLst>
  </p:cSld>
  <p:clrMapOvr>
    <a:masterClrMapping/>
  </p:clrMapOvr>
  <mc:AlternateContent xmlns:mc="http://schemas.openxmlformats.org/markup-compatibility/2006" xmlns:p14="http://schemas.microsoft.com/office/powerpoint/2010/main">
    <mc:Choice Requires="p14">
      <p:transition spd="slow" p14:dur="2000" advTm="83130"/>
    </mc:Choice>
    <mc:Fallback xmlns="">
      <p:transition spd="slow" advTm="83130"/>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6"/>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4"/>
          <a:srcRect/>
          <a:stretch>
            <a:fillRect/>
          </a:stretch>
        </p:blipFill>
        <p:spPr>
          <a:xfrm>
            <a:off x="0" y="8852181"/>
            <a:ext cx="5715000" cy="1385887"/>
          </a:xfrm>
          <a:prstGeom prst="rect">
            <a:avLst/>
          </a:prstGeom>
        </p:spPr>
      </p:pic>
      <p:grpSp>
        <p:nvGrpSpPr>
          <p:cNvPr id="3" name="Gruppo 2">
            <a:extLst>
              <a:ext uri="{FF2B5EF4-FFF2-40B4-BE49-F238E27FC236}">
                <a16:creationId xmlns:a16="http://schemas.microsoft.com/office/drawing/2014/main" id="{1C29CBCA-BE0A-4EF6-AC69-329941E1DCFD}"/>
              </a:ext>
            </a:extLst>
          </p:cNvPr>
          <p:cNvGrpSpPr/>
          <p:nvPr/>
        </p:nvGrpSpPr>
        <p:grpSpPr>
          <a:xfrm>
            <a:off x="-12" y="138554"/>
            <a:ext cx="18288002" cy="681138"/>
            <a:chOff x="-12" y="138554"/>
            <a:chExt cx="18288002" cy="681138"/>
          </a:xfrm>
        </p:grpSpPr>
        <p:grpSp>
          <p:nvGrpSpPr>
            <p:cNvPr id="2" name="Gruppo 1">
              <a:extLst>
                <a:ext uri="{FF2B5EF4-FFF2-40B4-BE49-F238E27FC236}">
                  <a16:creationId xmlns:a16="http://schemas.microsoft.com/office/drawing/2014/main" id="{24E9C7AF-0093-476F-826C-A2702AB72892}"/>
                </a:ext>
              </a:extLst>
            </p:cNvPr>
            <p:cNvGrpSpPr/>
            <p:nvPr/>
          </p:nvGrpSpPr>
          <p:grpSpPr>
            <a:xfrm>
              <a:off x="0" y="153125"/>
              <a:ext cx="17907000" cy="666567"/>
              <a:chOff x="0" y="153125"/>
              <a:chExt cx="17907000" cy="666567"/>
            </a:xfrm>
          </p:grpSpPr>
          <p:grpSp>
            <p:nvGrpSpPr>
              <p:cNvPr id="16" name="Gruppo 15">
                <a:extLst>
                  <a:ext uri="{FF2B5EF4-FFF2-40B4-BE49-F238E27FC236}">
                    <a16:creationId xmlns:a16="http://schemas.microsoft.com/office/drawing/2014/main" id="{DAC42A46-917D-41AB-8F07-E15E54D0F7D4}"/>
                  </a:ext>
                </a:extLst>
              </p:cNvPr>
              <p:cNvGrpSpPr/>
              <p:nvPr/>
            </p:nvGrpSpPr>
            <p:grpSpPr>
              <a:xfrm>
                <a:off x="0" y="153125"/>
                <a:ext cx="13958844" cy="666567"/>
                <a:chOff x="0" y="153125"/>
                <a:chExt cx="13958844" cy="666567"/>
              </a:xfrm>
            </p:grpSpPr>
            <p:pic>
              <p:nvPicPr>
                <p:cNvPr id="10" name="Picture 10"/>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1" name="TextBox 11"/>
                <p:cNvSpPr txBox="1"/>
                <p:nvPr/>
              </p:nvSpPr>
              <p:spPr>
                <a:xfrm>
                  <a:off x="228600" y="257980"/>
                  <a:ext cx="9296400" cy="456856"/>
                </a:xfrm>
                <a:prstGeom prst="rect">
                  <a:avLst/>
                </a:prstGeom>
              </p:spPr>
              <p:txBody>
                <a:bodyPr wrap="square" lIns="0" tIns="0" rIns="0" bIns="0" rtlCol="0" anchor="t">
                  <a:spAutoFit/>
                </a:bodyPr>
                <a:lstStyle/>
                <a:p>
                  <a:pPr>
                    <a:lnSpc>
                      <a:spcPts val="3919"/>
                    </a:lnSpc>
                    <a:spcBef>
                      <a:spcPct val="0"/>
                    </a:spcBef>
                  </a:pPr>
                  <a:endParaRPr lang="en-US" sz="2800" b="1">
                    <a:solidFill>
                      <a:srgbClr val="FFFFFF"/>
                    </a:solidFill>
                    <a:latin typeface="Arial" panose="020B0604020202020204" pitchFamily="34" charset="0"/>
                    <a:cs typeface="Arial" panose="020B0604020202020204" pitchFamily="34" charset="0"/>
                  </a:endParaRPr>
                </a:p>
              </p:txBody>
            </p:sp>
          </p:grpSp>
          <p:sp>
            <p:nvSpPr>
              <p:cNvPr id="12" name="TextBox 11">
                <a:extLst>
                  <a:ext uri="{FF2B5EF4-FFF2-40B4-BE49-F238E27FC236}">
                    <a16:creationId xmlns:a16="http://schemas.microsoft.com/office/drawing/2014/main" id="{1BD9B5F4-614C-4EB6-8C5B-120A5420CE43}"/>
                  </a:ext>
                </a:extLst>
              </p:cNvPr>
              <p:cNvSpPr txBox="1"/>
              <p:nvPr/>
            </p:nvSpPr>
            <p:spPr>
              <a:xfrm>
                <a:off x="12154296" y="257980"/>
                <a:ext cx="5752704" cy="456856"/>
              </a:xfrm>
              <a:prstGeom prst="rect">
                <a:avLst/>
              </a:prstGeom>
            </p:spPr>
            <p:txBody>
              <a:bodyPr wrap="square" lIns="0" tIns="0" rIns="0" bIns="0" rtlCol="0" anchor="t">
                <a:spAutoFit/>
              </a:bodyPr>
              <a:lstStyle/>
              <a:p>
                <a:pPr algn="r">
                  <a:lnSpc>
                    <a:spcPts val="3919"/>
                  </a:lnSpc>
                  <a:spcBef>
                    <a:spcPct val="0"/>
                  </a:spcBef>
                </a:pPr>
                <a:endParaRPr lang="en-US" sz="2800">
                  <a:solidFill>
                    <a:schemeClr val="tx1">
                      <a:lumMod val="75000"/>
                      <a:lumOff val="25000"/>
                    </a:schemeClr>
                  </a:solidFill>
                  <a:latin typeface="Arial" panose="020B0604020202020204" pitchFamily="34" charset="0"/>
                  <a:cs typeface="Arial" panose="020B0604020202020204" pitchFamily="34" charset="0"/>
                </a:endParaRPr>
              </a:p>
            </p:txBody>
          </p:sp>
        </p:grpSp>
        <p:sp>
          <p:nvSpPr>
            <p:cNvPr id="14" name="Rettangolo 13">
              <a:extLst>
                <a:ext uri="{FF2B5EF4-FFF2-40B4-BE49-F238E27FC236}">
                  <a16:creationId xmlns:a16="http://schemas.microsoft.com/office/drawing/2014/main" id="{55199736-B8B6-4C9A-8BAF-233E07A0CA89}"/>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5" name="TextBox 24">
            <a:extLst>
              <a:ext uri="{FF2B5EF4-FFF2-40B4-BE49-F238E27FC236}">
                <a16:creationId xmlns:a16="http://schemas.microsoft.com/office/drawing/2014/main" id="{7D94EFFC-06AF-484F-891B-5C268374EA79}"/>
              </a:ext>
            </a:extLst>
          </p:cNvPr>
          <p:cNvSpPr txBox="1"/>
          <p:nvPr/>
        </p:nvSpPr>
        <p:spPr>
          <a:xfrm>
            <a:off x="10591800" y="7055481"/>
            <a:ext cx="5954274" cy="369332"/>
          </a:xfrm>
          <a:prstGeom prst="rect">
            <a:avLst/>
          </a:prstGeom>
          <a:noFill/>
        </p:spPr>
        <p:txBody>
          <a:bodyPr wrap="square">
            <a:spAutoFit/>
          </a:bodyPr>
          <a:lstStyle/>
          <a:p>
            <a:r>
              <a:rPr lang="en-US" sz="1800" i="1">
                <a:effectLst/>
                <a:latin typeface="Arial" panose="020B0604020202020204" pitchFamily="34" charset="0"/>
                <a:ea typeface="Arial MT"/>
                <a:cs typeface="Arial MT"/>
              </a:rPr>
              <a:t>Aerial</a:t>
            </a:r>
            <a:r>
              <a:rPr lang="en-US" sz="1800" i="1" spc="-20">
                <a:effectLst/>
                <a:latin typeface="Arial" panose="020B0604020202020204" pitchFamily="34" charset="0"/>
                <a:ea typeface="Arial MT"/>
                <a:cs typeface="Arial MT"/>
              </a:rPr>
              <a:t> </a:t>
            </a:r>
            <a:r>
              <a:rPr lang="en-US" sz="1800" i="1">
                <a:effectLst/>
                <a:latin typeface="Arial" panose="020B0604020202020204" pitchFamily="34" charset="0"/>
                <a:ea typeface="Arial MT"/>
                <a:cs typeface="Arial MT"/>
              </a:rPr>
              <a:t>view</a:t>
            </a:r>
            <a:r>
              <a:rPr lang="en-US" sz="1800" i="1" spc="-20">
                <a:effectLst/>
                <a:latin typeface="Arial" panose="020B0604020202020204" pitchFamily="34" charset="0"/>
                <a:ea typeface="Arial MT"/>
                <a:cs typeface="Arial MT"/>
              </a:rPr>
              <a:t> </a:t>
            </a:r>
            <a:r>
              <a:rPr lang="en-US" sz="1800" i="1">
                <a:effectLst/>
                <a:latin typeface="Arial" panose="020B0604020202020204" pitchFamily="34" charset="0"/>
                <a:ea typeface="Arial MT"/>
                <a:cs typeface="Arial MT"/>
              </a:rPr>
              <a:t>of</a:t>
            </a:r>
            <a:r>
              <a:rPr lang="en-US" sz="1800" i="1" spc="-25">
                <a:effectLst/>
                <a:latin typeface="Arial" panose="020B0604020202020204" pitchFamily="34" charset="0"/>
                <a:ea typeface="Arial MT"/>
                <a:cs typeface="Arial MT"/>
              </a:rPr>
              <a:t> </a:t>
            </a:r>
            <a:r>
              <a:rPr lang="en-US" sz="1800" i="1">
                <a:effectLst/>
                <a:latin typeface="Arial" panose="020B0604020202020204" pitchFamily="34" charset="0"/>
                <a:ea typeface="Arial MT"/>
                <a:cs typeface="Arial MT"/>
              </a:rPr>
              <a:t>TENARIS</a:t>
            </a:r>
            <a:r>
              <a:rPr lang="en-US" sz="1800" i="1" spc="-10">
                <a:effectLst/>
                <a:latin typeface="Arial" panose="020B0604020202020204" pitchFamily="34" charset="0"/>
                <a:ea typeface="Arial MT"/>
                <a:cs typeface="Arial MT"/>
              </a:rPr>
              <a:t> </a:t>
            </a:r>
            <a:r>
              <a:rPr lang="en-US" sz="1800" i="1">
                <a:effectLst/>
                <a:latin typeface="Arial" panose="020B0604020202020204" pitchFamily="34" charset="0"/>
                <a:ea typeface="Arial MT"/>
                <a:cs typeface="Arial MT"/>
              </a:rPr>
              <a:t>SILCOTUB</a:t>
            </a:r>
            <a:r>
              <a:rPr lang="en-US" sz="1800" i="1" spc="-10">
                <a:effectLst/>
                <a:latin typeface="Arial" panose="020B0604020202020204" pitchFamily="34" charset="0"/>
                <a:ea typeface="Arial MT"/>
                <a:cs typeface="Arial MT"/>
              </a:rPr>
              <a:t> </a:t>
            </a:r>
            <a:r>
              <a:rPr lang="en-US" sz="1800" i="1">
                <a:effectLst/>
                <a:latin typeface="Arial" panose="020B0604020202020204" pitchFamily="34" charset="0"/>
                <a:ea typeface="Arial MT"/>
                <a:cs typeface="Arial MT"/>
              </a:rPr>
              <a:t>production</a:t>
            </a:r>
            <a:r>
              <a:rPr lang="en-US" sz="1800" i="1" spc="-20">
                <a:effectLst/>
                <a:latin typeface="Arial" panose="020B0604020202020204" pitchFamily="34" charset="0"/>
                <a:ea typeface="Arial MT"/>
                <a:cs typeface="Arial MT"/>
              </a:rPr>
              <a:t> </a:t>
            </a:r>
            <a:r>
              <a:rPr lang="en-US" sz="1800" i="1">
                <a:effectLst/>
                <a:latin typeface="Arial" panose="020B0604020202020204" pitchFamily="34" charset="0"/>
                <a:ea typeface="Arial MT"/>
                <a:cs typeface="Arial MT"/>
              </a:rPr>
              <a:t>facilities</a:t>
            </a:r>
            <a:endParaRPr lang="sv-SE" sz="2800" kern="100">
              <a:solidFill>
                <a:srgbClr val="404040"/>
              </a:solidFill>
              <a:latin typeface="Arial (body)"/>
            </a:endParaRPr>
          </a:p>
        </p:txBody>
      </p:sp>
      <p:sp>
        <p:nvSpPr>
          <p:cNvPr id="26" name="TextBox 25">
            <a:extLst>
              <a:ext uri="{FF2B5EF4-FFF2-40B4-BE49-F238E27FC236}">
                <a16:creationId xmlns:a16="http://schemas.microsoft.com/office/drawing/2014/main" id="{A21F6DD0-2BDA-4DD0-995A-49BD41C91E9E}"/>
              </a:ext>
            </a:extLst>
          </p:cNvPr>
          <p:cNvSpPr txBox="1"/>
          <p:nvPr/>
        </p:nvSpPr>
        <p:spPr>
          <a:xfrm>
            <a:off x="1066800" y="2781731"/>
            <a:ext cx="8177835" cy="5355312"/>
          </a:xfrm>
          <a:prstGeom prst="rect">
            <a:avLst/>
          </a:prstGeom>
          <a:noFill/>
        </p:spPr>
        <p:txBody>
          <a:bodyPr wrap="square">
            <a:spAutoFit/>
          </a:bodyPr>
          <a:lstStyle/>
          <a:p>
            <a:pPr marL="0" lvl="1" algn="just">
              <a:buSzPts val="1100"/>
              <a:tabLst>
                <a:tab pos="528320" algn="l"/>
                <a:tab pos="528955" algn="l"/>
              </a:tabLst>
            </a:pPr>
            <a:r>
              <a:rPr lang="en-US">
                <a:latin typeface="Arial MT"/>
              </a:rPr>
              <a:t>TENARIS is the world’s leading producer of steel pipes for the energy sector and other industrial applications, with a total installed capacity of 7.2 million tons of seamless and welded steel pipes. The company’s annual turnover in 2019 was estimated at 7.3 billion USD, as a result of a distribution and services network which extends to more than 30 countries worldwide, serving more than 2,500 customers. Through its mills in </a:t>
            </a:r>
            <a:r>
              <a:rPr lang="en-US" err="1">
                <a:latin typeface="Arial MT"/>
              </a:rPr>
              <a:t>Zalau</a:t>
            </a:r>
            <a:r>
              <a:rPr lang="en-US">
                <a:latin typeface="Arial MT"/>
              </a:rPr>
              <a:t> and </a:t>
            </a:r>
            <a:r>
              <a:rPr lang="en-US" err="1">
                <a:latin typeface="Arial MT"/>
              </a:rPr>
              <a:t>Calarasi</a:t>
            </a:r>
            <a:r>
              <a:rPr lang="en-US">
                <a:latin typeface="Arial MT"/>
              </a:rPr>
              <a:t>, TENARIS SILCOTUB S.A. is the leading Romanian producer of small diameter seamless steel pipes used in Oil &amp; Gas, mechanical, automotive, chemical, petrochemical and power generation sectors.</a:t>
            </a:r>
          </a:p>
          <a:p>
            <a:pPr marL="0" lvl="1" algn="just">
              <a:buSzPts val="1100"/>
              <a:tabLst>
                <a:tab pos="528320" algn="l"/>
                <a:tab pos="528955" algn="l"/>
              </a:tabLst>
            </a:pPr>
            <a:r>
              <a:rPr lang="en-US" sz="1800">
                <a:effectLst/>
                <a:latin typeface="Arial MT"/>
                <a:ea typeface="Arial MT"/>
                <a:cs typeface="Arial MT"/>
              </a:rPr>
              <a:t>The mills are part of a fully integrated production process which starts with steel production from</a:t>
            </a:r>
            <a:r>
              <a:rPr lang="en-US" sz="1800" spc="5">
                <a:effectLst/>
                <a:latin typeface="Arial MT"/>
                <a:ea typeface="Arial MT"/>
                <a:cs typeface="Arial MT"/>
              </a:rPr>
              <a:t> </a:t>
            </a:r>
            <a:r>
              <a:rPr lang="en-US" sz="1800">
                <a:effectLst/>
                <a:latin typeface="Arial MT"/>
                <a:ea typeface="Arial MT"/>
                <a:cs typeface="Arial MT"/>
              </a:rPr>
              <a:t>scrap at the steel shop in </a:t>
            </a:r>
            <a:r>
              <a:rPr lang="en-US" sz="1800" err="1">
                <a:effectLst/>
                <a:latin typeface="Arial MT"/>
                <a:ea typeface="Arial MT"/>
                <a:cs typeface="Arial MT"/>
              </a:rPr>
              <a:t>Calarasi</a:t>
            </a:r>
            <a:r>
              <a:rPr lang="en-US" sz="1800">
                <a:effectLst/>
                <a:latin typeface="Arial MT"/>
                <a:ea typeface="Arial MT"/>
                <a:cs typeface="Arial MT"/>
              </a:rPr>
              <a:t>, which has a production capacity of 600,000 tons a year.</a:t>
            </a:r>
            <a:r>
              <a:rPr lang="en-US" sz="1800" spc="5">
                <a:effectLst/>
                <a:latin typeface="Arial MT"/>
                <a:ea typeface="Arial MT"/>
                <a:cs typeface="Arial MT"/>
              </a:rPr>
              <a:t> </a:t>
            </a:r>
            <a:r>
              <a:rPr lang="en-US" sz="1800" spc="-5">
                <a:effectLst/>
                <a:latin typeface="Arial MT"/>
                <a:ea typeface="Arial MT"/>
                <a:cs typeface="Arial MT"/>
              </a:rPr>
              <a:t>Transformation</a:t>
            </a:r>
            <a:r>
              <a:rPr lang="en-US" sz="1800" spc="-60">
                <a:effectLst/>
                <a:latin typeface="Arial MT"/>
                <a:ea typeface="Arial MT"/>
                <a:cs typeface="Arial MT"/>
              </a:rPr>
              <a:t> </a:t>
            </a:r>
            <a:r>
              <a:rPr lang="en-US" sz="1800" spc="-5">
                <a:effectLst/>
                <a:latin typeface="Arial MT"/>
                <a:ea typeface="Arial MT"/>
                <a:cs typeface="Arial MT"/>
              </a:rPr>
              <a:t>of</a:t>
            </a:r>
            <a:r>
              <a:rPr lang="en-US" sz="1800" spc="-85">
                <a:effectLst/>
                <a:latin typeface="Arial MT"/>
                <a:ea typeface="Arial MT"/>
                <a:cs typeface="Arial MT"/>
              </a:rPr>
              <a:t> </a:t>
            </a:r>
            <a:r>
              <a:rPr lang="en-US" sz="1800" spc="-5">
                <a:effectLst/>
                <a:latin typeface="Arial MT"/>
                <a:ea typeface="Arial MT"/>
                <a:cs typeface="Arial MT"/>
              </a:rPr>
              <a:t>raw</a:t>
            </a:r>
            <a:r>
              <a:rPr lang="en-US" sz="1800" spc="-75">
                <a:effectLst/>
                <a:latin typeface="Arial MT"/>
                <a:ea typeface="Arial MT"/>
                <a:cs typeface="Arial MT"/>
              </a:rPr>
              <a:t> </a:t>
            </a:r>
            <a:r>
              <a:rPr lang="en-US" sz="1800" spc="-5">
                <a:effectLst/>
                <a:latin typeface="Arial MT"/>
                <a:ea typeface="Arial MT"/>
                <a:cs typeface="Arial MT"/>
              </a:rPr>
              <a:t>materials</a:t>
            </a:r>
            <a:r>
              <a:rPr lang="en-US" sz="1800" spc="-70">
                <a:effectLst/>
                <a:latin typeface="Arial MT"/>
                <a:ea typeface="Arial MT"/>
                <a:cs typeface="Arial MT"/>
              </a:rPr>
              <a:t> </a:t>
            </a:r>
            <a:r>
              <a:rPr lang="en-US" sz="1800" spc="-5">
                <a:effectLst/>
                <a:latin typeface="Arial MT"/>
                <a:ea typeface="Arial MT"/>
                <a:cs typeface="Arial MT"/>
              </a:rPr>
              <a:t>into</a:t>
            </a:r>
            <a:r>
              <a:rPr lang="en-US" sz="1800" spc="-85">
                <a:effectLst/>
                <a:latin typeface="Arial MT"/>
                <a:ea typeface="Arial MT"/>
                <a:cs typeface="Arial MT"/>
              </a:rPr>
              <a:t> </a:t>
            </a:r>
            <a:r>
              <a:rPr lang="en-US" sz="1800">
                <a:effectLst/>
                <a:latin typeface="Arial MT"/>
                <a:ea typeface="Arial MT"/>
                <a:cs typeface="Arial MT"/>
              </a:rPr>
              <a:t>seamless</a:t>
            </a:r>
            <a:r>
              <a:rPr lang="en-US" sz="1800" spc="-90">
                <a:effectLst/>
                <a:latin typeface="Arial MT"/>
                <a:ea typeface="Arial MT"/>
                <a:cs typeface="Arial MT"/>
              </a:rPr>
              <a:t> </a:t>
            </a:r>
            <a:r>
              <a:rPr lang="en-US" sz="1800">
                <a:effectLst/>
                <a:latin typeface="Arial MT"/>
                <a:ea typeface="Arial MT"/>
                <a:cs typeface="Arial MT"/>
              </a:rPr>
              <a:t>pipes</a:t>
            </a:r>
            <a:r>
              <a:rPr lang="en-US" sz="1800" spc="-70">
                <a:effectLst/>
                <a:latin typeface="Arial MT"/>
                <a:ea typeface="Arial MT"/>
                <a:cs typeface="Arial MT"/>
              </a:rPr>
              <a:t> </a:t>
            </a:r>
            <a:r>
              <a:rPr lang="en-US" sz="1800">
                <a:effectLst/>
                <a:latin typeface="Arial MT"/>
                <a:ea typeface="Arial MT"/>
                <a:cs typeface="Arial MT"/>
              </a:rPr>
              <a:t>is</a:t>
            </a:r>
            <a:r>
              <a:rPr lang="en-US" sz="1800" spc="-70">
                <a:effectLst/>
                <a:latin typeface="Arial MT"/>
                <a:ea typeface="Arial MT"/>
                <a:cs typeface="Arial MT"/>
              </a:rPr>
              <a:t> </a:t>
            </a:r>
            <a:r>
              <a:rPr lang="en-US" sz="1800">
                <a:effectLst/>
                <a:latin typeface="Arial MT"/>
                <a:ea typeface="Arial MT"/>
                <a:cs typeface="Arial MT"/>
              </a:rPr>
              <a:t>performed</a:t>
            </a:r>
            <a:r>
              <a:rPr lang="en-US" sz="1800" spc="-80">
                <a:effectLst/>
                <a:latin typeface="Arial MT"/>
                <a:ea typeface="Arial MT"/>
                <a:cs typeface="Arial MT"/>
              </a:rPr>
              <a:t> </a:t>
            </a:r>
            <a:r>
              <a:rPr lang="en-US" sz="1800">
                <a:effectLst/>
                <a:latin typeface="Arial MT"/>
                <a:ea typeface="Arial MT"/>
                <a:cs typeface="Arial MT"/>
              </a:rPr>
              <a:t>at</a:t>
            </a:r>
            <a:r>
              <a:rPr lang="en-US" sz="1800" spc="-85">
                <a:effectLst/>
                <a:latin typeface="Arial MT"/>
                <a:ea typeface="Arial MT"/>
                <a:cs typeface="Arial MT"/>
              </a:rPr>
              <a:t> </a:t>
            </a:r>
            <a:r>
              <a:rPr lang="en-US" sz="1800">
                <a:effectLst/>
                <a:latin typeface="Arial MT"/>
                <a:ea typeface="Arial MT"/>
                <a:cs typeface="Arial MT"/>
              </a:rPr>
              <a:t>the</a:t>
            </a:r>
            <a:r>
              <a:rPr lang="en-US" sz="1800" spc="-80">
                <a:effectLst/>
                <a:latin typeface="Arial MT"/>
                <a:ea typeface="Arial MT"/>
                <a:cs typeface="Arial MT"/>
              </a:rPr>
              <a:t> </a:t>
            </a:r>
            <a:r>
              <a:rPr lang="en-US" sz="1800">
                <a:effectLst/>
                <a:latin typeface="Arial MT"/>
                <a:ea typeface="Arial MT"/>
                <a:cs typeface="Arial MT"/>
              </a:rPr>
              <a:t>TENARIS</a:t>
            </a:r>
            <a:r>
              <a:rPr lang="en-US" sz="1800" spc="-85">
                <a:effectLst/>
                <a:latin typeface="Arial MT"/>
                <a:ea typeface="Arial MT"/>
                <a:cs typeface="Arial MT"/>
              </a:rPr>
              <a:t> </a:t>
            </a:r>
            <a:r>
              <a:rPr lang="en-US" sz="1800">
                <a:effectLst/>
                <a:latin typeface="Arial MT"/>
                <a:ea typeface="Arial MT"/>
                <a:cs typeface="Arial MT"/>
              </a:rPr>
              <a:t>SILCOTUB</a:t>
            </a:r>
            <a:r>
              <a:rPr lang="en-US" sz="1800" spc="-60">
                <a:effectLst/>
                <a:latin typeface="Arial MT"/>
                <a:ea typeface="Arial MT"/>
                <a:cs typeface="Arial MT"/>
              </a:rPr>
              <a:t> </a:t>
            </a:r>
            <a:r>
              <a:rPr lang="en-US" sz="1800">
                <a:effectLst/>
                <a:latin typeface="Arial MT"/>
                <a:ea typeface="Arial MT"/>
                <a:cs typeface="Arial MT"/>
              </a:rPr>
              <a:t>facility</a:t>
            </a:r>
            <a:r>
              <a:rPr lang="en-US" sz="1800" spc="-290">
                <a:effectLst/>
                <a:latin typeface="Arial MT"/>
                <a:ea typeface="Arial MT"/>
                <a:cs typeface="Arial MT"/>
              </a:rPr>
              <a:t> </a:t>
            </a:r>
            <a:r>
              <a:rPr lang="en-US" sz="1800">
                <a:effectLst/>
                <a:latin typeface="Arial MT"/>
                <a:ea typeface="Arial MT"/>
                <a:cs typeface="Arial MT"/>
              </a:rPr>
              <a:t>in </a:t>
            </a:r>
            <a:r>
              <a:rPr lang="en-US" sz="1800" err="1">
                <a:effectLst/>
                <a:latin typeface="Arial MT"/>
                <a:ea typeface="Arial MT"/>
                <a:cs typeface="Arial MT"/>
              </a:rPr>
              <a:t>Zalau</a:t>
            </a:r>
            <a:r>
              <a:rPr lang="en-US" sz="1800">
                <a:effectLst/>
                <a:latin typeface="Arial MT"/>
                <a:ea typeface="Arial MT"/>
                <a:cs typeface="Arial MT"/>
              </a:rPr>
              <a:t>, with an annual capacity of 225,000 tons and counts with a component </a:t>
            </a:r>
            <a:r>
              <a:rPr lang="en-US" sz="1800" err="1">
                <a:effectLst/>
                <a:latin typeface="Arial MT"/>
                <a:ea typeface="Arial MT"/>
                <a:cs typeface="Arial MT"/>
              </a:rPr>
              <a:t>centre</a:t>
            </a:r>
            <a:r>
              <a:rPr lang="en-US" sz="1800">
                <a:effectLst/>
                <a:latin typeface="Arial MT"/>
                <a:ea typeface="Arial MT"/>
                <a:cs typeface="Arial MT"/>
              </a:rPr>
              <a:t> dedicated to</a:t>
            </a:r>
            <a:r>
              <a:rPr lang="en-US" sz="1800" spc="-295">
                <a:effectLst/>
                <a:latin typeface="Arial MT"/>
                <a:ea typeface="Arial MT"/>
                <a:cs typeface="Arial MT"/>
              </a:rPr>
              <a:t> </a:t>
            </a:r>
            <a:r>
              <a:rPr lang="en-US" sz="1800">
                <a:effectLst/>
                <a:latin typeface="Arial MT"/>
                <a:ea typeface="Arial MT"/>
                <a:cs typeface="Arial MT"/>
              </a:rPr>
              <a:t>executing added value operations to the tubes, to obtain products employed in the automotive and</a:t>
            </a:r>
            <a:r>
              <a:rPr lang="en-US" sz="1800" spc="5">
                <a:effectLst/>
                <a:latin typeface="Arial MT"/>
                <a:ea typeface="Arial MT"/>
                <a:cs typeface="Arial MT"/>
              </a:rPr>
              <a:t> </a:t>
            </a:r>
            <a:r>
              <a:rPr lang="en-US" sz="1800">
                <a:effectLst/>
                <a:latin typeface="Arial MT"/>
                <a:ea typeface="Arial MT"/>
                <a:cs typeface="Arial MT"/>
              </a:rPr>
              <a:t>earth moving machineries sectors. The premises can rely on a new laboratory which performs</a:t>
            </a:r>
            <a:r>
              <a:rPr lang="en-US" sz="1800" spc="5">
                <a:effectLst/>
                <a:latin typeface="Arial MT"/>
                <a:ea typeface="Arial MT"/>
                <a:cs typeface="Arial MT"/>
              </a:rPr>
              <a:t> </a:t>
            </a:r>
            <a:r>
              <a:rPr lang="en-US" sz="1800">
                <a:effectLst/>
                <a:latin typeface="Arial MT"/>
                <a:ea typeface="Arial MT"/>
                <a:cs typeface="Arial MT"/>
              </a:rPr>
              <a:t>metallurgical and mechanical tests, as well as a coupling shop which does API and Premium</a:t>
            </a:r>
            <a:r>
              <a:rPr lang="en-US" sz="1800" spc="5">
                <a:effectLst/>
                <a:latin typeface="Arial MT"/>
                <a:ea typeface="Arial MT"/>
                <a:cs typeface="Arial MT"/>
              </a:rPr>
              <a:t> </a:t>
            </a:r>
            <a:r>
              <a:rPr lang="en-US" sz="1800">
                <a:effectLst/>
                <a:latin typeface="Arial MT"/>
                <a:ea typeface="Arial MT"/>
                <a:cs typeface="Arial MT"/>
              </a:rPr>
              <a:t>connections</a:t>
            </a:r>
            <a:r>
              <a:rPr lang="en-US" sz="1800" spc="-25">
                <a:effectLst/>
                <a:latin typeface="Arial MT"/>
                <a:ea typeface="Arial MT"/>
                <a:cs typeface="Arial MT"/>
              </a:rPr>
              <a:t> </a:t>
            </a:r>
            <a:r>
              <a:rPr lang="en-US" sz="1800">
                <a:effectLst/>
                <a:latin typeface="Arial MT"/>
                <a:ea typeface="Arial MT"/>
                <a:cs typeface="Arial MT"/>
              </a:rPr>
              <a:t>threads,</a:t>
            </a:r>
            <a:r>
              <a:rPr lang="en-US" sz="1800" spc="5">
                <a:effectLst/>
                <a:latin typeface="Arial MT"/>
                <a:ea typeface="Arial MT"/>
                <a:cs typeface="Arial MT"/>
              </a:rPr>
              <a:t> </a:t>
            </a:r>
            <a:r>
              <a:rPr lang="en-US" sz="1800">
                <a:effectLst/>
                <a:latin typeface="Arial MT"/>
                <a:ea typeface="Arial MT"/>
                <a:cs typeface="Arial MT"/>
              </a:rPr>
              <a:t>responding</a:t>
            </a:r>
            <a:r>
              <a:rPr lang="en-US" sz="1800" spc="15">
                <a:effectLst/>
                <a:latin typeface="Arial MT"/>
                <a:ea typeface="Arial MT"/>
                <a:cs typeface="Arial MT"/>
              </a:rPr>
              <a:t> </a:t>
            </a:r>
            <a:r>
              <a:rPr lang="en-US" sz="1800">
                <a:effectLst/>
                <a:latin typeface="Arial MT"/>
                <a:ea typeface="Arial MT"/>
                <a:cs typeface="Arial MT"/>
              </a:rPr>
              <a:t>to</a:t>
            </a:r>
            <a:r>
              <a:rPr lang="en-US" sz="1800" spc="10">
                <a:effectLst/>
                <a:latin typeface="Arial MT"/>
                <a:ea typeface="Arial MT"/>
                <a:cs typeface="Arial MT"/>
              </a:rPr>
              <a:t> </a:t>
            </a:r>
            <a:r>
              <a:rPr lang="en-US" sz="1800">
                <a:effectLst/>
                <a:latin typeface="Arial MT"/>
                <a:ea typeface="Arial MT"/>
                <a:cs typeface="Arial MT"/>
              </a:rPr>
              <a:t>the</a:t>
            </a:r>
            <a:r>
              <a:rPr lang="en-US" sz="1800" spc="-10">
                <a:effectLst/>
                <a:latin typeface="Arial MT"/>
                <a:ea typeface="Arial MT"/>
                <a:cs typeface="Arial MT"/>
              </a:rPr>
              <a:t> </a:t>
            </a:r>
            <a:r>
              <a:rPr lang="en-US" sz="1800">
                <a:effectLst/>
                <a:latin typeface="Arial MT"/>
                <a:ea typeface="Arial MT"/>
                <a:cs typeface="Arial MT"/>
              </a:rPr>
              <a:t>requirements</a:t>
            </a:r>
            <a:r>
              <a:rPr lang="en-US" sz="1800" spc="-25">
                <a:effectLst/>
                <a:latin typeface="Arial MT"/>
                <a:ea typeface="Arial MT"/>
                <a:cs typeface="Arial MT"/>
              </a:rPr>
              <a:t> </a:t>
            </a:r>
            <a:r>
              <a:rPr lang="en-US" sz="1800">
                <a:effectLst/>
                <a:latin typeface="Arial MT"/>
                <a:ea typeface="Arial MT"/>
                <a:cs typeface="Arial MT"/>
              </a:rPr>
              <a:t>of</a:t>
            </a:r>
            <a:r>
              <a:rPr lang="en-US" sz="1800" spc="-15">
                <a:effectLst/>
                <a:latin typeface="Arial MT"/>
                <a:ea typeface="Arial MT"/>
                <a:cs typeface="Arial MT"/>
              </a:rPr>
              <a:t> </a:t>
            </a:r>
            <a:r>
              <a:rPr lang="en-US" sz="1800">
                <a:effectLst/>
                <a:latin typeface="Arial MT"/>
                <a:ea typeface="Arial MT"/>
                <a:cs typeface="Arial MT"/>
              </a:rPr>
              <a:t>Oil</a:t>
            </a:r>
            <a:r>
              <a:rPr lang="en-US" sz="1800" spc="-5">
                <a:effectLst/>
                <a:latin typeface="Arial MT"/>
                <a:ea typeface="Arial MT"/>
                <a:cs typeface="Arial MT"/>
              </a:rPr>
              <a:t> </a:t>
            </a:r>
            <a:r>
              <a:rPr lang="en-US" sz="1800">
                <a:effectLst/>
                <a:latin typeface="Arial MT"/>
                <a:ea typeface="Arial MT"/>
                <a:cs typeface="Arial MT"/>
              </a:rPr>
              <a:t>&amp;</a:t>
            </a:r>
            <a:r>
              <a:rPr lang="en-US" sz="1800" spc="-15">
                <a:effectLst/>
                <a:latin typeface="Arial MT"/>
                <a:ea typeface="Arial MT"/>
                <a:cs typeface="Arial MT"/>
              </a:rPr>
              <a:t> </a:t>
            </a:r>
            <a:r>
              <a:rPr lang="en-US" sz="1800">
                <a:effectLst/>
                <a:latin typeface="Arial MT"/>
                <a:ea typeface="Arial MT"/>
                <a:cs typeface="Arial MT"/>
              </a:rPr>
              <a:t>Gas</a:t>
            </a:r>
            <a:r>
              <a:rPr lang="en-US" sz="1800" spc="5">
                <a:effectLst/>
                <a:latin typeface="Arial MT"/>
                <a:ea typeface="Arial MT"/>
                <a:cs typeface="Arial MT"/>
              </a:rPr>
              <a:t> </a:t>
            </a:r>
            <a:r>
              <a:rPr lang="en-US" sz="1800">
                <a:effectLst/>
                <a:latin typeface="Arial MT"/>
                <a:ea typeface="Arial MT"/>
                <a:cs typeface="Arial MT"/>
              </a:rPr>
              <a:t>companies.</a:t>
            </a:r>
            <a:endParaRPr lang="sv-SE" sz="2000" kern="100">
              <a:solidFill>
                <a:srgbClr val="404040"/>
              </a:solidFill>
              <a:latin typeface="Arial (body)"/>
            </a:endParaRPr>
          </a:p>
        </p:txBody>
      </p:sp>
      <p:pic>
        <p:nvPicPr>
          <p:cNvPr id="22" name="image48.jpeg">
            <a:extLst>
              <a:ext uri="{FF2B5EF4-FFF2-40B4-BE49-F238E27FC236}">
                <a16:creationId xmlns:a16="http://schemas.microsoft.com/office/drawing/2014/main" id="{6A3FAF4C-A9FF-4BDE-ADE5-CF15D326D8FD}"/>
              </a:ext>
            </a:extLst>
          </p:cNvPr>
          <p:cNvPicPr>
            <a:picLocks noChangeAspect="1"/>
          </p:cNvPicPr>
          <p:nvPr/>
        </p:nvPicPr>
        <p:blipFill>
          <a:blip r:embed="rId6" cstate="print"/>
          <a:stretch>
            <a:fillRect/>
          </a:stretch>
        </p:blipFill>
        <p:spPr>
          <a:xfrm>
            <a:off x="10469880" y="2319965"/>
            <a:ext cx="6751320" cy="4502632"/>
          </a:xfrm>
          <a:prstGeom prst="rect">
            <a:avLst/>
          </a:prstGeom>
        </p:spPr>
      </p:pic>
      <p:pic>
        <p:nvPicPr>
          <p:cNvPr id="21" name="Picture 2" descr="t_T_SB">
            <a:extLst>
              <a:ext uri="{FF2B5EF4-FFF2-40B4-BE49-F238E27FC236}">
                <a16:creationId xmlns:a16="http://schemas.microsoft.com/office/drawing/2014/main" id="{A760511E-D86B-4624-BDA2-B99580F74ACC}"/>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510992" y="1329963"/>
            <a:ext cx="4864659" cy="6665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3">
            <a:extLst>
              <a:ext uri="{FF2B5EF4-FFF2-40B4-BE49-F238E27FC236}">
                <a16:creationId xmlns:a16="http://schemas.microsoft.com/office/drawing/2014/main" id="{94F95366-74F0-CE52-5F35-A6136C21DEC3}"/>
              </a:ext>
            </a:extLst>
          </p:cNvPr>
          <p:cNvSpPr txBox="1"/>
          <p:nvPr/>
        </p:nvSpPr>
        <p:spPr>
          <a:xfrm>
            <a:off x="15286297" y="433570"/>
            <a:ext cx="2213463" cy="523220"/>
          </a:xfrm>
          <a:prstGeom prst="rect">
            <a:avLst/>
          </a:prstGeom>
          <a:ln/>
        </p:spPr>
        <p:style>
          <a:lnRef idx="3">
            <a:schemeClr val="lt1"/>
          </a:lnRef>
          <a:fillRef idx="1">
            <a:schemeClr val="accent1"/>
          </a:fillRef>
          <a:effectRef idx="1">
            <a:schemeClr val="accent1"/>
          </a:effectRef>
          <a:fontRef idx="minor">
            <a:schemeClr val="lt1"/>
          </a:fontRef>
        </p:style>
        <p:txBody>
          <a:bodyPr wrap="square">
            <a:spAutoFit/>
          </a:bodyPr>
          <a:lstStyle/>
          <a:p>
            <a:r>
              <a:rPr lang="sv-SE" sz="2800" i="1" kern="100">
                <a:solidFill>
                  <a:schemeClr val="bg1"/>
                </a:solidFill>
                <a:latin typeface="+mj-lt"/>
              </a:rPr>
              <a:t>Demo-site 5</a:t>
            </a:r>
            <a:endParaRPr lang="sv-SE" sz="2800" i="1">
              <a:solidFill>
                <a:schemeClr val="bg1"/>
              </a:solidFill>
            </a:endParaRPr>
          </a:p>
        </p:txBody>
      </p:sp>
    </p:spTree>
    <p:extLst>
      <p:ext uri="{BB962C8B-B14F-4D97-AF65-F5344CB8AC3E}">
        <p14:creationId xmlns:p14="http://schemas.microsoft.com/office/powerpoint/2010/main" val="407442289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uppo 16">
            <a:extLst>
              <a:ext uri="{FF2B5EF4-FFF2-40B4-BE49-F238E27FC236}">
                <a16:creationId xmlns:a16="http://schemas.microsoft.com/office/drawing/2014/main" id="{7F05FA2D-BA17-4C4E-9DAE-36CC81DE9BAA}"/>
              </a:ext>
            </a:extLst>
          </p:cNvPr>
          <p:cNvGrpSpPr/>
          <p:nvPr/>
        </p:nvGrpSpPr>
        <p:grpSpPr>
          <a:xfrm>
            <a:off x="4329156" y="9695736"/>
            <a:ext cx="13958844" cy="666567"/>
            <a:chOff x="4329156" y="9649198"/>
            <a:chExt cx="13958844" cy="666567"/>
          </a:xfrm>
        </p:grpSpPr>
        <p:pic>
          <p:nvPicPr>
            <p:cNvPr id="5" name="Picture 12">
              <a:extLst>
                <a:ext uri="{FF2B5EF4-FFF2-40B4-BE49-F238E27FC236}">
                  <a16:creationId xmlns:a16="http://schemas.microsoft.com/office/drawing/2014/main" id="{00810EF5-3949-4698-A5DE-428CD380175F}"/>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6" name="TextBox 16">
              <a:extLst>
                <a:ext uri="{FF2B5EF4-FFF2-40B4-BE49-F238E27FC236}">
                  <a16:creationId xmlns:a16="http://schemas.microsoft.com/office/drawing/2014/main" id="{EDDD1531-1BDA-4725-B6A3-364F4B7CF76A}"/>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pic>
        <p:nvPicPr>
          <p:cNvPr id="7" name="Picture 12">
            <a:extLst>
              <a:ext uri="{FF2B5EF4-FFF2-40B4-BE49-F238E27FC236}">
                <a16:creationId xmlns:a16="http://schemas.microsoft.com/office/drawing/2014/main" id="{52C35A30-8BA0-4714-8363-E6CE748BA2C3}"/>
              </a:ext>
            </a:extLst>
          </p:cNvPr>
          <p:cNvPicPr>
            <a:picLocks noChangeAspect="1"/>
          </p:cNvPicPr>
          <p:nvPr/>
        </p:nvPicPr>
        <p:blipFill>
          <a:blip r:embed="rId4"/>
          <a:srcRect/>
          <a:stretch>
            <a:fillRect/>
          </a:stretch>
        </p:blipFill>
        <p:spPr>
          <a:xfrm>
            <a:off x="0" y="8901113"/>
            <a:ext cx="5715000" cy="1385887"/>
          </a:xfrm>
          <a:prstGeom prst="rect">
            <a:avLst/>
          </a:prstGeom>
        </p:spPr>
      </p:pic>
      <p:grpSp>
        <p:nvGrpSpPr>
          <p:cNvPr id="8" name="Gruppo 2">
            <a:extLst>
              <a:ext uri="{FF2B5EF4-FFF2-40B4-BE49-F238E27FC236}">
                <a16:creationId xmlns:a16="http://schemas.microsoft.com/office/drawing/2014/main" id="{C9C93A65-4067-4ACC-B2C9-8C15277024E4}"/>
              </a:ext>
            </a:extLst>
          </p:cNvPr>
          <p:cNvGrpSpPr/>
          <p:nvPr/>
        </p:nvGrpSpPr>
        <p:grpSpPr>
          <a:xfrm>
            <a:off x="-12" y="138554"/>
            <a:ext cx="18288002" cy="681138"/>
            <a:chOff x="-12" y="138554"/>
            <a:chExt cx="18288002" cy="681138"/>
          </a:xfrm>
        </p:grpSpPr>
        <p:grpSp>
          <p:nvGrpSpPr>
            <p:cNvPr id="9" name="Gruppo 1">
              <a:extLst>
                <a:ext uri="{FF2B5EF4-FFF2-40B4-BE49-F238E27FC236}">
                  <a16:creationId xmlns:a16="http://schemas.microsoft.com/office/drawing/2014/main" id="{A943E672-738C-4FE3-BD35-ACD7A4E4D95E}"/>
                </a:ext>
              </a:extLst>
            </p:cNvPr>
            <p:cNvGrpSpPr/>
            <p:nvPr/>
          </p:nvGrpSpPr>
          <p:grpSpPr>
            <a:xfrm>
              <a:off x="0" y="153125"/>
              <a:ext cx="17907000" cy="666567"/>
              <a:chOff x="0" y="153125"/>
              <a:chExt cx="17907000" cy="666567"/>
            </a:xfrm>
          </p:grpSpPr>
          <p:grpSp>
            <p:nvGrpSpPr>
              <p:cNvPr id="11" name="Gruppo 15">
                <a:extLst>
                  <a:ext uri="{FF2B5EF4-FFF2-40B4-BE49-F238E27FC236}">
                    <a16:creationId xmlns:a16="http://schemas.microsoft.com/office/drawing/2014/main" id="{10037738-5D9A-4755-B52F-99B1FA543ED3}"/>
                  </a:ext>
                </a:extLst>
              </p:cNvPr>
              <p:cNvGrpSpPr/>
              <p:nvPr/>
            </p:nvGrpSpPr>
            <p:grpSpPr>
              <a:xfrm>
                <a:off x="0" y="153125"/>
                <a:ext cx="13958844" cy="666567"/>
                <a:chOff x="0" y="153125"/>
                <a:chExt cx="13958844" cy="666567"/>
              </a:xfrm>
            </p:grpSpPr>
            <p:pic>
              <p:nvPicPr>
                <p:cNvPr id="13" name="Picture 10">
                  <a:extLst>
                    <a:ext uri="{FF2B5EF4-FFF2-40B4-BE49-F238E27FC236}">
                      <a16:creationId xmlns:a16="http://schemas.microsoft.com/office/drawing/2014/main" id="{30234B5E-6FF9-499F-817A-9B69F1CC9911}"/>
                    </a:ext>
                  </a:extLst>
                </p:cNvPr>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4" name="TextBox 11">
                  <a:extLst>
                    <a:ext uri="{FF2B5EF4-FFF2-40B4-BE49-F238E27FC236}">
                      <a16:creationId xmlns:a16="http://schemas.microsoft.com/office/drawing/2014/main" id="{E5F3FE84-033A-4279-AF93-ABD80EC40550}"/>
                    </a:ext>
                  </a:extLst>
                </p:cNvPr>
                <p:cNvSpPr txBox="1"/>
                <p:nvPr/>
              </p:nvSpPr>
              <p:spPr>
                <a:xfrm>
                  <a:off x="228600" y="257980"/>
                  <a:ext cx="9296400" cy="456856"/>
                </a:xfrm>
                <a:prstGeom prst="rect">
                  <a:avLst/>
                </a:prstGeom>
              </p:spPr>
              <p:txBody>
                <a:bodyPr wrap="square" lIns="0" tIns="0" rIns="0" bIns="0" rtlCol="0" anchor="t">
                  <a:spAutoFit/>
                </a:bodyPr>
                <a:lstStyle/>
                <a:p>
                  <a:pPr>
                    <a:lnSpc>
                      <a:spcPts val="3919"/>
                    </a:lnSpc>
                    <a:spcBef>
                      <a:spcPct val="0"/>
                    </a:spcBef>
                  </a:pPr>
                  <a:endParaRPr lang="en-US" sz="2800" b="1">
                    <a:solidFill>
                      <a:srgbClr val="FFFFFF"/>
                    </a:solidFill>
                    <a:latin typeface="Arial" panose="020B0604020202020204" pitchFamily="34" charset="0"/>
                    <a:cs typeface="Arial" panose="020B0604020202020204" pitchFamily="34" charset="0"/>
                  </a:endParaRPr>
                </a:p>
              </p:txBody>
            </p:sp>
          </p:grpSp>
          <p:sp>
            <p:nvSpPr>
              <p:cNvPr id="12" name="TextBox 11">
                <a:extLst>
                  <a:ext uri="{FF2B5EF4-FFF2-40B4-BE49-F238E27FC236}">
                    <a16:creationId xmlns:a16="http://schemas.microsoft.com/office/drawing/2014/main" id="{7B4365DB-7AB3-494A-91B9-B5781D39B67B}"/>
                  </a:ext>
                </a:extLst>
              </p:cNvPr>
              <p:cNvSpPr txBox="1"/>
              <p:nvPr/>
            </p:nvSpPr>
            <p:spPr>
              <a:xfrm>
                <a:off x="12154296" y="257980"/>
                <a:ext cx="5752704" cy="456856"/>
              </a:xfrm>
              <a:prstGeom prst="rect">
                <a:avLst/>
              </a:prstGeom>
            </p:spPr>
            <p:txBody>
              <a:bodyPr wrap="square" lIns="0" tIns="0" rIns="0" bIns="0" rtlCol="0" anchor="t">
                <a:spAutoFit/>
              </a:bodyPr>
              <a:lstStyle/>
              <a:p>
                <a:pPr algn="r">
                  <a:lnSpc>
                    <a:spcPts val="3919"/>
                  </a:lnSpc>
                  <a:spcBef>
                    <a:spcPct val="0"/>
                  </a:spcBef>
                </a:pPr>
                <a:endParaRPr lang="en-US" sz="2800">
                  <a:solidFill>
                    <a:schemeClr val="tx1">
                      <a:lumMod val="75000"/>
                      <a:lumOff val="25000"/>
                    </a:schemeClr>
                  </a:solidFill>
                  <a:latin typeface="Arial" panose="020B0604020202020204" pitchFamily="34" charset="0"/>
                  <a:cs typeface="Arial" panose="020B0604020202020204" pitchFamily="34" charset="0"/>
                </a:endParaRPr>
              </a:p>
            </p:txBody>
          </p:sp>
        </p:grpSp>
        <p:sp>
          <p:nvSpPr>
            <p:cNvPr id="10" name="Rettangolo 13">
              <a:extLst>
                <a:ext uri="{FF2B5EF4-FFF2-40B4-BE49-F238E27FC236}">
                  <a16:creationId xmlns:a16="http://schemas.microsoft.com/office/drawing/2014/main" id="{BC76EB51-B4AB-4BAB-AAF6-1883074EEF50}"/>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9" name="TextBox 18">
            <a:extLst>
              <a:ext uri="{FF2B5EF4-FFF2-40B4-BE49-F238E27FC236}">
                <a16:creationId xmlns:a16="http://schemas.microsoft.com/office/drawing/2014/main" id="{687AB5ED-77D2-45EC-AF55-339AC7DA13BE}"/>
              </a:ext>
            </a:extLst>
          </p:cNvPr>
          <p:cNvSpPr txBox="1"/>
          <p:nvPr/>
        </p:nvSpPr>
        <p:spPr>
          <a:xfrm>
            <a:off x="448707" y="1201221"/>
            <a:ext cx="9144000" cy="646331"/>
          </a:xfrm>
          <a:prstGeom prst="rect">
            <a:avLst/>
          </a:prstGeom>
          <a:noFill/>
        </p:spPr>
        <p:txBody>
          <a:bodyPr wrap="square">
            <a:spAutoFit/>
          </a:bodyPr>
          <a:lstStyle/>
          <a:p>
            <a:r>
              <a:rPr lang="en-US" sz="3600" b="1">
                <a:solidFill>
                  <a:srgbClr val="CC0033"/>
                </a:solidFill>
                <a:latin typeface="+mj-lt"/>
                <a:cs typeface="Arial" panose="020B0604020202020204" pitchFamily="34" charset="0"/>
              </a:rPr>
              <a:t>Production process in SILCOTUB</a:t>
            </a:r>
            <a:endParaRPr lang="sv-SE" sz="3600"/>
          </a:p>
        </p:txBody>
      </p:sp>
      <p:pic>
        <p:nvPicPr>
          <p:cNvPr id="21" name="image49.jpeg">
            <a:extLst>
              <a:ext uri="{FF2B5EF4-FFF2-40B4-BE49-F238E27FC236}">
                <a16:creationId xmlns:a16="http://schemas.microsoft.com/office/drawing/2014/main" id="{C55CB6EE-9B8C-4273-B9FE-A0C02DA7F059}"/>
              </a:ext>
            </a:extLst>
          </p:cNvPr>
          <p:cNvPicPr>
            <a:picLocks noChangeAspect="1"/>
          </p:cNvPicPr>
          <p:nvPr/>
        </p:nvPicPr>
        <p:blipFill>
          <a:blip r:embed="rId6" cstate="print"/>
          <a:stretch>
            <a:fillRect/>
          </a:stretch>
        </p:blipFill>
        <p:spPr>
          <a:xfrm>
            <a:off x="6506447" y="2028542"/>
            <a:ext cx="11295698" cy="6029436"/>
          </a:xfrm>
          <a:prstGeom prst="rect">
            <a:avLst/>
          </a:prstGeom>
        </p:spPr>
      </p:pic>
      <p:sp>
        <p:nvSpPr>
          <p:cNvPr id="3" name="TextBox 2">
            <a:extLst>
              <a:ext uri="{FF2B5EF4-FFF2-40B4-BE49-F238E27FC236}">
                <a16:creationId xmlns:a16="http://schemas.microsoft.com/office/drawing/2014/main" id="{698D544B-EEA5-786B-DFF2-E9DD1F647C13}"/>
              </a:ext>
            </a:extLst>
          </p:cNvPr>
          <p:cNvSpPr txBox="1"/>
          <p:nvPr/>
        </p:nvSpPr>
        <p:spPr>
          <a:xfrm>
            <a:off x="654647" y="2352594"/>
            <a:ext cx="5060353" cy="6065763"/>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algn="ctr"/>
            <a:r>
              <a:rPr lang="en-US" sz="2400" b="1" i="0" u="none" strike="noStrike" baseline="0">
                <a:solidFill>
                  <a:srgbClr val="000000"/>
                </a:solidFill>
                <a:latin typeface="+mj-lt"/>
              </a:rPr>
              <a:t>Process description</a:t>
            </a:r>
          </a:p>
          <a:p>
            <a:pPr marL="71120" marR="294640" algn="just">
              <a:spcBef>
                <a:spcPts val="470"/>
              </a:spcBef>
            </a:pPr>
            <a:r>
              <a:rPr lang="en-US" sz="2400">
                <a:solidFill>
                  <a:srgbClr val="374151"/>
                </a:solidFill>
                <a:latin typeface="+mj-lt"/>
              </a:rPr>
              <a:t>The steel scrap is first sorted and charged into dedicated scrap buckets. It is then introduced in the electric arc furnace, where the main chemical reactions occur. At the end of each melt, the liquid steel is processed in the Ladle Furnace, where the final chemical and thermal adjustments are made. The ladle is then carried to the Continuous Casting machine where the liquid steel becomes solid in the shape of round blooms and then cooled down to room temperature.</a:t>
            </a:r>
            <a:endParaRPr lang="en-US" sz="2400" b="1" i="0" u="none" strike="noStrike" baseline="0">
              <a:solidFill>
                <a:srgbClr val="000000"/>
              </a:solidFill>
              <a:latin typeface="+mj-lt"/>
            </a:endParaRPr>
          </a:p>
        </p:txBody>
      </p:sp>
      <p:sp>
        <p:nvSpPr>
          <p:cNvPr id="2" name="textruta 1">
            <a:extLst>
              <a:ext uri="{FF2B5EF4-FFF2-40B4-BE49-F238E27FC236}">
                <a16:creationId xmlns:a16="http://schemas.microsoft.com/office/drawing/2014/main" id="{5075F57F-02C0-8B35-FC70-DA723B63D300}"/>
              </a:ext>
            </a:extLst>
          </p:cNvPr>
          <p:cNvSpPr txBox="1"/>
          <p:nvPr/>
        </p:nvSpPr>
        <p:spPr>
          <a:xfrm>
            <a:off x="8337648" y="2352594"/>
            <a:ext cx="1612682" cy="369332"/>
          </a:xfrm>
          <a:prstGeom prst="rect">
            <a:avLst/>
          </a:prstGeom>
          <a:noFill/>
        </p:spPr>
        <p:txBody>
          <a:bodyPr wrap="square">
            <a:spAutoFit/>
          </a:bodyPr>
          <a:lstStyle/>
          <a:p>
            <a:pPr algn="ctr"/>
            <a:r>
              <a:rPr lang="sv-SE" b="1">
                <a:solidFill>
                  <a:schemeClr val="tx1"/>
                </a:solidFill>
              </a:rPr>
              <a:t>1.</a:t>
            </a:r>
          </a:p>
        </p:txBody>
      </p:sp>
      <p:sp>
        <p:nvSpPr>
          <p:cNvPr id="15" name="textruta 14">
            <a:extLst>
              <a:ext uri="{FF2B5EF4-FFF2-40B4-BE49-F238E27FC236}">
                <a16:creationId xmlns:a16="http://schemas.microsoft.com/office/drawing/2014/main" id="{11C7D6B8-0BE3-7E3E-9709-F681BD15AAA0}"/>
              </a:ext>
            </a:extLst>
          </p:cNvPr>
          <p:cNvSpPr txBox="1"/>
          <p:nvPr/>
        </p:nvSpPr>
        <p:spPr>
          <a:xfrm>
            <a:off x="5745687" y="7338195"/>
            <a:ext cx="1612682" cy="369332"/>
          </a:xfrm>
          <a:prstGeom prst="rect">
            <a:avLst/>
          </a:prstGeom>
          <a:noFill/>
        </p:spPr>
        <p:txBody>
          <a:bodyPr wrap="square">
            <a:spAutoFit/>
          </a:bodyPr>
          <a:lstStyle/>
          <a:p>
            <a:pPr algn="ctr"/>
            <a:r>
              <a:rPr lang="sv-SE" b="1"/>
              <a:t>2</a:t>
            </a:r>
            <a:r>
              <a:rPr lang="sv-SE" b="1">
                <a:solidFill>
                  <a:schemeClr val="tx1"/>
                </a:solidFill>
              </a:rPr>
              <a:t>.</a:t>
            </a:r>
          </a:p>
        </p:txBody>
      </p:sp>
      <p:sp>
        <p:nvSpPr>
          <p:cNvPr id="16" name="textruta 15">
            <a:extLst>
              <a:ext uri="{FF2B5EF4-FFF2-40B4-BE49-F238E27FC236}">
                <a16:creationId xmlns:a16="http://schemas.microsoft.com/office/drawing/2014/main" id="{4F9C834C-D9CC-88C1-859F-45DE31F0357D}"/>
              </a:ext>
            </a:extLst>
          </p:cNvPr>
          <p:cNvSpPr txBox="1"/>
          <p:nvPr/>
        </p:nvSpPr>
        <p:spPr>
          <a:xfrm>
            <a:off x="9470431" y="7311480"/>
            <a:ext cx="1612682" cy="369332"/>
          </a:xfrm>
          <a:prstGeom prst="rect">
            <a:avLst/>
          </a:prstGeom>
          <a:noFill/>
        </p:spPr>
        <p:txBody>
          <a:bodyPr wrap="square">
            <a:spAutoFit/>
          </a:bodyPr>
          <a:lstStyle/>
          <a:p>
            <a:pPr algn="ctr"/>
            <a:r>
              <a:rPr lang="sv-SE" b="1">
                <a:solidFill>
                  <a:schemeClr val="tx1"/>
                </a:solidFill>
              </a:rPr>
              <a:t>3.</a:t>
            </a:r>
          </a:p>
        </p:txBody>
      </p:sp>
      <p:sp>
        <p:nvSpPr>
          <p:cNvPr id="17" name="textruta 16">
            <a:extLst>
              <a:ext uri="{FF2B5EF4-FFF2-40B4-BE49-F238E27FC236}">
                <a16:creationId xmlns:a16="http://schemas.microsoft.com/office/drawing/2014/main" id="{BDBE17A5-58A3-74A4-979B-864D61CE2F38}"/>
              </a:ext>
            </a:extLst>
          </p:cNvPr>
          <p:cNvSpPr txBox="1"/>
          <p:nvPr/>
        </p:nvSpPr>
        <p:spPr>
          <a:xfrm>
            <a:off x="12542314" y="7399065"/>
            <a:ext cx="1612682" cy="369332"/>
          </a:xfrm>
          <a:prstGeom prst="rect">
            <a:avLst/>
          </a:prstGeom>
          <a:noFill/>
        </p:spPr>
        <p:txBody>
          <a:bodyPr wrap="square">
            <a:spAutoFit/>
          </a:bodyPr>
          <a:lstStyle/>
          <a:p>
            <a:pPr algn="ctr"/>
            <a:r>
              <a:rPr lang="sv-SE" b="1">
                <a:solidFill>
                  <a:schemeClr val="tx1"/>
                </a:solidFill>
              </a:rPr>
              <a:t>4.</a:t>
            </a:r>
          </a:p>
        </p:txBody>
      </p:sp>
    </p:spTree>
    <p:extLst>
      <p:ext uri="{BB962C8B-B14F-4D97-AF65-F5344CB8AC3E}">
        <p14:creationId xmlns:p14="http://schemas.microsoft.com/office/powerpoint/2010/main" val="185424937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6"/>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4"/>
          <a:srcRect/>
          <a:stretch>
            <a:fillRect/>
          </a:stretch>
        </p:blipFill>
        <p:spPr>
          <a:xfrm>
            <a:off x="0" y="8852181"/>
            <a:ext cx="5715000" cy="1385887"/>
          </a:xfrm>
          <a:prstGeom prst="rect">
            <a:avLst/>
          </a:prstGeom>
        </p:spPr>
      </p:pic>
      <p:grpSp>
        <p:nvGrpSpPr>
          <p:cNvPr id="3" name="Gruppo 2">
            <a:extLst>
              <a:ext uri="{FF2B5EF4-FFF2-40B4-BE49-F238E27FC236}">
                <a16:creationId xmlns:a16="http://schemas.microsoft.com/office/drawing/2014/main" id="{1C29CBCA-BE0A-4EF6-AC69-329941E1DCFD}"/>
              </a:ext>
            </a:extLst>
          </p:cNvPr>
          <p:cNvGrpSpPr/>
          <p:nvPr/>
        </p:nvGrpSpPr>
        <p:grpSpPr>
          <a:xfrm>
            <a:off x="-12" y="138554"/>
            <a:ext cx="18288002" cy="681138"/>
            <a:chOff x="-12" y="138554"/>
            <a:chExt cx="18288002" cy="681138"/>
          </a:xfrm>
        </p:grpSpPr>
        <p:grpSp>
          <p:nvGrpSpPr>
            <p:cNvPr id="2" name="Gruppo 1">
              <a:extLst>
                <a:ext uri="{FF2B5EF4-FFF2-40B4-BE49-F238E27FC236}">
                  <a16:creationId xmlns:a16="http://schemas.microsoft.com/office/drawing/2014/main" id="{24E9C7AF-0093-476F-826C-A2702AB72892}"/>
                </a:ext>
              </a:extLst>
            </p:cNvPr>
            <p:cNvGrpSpPr/>
            <p:nvPr/>
          </p:nvGrpSpPr>
          <p:grpSpPr>
            <a:xfrm>
              <a:off x="0" y="153125"/>
              <a:ext cx="17907000" cy="666567"/>
              <a:chOff x="0" y="153125"/>
              <a:chExt cx="17907000" cy="666567"/>
            </a:xfrm>
          </p:grpSpPr>
          <p:grpSp>
            <p:nvGrpSpPr>
              <p:cNvPr id="16" name="Gruppo 15">
                <a:extLst>
                  <a:ext uri="{FF2B5EF4-FFF2-40B4-BE49-F238E27FC236}">
                    <a16:creationId xmlns:a16="http://schemas.microsoft.com/office/drawing/2014/main" id="{DAC42A46-917D-41AB-8F07-E15E54D0F7D4}"/>
                  </a:ext>
                </a:extLst>
              </p:cNvPr>
              <p:cNvGrpSpPr/>
              <p:nvPr/>
            </p:nvGrpSpPr>
            <p:grpSpPr>
              <a:xfrm>
                <a:off x="0" y="153125"/>
                <a:ext cx="13958844" cy="666567"/>
                <a:chOff x="0" y="153125"/>
                <a:chExt cx="13958844" cy="666567"/>
              </a:xfrm>
            </p:grpSpPr>
            <p:pic>
              <p:nvPicPr>
                <p:cNvPr id="10" name="Picture 10"/>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1" name="TextBox 11"/>
                <p:cNvSpPr txBox="1"/>
                <p:nvPr/>
              </p:nvSpPr>
              <p:spPr>
                <a:xfrm>
                  <a:off x="228600" y="257980"/>
                  <a:ext cx="9296400" cy="456856"/>
                </a:xfrm>
                <a:prstGeom prst="rect">
                  <a:avLst/>
                </a:prstGeom>
              </p:spPr>
              <p:txBody>
                <a:bodyPr wrap="square" lIns="0" tIns="0" rIns="0" bIns="0" rtlCol="0" anchor="t">
                  <a:spAutoFit/>
                </a:bodyPr>
                <a:lstStyle/>
                <a:p>
                  <a:pPr>
                    <a:lnSpc>
                      <a:spcPts val="3919"/>
                    </a:lnSpc>
                    <a:spcBef>
                      <a:spcPct val="0"/>
                    </a:spcBef>
                  </a:pPr>
                  <a:endParaRPr lang="en-US" sz="2800" b="1">
                    <a:solidFill>
                      <a:srgbClr val="FFFFFF"/>
                    </a:solidFill>
                    <a:latin typeface="Arial" panose="020B0604020202020204" pitchFamily="34" charset="0"/>
                    <a:cs typeface="Arial" panose="020B0604020202020204" pitchFamily="34" charset="0"/>
                  </a:endParaRPr>
                </a:p>
              </p:txBody>
            </p:sp>
          </p:grpSp>
          <p:sp>
            <p:nvSpPr>
              <p:cNvPr id="12" name="TextBox 11">
                <a:extLst>
                  <a:ext uri="{FF2B5EF4-FFF2-40B4-BE49-F238E27FC236}">
                    <a16:creationId xmlns:a16="http://schemas.microsoft.com/office/drawing/2014/main" id="{1BD9B5F4-614C-4EB6-8C5B-120A5420CE43}"/>
                  </a:ext>
                </a:extLst>
              </p:cNvPr>
              <p:cNvSpPr txBox="1"/>
              <p:nvPr/>
            </p:nvSpPr>
            <p:spPr>
              <a:xfrm>
                <a:off x="12154296" y="257980"/>
                <a:ext cx="5752704" cy="456856"/>
              </a:xfrm>
              <a:prstGeom prst="rect">
                <a:avLst/>
              </a:prstGeom>
            </p:spPr>
            <p:txBody>
              <a:bodyPr wrap="square" lIns="0" tIns="0" rIns="0" bIns="0" rtlCol="0" anchor="t">
                <a:spAutoFit/>
              </a:bodyPr>
              <a:lstStyle/>
              <a:p>
                <a:pPr algn="r">
                  <a:lnSpc>
                    <a:spcPts val="3919"/>
                  </a:lnSpc>
                  <a:spcBef>
                    <a:spcPct val="0"/>
                  </a:spcBef>
                </a:pPr>
                <a:endParaRPr lang="en-US" sz="2800">
                  <a:solidFill>
                    <a:schemeClr val="tx1">
                      <a:lumMod val="75000"/>
                      <a:lumOff val="25000"/>
                    </a:schemeClr>
                  </a:solidFill>
                  <a:latin typeface="Arial" panose="020B0604020202020204" pitchFamily="34" charset="0"/>
                  <a:cs typeface="Arial" panose="020B0604020202020204" pitchFamily="34" charset="0"/>
                </a:endParaRPr>
              </a:p>
            </p:txBody>
          </p:sp>
        </p:grpSp>
        <p:sp>
          <p:nvSpPr>
            <p:cNvPr id="14" name="Rettangolo 13">
              <a:extLst>
                <a:ext uri="{FF2B5EF4-FFF2-40B4-BE49-F238E27FC236}">
                  <a16:creationId xmlns:a16="http://schemas.microsoft.com/office/drawing/2014/main" id="{55199736-B8B6-4C9A-8BAF-233E07A0CA89}"/>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6" name="TextBox 13">
            <a:extLst>
              <a:ext uri="{FF2B5EF4-FFF2-40B4-BE49-F238E27FC236}">
                <a16:creationId xmlns:a16="http://schemas.microsoft.com/office/drawing/2014/main" id="{6C5B5EBB-50F2-4911-9E8B-3B7B88900CA6}"/>
              </a:ext>
            </a:extLst>
          </p:cNvPr>
          <p:cNvSpPr txBox="1"/>
          <p:nvPr/>
        </p:nvSpPr>
        <p:spPr>
          <a:xfrm>
            <a:off x="228600" y="692944"/>
            <a:ext cx="17678400" cy="1005725"/>
          </a:xfrm>
          <a:prstGeom prst="rect">
            <a:avLst/>
          </a:prstGeom>
        </p:spPr>
        <p:txBody>
          <a:bodyPr wrap="square" lIns="0" tIns="0" rIns="0" bIns="0" rtlCol="0" anchor="t">
            <a:spAutoFit/>
          </a:bodyPr>
          <a:lstStyle/>
          <a:p>
            <a:pPr algn="ctr">
              <a:lnSpc>
                <a:spcPts val="8960"/>
              </a:lnSpc>
              <a:spcBef>
                <a:spcPct val="0"/>
              </a:spcBef>
            </a:pPr>
            <a:r>
              <a:rPr lang="en-US" sz="4800" b="1">
                <a:solidFill>
                  <a:srgbClr val="CC0033"/>
                </a:solidFill>
                <a:latin typeface="+mj-lt"/>
                <a:cs typeface="Arial" panose="020B0604020202020204" pitchFamily="34" charset="0"/>
              </a:rPr>
              <a:t>SILCOTUB Characterization</a:t>
            </a:r>
          </a:p>
        </p:txBody>
      </p:sp>
      <p:sp>
        <p:nvSpPr>
          <p:cNvPr id="36" name="TextBox 35">
            <a:extLst>
              <a:ext uri="{FF2B5EF4-FFF2-40B4-BE49-F238E27FC236}">
                <a16:creationId xmlns:a16="http://schemas.microsoft.com/office/drawing/2014/main" id="{8EE001A1-983E-4290-BA1F-BA4ED3EC9E78}"/>
              </a:ext>
            </a:extLst>
          </p:cNvPr>
          <p:cNvSpPr txBox="1"/>
          <p:nvPr/>
        </p:nvSpPr>
        <p:spPr>
          <a:xfrm>
            <a:off x="170603" y="1949188"/>
            <a:ext cx="6153997" cy="3674724"/>
          </a:xfrm>
          <a:prstGeom prst="rect">
            <a:avLst/>
          </a:prstGeom>
          <a:noFill/>
        </p:spPr>
        <p:txBody>
          <a:bodyPr wrap="square" lIns="91440" tIns="45720" rIns="91440" bIns="45720" anchor="t">
            <a:spAutoFit/>
          </a:bodyPr>
          <a:lstStyle/>
          <a:p>
            <a:pPr marL="285750" marR="721360" indent="-285750" algn="just">
              <a:lnSpc>
                <a:spcPct val="125000"/>
              </a:lnSpc>
              <a:spcBef>
                <a:spcPts val="1200"/>
              </a:spcBef>
              <a:buFont typeface="Arial" panose="020B0604020202020204" pitchFamily="34" charset="0"/>
              <a:buChar char="•"/>
            </a:pPr>
            <a:r>
              <a:rPr lang="en-US" sz="1800">
                <a:effectLst/>
                <a:latin typeface="Arial MT"/>
                <a:ea typeface="Arial MT"/>
                <a:cs typeface="Arial MT"/>
              </a:rPr>
              <a:t>SILCOTUB</a:t>
            </a:r>
            <a:r>
              <a:rPr lang="en-US">
                <a:latin typeface="Arial MT"/>
                <a:ea typeface="Arial MT"/>
                <a:cs typeface="Arial MT"/>
              </a:rPr>
              <a:t> </a:t>
            </a:r>
            <a:r>
              <a:rPr lang="en-US">
                <a:ea typeface="+mn-lt"/>
                <a:cs typeface="+mn-lt"/>
              </a:rPr>
              <a:t>furnace</a:t>
            </a:r>
            <a:r>
              <a:rPr lang="en-US" sz="1800">
                <a:effectLst/>
                <a:ea typeface="+mn-lt"/>
                <a:cs typeface="+mn-lt"/>
              </a:rPr>
              <a:t> </a:t>
            </a:r>
            <a:r>
              <a:rPr lang="en-US" sz="1800" b="1">
                <a:effectLst/>
                <a:latin typeface="Arial MT"/>
                <a:ea typeface="Arial MT"/>
                <a:cs typeface="Arial MT"/>
              </a:rPr>
              <a:t>energy consumption </a:t>
            </a:r>
            <a:r>
              <a:rPr lang="en-US" sz="1800">
                <a:effectLst/>
                <a:latin typeface="Arial MT"/>
                <a:ea typeface="Arial MT"/>
                <a:cs typeface="Arial MT"/>
              </a:rPr>
              <a:t>was characterized by </a:t>
            </a:r>
            <a:r>
              <a:rPr lang="en-US">
                <a:latin typeface="Arial MT"/>
                <a:ea typeface="Arial MT"/>
                <a:cs typeface="Arial MT"/>
              </a:rPr>
              <a:t>92 </a:t>
            </a:r>
            <a:r>
              <a:rPr lang="en-US" sz="1800">
                <a:effectLst/>
                <a:latin typeface="Arial MT"/>
                <a:ea typeface="Arial MT"/>
                <a:cs typeface="Arial MT"/>
              </a:rPr>
              <a:t>% input in form of</a:t>
            </a:r>
            <a:r>
              <a:rPr lang="en-US" sz="1800" spc="5">
                <a:effectLst/>
                <a:latin typeface="Arial MT"/>
                <a:ea typeface="Arial MT"/>
                <a:cs typeface="Arial MT"/>
              </a:rPr>
              <a:t> </a:t>
            </a:r>
            <a:r>
              <a:rPr lang="en-US" sz="1800">
                <a:effectLst/>
                <a:latin typeface="Arial MT"/>
                <a:ea typeface="Arial MT"/>
                <a:cs typeface="Arial MT"/>
              </a:rPr>
              <a:t>electricity and </a:t>
            </a:r>
            <a:r>
              <a:rPr lang="en-US">
                <a:latin typeface="Arial MT"/>
                <a:ea typeface="Arial MT"/>
                <a:cs typeface="Arial MT"/>
              </a:rPr>
              <a:t>8</a:t>
            </a:r>
            <a:r>
              <a:rPr lang="en-US" sz="1800">
                <a:effectLst/>
                <a:latin typeface="Arial MT"/>
                <a:ea typeface="Arial MT"/>
                <a:cs typeface="Arial MT"/>
              </a:rPr>
              <a:t> % in form of natural gas. Since the Romanian power mix includes renewable and</a:t>
            </a:r>
            <a:r>
              <a:rPr lang="en-US" sz="1800" spc="5">
                <a:effectLst/>
                <a:latin typeface="Arial MT"/>
                <a:ea typeface="Arial MT"/>
                <a:cs typeface="Arial MT"/>
              </a:rPr>
              <a:t> </a:t>
            </a:r>
            <a:r>
              <a:rPr lang="en-US" sz="1800">
                <a:effectLst/>
                <a:latin typeface="Arial MT"/>
                <a:ea typeface="Arial MT"/>
                <a:cs typeface="Arial MT"/>
              </a:rPr>
              <a:t>nuclear</a:t>
            </a:r>
            <a:r>
              <a:rPr lang="en-US" sz="1800" spc="-20">
                <a:effectLst/>
                <a:latin typeface="Arial MT"/>
                <a:ea typeface="Arial MT"/>
                <a:cs typeface="Arial MT"/>
              </a:rPr>
              <a:t> </a:t>
            </a:r>
            <a:r>
              <a:rPr lang="en-US" sz="1800">
                <a:effectLst/>
                <a:latin typeface="Arial MT"/>
                <a:ea typeface="Arial MT"/>
                <a:cs typeface="Arial MT"/>
              </a:rPr>
              <a:t>sources</a:t>
            </a:r>
            <a:endParaRPr lang="en-US" sz="1800" spc="-15">
              <a:effectLst/>
              <a:latin typeface="Arial MT"/>
              <a:ea typeface="Arial MT"/>
              <a:cs typeface="Arial MT"/>
            </a:endParaRPr>
          </a:p>
          <a:p>
            <a:pPr marL="285750" marR="721360" indent="-285750" algn="just">
              <a:lnSpc>
                <a:spcPct val="125000"/>
              </a:lnSpc>
              <a:spcBef>
                <a:spcPts val="1200"/>
              </a:spcBef>
              <a:buFont typeface="Arial" panose="020B0604020202020204" pitchFamily="34" charset="0"/>
              <a:buChar char="•"/>
            </a:pPr>
            <a:r>
              <a:rPr lang="en-US">
                <a:latin typeface="Arial MT"/>
                <a:ea typeface="+mn-lt"/>
                <a:cs typeface="+mn-lt"/>
              </a:rPr>
              <a:t>The </a:t>
            </a:r>
            <a:r>
              <a:rPr lang="en-US">
                <a:ea typeface="+mn-lt"/>
                <a:cs typeface="+mn-lt"/>
              </a:rPr>
              <a:t>furnace</a:t>
            </a:r>
            <a:r>
              <a:rPr lang="en-US" sz="1800">
                <a:effectLst/>
                <a:ea typeface="+mn-lt"/>
                <a:cs typeface="+mn-lt"/>
              </a:rPr>
              <a:t> </a:t>
            </a:r>
            <a:r>
              <a:rPr lang="en-US" sz="1800" b="1">
                <a:effectLst/>
                <a:latin typeface="Arial MT"/>
                <a:ea typeface="Arial MT"/>
                <a:cs typeface="Arial MT"/>
              </a:rPr>
              <a:t>GHG</a:t>
            </a:r>
            <a:r>
              <a:rPr lang="en-US" sz="1800" b="1" spc="-20">
                <a:effectLst/>
                <a:latin typeface="Arial MT"/>
                <a:ea typeface="Arial MT"/>
                <a:cs typeface="Arial MT"/>
              </a:rPr>
              <a:t> </a:t>
            </a:r>
            <a:r>
              <a:rPr lang="en-US" sz="1800" b="1">
                <a:effectLst/>
                <a:latin typeface="Arial MT"/>
                <a:ea typeface="Arial MT"/>
                <a:cs typeface="Arial MT"/>
              </a:rPr>
              <a:t>emissions</a:t>
            </a:r>
            <a:r>
              <a:rPr lang="en-US" sz="1800" b="1" spc="-20">
                <a:effectLst/>
                <a:latin typeface="Arial MT"/>
                <a:ea typeface="Arial MT"/>
                <a:cs typeface="Arial MT"/>
              </a:rPr>
              <a:t> </a:t>
            </a:r>
            <a:r>
              <a:rPr lang="en-US" sz="1800">
                <a:effectLst/>
                <a:latin typeface="Arial MT"/>
                <a:ea typeface="Arial MT"/>
                <a:cs typeface="Arial MT"/>
              </a:rPr>
              <a:t>related</a:t>
            </a:r>
            <a:r>
              <a:rPr lang="en-US" sz="1800" spc="-20">
                <a:effectLst/>
                <a:latin typeface="Arial MT"/>
                <a:ea typeface="Arial MT"/>
                <a:cs typeface="Arial MT"/>
              </a:rPr>
              <a:t> </a:t>
            </a:r>
            <a:r>
              <a:rPr lang="en-US" sz="1800">
                <a:effectLst/>
                <a:latin typeface="Arial MT"/>
                <a:ea typeface="Arial MT"/>
                <a:cs typeface="Arial MT"/>
              </a:rPr>
              <a:t>to</a:t>
            </a:r>
            <a:r>
              <a:rPr lang="en-US" sz="1800" spc="-10">
                <a:effectLst/>
                <a:latin typeface="Arial MT"/>
                <a:ea typeface="Arial MT"/>
                <a:cs typeface="Arial MT"/>
              </a:rPr>
              <a:t> </a:t>
            </a:r>
            <a:r>
              <a:rPr lang="en-US" sz="1800">
                <a:effectLst/>
                <a:latin typeface="Arial MT"/>
                <a:ea typeface="Arial MT"/>
                <a:cs typeface="Arial MT"/>
              </a:rPr>
              <a:t>electricity</a:t>
            </a:r>
            <a:r>
              <a:rPr lang="en-US" sz="1800" spc="-20">
                <a:effectLst/>
                <a:latin typeface="Arial MT"/>
                <a:ea typeface="Arial MT"/>
                <a:cs typeface="Arial MT"/>
              </a:rPr>
              <a:t> </a:t>
            </a:r>
            <a:r>
              <a:rPr lang="en-US" sz="1800">
                <a:effectLst/>
                <a:latin typeface="Arial MT"/>
                <a:ea typeface="Arial MT"/>
                <a:cs typeface="Arial MT"/>
              </a:rPr>
              <a:t>are</a:t>
            </a:r>
            <a:r>
              <a:rPr lang="en-US" sz="1800" spc="-20">
                <a:effectLst/>
                <a:latin typeface="Arial MT"/>
                <a:ea typeface="Arial MT"/>
                <a:cs typeface="Arial MT"/>
              </a:rPr>
              <a:t> </a:t>
            </a:r>
            <a:r>
              <a:rPr lang="en-US" sz="1800">
                <a:effectLst/>
                <a:latin typeface="Arial MT"/>
                <a:ea typeface="Arial MT"/>
                <a:cs typeface="Arial MT"/>
              </a:rPr>
              <a:t>lower</a:t>
            </a:r>
            <a:r>
              <a:rPr lang="en-US" sz="1800" spc="-20">
                <a:effectLst/>
                <a:latin typeface="Arial MT"/>
                <a:ea typeface="Arial MT"/>
                <a:cs typeface="Arial MT"/>
              </a:rPr>
              <a:t> </a:t>
            </a:r>
            <a:r>
              <a:rPr lang="en-US" sz="1800">
                <a:effectLst/>
                <a:latin typeface="Arial MT"/>
                <a:ea typeface="Arial MT"/>
                <a:cs typeface="Arial MT"/>
              </a:rPr>
              <a:t>than</a:t>
            </a:r>
            <a:r>
              <a:rPr lang="en-US" sz="1800" spc="-20">
                <a:effectLst/>
                <a:latin typeface="Arial MT"/>
                <a:ea typeface="Arial MT"/>
                <a:cs typeface="Arial MT"/>
              </a:rPr>
              <a:t> </a:t>
            </a:r>
            <a:r>
              <a:rPr lang="en-US" sz="1800">
                <a:effectLst/>
                <a:latin typeface="Arial MT"/>
                <a:ea typeface="Arial MT"/>
                <a:cs typeface="Arial MT"/>
              </a:rPr>
              <a:t>the</a:t>
            </a:r>
            <a:r>
              <a:rPr lang="en-US" sz="1800" spc="-15">
                <a:effectLst/>
                <a:latin typeface="Arial MT"/>
                <a:ea typeface="Arial MT"/>
                <a:cs typeface="Arial MT"/>
              </a:rPr>
              <a:t> </a:t>
            </a:r>
            <a:r>
              <a:rPr lang="en-US" sz="1800">
                <a:effectLst/>
                <a:latin typeface="Arial MT"/>
                <a:ea typeface="Arial MT"/>
                <a:cs typeface="Arial MT"/>
              </a:rPr>
              <a:t>respective</a:t>
            </a:r>
            <a:r>
              <a:rPr lang="en-US" sz="1800" spc="-20">
                <a:effectLst/>
                <a:latin typeface="Arial MT"/>
                <a:ea typeface="Arial MT"/>
                <a:cs typeface="Arial MT"/>
              </a:rPr>
              <a:t> </a:t>
            </a:r>
            <a:r>
              <a:rPr lang="en-US" sz="1800">
                <a:effectLst/>
                <a:latin typeface="Arial MT"/>
                <a:ea typeface="Arial MT"/>
                <a:cs typeface="Arial MT"/>
              </a:rPr>
              <a:t>share</a:t>
            </a:r>
            <a:r>
              <a:rPr lang="en-US" sz="1800" spc="-15">
                <a:effectLst/>
                <a:latin typeface="Arial MT"/>
                <a:ea typeface="Arial MT"/>
                <a:cs typeface="Arial MT"/>
              </a:rPr>
              <a:t> </a:t>
            </a:r>
            <a:r>
              <a:rPr lang="en-US" sz="1800">
                <a:effectLst/>
                <a:latin typeface="Arial MT"/>
                <a:ea typeface="Arial MT"/>
                <a:cs typeface="Arial MT"/>
              </a:rPr>
              <a:t>of</a:t>
            </a:r>
            <a:r>
              <a:rPr lang="en-US" sz="1800" spc="-15">
                <a:effectLst/>
                <a:latin typeface="Arial MT"/>
                <a:ea typeface="Arial MT"/>
                <a:cs typeface="Arial MT"/>
              </a:rPr>
              <a:t> </a:t>
            </a:r>
            <a:r>
              <a:rPr lang="en-US" sz="1800">
                <a:effectLst/>
                <a:latin typeface="Arial MT"/>
                <a:ea typeface="Arial MT"/>
                <a:cs typeface="Arial MT"/>
              </a:rPr>
              <a:t>the</a:t>
            </a:r>
            <a:r>
              <a:rPr lang="en-US" sz="1800" spc="-295">
                <a:effectLst/>
                <a:latin typeface="Arial MT"/>
                <a:ea typeface="Arial MT"/>
                <a:cs typeface="Arial MT"/>
              </a:rPr>
              <a:t> </a:t>
            </a:r>
            <a:r>
              <a:rPr lang="en-US" sz="1800">
                <a:effectLst/>
                <a:latin typeface="Arial MT"/>
                <a:ea typeface="Arial MT"/>
                <a:cs typeface="Arial MT"/>
              </a:rPr>
              <a:t>primary</a:t>
            </a:r>
            <a:r>
              <a:rPr lang="en-US" sz="1800" spc="-40">
                <a:effectLst/>
                <a:latin typeface="Arial MT"/>
                <a:ea typeface="Arial MT"/>
                <a:cs typeface="Arial MT"/>
              </a:rPr>
              <a:t> </a:t>
            </a:r>
            <a:r>
              <a:rPr lang="en-US" sz="1800">
                <a:effectLst/>
                <a:latin typeface="Arial MT"/>
                <a:ea typeface="Arial MT"/>
                <a:cs typeface="Arial MT"/>
              </a:rPr>
              <a:t>energy</a:t>
            </a:r>
            <a:r>
              <a:rPr lang="en-US" sz="1800" spc="-35">
                <a:effectLst/>
                <a:latin typeface="Arial MT"/>
                <a:ea typeface="Arial MT"/>
                <a:cs typeface="Arial MT"/>
              </a:rPr>
              <a:t> </a:t>
            </a:r>
            <a:r>
              <a:rPr lang="en-US" sz="1800">
                <a:effectLst/>
                <a:latin typeface="Arial MT"/>
                <a:ea typeface="Arial MT"/>
                <a:cs typeface="Arial MT"/>
              </a:rPr>
              <a:t>(</a:t>
            </a:r>
            <a:r>
              <a:rPr lang="en-US">
                <a:latin typeface="Arial MT"/>
                <a:ea typeface="Arial MT"/>
                <a:cs typeface="Arial MT"/>
              </a:rPr>
              <a:t>89</a:t>
            </a:r>
            <a:r>
              <a:rPr lang="en-US" spc="-40">
                <a:latin typeface="Arial MT"/>
                <a:ea typeface="Arial MT"/>
                <a:cs typeface="Arial MT"/>
              </a:rPr>
              <a:t> </a:t>
            </a:r>
            <a:r>
              <a:rPr lang="en-US" sz="1800">
                <a:effectLst/>
                <a:latin typeface="Arial MT"/>
                <a:ea typeface="Arial MT"/>
                <a:cs typeface="Arial MT"/>
              </a:rPr>
              <a:t>%</a:t>
            </a:r>
            <a:r>
              <a:rPr lang="en-US" sz="1800" spc="-40">
                <a:effectLst/>
                <a:latin typeface="Arial MT"/>
                <a:ea typeface="Arial MT"/>
                <a:cs typeface="Arial MT"/>
              </a:rPr>
              <a:t> </a:t>
            </a:r>
            <a:r>
              <a:rPr lang="en-US" sz="1800">
                <a:effectLst/>
                <a:latin typeface="Arial MT"/>
                <a:ea typeface="Arial MT"/>
                <a:cs typeface="Arial MT"/>
              </a:rPr>
              <a:t>compared</a:t>
            </a:r>
            <a:r>
              <a:rPr lang="en-US" sz="1800" spc="-40">
                <a:effectLst/>
                <a:latin typeface="Arial MT"/>
                <a:ea typeface="Arial MT"/>
                <a:cs typeface="Arial MT"/>
              </a:rPr>
              <a:t> </a:t>
            </a:r>
            <a:r>
              <a:rPr lang="en-US" sz="1800">
                <a:effectLst/>
                <a:latin typeface="Arial MT"/>
                <a:ea typeface="Arial MT"/>
                <a:cs typeface="Arial MT"/>
              </a:rPr>
              <a:t>to</a:t>
            </a:r>
            <a:r>
              <a:rPr lang="en-US" sz="1800" spc="-35">
                <a:effectLst/>
                <a:latin typeface="Arial MT"/>
                <a:ea typeface="Arial MT"/>
                <a:cs typeface="Arial MT"/>
              </a:rPr>
              <a:t> </a:t>
            </a:r>
            <a:r>
              <a:rPr lang="en-US">
                <a:latin typeface="Arial MT"/>
                <a:ea typeface="Arial MT"/>
                <a:cs typeface="Arial MT"/>
              </a:rPr>
              <a:t>92</a:t>
            </a:r>
            <a:r>
              <a:rPr lang="en-US" spc="-40">
                <a:latin typeface="Arial MT"/>
                <a:ea typeface="Arial MT"/>
                <a:cs typeface="Arial MT"/>
              </a:rPr>
              <a:t> </a:t>
            </a:r>
            <a:r>
              <a:rPr lang="en-US" sz="1800">
                <a:effectLst/>
                <a:latin typeface="Arial MT"/>
                <a:ea typeface="Arial MT"/>
                <a:cs typeface="Arial MT"/>
              </a:rPr>
              <a:t>%).</a:t>
            </a:r>
            <a:r>
              <a:rPr lang="en-US" sz="1800" spc="-50">
                <a:effectLst/>
                <a:latin typeface="Arial MT"/>
                <a:ea typeface="Arial MT"/>
                <a:cs typeface="Arial MT"/>
              </a:rPr>
              <a:t> </a:t>
            </a:r>
            <a:r>
              <a:rPr lang="en-US" sz="1800">
                <a:effectLst/>
                <a:latin typeface="Arial MT"/>
                <a:ea typeface="Arial MT"/>
                <a:cs typeface="Arial MT"/>
              </a:rPr>
              <a:t>The</a:t>
            </a:r>
            <a:r>
              <a:rPr lang="en-US" sz="1800" spc="-30">
                <a:effectLst/>
                <a:latin typeface="Arial MT"/>
                <a:ea typeface="Arial MT"/>
                <a:cs typeface="Arial MT"/>
              </a:rPr>
              <a:t> </a:t>
            </a:r>
            <a:r>
              <a:rPr lang="en-US" sz="1800">
                <a:effectLst/>
                <a:latin typeface="Arial MT"/>
                <a:ea typeface="Arial MT"/>
                <a:cs typeface="Arial MT"/>
              </a:rPr>
              <a:t>natural</a:t>
            </a:r>
            <a:r>
              <a:rPr lang="en-US" sz="1800" spc="-40">
                <a:effectLst/>
                <a:latin typeface="Arial MT"/>
                <a:ea typeface="Arial MT"/>
                <a:cs typeface="Arial MT"/>
              </a:rPr>
              <a:t> </a:t>
            </a:r>
            <a:r>
              <a:rPr lang="en-US" sz="1800">
                <a:effectLst/>
                <a:latin typeface="Arial MT"/>
                <a:ea typeface="Arial MT"/>
                <a:cs typeface="Arial MT"/>
              </a:rPr>
              <a:t>gas</a:t>
            </a:r>
            <a:r>
              <a:rPr lang="en-US" sz="1800" spc="-40">
                <a:effectLst/>
                <a:latin typeface="Arial MT"/>
                <a:ea typeface="Arial MT"/>
                <a:cs typeface="Arial MT"/>
              </a:rPr>
              <a:t> </a:t>
            </a:r>
            <a:r>
              <a:rPr lang="en-US" sz="1800">
                <a:effectLst/>
                <a:latin typeface="Arial MT"/>
                <a:ea typeface="Arial MT"/>
                <a:cs typeface="Arial MT"/>
              </a:rPr>
              <a:t>is</a:t>
            </a:r>
            <a:r>
              <a:rPr lang="en-US" sz="1800" spc="-40">
                <a:effectLst/>
                <a:latin typeface="Arial MT"/>
                <a:ea typeface="Arial MT"/>
                <a:cs typeface="Arial MT"/>
              </a:rPr>
              <a:t> </a:t>
            </a:r>
            <a:r>
              <a:rPr lang="en-US" sz="1800">
                <a:effectLst/>
                <a:latin typeface="Arial MT"/>
                <a:ea typeface="Arial MT"/>
                <a:cs typeface="Arial MT"/>
              </a:rPr>
              <a:t>responsible</a:t>
            </a:r>
            <a:r>
              <a:rPr lang="en-US" sz="1800" spc="-40">
                <a:effectLst/>
                <a:latin typeface="Arial MT"/>
                <a:ea typeface="Arial MT"/>
                <a:cs typeface="Arial MT"/>
              </a:rPr>
              <a:t> </a:t>
            </a:r>
            <a:r>
              <a:rPr lang="en-US" sz="1800">
                <a:effectLst/>
                <a:latin typeface="Arial MT"/>
                <a:ea typeface="Arial MT"/>
                <a:cs typeface="Arial MT"/>
              </a:rPr>
              <a:t>of</a:t>
            </a:r>
            <a:r>
              <a:rPr lang="en-US" sz="1800" spc="-35">
                <a:effectLst/>
                <a:latin typeface="Arial MT"/>
                <a:ea typeface="Arial MT"/>
                <a:cs typeface="Arial MT"/>
              </a:rPr>
              <a:t> </a:t>
            </a:r>
            <a:r>
              <a:rPr lang="en-US">
                <a:latin typeface="Arial MT"/>
                <a:ea typeface="Arial MT"/>
                <a:cs typeface="Arial MT"/>
              </a:rPr>
              <a:t>11</a:t>
            </a:r>
            <a:r>
              <a:rPr lang="en-US" sz="1800" spc="-40">
                <a:effectLst/>
                <a:latin typeface="Arial MT"/>
                <a:ea typeface="Arial MT"/>
                <a:cs typeface="Arial MT"/>
              </a:rPr>
              <a:t> </a:t>
            </a:r>
            <a:r>
              <a:rPr lang="en-US" sz="1800">
                <a:effectLst/>
                <a:latin typeface="Arial MT"/>
                <a:ea typeface="Arial MT"/>
                <a:cs typeface="Arial MT"/>
              </a:rPr>
              <a:t>%</a:t>
            </a:r>
            <a:r>
              <a:rPr lang="en-US" sz="1800" spc="-35">
                <a:effectLst/>
                <a:latin typeface="Arial MT"/>
                <a:ea typeface="Arial MT"/>
                <a:cs typeface="Arial MT"/>
              </a:rPr>
              <a:t> </a:t>
            </a:r>
            <a:r>
              <a:rPr lang="en-US" sz="1800">
                <a:effectLst/>
                <a:latin typeface="Arial MT"/>
                <a:ea typeface="Arial MT"/>
                <a:cs typeface="Arial MT"/>
              </a:rPr>
              <a:t>of</a:t>
            </a:r>
            <a:r>
              <a:rPr lang="en-US" sz="1800" spc="-45">
                <a:effectLst/>
                <a:latin typeface="Arial MT"/>
                <a:ea typeface="Arial MT"/>
                <a:cs typeface="Arial MT"/>
              </a:rPr>
              <a:t> </a:t>
            </a:r>
            <a:r>
              <a:rPr lang="en-US" sz="1800">
                <a:effectLst/>
                <a:latin typeface="Arial MT"/>
                <a:ea typeface="Arial MT"/>
                <a:cs typeface="Arial MT"/>
              </a:rPr>
              <a:t>GHG</a:t>
            </a:r>
            <a:r>
              <a:rPr lang="en-US" sz="1800" spc="-35">
                <a:effectLst/>
                <a:latin typeface="Arial MT"/>
                <a:ea typeface="Arial MT"/>
                <a:cs typeface="Arial MT"/>
              </a:rPr>
              <a:t> </a:t>
            </a:r>
            <a:r>
              <a:rPr lang="en-US" sz="1800">
                <a:effectLst/>
                <a:latin typeface="Arial MT"/>
                <a:ea typeface="Arial MT"/>
                <a:cs typeface="Arial MT"/>
              </a:rPr>
              <a:t>emissions</a:t>
            </a:r>
            <a:r>
              <a:rPr lang="en-US" sz="1800" spc="-295">
                <a:effectLst/>
                <a:latin typeface="Arial MT"/>
                <a:ea typeface="Arial MT"/>
                <a:cs typeface="Arial MT"/>
              </a:rPr>
              <a:t> </a:t>
            </a:r>
            <a:r>
              <a:rPr lang="en-US" sz="1800">
                <a:effectLst/>
                <a:latin typeface="Arial MT"/>
                <a:ea typeface="Arial MT"/>
                <a:cs typeface="Arial MT"/>
              </a:rPr>
              <a:t>of</a:t>
            </a:r>
            <a:r>
              <a:rPr lang="en-US" sz="1800" spc="-5">
                <a:effectLst/>
                <a:latin typeface="Arial MT"/>
                <a:ea typeface="Arial MT"/>
                <a:cs typeface="Arial MT"/>
              </a:rPr>
              <a:t> </a:t>
            </a:r>
            <a:r>
              <a:rPr lang="en-US" sz="1800">
                <a:effectLst/>
                <a:latin typeface="Arial MT"/>
                <a:ea typeface="Arial MT"/>
                <a:cs typeface="Arial MT"/>
              </a:rPr>
              <a:t>the total plant.</a:t>
            </a:r>
            <a:endParaRPr lang="sv-SE" sz="1800">
              <a:effectLst/>
              <a:latin typeface="Arial MT"/>
              <a:ea typeface="Arial MT"/>
              <a:cs typeface="Arial MT"/>
            </a:endParaRPr>
          </a:p>
        </p:txBody>
      </p:sp>
      <p:sp>
        <p:nvSpPr>
          <p:cNvPr id="21" name="TextBox 20">
            <a:extLst>
              <a:ext uri="{FF2B5EF4-FFF2-40B4-BE49-F238E27FC236}">
                <a16:creationId xmlns:a16="http://schemas.microsoft.com/office/drawing/2014/main" id="{4C3D3616-59F0-4323-9ECD-8988E8318C9E}"/>
              </a:ext>
            </a:extLst>
          </p:cNvPr>
          <p:cNvSpPr txBox="1"/>
          <p:nvPr/>
        </p:nvSpPr>
        <p:spPr>
          <a:xfrm>
            <a:off x="10395284" y="9325349"/>
            <a:ext cx="6176211" cy="307777"/>
          </a:xfrm>
          <a:prstGeom prst="rect">
            <a:avLst/>
          </a:prstGeom>
          <a:noFill/>
        </p:spPr>
        <p:txBody>
          <a:bodyPr wrap="square">
            <a:spAutoFit/>
          </a:bodyPr>
          <a:lstStyle/>
          <a:p>
            <a:r>
              <a:rPr lang="en-US" sz="1400" b="0" i="0" u="none" strike="noStrike" baseline="0">
                <a:solidFill>
                  <a:srgbClr val="000000"/>
                </a:solidFill>
              </a:rPr>
              <a:t>*Based on Commission Delegated Regulation (EU) 2019/331. </a:t>
            </a:r>
            <a:endParaRPr lang="sv-SE" sz="1400"/>
          </a:p>
        </p:txBody>
      </p:sp>
      <p:graphicFrame>
        <p:nvGraphicFramePr>
          <p:cNvPr id="24" name="Table 23">
            <a:extLst>
              <a:ext uri="{FF2B5EF4-FFF2-40B4-BE49-F238E27FC236}">
                <a16:creationId xmlns:a16="http://schemas.microsoft.com/office/drawing/2014/main" id="{FAEB2D1D-B585-4104-94CE-B8B8748A18E3}"/>
              </a:ext>
            </a:extLst>
          </p:cNvPr>
          <p:cNvGraphicFramePr>
            <a:graphicFrameLocks noGrp="1"/>
          </p:cNvGraphicFramePr>
          <p:nvPr>
            <p:extLst>
              <p:ext uri="{D42A27DB-BD31-4B8C-83A1-F6EECF244321}">
                <p14:modId xmlns:p14="http://schemas.microsoft.com/office/powerpoint/2010/main" val="801703916"/>
              </p:ext>
            </p:extLst>
          </p:nvPr>
        </p:nvGraphicFramePr>
        <p:xfrm>
          <a:off x="2803922" y="5913222"/>
          <a:ext cx="12470322" cy="2972720"/>
        </p:xfrm>
        <a:graphic>
          <a:graphicData uri="http://schemas.openxmlformats.org/drawingml/2006/table">
            <a:tbl>
              <a:tblPr firstRow="1" firstCol="1" lastRow="1" lastCol="1" bandRow="1" bandCol="1">
                <a:tableStyleId>{72833802-FEF1-4C79-8D5D-14CF1EAF98D9}</a:tableStyleId>
              </a:tblPr>
              <a:tblGrid>
                <a:gridCol w="4380866">
                  <a:extLst>
                    <a:ext uri="{9D8B030D-6E8A-4147-A177-3AD203B41FA5}">
                      <a16:colId xmlns:a16="http://schemas.microsoft.com/office/drawing/2014/main" val="3203473643"/>
                    </a:ext>
                  </a:extLst>
                </a:gridCol>
                <a:gridCol w="3245545">
                  <a:extLst>
                    <a:ext uri="{9D8B030D-6E8A-4147-A177-3AD203B41FA5}">
                      <a16:colId xmlns:a16="http://schemas.microsoft.com/office/drawing/2014/main" val="1554325551"/>
                    </a:ext>
                  </a:extLst>
                </a:gridCol>
                <a:gridCol w="4843911">
                  <a:extLst>
                    <a:ext uri="{9D8B030D-6E8A-4147-A177-3AD203B41FA5}">
                      <a16:colId xmlns:a16="http://schemas.microsoft.com/office/drawing/2014/main" val="1838484279"/>
                    </a:ext>
                  </a:extLst>
                </a:gridCol>
              </a:tblGrid>
              <a:tr h="664494">
                <a:tc>
                  <a:txBody>
                    <a:bodyPr/>
                    <a:lstStyle/>
                    <a:p>
                      <a:pPr indent="0" algn="ctr">
                        <a:lnSpc>
                          <a:spcPct val="100000"/>
                        </a:lnSpc>
                        <a:spcBef>
                          <a:spcPts val="55"/>
                        </a:spcBef>
                      </a:pPr>
                      <a:r>
                        <a:rPr lang="en-US" sz="2000" b="1" kern="1200">
                          <a:solidFill>
                            <a:schemeClr val="tx1"/>
                          </a:solidFill>
                          <a:effectLst/>
                        </a:rPr>
                        <a:t> KPI</a:t>
                      </a:r>
                      <a:endParaRPr lang="sv-SE" sz="2000" b="1" kern="1200">
                        <a:solidFill>
                          <a:schemeClr val="tx1"/>
                        </a:solidFill>
                        <a:effectLst/>
                        <a:latin typeface="+mj-lt"/>
                        <a:ea typeface="+mn-ea"/>
                        <a:cs typeface="+mn-cs"/>
                      </a:endParaRP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solidFill>
                  </a:tcPr>
                </a:tc>
                <a:tc>
                  <a:txBody>
                    <a:bodyPr/>
                    <a:lstStyle/>
                    <a:p>
                      <a:pPr indent="0" algn="ctr">
                        <a:lnSpc>
                          <a:spcPct val="100000"/>
                        </a:lnSpc>
                        <a:spcBef>
                          <a:spcPts val="15"/>
                        </a:spcBef>
                      </a:pPr>
                      <a:r>
                        <a:rPr lang="en-US" sz="2000" b="1" kern="1200">
                          <a:solidFill>
                            <a:schemeClr val="tx1"/>
                          </a:solidFill>
                          <a:effectLst/>
                        </a:rPr>
                        <a:t>Silcotub'</a:t>
                      </a:r>
                      <a:r>
                        <a:rPr lang="en-US" sz="2000" b="1" i="0" u="none" strike="noStrike" kern="1200" noProof="0">
                          <a:solidFill>
                            <a:schemeClr val="tx1"/>
                          </a:solidFill>
                          <a:effectLst/>
                          <a:latin typeface="Arial"/>
                        </a:rPr>
                        <a:t>s EAF </a:t>
                      </a:r>
                      <a:r>
                        <a:rPr lang="en-US" sz="2000" b="1" kern="1200">
                          <a:solidFill>
                            <a:schemeClr val="tx1"/>
                          </a:solidFill>
                          <a:effectLst/>
                        </a:rPr>
                        <a:t>value</a:t>
                      </a:r>
                      <a:endParaRPr lang="sv-SE" sz="2000" b="1" kern="1200">
                        <a:solidFill>
                          <a:schemeClr val="tx1"/>
                        </a:solidFill>
                        <a:effectLst/>
                        <a:latin typeface="+mj-lt"/>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solidFill>
                  </a:tcPr>
                </a:tc>
                <a:tc>
                  <a:txBody>
                    <a:bodyPr/>
                    <a:lstStyle/>
                    <a:p>
                      <a:pPr lvl="0" indent="0" algn="ctr">
                        <a:lnSpc>
                          <a:spcPct val="100000"/>
                        </a:lnSpc>
                        <a:spcBef>
                          <a:spcPts val="15"/>
                        </a:spcBef>
                        <a:buNone/>
                      </a:pPr>
                      <a:r>
                        <a:rPr lang="sv-SE" sz="2000" b="1" i="0" u="none" strike="noStrike" kern="1200" noProof="0">
                          <a:solidFill>
                            <a:schemeClr val="tx1"/>
                          </a:solidFill>
                          <a:effectLst/>
                          <a:latin typeface="Arial"/>
                        </a:rPr>
                        <a:t>Steel sector (EAF) average value*</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solidFill>
                  </a:tcPr>
                </a:tc>
                <a:extLst>
                  <a:ext uri="{0D108BD9-81ED-4DB2-BD59-A6C34878D82A}">
                    <a16:rowId xmlns:a16="http://schemas.microsoft.com/office/drawing/2014/main" val="3965927615"/>
                  </a:ext>
                </a:extLst>
              </a:tr>
              <a:tr h="509273">
                <a:tc>
                  <a:txBody>
                    <a:bodyPr/>
                    <a:lstStyle/>
                    <a:p>
                      <a:pPr indent="0" algn="ctr">
                        <a:lnSpc>
                          <a:spcPct val="100000"/>
                        </a:lnSpc>
                        <a:spcBef>
                          <a:spcPts val="30"/>
                        </a:spcBef>
                      </a:pPr>
                      <a:r>
                        <a:rPr lang="en-US" sz="2000" b="1" kern="1200" dirty="0">
                          <a:solidFill>
                            <a:schemeClr val="tx1"/>
                          </a:solidFill>
                          <a:effectLst/>
                        </a:rPr>
                        <a:t>Primary energy requirements</a:t>
                      </a:r>
                      <a:endParaRPr lang="sv-SE" sz="2000" b="1" kern="1200" dirty="0">
                        <a:solidFill>
                          <a:schemeClr val="tx1"/>
                        </a:solidFill>
                        <a:effectLst/>
                        <a:latin typeface="+mj-lt"/>
                        <a:ea typeface="+mn-ea"/>
                        <a:cs typeface="+mn-cs"/>
                      </a:endParaRP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R="58420" indent="0" algn="ctr">
                        <a:lnSpc>
                          <a:spcPct val="100000"/>
                        </a:lnSpc>
                        <a:spcBef>
                          <a:spcPts val="310"/>
                        </a:spcBef>
                        <a:spcAft>
                          <a:spcPts val="0"/>
                        </a:spcAft>
                      </a:pPr>
                      <a:r>
                        <a:rPr lang="en-US" sz="2000" b="0" kern="1200">
                          <a:solidFill>
                            <a:schemeClr val="tx1"/>
                          </a:solidFill>
                          <a:effectLst/>
                        </a:rPr>
                        <a:t>0.08 toe/t</a:t>
                      </a:r>
                      <a:endParaRPr lang="sv-SE" sz="2000" b="0" kern="1200">
                        <a:solidFill>
                          <a:schemeClr val="tx1"/>
                        </a:solidFill>
                        <a:effectLst/>
                        <a:latin typeface="+mj-lt"/>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R="58420" indent="0" algn="ctr">
                        <a:lnSpc>
                          <a:spcPct val="100000"/>
                        </a:lnSpc>
                        <a:spcBef>
                          <a:spcPts val="310"/>
                        </a:spcBef>
                        <a:spcAft>
                          <a:spcPts val="0"/>
                        </a:spcAft>
                      </a:pPr>
                      <a:r>
                        <a:rPr lang="sv-SE" sz="2000" b="0"/>
                        <a: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41460493"/>
                  </a:ext>
                </a:extLst>
              </a:tr>
              <a:tr h="524430">
                <a:tc>
                  <a:txBody>
                    <a:bodyPr/>
                    <a:lstStyle/>
                    <a:p>
                      <a:pPr algn="ctr"/>
                      <a:r>
                        <a:rPr lang="sv-SE" sz="1600"/>
                        <a:t> </a:t>
                      </a:r>
                      <a:r>
                        <a:rPr lang="sv-SE" sz="2000" b="1" kern="1200">
                          <a:solidFill>
                            <a:schemeClr val="tx1"/>
                          </a:solidFill>
                          <a:effectLst/>
                          <a:latin typeface="+mn-lt"/>
                          <a:ea typeface="+mn-ea"/>
                          <a:cs typeface="+mn-cs"/>
                        </a:rPr>
                        <a:t>Electricity demand</a:t>
                      </a: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sv-SE" sz="2000" b="0" kern="1200">
                          <a:solidFill>
                            <a:schemeClr val="tx1"/>
                          </a:solidFill>
                          <a:effectLst/>
                          <a:latin typeface="+mn-lt"/>
                          <a:ea typeface="+mn-ea"/>
                          <a:cs typeface="+mn-cs"/>
                        </a:rPr>
                        <a:t>0.38 MWh/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rtl="0" eaLnBrk="1" latinLnBrk="0" hangingPunct="1"/>
                      <a:r>
                        <a:rPr lang="sv-SE" sz="2000" b="0" kern="1200">
                          <a:solidFill>
                            <a:schemeClr val="tx1"/>
                          </a:solidFill>
                          <a:effectLst/>
                          <a:latin typeface="+mn-lt"/>
                          <a:ea typeface="+mn-ea"/>
                          <a:cs typeface="+mn-cs"/>
                        </a:rPr>
                        <a: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40504214"/>
                  </a:ext>
                </a:extLst>
              </a:tr>
              <a:tr h="524430">
                <a:tc>
                  <a:txBody>
                    <a:bodyPr/>
                    <a:lstStyle/>
                    <a:p>
                      <a:pPr algn="ctr"/>
                      <a:r>
                        <a:rPr lang="sv-SE" sz="2000" b="1" kern="1200" dirty="0" err="1">
                          <a:solidFill>
                            <a:schemeClr val="tx1"/>
                          </a:solidFill>
                          <a:effectLst/>
                          <a:latin typeface="+mn-lt"/>
                          <a:ea typeface="+mn-ea"/>
                          <a:cs typeface="+mn-cs"/>
                        </a:rPr>
                        <a:t>Natural</a:t>
                      </a:r>
                      <a:r>
                        <a:rPr lang="sv-SE" sz="2000" b="1" kern="1200" dirty="0">
                          <a:solidFill>
                            <a:schemeClr val="tx1"/>
                          </a:solidFill>
                          <a:effectLst/>
                          <a:latin typeface="+mn-lt"/>
                          <a:ea typeface="+mn-ea"/>
                          <a:cs typeface="+mn-cs"/>
                        </a:rPr>
                        <a:t> gas </a:t>
                      </a:r>
                      <a:r>
                        <a:rPr lang="sv-SE" sz="2000" b="1" kern="1200" dirty="0" err="1">
                          <a:solidFill>
                            <a:schemeClr val="tx1"/>
                          </a:solidFill>
                          <a:effectLst/>
                          <a:latin typeface="+mn-lt"/>
                          <a:ea typeface="+mn-ea"/>
                          <a:cs typeface="+mn-cs"/>
                        </a:rPr>
                        <a:t>demand</a:t>
                      </a:r>
                      <a:endParaRPr lang="sv-SE" sz="2000" b="1" kern="1200" dirty="0">
                        <a:solidFill>
                          <a:schemeClr val="tx1"/>
                        </a:solidFill>
                        <a:effectLst/>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sv-SE" sz="2000" b="0" kern="1200">
                          <a:solidFill>
                            <a:schemeClr val="tx1"/>
                          </a:solidFill>
                          <a:effectLst/>
                          <a:latin typeface="+mn-lt"/>
                          <a:ea typeface="+mn-ea"/>
                          <a:cs typeface="+mn-cs"/>
                        </a:rPr>
                        <a:t>0.07 MWh/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rtl="0" eaLnBrk="1" latinLnBrk="0" hangingPunct="1"/>
                      <a:r>
                        <a:rPr lang="sv-SE" sz="2000" b="0" kern="1200">
                          <a:solidFill>
                            <a:schemeClr val="tx1"/>
                          </a:solidFill>
                          <a:effectLst/>
                          <a:latin typeface="+mn-lt"/>
                          <a:ea typeface="+mn-ea"/>
                          <a:cs typeface="+mn-cs"/>
                        </a:rPr>
                        <a: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42484635"/>
                  </a:ext>
                </a:extLst>
              </a:tr>
              <a:tr h="750093">
                <a:tc>
                  <a:txBody>
                    <a:bodyPr/>
                    <a:lstStyle/>
                    <a:p>
                      <a:pPr indent="0" algn="ctr">
                        <a:lnSpc>
                          <a:spcPct val="100000"/>
                        </a:lnSpc>
                        <a:spcBef>
                          <a:spcPts val="310"/>
                        </a:spcBef>
                      </a:pPr>
                      <a:r>
                        <a:rPr lang="en-US" sz="2000" b="1" kern="1200">
                          <a:solidFill>
                            <a:schemeClr val="tx1"/>
                          </a:solidFill>
                          <a:effectLst/>
                        </a:rPr>
                        <a:t> Environmental performance</a:t>
                      </a:r>
                      <a:endParaRPr lang="sv-SE" sz="2000" b="1" kern="1200">
                        <a:solidFill>
                          <a:schemeClr val="tx1"/>
                        </a:solidFill>
                        <a:effectLst/>
                        <a:latin typeface="+mj-lt"/>
                        <a:ea typeface="+mn-ea"/>
                        <a:cs typeface="+mn-cs"/>
                      </a:endParaRP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indent="0" algn="ctr">
                        <a:lnSpc>
                          <a:spcPct val="100000"/>
                        </a:lnSpc>
                        <a:spcBef>
                          <a:spcPts val="310"/>
                        </a:spcBef>
                      </a:pPr>
                      <a:r>
                        <a:rPr lang="en-US" sz="2000" b="0" kern="1200">
                          <a:solidFill>
                            <a:schemeClr val="tx1"/>
                          </a:solidFill>
                          <a:effectLst/>
                        </a:rPr>
                        <a:t>0.13 tCO2eq/t</a:t>
                      </a:r>
                      <a:endParaRPr lang="sv-SE" sz="2000" b="0" kern="1200">
                        <a:solidFill>
                          <a:schemeClr val="tx1"/>
                        </a:solidFill>
                        <a:effectLst/>
                        <a:latin typeface="+mj-lt"/>
                        <a:ea typeface="+mn-ea"/>
                        <a:cs typeface="+mn-cs"/>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indent="0" algn="ctr">
                        <a:lnSpc>
                          <a:spcPct val="100000"/>
                        </a:lnSpc>
                        <a:spcBef>
                          <a:spcPts val="310"/>
                        </a:spcBef>
                      </a:pPr>
                      <a:r>
                        <a:rPr lang="sv-SE" sz="2000" b="0" kern="1200" dirty="0">
                          <a:solidFill>
                            <a:schemeClr val="tx1"/>
                          </a:solidFill>
                          <a:effectLst/>
                          <a:latin typeface="+mj-lt"/>
                          <a:ea typeface="+mn-ea"/>
                          <a:cs typeface="+mn-cs"/>
                        </a:rPr>
                        <a:t>0.238 tCO2eq/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54549919"/>
                  </a:ext>
                </a:extLst>
              </a:tr>
            </a:tbl>
          </a:graphicData>
        </a:graphic>
      </p:graphicFrame>
      <p:sp>
        <p:nvSpPr>
          <p:cNvPr id="8" name="TextBox 7">
            <a:extLst>
              <a:ext uri="{FF2B5EF4-FFF2-40B4-BE49-F238E27FC236}">
                <a16:creationId xmlns:a16="http://schemas.microsoft.com/office/drawing/2014/main" id="{9F7D247C-1BF9-829F-676D-2A9EA17BBC50}"/>
              </a:ext>
            </a:extLst>
          </p:cNvPr>
          <p:cNvSpPr txBox="1"/>
          <p:nvPr/>
        </p:nvSpPr>
        <p:spPr>
          <a:xfrm>
            <a:off x="6137974" y="5133512"/>
            <a:ext cx="10958362" cy="369332"/>
          </a:xfrm>
          <a:prstGeom prst="rect">
            <a:avLst/>
          </a:prstGeom>
          <a:noFill/>
        </p:spPr>
        <p:txBody>
          <a:bodyPr wrap="square" lIns="91440" tIns="45720" rIns="91440" bIns="45720" anchor="t">
            <a:spAutoFit/>
          </a:bodyPr>
          <a:lstStyle/>
          <a:p>
            <a:r>
              <a:rPr lang="en-US" kern="100">
                <a:solidFill>
                  <a:srgbClr val="404040"/>
                </a:solidFill>
                <a:latin typeface="Arial (body)"/>
              </a:rPr>
              <a:t>Primary energy consumption and GHG emission of </a:t>
            </a:r>
            <a:r>
              <a:rPr lang="en-US" kern="100">
                <a:ea typeface="+mn-lt"/>
                <a:cs typeface="+mn-lt"/>
              </a:rPr>
              <a:t>SILCOTUB </a:t>
            </a:r>
            <a:r>
              <a:rPr lang="en-US" kern="100">
                <a:solidFill>
                  <a:srgbClr val="404040"/>
                </a:solidFill>
                <a:latin typeface="Arial (body)"/>
              </a:rPr>
              <a:t>’s Electric Arc Furnace (EAF) in </a:t>
            </a:r>
            <a:r>
              <a:rPr lang="en-US" kern="100" err="1">
                <a:ea typeface="+mn-lt"/>
                <a:cs typeface="+mn-lt"/>
              </a:rPr>
              <a:t>Zalau</a:t>
            </a:r>
            <a:r>
              <a:rPr lang="en-US" kern="100">
                <a:ea typeface="+mn-lt"/>
                <a:cs typeface="+mn-lt"/>
              </a:rPr>
              <a:t> </a:t>
            </a:r>
            <a:r>
              <a:rPr lang="en-US" sz="1800">
                <a:effectLst/>
                <a:latin typeface="Arial MT"/>
                <a:ea typeface="Arial MT"/>
                <a:cs typeface="Arial MT"/>
              </a:rPr>
              <a:t>.</a:t>
            </a:r>
            <a:endParaRPr lang="sv-SE" kern="100">
              <a:solidFill>
                <a:srgbClr val="404040"/>
              </a:solidFill>
              <a:latin typeface="Arial (body)"/>
            </a:endParaRPr>
          </a:p>
        </p:txBody>
      </p:sp>
      <p:pic>
        <p:nvPicPr>
          <p:cNvPr id="9" name="Picture 12" descr="Chart, pie chart&#10;&#10;Description automatically generated">
            <a:extLst>
              <a:ext uri="{FF2B5EF4-FFF2-40B4-BE49-F238E27FC236}">
                <a16:creationId xmlns:a16="http://schemas.microsoft.com/office/drawing/2014/main" id="{05B0C9B9-4259-ED97-B369-DAEEF3E66F50}"/>
              </a:ext>
            </a:extLst>
          </p:cNvPr>
          <p:cNvPicPr>
            <a:picLocks noChangeAspect="1"/>
          </p:cNvPicPr>
          <p:nvPr/>
        </p:nvPicPr>
        <p:blipFill>
          <a:blip r:embed="rId6"/>
          <a:stretch>
            <a:fillRect/>
          </a:stretch>
        </p:blipFill>
        <p:spPr>
          <a:xfrm>
            <a:off x="6950869" y="2152650"/>
            <a:ext cx="9601200" cy="2874168"/>
          </a:xfrm>
          <a:prstGeom prst="rect">
            <a:avLst/>
          </a:prstGeom>
        </p:spPr>
      </p:pic>
      <p:sp>
        <p:nvSpPr>
          <p:cNvPr id="22" name="TextBox 21">
            <a:extLst>
              <a:ext uri="{FF2B5EF4-FFF2-40B4-BE49-F238E27FC236}">
                <a16:creationId xmlns:a16="http://schemas.microsoft.com/office/drawing/2014/main" id="{20F5594A-08EA-4168-B729-C7AD362F1083}"/>
              </a:ext>
            </a:extLst>
          </p:cNvPr>
          <p:cNvSpPr txBox="1"/>
          <p:nvPr/>
        </p:nvSpPr>
        <p:spPr>
          <a:xfrm>
            <a:off x="15780662" y="6813932"/>
            <a:ext cx="1581665" cy="1200329"/>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wrap="square" rtlCol="0">
            <a:spAutoFit/>
          </a:bodyPr>
          <a:lstStyle/>
          <a:p>
            <a:pPr algn="ctr"/>
            <a:r>
              <a:rPr lang="sv-SE" b="1"/>
              <a:t>The </a:t>
            </a:r>
            <a:r>
              <a:rPr lang="sv-SE" b="1" err="1"/>
              <a:t>tones</a:t>
            </a:r>
            <a:r>
              <a:rPr lang="sv-SE" b="1"/>
              <a:t> </a:t>
            </a:r>
            <a:r>
              <a:rPr lang="sv-SE" b="1" err="1"/>
              <a:t>refer</a:t>
            </a:r>
            <a:r>
              <a:rPr lang="sv-SE" b="1"/>
              <a:t> to EAF </a:t>
            </a:r>
            <a:r>
              <a:rPr lang="sv-SE" b="1" err="1"/>
              <a:t>carbon</a:t>
            </a:r>
            <a:r>
              <a:rPr lang="sv-SE" b="1"/>
              <a:t> </a:t>
            </a:r>
            <a:r>
              <a:rPr lang="sv-SE" b="1" err="1"/>
              <a:t>steel</a:t>
            </a:r>
            <a:r>
              <a:rPr lang="sv-SE" b="1"/>
              <a:t> </a:t>
            </a:r>
            <a:r>
              <a:rPr lang="sv-SE" b="1" err="1"/>
              <a:t>produced</a:t>
            </a:r>
            <a:endParaRPr lang="sv-SE" b="1"/>
          </a:p>
        </p:txBody>
      </p:sp>
    </p:spTree>
    <p:extLst>
      <p:ext uri="{BB962C8B-B14F-4D97-AF65-F5344CB8AC3E}">
        <p14:creationId xmlns:p14="http://schemas.microsoft.com/office/powerpoint/2010/main" val="6777452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uppo 16">
            <a:extLst>
              <a:ext uri="{FF2B5EF4-FFF2-40B4-BE49-F238E27FC236}">
                <a16:creationId xmlns:a16="http://schemas.microsoft.com/office/drawing/2014/main" id="{7F05FA2D-BA17-4C4E-9DAE-36CC81DE9BAA}"/>
              </a:ext>
            </a:extLst>
          </p:cNvPr>
          <p:cNvGrpSpPr/>
          <p:nvPr/>
        </p:nvGrpSpPr>
        <p:grpSpPr>
          <a:xfrm>
            <a:off x="4329156" y="9695736"/>
            <a:ext cx="13958844" cy="666567"/>
            <a:chOff x="4329156" y="9649198"/>
            <a:chExt cx="13958844" cy="666567"/>
          </a:xfrm>
        </p:grpSpPr>
        <p:pic>
          <p:nvPicPr>
            <p:cNvPr id="5" name="Picture 12">
              <a:extLst>
                <a:ext uri="{FF2B5EF4-FFF2-40B4-BE49-F238E27FC236}">
                  <a16:creationId xmlns:a16="http://schemas.microsoft.com/office/drawing/2014/main" id="{00810EF5-3949-4698-A5DE-428CD380175F}"/>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6" name="TextBox 16">
              <a:extLst>
                <a:ext uri="{FF2B5EF4-FFF2-40B4-BE49-F238E27FC236}">
                  <a16:creationId xmlns:a16="http://schemas.microsoft.com/office/drawing/2014/main" id="{EDDD1531-1BDA-4725-B6A3-364F4B7CF76A}"/>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pic>
        <p:nvPicPr>
          <p:cNvPr id="7" name="Picture 12">
            <a:extLst>
              <a:ext uri="{FF2B5EF4-FFF2-40B4-BE49-F238E27FC236}">
                <a16:creationId xmlns:a16="http://schemas.microsoft.com/office/drawing/2014/main" id="{52C35A30-8BA0-4714-8363-E6CE748BA2C3}"/>
              </a:ext>
            </a:extLst>
          </p:cNvPr>
          <p:cNvPicPr>
            <a:picLocks noChangeAspect="1"/>
          </p:cNvPicPr>
          <p:nvPr/>
        </p:nvPicPr>
        <p:blipFill>
          <a:blip r:embed="rId4"/>
          <a:srcRect/>
          <a:stretch>
            <a:fillRect/>
          </a:stretch>
        </p:blipFill>
        <p:spPr>
          <a:xfrm>
            <a:off x="0" y="9298205"/>
            <a:ext cx="4077505" cy="988795"/>
          </a:xfrm>
          <a:prstGeom prst="rect">
            <a:avLst/>
          </a:prstGeom>
        </p:spPr>
      </p:pic>
      <p:grpSp>
        <p:nvGrpSpPr>
          <p:cNvPr id="8" name="Gruppo 2">
            <a:extLst>
              <a:ext uri="{FF2B5EF4-FFF2-40B4-BE49-F238E27FC236}">
                <a16:creationId xmlns:a16="http://schemas.microsoft.com/office/drawing/2014/main" id="{C9C93A65-4067-4ACC-B2C9-8C15277024E4}"/>
              </a:ext>
            </a:extLst>
          </p:cNvPr>
          <p:cNvGrpSpPr/>
          <p:nvPr/>
        </p:nvGrpSpPr>
        <p:grpSpPr>
          <a:xfrm>
            <a:off x="-12" y="138554"/>
            <a:ext cx="18288002" cy="681138"/>
            <a:chOff x="-12" y="138554"/>
            <a:chExt cx="18288002" cy="681138"/>
          </a:xfrm>
        </p:grpSpPr>
        <p:grpSp>
          <p:nvGrpSpPr>
            <p:cNvPr id="9" name="Gruppo 1">
              <a:extLst>
                <a:ext uri="{FF2B5EF4-FFF2-40B4-BE49-F238E27FC236}">
                  <a16:creationId xmlns:a16="http://schemas.microsoft.com/office/drawing/2014/main" id="{A943E672-738C-4FE3-BD35-ACD7A4E4D95E}"/>
                </a:ext>
              </a:extLst>
            </p:cNvPr>
            <p:cNvGrpSpPr/>
            <p:nvPr/>
          </p:nvGrpSpPr>
          <p:grpSpPr>
            <a:xfrm>
              <a:off x="0" y="153125"/>
              <a:ext cx="17907000" cy="666567"/>
              <a:chOff x="0" y="153125"/>
              <a:chExt cx="17907000" cy="666567"/>
            </a:xfrm>
          </p:grpSpPr>
          <p:grpSp>
            <p:nvGrpSpPr>
              <p:cNvPr id="11" name="Gruppo 15">
                <a:extLst>
                  <a:ext uri="{FF2B5EF4-FFF2-40B4-BE49-F238E27FC236}">
                    <a16:creationId xmlns:a16="http://schemas.microsoft.com/office/drawing/2014/main" id="{10037738-5D9A-4755-B52F-99B1FA543ED3}"/>
                  </a:ext>
                </a:extLst>
              </p:cNvPr>
              <p:cNvGrpSpPr/>
              <p:nvPr/>
            </p:nvGrpSpPr>
            <p:grpSpPr>
              <a:xfrm>
                <a:off x="0" y="153125"/>
                <a:ext cx="13958844" cy="666567"/>
                <a:chOff x="0" y="153125"/>
                <a:chExt cx="13958844" cy="666567"/>
              </a:xfrm>
            </p:grpSpPr>
            <p:pic>
              <p:nvPicPr>
                <p:cNvPr id="13" name="Picture 10">
                  <a:extLst>
                    <a:ext uri="{FF2B5EF4-FFF2-40B4-BE49-F238E27FC236}">
                      <a16:creationId xmlns:a16="http://schemas.microsoft.com/office/drawing/2014/main" id="{30234B5E-6FF9-499F-817A-9B69F1CC9911}"/>
                    </a:ext>
                  </a:extLst>
                </p:cNvPr>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4" name="TextBox 11">
                  <a:extLst>
                    <a:ext uri="{FF2B5EF4-FFF2-40B4-BE49-F238E27FC236}">
                      <a16:creationId xmlns:a16="http://schemas.microsoft.com/office/drawing/2014/main" id="{E5F3FE84-033A-4279-AF93-ABD80EC40550}"/>
                    </a:ext>
                  </a:extLst>
                </p:cNvPr>
                <p:cNvSpPr txBox="1"/>
                <p:nvPr/>
              </p:nvSpPr>
              <p:spPr>
                <a:xfrm>
                  <a:off x="228600" y="257980"/>
                  <a:ext cx="9296400" cy="456856"/>
                </a:xfrm>
                <a:prstGeom prst="rect">
                  <a:avLst/>
                </a:prstGeom>
              </p:spPr>
              <p:txBody>
                <a:bodyPr wrap="square" lIns="0" tIns="0" rIns="0" bIns="0" rtlCol="0" anchor="t">
                  <a:spAutoFit/>
                </a:bodyPr>
                <a:lstStyle/>
                <a:p>
                  <a:pPr>
                    <a:lnSpc>
                      <a:spcPts val="3919"/>
                    </a:lnSpc>
                    <a:spcBef>
                      <a:spcPct val="0"/>
                    </a:spcBef>
                  </a:pPr>
                  <a:endParaRPr lang="en-US" sz="2800" b="1">
                    <a:solidFill>
                      <a:srgbClr val="FFFFFF"/>
                    </a:solidFill>
                    <a:latin typeface="Arial" panose="020B0604020202020204" pitchFamily="34" charset="0"/>
                    <a:cs typeface="Arial" panose="020B0604020202020204" pitchFamily="34" charset="0"/>
                  </a:endParaRPr>
                </a:p>
              </p:txBody>
            </p:sp>
          </p:grpSp>
          <p:sp>
            <p:nvSpPr>
              <p:cNvPr id="12" name="TextBox 11">
                <a:extLst>
                  <a:ext uri="{FF2B5EF4-FFF2-40B4-BE49-F238E27FC236}">
                    <a16:creationId xmlns:a16="http://schemas.microsoft.com/office/drawing/2014/main" id="{7B4365DB-7AB3-494A-91B9-B5781D39B67B}"/>
                  </a:ext>
                </a:extLst>
              </p:cNvPr>
              <p:cNvSpPr txBox="1"/>
              <p:nvPr/>
            </p:nvSpPr>
            <p:spPr>
              <a:xfrm>
                <a:off x="12154296" y="257980"/>
                <a:ext cx="5752704" cy="456856"/>
              </a:xfrm>
              <a:prstGeom prst="rect">
                <a:avLst/>
              </a:prstGeom>
            </p:spPr>
            <p:txBody>
              <a:bodyPr wrap="square" lIns="0" tIns="0" rIns="0" bIns="0" rtlCol="0" anchor="t">
                <a:spAutoFit/>
              </a:bodyPr>
              <a:lstStyle/>
              <a:p>
                <a:pPr algn="r">
                  <a:lnSpc>
                    <a:spcPts val="3919"/>
                  </a:lnSpc>
                  <a:spcBef>
                    <a:spcPct val="0"/>
                  </a:spcBef>
                </a:pPr>
                <a:endParaRPr lang="en-US" sz="2800">
                  <a:solidFill>
                    <a:schemeClr val="tx1">
                      <a:lumMod val="75000"/>
                      <a:lumOff val="25000"/>
                    </a:schemeClr>
                  </a:solidFill>
                  <a:latin typeface="Arial" panose="020B0604020202020204" pitchFamily="34" charset="0"/>
                  <a:cs typeface="Arial" panose="020B0604020202020204" pitchFamily="34" charset="0"/>
                </a:endParaRPr>
              </a:p>
            </p:txBody>
          </p:sp>
        </p:grpSp>
        <p:sp>
          <p:nvSpPr>
            <p:cNvPr id="10" name="Rettangolo 13">
              <a:extLst>
                <a:ext uri="{FF2B5EF4-FFF2-40B4-BE49-F238E27FC236}">
                  <a16:creationId xmlns:a16="http://schemas.microsoft.com/office/drawing/2014/main" id="{BC76EB51-B4AB-4BAB-AAF6-1883074EEF50}"/>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0" name="TextBox 19">
            <a:extLst>
              <a:ext uri="{FF2B5EF4-FFF2-40B4-BE49-F238E27FC236}">
                <a16:creationId xmlns:a16="http://schemas.microsoft.com/office/drawing/2014/main" id="{B4D68CAB-2F99-49CF-9331-08151EAABA39}"/>
              </a:ext>
            </a:extLst>
          </p:cNvPr>
          <p:cNvSpPr txBox="1"/>
          <p:nvPr/>
        </p:nvSpPr>
        <p:spPr>
          <a:xfrm>
            <a:off x="5529863" y="924916"/>
            <a:ext cx="8428981" cy="830997"/>
          </a:xfrm>
          <a:prstGeom prst="rect">
            <a:avLst/>
          </a:prstGeom>
          <a:noFill/>
        </p:spPr>
        <p:txBody>
          <a:bodyPr wrap="square">
            <a:spAutoFit/>
          </a:bodyPr>
          <a:lstStyle/>
          <a:p>
            <a:r>
              <a:rPr lang="sv-SE" sz="4800" b="1">
                <a:solidFill>
                  <a:srgbClr val="CC0033"/>
                </a:solidFill>
                <a:latin typeface="+mj-lt"/>
                <a:cs typeface="Arial" panose="020B0604020202020204" pitchFamily="34" charset="0"/>
              </a:rPr>
              <a:t>RETROFEED at </a:t>
            </a:r>
            <a:r>
              <a:rPr lang="en-US" sz="4800" b="1">
                <a:solidFill>
                  <a:srgbClr val="CC0033"/>
                </a:solidFill>
                <a:latin typeface="+mj-lt"/>
                <a:cs typeface="Arial" panose="020B0604020202020204" pitchFamily="34" charset="0"/>
              </a:rPr>
              <a:t>SILCOTUB</a:t>
            </a:r>
            <a:endParaRPr lang="sv-SE" sz="4800" b="1">
              <a:solidFill>
                <a:srgbClr val="CC0033"/>
              </a:solidFill>
              <a:latin typeface="+mj-lt"/>
              <a:cs typeface="Arial" panose="020B0604020202020204" pitchFamily="34" charset="0"/>
            </a:endParaRPr>
          </a:p>
        </p:txBody>
      </p:sp>
      <p:sp>
        <p:nvSpPr>
          <p:cNvPr id="21" name="TextBox 20">
            <a:extLst>
              <a:ext uri="{FF2B5EF4-FFF2-40B4-BE49-F238E27FC236}">
                <a16:creationId xmlns:a16="http://schemas.microsoft.com/office/drawing/2014/main" id="{4D202826-A262-4E51-B95E-1EDEE44997BC}"/>
              </a:ext>
            </a:extLst>
          </p:cNvPr>
          <p:cNvSpPr txBox="1"/>
          <p:nvPr/>
        </p:nvSpPr>
        <p:spPr>
          <a:xfrm>
            <a:off x="711551" y="5196654"/>
            <a:ext cx="11842913" cy="2534027"/>
          </a:xfrm>
          <a:prstGeom prst="rect">
            <a:avLst/>
          </a:prstGeom>
          <a:noFill/>
        </p:spPr>
        <p:txBody>
          <a:bodyPr wrap="square">
            <a:spAutoFit/>
          </a:bodyPr>
          <a:lstStyle/>
          <a:p>
            <a:pPr algn="just">
              <a:lnSpc>
                <a:spcPct val="150000"/>
              </a:lnSpc>
            </a:pPr>
            <a:r>
              <a:rPr lang="en-US">
                <a:effectLst/>
                <a:latin typeface="Arial MT"/>
                <a:ea typeface="Arial MT"/>
                <a:cs typeface="Arial MT"/>
              </a:rPr>
              <a:t>The main</a:t>
            </a:r>
            <a:r>
              <a:rPr lang="en-US" spc="5">
                <a:effectLst/>
                <a:latin typeface="Arial MT"/>
                <a:ea typeface="Arial MT"/>
                <a:cs typeface="Arial MT"/>
              </a:rPr>
              <a:t> </a:t>
            </a:r>
            <a:r>
              <a:rPr lang="en-US">
                <a:effectLst/>
                <a:latin typeface="Arial MT"/>
                <a:ea typeface="Arial MT"/>
                <a:cs typeface="Arial MT"/>
              </a:rPr>
              <a:t>objective of the project is to lean the steel production process towards decarbonization, expand</a:t>
            </a:r>
            <a:r>
              <a:rPr lang="en-US" spc="5">
                <a:effectLst/>
                <a:latin typeface="Arial MT"/>
                <a:ea typeface="Arial MT"/>
                <a:cs typeface="Arial MT"/>
              </a:rPr>
              <a:t> </a:t>
            </a:r>
            <a:r>
              <a:rPr lang="en-US">
                <a:effectLst/>
                <a:latin typeface="Arial MT"/>
                <a:ea typeface="Arial MT"/>
                <a:cs typeface="Arial MT"/>
              </a:rPr>
              <a:t>circular economy practices and broaden industrial symbiosis relationships. To achieve this, a new</a:t>
            </a:r>
            <a:r>
              <a:rPr lang="en-US" spc="5">
                <a:effectLst/>
                <a:latin typeface="Arial MT"/>
                <a:ea typeface="Arial MT"/>
                <a:cs typeface="Arial MT"/>
              </a:rPr>
              <a:t> </a:t>
            </a:r>
            <a:r>
              <a:rPr lang="en-US">
                <a:effectLst/>
                <a:latin typeface="Arial MT"/>
                <a:ea typeface="Arial MT"/>
                <a:cs typeface="Arial MT"/>
              </a:rPr>
              <a:t>injector able to blow rubber, plastic grains, sludges and EAF dust will be designed and installed.</a:t>
            </a:r>
            <a:r>
              <a:rPr lang="en-US" spc="5">
                <a:effectLst/>
                <a:latin typeface="Arial MT"/>
                <a:ea typeface="Arial MT"/>
                <a:cs typeface="Arial MT"/>
              </a:rPr>
              <a:t> </a:t>
            </a:r>
            <a:r>
              <a:rPr lang="en-US">
                <a:effectLst/>
                <a:latin typeface="Arial MT"/>
                <a:ea typeface="Arial MT"/>
                <a:cs typeface="Arial MT"/>
              </a:rPr>
              <a:t>Rubber</a:t>
            </a:r>
            <a:r>
              <a:rPr lang="en-US" spc="-20">
                <a:effectLst/>
                <a:latin typeface="Arial MT"/>
                <a:ea typeface="Arial MT"/>
                <a:cs typeface="Arial MT"/>
              </a:rPr>
              <a:t> </a:t>
            </a:r>
            <a:r>
              <a:rPr lang="en-US">
                <a:effectLst/>
                <a:latin typeface="Arial MT"/>
                <a:ea typeface="Arial MT"/>
                <a:cs typeface="Arial MT"/>
              </a:rPr>
              <a:t>and</a:t>
            </a:r>
            <a:r>
              <a:rPr lang="en-US" spc="-20">
                <a:effectLst/>
                <a:latin typeface="Arial MT"/>
                <a:ea typeface="Arial MT"/>
                <a:cs typeface="Arial MT"/>
              </a:rPr>
              <a:t> </a:t>
            </a:r>
            <a:r>
              <a:rPr lang="en-US">
                <a:effectLst/>
                <a:latin typeface="Arial MT"/>
                <a:ea typeface="Arial MT"/>
                <a:cs typeface="Arial MT"/>
              </a:rPr>
              <a:t>plastics</a:t>
            </a:r>
            <a:r>
              <a:rPr lang="en-US" spc="-15">
                <a:effectLst/>
                <a:latin typeface="Arial MT"/>
                <a:ea typeface="Arial MT"/>
                <a:cs typeface="Arial MT"/>
              </a:rPr>
              <a:t> </a:t>
            </a:r>
            <a:r>
              <a:rPr lang="en-US">
                <a:effectLst/>
                <a:latin typeface="Arial MT"/>
                <a:ea typeface="Arial MT"/>
                <a:cs typeface="Arial MT"/>
              </a:rPr>
              <a:t>will</a:t>
            </a:r>
            <a:r>
              <a:rPr lang="en-US" spc="-20">
                <a:effectLst/>
                <a:latin typeface="Arial MT"/>
                <a:ea typeface="Arial MT"/>
                <a:cs typeface="Arial MT"/>
              </a:rPr>
              <a:t> </a:t>
            </a:r>
            <a:r>
              <a:rPr lang="en-US">
                <a:effectLst/>
                <a:latin typeface="Arial MT"/>
                <a:ea typeface="Arial MT"/>
                <a:cs typeface="Arial MT"/>
              </a:rPr>
              <a:t>be</a:t>
            </a:r>
            <a:r>
              <a:rPr lang="en-US" spc="-20">
                <a:effectLst/>
                <a:latin typeface="Arial MT"/>
                <a:ea typeface="Arial MT"/>
                <a:cs typeface="Arial MT"/>
              </a:rPr>
              <a:t> </a:t>
            </a:r>
            <a:r>
              <a:rPr lang="en-US">
                <a:effectLst/>
                <a:latin typeface="Arial MT"/>
                <a:ea typeface="Arial MT"/>
                <a:cs typeface="Arial MT"/>
              </a:rPr>
              <a:t>used</a:t>
            </a:r>
            <a:r>
              <a:rPr lang="en-US" spc="-20">
                <a:effectLst/>
                <a:latin typeface="Arial MT"/>
                <a:ea typeface="Arial MT"/>
                <a:cs typeface="Arial MT"/>
              </a:rPr>
              <a:t> </a:t>
            </a:r>
            <a:r>
              <a:rPr lang="en-US">
                <a:effectLst/>
                <a:latin typeface="Arial MT"/>
                <a:ea typeface="Arial MT"/>
                <a:cs typeface="Arial MT"/>
              </a:rPr>
              <a:t>as</a:t>
            </a:r>
            <a:r>
              <a:rPr lang="en-US" spc="-20">
                <a:effectLst/>
                <a:latin typeface="Arial MT"/>
                <a:ea typeface="Arial MT"/>
                <a:cs typeface="Arial MT"/>
              </a:rPr>
              <a:t> </a:t>
            </a:r>
            <a:r>
              <a:rPr lang="en-US">
                <a:effectLst/>
                <a:latin typeface="Arial MT"/>
                <a:ea typeface="Arial MT"/>
                <a:cs typeface="Arial MT"/>
              </a:rPr>
              <a:t>carbon</a:t>
            </a:r>
            <a:r>
              <a:rPr lang="en-US" spc="-20">
                <a:effectLst/>
                <a:latin typeface="Arial MT"/>
                <a:ea typeface="Arial MT"/>
                <a:cs typeface="Arial MT"/>
              </a:rPr>
              <a:t> </a:t>
            </a:r>
            <a:r>
              <a:rPr lang="en-US">
                <a:effectLst/>
                <a:latin typeface="Arial MT"/>
                <a:ea typeface="Arial MT"/>
                <a:cs typeface="Arial MT"/>
              </a:rPr>
              <a:t>and</a:t>
            </a:r>
            <a:r>
              <a:rPr lang="en-US" spc="-20">
                <a:effectLst/>
                <a:latin typeface="Arial MT"/>
                <a:ea typeface="Arial MT"/>
                <a:cs typeface="Arial MT"/>
              </a:rPr>
              <a:t> </a:t>
            </a:r>
            <a:r>
              <a:rPr lang="en-US">
                <a:effectLst/>
                <a:latin typeface="Arial MT"/>
                <a:ea typeface="Arial MT"/>
                <a:cs typeface="Arial MT"/>
              </a:rPr>
              <a:t>chemical</a:t>
            </a:r>
            <a:r>
              <a:rPr lang="en-US" spc="-20">
                <a:effectLst/>
                <a:latin typeface="Arial MT"/>
                <a:ea typeface="Arial MT"/>
                <a:cs typeface="Arial MT"/>
              </a:rPr>
              <a:t> </a:t>
            </a:r>
            <a:r>
              <a:rPr lang="en-US">
                <a:effectLst/>
                <a:latin typeface="Arial MT"/>
                <a:ea typeface="Arial MT"/>
                <a:cs typeface="Arial MT"/>
              </a:rPr>
              <a:t>energy</a:t>
            </a:r>
            <a:r>
              <a:rPr lang="en-US" spc="-20">
                <a:effectLst/>
                <a:latin typeface="Arial MT"/>
                <a:ea typeface="Arial MT"/>
                <a:cs typeface="Arial MT"/>
              </a:rPr>
              <a:t> </a:t>
            </a:r>
            <a:r>
              <a:rPr lang="en-US">
                <a:effectLst/>
                <a:latin typeface="Arial MT"/>
                <a:ea typeface="Arial MT"/>
                <a:cs typeface="Arial MT"/>
              </a:rPr>
              <a:t>sources,</a:t>
            </a:r>
            <a:r>
              <a:rPr lang="en-US" spc="-20">
                <a:effectLst/>
                <a:latin typeface="Arial MT"/>
                <a:ea typeface="Arial MT"/>
                <a:cs typeface="Arial MT"/>
              </a:rPr>
              <a:t> </a:t>
            </a:r>
            <a:r>
              <a:rPr lang="en-US">
                <a:effectLst/>
                <a:latin typeface="Arial MT"/>
                <a:ea typeface="Arial MT"/>
                <a:cs typeface="Arial MT"/>
              </a:rPr>
              <a:t>replacing</a:t>
            </a:r>
            <a:r>
              <a:rPr lang="en-US" spc="-20">
                <a:effectLst/>
                <a:latin typeface="Arial MT"/>
                <a:ea typeface="Arial MT"/>
                <a:cs typeface="Arial MT"/>
              </a:rPr>
              <a:t> </a:t>
            </a:r>
            <a:r>
              <a:rPr lang="en-US">
                <a:effectLst/>
                <a:latin typeface="Arial MT"/>
                <a:ea typeface="Arial MT"/>
                <a:cs typeface="Arial MT"/>
              </a:rPr>
              <a:t>coal</a:t>
            </a:r>
            <a:r>
              <a:rPr lang="en-US" spc="-20">
                <a:effectLst/>
                <a:latin typeface="Arial MT"/>
                <a:ea typeface="Arial MT"/>
                <a:cs typeface="Arial MT"/>
              </a:rPr>
              <a:t> </a:t>
            </a:r>
            <a:r>
              <a:rPr lang="en-US">
                <a:effectLst/>
                <a:latin typeface="Arial MT"/>
                <a:ea typeface="Arial MT"/>
                <a:cs typeface="Arial MT"/>
              </a:rPr>
              <a:t>injected</a:t>
            </a:r>
            <a:r>
              <a:rPr lang="en-US" spc="-25">
                <a:effectLst/>
                <a:latin typeface="Arial MT"/>
                <a:ea typeface="Arial MT"/>
                <a:cs typeface="Arial MT"/>
              </a:rPr>
              <a:t> </a:t>
            </a:r>
            <a:r>
              <a:rPr lang="en-US">
                <a:effectLst/>
                <a:latin typeface="Arial MT"/>
                <a:ea typeface="Arial MT"/>
                <a:cs typeface="Arial MT"/>
              </a:rPr>
              <a:t>to</a:t>
            </a:r>
            <a:r>
              <a:rPr lang="en-US" spc="-295">
                <a:effectLst/>
                <a:latin typeface="Arial MT"/>
                <a:ea typeface="Arial MT"/>
                <a:cs typeface="Arial MT"/>
              </a:rPr>
              <a:t> </a:t>
            </a:r>
            <a:r>
              <a:rPr lang="en-US">
                <a:effectLst/>
                <a:latin typeface="Arial MT"/>
                <a:ea typeface="Arial MT"/>
                <a:cs typeface="Arial MT"/>
              </a:rPr>
              <a:t>the EAF and/or natural gas used in the burners. Natural gas substitution by the new materials is</a:t>
            </a:r>
            <a:r>
              <a:rPr lang="en-US" spc="5">
                <a:effectLst/>
                <a:latin typeface="Arial MT"/>
                <a:ea typeface="Arial MT"/>
                <a:cs typeface="Arial MT"/>
              </a:rPr>
              <a:t> </a:t>
            </a:r>
            <a:r>
              <a:rPr lang="en-US">
                <a:effectLst/>
                <a:latin typeface="Arial MT"/>
                <a:ea typeface="Arial MT"/>
                <a:cs typeface="Arial MT"/>
              </a:rPr>
              <a:t>indirect since these will not be incorporated into the burners, but rather introduced inside the EAF</a:t>
            </a:r>
            <a:r>
              <a:rPr lang="en-US" spc="5">
                <a:effectLst/>
                <a:latin typeface="Arial MT"/>
                <a:ea typeface="Arial MT"/>
                <a:cs typeface="Arial MT"/>
              </a:rPr>
              <a:t> </a:t>
            </a:r>
            <a:r>
              <a:rPr lang="en-US">
                <a:effectLst/>
                <a:latin typeface="Arial MT"/>
                <a:ea typeface="Arial MT"/>
                <a:cs typeface="Arial MT"/>
              </a:rPr>
              <a:t>and</a:t>
            </a:r>
            <a:r>
              <a:rPr lang="en-US" spc="-10">
                <a:effectLst/>
                <a:latin typeface="Arial MT"/>
                <a:ea typeface="Arial MT"/>
                <a:cs typeface="Arial MT"/>
              </a:rPr>
              <a:t> </a:t>
            </a:r>
            <a:r>
              <a:rPr lang="en-US">
                <a:effectLst/>
                <a:latin typeface="Arial MT"/>
                <a:ea typeface="Arial MT"/>
                <a:cs typeface="Arial MT"/>
              </a:rPr>
              <a:t>burn,</a:t>
            </a:r>
            <a:r>
              <a:rPr lang="en-US" spc="-5">
                <a:effectLst/>
                <a:latin typeface="Arial MT"/>
                <a:ea typeface="Arial MT"/>
                <a:cs typeface="Arial MT"/>
              </a:rPr>
              <a:t> </a:t>
            </a:r>
            <a:r>
              <a:rPr lang="en-US">
                <a:effectLst/>
                <a:latin typeface="Arial MT"/>
                <a:ea typeface="Arial MT"/>
                <a:cs typeface="Arial MT"/>
              </a:rPr>
              <a:t>releasing</a:t>
            </a:r>
            <a:r>
              <a:rPr lang="en-US" spc="-10">
                <a:effectLst/>
                <a:latin typeface="Arial MT"/>
                <a:ea typeface="Arial MT"/>
                <a:cs typeface="Arial MT"/>
              </a:rPr>
              <a:t> </a:t>
            </a:r>
            <a:r>
              <a:rPr lang="en-US">
                <a:effectLst/>
                <a:latin typeface="Arial MT"/>
                <a:ea typeface="Arial MT"/>
                <a:cs typeface="Arial MT"/>
              </a:rPr>
              <a:t>heat.</a:t>
            </a:r>
            <a:r>
              <a:rPr lang="en-US" spc="-10">
                <a:effectLst/>
                <a:latin typeface="Arial MT"/>
                <a:ea typeface="Arial MT"/>
                <a:cs typeface="Arial MT"/>
              </a:rPr>
              <a:t> </a:t>
            </a:r>
            <a:r>
              <a:rPr lang="en-US">
                <a:effectLst/>
                <a:latin typeface="Arial MT"/>
                <a:ea typeface="Arial MT"/>
                <a:cs typeface="Arial MT"/>
              </a:rPr>
              <a:t>Sludges</a:t>
            </a:r>
            <a:r>
              <a:rPr lang="en-US" spc="-5">
                <a:effectLst/>
                <a:latin typeface="Arial MT"/>
                <a:ea typeface="Arial MT"/>
                <a:cs typeface="Arial MT"/>
              </a:rPr>
              <a:t> </a:t>
            </a:r>
            <a:r>
              <a:rPr lang="en-US">
                <a:effectLst/>
                <a:latin typeface="Arial MT"/>
                <a:ea typeface="Arial MT"/>
                <a:cs typeface="Arial MT"/>
              </a:rPr>
              <a:t>and</a:t>
            </a:r>
            <a:r>
              <a:rPr lang="en-US" spc="-10">
                <a:effectLst/>
                <a:latin typeface="Arial MT"/>
                <a:ea typeface="Arial MT"/>
                <a:cs typeface="Arial MT"/>
              </a:rPr>
              <a:t> </a:t>
            </a:r>
            <a:r>
              <a:rPr lang="en-US">
                <a:effectLst/>
                <a:latin typeface="Arial MT"/>
                <a:ea typeface="Arial MT"/>
                <a:cs typeface="Arial MT"/>
              </a:rPr>
              <a:t>dust</a:t>
            </a:r>
            <a:r>
              <a:rPr lang="en-US" spc="-5">
                <a:effectLst/>
                <a:latin typeface="Arial MT"/>
                <a:ea typeface="Arial MT"/>
                <a:cs typeface="Arial MT"/>
              </a:rPr>
              <a:t> </a:t>
            </a:r>
            <a:r>
              <a:rPr lang="en-US">
                <a:effectLst/>
                <a:latin typeface="Arial MT"/>
                <a:ea typeface="Arial MT"/>
                <a:cs typeface="Arial MT"/>
              </a:rPr>
              <a:t>will</a:t>
            </a:r>
            <a:r>
              <a:rPr lang="en-US" spc="-10">
                <a:effectLst/>
                <a:latin typeface="Arial MT"/>
                <a:ea typeface="Arial MT"/>
                <a:cs typeface="Arial MT"/>
              </a:rPr>
              <a:t> </a:t>
            </a:r>
            <a:r>
              <a:rPr lang="en-US">
                <a:effectLst/>
                <a:latin typeface="Arial MT"/>
                <a:ea typeface="Arial MT"/>
                <a:cs typeface="Arial MT"/>
              </a:rPr>
              <a:t>be</a:t>
            </a:r>
            <a:r>
              <a:rPr lang="en-US" spc="-10">
                <a:effectLst/>
                <a:latin typeface="Arial MT"/>
                <a:ea typeface="Arial MT"/>
                <a:cs typeface="Arial MT"/>
              </a:rPr>
              <a:t> </a:t>
            </a:r>
            <a:r>
              <a:rPr lang="en-US">
                <a:effectLst/>
                <a:latin typeface="Arial MT"/>
                <a:ea typeface="Arial MT"/>
                <a:cs typeface="Arial MT"/>
              </a:rPr>
              <a:t>blown</a:t>
            </a:r>
            <a:r>
              <a:rPr lang="en-US" spc="-10">
                <a:effectLst/>
                <a:latin typeface="Arial MT"/>
                <a:ea typeface="Arial MT"/>
                <a:cs typeface="Arial MT"/>
              </a:rPr>
              <a:t> </a:t>
            </a:r>
            <a:r>
              <a:rPr lang="en-US">
                <a:effectLst/>
                <a:latin typeface="Arial MT"/>
                <a:ea typeface="Arial MT"/>
                <a:cs typeface="Arial MT"/>
              </a:rPr>
              <a:t>to</a:t>
            </a:r>
            <a:r>
              <a:rPr lang="en-US" spc="-10">
                <a:effectLst/>
                <a:latin typeface="Arial MT"/>
                <a:ea typeface="Arial MT"/>
                <a:cs typeface="Arial MT"/>
              </a:rPr>
              <a:t> </a:t>
            </a:r>
            <a:r>
              <a:rPr lang="en-US">
                <a:effectLst/>
                <a:latin typeface="Arial MT"/>
                <a:ea typeface="Arial MT"/>
                <a:cs typeface="Arial MT"/>
              </a:rPr>
              <a:t>recuperate</a:t>
            </a:r>
            <a:r>
              <a:rPr lang="en-US" spc="-5">
                <a:effectLst/>
                <a:latin typeface="Arial MT"/>
                <a:ea typeface="Arial MT"/>
                <a:cs typeface="Arial MT"/>
              </a:rPr>
              <a:t> </a:t>
            </a:r>
            <a:r>
              <a:rPr lang="en-US">
                <a:effectLst/>
                <a:latin typeface="Arial MT"/>
                <a:ea typeface="Arial MT"/>
                <a:cs typeface="Arial MT"/>
              </a:rPr>
              <a:t>iron</a:t>
            </a:r>
            <a:r>
              <a:rPr lang="en-US" spc="-10">
                <a:effectLst/>
                <a:latin typeface="Arial MT"/>
                <a:ea typeface="Arial MT"/>
                <a:cs typeface="Arial MT"/>
              </a:rPr>
              <a:t> </a:t>
            </a:r>
            <a:r>
              <a:rPr lang="en-US">
                <a:effectLst/>
                <a:latin typeface="Arial MT"/>
                <a:ea typeface="Arial MT"/>
                <a:cs typeface="Arial MT"/>
              </a:rPr>
              <a:t>from</a:t>
            </a:r>
            <a:r>
              <a:rPr lang="en-US" spc="-10">
                <a:effectLst/>
                <a:latin typeface="Arial MT"/>
                <a:ea typeface="Arial MT"/>
                <a:cs typeface="Arial MT"/>
              </a:rPr>
              <a:t> </a:t>
            </a:r>
            <a:r>
              <a:rPr lang="en-US">
                <a:effectLst/>
                <a:latin typeface="Arial MT"/>
                <a:ea typeface="Arial MT"/>
                <a:cs typeface="Arial MT"/>
              </a:rPr>
              <a:t>it.</a:t>
            </a:r>
            <a:endParaRPr lang="es-ES"/>
          </a:p>
        </p:txBody>
      </p:sp>
      <p:sp>
        <p:nvSpPr>
          <p:cNvPr id="22" name="TextBox 21">
            <a:extLst>
              <a:ext uri="{FF2B5EF4-FFF2-40B4-BE49-F238E27FC236}">
                <a16:creationId xmlns:a16="http://schemas.microsoft.com/office/drawing/2014/main" id="{A9B20580-BA1E-4C7C-A82E-3639921429A1}"/>
              </a:ext>
            </a:extLst>
          </p:cNvPr>
          <p:cNvSpPr txBox="1"/>
          <p:nvPr/>
        </p:nvSpPr>
        <p:spPr>
          <a:xfrm>
            <a:off x="719279" y="1999765"/>
            <a:ext cx="11612764" cy="2534027"/>
          </a:xfrm>
          <a:prstGeom prst="rect">
            <a:avLst/>
          </a:prstGeom>
          <a:noFill/>
        </p:spPr>
        <p:txBody>
          <a:bodyPr wrap="square">
            <a:spAutoFit/>
          </a:bodyPr>
          <a:lstStyle/>
          <a:p>
            <a:pPr algn="just">
              <a:lnSpc>
                <a:spcPct val="150000"/>
              </a:lnSpc>
            </a:pPr>
            <a:r>
              <a:rPr lang="en-US">
                <a:effectLst/>
                <a:latin typeface="Arial MT"/>
                <a:ea typeface="Arial MT"/>
                <a:cs typeface="Arial MT"/>
              </a:rPr>
              <a:t>TENARIS SILCOTUB is committed to reducing the steel process’ environmental footprint, through</a:t>
            </a:r>
            <a:r>
              <a:rPr lang="en-US" spc="5">
                <a:effectLst/>
                <a:latin typeface="Arial MT"/>
                <a:ea typeface="Arial MT"/>
                <a:cs typeface="Arial MT"/>
              </a:rPr>
              <a:t> </a:t>
            </a:r>
            <a:r>
              <a:rPr lang="en-US">
                <a:effectLst/>
                <a:latin typeface="Arial MT"/>
                <a:ea typeface="Arial MT"/>
                <a:cs typeface="Arial MT"/>
              </a:rPr>
              <a:t>incorporation of more sustainable feedstock into their processes, following circular economy and</a:t>
            </a:r>
            <a:r>
              <a:rPr lang="en-US" spc="5">
                <a:effectLst/>
                <a:latin typeface="Arial MT"/>
                <a:ea typeface="Arial MT"/>
                <a:cs typeface="Arial MT"/>
              </a:rPr>
              <a:t> </a:t>
            </a:r>
            <a:r>
              <a:rPr lang="en-US">
                <a:effectLst/>
                <a:latin typeface="Arial MT"/>
                <a:ea typeface="Arial MT"/>
                <a:cs typeface="Arial MT"/>
              </a:rPr>
              <a:t>industrial symbiosis principles. Through valorization of plastics and rubber recycled from external</a:t>
            </a:r>
            <a:r>
              <a:rPr lang="en-US" spc="5">
                <a:effectLst/>
                <a:latin typeface="Arial MT"/>
                <a:ea typeface="Arial MT"/>
                <a:cs typeface="Arial MT"/>
              </a:rPr>
              <a:t> </a:t>
            </a:r>
            <a:r>
              <a:rPr lang="en-US" spc="-5">
                <a:effectLst/>
                <a:latin typeface="Arial MT"/>
                <a:ea typeface="Arial MT"/>
                <a:cs typeface="Arial MT"/>
              </a:rPr>
              <a:t>processes,</a:t>
            </a:r>
            <a:r>
              <a:rPr lang="en-US" spc="-70">
                <a:effectLst/>
                <a:latin typeface="Arial MT"/>
                <a:ea typeface="Arial MT"/>
                <a:cs typeface="Arial MT"/>
              </a:rPr>
              <a:t> </a:t>
            </a:r>
            <a:r>
              <a:rPr lang="en-US" spc="-5">
                <a:effectLst/>
                <a:latin typeface="Arial MT"/>
                <a:ea typeface="Arial MT"/>
                <a:cs typeface="Arial MT"/>
              </a:rPr>
              <a:t>fossil</a:t>
            </a:r>
            <a:r>
              <a:rPr lang="en-US" spc="-65">
                <a:effectLst/>
                <a:latin typeface="Arial MT"/>
                <a:ea typeface="Arial MT"/>
                <a:cs typeface="Arial MT"/>
              </a:rPr>
              <a:t> </a:t>
            </a:r>
            <a:r>
              <a:rPr lang="en-US">
                <a:effectLst/>
                <a:latin typeface="Arial MT"/>
                <a:ea typeface="Arial MT"/>
                <a:cs typeface="Arial MT"/>
              </a:rPr>
              <a:t>carbon</a:t>
            </a:r>
            <a:r>
              <a:rPr lang="en-US" spc="-70">
                <a:effectLst/>
                <a:latin typeface="Arial MT"/>
                <a:ea typeface="Arial MT"/>
                <a:cs typeface="Arial MT"/>
              </a:rPr>
              <a:t> </a:t>
            </a:r>
            <a:r>
              <a:rPr lang="en-US">
                <a:effectLst/>
                <a:latin typeface="Arial MT"/>
                <a:ea typeface="Arial MT"/>
                <a:cs typeface="Arial MT"/>
              </a:rPr>
              <a:t>and</a:t>
            </a:r>
            <a:r>
              <a:rPr lang="en-US" spc="-60">
                <a:effectLst/>
                <a:latin typeface="Arial MT"/>
                <a:ea typeface="Arial MT"/>
                <a:cs typeface="Arial MT"/>
              </a:rPr>
              <a:t> </a:t>
            </a:r>
            <a:r>
              <a:rPr lang="en-US">
                <a:effectLst/>
                <a:latin typeface="Arial MT"/>
                <a:ea typeface="Arial MT"/>
                <a:cs typeface="Arial MT"/>
              </a:rPr>
              <a:t>natural</a:t>
            </a:r>
            <a:r>
              <a:rPr lang="en-US" spc="-65">
                <a:effectLst/>
                <a:latin typeface="Arial MT"/>
                <a:ea typeface="Arial MT"/>
                <a:cs typeface="Arial MT"/>
              </a:rPr>
              <a:t> </a:t>
            </a:r>
            <a:r>
              <a:rPr lang="en-US">
                <a:effectLst/>
                <a:latin typeface="Arial MT"/>
                <a:ea typeface="Arial MT"/>
                <a:cs typeface="Arial MT"/>
              </a:rPr>
              <a:t>gas</a:t>
            </a:r>
            <a:r>
              <a:rPr lang="en-US" spc="-60">
                <a:effectLst/>
                <a:latin typeface="Arial MT"/>
                <a:ea typeface="Arial MT"/>
                <a:cs typeface="Arial MT"/>
              </a:rPr>
              <a:t> </a:t>
            </a:r>
            <a:r>
              <a:rPr lang="en-US">
                <a:effectLst/>
                <a:latin typeface="Arial MT"/>
                <a:ea typeface="Arial MT"/>
                <a:cs typeface="Arial MT"/>
              </a:rPr>
              <a:t>utilizations</a:t>
            </a:r>
            <a:r>
              <a:rPr lang="en-US" spc="-65">
                <a:effectLst/>
                <a:latin typeface="Arial MT"/>
                <a:ea typeface="Arial MT"/>
                <a:cs typeface="Arial MT"/>
              </a:rPr>
              <a:t> </a:t>
            </a:r>
            <a:r>
              <a:rPr lang="en-US">
                <a:effectLst/>
                <a:latin typeface="Arial MT"/>
                <a:ea typeface="Arial MT"/>
                <a:cs typeface="Arial MT"/>
              </a:rPr>
              <a:t>are</a:t>
            </a:r>
            <a:r>
              <a:rPr lang="en-US" spc="-65">
                <a:effectLst/>
                <a:latin typeface="Arial MT"/>
                <a:ea typeface="Arial MT"/>
                <a:cs typeface="Arial MT"/>
              </a:rPr>
              <a:t> </a:t>
            </a:r>
            <a:r>
              <a:rPr lang="en-US">
                <a:effectLst/>
                <a:latin typeface="Arial MT"/>
                <a:ea typeface="Arial MT"/>
                <a:cs typeface="Arial MT"/>
              </a:rPr>
              <a:t>expected</a:t>
            </a:r>
            <a:r>
              <a:rPr lang="en-US" spc="-65">
                <a:effectLst/>
                <a:latin typeface="Arial MT"/>
                <a:ea typeface="Arial MT"/>
                <a:cs typeface="Arial MT"/>
              </a:rPr>
              <a:t> </a:t>
            </a:r>
            <a:r>
              <a:rPr lang="en-US">
                <a:effectLst/>
                <a:latin typeface="Arial MT"/>
                <a:ea typeface="Arial MT"/>
                <a:cs typeface="Arial MT"/>
              </a:rPr>
              <a:t>to</a:t>
            </a:r>
            <a:r>
              <a:rPr lang="en-US" spc="-65">
                <a:effectLst/>
                <a:latin typeface="Arial MT"/>
                <a:ea typeface="Arial MT"/>
                <a:cs typeface="Arial MT"/>
              </a:rPr>
              <a:t> </a:t>
            </a:r>
            <a:r>
              <a:rPr lang="en-US">
                <a:effectLst/>
                <a:latin typeface="Arial MT"/>
                <a:ea typeface="Arial MT"/>
                <a:cs typeface="Arial MT"/>
              </a:rPr>
              <a:t>be</a:t>
            </a:r>
            <a:r>
              <a:rPr lang="en-US" spc="-40">
                <a:effectLst/>
                <a:latin typeface="Arial MT"/>
                <a:ea typeface="Arial MT"/>
                <a:cs typeface="Arial MT"/>
              </a:rPr>
              <a:t> </a:t>
            </a:r>
            <a:r>
              <a:rPr lang="en-US">
                <a:effectLst/>
                <a:latin typeface="Arial MT"/>
                <a:ea typeface="Arial MT"/>
                <a:cs typeface="Arial MT"/>
              </a:rPr>
              <a:t>reduced.</a:t>
            </a:r>
            <a:r>
              <a:rPr lang="en-US" spc="-75">
                <a:effectLst/>
                <a:latin typeface="Arial MT"/>
                <a:ea typeface="Arial MT"/>
                <a:cs typeface="Arial MT"/>
              </a:rPr>
              <a:t> </a:t>
            </a:r>
            <a:r>
              <a:rPr lang="en-US">
                <a:effectLst/>
                <a:latin typeface="Arial MT"/>
                <a:ea typeface="Arial MT"/>
                <a:cs typeface="Arial MT"/>
              </a:rPr>
              <a:t>The</a:t>
            </a:r>
            <a:r>
              <a:rPr lang="en-US" spc="-70">
                <a:effectLst/>
                <a:latin typeface="Arial MT"/>
                <a:ea typeface="Arial MT"/>
                <a:cs typeface="Arial MT"/>
              </a:rPr>
              <a:t> </a:t>
            </a:r>
            <a:r>
              <a:rPr lang="en-US">
                <a:effectLst/>
                <a:latin typeface="Arial MT"/>
                <a:ea typeface="Arial MT"/>
                <a:cs typeface="Arial MT"/>
              </a:rPr>
              <a:t>extent</a:t>
            </a:r>
            <a:r>
              <a:rPr lang="en-US" spc="-65">
                <a:effectLst/>
                <a:latin typeface="Arial MT"/>
                <a:ea typeface="Arial MT"/>
                <a:cs typeface="Arial MT"/>
              </a:rPr>
              <a:t> </a:t>
            </a:r>
            <a:r>
              <a:rPr lang="en-US">
                <a:effectLst/>
                <a:latin typeface="Arial MT"/>
                <a:ea typeface="Arial MT"/>
                <a:cs typeface="Arial MT"/>
              </a:rPr>
              <a:t>to</a:t>
            </a:r>
            <a:r>
              <a:rPr lang="en-US" spc="-65">
                <a:effectLst/>
                <a:latin typeface="Arial MT"/>
                <a:ea typeface="Arial MT"/>
                <a:cs typeface="Arial MT"/>
              </a:rPr>
              <a:t> </a:t>
            </a:r>
            <a:r>
              <a:rPr lang="en-US">
                <a:effectLst/>
                <a:latin typeface="Arial MT"/>
                <a:ea typeface="Arial MT"/>
                <a:cs typeface="Arial MT"/>
              </a:rPr>
              <a:t>which</a:t>
            </a:r>
            <a:r>
              <a:rPr lang="en-US" spc="-295">
                <a:effectLst/>
                <a:latin typeface="Arial MT"/>
                <a:ea typeface="Arial MT"/>
                <a:cs typeface="Arial MT"/>
              </a:rPr>
              <a:t> </a:t>
            </a:r>
            <a:r>
              <a:rPr lang="en-US">
                <a:effectLst/>
                <a:latin typeface="Arial MT"/>
                <a:ea typeface="Arial MT"/>
                <a:cs typeface="Arial MT"/>
              </a:rPr>
              <a:t>fossil fuels will be replaced will be established during the activities; from performed works, a very</a:t>
            </a:r>
            <a:r>
              <a:rPr lang="en-US" spc="5">
                <a:effectLst/>
                <a:latin typeface="Arial MT"/>
                <a:ea typeface="Arial MT"/>
                <a:cs typeface="Arial MT"/>
              </a:rPr>
              <a:t> </a:t>
            </a:r>
            <a:r>
              <a:rPr lang="en-US">
                <a:effectLst/>
                <a:latin typeface="Arial MT"/>
                <a:ea typeface="Arial MT"/>
                <a:cs typeface="Arial MT"/>
              </a:rPr>
              <a:t>good figure is a replacement ratio of coal = 1.2 plastics. The efficiency of the blowing will determine</a:t>
            </a:r>
            <a:r>
              <a:rPr lang="en-US" spc="-295">
                <a:effectLst/>
                <a:latin typeface="Arial MT"/>
                <a:ea typeface="Arial MT"/>
                <a:cs typeface="Arial MT"/>
              </a:rPr>
              <a:t> </a:t>
            </a:r>
            <a:r>
              <a:rPr lang="en-US">
                <a:effectLst/>
                <a:latin typeface="Arial MT"/>
                <a:ea typeface="Arial MT"/>
                <a:cs typeface="Arial MT"/>
              </a:rPr>
              <a:t>the</a:t>
            </a:r>
            <a:r>
              <a:rPr lang="en-US" spc="-45">
                <a:effectLst/>
                <a:latin typeface="Arial MT"/>
                <a:ea typeface="Arial MT"/>
                <a:cs typeface="Arial MT"/>
              </a:rPr>
              <a:t> </a:t>
            </a:r>
            <a:r>
              <a:rPr lang="en-US">
                <a:effectLst/>
                <a:latin typeface="Arial MT"/>
                <a:ea typeface="Arial MT"/>
                <a:cs typeface="Arial MT"/>
              </a:rPr>
              <a:t>actual</a:t>
            </a:r>
            <a:r>
              <a:rPr lang="en-US" spc="-40">
                <a:effectLst/>
                <a:latin typeface="Arial MT"/>
                <a:ea typeface="Arial MT"/>
                <a:cs typeface="Arial MT"/>
              </a:rPr>
              <a:t> </a:t>
            </a:r>
            <a:r>
              <a:rPr lang="en-US">
                <a:effectLst/>
                <a:latin typeface="Arial MT"/>
                <a:ea typeface="Arial MT"/>
                <a:cs typeface="Arial MT"/>
              </a:rPr>
              <a:t>percentage</a:t>
            </a:r>
            <a:r>
              <a:rPr lang="en-US" spc="-40">
                <a:effectLst/>
                <a:latin typeface="Arial MT"/>
                <a:ea typeface="Arial MT"/>
                <a:cs typeface="Arial MT"/>
              </a:rPr>
              <a:t> </a:t>
            </a:r>
            <a:r>
              <a:rPr lang="en-US">
                <a:effectLst/>
                <a:latin typeface="Arial MT"/>
                <a:ea typeface="Arial MT"/>
                <a:cs typeface="Arial MT"/>
              </a:rPr>
              <a:t>of</a:t>
            </a:r>
            <a:r>
              <a:rPr lang="en-US" spc="-45">
                <a:effectLst/>
                <a:latin typeface="Arial MT"/>
                <a:ea typeface="Arial MT"/>
                <a:cs typeface="Arial MT"/>
              </a:rPr>
              <a:t> </a:t>
            </a:r>
            <a:r>
              <a:rPr lang="en-US">
                <a:effectLst/>
                <a:latin typeface="Arial MT"/>
                <a:ea typeface="Arial MT"/>
                <a:cs typeface="Arial MT"/>
              </a:rPr>
              <a:t>methane</a:t>
            </a:r>
            <a:r>
              <a:rPr lang="en-US" spc="-40">
                <a:effectLst/>
                <a:latin typeface="Arial MT"/>
                <a:ea typeface="Arial MT"/>
                <a:cs typeface="Arial MT"/>
              </a:rPr>
              <a:t> </a:t>
            </a:r>
            <a:r>
              <a:rPr lang="en-US">
                <a:effectLst/>
                <a:latin typeface="Arial MT"/>
                <a:ea typeface="Arial MT"/>
                <a:cs typeface="Arial MT"/>
              </a:rPr>
              <a:t>and</a:t>
            </a:r>
            <a:r>
              <a:rPr lang="en-US" spc="-40">
                <a:effectLst/>
                <a:latin typeface="Arial MT"/>
                <a:ea typeface="Arial MT"/>
                <a:cs typeface="Arial MT"/>
              </a:rPr>
              <a:t> </a:t>
            </a:r>
            <a:r>
              <a:rPr lang="en-US">
                <a:effectLst/>
                <a:latin typeface="Arial MT"/>
                <a:ea typeface="Arial MT"/>
                <a:cs typeface="Arial MT"/>
              </a:rPr>
              <a:t>coal</a:t>
            </a:r>
            <a:r>
              <a:rPr lang="en-US" spc="-45">
                <a:effectLst/>
                <a:latin typeface="Arial MT"/>
                <a:ea typeface="Arial MT"/>
                <a:cs typeface="Arial MT"/>
              </a:rPr>
              <a:t> </a:t>
            </a:r>
            <a:r>
              <a:rPr lang="en-US">
                <a:effectLst/>
                <a:latin typeface="Arial MT"/>
                <a:ea typeface="Arial MT"/>
                <a:cs typeface="Arial MT"/>
              </a:rPr>
              <a:t>reductions.</a:t>
            </a:r>
            <a:endParaRPr lang="en-US" b="0" i="0" u="none" strike="noStrike" baseline="0">
              <a:solidFill>
                <a:srgbClr val="000000"/>
              </a:solidFill>
              <a:latin typeface="Arial" panose="020B0604020202020204" pitchFamily="34" charset="0"/>
            </a:endParaRPr>
          </a:p>
        </p:txBody>
      </p:sp>
      <p:sp>
        <p:nvSpPr>
          <p:cNvPr id="23" name="TextBox 22">
            <a:extLst>
              <a:ext uri="{FF2B5EF4-FFF2-40B4-BE49-F238E27FC236}">
                <a16:creationId xmlns:a16="http://schemas.microsoft.com/office/drawing/2014/main" id="{EDADB62C-C9C5-46BD-B3F0-92C52F43256C}"/>
              </a:ext>
            </a:extLst>
          </p:cNvPr>
          <p:cNvSpPr txBox="1"/>
          <p:nvPr/>
        </p:nvSpPr>
        <p:spPr>
          <a:xfrm>
            <a:off x="711552" y="1670186"/>
            <a:ext cx="9144000" cy="461665"/>
          </a:xfrm>
          <a:prstGeom prst="rect">
            <a:avLst/>
          </a:prstGeom>
          <a:noFill/>
        </p:spPr>
        <p:txBody>
          <a:bodyPr wrap="square">
            <a:spAutoFit/>
          </a:bodyPr>
          <a:lstStyle/>
          <a:p>
            <a:r>
              <a:rPr lang="sv-SE" sz="2400" b="1" err="1">
                <a:solidFill>
                  <a:srgbClr val="CC0033"/>
                </a:solidFill>
                <a:latin typeface="+mj-lt"/>
                <a:cs typeface="Arial" panose="020B0604020202020204" pitchFamily="34" charset="0"/>
              </a:rPr>
              <a:t>Why</a:t>
            </a:r>
            <a:r>
              <a:rPr lang="sv-SE" sz="2400" b="1">
                <a:solidFill>
                  <a:srgbClr val="CC0033"/>
                </a:solidFill>
                <a:latin typeface="+mj-lt"/>
                <a:cs typeface="Arial" panose="020B0604020202020204" pitchFamily="34" charset="0"/>
              </a:rPr>
              <a:t> is </a:t>
            </a:r>
            <a:r>
              <a:rPr lang="sv-SE" sz="2400" b="1" err="1">
                <a:solidFill>
                  <a:srgbClr val="CC0033"/>
                </a:solidFill>
                <a:latin typeface="+mj-lt"/>
                <a:cs typeface="Arial" panose="020B0604020202020204" pitchFamily="34" charset="0"/>
              </a:rPr>
              <a:t>retrofit</a:t>
            </a:r>
            <a:r>
              <a:rPr lang="sv-SE" sz="2400" b="1">
                <a:solidFill>
                  <a:srgbClr val="CC0033"/>
                </a:solidFill>
                <a:latin typeface="+mj-lt"/>
                <a:cs typeface="Arial" panose="020B0604020202020204" pitchFamily="34" charset="0"/>
              </a:rPr>
              <a:t> </a:t>
            </a:r>
            <a:r>
              <a:rPr lang="sv-SE" sz="2400" b="1" err="1">
                <a:solidFill>
                  <a:srgbClr val="CC0033"/>
                </a:solidFill>
                <a:latin typeface="+mj-lt"/>
                <a:cs typeface="Arial" panose="020B0604020202020204" pitchFamily="34" charset="0"/>
              </a:rPr>
              <a:t>needed</a:t>
            </a:r>
            <a:r>
              <a:rPr lang="sv-SE" sz="2400" b="1">
                <a:solidFill>
                  <a:srgbClr val="CC0033"/>
                </a:solidFill>
                <a:latin typeface="+mj-lt"/>
                <a:cs typeface="Arial" panose="020B0604020202020204" pitchFamily="34" charset="0"/>
              </a:rPr>
              <a:t> at </a:t>
            </a:r>
            <a:r>
              <a:rPr lang="en-US" sz="2400" b="1">
                <a:solidFill>
                  <a:srgbClr val="CC0033"/>
                </a:solidFill>
                <a:latin typeface="+mj-lt"/>
                <a:cs typeface="Arial" panose="020B0604020202020204" pitchFamily="34" charset="0"/>
              </a:rPr>
              <a:t>SILCOTUB</a:t>
            </a:r>
            <a:r>
              <a:rPr lang="sv-SE" sz="2400" b="1">
                <a:solidFill>
                  <a:srgbClr val="CC0033"/>
                </a:solidFill>
                <a:latin typeface="+mj-lt"/>
                <a:cs typeface="Arial" panose="020B0604020202020204" pitchFamily="34" charset="0"/>
              </a:rPr>
              <a:t>?</a:t>
            </a:r>
          </a:p>
        </p:txBody>
      </p:sp>
      <p:sp>
        <p:nvSpPr>
          <p:cNvPr id="24" name="TextBox 23">
            <a:extLst>
              <a:ext uri="{FF2B5EF4-FFF2-40B4-BE49-F238E27FC236}">
                <a16:creationId xmlns:a16="http://schemas.microsoft.com/office/drawing/2014/main" id="{937FCD4A-B1F9-4E69-A0BA-D616BDBFF034}"/>
              </a:ext>
            </a:extLst>
          </p:cNvPr>
          <p:cNvSpPr txBox="1"/>
          <p:nvPr/>
        </p:nvSpPr>
        <p:spPr>
          <a:xfrm>
            <a:off x="719279" y="4749017"/>
            <a:ext cx="9144000" cy="461665"/>
          </a:xfrm>
          <a:prstGeom prst="rect">
            <a:avLst/>
          </a:prstGeom>
          <a:noFill/>
        </p:spPr>
        <p:txBody>
          <a:bodyPr wrap="square">
            <a:spAutoFit/>
          </a:bodyPr>
          <a:lstStyle/>
          <a:p>
            <a:r>
              <a:rPr lang="sv-SE" sz="2400" b="1" err="1">
                <a:solidFill>
                  <a:srgbClr val="CC0033"/>
                </a:solidFill>
                <a:latin typeface="+mj-lt"/>
                <a:cs typeface="Arial" panose="020B0604020202020204" pitchFamily="34" charset="0"/>
              </a:rPr>
              <a:t>Where</a:t>
            </a:r>
            <a:r>
              <a:rPr lang="sv-SE" sz="2400" b="1">
                <a:solidFill>
                  <a:srgbClr val="CC0033"/>
                </a:solidFill>
                <a:latin typeface="+mj-lt"/>
                <a:cs typeface="Arial" panose="020B0604020202020204" pitchFamily="34" charset="0"/>
              </a:rPr>
              <a:t> is </a:t>
            </a:r>
            <a:r>
              <a:rPr lang="sv-SE" sz="2400" b="1" err="1">
                <a:solidFill>
                  <a:srgbClr val="CC0033"/>
                </a:solidFill>
                <a:latin typeface="+mj-lt"/>
                <a:cs typeface="Arial" panose="020B0604020202020204" pitchFamily="34" charset="0"/>
              </a:rPr>
              <a:t>retrofit</a:t>
            </a:r>
            <a:r>
              <a:rPr lang="sv-SE" sz="2400" b="1">
                <a:solidFill>
                  <a:srgbClr val="CC0033"/>
                </a:solidFill>
                <a:latin typeface="+mj-lt"/>
                <a:cs typeface="Arial" panose="020B0604020202020204" pitchFamily="34" charset="0"/>
              </a:rPr>
              <a:t> </a:t>
            </a:r>
            <a:r>
              <a:rPr lang="sv-SE" sz="2400" b="1" err="1">
                <a:solidFill>
                  <a:srgbClr val="CC0033"/>
                </a:solidFill>
                <a:latin typeface="+mj-lt"/>
                <a:cs typeface="Arial" panose="020B0604020202020204" pitchFamily="34" charset="0"/>
              </a:rPr>
              <a:t>needed</a:t>
            </a:r>
            <a:r>
              <a:rPr lang="sv-SE" sz="2400" b="1">
                <a:solidFill>
                  <a:srgbClr val="CC0033"/>
                </a:solidFill>
                <a:latin typeface="+mj-lt"/>
                <a:cs typeface="Arial" panose="020B0604020202020204" pitchFamily="34" charset="0"/>
              </a:rPr>
              <a:t> at </a:t>
            </a:r>
            <a:r>
              <a:rPr lang="en-US" sz="2400" b="1">
                <a:solidFill>
                  <a:srgbClr val="CC0033"/>
                </a:solidFill>
                <a:latin typeface="+mj-lt"/>
                <a:cs typeface="Arial" panose="020B0604020202020204" pitchFamily="34" charset="0"/>
              </a:rPr>
              <a:t>SILCOTUB</a:t>
            </a:r>
            <a:r>
              <a:rPr lang="sv-SE" sz="2400" b="1">
                <a:solidFill>
                  <a:srgbClr val="CC0033"/>
                </a:solidFill>
                <a:latin typeface="+mj-lt"/>
                <a:cs typeface="Arial" panose="020B0604020202020204" pitchFamily="34" charset="0"/>
              </a:rPr>
              <a:t>?</a:t>
            </a:r>
          </a:p>
        </p:txBody>
      </p:sp>
      <p:sp>
        <p:nvSpPr>
          <p:cNvPr id="25" name="TextBox 24">
            <a:extLst>
              <a:ext uri="{FF2B5EF4-FFF2-40B4-BE49-F238E27FC236}">
                <a16:creationId xmlns:a16="http://schemas.microsoft.com/office/drawing/2014/main" id="{0ECC9F57-CF49-4DE9-A193-ACA3C8FEE863}"/>
              </a:ext>
            </a:extLst>
          </p:cNvPr>
          <p:cNvSpPr txBox="1"/>
          <p:nvPr/>
        </p:nvSpPr>
        <p:spPr>
          <a:xfrm>
            <a:off x="711551" y="7965657"/>
            <a:ext cx="15599367" cy="1131848"/>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anchor="ctr">
            <a:spAutoFit/>
          </a:bodyPr>
          <a:lstStyle/>
          <a:p>
            <a:pPr algn="ctr">
              <a:lnSpc>
                <a:spcPct val="150000"/>
              </a:lnSpc>
            </a:pPr>
            <a:r>
              <a:rPr lang="es-ES" sz="2400" err="1">
                <a:solidFill>
                  <a:schemeClr val="bg1"/>
                </a:solidFill>
              </a:rPr>
              <a:t>With</a:t>
            </a:r>
            <a:r>
              <a:rPr lang="es-ES" sz="2400">
                <a:solidFill>
                  <a:schemeClr val="bg1"/>
                </a:solidFill>
              </a:rPr>
              <a:t> </a:t>
            </a:r>
            <a:r>
              <a:rPr lang="es-ES" sz="2400" err="1">
                <a:solidFill>
                  <a:schemeClr val="bg1"/>
                </a:solidFill>
              </a:rPr>
              <a:t>these</a:t>
            </a:r>
            <a:r>
              <a:rPr lang="es-ES" sz="2400">
                <a:solidFill>
                  <a:schemeClr val="bg1"/>
                </a:solidFill>
              </a:rPr>
              <a:t> </a:t>
            </a:r>
            <a:r>
              <a:rPr lang="es-ES" sz="2400" err="1">
                <a:solidFill>
                  <a:schemeClr val="bg1"/>
                </a:solidFill>
              </a:rPr>
              <a:t>actions</a:t>
            </a:r>
            <a:r>
              <a:rPr lang="es-ES" sz="2400">
                <a:solidFill>
                  <a:schemeClr val="bg1"/>
                </a:solidFill>
              </a:rPr>
              <a:t>, </a:t>
            </a:r>
            <a:r>
              <a:rPr lang="es-ES" sz="2400" err="1">
                <a:solidFill>
                  <a:schemeClr val="bg1"/>
                </a:solidFill>
              </a:rPr>
              <a:t>it</a:t>
            </a:r>
            <a:r>
              <a:rPr lang="es-ES" sz="2400">
                <a:solidFill>
                  <a:schemeClr val="bg1"/>
                </a:solidFill>
              </a:rPr>
              <a:t> </a:t>
            </a:r>
            <a:r>
              <a:rPr lang="es-ES" sz="2400" err="1">
                <a:solidFill>
                  <a:schemeClr val="bg1"/>
                </a:solidFill>
              </a:rPr>
              <a:t>is</a:t>
            </a:r>
            <a:r>
              <a:rPr lang="es-ES" sz="2400">
                <a:solidFill>
                  <a:schemeClr val="bg1"/>
                </a:solidFill>
              </a:rPr>
              <a:t> </a:t>
            </a:r>
            <a:r>
              <a:rPr lang="es-ES" sz="2400" err="1">
                <a:solidFill>
                  <a:schemeClr val="bg1"/>
                </a:solidFill>
              </a:rPr>
              <a:t>expected</a:t>
            </a:r>
            <a:r>
              <a:rPr lang="es-ES" sz="2400">
                <a:solidFill>
                  <a:schemeClr val="bg1"/>
                </a:solidFill>
              </a:rPr>
              <a:t> </a:t>
            </a:r>
            <a:r>
              <a:rPr lang="en-US" sz="2400">
                <a:effectLst/>
                <a:latin typeface="Arial MT"/>
                <a:ea typeface="Arial MT"/>
                <a:cs typeface="Arial MT"/>
              </a:rPr>
              <a:t>to reduce the steel process’ environmental footprint, through</a:t>
            </a:r>
            <a:r>
              <a:rPr lang="en-US" sz="2400" spc="5">
                <a:effectLst/>
                <a:latin typeface="Arial MT"/>
                <a:ea typeface="Arial MT"/>
                <a:cs typeface="Arial MT"/>
              </a:rPr>
              <a:t> </a:t>
            </a:r>
            <a:r>
              <a:rPr lang="en-US" sz="2400">
                <a:effectLst/>
                <a:latin typeface="Arial MT"/>
                <a:ea typeface="Arial MT"/>
                <a:cs typeface="Arial MT"/>
              </a:rPr>
              <a:t>incorporation of more sustainable feedstock into their processes, following circular economy and</a:t>
            </a:r>
            <a:r>
              <a:rPr lang="en-US" sz="2400" spc="5">
                <a:effectLst/>
                <a:latin typeface="Arial MT"/>
                <a:ea typeface="Arial MT"/>
                <a:cs typeface="Arial MT"/>
              </a:rPr>
              <a:t> </a:t>
            </a:r>
            <a:r>
              <a:rPr lang="en-US" sz="2400">
                <a:effectLst/>
                <a:latin typeface="Arial MT"/>
                <a:ea typeface="Arial MT"/>
                <a:cs typeface="Arial MT"/>
              </a:rPr>
              <a:t>industrial symbiosis principles.</a:t>
            </a:r>
            <a:endParaRPr lang="sv-SE" sz="2200">
              <a:solidFill>
                <a:schemeClr val="bg1"/>
              </a:solidFill>
            </a:endParaRPr>
          </a:p>
        </p:txBody>
      </p:sp>
      <p:sp>
        <p:nvSpPr>
          <p:cNvPr id="27" name="TextBox 26">
            <a:extLst>
              <a:ext uri="{FF2B5EF4-FFF2-40B4-BE49-F238E27FC236}">
                <a16:creationId xmlns:a16="http://schemas.microsoft.com/office/drawing/2014/main" id="{27B009C8-959E-4FF7-8463-7D48E40FAEEA}"/>
              </a:ext>
            </a:extLst>
          </p:cNvPr>
          <p:cNvSpPr txBox="1"/>
          <p:nvPr/>
        </p:nvSpPr>
        <p:spPr>
          <a:xfrm>
            <a:off x="13906094" y="6278472"/>
            <a:ext cx="4381896" cy="369332"/>
          </a:xfrm>
          <a:prstGeom prst="rect">
            <a:avLst/>
          </a:prstGeom>
          <a:noFill/>
        </p:spPr>
        <p:txBody>
          <a:bodyPr wrap="square">
            <a:spAutoFit/>
          </a:bodyPr>
          <a:lstStyle/>
          <a:p>
            <a:r>
              <a:rPr lang="en-US" sz="1800" i="1">
                <a:effectLst/>
                <a:latin typeface="Arial" panose="020B0604020202020204" pitchFamily="34" charset="0"/>
                <a:ea typeface="Arial MT"/>
                <a:cs typeface="Arial MT"/>
              </a:rPr>
              <a:t>SILCOTUB’s</a:t>
            </a:r>
            <a:r>
              <a:rPr lang="en-US" sz="1800" i="1" spc="-35">
                <a:effectLst/>
                <a:latin typeface="Arial" panose="020B0604020202020204" pitchFamily="34" charset="0"/>
                <a:ea typeface="Arial MT"/>
                <a:cs typeface="Arial MT"/>
              </a:rPr>
              <a:t> </a:t>
            </a:r>
            <a:r>
              <a:rPr lang="en-US" sz="1800" i="1">
                <a:effectLst/>
                <a:latin typeface="Arial" panose="020B0604020202020204" pitchFamily="34" charset="0"/>
                <a:ea typeface="Arial MT"/>
                <a:cs typeface="Arial MT"/>
              </a:rPr>
              <a:t>EAF</a:t>
            </a:r>
            <a:r>
              <a:rPr lang="en-US" sz="1800" i="1" spc="-45">
                <a:effectLst/>
                <a:latin typeface="Arial" panose="020B0604020202020204" pitchFamily="34" charset="0"/>
                <a:ea typeface="Arial MT"/>
                <a:cs typeface="Arial MT"/>
              </a:rPr>
              <a:t> </a:t>
            </a:r>
            <a:r>
              <a:rPr lang="en-US" sz="1800" i="1">
                <a:effectLst/>
                <a:latin typeface="Arial" panose="020B0604020202020204" pitchFamily="34" charset="0"/>
                <a:ea typeface="Arial MT"/>
                <a:cs typeface="Arial MT"/>
              </a:rPr>
              <a:t>layout</a:t>
            </a:r>
            <a:endParaRPr lang="sv-SE"/>
          </a:p>
        </p:txBody>
      </p:sp>
      <p:pic>
        <p:nvPicPr>
          <p:cNvPr id="28" name="image50.jpeg">
            <a:extLst>
              <a:ext uri="{FF2B5EF4-FFF2-40B4-BE49-F238E27FC236}">
                <a16:creationId xmlns:a16="http://schemas.microsoft.com/office/drawing/2014/main" id="{316AF2BC-42FC-4FFA-805C-7746B001497E}"/>
              </a:ext>
            </a:extLst>
          </p:cNvPr>
          <p:cNvPicPr>
            <a:picLocks noChangeAspect="1"/>
          </p:cNvPicPr>
          <p:nvPr/>
        </p:nvPicPr>
        <p:blipFill>
          <a:blip r:embed="rId6" cstate="print"/>
          <a:stretch>
            <a:fillRect/>
          </a:stretch>
        </p:blipFill>
        <p:spPr>
          <a:xfrm>
            <a:off x="13416039" y="2361067"/>
            <a:ext cx="3938922" cy="3711855"/>
          </a:xfrm>
          <a:prstGeom prst="rect">
            <a:avLst/>
          </a:prstGeom>
        </p:spPr>
      </p:pic>
    </p:spTree>
    <p:extLst>
      <p:ext uri="{BB962C8B-B14F-4D97-AF65-F5344CB8AC3E}">
        <p14:creationId xmlns:p14="http://schemas.microsoft.com/office/powerpoint/2010/main" val="314054805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6FB10D54-872A-4321-A299-5E7A8C17CAF5}"/>
              </a:ext>
            </a:extLst>
          </p:cNvPr>
          <p:cNvPicPr>
            <a:picLocks noChangeAspect="1"/>
          </p:cNvPicPr>
          <p:nvPr/>
        </p:nvPicPr>
        <p:blipFill rotWithShape="1">
          <a:blip r:embed="rId3">
            <a:alphaModFix amt="20000"/>
          </a:blip>
          <a:srcRect t="23260" b="17641"/>
          <a:stretch/>
        </p:blipFill>
        <p:spPr>
          <a:xfrm>
            <a:off x="287989" y="3226852"/>
            <a:ext cx="17729859" cy="5668432"/>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6"/>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4"/>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5"/>
          <a:srcRect/>
          <a:stretch>
            <a:fillRect/>
          </a:stretch>
        </p:blipFill>
        <p:spPr>
          <a:xfrm>
            <a:off x="0" y="8901113"/>
            <a:ext cx="5715000" cy="1385887"/>
          </a:xfrm>
          <a:prstGeom prst="rect">
            <a:avLst/>
          </a:prstGeom>
        </p:spPr>
      </p:pic>
      <p:grpSp>
        <p:nvGrpSpPr>
          <p:cNvPr id="2" name="Gruppo 1">
            <a:extLst>
              <a:ext uri="{FF2B5EF4-FFF2-40B4-BE49-F238E27FC236}">
                <a16:creationId xmlns:a16="http://schemas.microsoft.com/office/drawing/2014/main" id="{D8D71BB5-458F-411D-AFA9-C648954E9F40}"/>
              </a:ext>
            </a:extLst>
          </p:cNvPr>
          <p:cNvGrpSpPr/>
          <p:nvPr/>
        </p:nvGrpSpPr>
        <p:grpSpPr>
          <a:xfrm>
            <a:off x="-12" y="138554"/>
            <a:ext cx="18288002" cy="681138"/>
            <a:chOff x="-12" y="138554"/>
            <a:chExt cx="18288002" cy="681138"/>
          </a:xfrm>
        </p:grpSpPr>
        <p:grpSp>
          <p:nvGrpSpPr>
            <p:cNvPr id="16" name="Gruppo 15">
              <a:extLst>
                <a:ext uri="{FF2B5EF4-FFF2-40B4-BE49-F238E27FC236}">
                  <a16:creationId xmlns:a16="http://schemas.microsoft.com/office/drawing/2014/main" id="{DAC42A46-917D-41AB-8F07-E15E54D0F7D4}"/>
                </a:ext>
              </a:extLst>
            </p:cNvPr>
            <p:cNvGrpSpPr/>
            <p:nvPr/>
          </p:nvGrpSpPr>
          <p:grpSpPr>
            <a:xfrm>
              <a:off x="0" y="153125"/>
              <a:ext cx="13958844" cy="666567"/>
              <a:chOff x="0" y="153125"/>
              <a:chExt cx="13958844" cy="666567"/>
            </a:xfrm>
          </p:grpSpPr>
          <p:pic>
            <p:nvPicPr>
              <p:cNvPr id="10" name="Picture 10"/>
              <p:cNvPicPr>
                <a:picLocks noChangeAspect="1"/>
              </p:cNvPicPr>
              <p:nvPr/>
            </p:nvPicPr>
            <p:blipFill>
              <a:blip r:embed="rId6"/>
              <a:srcRect l="134" t="91287" b="3943"/>
              <a:stretch>
                <a:fillRect/>
              </a:stretch>
            </p:blipFill>
            <p:spPr>
              <a:xfrm>
                <a:off x="0" y="153125"/>
                <a:ext cx="13958844" cy="666567"/>
              </a:xfrm>
              <a:prstGeom prst="rect">
                <a:avLst/>
              </a:prstGeom>
            </p:spPr>
          </p:pic>
          <p:sp>
            <p:nvSpPr>
              <p:cNvPr id="11" name="TextBox 11"/>
              <p:cNvSpPr txBox="1"/>
              <p:nvPr/>
            </p:nvSpPr>
            <p:spPr>
              <a:xfrm>
                <a:off x="228600" y="257980"/>
                <a:ext cx="5752704" cy="456856"/>
              </a:xfrm>
              <a:prstGeom prst="rect">
                <a:avLst/>
              </a:prstGeom>
            </p:spPr>
            <p:txBody>
              <a:bodyPr wrap="square" lIns="0" tIns="0" rIns="0" bIns="0" rtlCol="0" anchor="t">
                <a:spAutoFit/>
              </a:bodyPr>
              <a:lstStyle/>
              <a:p>
                <a:pPr>
                  <a:lnSpc>
                    <a:spcPts val="3919"/>
                  </a:lnSpc>
                  <a:spcBef>
                    <a:spcPct val="0"/>
                  </a:spcBef>
                </a:pPr>
                <a:endParaRPr lang="en-US" sz="2800" b="1">
                  <a:solidFill>
                    <a:srgbClr val="FFFFFF"/>
                  </a:solidFill>
                  <a:latin typeface="Arial" panose="020B0604020202020204" pitchFamily="34" charset="0"/>
                  <a:cs typeface="Arial" panose="020B0604020202020204" pitchFamily="34" charset="0"/>
                </a:endParaRPr>
              </a:p>
            </p:txBody>
          </p:sp>
        </p:grpSp>
        <p:sp>
          <p:nvSpPr>
            <p:cNvPr id="12" name="Rettangolo 11">
              <a:extLst>
                <a:ext uri="{FF2B5EF4-FFF2-40B4-BE49-F238E27FC236}">
                  <a16:creationId xmlns:a16="http://schemas.microsoft.com/office/drawing/2014/main" id="{F2E90E36-F5DF-479E-BF3B-C6F6A1CEA4E7}"/>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9" name="TextBox 14">
            <a:extLst>
              <a:ext uri="{FF2B5EF4-FFF2-40B4-BE49-F238E27FC236}">
                <a16:creationId xmlns:a16="http://schemas.microsoft.com/office/drawing/2014/main" id="{B5C457C5-5E6A-4DD1-9F95-583C431D5128}"/>
              </a:ext>
            </a:extLst>
          </p:cNvPr>
          <p:cNvSpPr txBox="1"/>
          <p:nvPr/>
        </p:nvSpPr>
        <p:spPr>
          <a:xfrm rot="-10800000" flipV="1">
            <a:off x="890636" y="4739710"/>
            <a:ext cx="7162789" cy="3939540"/>
          </a:xfrm>
          <a:prstGeom prst="rect">
            <a:avLst/>
          </a:prstGeom>
        </p:spPr>
        <p:txBody>
          <a:bodyPr wrap="square" lIns="0" tIns="0" rIns="0" bIns="0" rtlCol="0" anchor="t">
            <a:spAutoFit/>
          </a:bodyPr>
          <a:lstStyle/>
          <a:p>
            <a:pPr>
              <a:buClr>
                <a:srgbClr val="CC0033"/>
              </a:buClr>
            </a:pPr>
            <a:r>
              <a:rPr lang="en-US" sz="3200" b="1">
                <a:solidFill>
                  <a:schemeClr val="accent1"/>
                </a:solidFill>
              </a:rPr>
              <a:t>Retrofitting actions SILCOTUB</a:t>
            </a:r>
            <a:endParaRPr lang="en-US">
              <a:solidFill>
                <a:schemeClr val="accent1"/>
              </a:solidFill>
            </a:endParaRPr>
          </a:p>
          <a:p>
            <a:pPr>
              <a:buClr>
                <a:srgbClr val="CC0033"/>
              </a:buClr>
            </a:pPr>
            <a:endParaRPr lang="en-US" sz="3200" b="1">
              <a:solidFill>
                <a:schemeClr val="accent1"/>
              </a:solidFill>
            </a:endParaRPr>
          </a:p>
          <a:p>
            <a:pPr marL="457200" indent="-457200">
              <a:buClr>
                <a:srgbClr val="CC0033"/>
              </a:buClr>
              <a:buFont typeface="Wingdings" panose="05000000000000000000" pitchFamily="2" charset="2"/>
              <a:buChar char="ü"/>
            </a:pPr>
            <a:r>
              <a:rPr lang="en-US" sz="3200" b="1"/>
              <a:t>Feeding injection system </a:t>
            </a:r>
            <a:endParaRPr lang="en-US" sz="3200" b="1">
              <a:cs typeface="Arial"/>
            </a:endParaRPr>
          </a:p>
          <a:p>
            <a:pPr>
              <a:buClr>
                <a:srgbClr val="CC0033"/>
              </a:buClr>
            </a:pPr>
            <a:endParaRPr lang="en-US" sz="3200" b="1">
              <a:solidFill>
                <a:schemeClr val="accent1"/>
              </a:solidFill>
            </a:endParaRPr>
          </a:p>
          <a:p>
            <a:pPr marL="457200" indent="-457200">
              <a:buClr>
                <a:srgbClr val="CC0033"/>
              </a:buClr>
              <a:buFont typeface="Wingdings" panose="05000000000000000000" pitchFamily="2" charset="2"/>
              <a:buChar char="ü"/>
            </a:pPr>
            <a:endParaRPr lang="en-US" sz="3200" b="1">
              <a:solidFill>
                <a:schemeClr val="accent1"/>
              </a:solidFill>
            </a:endParaRPr>
          </a:p>
          <a:p>
            <a:pPr>
              <a:buClr>
                <a:srgbClr val="CC0033"/>
              </a:buClr>
            </a:pPr>
            <a:endParaRPr lang="en-US" sz="3200" b="1">
              <a:solidFill>
                <a:schemeClr val="accent1"/>
              </a:solidFill>
            </a:endParaRPr>
          </a:p>
          <a:p>
            <a:pPr>
              <a:buClr>
                <a:srgbClr val="CC0033"/>
              </a:buClr>
            </a:pPr>
            <a:endParaRPr lang="en-US" sz="3200" b="1">
              <a:solidFill>
                <a:schemeClr val="accent1"/>
              </a:solidFill>
            </a:endParaRPr>
          </a:p>
          <a:p>
            <a:pPr marL="457200" indent="-457200">
              <a:buClr>
                <a:srgbClr val="CC0033"/>
              </a:buClr>
              <a:buFont typeface="Wingdings" panose="05000000000000000000" pitchFamily="2" charset="2"/>
              <a:buChar char="ü"/>
            </a:pPr>
            <a:endParaRPr lang="es-ES" sz="3200" b="1"/>
          </a:p>
        </p:txBody>
      </p:sp>
      <p:sp>
        <p:nvSpPr>
          <p:cNvPr id="14" name="TextBox 14">
            <a:extLst>
              <a:ext uri="{FF2B5EF4-FFF2-40B4-BE49-F238E27FC236}">
                <a16:creationId xmlns:a16="http://schemas.microsoft.com/office/drawing/2014/main" id="{12570483-BBAE-48AE-8153-04CB0245E339}"/>
              </a:ext>
            </a:extLst>
          </p:cNvPr>
          <p:cNvSpPr txBox="1"/>
          <p:nvPr/>
        </p:nvSpPr>
        <p:spPr>
          <a:xfrm>
            <a:off x="406389" y="1004417"/>
            <a:ext cx="16611600" cy="2462213"/>
          </a:xfrm>
          <a:prstGeom prst="rect">
            <a:avLst/>
          </a:prstGeom>
        </p:spPr>
        <p:txBody>
          <a:bodyPr wrap="square" lIns="0" tIns="0" rIns="0" bIns="0" rtlCol="0" anchor="t">
            <a:spAutoFit/>
          </a:bodyPr>
          <a:lstStyle/>
          <a:p>
            <a:r>
              <a:rPr lang="sv-SE" sz="4800" b="1" err="1">
                <a:solidFill>
                  <a:srgbClr val="CC0033"/>
                </a:solidFill>
                <a:latin typeface="+mj-lt"/>
                <a:cs typeface="Arial"/>
              </a:rPr>
              <a:t>Summary</a:t>
            </a:r>
            <a:r>
              <a:rPr lang="sv-SE" sz="4800" b="1">
                <a:solidFill>
                  <a:srgbClr val="CC0033"/>
                </a:solidFill>
                <a:latin typeface="+mj-lt"/>
                <a:cs typeface="Arial"/>
              </a:rPr>
              <a:t> </a:t>
            </a:r>
            <a:r>
              <a:rPr lang="sv-SE" sz="4800" b="1" err="1">
                <a:solidFill>
                  <a:srgbClr val="CC0033"/>
                </a:solidFill>
                <a:latin typeface="+mj-lt"/>
                <a:cs typeface="Arial"/>
              </a:rPr>
              <a:t>of</a:t>
            </a:r>
            <a:r>
              <a:rPr lang="sv-SE" sz="4800" b="1">
                <a:solidFill>
                  <a:srgbClr val="CC0033"/>
                </a:solidFill>
                <a:latin typeface="+mj-lt"/>
                <a:cs typeface="Arial"/>
              </a:rPr>
              <a:t> actions and </a:t>
            </a:r>
            <a:r>
              <a:rPr lang="sv-SE" sz="4800" b="1" err="1">
                <a:solidFill>
                  <a:srgbClr val="CC0033"/>
                </a:solidFill>
                <a:latin typeface="+mj-lt"/>
                <a:cs typeface="Arial"/>
              </a:rPr>
              <a:t>goals</a:t>
            </a:r>
            <a:r>
              <a:rPr lang="sv-SE" sz="4800" b="1">
                <a:solidFill>
                  <a:srgbClr val="CC0033"/>
                </a:solidFill>
                <a:latin typeface="+mj-lt"/>
                <a:cs typeface="Arial"/>
              </a:rPr>
              <a:t> </a:t>
            </a:r>
            <a:r>
              <a:rPr lang="sv-SE" sz="4800" b="1" err="1">
                <a:solidFill>
                  <a:srgbClr val="CC0033"/>
                </a:solidFill>
                <a:latin typeface="+mj-lt"/>
                <a:cs typeface="Arial"/>
              </a:rPr>
              <a:t>of</a:t>
            </a:r>
            <a:r>
              <a:rPr lang="sv-SE" sz="4800" b="1">
                <a:solidFill>
                  <a:srgbClr val="CC0033"/>
                </a:solidFill>
                <a:latin typeface="+mj-lt"/>
                <a:cs typeface="Arial"/>
              </a:rPr>
              <a:t> </a:t>
            </a:r>
            <a:endParaRPr lang="en-US" sz="4800" b="1">
              <a:solidFill>
                <a:srgbClr val="CC0033"/>
              </a:solidFill>
              <a:latin typeface="+mj-lt"/>
              <a:cs typeface="Arial"/>
            </a:endParaRPr>
          </a:p>
          <a:p>
            <a:r>
              <a:rPr lang="en-US" sz="4800" b="1">
                <a:solidFill>
                  <a:srgbClr val="CC0033"/>
                </a:solidFill>
                <a:latin typeface="+mj-lt"/>
                <a:cs typeface="Arial"/>
              </a:rPr>
              <a:t>SILCOTUB </a:t>
            </a:r>
            <a:r>
              <a:rPr lang="sv-SE" sz="4800" b="1" err="1">
                <a:solidFill>
                  <a:srgbClr val="CC0033"/>
                </a:solidFill>
                <a:latin typeface="+mj-lt"/>
                <a:cs typeface="Arial"/>
              </a:rPr>
              <a:t>retrofitting</a:t>
            </a:r>
            <a:endParaRPr lang="en-US" sz="4800" b="1">
              <a:solidFill>
                <a:srgbClr val="CC0033"/>
              </a:solidFill>
              <a:latin typeface="+mj-lt"/>
              <a:cs typeface="Arial"/>
            </a:endParaRPr>
          </a:p>
          <a:p>
            <a:endParaRPr lang="en-US" sz="3200" b="1">
              <a:solidFill>
                <a:schemeClr val="accent1"/>
              </a:solidFill>
              <a:cs typeface="Arial"/>
            </a:endParaRPr>
          </a:p>
          <a:p>
            <a:pPr marL="0" indent="0">
              <a:buClr>
                <a:schemeClr val="accent5"/>
              </a:buClr>
              <a:buNone/>
            </a:pPr>
            <a:endParaRPr lang="en-US" sz="3200"/>
          </a:p>
        </p:txBody>
      </p:sp>
      <p:sp>
        <p:nvSpPr>
          <p:cNvPr id="26" name="TextBox 14">
            <a:extLst>
              <a:ext uri="{FF2B5EF4-FFF2-40B4-BE49-F238E27FC236}">
                <a16:creationId xmlns:a16="http://schemas.microsoft.com/office/drawing/2014/main" id="{7D36EA49-80B0-4761-8A24-F05F322EAC77}"/>
              </a:ext>
            </a:extLst>
          </p:cNvPr>
          <p:cNvSpPr txBox="1"/>
          <p:nvPr/>
        </p:nvSpPr>
        <p:spPr>
          <a:xfrm>
            <a:off x="10234575" y="4099754"/>
            <a:ext cx="7162789" cy="3447098"/>
          </a:xfrm>
          <a:prstGeom prst="rect">
            <a:avLst/>
          </a:prstGeom>
        </p:spPr>
        <p:txBody>
          <a:bodyPr wrap="square" lIns="0" tIns="0" rIns="0" bIns="0" rtlCol="0" anchor="t">
            <a:spAutoFit/>
          </a:bodyPr>
          <a:lstStyle/>
          <a:p>
            <a:pPr>
              <a:buClr>
                <a:schemeClr val="accent5"/>
              </a:buClr>
            </a:pPr>
            <a:r>
              <a:rPr lang="en-US" sz="3200" b="1">
                <a:solidFill>
                  <a:schemeClr val="accent2">
                    <a:lumMod val="75000"/>
                  </a:schemeClr>
                </a:solidFill>
              </a:rPr>
              <a:t>Goals</a:t>
            </a:r>
          </a:p>
          <a:p>
            <a:pPr>
              <a:buClr>
                <a:schemeClr val="accent5"/>
              </a:buClr>
            </a:pPr>
            <a:endParaRPr lang="en-US" sz="3200" b="1"/>
          </a:p>
          <a:p>
            <a:pPr marL="457200" indent="-457200">
              <a:buClr>
                <a:schemeClr val="accent2">
                  <a:lumMod val="75000"/>
                </a:schemeClr>
              </a:buClr>
              <a:buFont typeface="Wingdings" panose="05000000000000000000" pitchFamily="2" charset="2"/>
              <a:buChar char="ü"/>
            </a:pPr>
            <a:r>
              <a:rPr lang="en-US" sz="3200" b="1"/>
              <a:t>Reduction of GHG emissions </a:t>
            </a:r>
          </a:p>
          <a:p>
            <a:pPr marL="457200" indent="-457200">
              <a:buClr>
                <a:srgbClr val="99CC99"/>
              </a:buClr>
              <a:buFont typeface="Wingdings" panose="05000000000000000000" pitchFamily="2" charset="2"/>
              <a:buChar char="ü"/>
            </a:pPr>
            <a:endParaRPr lang="en-US" sz="3200" b="1"/>
          </a:p>
          <a:p>
            <a:pPr marL="457200" indent="-457200">
              <a:buClr>
                <a:schemeClr val="accent2">
                  <a:lumMod val="75000"/>
                </a:schemeClr>
              </a:buClr>
              <a:buFont typeface="Wingdings" panose="05000000000000000000" pitchFamily="2" charset="2"/>
              <a:buChar char="ü"/>
            </a:pPr>
            <a:r>
              <a:rPr lang="en-US" sz="3200" b="1"/>
              <a:t>Use of alternative feedstock</a:t>
            </a:r>
          </a:p>
          <a:p>
            <a:pPr>
              <a:buClr>
                <a:schemeClr val="accent2">
                  <a:lumMod val="75000"/>
                </a:schemeClr>
              </a:buClr>
            </a:pPr>
            <a:endParaRPr lang="en-US" sz="3200" b="1"/>
          </a:p>
          <a:p>
            <a:pPr marL="457200" indent="-457200">
              <a:buClr>
                <a:schemeClr val="accent2">
                  <a:lumMod val="75000"/>
                </a:schemeClr>
              </a:buClr>
              <a:buFont typeface="Wingdings" panose="05000000000000000000" pitchFamily="2" charset="2"/>
              <a:buChar char="ü"/>
            </a:pPr>
            <a:r>
              <a:rPr lang="en-US" sz="3200" b="1"/>
              <a:t>M&amp;C system improvement</a:t>
            </a:r>
            <a:endParaRPr lang="es-ES" sz="3200" b="1"/>
          </a:p>
        </p:txBody>
      </p:sp>
      <p:cxnSp>
        <p:nvCxnSpPr>
          <p:cNvPr id="22" name="Conector recto 21">
            <a:extLst>
              <a:ext uri="{FF2B5EF4-FFF2-40B4-BE49-F238E27FC236}">
                <a16:creationId xmlns:a16="http://schemas.microsoft.com/office/drawing/2014/main" id="{C1C13E5C-9B1F-4C49-A1A9-8711ED072063}"/>
              </a:ext>
            </a:extLst>
          </p:cNvPr>
          <p:cNvCxnSpPr>
            <a:cxnSpLocks/>
          </p:cNvCxnSpPr>
          <p:nvPr/>
        </p:nvCxnSpPr>
        <p:spPr>
          <a:xfrm>
            <a:off x="8915400" y="3226852"/>
            <a:ext cx="0" cy="2880000"/>
          </a:xfrm>
          <a:prstGeom prst="line">
            <a:avLst/>
          </a:prstGeom>
          <a:ln w="63500"/>
        </p:spPr>
        <p:style>
          <a:lnRef idx="1">
            <a:schemeClr val="accent1"/>
          </a:lnRef>
          <a:fillRef idx="0">
            <a:schemeClr val="accent1"/>
          </a:fillRef>
          <a:effectRef idx="0">
            <a:schemeClr val="accent1"/>
          </a:effectRef>
          <a:fontRef idx="minor">
            <a:schemeClr val="tx1"/>
          </a:fontRef>
        </p:style>
      </p:cxnSp>
      <p:cxnSp>
        <p:nvCxnSpPr>
          <p:cNvPr id="23" name="Conector recto 22">
            <a:extLst>
              <a:ext uri="{FF2B5EF4-FFF2-40B4-BE49-F238E27FC236}">
                <a16:creationId xmlns:a16="http://schemas.microsoft.com/office/drawing/2014/main" id="{F94BB75A-6E76-4134-ACE8-6F0CFB1646EA}"/>
              </a:ext>
            </a:extLst>
          </p:cNvPr>
          <p:cNvCxnSpPr>
            <a:cxnSpLocks/>
          </p:cNvCxnSpPr>
          <p:nvPr/>
        </p:nvCxnSpPr>
        <p:spPr>
          <a:xfrm>
            <a:off x="8915400" y="6106852"/>
            <a:ext cx="0" cy="2880000"/>
          </a:xfrm>
          <a:prstGeom prst="line">
            <a:avLst/>
          </a:prstGeom>
          <a:ln w="63500">
            <a:solidFill>
              <a:srgbClr val="99CC99"/>
            </a:solidFill>
          </a:ln>
        </p:spPr>
        <p:style>
          <a:lnRef idx="1">
            <a:schemeClr val="accent1"/>
          </a:lnRef>
          <a:fillRef idx="0">
            <a:schemeClr val="accent1"/>
          </a:fillRef>
          <a:effectRef idx="0">
            <a:schemeClr val="accent1"/>
          </a:effectRef>
          <a:fontRef idx="minor">
            <a:schemeClr val="tx1"/>
          </a:fontRef>
        </p:style>
      </p:cxnSp>
      <p:pic>
        <p:nvPicPr>
          <p:cNvPr id="4" name="Picture 2" descr="t_T_SB">
            <a:extLst>
              <a:ext uri="{FF2B5EF4-FFF2-40B4-BE49-F238E27FC236}">
                <a16:creationId xmlns:a16="http://schemas.microsoft.com/office/drawing/2014/main" id="{5DABEBD0-A048-4409-A6BE-D2DC62FAF71B}"/>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3715805" y="1102001"/>
            <a:ext cx="3302184" cy="4524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14044541"/>
      </p:ext>
    </p:extLst>
  </p:cSld>
  <p:clrMapOvr>
    <a:masterClrMapping/>
  </p:clrMapOvr>
  <mc:AlternateContent xmlns:mc="http://schemas.openxmlformats.org/markup-compatibility/2006" xmlns:p14="http://schemas.microsoft.com/office/powerpoint/2010/main">
    <mc:Choice Requires="p14">
      <p:transition spd="slow" p14:dur="2000" advTm="83130"/>
    </mc:Choice>
    <mc:Fallback xmlns="">
      <p:transition spd="slow" advTm="83130"/>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8294908-8B00-4F58-BBBA-20F71A40AA9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8288000" cy="10287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Freeform: Shape 10">
            <a:extLst>
              <a:ext uri="{FF2B5EF4-FFF2-40B4-BE49-F238E27FC236}">
                <a16:creationId xmlns:a16="http://schemas.microsoft.com/office/drawing/2014/main" id="{4364C879-1404-4203-8E9D-CC5DE0A621A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124173" y="-2079252"/>
            <a:ext cx="3637310" cy="5416787"/>
          </a:xfrm>
          <a:custGeom>
            <a:avLst/>
            <a:gdLst>
              <a:gd name="connsiteX0" fmla="*/ 0 w 2424873"/>
              <a:gd name="connsiteY0" fmla="*/ 2424874 h 3611191"/>
              <a:gd name="connsiteX1" fmla="*/ 2424873 w 2424873"/>
              <a:gd name="connsiteY1" fmla="*/ 0 h 3611191"/>
              <a:gd name="connsiteX2" fmla="*/ 2424873 w 2424873"/>
              <a:gd name="connsiteY2" fmla="*/ 3611191 h 3611191"/>
              <a:gd name="connsiteX3" fmla="*/ 1186317 w 2424873"/>
              <a:gd name="connsiteY3" fmla="*/ 3611191 h 3611191"/>
            </a:gdLst>
            <a:ahLst/>
            <a:cxnLst>
              <a:cxn ang="0">
                <a:pos x="connsiteX0" y="connsiteY0"/>
              </a:cxn>
              <a:cxn ang="0">
                <a:pos x="connsiteX1" y="connsiteY1"/>
              </a:cxn>
              <a:cxn ang="0">
                <a:pos x="connsiteX2" y="connsiteY2"/>
              </a:cxn>
              <a:cxn ang="0">
                <a:pos x="connsiteX3" y="connsiteY3"/>
              </a:cxn>
            </a:cxnLst>
            <a:rect l="l" t="t" r="r" b="b"/>
            <a:pathLst>
              <a:path w="2424873" h="3611191">
                <a:moveTo>
                  <a:pt x="0" y="2424874"/>
                </a:moveTo>
                <a:lnTo>
                  <a:pt x="2424873" y="0"/>
                </a:lnTo>
                <a:lnTo>
                  <a:pt x="2424873" y="3611191"/>
                </a:lnTo>
                <a:lnTo>
                  <a:pt x="1186317" y="3611191"/>
                </a:lnTo>
                <a:close/>
              </a:path>
            </a:pathLst>
          </a:cu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3" name="Freeform: Shape 12">
            <a:extLst>
              <a:ext uri="{FF2B5EF4-FFF2-40B4-BE49-F238E27FC236}">
                <a16:creationId xmlns:a16="http://schemas.microsoft.com/office/drawing/2014/main" id="{84617302-4B0D-4351-A6BB-6F0930D943A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2356500" y="-507873"/>
            <a:ext cx="2453933" cy="2453933"/>
          </a:xfrm>
          <a:custGeom>
            <a:avLst/>
            <a:gdLst>
              <a:gd name="connsiteX0" fmla="*/ 0 w 1635955"/>
              <a:gd name="connsiteY0" fmla="*/ 957987 h 1635955"/>
              <a:gd name="connsiteX1" fmla="*/ 957987 w 1635955"/>
              <a:gd name="connsiteY1" fmla="*/ 0 h 1635955"/>
              <a:gd name="connsiteX2" fmla="*/ 1635955 w 1635955"/>
              <a:gd name="connsiteY2" fmla="*/ 0 h 1635955"/>
              <a:gd name="connsiteX3" fmla="*/ 1635955 w 1635955"/>
              <a:gd name="connsiteY3" fmla="*/ 1635955 h 1635955"/>
              <a:gd name="connsiteX4" fmla="*/ 0 w 1635955"/>
              <a:gd name="connsiteY4" fmla="*/ 1635955 h 1635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5955" h="1635955">
                <a:moveTo>
                  <a:pt x="0" y="957987"/>
                </a:moveTo>
                <a:lnTo>
                  <a:pt x="957987" y="0"/>
                </a:lnTo>
                <a:lnTo>
                  <a:pt x="1635955" y="0"/>
                </a:lnTo>
                <a:lnTo>
                  <a:pt x="1635955" y="1635955"/>
                </a:lnTo>
                <a:lnTo>
                  <a:pt x="0" y="1635955"/>
                </a:lnTo>
                <a:close/>
              </a:path>
            </a:pathLst>
          </a:cu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Shape 14">
            <a:extLst>
              <a:ext uri="{FF2B5EF4-FFF2-40B4-BE49-F238E27FC236}">
                <a16:creationId xmlns:a16="http://schemas.microsoft.com/office/drawing/2014/main" id="{DA2C7802-C2E0-4218-8F89-8DD7CCD2CD1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14441978" y="-9882"/>
            <a:ext cx="6089090" cy="3822165"/>
          </a:xfrm>
          <a:custGeom>
            <a:avLst/>
            <a:gdLst>
              <a:gd name="connsiteX0" fmla="*/ 0 w 4059393"/>
              <a:gd name="connsiteY0" fmla="*/ 1511282 h 2548110"/>
              <a:gd name="connsiteX1" fmla="*/ 1511282 w 4059393"/>
              <a:gd name="connsiteY1" fmla="*/ 0 h 2548110"/>
              <a:gd name="connsiteX2" fmla="*/ 4059393 w 4059393"/>
              <a:gd name="connsiteY2" fmla="*/ 2548110 h 2548110"/>
              <a:gd name="connsiteX3" fmla="*/ 0 w 4059393"/>
              <a:gd name="connsiteY3" fmla="*/ 2548110 h 2548110"/>
            </a:gdLst>
            <a:ahLst/>
            <a:cxnLst>
              <a:cxn ang="0">
                <a:pos x="connsiteX0" y="connsiteY0"/>
              </a:cxn>
              <a:cxn ang="0">
                <a:pos x="connsiteX1" y="connsiteY1"/>
              </a:cxn>
              <a:cxn ang="0">
                <a:pos x="connsiteX2" y="connsiteY2"/>
              </a:cxn>
              <a:cxn ang="0">
                <a:pos x="connsiteX3" y="connsiteY3"/>
              </a:cxn>
            </a:cxnLst>
            <a:rect l="l" t="t" r="r" b="b"/>
            <a:pathLst>
              <a:path w="4059393" h="2548110">
                <a:moveTo>
                  <a:pt x="0" y="1511282"/>
                </a:moveTo>
                <a:lnTo>
                  <a:pt x="1511282" y="0"/>
                </a:lnTo>
                <a:lnTo>
                  <a:pt x="4059393" y="2548110"/>
                </a:lnTo>
                <a:lnTo>
                  <a:pt x="0" y="2548110"/>
                </a:lnTo>
                <a:close/>
              </a:path>
            </a:pathLst>
          </a:cu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7" name="Rectangle 16">
            <a:extLst>
              <a:ext uri="{FF2B5EF4-FFF2-40B4-BE49-F238E27FC236}">
                <a16:creationId xmlns:a16="http://schemas.microsoft.com/office/drawing/2014/main" id="{A6D7111A-21E5-4EE9-8A78-10E5530F011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15394386" y="2198670"/>
            <a:ext cx="1778562" cy="1778562"/>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9" name="Freeform: Shape 18">
            <a:extLst>
              <a:ext uri="{FF2B5EF4-FFF2-40B4-BE49-F238E27FC236}">
                <a16:creationId xmlns:a16="http://schemas.microsoft.com/office/drawing/2014/main" id="{A3969E80-A77B-49FC-9122-D89AFD5EE11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44336" y="7798115"/>
            <a:ext cx="3667361" cy="3549174"/>
          </a:xfrm>
          <a:custGeom>
            <a:avLst/>
            <a:gdLst>
              <a:gd name="connsiteX0" fmla="*/ 0 w 2203753"/>
              <a:gd name="connsiteY0" fmla="*/ 0 h 2132734"/>
              <a:gd name="connsiteX1" fmla="*/ 2203753 w 2203753"/>
              <a:gd name="connsiteY1" fmla="*/ 0 h 2132734"/>
              <a:gd name="connsiteX2" fmla="*/ 2203753 w 2203753"/>
              <a:gd name="connsiteY2" fmla="*/ 576461 h 2132734"/>
              <a:gd name="connsiteX3" fmla="*/ 647480 w 2203753"/>
              <a:gd name="connsiteY3" fmla="*/ 2132734 h 2132734"/>
              <a:gd name="connsiteX4" fmla="*/ 0 w 2203753"/>
              <a:gd name="connsiteY4" fmla="*/ 1485255 h 2132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3753" h="2132734">
                <a:moveTo>
                  <a:pt x="0" y="0"/>
                </a:moveTo>
                <a:lnTo>
                  <a:pt x="2203753" y="0"/>
                </a:lnTo>
                <a:lnTo>
                  <a:pt x="2203753" y="576461"/>
                </a:lnTo>
                <a:lnTo>
                  <a:pt x="647480" y="2132734"/>
                </a:lnTo>
                <a:lnTo>
                  <a:pt x="0" y="1485255"/>
                </a:lnTo>
                <a:close/>
              </a:path>
            </a:pathLst>
          </a:cu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Rectangle 20">
            <a:extLst>
              <a:ext uri="{FF2B5EF4-FFF2-40B4-BE49-F238E27FC236}">
                <a16:creationId xmlns:a16="http://schemas.microsoft.com/office/drawing/2014/main" id="{1849CA57-76BD-4CF2-80BA-D7A46A01B7B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2654681" y="8159840"/>
            <a:ext cx="1392701" cy="1392701"/>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effectLst>
                <a:outerShdw blurRad="38100" dist="38100" dir="2700000" algn="tl">
                  <a:srgbClr val="000000">
                    <a:alpha val="43137"/>
                  </a:srgbClr>
                </a:outerShdw>
              </a:effectLst>
            </a:endParaRPr>
          </a:p>
        </p:txBody>
      </p:sp>
      <p:sp>
        <p:nvSpPr>
          <p:cNvPr id="23" name="Freeform: Shape 22">
            <a:extLst>
              <a:ext uri="{FF2B5EF4-FFF2-40B4-BE49-F238E27FC236}">
                <a16:creationId xmlns:a16="http://schemas.microsoft.com/office/drawing/2014/main" id="{35E9085E-E730-4768-83D4-6CB7E989715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5101967" y="1101467"/>
            <a:ext cx="8084069" cy="8084069"/>
          </a:xfrm>
          <a:custGeom>
            <a:avLst/>
            <a:gdLst>
              <a:gd name="connsiteX0" fmla="*/ 0 w 5389379"/>
              <a:gd name="connsiteY0" fmla="*/ 540040 h 5389379"/>
              <a:gd name="connsiteX1" fmla="*/ 540040 w 5389379"/>
              <a:gd name="connsiteY1" fmla="*/ 0 h 5389379"/>
              <a:gd name="connsiteX2" fmla="*/ 5389379 w 5389379"/>
              <a:gd name="connsiteY2" fmla="*/ 0 h 5389379"/>
              <a:gd name="connsiteX3" fmla="*/ 5389379 w 5389379"/>
              <a:gd name="connsiteY3" fmla="*/ 4838655 h 5389379"/>
              <a:gd name="connsiteX4" fmla="*/ 4838655 w 5389379"/>
              <a:gd name="connsiteY4" fmla="*/ 5389379 h 5389379"/>
              <a:gd name="connsiteX5" fmla="*/ 0 w 5389379"/>
              <a:gd name="connsiteY5" fmla="*/ 5389379 h 538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89379" h="5389379">
                <a:moveTo>
                  <a:pt x="0" y="540040"/>
                </a:moveTo>
                <a:lnTo>
                  <a:pt x="540040" y="0"/>
                </a:lnTo>
                <a:lnTo>
                  <a:pt x="5389379" y="0"/>
                </a:lnTo>
                <a:lnTo>
                  <a:pt x="5389379" y="4838655"/>
                </a:lnTo>
                <a:lnTo>
                  <a:pt x="4838655" y="5389379"/>
                </a:lnTo>
                <a:lnTo>
                  <a:pt x="0" y="5389379"/>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5" name="Freeform: Shape 24">
            <a:extLst>
              <a:ext uri="{FF2B5EF4-FFF2-40B4-BE49-F238E27FC236}">
                <a16:creationId xmlns:a16="http://schemas.microsoft.com/office/drawing/2014/main" id="{973272FE-A474-4CAE-8CA2-BCC8B476C3F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4050425" y="49925"/>
            <a:ext cx="10187153" cy="10187153"/>
          </a:xfrm>
          <a:custGeom>
            <a:avLst/>
            <a:gdLst>
              <a:gd name="connsiteX0" fmla="*/ 1860938 w 6791435"/>
              <a:gd name="connsiteY0" fmla="*/ 81158 h 6791435"/>
              <a:gd name="connsiteX1" fmla="*/ 1942096 w 6791435"/>
              <a:gd name="connsiteY1" fmla="*/ 0 h 6791435"/>
              <a:gd name="connsiteX2" fmla="*/ 6791435 w 6791435"/>
              <a:gd name="connsiteY2" fmla="*/ 0 h 6791435"/>
              <a:gd name="connsiteX3" fmla="*/ 6791435 w 6791435"/>
              <a:gd name="connsiteY3" fmla="*/ 4838655 h 6791435"/>
              <a:gd name="connsiteX4" fmla="*/ 6710277 w 6791435"/>
              <a:gd name="connsiteY4" fmla="*/ 4919813 h 6791435"/>
              <a:gd name="connsiteX5" fmla="*/ 6710277 w 6791435"/>
              <a:gd name="connsiteY5" fmla="*/ 81158 h 6791435"/>
              <a:gd name="connsiteX6" fmla="*/ 0 w 6791435"/>
              <a:gd name="connsiteY6" fmla="*/ 1942096 h 6791435"/>
              <a:gd name="connsiteX7" fmla="*/ 81158 w 6791435"/>
              <a:gd name="connsiteY7" fmla="*/ 1860938 h 6791435"/>
              <a:gd name="connsiteX8" fmla="*/ 81158 w 6791435"/>
              <a:gd name="connsiteY8" fmla="*/ 6710277 h 6791435"/>
              <a:gd name="connsiteX9" fmla="*/ 4919813 w 6791435"/>
              <a:gd name="connsiteY9" fmla="*/ 6710277 h 6791435"/>
              <a:gd name="connsiteX10" fmla="*/ 4838655 w 6791435"/>
              <a:gd name="connsiteY10" fmla="*/ 6791435 h 6791435"/>
              <a:gd name="connsiteX11" fmla="*/ 0 w 6791435"/>
              <a:gd name="connsiteY11" fmla="*/ 6791435 h 6791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791435" h="6791435">
                <a:moveTo>
                  <a:pt x="1860938" y="81158"/>
                </a:moveTo>
                <a:lnTo>
                  <a:pt x="1942096" y="0"/>
                </a:lnTo>
                <a:lnTo>
                  <a:pt x="6791435" y="0"/>
                </a:lnTo>
                <a:lnTo>
                  <a:pt x="6791435" y="4838655"/>
                </a:lnTo>
                <a:lnTo>
                  <a:pt x="6710277" y="4919813"/>
                </a:lnTo>
                <a:lnTo>
                  <a:pt x="6710277" y="81158"/>
                </a:lnTo>
                <a:close/>
                <a:moveTo>
                  <a:pt x="0" y="1942096"/>
                </a:moveTo>
                <a:lnTo>
                  <a:pt x="81158" y="1860938"/>
                </a:lnTo>
                <a:lnTo>
                  <a:pt x="81158" y="6710277"/>
                </a:lnTo>
                <a:lnTo>
                  <a:pt x="4919813" y="6710277"/>
                </a:lnTo>
                <a:lnTo>
                  <a:pt x="4838655" y="6791435"/>
                </a:lnTo>
                <a:lnTo>
                  <a:pt x="0" y="6791435"/>
                </a:lnTo>
                <a:close/>
              </a:path>
            </a:pathLst>
          </a:cu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chemeClr val="tx1"/>
              </a:solidFill>
            </a:endParaRPr>
          </a:p>
        </p:txBody>
      </p:sp>
      <p:sp>
        <p:nvSpPr>
          <p:cNvPr id="4" name="Title 3">
            <a:extLst>
              <a:ext uri="{FF2B5EF4-FFF2-40B4-BE49-F238E27FC236}">
                <a16:creationId xmlns:a16="http://schemas.microsoft.com/office/drawing/2014/main" id="{B009CD84-DA40-4CAA-8A89-DD6DAA862368}"/>
              </a:ext>
            </a:extLst>
          </p:cNvPr>
          <p:cNvSpPr>
            <a:spLocks noGrp="1"/>
          </p:cNvSpPr>
          <p:nvPr>
            <p:ph type="title"/>
          </p:nvPr>
        </p:nvSpPr>
        <p:spPr>
          <a:xfrm>
            <a:off x="593812" y="2077366"/>
            <a:ext cx="17100376" cy="5423039"/>
          </a:xfrm>
          <a:noFill/>
        </p:spPr>
        <p:txBody>
          <a:bodyPr vert="horz" lIns="91440" tIns="45720" rIns="91440" bIns="45720" rtlCol="0" anchor="ctr">
            <a:normAutofit/>
          </a:bodyPr>
          <a:lstStyle/>
          <a:p>
            <a:pPr indent="457200">
              <a:spcBef>
                <a:spcPts val="600"/>
              </a:spcBef>
              <a:spcAft>
                <a:spcPts val="600"/>
              </a:spcAft>
            </a:pPr>
            <a:r>
              <a:rPr lang="en-GB" sz="1800" noProof="0" dirty="0">
                <a:effectLst/>
                <a:latin typeface="Palatino Linotype" panose="02040502050505030304" pitchFamily="18" charset="0"/>
                <a:ea typeface="Georgia" panose="02040502050405020303" pitchFamily="18" charset="0"/>
                <a:cs typeface="Times New Roman" panose="02020603050405020304" pitchFamily="18" charset="0"/>
              </a:rPr>
              <a:t> </a:t>
            </a:r>
            <a:br>
              <a:rPr lang="en-GB" sz="1800" noProof="0" dirty="0">
                <a:effectLst/>
                <a:latin typeface="Palatino Linotype" panose="02040502050505030304" pitchFamily="18" charset="0"/>
                <a:ea typeface="Georgia" panose="02040502050405020303" pitchFamily="18" charset="0"/>
                <a:cs typeface="Times New Roman" panose="02020603050405020304" pitchFamily="18" charset="0"/>
              </a:rPr>
            </a:br>
            <a:r>
              <a:rPr lang="en-GB" sz="5400" b="1" noProof="0" dirty="0">
                <a:solidFill>
                  <a:srgbClr val="CC0033"/>
                </a:solidFill>
                <a:ea typeface="+mn-ea"/>
                <a:cs typeface="Arial" panose="020B0604020202020204" pitchFamily="34" charset="0"/>
              </a:rPr>
              <a:t>Chapter 1: Drivers for Retrofitting</a:t>
            </a:r>
          </a:p>
        </p:txBody>
      </p:sp>
      <p:sp>
        <p:nvSpPr>
          <p:cNvPr id="27" name="Freeform: Shape 26">
            <a:extLst>
              <a:ext uri="{FF2B5EF4-FFF2-40B4-BE49-F238E27FC236}">
                <a16:creationId xmlns:a16="http://schemas.microsoft.com/office/drawing/2014/main" id="{E07981EA-05A6-437C-88D7-B377B92B031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14444735" y="8186387"/>
            <a:ext cx="3347691" cy="3853217"/>
          </a:xfrm>
          <a:custGeom>
            <a:avLst/>
            <a:gdLst>
              <a:gd name="connsiteX0" fmla="*/ 0 w 2940086"/>
              <a:gd name="connsiteY0" fmla="*/ 0 h 3384061"/>
              <a:gd name="connsiteX1" fmla="*/ 2496112 w 2940086"/>
              <a:gd name="connsiteY1" fmla="*/ 0 h 3384061"/>
              <a:gd name="connsiteX2" fmla="*/ 2940086 w 2940086"/>
              <a:gd name="connsiteY2" fmla="*/ 443975 h 3384061"/>
              <a:gd name="connsiteX3" fmla="*/ 0 w 2940086"/>
              <a:gd name="connsiteY3" fmla="*/ 3384061 h 3384061"/>
            </a:gdLst>
            <a:ahLst/>
            <a:cxnLst>
              <a:cxn ang="0">
                <a:pos x="connsiteX0" y="connsiteY0"/>
              </a:cxn>
              <a:cxn ang="0">
                <a:pos x="connsiteX1" y="connsiteY1"/>
              </a:cxn>
              <a:cxn ang="0">
                <a:pos x="connsiteX2" y="connsiteY2"/>
              </a:cxn>
              <a:cxn ang="0">
                <a:pos x="connsiteX3" y="connsiteY3"/>
              </a:cxn>
            </a:cxnLst>
            <a:rect l="l" t="t" r="r" b="b"/>
            <a:pathLst>
              <a:path w="2940086" h="3384061">
                <a:moveTo>
                  <a:pt x="0" y="0"/>
                </a:moveTo>
                <a:lnTo>
                  <a:pt x="2496112" y="0"/>
                </a:lnTo>
                <a:lnTo>
                  <a:pt x="2940086" y="443975"/>
                </a:lnTo>
                <a:lnTo>
                  <a:pt x="0" y="3384061"/>
                </a:lnTo>
                <a:close/>
              </a:path>
            </a:pathLst>
          </a:cu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Rectangle 28">
            <a:extLst>
              <a:ext uri="{FF2B5EF4-FFF2-40B4-BE49-F238E27FC236}">
                <a16:creationId xmlns:a16="http://schemas.microsoft.com/office/drawing/2014/main" id="{15E3C750-986E-4769-B1AE-49289FBEE75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14580089" y="7865318"/>
            <a:ext cx="1439978" cy="1439978"/>
          </a:xfrm>
          <a:prstGeom prst="rect">
            <a:avLst/>
          </a:pr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255848258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0955307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8294908-8B00-4F58-BBBA-20F71A40AA9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8288000" cy="10287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1" name="Freeform: Shape 10">
            <a:extLst>
              <a:ext uri="{FF2B5EF4-FFF2-40B4-BE49-F238E27FC236}">
                <a16:creationId xmlns:a16="http://schemas.microsoft.com/office/drawing/2014/main" id="{4364C879-1404-4203-8E9D-CC5DE0A621A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124173" y="-2079252"/>
            <a:ext cx="3637310" cy="5416787"/>
          </a:xfrm>
          <a:custGeom>
            <a:avLst/>
            <a:gdLst>
              <a:gd name="connsiteX0" fmla="*/ 0 w 2424873"/>
              <a:gd name="connsiteY0" fmla="*/ 2424874 h 3611191"/>
              <a:gd name="connsiteX1" fmla="*/ 2424873 w 2424873"/>
              <a:gd name="connsiteY1" fmla="*/ 0 h 3611191"/>
              <a:gd name="connsiteX2" fmla="*/ 2424873 w 2424873"/>
              <a:gd name="connsiteY2" fmla="*/ 3611191 h 3611191"/>
              <a:gd name="connsiteX3" fmla="*/ 1186317 w 2424873"/>
              <a:gd name="connsiteY3" fmla="*/ 3611191 h 3611191"/>
            </a:gdLst>
            <a:ahLst/>
            <a:cxnLst>
              <a:cxn ang="0">
                <a:pos x="connsiteX0" y="connsiteY0"/>
              </a:cxn>
              <a:cxn ang="0">
                <a:pos x="connsiteX1" y="connsiteY1"/>
              </a:cxn>
              <a:cxn ang="0">
                <a:pos x="connsiteX2" y="connsiteY2"/>
              </a:cxn>
              <a:cxn ang="0">
                <a:pos x="connsiteX3" y="connsiteY3"/>
              </a:cxn>
            </a:cxnLst>
            <a:rect l="l" t="t" r="r" b="b"/>
            <a:pathLst>
              <a:path w="2424873" h="3611191">
                <a:moveTo>
                  <a:pt x="0" y="2424874"/>
                </a:moveTo>
                <a:lnTo>
                  <a:pt x="2424873" y="0"/>
                </a:lnTo>
                <a:lnTo>
                  <a:pt x="2424873" y="3611191"/>
                </a:lnTo>
                <a:lnTo>
                  <a:pt x="1186317" y="3611191"/>
                </a:lnTo>
                <a:close/>
              </a:path>
            </a:pathLst>
          </a:cu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3" name="Freeform: Shape 12">
            <a:extLst>
              <a:ext uri="{FF2B5EF4-FFF2-40B4-BE49-F238E27FC236}">
                <a16:creationId xmlns:a16="http://schemas.microsoft.com/office/drawing/2014/main" id="{84617302-4B0D-4351-A6BB-6F0930D943A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2356500" y="-507873"/>
            <a:ext cx="2453933" cy="2453933"/>
          </a:xfrm>
          <a:custGeom>
            <a:avLst/>
            <a:gdLst>
              <a:gd name="connsiteX0" fmla="*/ 0 w 1635955"/>
              <a:gd name="connsiteY0" fmla="*/ 957987 h 1635955"/>
              <a:gd name="connsiteX1" fmla="*/ 957987 w 1635955"/>
              <a:gd name="connsiteY1" fmla="*/ 0 h 1635955"/>
              <a:gd name="connsiteX2" fmla="*/ 1635955 w 1635955"/>
              <a:gd name="connsiteY2" fmla="*/ 0 h 1635955"/>
              <a:gd name="connsiteX3" fmla="*/ 1635955 w 1635955"/>
              <a:gd name="connsiteY3" fmla="*/ 1635955 h 1635955"/>
              <a:gd name="connsiteX4" fmla="*/ 0 w 1635955"/>
              <a:gd name="connsiteY4" fmla="*/ 1635955 h 1635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5955" h="1635955">
                <a:moveTo>
                  <a:pt x="0" y="957987"/>
                </a:moveTo>
                <a:lnTo>
                  <a:pt x="957987" y="0"/>
                </a:lnTo>
                <a:lnTo>
                  <a:pt x="1635955" y="0"/>
                </a:lnTo>
                <a:lnTo>
                  <a:pt x="1635955" y="1635955"/>
                </a:lnTo>
                <a:lnTo>
                  <a:pt x="0" y="1635955"/>
                </a:lnTo>
                <a:close/>
              </a:path>
            </a:pathLst>
          </a:cu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5" name="Freeform: Shape 14">
            <a:extLst>
              <a:ext uri="{FF2B5EF4-FFF2-40B4-BE49-F238E27FC236}">
                <a16:creationId xmlns:a16="http://schemas.microsoft.com/office/drawing/2014/main" id="{DA2C7802-C2E0-4218-8F89-8DD7CCD2CD1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14441978" y="-9882"/>
            <a:ext cx="6089090" cy="3822165"/>
          </a:xfrm>
          <a:custGeom>
            <a:avLst/>
            <a:gdLst>
              <a:gd name="connsiteX0" fmla="*/ 0 w 4059393"/>
              <a:gd name="connsiteY0" fmla="*/ 1511282 h 2548110"/>
              <a:gd name="connsiteX1" fmla="*/ 1511282 w 4059393"/>
              <a:gd name="connsiteY1" fmla="*/ 0 h 2548110"/>
              <a:gd name="connsiteX2" fmla="*/ 4059393 w 4059393"/>
              <a:gd name="connsiteY2" fmla="*/ 2548110 h 2548110"/>
              <a:gd name="connsiteX3" fmla="*/ 0 w 4059393"/>
              <a:gd name="connsiteY3" fmla="*/ 2548110 h 2548110"/>
            </a:gdLst>
            <a:ahLst/>
            <a:cxnLst>
              <a:cxn ang="0">
                <a:pos x="connsiteX0" y="connsiteY0"/>
              </a:cxn>
              <a:cxn ang="0">
                <a:pos x="connsiteX1" y="connsiteY1"/>
              </a:cxn>
              <a:cxn ang="0">
                <a:pos x="connsiteX2" y="connsiteY2"/>
              </a:cxn>
              <a:cxn ang="0">
                <a:pos x="connsiteX3" y="connsiteY3"/>
              </a:cxn>
            </a:cxnLst>
            <a:rect l="l" t="t" r="r" b="b"/>
            <a:pathLst>
              <a:path w="4059393" h="2548110">
                <a:moveTo>
                  <a:pt x="0" y="1511282"/>
                </a:moveTo>
                <a:lnTo>
                  <a:pt x="1511282" y="0"/>
                </a:lnTo>
                <a:lnTo>
                  <a:pt x="4059393" y="2548110"/>
                </a:lnTo>
                <a:lnTo>
                  <a:pt x="0" y="2548110"/>
                </a:lnTo>
                <a:close/>
              </a:path>
            </a:pathLst>
          </a:cu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7" name="Rectangle 16">
            <a:extLst>
              <a:ext uri="{FF2B5EF4-FFF2-40B4-BE49-F238E27FC236}">
                <a16:creationId xmlns:a16="http://schemas.microsoft.com/office/drawing/2014/main" id="{A6D7111A-21E5-4EE9-8A78-10E5530F011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15394386" y="2198670"/>
            <a:ext cx="1778562" cy="1778562"/>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9" name="Freeform: Shape 18">
            <a:extLst>
              <a:ext uri="{FF2B5EF4-FFF2-40B4-BE49-F238E27FC236}">
                <a16:creationId xmlns:a16="http://schemas.microsoft.com/office/drawing/2014/main" id="{A3969E80-A77B-49FC-9122-D89AFD5EE11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44336" y="7798115"/>
            <a:ext cx="3667361" cy="3549174"/>
          </a:xfrm>
          <a:custGeom>
            <a:avLst/>
            <a:gdLst>
              <a:gd name="connsiteX0" fmla="*/ 0 w 2203753"/>
              <a:gd name="connsiteY0" fmla="*/ 0 h 2132734"/>
              <a:gd name="connsiteX1" fmla="*/ 2203753 w 2203753"/>
              <a:gd name="connsiteY1" fmla="*/ 0 h 2132734"/>
              <a:gd name="connsiteX2" fmla="*/ 2203753 w 2203753"/>
              <a:gd name="connsiteY2" fmla="*/ 576461 h 2132734"/>
              <a:gd name="connsiteX3" fmla="*/ 647480 w 2203753"/>
              <a:gd name="connsiteY3" fmla="*/ 2132734 h 2132734"/>
              <a:gd name="connsiteX4" fmla="*/ 0 w 2203753"/>
              <a:gd name="connsiteY4" fmla="*/ 1485255 h 2132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3753" h="2132734">
                <a:moveTo>
                  <a:pt x="0" y="0"/>
                </a:moveTo>
                <a:lnTo>
                  <a:pt x="2203753" y="0"/>
                </a:lnTo>
                <a:lnTo>
                  <a:pt x="2203753" y="576461"/>
                </a:lnTo>
                <a:lnTo>
                  <a:pt x="647480" y="2132734"/>
                </a:lnTo>
                <a:lnTo>
                  <a:pt x="0" y="1485255"/>
                </a:lnTo>
                <a:close/>
              </a:path>
            </a:pathLst>
          </a:cu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1" name="Rectangle 20">
            <a:extLst>
              <a:ext uri="{FF2B5EF4-FFF2-40B4-BE49-F238E27FC236}">
                <a16:creationId xmlns:a16="http://schemas.microsoft.com/office/drawing/2014/main" id="{1849CA57-76BD-4CF2-80BA-D7A46A01B7B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2654681" y="8159840"/>
            <a:ext cx="1392701" cy="1392701"/>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Arial"/>
              <a:ea typeface="+mn-ea"/>
              <a:cs typeface="+mn-cs"/>
            </a:endParaRPr>
          </a:p>
        </p:txBody>
      </p:sp>
      <p:sp>
        <p:nvSpPr>
          <p:cNvPr id="23" name="Freeform: Shape 22">
            <a:extLst>
              <a:ext uri="{FF2B5EF4-FFF2-40B4-BE49-F238E27FC236}">
                <a16:creationId xmlns:a16="http://schemas.microsoft.com/office/drawing/2014/main" id="{35E9085E-E730-4768-83D4-6CB7E989715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5101967" y="1101467"/>
            <a:ext cx="8084069" cy="8084069"/>
          </a:xfrm>
          <a:custGeom>
            <a:avLst/>
            <a:gdLst>
              <a:gd name="connsiteX0" fmla="*/ 0 w 5389379"/>
              <a:gd name="connsiteY0" fmla="*/ 540040 h 5389379"/>
              <a:gd name="connsiteX1" fmla="*/ 540040 w 5389379"/>
              <a:gd name="connsiteY1" fmla="*/ 0 h 5389379"/>
              <a:gd name="connsiteX2" fmla="*/ 5389379 w 5389379"/>
              <a:gd name="connsiteY2" fmla="*/ 0 h 5389379"/>
              <a:gd name="connsiteX3" fmla="*/ 5389379 w 5389379"/>
              <a:gd name="connsiteY3" fmla="*/ 4838655 h 5389379"/>
              <a:gd name="connsiteX4" fmla="*/ 4838655 w 5389379"/>
              <a:gd name="connsiteY4" fmla="*/ 5389379 h 5389379"/>
              <a:gd name="connsiteX5" fmla="*/ 0 w 5389379"/>
              <a:gd name="connsiteY5" fmla="*/ 5389379 h 538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89379" h="5389379">
                <a:moveTo>
                  <a:pt x="0" y="540040"/>
                </a:moveTo>
                <a:lnTo>
                  <a:pt x="540040" y="0"/>
                </a:lnTo>
                <a:lnTo>
                  <a:pt x="5389379" y="0"/>
                </a:lnTo>
                <a:lnTo>
                  <a:pt x="5389379" y="4838655"/>
                </a:lnTo>
                <a:lnTo>
                  <a:pt x="4838655" y="5389379"/>
                </a:lnTo>
                <a:lnTo>
                  <a:pt x="0" y="5389379"/>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5" name="Freeform: Shape 24">
            <a:extLst>
              <a:ext uri="{FF2B5EF4-FFF2-40B4-BE49-F238E27FC236}">
                <a16:creationId xmlns:a16="http://schemas.microsoft.com/office/drawing/2014/main" id="{973272FE-A474-4CAE-8CA2-BCC8B476C3F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4050425" y="49925"/>
            <a:ext cx="10187153" cy="10187153"/>
          </a:xfrm>
          <a:custGeom>
            <a:avLst/>
            <a:gdLst>
              <a:gd name="connsiteX0" fmla="*/ 1860938 w 6791435"/>
              <a:gd name="connsiteY0" fmla="*/ 81158 h 6791435"/>
              <a:gd name="connsiteX1" fmla="*/ 1942096 w 6791435"/>
              <a:gd name="connsiteY1" fmla="*/ 0 h 6791435"/>
              <a:gd name="connsiteX2" fmla="*/ 6791435 w 6791435"/>
              <a:gd name="connsiteY2" fmla="*/ 0 h 6791435"/>
              <a:gd name="connsiteX3" fmla="*/ 6791435 w 6791435"/>
              <a:gd name="connsiteY3" fmla="*/ 4838655 h 6791435"/>
              <a:gd name="connsiteX4" fmla="*/ 6710277 w 6791435"/>
              <a:gd name="connsiteY4" fmla="*/ 4919813 h 6791435"/>
              <a:gd name="connsiteX5" fmla="*/ 6710277 w 6791435"/>
              <a:gd name="connsiteY5" fmla="*/ 81158 h 6791435"/>
              <a:gd name="connsiteX6" fmla="*/ 0 w 6791435"/>
              <a:gd name="connsiteY6" fmla="*/ 1942096 h 6791435"/>
              <a:gd name="connsiteX7" fmla="*/ 81158 w 6791435"/>
              <a:gd name="connsiteY7" fmla="*/ 1860938 h 6791435"/>
              <a:gd name="connsiteX8" fmla="*/ 81158 w 6791435"/>
              <a:gd name="connsiteY8" fmla="*/ 6710277 h 6791435"/>
              <a:gd name="connsiteX9" fmla="*/ 4919813 w 6791435"/>
              <a:gd name="connsiteY9" fmla="*/ 6710277 h 6791435"/>
              <a:gd name="connsiteX10" fmla="*/ 4838655 w 6791435"/>
              <a:gd name="connsiteY10" fmla="*/ 6791435 h 6791435"/>
              <a:gd name="connsiteX11" fmla="*/ 0 w 6791435"/>
              <a:gd name="connsiteY11" fmla="*/ 6791435 h 6791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791435" h="6791435">
                <a:moveTo>
                  <a:pt x="1860938" y="81158"/>
                </a:moveTo>
                <a:lnTo>
                  <a:pt x="1942096" y="0"/>
                </a:lnTo>
                <a:lnTo>
                  <a:pt x="6791435" y="0"/>
                </a:lnTo>
                <a:lnTo>
                  <a:pt x="6791435" y="4838655"/>
                </a:lnTo>
                <a:lnTo>
                  <a:pt x="6710277" y="4919813"/>
                </a:lnTo>
                <a:lnTo>
                  <a:pt x="6710277" y="81158"/>
                </a:lnTo>
                <a:close/>
                <a:moveTo>
                  <a:pt x="0" y="1942096"/>
                </a:moveTo>
                <a:lnTo>
                  <a:pt x="81158" y="1860938"/>
                </a:lnTo>
                <a:lnTo>
                  <a:pt x="81158" y="6710277"/>
                </a:lnTo>
                <a:lnTo>
                  <a:pt x="4919813" y="6710277"/>
                </a:lnTo>
                <a:lnTo>
                  <a:pt x="4838655" y="6791435"/>
                </a:lnTo>
                <a:lnTo>
                  <a:pt x="0" y="6791435"/>
                </a:lnTo>
                <a:close/>
              </a:path>
            </a:pathLst>
          </a:cu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Arial"/>
              <a:ea typeface="+mn-ea"/>
              <a:cs typeface="+mn-cs"/>
            </a:endParaRPr>
          </a:p>
        </p:txBody>
      </p:sp>
      <p:sp>
        <p:nvSpPr>
          <p:cNvPr id="4" name="Title 3">
            <a:extLst>
              <a:ext uri="{FF2B5EF4-FFF2-40B4-BE49-F238E27FC236}">
                <a16:creationId xmlns:a16="http://schemas.microsoft.com/office/drawing/2014/main" id="{B009CD84-DA40-4CAA-8A89-DD6DAA862368}"/>
              </a:ext>
            </a:extLst>
          </p:cNvPr>
          <p:cNvSpPr>
            <a:spLocks noGrp="1"/>
          </p:cNvSpPr>
          <p:nvPr>
            <p:ph type="title"/>
          </p:nvPr>
        </p:nvSpPr>
        <p:spPr>
          <a:xfrm>
            <a:off x="593812" y="2304680"/>
            <a:ext cx="14931938" cy="5423039"/>
          </a:xfrm>
          <a:noFill/>
        </p:spPr>
        <p:txBody>
          <a:bodyPr vert="horz" lIns="91440" tIns="45720" rIns="91440" bIns="45720" rtlCol="0" anchor="ctr">
            <a:normAutofit/>
          </a:bodyPr>
          <a:lstStyle/>
          <a:p>
            <a:pPr indent="457200">
              <a:spcBef>
                <a:spcPts val="600"/>
              </a:spcBef>
              <a:spcAft>
                <a:spcPts val="600"/>
              </a:spcAft>
            </a:pPr>
            <a:r>
              <a:rPr lang="en-GB" sz="1800" noProof="0" dirty="0">
                <a:effectLst/>
                <a:latin typeface="Palatino Linotype" panose="02040502050505030304" pitchFamily="18" charset="0"/>
                <a:ea typeface="Georgia" panose="02040502050405020303" pitchFamily="18" charset="0"/>
                <a:cs typeface="Times New Roman" panose="02020603050405020304" pitchFamily="18" charset="0"/>
              </a:rPr>
              <a:t> </a:t>
            </a:r>
            <a:br>
              <a:rPr lang="en-GB" sz="1800" noProof="0" dirty="0">
                <a:effectLst/>
                <a:latin typeface="Palatino Linotype" panose="02040502050505030304" pitchFamily="18" charset="0"/>
                <a:ea typeface="Georgia" panose="02040502050405020303" pitchFamily="18" charset="0"/>
                <a:cs typeface="Times New Roman" panose="02020603050405020304" pitchFamily="18" charset="0"/>
              </a:rPr>
            </a:br>
            <a:r>
              <a:rPr lang="en-GB" sz="5400" b="1" noProof="0" dirty="0">
                <a:solidFill>
                  <a:srgbClr val="CC0033"/>
                </a:solidFill>
                <a:ea typeface="+mn-ea"/>
                <a:cs typeface="Arial" panose="020B0604020202020204" pitchFamily="34" charset="0"/>
              </a:rPr>
              <a:t>Chapter 3: Key Resource Indicators (KRI), Key Performance Attributes (KPA) </a:t>
            </a:r>
            <a:br>
              <a:rPr lang="en-GB" sz="5400" b="1" noProof="0" dirty="0">
                <a:solidFill>
                  <a:srgbClr val="CC0033"/>
                </a:solidFill>
                <a:ea typeface="+mn-ea"/>
                <a:cs typeface="Arial" panose="020B0604020202020204" pitchFamily="34" charset="0"/>
              </a:rPr>
            </a:br>
            <a:r>
              <a:rPr lang="en-GB" sz="5400" b="1" noProof="0" dirty="0">
                <a:solidFill>
                  <a:srgbClr val="CC0033"/>
                </a:solidFill>
                <a:ea typeface="+mn-ea"/>
                <a:cs typeface="Arial" panose="020B0604020202020204" pitchFamily="34" charset="0"/>
              </a:rPr>
              <a:t>and Expected Project Impact</a:t>
            </a:r>
          </a:p>
        </p:txBody>
      </p:sp>
      <p:sp>
        <p:nvSpPr>
          <p:cNvPr id="27" name="Freeform: Shape 26">
            <a:extLst>
              <a:ext uri="{FF2B5EF4-FFF2-40B4-BE49-F238E27FC236}">
                <a16:creationId xmlns:a16="http://schemas.microsoft.com/office/drawing/2014/main" id="{E07981EA-05A6-437C-88D7-B377B92B031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14444735" y="8186387"/>
            <a:ext cx="3347691" cy="3853217"/>
          </a:xfrm>
          <a:custGeom>
            <a:avLst/>
            <a:gdLst>
              <a:gd name="connsiteX0" fmla="*/ 0 w 2940086"/>
              <a:gd name="connsiteY0" fmla="*/ 0 h 3384061"/>
              <a:gd name="connsiteX1" fmla="*/ 2496112 w 2940086"/>
              <a:gd name="connsiteY1" fmla="*/ 0 h 3384061"/>
              <a:gd name="connsiteX2" fmla="*/ 2940086 w 2940086"/>
              <a:gd name="connsiteY2" fmla="*/ 443975 h 3384061"/>
              <a:gd name="connsiteX3" fmla="*/ 0 w 2940086"/>
              <a:gd name="connsiteY3" fmla="*/ 3384061 h 3384061"/>
            </a:gdLst>
            <a:ahLst/>
            <a:cxnLst>
              <a:cxn ang="0">
                <a:pos x="connsiteX0" y="connsiteY0"/>
              </a:cxn>
              <a:cxn ang="0">
                <a:pos x="connsiteX1" y="connsiteY1"/>
              </a:cxn>
              <a:cxn ang="0">
                <a:pos x="connsiteX2" y="connsiteY2"/>
              </a:cxn>
              <a:cxn ang="0">
                <a:pos x="connsiteX3" y="connsiteY3"/>
              </a:cxn>
            </a:cxnLst>
            <a:rect l="l" t="t" r="r" b="b"/>
            <a:pathLst>
              <a:path w="2940086" h="3384061">
                <a:moveTo>
                  <a:pt x="0" y="0"/>
                </a:moveTo>
                <a:lnTo>
                  <a:pt x="2496112" y="0"/>
                </a:lnTo>
                <a:lnTo>
                  <a:pt x="2940086" y="443975"/>
                </a:lnTo>
                <a:lnTo>
                  <a:pt x="0" y="3384061"/>
                </a:lnTo>
                <a:close/>
              </a:path>
            </a:pathLst>
          </a:cu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9" name="Rectangle 28">
            <a:extLst>
              <a:ext uri="{FF2B5EF4-FFF2-40B4-BE49-F238E27FC236}">
                <a16:creationId xmlns:a16="http://schemas.microsoft.com/office/drawing/2014/main" id="{15E3C750-986E-4769-B1AE-49289FBEE75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14580089" y="7865318"/>
            <a:ext cx="1439978" cy="1439978"/>
          </a:xfrm>
          <a:prstGeom prst="rect">
            <a:avLst/>
          </a:pr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295468230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6"/>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marL="0" marR="0" lvl="0" indent="0" algn="ctr" defTabSz="914400" rtl="0" eaLnBrk="1" fontAlgn="auto" latinLnBrk="0" hangingPunct="1">
                <a:lnSpc>
                  <a:spcPts val="3919"/>
                </a:lnSpc>
                <a:spcBef>
                  <a:spcPct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OCR A Extended" panose="02010509020102010303" pitchFamily="50" charset="0"/>
                  <a:ea typeface="+mn-ea"/>
                  <a:cs typeface="+mn-cs"/>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4"/>
          <a:srcRect/>
          <a:stretch>
            <a:fillRect/>
          </a:stretch>
        </p:blipFill>
        <p:spPr>
          <a:xfrm>
            <a:off x="0" y="8901113"/>
            <a:ext cx="5715000" cy="1385887"/>
          </a:xfrm>
          <a:prstGeom prst="rect">
            <a:avLst/>
          </a:prstGeom>
        </p:spPr>
      </p:pic>
      <p:grpSp>
        <p:nvGrpSpPr>
          <p:cNvPr id="3" name="Gruppo 2">
            <a:extLst>
              <a:ext uri="{FF2B5EF4-FFF2-40B4-BE49-F238E27FC236}">
                <a16:creationId xmlns:a16="http://schemas.microsoft.com/office/drawing/2014/main" id="{1C29CBCA-BE0A-4EF6-AC69-329941E1DCFD}"/>
              </a:ext>
            </a:extLst>
          </p:cNvPr>
          <p:cNvGrpSpPr/>
          <p:nvPr/>
        </p:nvGrpSpPr>
        <p:grpSpPr>
          <a:xfrm>
            <a:off x="-12" y="138554"/>
            <a:ext cx="18288002" cy="681138"/>
            <a:chOff x="-12" y="138554"/>
            <a:chExt cx="18288002" cy="681138"/>
          </a:xfrm>
        </p:grpSpPr>
        <p:grpSp>
          <p:nvGrpSpPr>
            <p:cNvPr id="2" name="Gruppo 1">
              <a:extLst>
                <a:ext uri="{FF2B5EF4-FFF2-40B4-BE49-F238E27FC236}">
                  <a16:creationId xmlns:a16="http://schemas.microsoft.com/office/drawing/2014/main" id="{24E9C7AF-0093-476F-826C-A2702AB72892}"/>
                </a:ext>
              </a:extLst>
            </p:cNvPr>
            <p:cNvGrpSpPr/>
            <p:nvPr/>
          </p:nvGrpSpPr>
          <p:grpSpPr>
            <a:xfrm>
              <a:off x="0" y="153125"/>
              <a:ext cx="17907000" cy="666567"/>
              <a:chOff x="0" y="153125"/>
              <a:chExt cx="17907000" cy="666567"/>
            </a:xfrm>
          </p:grpSpPr>
          <p:pic>
            <p:nvPicPr>
              <p:cNvPr id="10" name="Picture 10"/>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2" name="TextBox 11">
                <a:extLst>
                  <a:ext uri="{FF2B5EF4-FFF2-40B4-BE49-F238E27FC236}">
                    <a16:creationId xmlns:a16="http://schemas.microsoft.com/office/drawing/2014/main" id="{1BD9B5F4-614C-4EB6-8C5B-120A5420CE43}"/>
                  </a:ext>
                </a:extLst>
              </p:cNvPr>
              <p:cNvSpPr txBox="1"/>
              <p:nvPr/>
            </p:nvSpPr>
            <p:spPr>
              <a:xfrm>
                <a:off x="12154296" y="257980"/>
                <a:ext cx="5752704" cy="456856"/>
              </a:xfrm>
              <a:prstGeom prst="rect">
                <a:avLst/>
              </a:prstGeom>
            </p:spPr>
            <p:txBody>
              <a:bodyPr wrap="square" lIns="0" tIns="0" rIns="0" bIns="0" rtlCol="0" anchor="t">
                <a:spAutoFit/>
              </a:bodyPr>
              <a:lstStyle/>
              <a:p>
                <a:pPr marL="0" marR="0" lvl="0" indent="0" algn="r" defTabSz="914400" rtl="0" eaLnBrk="1" fontAlgn="auto" latinLnBrk="0" hangingPunct="1">
                  <a:lnSpc>
                    <a:spcPts val="3919"/>
                  </a:lnSpc>
                  <a:spcBef>
                    <a:spcPct val="0"/>
                  </a:spcBef>
                  <a:spcAft>
                    <a:spcPts val="0"/>
                  </a:spcAft>
                  <a:buClrTx/>
                  <a:buSzTx/>
                  <a:buFontTx/>
                  <a:buNone/>
                  <a:tabLst/>
                  <a:defRPr/>
                </a:pPr>
                <a:endParaRPr kumimoji="0" lang="en-US" sz="2800" b="0" i="0" u="none" strike="noStrike" kern="1200" cap="none" spc="0" normalizeH="0" baseline="0" noProof="0">
                  <a:ln>
                    <a:noFill/>
                  </a:ln>
                  <a:solidFill>
                    <a:srgbClr val="2F2F2F">
                      <a:lumMod val="75000"/>
                      <a:lumOff val="25000"/>
                    </a:srgbClr>
                  </a:solidFill>
                  <a:effectLst/>
                  <a:uLnTx/>
                  <a:uFillTx/>
                  <a:latin typeface="Arial" panose="020B0604020202020204" pitchFamily="34" charset="0"/>
                  <a:ea typeface="+mn-ea"/>
                  <a:cs typeface="Arial" panose="020B0604020202020204" pitchFamily="34" charset="0"/>
                </a:endParaRPr>
              </a:p>
            </p:txBody>
          </p:sp>
        </p:grpSp>
        <p:sp>
          <p:nvSpPr>
            <p:cNvPr id="14" name="Rettangolo 13">
              <a:extLst>
                <a:ext uri="{FF2B5EF4-FFF2-40B4-BE49-F238E27FC236}">
                  <a16:creationId xmlns:a16="http://schemas.microsoft.com/office/drawing/2014/main" id="{55199736-B8B6-4C9A-8BAF-233E07A0CA89}"/>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3" name="TextBox 13"/>
          <p:cNvSpPr txBox="1"/>
          <p:nvPr/>
        </p:nvSpPr>
        <p:spPr>
          <a:xfrm>
            <a:off x="1646220" y="1231987"/>
            <a:ext cx="13618595" cy="677108"/>
          </a:xfrm>
          <a:prstGeom prst="rect">
            <a:avLst/>
          </a:prstGeom>
        </p:spPr>
        <p:txBody>
          <a:bodyPr wrap="square" lIns="0" tIns="0" rIns="0" bIns="0" rtlCol="0" anchor="t">
            <a:sp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4400" b="1" i="0" u="none" strike="noStrike" kern="1200" cap="none" spc="0" normalizeH="0" baseline="0" noProof="0">
                <a:ln>
                  <a:noFill/>
                </a:ln>
                <a:solidFill>
                  <a:srgbClr val="CC0033"/>
                </a:solidFill>
                <a:effectLst/>
                <a:uLnTx/>
                <a:uFillTx/>
                <a:latin typeface="Arial"/>
                <a:ea typeface="+mn-ea"/>
                <a:cs typeface="Arial" panose="020B0604020202020204" pitchFamily="34" charset="0"/>
              </a:rPr>
              <a:t>Overview of Chapter 3</a:t>
            </a:r>
            <a:endParaRPr kumimoji="0" lang="en-US" sz="3600" b="1" i="1" u="none" strike="noStrike" kern="1200" cap="none" spc="0" normalizeH="0" baseline="0" noProof="0">
              <a:ln>
                <a:noFill/>
              </a:ln>
              <a:solidFill>
                <a:srgbClr val="CC0033"/>
              </a:solidFill>
              <a:effectLst/>
              <a:uLnTx/>
              <a:uFillTx/>
              <a:latin typeface="Arial"/>
              <a:ea typeface="+mn-ea"/>
              <a:cs typeface="Arial" panose="020B0604020202020204" pitchFamily="34" charset="0"/>
            </a:endParaRPr>
          </a:p>
        </p:txBody>
      </p:sp>
      <p:sp>
        <p:nvSpPr>
          <p:cNvPr id="21" name="Content Placeholder 2">
            <a:extLst>
              <a:ext uri="{FF2B5EF4-FFF2-40B4-BE49-F238E27FC236}">
                <a16:creationId xmlns:a16="http://schemas.microsoft.com/office/drawing/2014/main" id="{7410B400-A91F-45CE-9F10-13149670B085}"/>
              </a:ext>
            </a:extLst>
          </p:cNvPr>
          <p:cNvSpPr txBox="1">
            <a:spLocks/>
          </p:cNvSpPr>
          <p:nvPr/>
        </p:nvSpPr>
        <p:spPr>
          <a:xfrm>
            <a:off x="1129553" y="2426246"/>
            <a:ext cx="9055336" cy="6217995"/>
          </a:xfrm>
          <a:prstGeom prst="rect">
            <a:avLst/>
          </a:prstGeom>
        </p:spPr>
        <p:txBody>
          <a:bodyPr vert="horz" lIns="91440" tIns="45720" rIns="91440" bIns="45720" rtlCol="0">
            <a:normAutofit/>
          </a:bodyPr>
          <a:lstStyle>
            <a:lvl1pPr marL="0" indent="0" algn="ctr" defTabSz="914400" rtl="0" eaLnBrk="1" latinLnBrk="0" hangingPunct="1">
              <a:spcBef>
                <a:spcPct val="20000"/>
              </a:spcBef>
              <a:buFont typeface="Arial" pitchFamily="34" charset="0"/>
              <a:buNone/>
              <a:defRPr sz="3200" kern="1200">
                <a:solidFill>
                  <a:schemeClr val="tx1">
                    <a:tint val="75000"/>
                  </a:schemeClr>
                </a:solidFill>
                <a:latin typeface="+mn-lt"/>
                <a:ea typeface="+mn-ea"/>
                <a:cs typeface="+mn-cs"/>
              </a:defRPr>
            </a:lvl1pPr>
            <a:lvl2pPr marL="457200" indent="0" algn="ctr" defTabSz="914400"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marL="457200" marR="0" lvl="1"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sv-SE" sz="2800" b="1" i="0" u="none" strike="noStrike" kern="1200" cap="none" spc="0" normalizeH="0" baseline="0" noProof="0">
                <a:ln>
                  <a:noFill/>
                </a:ln>
                <a:solidFill>
                  <a:srgbClr val="2F2F2F"/>
                </a:solidFill>
                <a:effectLst/>
                <a:uLnTx/>
                <a:uFillTx/>
                <a:latin typeface="Arial"/>
                <a:ea typeface="+mn-ea"/>
                <a:cs typeface="+mn-cs"/>
              </a:rPr>
              <a:t>In </a:t>
            </a:r>
            <a:r>
              <a:rPr kumimoji="0" lang="sv-SE" sz="2800" b="1" i="0" u="none" strike="noStrike" kern="1200" cap="none" spc="0" normalizeH="0" baseline="0" noProof="0" err="1">
                <a:ln>
                  <a:noFill/>
                </a:ln>
                <a:solidFill>
                  <a:srgbClr val="2F2F2F"/>
                </a:solidFill>
                <a:effectLst/>
                <a:uLnTx/>
                <a:uFillTx/>
                <a:latin typeface="Arial"/>
                <a:ea typeface="+mn-ea"/>
                <a:cs typeface="+mn-cs"/>
              </a:rPr>
              <a:t>this</a:t>
            </a:r>
            <a:r>
              <a:rPr kumimoji="0" lang="sv-SE" sz="2800" b="1" i="0" u="none" strike="noStrike" kern="1200" cap="none" spc="0" normalizeH="0" baseline="0" noProof="0">
                <a:ln>
                  <a:noFill/>
                </a:ln>
                <a:solidFill>
                  <a:srgbClr val="2F2F2F"/>
                </a:solidFill>
                <a:effectLst/>
                <a:uLnTx/>
                <a:uFillTx/>
                <a:latin typeface="Arial"/>
                <a:ea typeface="+mn-ea"/>
                <a:cs typeface="+mn-cs"/>
              </a:rPr>
              <a:t> </a:t>
            </a:r>
            <a:r>
              <a:rPr kumimoji="0" lang="sv-SE" sz="2800" b="1" i="0" u="none" strike="noStrike" kern="1200" cap="none" spc="0" normalizeH="0" baseline="0" noProof="0" err="1">
                <a:ln>
                  <a:noFill/>
                </a:ln>
                <a:solidFill>
                  <a:srgbClr val="2F2F2F"/>
                </a:solidFill>
                <a:effectLst/>
                <a:uLnTx/>
                <a:uFillTx/>
                <a:latin typeface="Arial"/>
                <a:ea typeface="+mn-ea"/>
                <a:cs typeface="+mn-cs"/>
              </a:rPr>
              <a:t>chapter</a:t>
            </a:r>
            <a:r>
              <a:rPr kumimoji="0" lang="sv-SE" sz="2800" b="1" i="0" u="none" strike="noStrike" kern="1200" cap="none" spc="0" normalizeH="0" baseline="0" noProof="0">
                <a:ln>
                  <a:noFill/>
                </a:ln>
                <a:solidFill>
                  <a:srgbClr val="2F2F2F"/>
                </a:solidFill>
                <a:effectLst/>
                <a:uLnTx/>
                <a:uFillTx/>
                <a:latin typeface="Arial"/>
                <a:ea typeface="+mn-ea"/>
                <a:cs typeface="+mn-cs"/>
              </a:rPr>
              <a:t>, </a:t>
            </a:r>
            <a:r>
              <a:rPr kumimoji="0" lang="sv-SE" sz="2800" b="1" i="0" u="none" strike="noStrike" kern="1200" cap="none" spc="0" normalizeH="0" baseline="0" noProof="0" err="1">
                <a:ln>
                  <a:noFill/>
                </a:ln>
                <a:solidFill>
                  <a:srgbClr val="2F2F2F"/>
                </a:solidFill>
                <a:effectLst/>
                <a:uLnTx/>
                <a:uFillTx/>
                <a:latin typeface="Arial"/>
                <a:ea typeface="+mn-ea"/>
                <a:cs typeface="+mn-cs"/>
              </a:rPr>
              <a:t>we</a:t>
            </a:r>
            <a:r>
              <a:rPr kumimoji="0" lang="sv-SE" sz="2800" b="1" i="0" u="none" strike="noStrike" kern="1200" cap="none" spc="0" normalizeH="0" baseline="0" noProof="0">
                <a:ln>
                  <a:noFill/>
                </a:ln>
                <a:solidFill>
                  <a:srgbClr val="2F2F2F"/>
                </a:solidFill>
                <a:effectLst/>
                <a:uLnTx/>
                <a:uFillTx/>
                <a:latin typeface="Arial"/>
                <a:ea typeface="+mn-ea"/>
                <a:cs typeface="+mn-cs"/>
              </a:rPr>
              <a:t> </a:t>
            </a:r>
            <a:r>
              <a:rPr kumimoji="0" lang="sv-SE" sz="2800" b="1" i="0" u="none" strike="noStrike" kern="1200" cap="none" spc="0" normalizeH="0" baseline="0" noProof="0" err="1">
                <a:ln>
                  <a:noFill/>
                </a:ln>
                <a:solidFill>
                  <a:srgbClr val="2F2F2F"/>
                </a:solidFill>
                <a:effectLst/>
                <a:uLnTx/>
                <a:uFillTx/>
                <a:latin typeface="Arial"/>
                <a:ea typeface="+mn-ea"/>
                <a:cs typeface="+mn-cs"/>
              </a:rPr>
              <a:t>will</a:t>
            </a:r>
            <a:r>
              <a:rPr kumimoji="0" lang="sv-SE" sz="2800" b="1" i="0" u="none" strike="noStrike" kern="1200" cap="none" spc="0" normalizeH="0" baseline="0" noProof="0">
                <a:ln>
                  <a:noFill/>
                </a:ln>
                <a:solidFill>
                  <a:srgbClr val="2F2F2F"/>
                </a:solidFill>
                <a:effectLst/>
                <a:uLnTx/>
                <a:uFillTx/>
                <a:latin typeface="Arial"/>
                <a:ea typeface="+mn-ea"/>
                <a:cs typeface="+mn-cs"/>
              </a:rPr>
              <a:t> </a:t>
            </a:r>
            <a:r>
              <a:rPr kumimoji="0" lang="sv-SE" sz="2800" b="1" i="0" u="none" strike="noStrike" kern="1200" cap="none" spc="0" normalizeH="0" baseline="0" noProof="0" err="1">
                <a:ln>
                  <a:noFill/>
                </a:ln>
                <a:solidFill>
                  <a:srgbClr val="2F2F2F"/>
                </a:solidFill>
                <a:effectLst/>
                <a:uLnTx/>
                <a:uFillTx/>
                <a:latin typeface="Arial"/>
                <a:ea typeface="+mn-ea"/>
                <a:cs typeface="+mn-cs"/>
              </a:rPr>
              <a:t>learn</a:t>
            </a:r>
            <a:r>
              <a:rPr kumimoji="0" lang="sv-SE" sz="2800" b="1" i="0" u="none" strike="noStrike" kern="1200" cap="none" spc="0" normalizeH="0" baseline="0" noProof="0">
                <a:ln>
                  <a:noFill/>
                </a:ln>
                <a:solidFill>
                  <a:srgbClr val="2F2F2F"/>
                </a:solidFill>
                <a:effectLst/>
                <a:uLnTx/>
                <a:uFillTx/>
                <a:latin typeface="Arial"/>
                <a:ea typeface="+mn-ea"/>
                <a:cs typeface="+mn-cs"/>
              </a:rPr>
              <a:t> </a:t>
            </a:r>
            <a:r>
              <a:rPr kumimoji="0" lang="sv-SE" sz="2800" b="1" i="0" u="none" strike="noStrike" kern="1200" cap="none" spc="0" normalizeH="0" baseline="0" noProof="0" err="1">
                <a:ln>
                  <a:noFill/>
                </a:ln>
                <a:solidFill>
                  <a:srgbClr val="2F2F2F"/>
                </a:solidFill>
                <a:effectLst/>
                <a:uLnTx/>
                <a:uFillTx/>
                <a:latin typeface="Arial"/>
                <a:ea typeface="+mn-ea"/>
                <a:cs typeface="+mn-cs"/>
              </a:rPr>
              <a:t>about</a:t>
            </a:r>
            <a:r>
              <a:rPr kumimoji="0" lang="sv-SE" sz="2800" b="1" i="0" u="none" strike="noStrike" kern="1200" cap="none" spc="0" normalizeH="0" baseline="0" noProof="0">
                <a:ln>
                  <a:noFill/>
                </a:ln>
                <a:solidFill>
                  <a:srgbClr val="2F2F2F"/>
                </a:solidFill>
                <a:effectLst/>
                <a:uLnTx/>
                <a:uFillTx/>
                <a:latin typeface="Arial"/>
                <a:ea typeface="+mn-ea"/>
                <a:cs typeface="+mn-cs"/>
              </a:rPr>
              <a:t>:</a:t>
            </a:r>
          </a:p>
          <a:p>
            <a:pPr marL="457200" marR="0" lvl="1" indent="0" algn="l"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sv-SE" sz="2800" b="1" i="0" u="none" strike="noStrike" kern="1200" cap="none" spc="0" normalizeH="0" baseline="0" noProof="0">
              <a:ln>
                <a:noFill/>
              </a:ln>
              <a:solidFill>
                <a:srgbClr val="2F2F2F"/>
              </a:solidFill>
              <a:effectLst/>
              <a:uLnTx/>
              <a:uFillTx/>
              <a:latin typeface="Arial"/>
              <a:ea typeface="+mn-ea"/>
              <a:cs typeface="+mn-cs"/>
            </a:endParaRPr>
          </a:p>
          <a:p>
            <a:pPr marL="914400" marR="0" lvl="1" indent="-4572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sv-SE" err="1">
                <a:solidFill>
                  <a:srgbClr val="2F2F2F"/>
                </a:solidFill>
                <a:latin typeface="Arial"/>
              </a:rPr>
              <a:t>Chapter</a:t>
            </a:r>
            <a:r>
              <a:rPr lang="sv-SE">
                <a:solidFill>
                  <a:srgbClr val="2F2F2F"/>
                </a:solidFill>
                <a:latin typeface="Arial"/>
              </a:rPr>
              <a:t> 3.1 </a:t>
            </a:r>
            <a:r>
              <a:rPr lang="en-US">
                <a:solidFill>
                  <a:srgbClr val="2F2F2F"/>
                </a:solidFill>
                <a:latin typeface="Arial"/>
              </a:rPr>
              <a:t>KRIs and KPAs </a:t>
            </a:r>
          </a:p>
          <a:p>
            <a:pPr marL="914400" marR="0" lvl="1" indent="-4572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sv-SE" err="1">
                <a:solidFill>
                  <a:srgbClr val="2F2F2F"/>
                </a:solidFill>
                <a:latin typeface="Arial"/>
              </a:rPr>
              <a:t>Chapter</a:t>
            </a:r>
            <a:r>
              <a:rPr lang="sv-SE">
                <a:solidFill>
                  <a:srgbClr val="2F2F2F"/>
                </a:solidFill>
                <a:latin typeface="Arial"/>
              </a:rPr>
              <a:t> 3.2 </a:t>
            </a:r>
            <a:r>
              <a:rPr lang="en-US">
                <a:solidFill>
                  <a:srgbClr val="2F2F2F"/>
                </a:solidFill>
                <a:latin typeface="Arial"/>
              </a:rPr>
              <a:t>Expected Impacts in RETROFEED demo-sites</a:t>
            </a:r>
            <a:endParaRPr lang="sv-SE">
              <a:solidFill>
                <a:srgbClr val="2F2F2F"/>
              </a:solidFill>
              <a:latin typeface="Arial"/>
            </a:endParaRPr>
          </a:p>
        </p:txBody>
      </p:sp>
      <p:pic>
        <p:nvPicPr>
          <p:cNvPr id="6" name="Picture 5" descr="A close-up of a sign&#10;&#10;Description automatically generated">
            <a:extLst>
              <a:ext uri="{FF2B5EF4-FFF2-40B4-BE49-F238E27FC236}">
                <a16:creationId xmlns:a16="http://schemas.microsoft.com/office/drawing/2014/main" id="{23D3E5E2-D1A2-5E5A-3A17-A10D8BE6D558}"/>
              </a:ext>
            </a:extLst>
          </p:cNvPr>
          <p:cNvPicPr>
            <a:picLocks noChangeAspect="1"/>
          </p:cNvPicPr>
          <p:nvPr/>
        </p:nvPicPr>
        <p:blipFill>
          <a:blip r:embed="rId6">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a:off x="9905199" y="2426246"/>
            <a:ext cx="8140530" cy="4070265"/>
          </a:xfrm>
          <a:prstGeom prst="rect">
            <a:avLst/>
          </a:prstGeom>
        </p:spPr>
      </p:pic>
      <p:sp>
        <p:nvSpPr>
          <p:cNvPr id="7" name="TextBox 6">
            <a:extLst>
              <a:ext uri="{FF2B5EF4-FFF2-40B4-BE49-F238E27FC236}">
                <a16:creationId xmlns:a16="http://schemas.microsoft.com/office/drawing/2014/main" id="{AACC8F1A-A3D7-8A45-8984-77662C189BDD}"/>
              </a:ext>
            </a:extLst>
          </p:cNvPr>
          <p:cNvSpPr txBox="1"/>
          <p:nvPr/>
        </p:nvSpPr>
        <p:spPr>
          <a:xfrm>
            <a:off x="9905199" y="6598287"/>
            <a:ext cx="3810000" cy="230832"/>
          </a:xfrm>
          <a:prstGeom prst="rect">
            <a:avLst/>
          </a:prstGeom>
          <a:noFill/>
        </p:spPr>
        <p:txBody>
          <a:bodyPr wrap="square" rtlCol="0">
            <a:spAutoFit/>
          </a:bodyPr>
          <a:lstStyle/>
          <a:p>
            <a:r>
              <a:rPr lang="sv-SE" sz="900" err="1">
                <a:hlinkClick r:id="rId7" tooltip="https://www.josegalan.es/diccionario-analitica-web/"/>
              </a:rPr>
              <a:t>This</a:t>
            </a:r>
            <a:r>
              <a:rPr lang="sv-SE" sz="900">
                <a:hlinkClick r:id="rId7" tooltip="https://www.josegalan.es/diccionario-analitica-web/"/>
              </a:rPr>
              <a:t> Photo</a:t>
            </a:r>
            <a:r>
              <a:rPr lang="sv-SE" sz="900"/>
              <a:t> by </a:t>
            </a:r>
            <a:r>
              <a:rPr lang="sv-SE" sz="900" err="1"/>
              <a:t>Unknown</a:t>
            </a:r>
            <a:r>
              <a:rPr lang="sv-SE" sz="900"/>
              <a:t> </a:t>
            </a:r>
            <a:r>
              <a:rPr lang="sv-SE" sz="900" err="1"/>
              <a:t>Author</a:t>
            </a:r>
            <a:r>
              <a:rPr lang="sv-SE" sz="900"/>
              <a:t> is </a:t>
            </a:r>
            <a:r>
              <a:rPr lang="sv-SE" sz="900" err="1"/>
              <a:t>licensed</a:t>
            </a:r>
            <a:r>
              <a:rPr lang="sv-SE" sz="900"/>
              <a:t> under </a:t>
            </a:r>
            <a:r>
              <a:rPr lang="sv-SE" sz="900">
                <a:hlinkClick r:id="rId8" tooltip="https://creativecommons.org/licenses/by/3.0/"/>
              </a:rPr>
              <a:t>CC BY</a:t>
            </a:r>
            <a:endParaRPr lang="sv-SE" sz="900"/>
          </a:p>
        </p:txBody>
      </p:sp>
    </p:spTree>
    <p:extLst>
      <p:ext uri="{BB962C8B-B14F-4D97-AF65-F5344CB8AC3E}">
        <p14:creationId xmlns:p14="http://schemas.microsoft.com/office/powerpoint/2010/main" val="105123915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289ED1AA-8684-4D37-B208-8777E1A7780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8283428" cy="10287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1" name="Graphic 33">
            <a:extLst>
              <a:ext uri="{FF2B5EF4-FFF2-40B4-BE49-F238E27FC236}">
                <a16:creationId xmlns:a16="http://schemas.microsoft.com/office/drawing/2014/main" id="{4180E01B-B1F4-437C-807D-1C930718EE6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966176" y="0"/>
            <a:ext cx="14355646" cy="10287000"/>
          </a:xfrm>
          <a:custGeom>
            <a:avLst/>
            <a:gdLst>
              <a:gd name="connsiteX0" fmla="*/ 7178288 w 7187261"/>
              <a:gd name="connsiteY0" fmla="*/ 2604802 h 5150263"/>
              <a:gd name="connsiteX1" fmla="*/ 7169335 w 7187261"/>
              <a:gd name="connsiteY1" fmla="*/ 2328577 h 5150263"/>
              <a:gd name="connsiteX2" fmla="*/ 7060845 w 7187261"/>
              <a:gd name="connsiteY2" fmla="*/ 1661160 h 5150263"/>
              <a:gd name="connsiteX3" fmla="*/ 6212263 w 7187261"/>
              <a:gd name="connsiteY3" fmla="*/ 243840 h 5150263"/>
              <a:gd name="connsiteX4" fmla="*/ 5953564 w 7187261"/>
              <a:gd name="connsiteY4" fmla="*/ 0 h 5150263"/>
              <a:gd name="connsiteX5" fmla="*/ 1408615 w 7187261"/>
              <a:gd name="connsiteY5" fmla="*/ 0 h 5150263"/>
              <a:gd name="connsiteX6" fmla="*/ 805111 w 7187261"/>
              <a:gd name="connsiteY6" fmla="*/ 676275 h 5150263"/>
              <a:gd name="connsiteX7" fmla="*/ 104928 w 7187261"/>
              <a:gd name="connsiteY7" fmla="*/ 2183035 h 5150263"/>
              <a:gd name="connsiteX8" fmla="*/ 51588 w 7187261"/>
              <a:gd name="connsiteY8" fmla="*/ 2400014 h 5150263"/>
              <a:gd name="connsiteX9" fmla="*/ 41301 w 7187261"/>
              <a:gd name="connsiteY9" fmla="*/ 2424208 h 5150263"/>
              <a:gd name="connsiteX10" fmla="*/ 119692 w 7187261"/>
              <a:gd name="connsiteY10" fmla="*/ 1834801 h 5150263"/>
              <a:gd name="connsiteX11" fmla="*/ 870071 w 7187261"/>
              <a:gd name="connsiteY11" fmla="*/ 462248 h 5150263"/>
              <a:gd name="connsiteX12" fmla="*/ 1389279 w 7187261"/>
              <a:gd name="connsiteY12" fmla="*/ 476 h 5150263"/>
              <a:gd name="connsiteX13" fmla="*/ 1320223 w 7187261"/>
              <a:gd name="connsiteY13" fmla="*/ 476 h 5150263"/>
              <a:gd name="connsiteX14" fmla="*/ 423158 w 7187261"/>
              <a:gd name="connsiteY14" fmla="*/ 989743 h 5150263"/>
              <a:gd name="connsiteX15" fmla="*/ 25585 w 7187261"/>
              <a:gd name="connsiteY15" fmla="*/ 2113693 h 5150263"/>
              <a:gd name="connsiteX16" fmla="*/ 2344 w 7187261"/>
              <a:gd name="connsiteY16" fmla="*/ 2725865 h 5150263"/>
              <a:gd name="connsiteX17" fmla="*/ 447256 w 7187261"/>
              <a:gd name="connsiteY17" fmla="*/ 4210717 h 5150263"/>
              <a:gd name="connsiteX18" fmla="*/ 1138962 w 7187261"/>
              <a:gd name="connsiteY18" fmla="*/ 4988910 h 5150263"/>
              <a:gd name="connsiteX19" fmla="*/ 1348512 w 7187261"/>
              <a:gd name="connsiteY19" fmla="*/ 5146834 h 5150263"/>
              <a:gd name="connsiteX20" fmla="*/ 1422712 w 7187261"/>
              <a:gd name="connsiteY20" fmla="*/ 5146834 h 5150263"/>
              <a:gd name="connsiteX21" fmla="*/ 480594 w 7187261"/>
              <a:gd name="connsiteY21" fmla="*/ 4187952 h 5150263"/>
              <a:gd name="connsiteX22" fmla="*/ 398679 w 7187261"/>
              <a:gd name="connsiteY22" fmla="*/ 4046125 h 5150263"/>
              <a:gd name="connsiteX23" fmla="*/ 411823 w 7187261"/>
              <a:gd name="connsiteY23" fmla="*/ 4053078 h 5150263"/>
              <a:gd name="connsiteX24" fmla="*/ 1439380 w 7187261"/>
              <a:gd name="connsiteY24" fmla="*/ 5147405 h 5150263"/>
              <a:gd name="connsiteX25" fmla="*/ 5710010 w 7187261"/>
              <a:gd name="connsiteY25" fmla="*/ 5150263 h 5150263"/>
              <a:gd name="connsiteX26" fmla="*/ 5999665 w 7187261"/>
              <a:gd name="connsiteY26" fmla="*/ 4910900 h 5150263"/>
              <a:gd name="connsiteX27" fmla="*/ 6954165 w 7187261"/>
              <a:gd name="connsiteY27" fmla="*/ 3545777 h 5150263"/>
              <a:gd name="connsiteX28" fmla="*/ 7137712 w 7187261"/>
              <a:gd name="connsiteY28" fmla="*/ 2799207 h 5150263"/>
              <a:gd name="connsiteX29" fmla="*/ 7142951 w 7187261"/>
              <a:gd name="connsiteY29" fmla="*/ 2754535 h 5150263"/>
              <a:gd name="connsiteX30" fmla="*/ 7149428 w 7187261"/>
              <a:gd name="connsiteY30" fmla="*/ 2774823 h 5150263"/>
              <a:gd name="connsiteX31" fmla="*/ 7066465 w 7187261"/>
              <a:gd name="connsiteY31" fmla="*/ 3465672 h 5150263"/>
              <a:gd name="connsiteX32" fmla="*/ 6452578 w 7187261"/>
              <a:gd name="connsiteY32" fmla="*/ 4552760 h 5150263"/>
              <a:gd name="connsiteX33" fmla="*/ 5752110 w 7187261"/>
              <a:gd name="connsiteY33" fmla="*/ 5150263 h 5150263"/>
              <a:gd name="connsiteX34" fmla="*/ 5827643 w 7187261"/>
              <a:gd name="connsiteY34" fmla="*/ 5150263 h 5150263"/>
              <a:gd name="connsiteX35" fmla="*/ 6642793 w 7187261"/>
              <a:gd name="connsiteY35" fmla="*/ 4389406 h 5150263"/>
              <a:gd name="connsiteX36" fmla="*/ 7102469 w 7187261"/>
              <a:gd name="connsiteY36" fmla="*/ 3490817 h 5150263"/>
              <a:gd name="connsiteX37" fmla="*/ 7187242 w 7187261"/>
              <a:gd name="connsiteY37" fmla="*/ 2990183 h 5150263"/>
              <a:gd name="connsiteX38" fmla="*/ 7178288 w 7187261"/>
              <a:gd name="connsiteY38" fmla="*/ 2604802 h 5150263"/>
              <a:gd name="connsiteX39" fmla="*/ 6342565 w 7187261"/>
              <a:gd name="connsiteY39" fmla="*/ 441389 h 5150263"/>
              <a:gd name="connsiteX40" fmla="*/ 7126567 w 7187261"/>
              <a:gd name="connsiteY40" fmla="*/ 2355056 h 5150263"/>
              <a:gd name="connsiteX41" fmla="*/ 6342565 w 7187261"/>
              <a:gd name="connsiteY41" fmla="*/ 441389 h 5150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187261" h="5150263">
                <a:moveTo>
                  <a:pt x="7178288" y="2604802"/>
                </a:moveTo>
                <a:cubicBezTo>
                  <a:pt x="7168763" y="2513076"/>
                  <a:pt x="7174478" y="2420684"/>
                  <a:pt x="7169335" y="2328577"/>
                </a:cubicBezTo>
                <a:cubicBezTo>
                  <a:pt x="7156952" y="2102882"/>
                  <a:pt x="7120586" y="1879149"/>
                  <a:pt x="7060845" y="1661160"/>
                </a:cubicBezTo>
                <a:cubicBezTo>
                  <a:pt x="6910588" y="1121007"/>
                  <a:pt x="6617428" y="631374"/>
                  <a:pt x="6212263" y="243840"/>
                </a:cubicBezTo>
                <a:cubicBezTo>
                  <a:pt x="6126538" y="162496"/>
                  <a:pt x="6040813" y="80201"/>
                  <a:pt x="5953564" y="0"/>
                </a:cubicBezTo>
                <a:lnTo>
                  <a:pt x="1408615" y="0"/>
                </a:lnTo>
                <a:cubicBezTo>
                  <a:pt x="1180967" y="200316"/>
                  <a:pt x="978332" y="427387"/>
                  <a:pt x="805111" y="676275"/>
                </a:cubicBezTo>
                <a:cubicBezTo>
                  <a:pt x="481261" y="1136523"/>
                  <a:pt x="252089" y="1640872"/>
                  <a:pt x="104928" y="2183035"/>
                </a:cubicBezTo>
                <a:cubicBezTo>
                  <a:pt x="85878" y="2254853"/>
                  <a:pt x="69495" y="2327720"/>
                  <a:pt x="51588" y="2400014"/>
                </a:cubicBezTo>
                <a:cubicBezTo>
                  <a:pt x="49683" y="2407634"/>
                  <a:pt x="51588" y="2416969"/>
                  <a:pt x="41301" y="2424208"/>
                </a:cubicBezTo>
                <a:cubicBezTo>
                  <a:pt x="45900" y="2225469"/>
                  <a:pt x="72186" y="2027834"/>
                  <a:pt x="119692" y="1834801"/>
                </a:cubicBezTo>
                <a:cubicBezTo>
                  <a:pt x="247993" y="1310926"/>
                  <a:pt x="506121" y="857726"/>
                  <a:pt x="870071" y="462248"/>
                </a:cubicBezTo>
                <a:cubicBezTo>
                  <a:pt x="1027729" y="291823"/>
                  <a:pt x="1201617" y="137169"/>
                  <a:pt x="1389279" y="476"/>
                </a:cubicBezTo>
                <a:lnTo>
                  <a:pt x="1320223" y="476"/>
                </a:lnTo>
                <a:cubicBezTo>
                  <a:pt x="960844" y="274320"/>
                  <a:pt x="656330" y="599123"/>
                  <a:pt x="423158" y="989743"/>
                </a:cubicBezTo>
                <a:cubicBezTo>
                  <a:pt x="215608" y="1337596"/>
                  <a:pt x="80258" y="1711357"/>
                  <a:pt x="25585" y="2113693"/>
                </a:cubicBezTo>
                <a:cubicBezTo>
                  <a:pt x="-2705" y="2316480"/>
                  <a:pt x="-2228" y="2521077"/>
                  <a:pt x="2344" y="2725865"/>
                </a:cubicBezTo>
                <a:cubicBezTo>
                  <a:pt x="14155" y="3261932"/>
                  <a:pt x="170650" y="3754565"/>
                  <a:pt x="447256" y="4210717"/>
                </a:cubicBezTo>
                <a:cubicBezTo>
                  <a:pt x="629851" y="4511612"/>
                  <a:pt x="866356" y="4767167"/>
                  <a:pt x="1138962" y="4988910"/>
                </a:cubicBezTo>
                <a:cubicBezTo>
                  <a:pt x="1207161" y="5044345"/>
                  <a:pt x="1277008" y="5096990"/>
                  <a:pt x="1348512" y="5146834"/>
                </a:cubicBezTo>
                <a:lnTo>
                  <a:pt x="1422712" y="5146834"/>
                </a:lnTo>
                <a:cubicBezTo>
                  <a:pt x="1043426" y="4892802"/>
                  <a:pt x="724720" y="4577334"/>
                  <a:pt x="480594" y="4187952"/>
                </a:cubicBezTo>
                <a:cubicBezTo>
                  <a:pt x="452019" y="4141851"/>
                  <a:pt x="423444" y="4095179"/>
                  <a:pt x="398679" y="4046125"/>
                </a:cubicBezTo>
                <a:cubicBezTo>
                  <a:pt x="407442" y="4043267"/>
                  <a:pt x="409156" y="4048982"/>
                  <a:pt x="411823" y="4053078"/>
                </a:cubicBezTo>
                <a:cubicBezTo>
                  <a:pt x="683572" y="4484656"/>
                  <a:pt x="1033139" y="4842701"/>
                  <a:pt x="1439380" y="5147405"/>
                </a:cubicBezTo>
                <a:lnTo>
                  <a:pt x="5710010" y="5150263"/>
                </a:lnTo>
                <a:cubicBezTo>
                  <a:pt x="5810594" y="5075482"/>
                  <a:pt x="5907272" y="4995587"/>
                  <a:pt x="5999665" y="4910900"/>
                </a:cubicBezTo>
                <a:cubicBezTo>
                  <a:pt x="6418765" y="4526661"/>
                  <a:pt x="6746901" y="4078129"/>
                  <a:pt x="6954165" y="3545777"/>
                </a:cubicBezTo>
                <a:cubicBezTo>
                  <a:pt x="7048234" y="3306175"/>
                  <a:pt x="7109956" y="3055115"/>
                  <a:pt x="7137712" y="2799207"/>
                </a:cubicBezTo>
                <a:cubicBezTo>
                  <a:pt x="7139236" y="2784920"/>
                  <a:pt x="7141046" y="2770632"/>
                  <a:pt x="7142951" y="2754535"/>
                </a:cubicBezTo>
                <a:cubicBezTo>
                  <a:pt x="7151714" y="2760440"/>
                  <a:pt x="7149237" y="2768441"/>
                  <a:pt x="7149428" y="2774823"/>
                </a:cubicBezTo>
                <a:cubicBezTo>
                  <a:pt x="7156743" y="3007967"/>
                  <a:pt x="7128777" y="3240881"/>
                  <a:pt x="7066465" y="3465672"/>
                </a:cubicBezTo>
                <a:cubicBezTo>
                  <a:pt x="6952165" y="3878580"/>
                  <a:pt x="6737948" y="4235863"/>
                  <a:pt x="6452578" y="4552760"/>
                </a:cubicBezTo>
                <a:cubicBezTo>
                  <a:pt x="6244553" y="4783836"/>
                  <a:pt x="6008809" y="4980242"/>
                  <a:pt x="5752110" y="5150263"/>
                </a:cubicBezTo>
                <a:lnTo>
                  <a:pt x="5827643" y="5150263"/>
                </a:lnTo>
                <a:cubicBezTo>
                  <a:pt x="6136539" y="4938904"/>
                  <a:pt x="6412192" y="4689348"/>
                  <a:pt x="6642793" y="4389406"/>
                </a:cubicBezTo>
                <a:cubicBezTo>
                  <a:pt x="6851295" y="4118324"/>
                  <a:pt x="7009125" y="3820859"/>
                  <a:pt x="7102469" y="3490817"/>
                </a:cubicBezTo>
                <a:cubicBezTo>
                  <a:pt x="7148646" y="3327473"/>
                  <a:pt x="7177069" y="3159624"/>
                  <a:pt x="7187242" y="2990183"/>
                </a:cubicBezTo>
                <a:cubicBezTo>
                  <a:pt x="7187623" y="2984087"/>
                  <a:pt x="7182384" y="2642330"/>
                  <a:pt x="7178288" y="2604802"/>
                </a:cubicBezTo>
                <a:close/>
                <a:moveTo>
                  <a:pt x="6342565" y="441389"/>
                </a:moveTo>
                <a:cubicBezTo>
                  <a:pt x="6829797" y="986533"/>
                  <a:pt x="7091135" y="1624422"/>
                  <a:pt x="7126567" y="2355056"/>
                </a:cubicBezTo>
                <a:cubicBezTo>
                  <a:pt x="7001123" y="1661827"/>
                  <a:pt x="6756426" y="1017365"/>
                  <a:pt x="6342565" y="441389"/>
                </a:cubicBez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Arial"/>
              <a:ea typeface="+mn-ea"/>
              <a:cs typeface="+mn-cs"/>
            </a:endParaRPr>
          </a:p>
        </p:txBody>
      </p:sp>
      <p:sp>
        <p:nvSpPr>
          <p:cNvPr id="4" name="Title 3">
            <a:extLst>
              <a:ext uri="{FF2B5EF4-FFF2-40B4-BE49-F238E27FC236}">
                <a16:creationId xmlns:a16="http://schemas.microsoft.com/office/drawing/2014/main" id="{B009CD84-DA40-4CAA-8A89-DD6DAA862368}"/>
              </a:ext>
            </a:extLst>
          </p:cNvPr>
          <p:cNvSpPr>
            <a:spLocks noGrp="1"/>
          </p:cNvSpPr>
          <p:nvPr>
            <p:ph type="title"/>
          </p:nvPr>
        </p:nvSpPr>
        <p:spPr>
          <a:xfrm>
            <a:off x="3838074" y="1432963"/>
            <a:ext cx="10611852" cy="4348463"/>
          </a:xfrm>
        </p:spPr>
        <p:txBody>
          <a:bodyPr vert="horz" lIns="91440" tIns="45720" rIns="91440" bIns="45720" rtlCol="0" anchor="b">
            <a:noAutofit/>
          </a:bodyPr>
          <a:lstStyle/>
          <a:p>
            <a:pPr indent="457200">
              <a:lnSpc>
                <a:spcPct val="90000"/>
              </a:lnSpc>
              <a:spcAft>
                <a:spcPts val="600"/>
              </a:spcAft>
            </a:pPr>
            <a:r>
              <a:rPr lang="en-GB" sz="6000" b="1" kern="1200" noProof="0" dirty="0">
                <a:solidFill>
                  <a:srgbClr val="FFFFFF"/>
                </a:solidFill>
                <a:latin typeface="+mj-lt"/>
                <a:ea typeface="+mj-ea"/>
                <a:cs typeface="+mj-cs"/>
              </a:rPr>
              <a:t>Chapter </a:t>
            </a:r>
            <a:r>
              <a:rPr lang="en-GB" sz="6000" b="1" noProof="0" dirty="0">
                <a:solidFill>
                  <a:srgbClr val="FFFFFF"/>
                </a:solidFill>
              </a:rPr>
              <a:t>3.1 </a:t>
            </a:r>
            <a:br>
              <a:rPr lang="en-GB" sz="6000" b="1" noProof="0" dirty="0">
                <a:solidFill>
                  <a:srgbClr val="FFFFFF"/>
                </a:solidFill>
              </a:rPr>
            </a:br>
            <a:r>
              <a:rPr lang="en-GB" sz="6000" b="1" noProof="0" dirty="0">
                <a:solidFill>
                  <a:srgbClr val="FFFFFF"/>
                </a:solidFill>
              </a:rPr>
              <a:t>KRIs and KPAs</a:t>
            </a:r>
          </a:p>
        </p:txBody>
      </p:sp>
      <p:sp>
        <p:nvSpPr>
          <p:cNvPr id="13" name="sketch line">
            <a:extLst>
              <a:ext uri="{FF2B5EF4-FFF2-40B4-BE49-F238E27FC236}">
                <a16:creationId xmlns:a16="http://schemas.microsoft.com/office/drawing/2014/main" id="{41F77738-2AF0-4750-A0C7-F97C2C17590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961309" y="6260247"/>
            <a:ext cx="6365383" cy="27432"/>
          </a:xfrm>
          <a:custGeom>
            <a:avLst/>
            <a:gdLst>
              <a:gd name="connsiteX0" fmla="*/ 0 w 6365383"/>
              <a:gd name="connsiteY0" fmla="*/ 0 h 27432"/>
              <a:gd name="connsiteX1" fmla="*/ 636538 w 6365383"/>
              <a:gd name="connsiteY1" fmla="*/ 0 h 27432"/>
              <a:gd name="connsiteX2" fmla="*/ 1273077 w 6365383"/>
              <a:gd name="connsiteY2" fmla="*/ 0 h 27432"/>
              <a:gd name="connsiteX3" fmla="*/ 1909615 w 6365383"/>
              <a:gd name="connsiteY3" fmla="*/ 0 h 27432"/>
              <a:gd name="connsiteX4" fmla="*/ 2673461 w 6365383"/>
              <a:gd name="connsiteY4" fmla="*/ 0 h 27432"/>
              <a:gd name="connsiteX5" fmla="*/ 3373653 w 6365383"/>
              <a:gd name="connsiteY5" fmla="*/ 0 h 27432"/>
              <a:gd name="connsiteX6" fmla="*/ 3819230 w 6365383"/>
              <a:gd name="connsiteY6" fmla="*/ 0 h 27432"/>
              <a:gd name="connsiteX7" fmla="*/ 4392114 w 6365383"/>
              <a:gd name="connsiteY7" fmla="*/ 0 h 27432"/>
              <a:gd name="connsiteX8" fmla="*/ 5155960 w 6365383"/>
              <a:gd name="connsiteY8" fmla="*/ 0 h 27432"/>
              <a:gd name="connsiteX9" fmla="*/ 5792499 w 6365383"/>
              <a:gd name="connsiteY9" fmla="*/ 0 h 27432"/>
              <a:gd name="connsiteX10" fmla="*/ 6365383 w 6365383"/>
              <a:gd name="connsiteY10" fmla="*/ 0 h 27432"/>
              <a:gd name="connsiteX11" fmla="*/ 6365383 w 6365383"/>
              <a:gd name="connsiteY11" fmla="*/ 27432 h 27432"/>
              <a:gd name="connsiteX12" fmla="*/ 5856152 w 6365383"/>
              <a:gd name="connsiteY12" fmla="*/ 27432 h 27432"/>
              <a:gd name="connsiteX13" fmla="*/ 5092306 w 6365383"/>
              <a:gd name="connsiteY13" fmla="*/ 27432 h 27432"/>
              <a:gd name="connsiteX14" fmla="*/ 4583076 w 6365383"/>
              <a:gd name="connsiteY14" fmla="*/ 27432 h 27432"/>
              <a:gd name="connsiteX15" fmla="*/ 4137499 w 6365383"/>
              <a:gd name="connsiteY15" fmla="*/ 27432 h 27432"/>
              <a:gd name="connsiteX16" fmla="*/ 3691922 w 6365383"/>
              <a:gd name="connsiteY16" fmla="*/ 27432 h 27432"/>
              <a:gd name="connsiteX17" fmla="*/ 2991730 w 6365383"/>
              <a:gd name="connsiteY17" fmla="*/ 27432 h 27432"/>
              <a:gd name="connsiteX18" fmla="*/ 2546153 w 6365383"/>
              <a:gd name="connsiteY18" fmla="*/ 27432 h 27432"/>
              <a:gd name="connsiteX19" fmla="*/ 1909615 w 6365383"/>
              <a:gd name="connsiteY19" fmla="*/ 27432 h 27432"/>
              <a:gd name="connsiteX20" fmla="*/ 1400384 w 6365383"/>
              <a:gd name="connsiteY20" fmla="*/ 27432 h 27432"/>
              <a:gd name="connsiteX21" fmla="*/ 763846 w 6365383"/>
              <a:gd name="connsiteY21" fmla="*/ 27432 h 27432"/>
              <a:gd name="connsiteX22" fmla="*/ 0 w 6365383"/>
              <a:gd name="connsiteY22" fmla="*/ 27432 h 27432"/>
              <a:gd name="connsiteX23" fmla="*/ 0 w 6365383"/>
              <a:gd name="connsiteY23" fmla="*/ 0 h 27432"/>
              <a:gd name="connsiteX0" fmla="*/ 0 w 6365383"/>
              <a:gd name="connsiteY0" fmla="*/ 0 h 27432"/>
              <a:gd name="connsiteX1" fmla="*/ 572884 w 6365383"/>
              <a:gd name="connsiteY1" fmla="*/ 0 h 27432"/>
              <a:gd name="connsiteX2" fmla="*/ 1018461 w 6365383"/>
              <a:gd name="connsiteY2" fmla="*/ 0 h 27432"/>
              <a:gd name="connsiteX3" fmla="*/ 1782307 w 6365383"/>
              <a:gd name="connsiteY3" fmla="*/ 0 h 27432"/>
              <a:gd name="connsiteX4" fmla="*/ 2355192 w 6365383"/>
              <a:gd name="connsiteY4" fmla="*/ 0 h 27432"/>
              <a:gd name="connsiteX5" fmla="*/ 2928076 w 6365383"/>
              <a:gd name="connsiteY5" fmla="*/ 0 h 27432"/>
              <a:gd name="connsiteX6" fmla="*/ 3691922 w 6365383"/>
              <a:gd name="connsiteY6" fmla="*/ 0 h 27432"/>
              <a:gd name="connsiteX7" fmla="*/ 4201153 w 6365383"/>
              <a:gd name="connsiteY7" fmla="*/ 0 h 27432"/>
              <a:gd name="connsiteX8" fmla="*/ 4964999 w 6365383"/>
              <a:gd name="connsiteY8" fmla="*/ 0 h 27432"/>
              <a:gd name="connsiteX9" fmla="*/ 5728845 w 6365383"/>
              <a:gd name="connsiteY9" fmla="*/ 0 h 27432"/>
              <a:gd name="connsiteX10" fmla="*/ 6365383 w 6365383"/>
              <a:gd name="connsiteY10" fmla="*/ 0 h 27432"/>
              <a:gd name="connsiteX11" fmla="*/ 6365383 w 6365383"/>
              <a:gd name="connsiteY11" fmla="*/ 27432 h 27432"/>
              <a:gd name="connsiteX12" fmla="*/ 5665191 w 6365383"/>
              <a:gd name="connsiteY12" fmla="*/ 27432 h 27432"/>
              <a:gd name="connsiteX13" fmla="*/ 4901345 w 6365383"/>
              <a:gd name="connsiteY13" fmla="*/ 27432 h 27432"/>
              <a:gd name="connsiteX14" fmla="*/ 4137499 w 6365383"/>
              <a:gd name="connsiteY14" fmla="*/ 27432 h 27432"/>
              <a:gd name="connsiteX15" fmla="*/ 3628268 w 6365383"/>
              <a:gd name="connsiteY15" fmla="*/ 27432 h 27432"/>
              <a:gd name="connsiteX16" fmla="*/ 2991730 w 6365383"/>
              <a:gd name="connsiteY16" fmla="*/ 27432 h 27432"/>
              <a:gd name="connsiteX17" fmla="*/ 2227884 w 6365383"/>
              <a:gd name="connsiteY17" fmla="*/ 27432 h 27432"/>
              <a:gd name="connsiteX18" fmla="*/ 1591346 w 6365383"/>
              <a:gd name="connsiteY18" fmla="*/ 27432 h 27432"/>
              <a:gd name="connsiteX19" fmla="*/ 1145769 w 6365383"/>
              <a:gd name="connsiteY19" fmla="*/ 27432 h 27432"/>
              <a:gd name="connsiteX20" fmla="*/ 636538 w 6365383"/>
              <a:gd name="connsiteY20" fmla="*/ 27432 h 27432"/>
              <a:gd name="connsiteX21" fmla="*/ 0 w 6365383"/>
              <a:gd name="connsiteY21" fmla="*/ 27432 h 27432"/>
              <a:gd name="connsiteX22" fmla="*/ 0 w 6365383"/>
              <a:gd name="connsiteY22"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365383" h="27432" fill="none" extrusionOk="0">
                <a:moveTo>
                  <a:pt x="0" y="0"/>
                </a:moveTo>
                <a:cubicBezTo>
                  <a:pt x="311910" y="25756"/>
                  <a:pt x="328854" y="-22977"/>
                  <a:pt x="636538" y="0"/>
                </a:cubicBezTo>
                <a:cubicBezTo>
                  <a:pt x="929901" y="50670"/>
                  <a:pt x="1067253" y="-1993"/>
                  <a:pt x="1273077" y="0"/>
                </a:cubicBezTo>
                <a:cubicBezTo>
                  <a:pt x="1507620" y="-24857"/>
                  <a:pt x="1747799" y="-10413"/>
                  <a:pt x="1909615" y="0"/>
                </a:cubicBezTo>
                <a:cubicBezTo>
                  <a:pt x="2041097" y="-21585"/>
                  <a:pt x="2422417" y="-28022"/>
                  <a:pt x="2673461" y="0"/>
                </a:cubicBezTo>
                <a:cubicBezTo>
                  <a:pt x="2948394" y="-4560"/>
                  <a:pt x="3134893" y="36981"/>
                  <a:pt x="3373653" y="0"/>
                </a:cubicBezTo>
                <a:cubicBezTo>
                  <a:pt x="3634761" y="-15887"/>
                  <a:pt x="3700843" y="23167"/>
                  <a:pt x="3819230" y="0"/>
                </a:cubicBezTo>
                <a:cubicBezTo>
                  <a:pt x="3977295" y="2943"/>
                  <a:pt x="4128910" y="-53150"/>
                  <a:pt x="4392114" y="0"/>
                </a:cubicBezTo>
                <a:cubicBezTo>
                  <a:pt x="4672763" y="9214"/>
                  <a:pt x="4999833" y="38501"/>
                  <a:pt x="5155960" y="0"/>
                </a:cubicBezTo>
                <a:cubicBezTo>
                  <a:pt x="5343367" y="-6557"/>
                  <a:pt x="5597661" y="6622"/>
                  <a:pt x="5792499" y="0"/>
                </a:cubicBezTo>
                <a:cubicBezTo>
                  <a:pt x="6020774" y="43813"/>
                  <a:pt x="6148830" y="-13954"/>
                  <a:pt x="6365383" y="0"/>
                </a:cubicBezTo>
                <a:cubicBezTo>
                  <a:pt x="6364517" y="8091"/>
                  <a:pt x="6365728" y="20268"/>
                  <a:pt x="6365383" y="27432"/>
                </a:cubicBezTo>
                <a:cubicBezTo>
                  <a:pt x="6144545" y="15144"/>
                  <a:pt x="6006673" y="-7419"/>
                  <a:pt x="5856152" y="27432"/>
                </a:cubicBezTo>
                <a:cubicBezTo>
                  <a:pt x="5638446" y="81548"/>
                  <a:pt x="5413846" y="52067"/>
                  <a:pt x="5092306" y="27432"/>
                </a:cubicBezTo>
                <a:cubicBezTo>
                  <a:pt x="4768499" y="43350"/>
                  <a:pt x="4708569" y="3163"/>
                  <a:pt x="4583076" y="27432"/>
                </a:cubicBezTo>
                <a:cubicBezTo>
                  <a:pt x="4475482" y="66269"/>
                  <a:pt x="4242792" y="42702"/>
                  <a:pt x="4137499" y="27432"/>
                </a:cubicBezTo>
                <a:cubicBezTo>
                  <a:pt x="4003968" y="24039"/>
                  <a:pt x="3882646" y="-3026"/>
                  <a:pt x="3691922" y="27432"/>
                </a:cubicBezTo>
                <a:cubicBezTo>
                  <a:pt x="3501639" y="8096"/>
                  <a:pt x="3270842" y="-14942"/>
                  <a:pt x="2991730" y="27432"/>
                </a:cubicBezTo>
                <a:cubicBezTo>
                  <a:pt x="2712135" y="55419"/>
                  <a:pt x="2758697" y="31955"/>
                  <a:pt x="2546153" y="27432"/>
                </a:cubicBezTo>
                <a:cubicBezTo>
                  <a:pt x="2362220" y="-818"/>
                  <a:pt x="2130397" y="57099"/>
                  <a:pt x="1909615" y="27432"/>
                </a:cubicBezTo>
                <a:cubicBezTo>
                  <a:pt x="1714835" y="-15389"/>
                  <a:pt x="1636770" y="40318"/>
                  <a:pt x="1400384" y="27432"/>
                </a:cubicBezTo>
                <a:cubicBezTo>
                  <a:pt x="1161504" y="29515"/>
                  <a:pt x="1060819" y="7773"/>
                  <a:pt x="763846" y="27432"/>
                </a:cubicBezTo>
                <a:cubicBezTo>
                  <a:pt x="465096" y="43671"/>
                  <a:pt x="165309" y="15831"/>
                  <a:pt x="0" y="27432"/>
                </a:cubicBezTo>
                <a:cubicBezTo>
                  <a:pt x="-2013" y="18874"/>
                  <a:pt x="-525" y="8614"/>
                  <a:pt x="0" y="0"/>
                </a:cubicBezTo>
                <a:close/>
              </a:path>
              <a:path w="6365383" h="27432" stroke="0" extrusionOk="0">
                <a:moveTo>
                  <a:pt x="0" y="0"/>
                </a:moveTo>
                <a:cubicBezTo>
                  <a:pt x="84020" y="9133"/>
                  <a:pt x="339524" y="24523"/>
                  <a:pt x="572884" y="0"/>
                </a:cubicBezTo>
                <a:cubicBezTo>
                  <a:pt x="803790" y="-14011"/>
                  <a:pt x="837492" y="-10007"/>
                  <a:pt x="1018461" y="0"/>
                </a:cubicBezTo>
                <a:cubicBezTo>
                  <a:pt x="1188530" y="8943"/>
                  <a:pt x="1571061" y="17361"/>
                  <a:pt x="1782307" y="0"/>
                </a:cubicBezTo>
                <a:cubicBezTo>
                  <a:pt x="1967448" y="-16010"/>
                  <a:pt x="2153334" y="-25629"/>
                  <a:pt x="2355192" y="0"/>
                </a:cubicBezTo>
                <a:cubicBezTo>
                  <a:pt x="2541804" y="20205"/>
                  <a:pt x="2779440" y="53811"/>
                  <a:pt x="2928076" y="0"/>
                </a:cubicBezTo>
                <a:cubicBezTo>
                  <a:pt x="3024078" y="-16903"/>
                  <a:pt x="3337092" y="43483"/>
                  <a:pt x="3691922" y="0"/>
                </a:cubicBezTo>
                <a:cubicBezTo>
                  <a:pt x="4060895" y="-1064"/>
                  <a:pt x="4072166" y="-17195"/>
                  <a:pt x="4201153" y="0"/>
                </a:cubicBezTo>
                <a:cubicBezTo>
                  <a:pt x="4349835" y="-22516"/>
                  <a:pt x="4800106" y="-64797"/>
                  <a:pt x="4964999" y="0"/>
                </a:cubicBezTo>
                <a:cubicBezTo>
                  <a:pt x="5186764" y="15779"/>
                  <a:pt x="5564421" y="-10544"/>
                  <a:pt x="5728845" y="0"/>
                </a:cubicBezTo>
                <a:cubicBezTo>
                  <a:pt x="5915953" y="5493"/>
                  <a:pt x="6171384" y="-48026"/>
                  <a:pt x="6365383" y="0"/>
                </a:cubicBezTo>
                <a:cubicBezTo>
                  <a:pt x="6366596" y="6455"/>
                  <a:pt x="6365588" y="14391"/>
                  <a:pt x="6365383" y="27432"/>
                </a:cubicBezTo>
                <a:cubicBezTo>
                  <a:pt x="6172514" y="805"/>
                  <a:pt x="6006523" y="20734"/>
                  <a:pt x="5665191" y="27432"/>
                </a:cubicBezTo>
                <a:cubicBezTo>
                  <a:pt x="5322179" y="66687"/>
                  <a:pt x="5219376" y="21111"/>
                  <a:pt x="4901345" y="27432"/>
                </a:cubicBezTo>
                <a:cubicBezTo>
                  <a:pt x="4621310" y="-13654"/>
                  <a:pt x="4455192" y="54857"/>
                  <a:pt x="4137499" y="27432"/>
                </a:cubicBezTo>
                <a:cubicBezTo>
                  <a:pt x="3853317" y="12285"/>
                  <a:pt x="3862894" y="26263"/>
                  <a:pt x="3628268" y="27432"/>
                </a:cubicBezTo>
                <a:cubicBezTo>
                  <a:pt x="3418779" y="32610"/>
                  <a:pt x="3174456" y="83656"/>
                  <a:pt x="2991730" y="27432"/>
                </a:cubicBezTo>
                <a:cubicBezTo>
                  <a:pt x="2801278" y="6667"/>
                  <a:pt x="2497351" y="22891"/>
                  <a:pt x="2227884" y="27432"/>
                </a:cubicBezTo>
                <a:cubicBezTo>
                  <a:pt x="1986101" y="16297"/>
                  <a:pt x="1767219" y="-7535"/>
                  <a:pt x="1591346" y="27432"/>
                </a:cubicBezTo>
                <a:cubicBezTo>
                  <a:pt x="1447183" y="73731"/>
                  <a:pt x="1315973" y="39477"/>
                  <a:pt x="1145769" y="27432"/>
                </a:cubicBezTo>
                <a:cubicBezTo>
                  <a:pt x="990245" y="8882"/>
                  <a:pt x="810845" y="16910"/>
                  <a:pt x="636538" y="27432"/>
                </a:cubicBezTo>
                <a:cubicBezTo>
                  <a:pt x="482916" y="17795"/>
                  <a:pt x="183027" y="-17710"/>
                  <a:pt x="0" y="27432"/>
                </a:cubicBezTo>
                <a:cubicBezTo>
                  <a:pt x="491" y="19542"/>
                  <a:pt x="-1038" y="8534"/>
                  <a:pt x="0" y="0"/>
                </a:cubicBezTo>
                <a:close/>
              </a:path>
              <a:path w="6365383" h="27432" fill="none" stroke="0" extrusionOk="0">
                <a:moveTo>
                  <a:pt x="0" y="0"/>
                </a:moveTo>
                <a:cubicBezTo>
                  <a:pt x="296223" y="15991"/>
                  <a:pt x="333462" y="-23795"/>
                  <a:pt x="636538" y="0"/>
                </a:cubicBezTo>
                <a:cubicBezTo>
                  <a:pt x="970197" y="30961"/>
                  <a:pt x="1039864" y="3183"/>
                  <a:pt x="1273077" y="0"/>
                </a:cubicBezTo>
                <a:cubicBezTo>
                  <a:pt x="1449809" y="24819"/>
                  <a:pt x="1735152" y="23060"/>
                  <a:pt x="1909615" y="0"/>
                </a:cubicBezTo>
                <a:cubicBezTo>
                  <a:pt x="2016351" y="-41665"/>
                  <a:pt x="2415001" y="34773"/>
                  <a:pt x="2673461" y="0"/>
                </a:cubicBezTo>
                <a:cubicBezTo>
                  <a:pt x="2996983" y="-13411"/>
                  <a:pt x="3130707" y="3741"/>
                  <a:pt x="3373653" y="0"/>
                </a:cubicBezTo>
                <a:cubicBezTo>
                  <a:pt x="3601951" y="-16140"/>
                  <a:pt x="3689909" y="23222"/>
                  <a:pt x="3819230" y="0"/>
                </a:cubicBezTo>
                <a:cubicBezTo>
                  <a:pt x="3931872" y="-29406"/>
                  <a:pt x="4119438" y="24094"/>
                  <a:pt x="4392114" y="0"/>
                </a:cubicBezTo>
                <a:cubicBezTo>
                  <a:pt x="4665359" y="21557"/>
                  <a:pt x="4978709" y="13267"/>
                  <a:pt x="5155960" y="0"/>
                </a:cubicBezTo>
                <a:cubicBezTo>
                  <a:pt x="5299518" y="-18386"/>
                  <a:pt x="5605020" y="-6762"/>
                  <a:pt x="5792499" y="0"/>
                </a:cubicBezTo>
                <a:cubicBezTo>
                  <a:pt x="6013281" y="43398"/>
                  <a:pt x="6167567" y="36727"/>
                  <a:pt x="6365383" y="0"/>
                </a:cubicBezTo>
                <a:cubicBezTo>
                  <a:pt x="6365697" y="8368"/>
                  <a:pt x="6365332" y="21050"/>
                  <a:pt x="6365383" y="27432"/>
                </a:cubicBezTo>
                <a:cubicBezTo>
                  <a:pt x="6154893" y="8454"/>
                  <a:pt x="6014206" y="-8372"/>
                  <a:pt x="5856152" y="27432"/>
                </a:cubicBezTo>
                <a:cubicBezTo>
                  <a:pt x="5659455" y="59503"/>
                  <a:pt x="5350806" y="-35991"/>
                  <a:pt x="5092306" y="27432"/>
                </a:cubicBezTo>
                <a:cubicBezTo>
                  <a:pt x="4756309" y="48260"/>
                  <a:pt x="4699746" y="-4780"/>
                  <a:pt x="4583076" y="27432"/>
                </a:cubicBezTo>
                <a:cubicBezTo>
                  <a:pt x="4462137" y="30142"/>
                  <a:pt x="4226168" y="50236"/>
                  <a:pt x="4137499" y="27432"/>
                </a:cubicBezTo>
                <a:cubicBezTo>
                  <a:pt x="4018570" y="42181"/>
                  <a:pt x="3887179" y="34623"/>
                  <a:pt x="3691922" y="27432"/>
                </a:cubicBezTo>
                <a:cubicBezTo>
                  <a:pt x="3499755" y="32935"/>
                  <a:pt x="3281056" y="-9158"/>
                  <a:pt x="2991730" y="27432"/>
                </a:cubicBezTo>
                <a:cubicBezTo>
                  <a:pt x="2716073" y="57462"/>
                  <a:pt x="2755481" y="34494"/>
                  <a:pt x="2546153" y="27432"/>
                </a:cubicBezTo>
                <a:cubicBezTo>
                  <a:pt x="2356479" y="62622"/>
                  <a:pt x="2079190" y="73729"/>
                  <a:pt x="1909615" y="27432"/>
                </a:cubicBezTo>
                <a:cubicBezTo>
                  <a:pt x="1715819" y="-26444"/>
                  <a:pt x="1631368" y="48131"/>
                  <a:pt x="1400384" y="27432"/>
                </a:cubicBezTo>
                <a:cubicBezTo>
                  <a:pt x="1177327" y="16190"/>
                  <a:pt x="1065236" y="24992"/>
                  <a:pt x="763846" y="27432"/>
                </a:cubicBezTo>
                <a:cubicBezTo>
                  <a:pt x="448643" y="60691"/>
                  <a:pt x="160833" y="2330"/>
                  <a:pt x="0" y="27432"/>
                </a:cubicBezTo>
                <a:cubicBezTo>
                  <a:pt x="1559" y="18666"/>
                  <a:pt x="-585" y="7580"/>
                  <a:pt x="0" y="0"/>
                </a:cubicBezTo>
                <a:close/>
              </a:path>
            </a:pathLst>
          </a:custGeom>
          <a:solidFill>
            <a:srgbClr val="FFFFFF"/>
          </a:solidFill>
          <a:ln w="41275" cap="rnd">
            <a:solidFill>
              <a:srgbClr val="FFFFFF"/>
            </a:solidFill>
            <a:round/>
            <a:extLst>
              <a:ext uri="{C807C97D-BFC1-408E-A445-0C87EB9F89A2}">
                <ask:lineSketchStyleProps xmlns:ask="http://schemas.microsoft.com/office/drawing/2018/sketchyshapes" sd="1219033472">
                  <a:custGeom>
                    <a:avLst/>
                    <a:gdLst>
                      <a:gd name="connsiteX0" fmla="*/ 0 w 6365383"/>
                      <a:gd name="connsiteY0" fmla="*/ 0 h 27432"/>
                      <a:gd name="connsiteX1" fmla="*/ 636538 w 6365383"/>
                      <a:gd name="connsiteY1" fmla="*/ 0 h 27432"/>
                      <a:gd name="connsiteX2" fmla="*/ 1273077 w 6365383"/>
                      <a:gd name="connsiteY2" fmla="*/ 0 h 27432"/>
                      <a:gd name="connsiteX3" fmla="*/ 1909615 w 6365383"/>
                      <a:gd name="connsiteY3" fmla="*/ 0 h 27432"/>
                      <a:gd name="connsiteX4" fmla="*/ 2673461 w 6365383"/>
                      <a:gd name="connsiteY4" fmla="*/ 0 h 27432"/>
                      <a:gd name="connsiteX5" fmla="*/ 3373653 w 6365383"/>
                      <a:gd name="connsiteY5" fmla="*/ 0 h 27432"/>
                      <a:gd name="connsiteX6" fmla="*/ 3819230 w 6365383"/>
                      <a:gd name="connsiteY6" fmla="*/ 0 h 27432"/>
                      <a:gd name="connsiteX7" fmla="*/ 4392114 w 6365383"/>
                      <a:gd name="connsiteY7" fmla="*/ 0 h 27432"/>
                      <a:gd name="connsiteX8" fmla="*/ 5155960 w 6365383"/>
                      <a:gd name="connsiteY8" fmla="*/ 0 h 27432"/>
                      <a:gd name="connsiteX9" fmla="*/ 5792499 w 6365383"/>
                      <a:gd name="connsiteY9" fmla="*/ 0 h 27432"/>
                      <a:gd name="connsiteX10" fmla="*/ 6365383 w 6365383"/>
                      <a:gd name="connsiteY10" fmla="*/ 0 h 27432"/>
                      <a:gd name="connsiteX11" fmla="*/ 6365383 w 6365383"/>
                      <a:gd name="connsiteY11" fmla="*/ 27432 h 27432"/>
                      <a:gd name="connsiteX12" fmla="*/ 5856152 w 6365383"/>
                      <a:gd name="connsiteY12" fmla="*/ 27432 h 27432"/>
                      <a:gd name="connsiteX13" fmla="*/ 5092306 w 6365383"/>
                      <a:gd name="connsiteY13" fmla="*/ 27432 h 27432"/>
                      <a:gd name="connsiteX14" fmla="*/ 4583076 w 6365383"/>
                      <a:gd name="connsiteY14" fmla="*/ 27432 h 27432"/>
                      <a:gd name="connsiteX15" fmla="*/ 4137499 w 6365383"/>
                      <a:gd name="connsiteY15" fmla="*/ 27432 h 27432"/>
                      <a:gd name="connsiteX16" fmla="*/ 3691922 w 6365383"/>
                      <a:gd name="connsiteY16" fmla="*/ 27432 h 27432"/>
                      <a:gd name="connsiteX17" fmla="*/ 2991730 w 6365383"/>
                      <a:gd name="connsiteY17" fmla="*/ 27432 h 27432"/>
                      <a:gd name="connsiteX18" fmla="*/ 2546153 w 6365383"/>
                      <a:gd name="connsiteY18" fmla="*/ 27432 h 27432"/>
                      <a:gd name="connsiteX19" fmla="*/ 1909615 w 6365383"/>
                      <a:gd name="connsiteY19" fmla="*/ 27432 h 27432"/>
                      <a:gd name="connsiteX20" fmla="*/ 1400384 w 6365383"/>
                      <a:gd name="connsiteY20" fmla="*/ 27432 h 27432"/>
                      <a:gd name="connsiteX21" fmla="*/ 763846 w 6365383"/>
                      <a:gd name="connsiteY21" fmla="*/ 27432 h 27432"/>
                      <a:gd name="connsiteX22" fmla="*/ 0 w 6365383"/>
                      <a:gd name="connsiteY22" fmla="*/ 27432 h 27432"/>
                      <a:gd name="connsiteX23" fmla="*/ 0 w 6365383"/>
                      <a:gd name="connsiteY23"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365383" h="27432" fill="none" extrusionOk="0">
                        <a:moveTo>
                          <a:pt x="0" y="0"/>
                        </a:moveTo>
                        <a:cubicBezTo>
                          <a:pt x="305169" y="21509"/>
                          <a:pt x="334704" y="-24261"/>
                          <a:pt x="636538" y="0"/>
                        </a:cubicBezTo>
                        <a:cubicBezTo>
                          <a:pt x="938372" y="24261"/>
                          <a:pt x="1068606" y="2269"/>
                          <a:pt x="1273077" y="0"/>
                        </a:cubicBezTo>
                        <a:cubicBezTo>
                          <a:pt x="1477548" y="-2269"/>
                          <a:pt x="1738189" y="6272"/>
                          <a:pt x="1909615" y="0"/>
                        </a:cubicBezTo>
                        <a:cubicBezTo>
                          <a:pt x="2081041" y="-6272"/>
                          <a:pt x="2377015" y="16623"/>
                          <a:pt x="2673461" y="0"/>
                        </a:cubicBezTo>
                        <a:cubicBezTo>
                          <a:pt x="2969907" y="-16623"/>
                          <a:pt x="3126114" y="13194"/>
                          <a:pt x="3373653" y="0"/>
                        </a:cubicBezTo>
                        <a:cubicBezTo>
                          <a:pt x="3621192" y="-13194"/>
                          <a:pt x="3704499" y="9486"/>
                          <a:pt x="3819230" y="0"/>
                        </a:cubicBezTo>
                        <a:cubicBezTo>
                          <a:pt x="3933961" y="-9486"/>
                          <a:pt x="4142691" y="-8221"/>
                          <a:pt x="4392114" y="0"/>
                        </a:cubicBezTo>
                        <a:cubicBezTo>
                          <a:pt x="4641537" y="8221"/>
                          <a:pt x="4974506" y="12257"/>
                          <a:pt x="5155960" y="0"/>
                        </a:cubicBezTo>
                        <a:cubicBezTo>
                          <a:pt x="5337414" y="-12257"/>
                          <a:pt x="5585731" y="-22537"/>
                          <a:pt x="5792499" y="0"/>
                        </a:cubicBezTo>
                        <a:cubicBezTo>
                          <a:pt x="5999267" y="22537"/>
                          <a:pt x="6164726" y="7303"/>
                          <a:pt x="6365383" y="0"/>
                        </a:cubicBezTo>
                        <a:cubicBezTo>
                          <a:pt x="6365125" y="7487"/>
                          <a:pt x="6364462" y="19984"/>
                          <a:pt x="6365383" y="27432"/>
                        </a:cubicBezTo>
                        <a:cubicBezTo>
                          <a:pt x="6132222" y="28304"/>
                          <a:pt x="6011986" y="2071"/>
                          <a:pt x="5856152" y="27432"/>
                        </a:cubicBezTo>
                        <a:cubicBezTo>
                          <a:pt x="5700318" y="52793"/>
                          <a:pt x="5410732" y="5357"/>
                          <a:pt x="5092306" y="27432"/>
                        </a:cubicBezTo>
                        <a:cubicBezTo>
                          <a:pt x="4773880" y="49507"/>
                          <a:pt x="4705351" y="6645"/>
                          <a:pt x="4583076" y="27432"/>
                        </a:cubicBezTo>
                        <a:cubicBezTo>
                          <a:pt x="4460801" y="48220"/>
                          <a:pt x="4239915" y="42209"/>
                          <a:pt x="4137499" y="27432"/>
                        </a:cubicBezTo>
                        <a:cubicBezTo>
                          <a:pt x="4035083" y="12655"/>
                          <a:pt x="3883665" y="32012"/>
                          <a:pt x="3691922" y="27432"/>
                        </a:cubicBezTo>
                        <a:cubicBezTo>
                          <a:pt x="3500179" y="22852"/>
                          <a:pt x="3265830" y="-126"/>
                          <a:pt x="2991730" y="27432"/>
                        </a:cubicBezTo>
                        <a:cubicBezTo>
                          <a:pt x="2717630" y="54990"/>
                          <a:pt x="2757122" y="34407"/>
                          <a:pt x="2546153" y="27432"/>
                        </a:cubicBezTo>
                        <a:cubicBezTo>
                          <a:pt x="2335184" y="20457"/>
                          <a:pt x="2107331" y="58889"/>
                          <a:pt x="1909615" y="27432"/>
                        </a:cubicBezTo>
                        <a:cubicBezTo>
                          <a:pt x="1711899" y="-4025"/>
                          <a:pt x="1634641" y="48316"/>
                          <a:pt x="1400384" y="27432"/>
                        </a:cubicBezTo>
                        <a:cubicBezTo>
                          <a:pt x="1166127" y="6548"/>
                          <a:pt x="1068288" y="15776"/>
                          <a:pt x="763846" y="27432"/>
                        </a:cubicBezTo>
                        <a:cubicBezTo>
                          <a:pt x="459404" y="39088"/>
                          <a:pt x="170017" y="14515"/>
                          <a:pt x="0" y="27432"/>
                        </a:cubicBezTo>
                        <a:cubicBezTo>
                          <a:pt x="-14" y="18173"/>
                          <a:pt x="-517" y="8990"/>
                          <a:pt x="0" y="0"/>
                        </a:cubicBezTo>
                        <a:close/>
                      </a:path>
                      <a:path w="6365383" h="27432" stroke="0" extrusionOk="0">
                        <a:moveTo>
                          <a:pt x="0" y="0"/>
                        </a:moveTo>
                        <a:cubicBezTo>
                          <a:pt x="114610" y="-2215"/>
                          <a:pt x="340315" y="12554"/>
                          <a:pt x="572884" y="0"/>
                        </a:cubicBezTo>
                        <a:cubicBezTo>
                          <a:pt x="805453" y="-12554"/>
                          <a:pt x="832891" y="-10424"/>
                          <a:pt x="1018461" y="0"/>
                        </a:cubicBezTo>
                        <a:cubicBezTo>
                          <a:pt x="1204031" y="10424"/>
                          <a:pt x="1590875" y="8682"/>
                          <a:pt x="1782307" y="0"/>
                        </a:cubicBezTo>
                        <a:cubicBezTo>
                          <a:pt x="1973739" y="-8682"/>
                          <a:pt x="2150876" y="5508"/>
                          <a:pt x="2355192" y="0"/>
                        </a:cubicBezTo>
                        <a:cubicBezTo>
                          <a:pt x="2559508" y="-5508"/>
                          <a:pt x="2790194" y="26965"/>
                          <a:pt x="2928076" y="0"/>
                        </a:cubicBezTo>
                        <a:cubicBezTo>
                          <a:pt x="3065958" y="-26965"/>
                          <a:pt x="3321537" y="819"/>
                          <a:pt x="3691922" y="0"/>
                        </a:cubicBezTo>
                        <a:cubicBezTo>
                          <a:pt x="4062307" y="-819"/>
                          <a:pt x="4072238" y="-15327"/>
                          <a:pt x="4201153" y="0"/>
                        </a:cubicBezTo>
                        <a:cubicBezTo>
                          <a:pt x="4330068" y="15327"/>
                          <a:pt x="4772079" y="-35646"/>
                          <a:pt x="4964999" y="0"/>
                        </a:cubicBezTo>
                        <a:cubicBezTo>
                          <a:pt x="5157919" y="35646"/>
                          <a:pt x="5543915" y="6802"/>
                          <a:pt x="5728845" y="0"/>
                        </a:cubicBezTo>
                        <a:cubicBezTo>
                          <a:pt x="5913775" y="-6802"/>
                          <a:pt x="6142952" y="-21408"/>
                          <a:pt x="6365383" y="0"/>
                        </a:cubicBezTo>
                        <a:cubicBezTo>
                          <a:pt x="6364552" y="6329"/>
                          <a:pt x="6365787" y="16858"/>
                          <a:pt x="6365383" y="27432"/>
                        </a:cubicBezTo>
                        <a:cubicBezTo>
                          <a:pt x="6176931" y="320"/>
                          <a:pt x="5998736" y="11244"/>
                          <a:pt x="5665191" y="27432"/>
                        </a:cubicBezTo>
                        <a:cubicBezTo>
                          <a:pt x="5331646" y="43620"/>
                          <a:pt x="5198011" y="28615"/>
                          <a:pt x="4901345" y="27432"/>
                        </a:cubicBezTo>
                        <a:cubicBezTo>
                          <a:pt x="4604679" y="26249"/>
                          <a:pt x="4422931" y="40617"/>
                          <a:pt x="4137499" y="27432"/>
                        </a:cubicBezTo>
                        <a:cubicBezTo>
                          <a:pt x="3852067" y="14247"/>
                          <a:pt x="3861939" y="26581"/>
                          <a:pt x="3628268" y="27432"/>
                        </a:cubicBezTo>
                        <a:cubicBezTo>
                          <a:pt x="3394597" y="28283"/>
                          <a:pt x="3171361" y="44132"/>
                          <a:pt x="2991730" y="27432"/>
                        </a:cubicBezTo>
                        <a:cubicBezTo>
                          <a:pt x="2812099" y="10732"/>
                          <a:pt x="2469344" y="24737"/>
                          <a:pt x="2227884" y="27432"/>
                        </a:cubicBezTo>
                        <a:cubicBezTo>
                          <a:pt x="1986424" y="30127"/>
                          <a:pt x="1748067" y="6359"/>
                          <a:pt x="1591346" y="27432"/>
                        </a:cubicBezTo>
                        <a:cubicBezTo>
                          <a:pt x="1434625" y="48505"/>
                          <a:pt x="1307456" y="39663"/>
                          <a:pt x="1145769" y="27432"/>
                        </a:cubicBezTo>
                        <a:cubicBezTo>
                          <a:pt x="984082" y="15201"/>
                          <a:pt x="800279" y="41647"/>
                          <a:pt x="636538" y="27432"/>
                        </a:cubicBezTo>
                        <a:cubicBezTo>
                          <a:pt x="472797" y="13217"/>
                          <a:pt x="160022" y="2213"/>
                          <a:pt x="0" y="27432"/>
                        </a:cubicBezTo>
                        <a:cubicBezTo>
                          <a:pt x="-177" y="19307"/>
                          <a:pt x="-1145" y="9170"/>
                          <a:pt x="0" y="0"/>
                        </a:cubicBezTo>
                        <a:close/>
                      </a:path>
                    </a:pathLst>
                  </a:cu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88350167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uppo 16">
            <a:extLst>
              <a:ext uri="{FF2B5EF4-FFF2-40B4-BE49-F238E27FC236}">
                <a16:creationId xmlns:a16="http://schemas.microsoft.com/office/drawing/2014/main" id="{3F5F7AF6-0534-4E89-AE02-CE3836F7A2BE}"/>
              </a:ext>
            </a:extLst>
          </p:cNvPr>
          <p:cNvGrpSpPr/>
          <p:nvPr/>
        </p:nvGrpSpPr>
        <p:grpSpPr>
          <a:xfrm>
            <a:off x="4329146" y="9620433"/>
            <a:ext cx="13958844" cy="666567"/>
            <a:chOff x="4329156" y="9649198"/>
            <a:chExt cx="13958844" cy="666567"/>
          </a:xfrm>
        </p:grpSpPr>
        <p:pic>
          <p:nvPicPr>
            <p:cNvPr id="7" name="Picture 12">
              <a:extLst>
                <a:ext uri="{FF2B5EF4-FFF2-40B4-BE49-F238E27FC236}">
                  <a16:creationId xmlns:a16="http://schemas.microsoft.com/office/drawing/2014/main" id="{4858E8BF-2173-4F89-804F-345558864251}"/>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8" name="TextBox 16">
              <a:extLst>
                <a:ext uri="{FF2B5EF4-FFF2-40B4-BE49-F238E27FC236}">
                  <a16:creationId xmlns:a16="http://schemas.microsoft.com/office/drawing/2014/main" id="{BC9248AC-0972-4328-8B1F-A2C970BE34E2}"/>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pic>
        <p:nvPicPr>
          <p:cNvPr id="9" name="Picture 12">
            <a:extLst>
              <a:ext uri="{FF2B5EF4-FFF2-40B4-BE49-F238E27FC236}">
                <a16:creationId xmlns:a16="http://schemas.microsoft.com/office/drawing/2014/main" id="{426C4F99-0853-4E54-96B0-626D89C4E0F7}"/>
              </a:ext>
            </a:extLst>
          </p:cNvPr>
          <p:cNvPicPr>
            <a:picLocks noChangeAspect="1"/>
          </p:cNvPicPr>
          <p:nvPr/>
        </p:nvPicPr>
        <p:blipFill>
          <a:blip r:embed="rId4"/>
          <a:srcRect/>
          <a:stretch>
            <a:fillRect/>
          </a:stretch>
        </p:blipFill>
        <p:spPr>
          <a:xfrm>
            <a:off x="0" y="8901113"/>
            <a:ext cx="5715000" cy="1385887"/>
          </a:xfrm>
          <a:prstGeom prst="rect">
            <a:avLst/>
          </a:prstGeom>
        </p:spPr>
      </p:pic>
      <p:grpSp>
        <p:nvGrpSpPr>
          <p:cNvPr id="10" name="Gruppo 2">
            <a:extLst>
              <a:ext uri="{FF2B5EF4-FFF2-40B4-BE49-F238E27FC236}">
                <a16:creationId xmlns:a16="http://schemas.microsoft.com/office/drawing/2014/main" id="{CF0AECC4-F876-41D0-A929-D2475ED45E73}"/>
              </a:ext>
            </a:extLst>
          </p:cNvPr>
          <p:cNvGrpSpPr/>
          <p:nvPr/>
        </p:nvGrpSpPr>
        <p:grpSpPr>
          <a:xfrm>
            <a:off x="-12" y="138554"/>
            <a:ext cx="18288002" cy="681138"/>
            <a:chOff x="-12" y="138554"/>
            <a:chExt cx="18288002" cy="681138"/>
          </a:xfrm>
        </p:grpSpPr>
        <p:grpSp>
          <p:nvGrpSpPr>
            <p:cNvPr id="11" name="Gruppo 1">
              <a:extLst>
                <a:ext uri="{FF2B5EF4-FFF2-40B4-BE49-F238E27FC236}">
                  <a16:creationId xmlns:a16="http://schemas.microsoft.com/office/drawing/2014/main" id="{CB1F2BCB-6780-46C6-8C55-58EA8CCA8E2E}"/>
                </a:ext>
              </a:extLst>
            </p:cNvPr>
            <p:cNvGrpSpPr/>
            <p:nvPr/>
          </p:nvGrpSpPr>
          <p:grpSpPr>
            <a:xfrm>
              <a:off x="0" y="153125"/>
              <a:ext cx="17907000" cy="666567"/>
              <a:chOff x="0" y="153125"/>
              <a:chExt cx="17907000" cy="666567"/>
            </a:xfrm>
          </p:grpSpPr>
          <p:grpSp>
            <p:nvGrpSpPr>
              <p:cNvPr id="13" name="Gruppo 15">
                <a:extLst>
                  <a:ext uri="{FF2B5EF4-FFF2-40B4-BE49-F238E27FC236}">
                    <a16:creationId xmlns:a16="http://schemas.microsoft.com/office/drawing/2014/main" id="{E70CFF61-09B8-4460-9E25-56434FBA271C}"/>
                  </a:ext>
                </a:extLst>
              </p:cNvPr>
              <p:cNvGrpSpPr/>
              <p:nvPr/>
            </p:nvGrpSpPr>
            <p:grpSpPr>
              <a:xfrm>
                <a:off x="0" y="153125"/>
                <a:ext cx="13958844" cy="666567"/>
                <a:chOff x="0" y="153125"/>
                <a:chExt cx="13958844" cy="666567"/>
              </a:xfrm>
            </p:grpSpPr>
            <p:pic>
              <p:nvPicPr>
                <p:cNvPr id="15" name="Picture 10">
                  <a:extLst>
                    <a:ext uri="{FF2B5EF4-FFF2-40B4-BE49-F238E27FC236}">
                      <a16:creationId xmlns:a16="http://schemas.microsoft.com/office/drawing/2014/main" id="{A7D6FD36-74A4-4E44-8F40-2403271A3E0F}"/>
                    </a:ext>
                  </a:extLst>
                </p:cNvPr>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6" name="TextBox 11">
                  <a:extLst>
                    <a:ext uri="{FF2B5EF4-FFF2-40B4-BE49-F238E27FC236}">
                      <a16:creationId xmlns:a16="http://schemas.microsoft.com/office/drawing/2014/main" id="{B24D47EA-E251-440E-AE41-D7B3380585D7}"/>
                    </a:ext>
                  </a:extLst>
                </p:cNvPr>
                <p:cNvSpPr txBox="1"/>
                <p:nvPr/>
              </p:nvSpPr>
              <p:spPr>
                <a:xfrm>
                  <a:off x="228600" y="257980"/>
                  <a:ext cx="9296400" cy="456856"/>
                </a:xfrm>
                <a:prstGeom prst="rect">
                  <a:avLst/>
                </a:prstGeom>
              </p:spPr>
              <p:txBody>
                <a:bodyPr wrap="square" lIns="0" tIns="0" rIns="0" bIns="0" rtlCol="0" anchor="t">
                  <a:spAutoFit/>
                </a:bodyPr>
                <a:lstStyle/>
                <a:p>
                  <a:pPr>
                    <a:lnSpc>
                      <a:spcPts val="3919"/>
                    </a:lnSpc>
                    <a:spcBef>
                      <a:spcPct val="0"/>
                    </a:spcBef>
                  </a:pPr>
                  <a:endParaRPr lang="en-US" sz="2800" b="1">
                    <a:solidFill>
                      <a:srgbClr val="FFFFFF"/>
                    </a:solidFill>
                    <a:latin typeface="Arial" panose="020B0604020202020204" pitchFamily="34" charset="0"/>
                    <a:cs typeface="Arial" panose="020B0604020202020204" pitchFamily="34" charset="0"/>
                  </a:endParaRPr>
                </a:p>
              </p:txBody>
            </p:sp>
          </p:grpSp>
          <p:sp>
            <p:nvSpPr>
              <p:cNvPr id="14" name="TextBox 13">
                <a:extLst>
                  <a:ext uri="{FF2B5EF4-FFF2-40B4-BE49-F238E27FC236}">
                    <a16:creationId xmlns:a16="http://schemas.microsoft.com/office/drawing/2014/main" id="{EF270367-E803-4FF8-B0D4-E65C63292230}"/>
                  </a:ext>
                </a:extLst>
              </p:cNvPr>
              <p:cNvSpPr txBox="1"/>
              <p:nvPr/>
            </p:nvSpPr>
            <p:spPr>
              <a:xfrm>
                <a:off x="12154296" y="257980"/>
                <a:ext cx="5752704" cy="456856"/>
              </a:xfrm>
              <a:prstGeom prst="rect">
                <a:avLst/>
              </a:prstGeom>
            </p:spPr>
            <p:txBody>
              <a:bodyPr wrap="square" lIns="0" tIns="0" rIns="0" bIns="0" rtlCol="0" anchor="t">
                <a:spAutoFit/>
              </a:bodyPr>
              <a:lstStyle/>
              <a:p>
                <a:pPr algn="r">
                  <a:lnSpc>
                    <a:spcPts val="3919"/>
                  </a:lnSpc>
                  <a:spcBef>
                    <a:spcPct val="0"/>
                  </a:spcBef>
                </a:pPr>
                <a:endParaRPr lang="en-US" sz="2800">
                  <a:solidFill>
                    <a:schemeClr val="tx1">
                      <a:lumMod val="75000"/>
                      <a:lumOff val="25000"/>
                    </a:schemeClr>
                  </a:solidFill>
                  <a:latin typeface="Arial" panose="020B0604020202020204" pitchFamily="34" charset="0"/>
                  <a:cs typeface="Arial" panose="020B0604020202020204" pitchFamily="34" charset="0"/>
                </a:endParaRPr>
              </a:p>
            </p:txBody>
          </p:sp>
        </p:grpSp>
        <p:sp>
          <p:nvSpPr>
            <p:cNvPr id="12" name="Rettangolo 13">
              <a:extLst>
                <a:ext uri="{FF2B5EF4-FFF2-40B4-BE49-F238E27FC236}">
                  <a16:creationId xmlns:a16="http://schemas.microsoft.com/office/drawing/2014/main" id="{33792927-A67D-4B2A-8F4D-6E60C45CB3CE}"/>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9" name="TextBox 18">
            <a:extLst>
              <a:ext uri="{FF2B5EF4-FFF2-40B4-BE49-F238E27FC236}">
                <a16:creationId xmlns:a16="http://schemas.microsoft.com/office/drawing/2014/main" id="{FC76D9D2-7CF1-4943-A222-2CB626447591}"/>
              </a:ext>
            </a:extLst>
          </p:cNvPr>
          <p:cNvSpPr txBox="1"/>
          <p:nvPr/>
        </p:nvSpPr>
        <p:spPr>
          <a:xfrm>
            <a:off x="228600" y="687344"/>
            <a:ext cx="17807739" cy="1077218"/>
          </a:xfrm>
          <a:prstGeom prst="rect">
            <a:avLst/>
          </a:prstGeom>
          <a:noFill/>
        </p:spPr>
        <p:txBody>
          <a:bodyPr wrap="square">
            <a:spAutoFit/>
          </a:bodyPr>
          <a:lstStyle/>
          <a:p>
            <a:pPr algn="ctr"/>
            <a:r>
              <a:rPr lang="en-US" sz="6400" b="1" dirty="0">
                <a:solidFill>
                  <a:srgbClr val="CC0033"/>
                </a:solidFill>
                <a:latin typeface="+mj-lt"/>
                <a:cs typeface="Arial" panose="020B0604020202020204" pitchFamily="34" charset="0"/>
              </a:rPr>
              <a:t>KRI and KPA</a:t>
            </a:r>
            <a:endParaRPr lang="sv-SE" sz="6400" b="1" dirty="0">
              <a:solidFill>
                <a:srgbClr val="CC0033"/>
              </a:solidFill>
              <a:latin typeface="+mj-lt"/>
              <a:cs typeface="Arial" panose="020B0604020202020204" pitchFamily="34" charset="0"/>
            </a:endParaRPr>
          </a:p>
        </p:txBody>
      </p:sp>
      <p:sp>
        <p:nvSpPr>
          <p:cNvPr id="20" name="TextBox 19">
            <a:extLst>
              <a:ext uri="{FF2B5EF4-FFF2-40B4-BE49-F238E27FC236}">
                <a16:creationId xmlns:a16="http://schemas.microsoft.com/office/drawing/2014/main" id="{831B271D-D943-45F9-A1D3-6758B0E15665}"/>
              </a:ext>
            </a:extLst>
          </p:cNvPr>
          <p:cNvSpPr txBox="1"/>
          <p:nvPr/>
        </p:nvSpPr>
        <p:spPr>
          <a:xfrm>
            <a:off x="541421" y="2258959"/>
            <a:ext cx="17008642" cy="6863417"/>
          </a:xfrm>
          <a:prstGeom prst="rect">
            <a:avLst/>
          </a:prstGeom>
          <a:noFill/>
        </p:spPr>
        <p:txBody>
          <a:bodyPr wrap="square" numCol="1">
            <a:spAutoFit/>
          </a:bodyPr>
          <a:lstStyle/>
          <a:p>
            <a:r>
              <a:rPr lang="en-US" sz="2400" dirty="0">
                <a:effectLst/>
                <a:latin typeface="Segoe UI" panose="020B0502040204020203" pitchFamily="34" charset="0"/>
              </a:rPr>
              <a:t>What is KRI and KPA?</a:t>
            </a:r>
          </a:p>
          <a:p>
            <a:endParaRPr lang="en-US" sz="2400" dirty="0">
              <a:latin typeface="Segoe UI" panose="020B0502040204020203" pitchFamily="34" charset="0"/>
            </a:endParaRPr>
          </a:p>
          <a:p>
            <a:pPr marL="457200" indent="-457200">
              <a:buFont typeface="Arial" panose="020B0604020202020204" pitchFamily="34" charset="0"/>
              <a:buChar char="•"/>
            </a:pPr>
            <a:r>
              <a:rPr lang="en-US" sz="2400" dirty="0">
                <a:effectLst/>
                <a:latin typeface="Segoe UI" panose="020B0502040204020203" pitchFamily="34" charset="0"/>
              </a:rPr>
              <a:t>Key Resource Indicators (KRI) reflect </a:t>
            </a:r>
            <a:r>
              <a:rPr lang="en-US" sz="2400" u="sng" dirty="0">
                <a:effectLst/>
                <a:latin typeface="Segoe UI" panose="020B0502040204020203" pitchFamily="34" charset="0"/>
              </a:rPr>
              <a:t>environmenta</a:t>
            </a:r>
            <a:r>
              <a:rPr lang="en-US" sz="2400" dirty="0">
                <a:effectLst/>
                <a:latin typeface="Segoe UI" panose="020B0502040204020203" pitchFamily="34" charset="0"/>
              </a:rPr>
              <a:t>l and </a:t>
            </a:r>
            <a:r>
              <a:rPr lang="en-US" sz="2400" u="sng" dirty="0">
                <a:effectLst/>
                <a:latin typeface="Segoe UI" panose="020B0502040204020203" pitchFamily="34" charset="0"/>
              </a:rPr>
              <a:t>resource efficiency </a:t>
            </a:r>
            <a:r>
              <a:rPr lang="en-US" sz="2400" dirty="0">
                <a:effectLst/>
                <a:latin typeface="Segoe UI" panose="020B0502040204020203" pitchFamily="34" charset="0"/>
              </a:rPr>
              <a:t>performance. </a:t>
            </a:r>
          </a:p>
          <a:p>
            <a:pPr marL="457200" indent="-457200">
              <a:buFont typeface="Arial" panose="020B0604020202020204" pitchFamily="34" charset="0"/>
              <a:buChar char="•"/>
            </a:pPr>
            <a:r>
              <a:rPr lang="en-US" sz="2400" dirty="0">
                <a:effectLst/>
                <a:latin typeface="Segoe UI" panose="020B0502040204020203" pitchFamily="34" charset="0"/>
              </a:rPr>
              <a:t>Key Performance Attributes (KPA) reflect process performance regarding </a:t>
            </a:r>
            <a:r>
              <a:rPr lang="en-US" sz="2400" u="sng" dirty="0">
                <a:effectLst/>
                <a:latin typeface="Segoe UI" panose="020B0502040204020203" pitchFamily="34" charset="0"/>
              </a:rPr>
              <a:t>cost, quality and safety</a:t>
            </a:r>
            <a:r>
              <a:rPr lang="en-US" sz="2400" dirty="0">
                <a:effectLst/>
                <a:latin typeface="Segoe UI" panose="020B0502040204020203" pitchFamily="34" charset="0"/>
              </a:rPr>
              <a:t>. </a:t>
            </a:r>
          </a:p>
          <a:p>
            <a:pPr marL="457200" indent="-457200">
              <a:buFont typeface="Arial" panose="020B0604020202020204" pitchFamily="34" charset="0"/>
              <a:buChar char="•"/>
            </a:pPr>
            <a:endParaRPr lang="en-US" sz="2400" dirty="0">
              <a:latin typeface="Segoe UI" panose="020B0502040204020203" pitchFamily="34" charset="0"/>
            </a:endParaRPr>
          </a:p>
          <a:p>
            <a:r>
              <a:rPr lang="en-US" sz="2400" dirty="0">
                <a:effectLst/>
                <a:latin typeface="Segoe UI" panose="020B0502040204020203" pitchFamily="34" charset="0"/>
              </a:rPr>
              <a:t>Why is it important to set KRIs and KPAs?</a:t>
            </a:r>
          </a:p>
          <a:p>
            <a:endParaRPr lang="en-US" sz="2400" dirty="0">
              <a:latin typeface="Segoe UI" panose="020B0502040204020203" pitchFamily="34" charset="0"/>
            </a:endParaRPr>
          </a:p>
          <a:p>
            <a:pPr marL="457200" indent="-457200">
              <a:buFont typeface="Arial" panose="020B0604020202020204" pitchFamily="34" charset="0"/>
              <a:buChar char="•"/>
            </a:pPr>
            <a:r>
              <a:rPr lang="en-US" sz="2400" dirty="0">
                <a:latin typeface="Segoe UI" panose="020B0502040204020203" pitchFamily="34" charset="0"/>
              </a:rPr>
              <a:t>KRI and KPA is set to monitor the progress of the retrofit actions/the project. The KRI and KPA can be incorporated in the new control of the processes, within the decision support system (DSS) and ease the follow up of targets. </a:t>
            </a:r>
          </a:p>
          <a:p>
            <a:pPr marL="457200" indent="-457200">
              <a:buFont typeface="Arial" panose="020B0604020202020204" pitchFamily="34" charset="0"/>
              <a:buChar char="•"/>
            </a:pPr>
            <a:endParaRPr lang="en-US" sz="2400" dirty="0">
              <a:latin typeface="Segoe UI" panose="020B0502040204020203" pitchFamily="34" charset="0"/>
            </a:endParaRPr>
          </a:p>
          <a:p>
            <a:r>
              <a:rPr lang="en-US" sz="2400" dirty="0">
                <a:latin typeface="Segoe UI" panose="020B0502040204020203" pitchFamily="34" charset="0"/>
              </a:rPr>
              <a:t>How can indicators in general be evaluated? </a:t>
            </a:r>
          </a:p>
          <a:p>
            <a:endParaRPr lang="en-US" sz="2400" dirty="0">
              <a:latin typeface="Segoe UI" panose="020B0502040204020203" pitchFamily="34" charset="0"/>
            </a:endParaRPr>
          </a:p>
          <a:p>
            <a:pPr marL="342900" indent="-342900">
              <a:buFont typeface="Arial" panose="020B0604020202020204" pitchFamily="34" charset="0"/>
              <a:buChar char="•"/>
            </a:pPr>
            <a:r>
              <a:rPr lang="en-US" sz="2400" dirty="0">
                <a:latin typeface="Segoe UI" panose="020B0502040204020203" pitchFamily="34" charset="0"/>
              </a:rPr>
              <a:t>The following slides will go through what </a:t>
            </a:r>
            <a:r>
              <a:rPr lang="en-US" sz="2400" dirty="0" err="1">
                <a:latin typeface="Segoe UI" panose="020B0502040204020203" pitchFamily="34" charset="0"/>
              </a:rPr>
              <a:t>criterias</a:t>
            </a:r>
            <a:r>
              <a:rPr lang="en-US" sz="2400" dirty="0">
                <a:latin typeface="Segoe UI" panose="020B0502040204020203" pitchFamily="34" charset="0"/>
              </a:rPr>
              <a:t> that can be used to evaluate indicators:</a:t>
            </a:r>
          </a:p>
          <a:p>
            <a:pPr marL="800100" lvl="1" indent="-342900">
              <a:buFont typeface="Arial" panose="020B0604020202020204" pitchFamily="34" charset="0"/>
              <a:buChar char="•"/>
            </a:pPr>
            <a:r>
              <a:rPr lang="en-US" sz="2400" dirty="0">
                <a:latin typeface="Segoe UI" panose="020B0502040204020203" pitchFamily="34" charset="0"/>
              </a:rPr>
              <a:t>Criteria for indicators</a:t>
            </a:r>
          </a:p>
          <a:p>
            <a:pPr marL="800100" lvl="1" indent="-342900">
              <a:buFont typeface="Arial" panose="020B0604020202020204" pitchFamily="34" charset="0"/>
              <a:buChar char="•"/>
            </a:pPr>
            <a:r>
              <a:rPr lang="en-US" sz="2400" dirty="0">
                <a:latin typeface="Segoe UI" panose="020B0502040204020203" pitchFamily="34" charset="0"/>
              </a:rPr>
              <a:t>SMART</a:t>
            </a:r>
          </a:p>
          <a:p>
            <a:pPr marL="800100" lvl="1" indent="-342900">
              <a:buFont typeface="Arial" panose="020B0604020202020204" pitchFamily="34" charset="0"/>
              <a:buChar char="•"/>
            </a:pPr>
            <a:r>
              <a:rPr lang="en-US" sz="2400" dirty="0">
                <a:latin typeface="Segoe UI" panose="020B0502040204020203" pitchFamily="34" charset="0"/>
              </a:rPr>
              <a:t>CREAM </a:t>
            </a:r>
          </a:p>
          <a:p>
            <a:pPr marL="342900" indent="-342900">
              <a:buFont typeface="Arial" panose="020B0604020202020204" pitchFamily="34" charset="0"/>
              <a:buChar char="•"/>
            </a:pPr>
            <a:endParaRPr lang="en-US" sz="2400" dirty="0">
              <a:latin typeface="Segoe UI" panose="020B0502040204020203" pitchFamily="34" charset="0"/>
            </a:endParaRPr>
          </a:p>
          <a:p>
            <a:endParaRPr lang="en-US" sz="3200" dirty="0">
              <a:effectLst/>
              <a:latin typeface="Segoe UI" panose="020B0502040204020203" pitchFamily="34" charset="0"/>
            </a:endParaRPr>
          </a:p>
        </p:txBody>
      </p:sp>
    </p:spTree>
    <p:extLst>
      <p:ext uri="{BB962C8B-B14F-4D97-AF65-F5344CB8AC3E}">
        <p14:creationId xmlns:p14="http://schemas.microsoft.com/office/powerpoint/2010/main" val="30124269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0">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0">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0">
                                            <p:txEl>
                                              <p:pRg st="5" end="5"/>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0">
                                            <p:txEl>
                                              <p:pRg st="7" end="7"/>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20">
                                            <p:txEl>
                                              <p:pRg st="9" end="9"/>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0">
                                            <p:txEl>
                                              <p:pRg st="11" end="11"/>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0">
                                            <p:txEl>
                                              <p:pRg st="12" end="12"/>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0">
                                            <p:txEl>
                                              <p:pRg st="13" end="13"/>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0">
                                            <p:txEl>
                                              <p:pRg st="14" end="1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uppo 16">
            <a:extLst>
              <a:ext uri="{FF2B5EF4-FFF2-40B4-BE49-F238E27FC236}">
                <a16:creationId xmlns:a16="http://schemas.microsoft.com/office/drawing/2014/main" id="{3F5F7AF6-0534-4E89-AE02-CE3836F7A2BE}"/>
              </a:ext>
            </a:extLst>
          </p:cNvPr>
          <p:cNvGrpSpPr/>
          <p:nvPr/>
        </p:nvGrpSpPr>
        <p:grpSpPr>
          <a:xfrm>
            <a:off x="4329146" y="9620433"/>
            <a:ext cx="13958844" cy="666567"/>
            <a:chOff x="4329156" y="9649198"/>
            <a:chExt cx="13958844" cy="666567"/>
          </a:xfrm>
        </p:grpSpPr>
        <p:pic>
          <p:nvPicPr>
            <p:cNvPr id="7" name="Picture 12">
              <a:extLst>
                <a:ext uri="{FF2B5EF4-FFF2-40B4-BE49-F238E27FC236}">
                  <a16:creationId xmlns:a16="http://schemas.microsoft.com/office/drawing/2014/main" id="{4858E8BF-2173-4F89-804F-345558864251}"/>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8" name="TextBox 16">
              <a:extLst>
                <a:ext uri="{FF2B5EF4-FFF2-40B4-BE49-F238E27FC236}">
                  <a16:creationId xmlns:a16="http://schemas.microsoft.com/office/drawing/2014/main" id="{BC9248AC-0972-4328-8B1F-A2C970BE34E2}"/>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pic>
        <p:nvPicPr>
          <p:cNvPr id="9" name="Picture 12">
            <a:extLst>
              <a:ext uri="{FF2B5EF4-FFF2-40B4-BE49-F238E27FC236}">
                <a16:creationId xmlns:a16="http://schemas.microsoft.com/office/drawing/2014/main" id="{426C4F99-0853-4E54-96B0-626D89C4E0F7}"/>
              </a:ext>
            </a:extLst>
          </p:cNvPr>
          <p:cNvPicPr>
            <a:picLocks noChangeAspect="1"/>
          </p:cNvPicPr>
          <p:nvPr/>
        </p:nvPicPr>
        <p:blipFill>
          <a:blip r:embed="rId4"/>
          <a:srcRect/>
          <a:stretch>
            <a:fillRect/>
          </a:stretch>
        </p:blipFill>
        <p:spPr>
          <a:xfrm>
            <a:off x="0" y="8901113"/>
            <a:ext cx="5715000" cy="1385887"/>
          </a:xfrm>
          <a:prstGeom prst="rect">
            <a:avLst/>
          </a:prstGeom>
        </p:spPr>
      </p:pic>
      <p:grpSp>
        <p:nvGrpSpPr>
          <p:cNvPr id="10" name="Gruppo 2">
            <a:extLst>
              <a:ext uri="{FF2B5EF4-FFF2-40B4-BE49-F238E27FC236}">
                <a16:creationId xmlns:a16="http://schemas.microsoft.com/office/drawing/2014/main" id="{CF0AECC4-F876-41D0-A929-D2475ED45E73}"/>
              </a:ext>
            </a:extLst>
          </p:cNvPr>
          <p:cNvGrpSpPr/>
          <p:nvPr/>
        </p:nvGrpSpPr>
        <p:grpSpPr>
          <a:xfrm>
            <a:off x="-12" y="138554"/>
            <a:ext cx="18288002" cy="681138"/>
            <a:chOff x="-12" y="138554"/>
            <a:chExt cx="18288002" cy="681138"/>
          </a:xfrm>
        </p:grpSpPr>
        <p:grpSp>
          <p:nvGrpSpPr>
            <p:cNvPr id="11" name="Gruppo 1">
              <a:extLst>
                <a:ext uri="{FF2B5EF4-FFF2-40B4-BE49-F238E27FC236}">
                  <a16:creationId xmlns:a16="http://schemas.microsoft.com/office/drawing/2014/main" id="{CB1F2BCB-6780-46C6-8C55-58EA8CCA8E2E}"/>
                </a:ext>
              </a:extLst>
            </p:cNvPr>
            <p:cNvGrpSpPr/>
            <p:nvPr/>
          </p:nvGrpSpPr>
          <p:grpSpPr>
            <a:xfrm>
              <a:off x="0" y="153125"/>
              <a:ext cx="17907000" cy="666567"/>
              <a:chOff x="0" y="153125"/>
              <a:chExt cx="17907000" cy="666567"/>
            </a:xfrm>
          </p:grpSpPr>
          <p:grpSp>
            <p:nvGrpSpPr>
              <p:cNvPr id="13" name="Gruppo 15">
                <a:extLst>
                  <a:ext uri="{FF2B5EF4-FFF2-40B4-BE49-F238E27FC236}">
                    <a16:creationId xmlns:a16="http://schemas.microsoft.com/office/drawing/2014/main" id="{E70CFF61-09B8-4460-9E25-56434FBA271C}"/>
                  </a:ext>
                </a:extLst>
              </p:cNvPr>
              <p:cNvGrpSpPr/>
              <p:nvPr/>
            </p:nvGrpSpPr>
            <p:grpSpPr>
              <a:xfrm>
                <a:off x="0" y="153125"/>
                <a:ext cx="13958844" cy="666567"/>
                <a:chOff x="0" y="153125"/>
                <a:chExt cx="13958844" cy="666567"/>
              </a:xfrm>
            </p:grpSpPr>
            <p:pic>
              <p:nvPicPr>
                <p:cNvPr id="15" name="Picture 10">
                  <a:extLst>
                    <a:ext uri="{FF2B5EF4-FFF2-40B4-BE49-F238E27FC236}">
                      <a16:creationId xmlns:a16="http://schemas.microsoft.com/office/drawing/2014/main" id="{A7D6FD36-74A4-4E44-8F40-2403271A3E0F}"/>
                    </a:ext>
                  </a:extLst>
                </p:cNvPr>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6" name="TextBox 11">
                  <a:extLst>
                    <a:ext uri="{FF2B5EF4-FFF2-40B4-BE49-F238E27FC236}">
                      <a16:creationId xmlns:a16="http://schemas.microsoft.com/office/drawing/2014/main" id="{B24D47EA-E251-440E-AE41-D7B3380585D7}"/>
                    </a:ext>
                  </a:extLst>
                </p:cNvPr>
                <p:cNvSpPr txBox="1"/>
                <p:nvPr/>
              </p:nvSpPr>
              <p:spPr>
                <a:xfrm>
                  <a:off x="228600" y="257980"/>
                  <a:ext cx="9296400" cy="456856"/>
                </a:xfrm>
                <a:prstGeom prst="rect">
                  <a:avLst/>
                </a:prstGeom>
              </p:spPr>
              <p:txBody>
                <a:bodyPr wrap="square" lIns="0" tIns="0" rIns="0" bIns="0" rtlCol="0" anchor="t">
                  <a:spAutoFit/>
                </a:bodyPr>
                <a:lstStyle/>
                <a:p>
                  <a:pPr>
                    <a:lnSpc>
                      <a:spcPts val="3919"/>
                    </a:lnSpc>
                    <a:spcBef>
                      <a:spcPct val="0"/>
                    </a:spcBef>
                  </a:pPr>
                  <a:endParaRPr lang="en-US" sz="2800" b="1">
                    <a:solidFill>
                      <a:srgbClr val="FFFFFF"/>
                    </a:solidFill>
                    <a:latin typeface="Arial" panose="020B0604020202020204" pitchFamily="34" charset="0"/>
                    <a:cs typeface="Arial" panose="020B0604020202020204" pitchFamily="34" charset="0"/>
                  </a:endParaRPr>
                </a:p>
              </p:txBody>
            </p:sp>
          </p:grpSp>
          <p:sp>
            <p:nvSpPr>
              <p:cNvPr id="14" name="TextBox 13">
                <a:extLst>
                  <a:ext uri="{FF2B5EF4-FFF2-40B4-BE49-F238E27FC236}">
                    <a16:creationId xmlns:a16="http://schemas.microsoft.com/office/drawing/2014/main" id="{EF270367-E803-4FF8-B0D4-E65C63292230}"/>
                  </a:ext>
                </a:extLst>
              </p:cNvPr>
              <p:cNvSpPr txBox="1"/>
              <p:nvPr/>
            </p:nvSpPr>
            <p:spPr>
              <a:xfrm>
                <a:off x="12154296" y="257980"/>
                <a:ext cx="5752704" cy="456856"/>
              </a:xfrm>
              <a:prstGeom prst="rect">
                <a:avLst/>
              </a:prstGeom>
            </p:spPr>
            <p:txBody>
              <a:bodyPr wrap="square" lIns="0" tIns="0" rIns="0" bIns="0" rtlCol="0" anchor="t">
                <a:spAutoFit/>
              </a:bodyPr>
              <a:lstStyle/>
              <a:p>
                <a:pPr algn="r">
                  <a:lnSpc>
                    <a:spcPts val="3919"/>
                  </a:lnSpc>
                  <a:spcBef>
                    <a:spcPct val="0"/>
                  </a:spcBef>
                </a:pPr>
                <a:endParaRPr lang="en-US" sz="2800">
                  <a:solidFill>
                    <a:schemeClr val="tx1">
                      <a:lumMod val="75000"/>
                      <a:lumOff val="25000"/>
                    </a:schemeClr>
                  </a:solidFill>
                  <a:latin typeface="Arial" panose="020B0604020202020204" pitchFamily="34" charset="0"/>
                  <a:cs typeface="Arial" panose="020B0604020202020204" pitchFamily="34" charset="0"/>
                </a:endParaRPr>
              </a:p>
            </p:txBody>
          </p:sp>
        </p:grpSp>
        <p:sp>
          <p:nvSpPr>
            <p:cNvPr id="12" name="Rettangolo 13">
              <a:extLst>
                <a:ext uri="{FF2B5EF4-FFF2-40B4-BE49-F238E27FC236}">
                  <a16:creationId xmlns:a16="http://schemas.microsoft.com/office/drawing/2014/main" id="{33792927-A67D-4B2A-8F4D-6E60C45CB3CE}"/>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9" name="TextBox 18">
            <a:extLst>
              <a:ext uri="{FF2B5EF4-FFF2-40B4-BE49-F238E27FC236}">
                <a16:creationId xmlns:a16="http://schemas.microsoft.com/office/drawing/2014/main" id="{FC76D9D2-7CF1-4943-A222-2CB626447591}"/>
              </a:ext>
            </a:extLst>
          </p:cNvPr>
          <p:cNvSpPr txBox="1"/>
          <p:nvPr/>
        </p:nvSpPr>
        <p:spPr>
          <a:xfrm>
            <a:off x="228600" y="687344"/>
            <a:ext cx="17807739" cy="1077218"/>
          </a:xfrm>
          <a:prstGeom prst="rect">
            <a:avLst/>
          </a:prstGeom>
          <a:noFill/>
        </p:spPr>
        <p:txBody>
          <a:bodyPr wrap="square">
            <a:spAutoFit/>
          </a:bodyPr>
          <a:lstStyle/>
          <a:p>
            <a:pPr algn="ctr"/>
            <a:r>
              <a:rPr lang="en-US" sz="6400" b="1">
                <a:solidFill>
                  <a:srgbClr val="CC0033"/>
                </a:solidFill>
                <a:latin typeface="+mj-lt"/>
                <a:cs typeface="Arial" panose="020B0604020202020204" pitchFamily="34" charset="0"/>
              </a:rPr>
              <a:t>Criteria for indicators</a:t>
            </a:r>
            <a:endParaRPr lang="sv-SE" sz="6400" b="1">
              <a:solidFill>
                <a:srgbClr val="CC0033"/>
              </a:solidFill>
              <a:latin typeface="+mj-lt"/>
              <a:cs typeface="Arial" panose="020B0604020202020204" pitchFamily="34" charset="0"/>
            </a:endParaRPr>
          </a:p>
        </p:txBody>
      </p:sp>
      <p:sp>
        <p:nvSpPr>
          <p:cNvPr id="20" name="TextBox 19">
            <a:extLst>
              <a:ext uri="{FF2B5EF4-FFF2-40B4-BE49-F238E27FC236}">
                <a16:creationId xmlns:a16="http://schemas.microsoft.com/office/drawing/2014/main" id="{831B271D-D943-45F9-A1D3-6758B0E15665}"/>
              </a:ext>
            </a:extLst>
          </p:cNvPr>
          <p:cNvSpPr txBox="1"/>
          <p:nvPr/>
        </p:nvSpPr>
        <p:spPr>
          <a:xfrm>
            <a:off x="541421" y="2258959"/>
            <a:ext cx="17008642" cy="6246775"/>
          </a:xfrm>
          <a:prstGeom prst="rect">
            <a:avLst/>
          </a:prstGeom>
          <a:noFill/>
        </p:spPr>
        <p:txBody>
          <a:bodyPr wrap="square" numCol="1">
            <a:spAutoFit/>
          </a:bodyPr>
          <a:lstStyle/>
          <a:p>
            <a:pPr marL="1371600" lvl="2" indent="-457200">
              <a:lnSpc>
                <a:spcPct val="107000"/>
              </a:lnSpc>
              <a:spcAft>
                <a:spcPts val="800"/>
              </a:spcAft>
              <a:buFont typeface="Arial" panose="020B0604020202020204" pitchFamily="34" charset="0"/>
              <a:buChar char="•"/>
              <a:tabLst>
                <a:tab pos="180340" algn="l"/>
              </a:tabLst>
            </a:pPr>
            <a:r>
              <a:rPr lang="en-US" sz="3200" kern="100">
                <a:solidFill>
                  <a:srgbClr val="404040"/>
                </a:solidFill>
                <a:latin typeface="Arial (body)"/>
              </a:rPr>
              <a:t>Valid and meaningful </a:t>
            </a:r>
            <a:endParaRPr lang="sv-SE" sz="3200" kern="100">
              <a:solidFill>
                <a:srgbClr val="404040"/>
              </a:solidFill>
              <a:latin typeface="Arial (body)"/>
            </a:endParaRPr>
          </a:p>
          <a:p>
            <a:pPr marL="1371600" lvl="2" indent="-457200">
              <a:lnSpc>
                <a:spcPct val="107000"/>
              </a:lnSpc>
              <a:spcAft>
                <a:spcPts val="800"/>
              </a:spcAft>
              <a:buFont typeface="Arial" panose="020B0604020202020204" pitchFamily="34" charset="0"/>
              <a:buChar char="•"/>
              <a:tabLst>
                <a:tab pos="180340" algn="l"/>
              </a:tabLst>
            </a:pPr>
            <a:r>
              <a:rPr lang="en-US" sz="3200" kern="100">
                <a:solidFill>
                  <a:srgbClr val="404040"/>
                </a:solidFill>
                <a:latin typeface="Arial (body)"/>
              </a:rPr>
              <a:t>Sensitive and specific to the underlying phenomenon </a:t>
            </a:r>
            <a:endParaRPr lang="sv-SE" sz="3200" kern="100">
              <a:solidFill>
                <a:srgbClr val="404040"/>
              </a:solidFill>
              <a:latin typeface="Arial (body)"/>
            </a:endParaRPr>
          </a:p>
          <a:p>
            <a:pPr marL="1371600" lvl="2" indent="-457200">
              <a:lnSpc>
                <a:spcPct val="107000"/>
              </a:lnSpc>
              <a:spcAft>
                <a:spcPts val="800"/>
              </a:spcAft>
              <a:buFont typeface="Arial" panose="020B0604020202020204" pitchFamily="34" charset="0"/>
              <a:buChar char="•"/>
              <a:tabLst>
                <a:tab pos="180340" algn="l"/>
              </a:tabLst>
            </a:pPr>
            <a:r>
              <a:rPr lang="en-US" sz="3200" kern="100">
                <a:solidFill>
                  <a:srgbClr val="404040"/>
                </a:solidFill>
                <a:latin typeface="Arial (body)"/>
              </a:rPr>
              <a:t>Grounded in research  </a:t>
            </a:r>
            <a:endParaRPr lang="sv-SE" sz="3200" kern="100">
              <a:solidFill>
                <a:srgbClr val="404040"/>
              </a:solidFill>
              <a:latin typeface="Arial (body)"/>
            </a:endParaRPr>
          </a:p>
          <a:p>
            <a:pPr marL="1371600" lvl="2" indent="-457200">
              <a:lnSpc>
                <a:spcPct val="107000"/>
              </a:lnSpc>
              <a:spcAft>
                <a:spcPts val="800"/>
              </a:spcAft>
              <a:buFont typeface="Arial" panose="020B0604020202020204" pitchFamily="34" charset="0"/>
              <a:buChar char="•"/>
              <a:tabLst>
                <a:tab pos="180340" algn="l"/>
              </a:tabLst>
            </a:pPr>
            <a:r>
              <a:rPr lang="en-US" sz="3200" kern="100">
                <a:solidFill>
                  <a:srgbClr val="404040"/>
                </a:solidFill>
                <a:latin typeface="Arial (body)"/>
              </a:rPr>
              <a:t>Statistically sound </a:t>
            </a:r>
            <a:endParaRPr lang="sv-SE" sz="3200" kern="100">
              <a:solidFill>
                <a:srgbClr val="404040"/>
              </a:solidFill>
              <a:latin typeface="Arial (body)"/>
            </a:endParaRPr>
          </a:p>
          <a:p>
            <a:pPr marL="1371600" lvl="2" indent="-457200">
              <a:lnSpc>
                <a:spcPct val="107000"/>
              </a:lnSpc>
              <a:spcAft>
                <a:spcPts val="800"/>
              </a:spcAft>
              <a:buFont typeface="Arial" panose="020B0604020202020204" pitchFamily="34" charset="0"/>
              <a:buChar char="•"/>
              <a:tabLst>
                <a:tab pos="180340" algn="l"/>
              </a:tabLst>
            </a:pPr>
            <a:r>
              <a:rPr lang="en-US" sz="3200" kern="100">
                <a:solidFill>
                  <a:srgbClr val="404040"/>
                </a:solidFill>
                <a:latin typeface="Arial (body)"/>
              </a:rPr>
              <a:t>Intelligible and easily interpreted </a:t>
            </a:r>
            <a:endParaRPr lang="sv-SE" sz="3200" kern="100">
              <a:solidFill>
                <a:srgbClr val="404040"/>
              </a:solidFill>
              <a:latin typeface="Arial (body)"/>
            </a:endParaRPr>
          </a:p>
          <a:p>
            <a:pPr marL="1371600" lvl="2" indent="-457200">
              <a:lnSpc>
                <a:spcPct val="107000"/>
              </a:lnSpc>
              <a:spcAft>
                <a:spcPts val="800"/>
              </a:spcAft>
              <a:buFont typeface="Arial" panose="020B0604020202020204" pitchFamily="34" charset="0"/>
              <a:buChar char="•"/>
              <a:tabLst>
                <a:tab pos="180340" algn="l"/>
              </a:tabLst>
            </a:pPr>
            <a:r>
              <a:rPr lang="en-US" sz="3200" kern="100">
                <a:solidFill>
                  <a:srgbClr val="404040"/>
                </a:solidFill>
                <a:latin typeface="Arial (body)"/>
              </a:rPr>
              <a:t>Relate where appropriate to other indicators </a:t>
            </a:r>
            <a:endParaRPr lang="sv-SE" sz="3200" kern="100">
              <a:solidFill>
                <a:srgbClr val="404040"/>
              </a:solidFill>
              <a:latin typeface="Arial (body)"/>
            </a:endParaRPr>
          </a:p>
          <a:p>
            <a:pPr marL="1371600" lvl="2" indent="-457200">
              <a:lnSpc>
                <a:spcPct val="107000"/>
              </a:lnSpc>
              <a:spcAft>
                <a:spcPts val="800"/>
              </a:spcAft>
              <a:buFont typeface="Arial" panose="020B0604020202020204" pitchFamily="34" charset="0"/>
              <a:buChar char="•"/>
              <a:tabLst>
                <a:tab pos="180340" algn="l"/>
              </a:tabLst>
            </a:pPr>
            <a:r>
              <a:rPr lang="en-US" sz="3200" kern="100">
                <a:solidFill>
                  <a:srgbClr val="404040"/>
                </a:solidFill>
                <a:latin typeface="Arial (body)"/>
              </a:rPr>
              <a:t>Allow international comparison </a:t>
            </a:r>
            <a:endParaRPr lang="sv-SE" sz="3200" kern="100">
              <a:solidFill>
                <a:srgbClr val="404040"/>
              </a:solidFill>
              <a:latin typeface="Arial (body)"/>
            </a:endParaRPr>
          </a:p>
          <a:p>
            <a:pPr marL="1371600" lvl="2" indent="-457200">
              <a:lnSpc>
                <a:spcPct val="107000"/>
              </a:lnSpc>
              <a:spcAft>
                <a:spcPts val="800"/>
              </a:spcAft>
              <a:buFont typeface="Arial" panose="020B0604020202020204" pitchFamily="34" charset="0"/>
              <a:buChar char="•"/>
              <a:tabLst>
                <a:tab pos="180340" algn="l"/>
              </a:tabLst>
            </a:pPr>
            <a:r>
              <a:rPr lang="en-US" sz="3200" kern="100">
                <a:solidFill>
                  <a:srgbClr val="404040"/>
                </a:solidFill>
                <a:latin typeface="Arial (body)"/>
              </a:rPr>
              <a:t>Ability to be disaggregated over time and geography </a:t>
            </a:r>
            <a:endParaRPr lang="sv-SE" sz="3200" kern="100">
              <a:solidFill>
                <a:srgbClr val="404040"/>
              </a:solidFill>
              <a:latin typeface="Arial (body)"/>
            </a:endParaRPr>
          </a:p>
          <a:p>
            <a:pPr marL="1371600" lvl="2" indent="-457200">
              <a:lnSpc>
                <a:spcPct val="107000"/>
              </a:lnSpc>
              <a:spcAft>
                <a:spcPts val="800"/>
              </a:spcAft>
              <a:buFont typeface="Arial" panose="020B0604020202020204" pitchFamily="34" charset="0"/>
              <a:buChar char="•"/>
              <a:tabLst>
                <a:tab pos="180340" algn="l"/>
              </a:tabLst>
            </a:pPr>
            <a:r>
              <a:rPr lang="en-US" sz="3200" kern="100">
                <a:solidFill>
                  <a:srgbClr val="404040"/>
                </a:solidFill>
                <a:latin typeface="Arial (body)"/>
              </a:rPr>
              <a:t>Consistency over time </a:t>
            </a:r>
            <a:endParaRPr lang="sv-SE" sz="3200" kern="100">
              <a:solidFill>
                <a:srgbClr val="404040"/>
              </a:solidFill>
              <a:latin typeface="Arial (body)"/>
            </a:endParaRPr>
          </a:p>
          <a:p>
            <a:pPr marL="1371600" lvl="2" indent="-457200">
              <a:lnSpc>
                <a:spcPct val="107000"/>
              </a:lnSpc>
              <a:spcAft>
                <a:spcPts val="800"/>
              </a:spcAft>
              <a:buFont typeface="Arial" panose="020B0604020202020204" pitchFamily="34" charset="0"/>
              <a:buChar char="•"/>
              <a:tabLst>
                <a:tab pos="180340" algn="l"/>
              </a:tabLst>
            </a:pPr>
            <a:r>
              <a:rPr lang="en-US" sz="3200" kern="100">
                <a:solidFill>
                  <a:srgbClr val="404040"/>
                </a:solidFill>
                <a:latin typeface="Arial (body)"/>
              </a:rPr>
              <a:t>Timeliness</a:t>
            </a:r>
            <a:endParaRPr lang="sv-SE" sz="3200" kern="100">
              <a:solidFill>
                <a:srgbClr val="404040"/>
              </a:solidFill>
              <a:latin typeface="Arial (body)"/>
            </a:endParaRPr>
          </a:p>
        </p:txBody>
      </p:sp>
      <p:pic>
        <p:nvPicPr>
          <p:cNvPr id="25" name="Graphic 24">
            <a:extLst>
              <a:ext uri="{FF2B5EF4-FFF2-40B4-BE49-F238E27FC236}">
                <a16:creationId xmlns:a16="http://schemas.microsoft.com/office/drawing/2014/main" id="{84C38EC7-8A74-4C60-BA07-AFC44AFAE19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591801" y="2879261"/>
            <a:ext cx="6958262" cy="4322800"/>
          </a:xfrm>
          <a:prstGeom prst="rect">
            <a:avLst/>
          </a:prstGeom>
        </p:spPr>
      </p:pic>
    </p:spTree>
    <p:extLst>
      <p:ext uri="{BB962C8B-B14F-4D97-AF65-F5344CB8AC3E}">
        <p14:creationId xmlns:p14="http://schemas.microsoft.com/office/powerpoint/2010/main" val="352933290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uppo 16">
            <a:extLst>
              <a:ext uri="{FF2B5EF4-FFF2-40B4-BE49-F238E27FC236}">
                <a16:creationId xmlns:a16="http://schemas.microsoft.com/office/drawing/2014/main" id="{343631A1-4B39-4CA4-A273-11823DE88CF3}"/>
              </a:ext>
            </a:extLst>
          </p:cNvPr>
          <p:cNvGrpSpPr/>
          <p:nvPr/>
        </p:nvGrpSpPr>
        <p:grpSpPr>
          <a:xfrm>
            <a:off x="4329146" y="9620433"/>
            <a:ext cx="13958844" cy="666567"/>
            <a:chOff x="4329156" y="9649198"/>
            <a:chExt cx="13958844" cy="666567"/>
          </a:xfrm>
        </p:grpSpPr>
        <p:pic>
          <p:nvPicPr>
            <p:cNvPr id="5" name="Picture 12">
              <a:extLst>
                <a:ext uri="{FF2B5EF4-FFF2-40B4-BE49-F238E27FC236}">
                  <a16:creationId xmlns:a16="http://schemas.microsoft.com/office/drawing/2014/main" id="{1D11EBF6-0994-43A9-928F-8BABFC74BD28}"/>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6" name="TextBox 16">
              <a:extLst>
                <a:ext uri="{FF2B5EF4-FFF2-40B4-BE49-F238E27FC236}">
                  <a16:creationId xmlns:a16="http://schemas.microsoft.com/office/drawing/2014/main" id="{54224889-B304-4428-AAF6-2A3DE80DF97B}"/>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pic>
        <p:nvPicPr>
          <p:cNvPr id="7" name="Picture 12">
            <a:extLst>
              <a:ext uri="{FF2B5EF4-FFF2-40B4-BE49-F238E27FC236}">
                <a16:creationId xmlns:a16="http://schemas.microsoft.com/office/drawing/2014/main" id="{C254AB6A-D854-4368-BF55-BFB3CE1A4A6F}"/>
              </a:ext>
            </a:extLst>
          </p:cNvPr>
          <p:cNvPicPr>
            <a:picLocks noChangeAspect="1"/>
          </p:cNvPicPr>
          <p:nvPr/>
        </p:nvPicPr>
        <p:blipFill>
          <a:blip r:embed="rId4"/>
          <a:srcRect/>
          <a:stretch>
            <a:fillRect/>
          </a:stretch>
        </p:blipFill>
        <p:spPr>
          <a:xfrm>
            <a:off x="0" y="8901113"/>
            <a:ext cx="5715000" cy="1385887"/>
          </a:xfrm>
          <a:prstGeom prst="rect">
            <a:avLst/>
          </a:prstGeom>
        </p:spPr>
      </p:pic>
      <p:grpSp>
        <p:nvGrpSpPr>
          <p:cNvPr id="8" name="Gruppo 2">
            <a:extLst>
              <a:ext uri="{FF2B5EF4-FFF2-40B4-BE49-F238E27FC236}">
                <a16:creationId xmlns:a16="http://schemas.microsoft.com/office/drawing/2014/main" id="{20FC2C58-1AE8-4A9B-89CD-E0A401F4B146}"/>
              </a:ext>
            </a:extLst>
          </p:cNvPr>
          <p:cNvGrpSpPr/>
          <p:nvPr/>
        </p:nvGrpSpPr>
        <p:grpSpPr>
          <a:xfrm>
            <a:off x="-12" y="138554"/>
            <a:ext cx="18288002" cy="681138"/>
            <a:chOff x="-12" y="138554"/>
            <a:chExt cx="18288002" cy="681138"/>
          </a:xfrm>
        </p:grpSpPr>
        <p:grpSp>
          <p:nvGrpSpPr>
            <p:cNvPr id="9" name="Gruppo 1">
              <a:extLst>
                <a:ext uri="{FF2B5EF4-FFF2-40B4-BE49-F238E27FC236}">
                  <a16:creationId xmlns:a16="http://schemas.microsoft.com/office/drawing/2014/main" id="{1F47955A-7E80-42AE-835A-0210D5D78CF1}"/>
                </a:ext>
              </a:extLst>
            </p:cNvPr>
            <p:cNvGrpSpPr/>
            <p:nvPr/>
          </p:nvGrpSpPr>
          <p:grpSpPr>
            <a:xfrm>
              <a:off x="0" y="153125"/>
              <a:ext cx="17907000" cy="666567"/>
              <a:chOff x="0" y="153125"/>
              <a:chExt cx="17907000" cy="666567"/>
            </a:xfrm>
          </p:grpSpPr>
          <p:grpSp>
            <p:nvGrpSpPr>
              <p:cNvPr id="11" name="Gruppo 15">
                <a:extLst>
                  <a:ext uri="{FF2B5EF4-FFF2-40B4-BE49-F238E27FC236}">
                    <a16:creationId xmlns:a16="http://schemas.microsoft.com/office/drawing/2014/main" id="{6DA0420A-961F-45C6-ACCE-BD2462F331A4}"/>
                  </a:ext>
                </a:extLst>
              </p:cNvPr>
              <p:cNvGrpSpPr/>
              <p:nvPr/>
            </p:nvGrpSpPr>
            <p:grpSpPr>
              <a:xfrm>
                <a:off x="0" y="153125"/>
                <a:ext cx="13958844" cy="666567"/>
                <a:chOff x="0" y="153125"/>
                <a:chExt cx="13958844" cy="666567"/>
              </a:xfrm>
            </p:grpSpPr>
            <p:pic>
              <p:nvPicPr>
                <p:cNvPr id="13" name="Picture 10">
                  <a:extLst>
                    <a:ext uri="{FF2B5EF4-FFF2-40B4-BE49-F238E27FC236}">
                      <a16:creationId xmlns:a16="http://schemas.microsoft.com/office/drawing/2014/main" id="{3C9B036D-3496-4E69-A7C6-6746BA9CC86E}"/>
                    </a:ext>
                  </a:extLst>
                </p:cNvPr>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4" name="TextBox 11">
                  <a:extLst>
                    <a:ext uri="{FF2B5EF4-FFF2-40B4-BE49-F238E27FC236}">
                      <a16:creationId xmlns:a16="http://schemas.microsoft.com/office/drawing/2014/main" id="{67E1ECBD-A313-4B75-A9AE-49D87C092F2D}"/>
                    </a:ext>
                  </a:extLst>
                </p:cNvPr>
                <p:cNvSpPr txBox="1"/>
                <p:nvPr/>
              </p:nvSpPr>
              <p:spPr>
                <a:xfrm>
                  <a:off x="228600" y="257980"/>
                  <a:ext cx="9296400" cy="456856"/>
                </a:xfrm>
                <a:prstGeom prst="rect">
                  <a:avLst/>
                </a:prstGeom>
              </p:spPr>
              <p:txBody>
                <a:bodyPr wrap="square" lIns="0" tIns="0" rIns="0" bIns="0" rtlCol="0" anchor="t">
                  <a:spAutoFit/>
                </a:bodyPr>
                <a:lstStyle/>
                <a:p>
                  <a:pPr>
                    <a:lnSpc>
                      <a:spcPts val="3919"/>
                    </a:lnSpc>
                    <a:spcBef>
                      <a:spcPct val="0"/>
                    </a:spcBef>
                  </a:pPr>
                  <a:endParaRPr lang="en-US" sz="2800" b="1">
                    <a:solidFill>
                      <a:srgbClr val="FFFFFF"/>
                    </a:solidFill>
                    <a:latin typeface="Arial" panose="020B0604020202020204" pitchFamily="34" charset="0"/>
                    <a:cs typeface="Arial" panose="020B0604020202020204" pitchFamily="34" charset="0"/>
                  </a:endParaRPr>
                </a:p>
              </p:txBody>
            </p:sp>
          </p:grpSp>
          <p:sp>
            <p:nvSpPr>
              <p:cNvPr id="12" name="TextBox 11">
                <a:extLst>
                  <a:ext uri="{FF2B5EF4-FFF2-40B4-BE49-F238E27FC236}">
                    <a16:creationId xmlns:a16="http://schemas.microsoft.com/office/drawing/2014/main" id="{6C9A50F6-F632-473B-A1B5-C8CE67C0570F}"/>
                  </a:ext>
                </a:extLst>
              </p:cNvPr>
              <p:cNvSpPr txBox="1"/>
              <p:nvPr/>
            </p:nvSpPr>
            <p:spPr>
              <a:xfrm>
                <a:off x="12154296" y="257980"/>
                <a:ext cx="5752704" cy="456856"/>
              </a:xfrm>
              <a:prstGeom prst="rect">
                <a:avLst/>
              </a:prstGeom>
            </p:spPr>
            <p:txBody>
              <a:bodyPr wrap="square" lIns="0" tIns="0" rIns="0" bIns="0" rtlCol="0" anchor="t">
                <a:spAutoFit/>
              </a:bodyPr>
              <a:lstStyle/>
              <a:p>
                <a:pPr algn="r">
                  <a:lnSpc>
                    <a:spcPts val="3919"/>
                  </a:lnSpc>
                  <a:spcBef>
                    <a:spcPct val="0"/>
                  </a:spcBef>
                </a:pPr>
                <a:endParaRPr lang="en-US" sz="2800">
                  <a:solidFill>
                    <a:schemeClr val="tx1">
                      <a:lumMod val="75000"/>
                      <a:lumOff val="25000"/>
                    </a:schemeClr>
                  </a:solidFill>
                  <a:latin typeface="Arial" panose="020B0604020202020204" pitchFamily="34" charset="0"/>
                  <a:cs typeface="Arial" panose="020B0604020202020204" pitchFamily="34" charset="0"/>
                </a:endParaRPr>
              </a:p>
            </p:txBody>
          </p:sp>
        </p:grpSp>
        <p:sp>
          <p:nvSpPr>
            <p:cNvPr id="10" name="Rettangolo 13">
              <a:extLst>
                <a:ext uri="{FF2B5EF4-FFF2-40B4-BE49-F238E27FC236}">
                  <a16:creationId xmlns:a16="http://schemas.microsoft.com/office/drawing/2014/main" id="{EE79968F-ECAB-4AC7-9602-F785C37F869F}"/>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5" name="TextBox 14">
            <a:extLst>
              <a:ext uri="{FF2B5EF4-FFF2-40B4-BE49-F238E27FC236}">
                <a16:creationId xmlns:a16="http://schemas.microsoft.com/office/drawing/2014/main" id="{17FE9D73-D101-41FB-B8B0-7B8FE5547163}"/>
              </a:ext>
            </a:extLst>
          </p:cNvPr>
          <p:cNvSpPr txBox="1"/>
          <p:nvPr/>
        </p:nvSpPr>
        <p:spPr>
          <a:xfrm>
            <a:off x="228600" y="687344"/>
            <a:ext cx="17807739" cy="1077218"/>
          </a:xfrm>
          <a:prstGeom prst="rect">
            <a:avLst/>
          </a:prstGeom>
          <a:noFill/>
        </p:spPr>
        <p:txBody>
          <a:bodyPr wrap="square">
            <a:spAutoFit/>
          </a:bodyPr>
          <a:lstStyle/>
          <a:p>
            <a:pPr algn="ctr"/>
            <a:r>
              <a:rPr lang="en-US" sz="6400" b="1">
                <a:solidFill>
                  <a:srgbClr val="CC0033"/>
                </a:solidFill>
                <a:latin typeface="+mj-lt"/>
                <a:cs typeface="Arial" panose="020B0604020202020204" pitchFamily="34" charset="0"/>
              </a:rPr>
              <a:t>Criteria for indicators</a:t>
            </a:r>
            <a:endParaRPr lang="sv-SE" sz="6400" b="1">
              <a:solidFill>
                <a:srgbClr val="CC0033"/>
              </a:solidFill>
              <a:latin typeface="+mj-lt"/>
              <a:cs typeface="Arial" panose="020B0604020202020204" pitchFamily="34" charset="0"/>
            </a:endParaRPr>
          </a:p>
        </p:txBody>
      </p:sp>
      <p:pic>
        <p:nvPicPr>
          <p:cNvPr id="5122" name="Picture 2" descr="smart goals marketing hubspot inbound 2">
            <a:extLst>
              <a:ext uri="{FF2B5EF4-FFF2-40B4-BE49-F238E27FC236}">
                <a16:creationId xmlns:a16="http://schemas.microsoft.com/office/drawing/2014/main" id="{5EF76F03-D709-4DB4-B451-1F2A0B7A2A1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233863" y="2205038"/>
            <a:ext cx="9820275" cy="58769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65707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uppo 16">
            <a:extLst>
              <a:ext uri="{FF2B5EF4-FFF2-40B4-BE49-F238E27FC236}">
                <a16:creationId xmlns:a16="http://schemas.microsoft.com/office/drawing/2014/main" id="{9E51574F-5D0E-4288-9EA3-D480FFF47CFD}"/>
              </a:ext>
            </a:extLst>
          </p:cNvPr>
          <p:cNvGrpSpPr/>
          <p:nvPr/>
        </p:nvGrpSpPr>
        <p:grpSpPr>
          <a:xfrm>
            <a:off x="4329146" y="9620433"/>
            <a:ext cx="13958844" cy="666567"/>
            <a:chOff x="4329156" y="9649198"/>
            <a:chExt cx="13958844" cy="666567"/>
          </a:xfrm>
        </p:grpSpPr>
        <p:pic>
          <p:nvPicPr>
            <p:cNvPr id="5" name="Picture 12">
              <a:extLst>
                <a:ext uri="{FF2B5EF4-FFF2-40B4-BE49-F238E27FC236}">
                  <a16:creationId xmlns:a16="http://schemas.microsoft.com/office/drawing/2014/main" id="{C0752C1D-6F81-4789-A232-835E874E4199}"/>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6" name="TextBox 16">
              <a:extLst>
                <a:ext uri="{FF2B5EF4-FFF2-40B4-BE49-F238E27FC236}">
                  <a16:creationId xmlns:a16="http://schemas.microsoft.com/office/drawing/2014/main" id="{B7D5C7D4-FCC6-4656-A771-371E6E8B693F}"/>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pic>
        <p:nvPicPr>
          <p:cNvPr id="7" name="Picture 12">
            <a:extLst>
              <a:ext uri="{FF2B5EF4-FFF2-40B4-BE49-F238E27FC236}">
                <a16:creationId xmlns:a16="http://schemas.microsoft.com/office/drawing/2014/main" id="{12B3AFAA-8899-4B24-AFB8-EEC1C57483C0}"/>
              </a:ext>
            </a:extLst>
          </p:cNvPr>
          <p:cNvPicPr>
            <a:picLocks noChangeAspect="1"/>
          </p:cNvPicPr>
          <p:nvPr/>
        </p:nvPicPr>
        <p:blipFill>
          <a:blip r:embed="rId4"/>
          <a:srcRect/>
          <a:stretch>
            <a:fillRect/>
          </a:stretch>
        </p:blipFill>
        <p:spPr>
          <a:xfrm>
            <a:off x="0" y="8901113"/>
            <a:ext cx="5715000" cy="1385887"/>
          </a:xfrm>
          <a:prstGeom prst="rect">
            <a:avLst/>
          </a:prstGeom>
        </p:spPr>
      </p:pic>
      <p:grpSp>
        <p:nvGrpSpPr>
          <p:cNvPr id="8" name="Gruppo 2">
            <a:extLst>
              <a:ext uri="{FF2B5EF4-FFF2-40B4-BE49-F238E27FC236}">
                <a16:creationId xmlns:a16="http://schemas.microsoft.com/office/drawing/2014/main" id="{6C30F77E-E93D-4415-A1A9-ABD944CB0132}"/>
              </a:ext>
            </a:extLst>
          </p:cNvPr>
          <p:cNvGrpSpPr/>
          <p:nvPr/>
        </p:nvGrpSpPr>
        <p:grpSpPr>
          <a:xfrm>
            <a:off x="-12" y="138554"/>
            <a:ext cx="18288002" cy="681138"/>
            <a:chOff x="-12" y="138554"/>
            <a:chExt cx="18288002" cy="681138"/>
          </a:xfrm>
        </p:grpSpPr>
        <p:grpSp>
          <p:nvGrpSpPr>
            <p:cNvPr id="9" name="Gruppo 1">
              <a:extLst>
                <a:ext uri="{FF2B5EF4-FFF2-40B4-BE49-F238E27FC236}">
                  <a16:creationId xmlns:a16="http://schemas.microsoft.com/office/drawing/2014/main" id="{81015244-0E4C-4B09-9079-C9D0AA10BA22}"/>
                </a:ext>
              </a:extLst>
            </p:cNvPr>
            <p:cNvGrpSpPr/>
            <p:nvPr/>
          </p:nvGrpSpPr>
          <p:grpSpPr>
            <a:xfrm>
              <a:off x="0" y="153125"/>
              <a:ext cx="17907000" cy="666567"/>
              <a:chOff x="0" y="153125"/>
              <a:chExt cx="17907000" cy="666567"/>
            </a:xfrm>
          </p:grpSpPr>
          <p:grpSp>
            <p:nvGrpSpPr>
              <p:cNvPr id="11" name="Gruppo 15">
                <a:extLst>
                  <a:ext uri="{FF2B5EF4-FFF2-40B4-BE49-F238E27FC236}">
                    <a16:creationId xmlns:a16="http://schemas.microsoft.com/office/drawing/2014/main" id="{B9EBC647-4A33-453A-B618-F0740C73F407}"/>
                  </a:ext>
                </a:extLst>
              </p:cNvPr>
              <p:cNvGrpSpPr/>
              <p:nvPr/>
            </p:nvGrpSpPr>
            <p:grpSpPr>
              <a:xfrm>
                <a:off x="0" y="153125"/>
                <a:ext cx="13958844" cy="666567"/>
                <a:chOff x="0" y="153125"/>
                <a:chExt cx="13958844" cy="666567"/>
              </a:xfrm>
            </p:grpSpPr>
            <p:pic>
              <p:nvPicPr>
                <p:cNvPr id="13" name="Picture 10">
                  <a:extLst>
                    <a:ext uri="{FF2B5EF4-FFF2-40B4-BE49-F238E27FC236}">
                      <a16:creationId xmlns:a16="http://schemas.microsoft.com/office/drawing/2014/main" id="{F619BAB0-2843-4A3B-8839-7FCD539FF703}"/>
                    </a:ext>
                  </a:extLst>
                </p:cNvPr>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4" name="TextBox 11">
                  <a:extLst>
                    <a:ext uri="{FF2B5EF4-FFF2-40B4-BE49-F238E27FC236}">
                      <a16:creationId xmlns:a16="http://schemas.microsoft.com/office/drawing/2014/main" id="{2BF6A4A5-A4F2-44E0-943B-5DCB362AA51A}"/>
                    </a:ext>
                  </a:extLst>
                </p:cNvPr>
                <p:cNvSpPr txBox="1"/>
                <p:nvPr/>
              </p:nvSpPr>
              <p:spPr>
                <a:xfrm>
                  <a:off x="228600" y="257980"/>
                  <a:ext cx="9296400" cy="456856"/>
                </a:xfrm>
                <a:prstGeom prst="rect">
                  <a:avLst/>
                </a:prstGeom>
              </p:spPr>
              <p:txBody>
                <a:bodyPr wrap="square" lIns="0" tIns="0" rIns="0" bIns="0" rtlCol="0" anchor="t">
                  <a:spAutoFit/>
                </a:bodyPr>
                <a:lstStyle/>
                <a:p>
                  <a:pPr>
                    <a:lnSpc>
                      <a:spcPts val="3919"/>
                    </a:lnSpc>
                    <a:spcBef>
                      <a:spcPct val="0"/>
                    </a:spcBef>
                  </a:pPr>
                  <a:endParaRPr lang="en-US" sz="2800" b="1">
                    <a:solidFill>
                      <a:srgbClr val="FFFFFF"/>
                    </a:solidFill>
                    <a:latin typeface="Arial" panose="020B0604020202020204" pitchFamily="34" charset="0"/>
                    <a:cs typeface="Arial" panose="020B0604020202020204" pitchFamily="34" charset="0"/>
                  </a:endParaRPr>
                </a:p>
              </p:txBody>
            </p:sp>
          </p:grpSp>
          <p:sp>
            <p:nvSpPr>
              <p:cNvPr id="12" name="TextBox 11">
                <a:extLst>
                  <a:ext uri="{FF2B5EF4-FFF2-40B4-BE49-F238E27FC236}">
                    <a16:creationId xmlns:a16="http://schemas.microsoft.com/office/drawing/2014/main" id="{7093768F-3F77-4CA3-9B6B-AF99082BE31A}"/>
                  </a:ext>
                </a:extLst>
              </p:cNvPr>
              <p:cNvSpPr txBox="1"/>
              <p:nvPr/>
            </p:nvSpPr>
            <p:spPr>
              <a:xfrm>
                <a:off x="12154296" y="257980"/>
                <a:ext cx="5752704" cy="456856"/>
              </a:xfrm>
              <a:prstGeom prst="rect">
                <a:avLst/>
              </a:prstGeom>
            </p:spPr>
            <p:txBody>
              <a:bodyPr wrap="square" lIns="0" tIns="0" rIns="0" bIns="0" rtlCol="0" anchor="t">
                <a:spAutoFit/>
              </a:bodyPr>
              <a:lstStyle/>
              <a:p>
                <a:pPr algn="r">
                  <a:lnSpc>
                    <a:spcPts val="3919"/>
                  </a:lnSpc>
                  <a:spcBef>
                    <a:spcPct val="0"/>
                  </a:spcBef>
                </a:pPr>
                <a:endParaRPr lang="en-US" sz="2800">
                  <a:solidFill>
                    <a:schemeClr val="tx1">
                      <a:lumMod val="75000"/>
                      <a:lumOff val="25000"/>
                    </a:schemeClr>
                  </a:solidFill>
                  <a:latin typeface="Arial" panose="020B0604020202020204" pitchFamily="34" charset="0"/>
                  <a:cs typeface="Arial" panose="020B0604020202020204" pitchFamily="34" charset="0"/>
                </a:endParaRPr>
              </a:p>
            </p:txBody>
          </p:sp>
        </p:grpSp>
        <p:sp>
          <p:nvSpPr>
            <p:cNvPr id="10" name="Rettangolo 13">
              <a:extLst>
                <a:ext uri="{FF2B5EF4-FFF2-40B4-BE49-F238E27FC236}">
                  <a16:creationId xmlns:a16="http://schemas.microsoft.com/office/drawing/2014/main" id="{8F7BB912-0E13-4715-A938-6460F32D8A87}"/>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5" name="TextBox 14">
            <a:extLst>
              <a:ext uri="{FF2B5EF4-FFF2-40B4-BE49-F238E27FC236}">
                <a16:creationId xmlns:a16="http://schemas.microsoft.com/office/drawing/2014/main" id="{9365DE9C-0F31-4D62-B7D8-F3F652560B48}"/>
              </a:ext>
            </a:extLst>
          </p:cNvPr>
          <p:cNvSpPr txBox="1"/>
          <p:nvPr/>
        </p:nvSpPr>
        <p:spPr>
          <a:xfrm>
            <a:off x="228600" y="687344"/>
            <a:ext cx="17807739" cy="1077218"/>
          </a:xfrm>
          <a:prstGeom prst="rect">
            <a:avLst/>
          </a:prstGeom>
          <a:noFill/>
        </p:spPr>
        <p:txBody>
          <a:bodyPr wrap="square">
            <a:spAutoFit/>
          </a:bodyPr>
          <a:lstStyle/>
          <a:p>
            <a:pPr algn="ctr"/>
            <a:r>
              <a:rPr lang="en-US" sz="6000" b="1">
                <a:solidFill>
                  <a:srgbClr val="CC0033"/>
                </a:solidFill>
                <a:latin typeface="+mj-lt"/>
                <a:cs typeface="Arial" panose="020B0604020202020204" pitchFamily="34" charset="0"/>
              </a:rPr>
              <a:t>Criteria</a:t>
            </a:r>
            <a:r>
              <a:rPr lang="en-US" sz="6400" b="1">
                <a:solidFill>
                  <a:srgbClr val="CC0033"/>
                </a:solidFill>
                <a:latin typeface="+mj-lt"/>
                <a:cs typeface="Arial" panose="020B0604020202020204" pitchFamily="34" charset="0"/>
              </a:rPr>
              <a:t> for indicators</a:t>
            </a:r>
            <a:endParaRPr lang="sv-SE" sz="6400" b="1">
              <a:solidFill>
                <a:srgbClr val="CC0033"/>
              </a:solidFill>
              <a:latin typeface="+mj-lt"/>
              <a:cs typeface="Arial" panose="020B0604020202020204" pitchFamily="34" charset="0"/>
            </a:endParaRPr>
          </a:p>
        </p:txBody>
      </p:sp>
      <p:sp>
        <p:nvSpPr>
          <p:cNvPr id="18" name="TextBox 17">
            <a:extLst>
              <a:ext uri="{FF2B5EF4-FFF2-40B4-BE49-F238E27FC236}">
                <a16:creationId xmlns:a16="http://schemas.microsoft.com/office/drawing/2014/main" id="{0468FBD1-85BC-499E-9458-A500C02F3795}"/>
              </a:ext>
            </a:extLst>
          </p:cNvPr>
          <p:cNvSpPr txBox="1"/>
          <p:nvPr/>
        </p:nvSpPr>
        <p:spPr>
          <a:xfrm>
            <a:off x="867171" y="2242112"/>
            <a:ext cx="11287125" cy="6263253"/>
          </a:xfrm>
          <a:prstGeom prst="rect">
            <a:avLst/>
          </a:prstGeom>
          <a:noFill/>
        </p:spPr>
        <p:txBody>
          <a:bodyPr wrap="square">
            <a:spAutoFit/>
          </a:bodyPr>
          <a:lstStyle/>
          <a:p>
            <a:pPr marR="718820" lvl="2">
              <a:lnSpc>
                <a:spcPct val="113000"/>
              </a:lnSpc>
              <a:spcAft>
                <a:spcPts val="0"/>
              </a:spcAft>
              <a:buSzPts val="1100"/>
              <a:tabLst>
                <a:tab pos="1176655" algn="l"/>
                <a:tab pos="1177290" algn="l"/>
              </a:tabLst>
            </a:pPr>
            <a:r>
              <a:rPr lang="en-US" sz="5400" b="1">
                <a:solidFill>
                  <a:srgbClr val="CC0033"/>
                </a:solidFill>
                <a:latin typeface="+mj-lt"/>
                <a:cs typeface="Arial" panose="020B0604020202020204" pitchFamily="34" charset="0"/>
              </a:rPr>
              <a:t>CREAM</a:t>
            </a:r>
            <a:r>
              <a:rPr lang="en-US" sz="6400" b="1">
                <a:solidFill>
                  <a:srgbClr val="CC0033"/>
                </a:solidFill>
                <a:latin typeface="+mj-lt"/>
                <a:cs typeface="Arial" panose="020B0604020202020204" pitchFamily="34" charset="0"/>
              </a:rPr>
              <a:t> </a:t>
            </a:r>
          </a:p>
          <a:p>
            <a:pPr marL="1600200" marR="718820" lvl="3" indent="-228600">
              <a:lnSpc>
                <a:spcPct val="113000"/>
              </a:lnSpc>
              <a:buSzPts val="1100"/>
              <a:buFont typeface="Symbol" panose="05050102010706020507" pitchFamily="18" charset="2"/>
              <a:buChar char=""/>
              <a:tabLst>
                <a:tab pos="1176655" algn="l"/>
                <a:tab pos="1177290" algn="l"/>
              </a:tabLst>
            </a:pPr>
            <a:r>
              <a:rPr lang="en-US" sz="3600" i="1">
                <a:effectLst/>
                <a:latin typeface="Arial" panose="020B0604020202020204" pitchFamily="34" charset="0"/>
                <a:ea typeface="Courier New" panose="02070309020205020404" pitchFamily="49" charset="0"/>
                <a:cs typeface="Arial MT"/>
              </a:rPr>
              <a:t>Clear</a:t>
            </a:r>
            <a:endParaRPr lang="sv-SE" sz="3600">
              <a:effectLst/>
              <a:latin typeface="Arial MT"/>
              <a:ea typeface="Courier New" panose="02070309020205020404" pitchFamily="49" charset="0"/>
              <a:cs typeface="Arial MT"/>
            </a:endParaRPr>
          </a:p>
          <a:p>
            <a:pPr>
              <a:spcBef>
                <a:spcPts val="35"/>
              </a:spcBef>
            </a:pPr>
            <a:r>
              <a:rPr lang="en-US" sz="3600" i="1">
                <a:effectLst/>
                <a:latin typeface="Arial" panose="020B0604020202020204" pitchFamily="34" charset="0"/>
                <a:ea typeface="Arial MT"/>
                <a:cs typeface="Arial MT"/>
              </a:rPr>
              <a:t> </a:t>
            </a:r>
            <a:endParaRPr lang="sv-SE" sz="3600">
              <a:effectLst/>
              <a:latin typeface="Arial MT"/>
              <a:ea typeface="Arial MT"/>
              <a:cs typeface="Arial MT"/>
            </a:endParaRPr>
          </a:p>
          <a:p>
            <a:pPr marL="1600200" lvl="3" indent="-228600">
              <a:buSzPts val="1100"/>
              <a:buFont typeface="Courier New" panose="02070309020205020404" pitchFamily="49" charset="0"/>
              <a:buChar char="o"/>
              <a:tabLst>
                <a:tab pos="1634490" algn="l"/>
              </a:tabLst>
            </a:pPr>
            <a:r>
              <a:rPr lang="en-US" sz="3600" i="1">
                <a:effectLst/>
                <a:latin typeface="Arial" panose="020B0604020202020204" pitchFamily="34" charset="0"/>
                <a:ea typeface="Courier New" panose="02070309020205020404" pitchFamily="49" charset="0"/>
                <a:cs typeface="Arial MT"/>
              </a:rPr>
              <a:t>Relevant</a:t>
            </a:r>
            <a:endParaRPr lang="sv-SE" sz="3600">
              <a:effectLst/>
              <a:latin typeface="Arial MT"/>
              <a:ea typeface="Courier New" panose="02070309020205020404" pitchFamily="49" charset="0"/>
              <a:cs typeface="Arial MT"/>
            </a:endParaRPr>
          </a:p>
          <a:p>
            <a:pPr>
              <a:spcBef>
                <a:spcPts val="40"/>
              </a:spcBef>
            </a:pPr>
            <a:r>
              <a:rPr lang="en-US" sz="3600" i="1">
                <a:effectLst/>
                <a:latin typeface="Arial" panose="020B0604020202020204" pitchFamily="34" charset="0"/>
                <a:ea typeface="Arial MT"/>
                <a:cs typeface="Arial MT"/>
              </a:rPr>
              <a:t> </a:t>
            </a:r>
            <a:endParaRPr lang="sv-SE" sz="3600">
              <a:effectLst/>
              <a:latin typeface="Arial MT"/>
              <a:ea typeface="Arial MT"/>
              <a:cs typeface="Arial MT"/>
            </a:endParaRPr>
          </a:p>
          <a:p>
            <a:pPr marL="1600200" lvl="3" indent="-228600">
              <a:buSzPts val="1100"/>
              <a:buFont typeface="Courier New" panose="02070309020205020404" pitchFamily="49" charset="0"/>
              <a:buChar char="o"/>
              <a:tabLst>
                <a:tab pos="1634490" algn="l"/>
              </a:tabLst>
            </a:pPr>
            <a:r>
              <a:rPr lang="en-US" sz="3600" i="1">
                <a:effectLst/>
                <a:latin typeface="Arial" panose="020B0604020202020204" pitchFamily="34" charset="0"/>
                <a:ea typeface="Courier New" panose="02070309020205020404" pitchFamily="49" charset="0"/>
                <a:cs typeface="Arial MT"/>
              </a:rPr>
              <a:t>Economic</a:t>
            </a:r>
            <a:endParaRPr lang="sv-SE" sz="3600">
              <a:effectLst/>
              <a:latin typeface="Arial MT"/>
              <a:ea typeface="Courier New" panose="02070309020205020404" pitchFamily="49" charset="0"/>
              <a:cs typeface="Arial MT"/>
            </a:endParaRPr>
          </a:p>
          <a:p>
            <a:pPr>
              <a:spcBef>
                <a:spcPts val="40"/>
              </a:spcBef>
            </a:pPr>
            <a:r>
              <a:rPr lang="en-US" sz="3600" i="1">
                <a:effectLst/>
                <a:latin typeface="Arial" panose="020B0604020202020204" pitchFamily="34" charset="0"/>
                <a:ea typeface="Arial MT"/>
                <a:cs typeface="Arial MT"/>
              </a:rPr>
              <a:t> </a:t>
            </a:r>
            <a:endParaRPr lang="sv-SE" sz="3600">
              <a:effectLst/>
              <a:latin typeface="Arial MT"/>
              <a:ea typeface="Arial MT"/>
              <a:cs typeface="Arial MT"/>
            </a:endParaRPr>
          </a:p>
          <a:p>
            <a:pPr marL="1600200" lvl="3" indent="-228600">
              <a:buSzPts val="1100"/>
              <a:buFont typeface="Courier New" panose="02070309020205020404" pitchFamily="49" charset="0"/>
              <a:buChar char="o"/>
              <a:tabLst>
                <a:tab pos="1634490" algn="l"/>
              </a:tabLst>
            </a:pPr>
            <a:r>
              <a:rPr lang="en-US" sz="3600" i="1">
                <a:effectLst/>
                <a:latin typeface="Arial" panose="020B0604020202020204" pitchFamily="34" charset="0"/>
                <a:ea typeface="Courier New" panose="02070309020205020404" pitchFamily="49" charset="0"/>
                <a:cs typeface="Arial MT"/>
              </a:rPr>
              <a:t>Adequate</a:t>
            </a:r>
            <a:endParaRPr lang="sv-SE" sz="3600">
              <a:effectLst/>
              <a:latin typeface="Arial MT"/>
              <a:ea typeface="Courier New" panose="02070309020205020404" pitchFamily="49" charset="0"/>
              <a:cs typeface="Arial MT"/>
            </a:endParaRPr>
          </a:p>
          <a:p>
            <a:pPr>
              <a:spcBef>
                <a:spcPts val="40"/>
              </a:spcBef>
            </a:pPr>
            <a:r>
              <a:rPr lang="en-US" sz="3600" i="1">
                <a:effectLst/>
                <a:latin typeface="Arial" panose="020B0604020202020204" pitchFamily="34" charset="0"/>
                <a:ea typeface="Arial MT"/>
                <a:cs typeface="Arial MT"/>
              </a:rPr>
              <a:t> </a:t>
            </a:r>
            <a:endParaRPr lang="sv-SE" sz="3600">
              <a:effectLst/>
              <a:latin typeface="Arial MT"/>
              <a:ea typeface="Arial MT"/>
              <a:cs typeface="Arial MT"/>
            </a:endParaRPr>
          </a:p>
          <a:p>
            <a:pPr marL="1600200" lvl="3" indent="-228600">
              <a:buSzPts val="1100"/>
              <a:buFont typeface="Courier New" panose="02070309020205020404" pitchFamily="49" charset="0"/>
              <a:buChar char="o"/>
              <a:tabLst>
                <a:tab pos="1634490" algn="l"/>
              </a:tabLst>
            </a:pPr>
            <a:r>
              <a:rPr lang="en-US" sz="3600" i="1">
                <a:effectLst/>
                <a:latin typeface="Arial" panose="020B0604020202020204" pitchFamily="34" charset="0"/>
                <a:ea typeface="Courier New" panose="02070309020205020404" pitchFamily="49" charset="0"/>
                <a:cs typeface="Arial MT"/>
              </a:rPr>
              <a:t>Monitorable</a:t>
            </a:r>
            <a:endParaRPr lang="sv-SE" sz="3600">
              <a:effectLst/>
              <a:latin typeface="Arial MT"/>
              <a:ea typeface="Courier New" panose="02070309020205020404" pitchFamily="49" charset="0"/>
              <a:cs typeface="Arial MT"/>
            </a:endParaRPr>
          </a:p>
        </p:txBody>
      </p:sp>
      <p:pic>
        <p:nvPicPr>
          <p:cNvPr id="7170" name="Picture 2" descr="fruit and coconut ice cream">
            <a:extLst>
              <a:ext uri="{FF2B5EF4-FFF2-40B4-BE49-F238E27FC236}">
                <a16:creationId xmlns:a16="http://schemas.microsoft.com/office/drawing/2014/main" id="{3B0A9580-23A9-4242-A2A7-FDCAE72E278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582232" y="2284837"/>
            <a:ext cx="6096000" cy="6096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7294203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uppo 16">
            <a:extLst>
              <a:ext uri="{FF2B5EF4-FFF2-40B4-BE49-F238E27FC236}">
                <a16:creationId xmlns:a16="http://schemas.microsoft.com/office/drawing/2014/main" id="{3F5F7AF6-0534-4E89-AE02-CE3836F7A2BE}"/>
              </a:ext>
            </a:extLst>
          </p:cNvPr>
          <p:cNvGrpSpPr/>
          <p:nvPr/>
        </p:nvGrpSpPr>
        <p:grpSpPr>
          <a:xfrm>
            <a:off x="4329146" y="9620433"/>
            <a:ext cx="13958844" cy="666567"/>
            <a:chOff x="4329156" y="9649198"/>
            <a:chExt cx="13958844" cy="666567"/>
          </a:xfrm>
        </p:grpSpPr>
        <p:pic>
          <p:nvPicPr>
            <p:cNvPr id="7" name="Picture 12">
              <a:extLst>
                <a:ext uri="{FF2B5EF4-FFF2-40B4-BE49-F238E27FC236}">
                  <a16:creationId xmlns:a16="http://schemas.microsoft.com/office/drawing/2014/main" id="{4858E8BF-2173-4F89-804F-345558864251}"/>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8" name="TextBox 16">
              <a:extLst>
                <a:ext uri="{FF2B5EF4-FFF2-40B4-BE49-F238E27FC236}">
                  <a16:creationId xmlns:a16="http://schemas.microsoft.com/office/drawing/2014/main" id="{BC9248AC-0972-4328-8B1F-A2C970BE34E2}"/>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pic>
        <p:nvPicPr>
          <p:cNvPr id="9" name="Picture 12">
            <a:extLst>
              <a:ext uri="{FF2B5EF4-FFF2-40B4-BE49-F238E27FC236}">
                <a16:creationId xmlns:a16="http://schemas.microsoft.com/office/drawing/2014/main" id="{426C4F99-0853-4E54-96B0-626D89C4E0F7}"/>
              </a:ext>
            </a:extLst>
          </p:cNvPr>
          <p:cNvPicPr>
            <a:picLocks noChangeAspect="1"/>
          </p:cNvPicPr>
          <p:nvPr/>
        </p:nvPicPr>
        <p:blipFill>
          <a:blip r:embed="rId4"/>
          <a:srcRect/>
          <a:stretch>
            <a:fillRect/>
          </a:stretch>
        </p:blipFill>
        <p:spPr>
          <a:xfrm>
            <a:off x="0" y="8965281"/>
            <a:ext cx="5715000" cy="1385887"/>
          </a:xfrm>
          <a:prstGeom prst="rect">
            <a:avLst/>
          </a:prstGeom>
        </p:spPr>
      </p:pic>
      <p:grpSp>
        <p:nvGrpSpPr>
          <p:cNvPr id="10" name="Gruppo 2">
            <a:extLst>
              <a:ext uri="{FF2B5EF4-FFF2-40B4-BE49-F238E27FC236}">
                <a16:creationId xmlns:a16="http://schemas.microsoft.com/office/drawing/2014/main" id="{CF0AECC4-F876-41D0-A929-D2475ED45E73}"/>
              </a:ext>
            </a:extLst>
          </p:cNvPr>
          <p:cNvGrpSpPr/>
          <p:nvPr/>
        </p:nvGrpSpPr>
        <p:grpSpPr>
          <a:xfrm>
            <a:off x="-12" y="138554"/>
            <a:ext cx="18288002" cy="681138"/>
            <a:chOff x="-12" y="138554"/>
            <a:chExt cx="18288002" cy="681138"/>
          </a:xfrm>
        </p:grpSpPr>
        <p:grpSp>
          <p:nvGrpSpPr>
            <p:cNvPr id="11" name="Gruppo 1">
              <a:extLst>
                <a:ext uri="{FF2B5EF4-FFF2-40B4-BE49-F238E27FC236}">
                  <a16:creationId xmlns:a16="http://schemas.microsoft.com/office/drawing/2014/main" id="{CB1F2BCB-6780-46C6-8C55-58EA8CCA8E2E}"/>
                </a:ext>
              </a:extLst>
            </p:cNvPr>
            <p:cNvGrpSpPr/>
            <p:nvPr/>
          </p:nvGrpSpPr>
          <p:grpSpPr>
            <a:xfrm>
              <a:off x="0" y="153125"/>
              <a:ext cx="17907000" cy="666567"/>
              <a:chOff x="0" y="153125"/>
              <a:chExt cx="17907000" cy="666567"/>
            </a:xfrm>
          </p:grpSpPr>
          <p:grpSp>
            <p:nvGrpSpPr>
              <p:cNvPr id="13" name="Gruppo 15">
                <a:extLst>
                  <a:ext uri="{FF2B5EF4-FFF2-40B4-BE49-F238E27FC236}">
                    <a16:creationId xmlns:a16="http://schemas.microsoft.com/office/drawing/2014/main" id="{E70CFF61-09B8-4460-9E25-56434FBA271C}"/>
                  </a:ext>
                </a:extLst>
              </p:cNvPr>
              <p:cNvGrpSpPr/>
              <p:nvPr/>
            </p:nvGrpSpPr>
            <p:grpSpPr>
              <a:xfrm>
                <a:off x="0" y="153125"/>
                <a:ext cx="13958844" cy="666567"/>
                <a:chOff x="0" y="153125"/>
                <a:chExt cx="13958844" cy="666567"/>
              </a:xfrm>
            </p:grpSpPr>
            <p:pic>
              <p:nvPicPr>
                <p:cNvPr id="15" name="Picture 10">
                  <a:extLst>
                    <a:ext uri="{FF2B5EF4-FFF2-40B4-BE49-F238E27FC236}">
                      <a16:creationId xmlns:a16="http://schemas.microsoft.com/office/drawing/2014/main" id="{A7D6FD36-74A4-4E44-8F40-2403271A3E0F}"/>
                    </a:ext>
                  </a:extLst>
                </p:cNvPr>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6" name="TextBox 11">
                  <a:extLst>
                    <a:ext uri="{FF2B5EF4-FFF2-40B4-BE49-F238E27FC236}">
                      <a16:creationId xmlns:a16="http://schemas.microsoft.com/office/drawing/2014/main" id="{B24D47EA-E251-440E-AE41-D7B3380585D7}"/>
                    </a:ext>
                  </a:extLst>
                </p:cNvPr>
                <p:cNvSpPr txBox="1"/>
                <p:nvPr/>
              </p:nvSpPr>
              <p:spPr>
                <a:xfrm>
                  <a:off x="228600" y="257980"/>
                  <a:ext cx="9296400" cy="456856"/>
                </a:xfrm>
                <a:prstGeom prst="rect">
                  <a:avLst/>
                </a:prstGeom>
              </p:spPr>
              <p:txBody>
                <a:bodyPr wrap="square" lIns="0" tIns="0" rIns="0" bIns="0" rtlCol="0" anchor="t">
                  <a:spAutoFit/>
                </a:bodyPr>
                <a:lstStyle/>
                <a:p>
                  <a:pPr>
                    <a:lnSpc>
                      <a:spcPts val="3919"/>
                    </a:lnSpc>
                    <a:spcBef>
                      <a:spcPct val="0"/>
                    </a:spcBef>
                  </a:pPr>
                  <a:endParaRPr lang="en-US" sz="2800" b="1">
                    <a:solidFill>
                      <a:srgbClr val="FFFFFF"/>
                    </a:solidFill>
                    <a:latin typeface="Arial" panose="020B0604020202020204" pitchFamily="34" charset="0"/>
                    <a:cs typeface="Arial" panose="020B0604020202020204" pitchFamily="34" charset="0"/>
                  </a:endParaRPr>
                </a:p>
              </p:txBody>
            </p:sp>
          </p:grpSp>
          <p:sp>
            <p:nvSpPr>
              <p:cNvPr id="14" name="TextBox 13">
                <a:extLst>
                  <a:ext uri="{FF2B5EF4-FFF2-40B4-BE49-F238E27FC236}">
                    <a16:creationId xmlns:a16="http://schemas.microsoft.com/office/drawing/2014/main" id="{EF270367-E803-4FF8-B0D4-E65C63292230}"/>
                  </a:ext>
                </a:extLst>
              </p:cNvPr>
              <p:cNvSpPr txBox="1"/>
              <p:nvPr/>
            </p:nvSpPr>
            <p:spPr>
              <a:xfrm>
                <a:off x="12154296" y="257980"/>
                <a:ext cx="5752704" cy="456856"/>
              </a:xfrm>
              <a:prstGeom prst="rect">
                <a:avLst/>
              </a:prstGeom>
            </p:spPr>
            <p:txBody>
              <a:bodyPr wrap="square" lIns="0" tIns="0" rIns="0" bIns="0" rtlCol="0" anchor="t">
                <a:spAutoFit/>
              </a:bodyPr>
              <a:lstStyle/>
              <a:p>
                <a:pPr algn="r">
                  <a:lnSpc>
                    <a:spcPts val="3919"/>
                  </a:lnSpc>
                  <a:spcBef>
                    <a:spcPct val="0"/>
                  </a:spcBef>
                </a:pPr>
                <a:endParaRPr lang="en-US" sz="2800">
                  <a:solidFill>
                    <a:schemeClr val="tx1">
                      <a:lumMod val="75000"/>
                      <a:lumOff val="25000"/>
                    </a:schemeClr>
                  </a:solidFill>
                  <a:latin typeface="Arial" panose="020B0604020202020204" pitchFamily="34" charset="0"/>
                  <a:cs typeface="Arial" panose="020B0604020202020204" pitchFamily="34" charset="0"/>
                </a:endParaRPr>
              </a:p>
            </p:txBody>
          </p:sp>
        </p:grpSp>
        <p:sp>
          <p:nvSpPr>
            <p:cNvPr id="12" name="Rettangolo 13">
              <a:extLst>
                <a:ext uri="{FF2B5EF4-FFF2-40B4-BE49-F238E27FC236}">
                  <a16:creationId xmlns:a16="http://schemas.microsoft.com/office/drawing/2014/main" id="{33792927-A67D-4B2A-8F4D-6E60C45CB3CE}"/>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9" name="TextBox 18">
            <a:extLst>
              <a:ext uri="{FF2B5EF4-FFF2-40B4-BE49-F238E27FC236}">
                <a16:creationId xmlns:a16="http://schemas.microsoft.com/office/drawing/2014/main" id="{FC76D9D2-7CF1-4943-A222-2CB626447591}"/>
              </a:ext>
            </a:extLst>
          </p:cNvPr>
          <p:cNvSpPr txBox="1"/>
          <p:nvPr/>
        </p:nvSpPr>
        <p:spPr>
          <a:xfrm>
            <a:off x="228600" y="671302"/>
            <a:ext cx="17807739" cy="1015663"/>
          </a:xfrm>
          <a:prstGeom prst="rect">
            <a:avLst/>
          </a:prstGeom>
          <a:noFill/>
        </p:spPr>
        <p:txBody>
          <a:bodyPr wrap="square">
            <a:spAutoFit/>
          </a:bodyPr>
          <a:lstStyle/>
          <a:p>
            <a:pPr algn="ctr"/>
            <a:r>
              <a:rPr lang="en-US" sz="6000" b="1">
                <a:solidFill>
                  <a:srgbClr val="CC0033"/>
                </a:solidFill>
                <a:latin typeface="+mj-lt"/>
                <a:cs typeface="Arial" panose="020B0604020202020204" pitchFamily="34" charset="0"/>
              </a:rPr>
              <a:t>Key Resource Indicators (KRI)</a:t>
            </a:r>
            <a:endParaRPr lang="sv-SE" sz="6000" b="1">
              <a:solidFill>
                <a:srgbClr val="CC0033"/>
              </a:solidFill>
              <a:latin typeface="+mj-lt"/>
              <a:cs typeface="Arial" panose="020B0604020202020204" pitchFamily="34" charset="0"/>
            </a:endParaRPr>
          </a:p>
        </p:txBody>
      </p:sp>
      <p:graphicFrame>
        <p:nvGraphicFramePr>
          <p:cNvPr id="2" name="Table 1">
            <a:extLst>
              <a:ext uri="{FF2B5EF4-FFF2-40B4-BE49-F238E27FC236}">
                <a16:creationId xmlns:a16="http://schemas.microsoft.com/office/drawing/2014/main" id="{C517C874-D8C9-4A8E-A4AC-D3E10765FF75}"/>
              </a:ext>
            </a:extLst>
          </p:cNvPr>
          <p:cNvGraphicFramePr>
            <a:graphicFrameLocks noGrp="1"/>
          </p:cNvGraphicFramePr>
          <p:nvPr>
            <p:extLst>
              <p:ext uri="{D42A27DB-BD31-4B8C-83A1-F6EECF244321}">
                <p14:modId xmlns:p14="http://schemas.microsoft.com/office/powerpoint/2010/main" val="3961094698"/>
              </p:ext>
            </p:extLst>
          </p:nvPr>
        </p:nvGraphicFramePr>
        <p:xfrm>
          <a:off x="228599" y="1611889"/>
          <a:ext cx="17807739" cy="7490460"/>
        </p:xfrm>
        <a:graphic>
          <a:graphicData uri="http://schemas.openxmlformats.org/drawingml/2006/table">
            <a:tbl>
              <a:tblPr firstRow="1" firstCol="1" lastRow="1" lastCol="1" bandRow="1" bandCol="1">
                <a:tableStyleId>{72833802-FEF1-4C79-8D5D-14CF1EAF98D9}</a:tableStyleId>
              </a:tblPr>
              <a:tblGrid>
                <a:gridCol w="4442210">
                  <a:extLst>
                    <a:ext uri="{9D8B030D-6E8A-4147-A177-3AD203B41FA5}">
                      <a16:colId xmlns:a16="http://schemas.microsoft.com/office/drawing/2014/main" val="3847811735"/>
                    </a:ext>
                  </a:extLst>
                </a:gridCol>
                <a:gridCol w="2089401">
                  <a:extLst>
                    <a:ext uri="{9D8B030D-6E8A-4147-A177-3AD203B41FA5}">
                      <a16:colId xmlns:a16="http://schemas.microsoft.com/office/drawing/2014/main" val="3852747853"/>
                    </a:ext>
                  </a:extLst>
                </a:gridCol>
                <a:gridCol w="11276128">
                  <a:extLst>
                    <a:ext uri="{9D8B030D-6E8A-4147-A177-3AD203B41FA5}">
                      <a16:colId xmlns:a16="http://schemas.microsoft.com/office/drawing/2014/main" val="2396287200"/>
                    </a:ext>
                  </a:extLst>
                </a:gridCol>
              </a:tblGrid>
              <a:tr h="204774">
                <a:tc>
                  <a:txBody>
                    <a:bodyPr/>
                    <a:lstStyle/>
                    <a:p>
                      <a:pPr marL="83185" indent="0" algn="ctr">
                        <a:lnSpc>
                          <a:spcPct val="100000"/>
                        </a:lnSpc>
                        <a:spcBef>
                          <a:spcPts val="360"/>
                        </a:spcBef>
                        <a:spcAft>
                          <a:spcPts val="0"/>
                        </a:spcAft>
                      </a:pPr>
                      <a:r>
                        <a:rPr lang="en-US" sz="2200">
                          <a:effectLst/>
                        </a:rPr>
                        <a:t>Indicator</a:t>
                      </a:r>
                      <a:endParaRPr lang="sv-SE" sz="2200">
                        <a:effectLst/>
                        <a:latin typeface="Arial MT"/>
                        <a:ea typeface="Arial MT"/>
                        <a:cs typeface="Arial MT"/>
                      </a:endParaRP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200">
                          <a:effectLst/>
                        </a:rPr>
                        <a:t>Unit</a:t>
                      </a:r>
                      <a:endParaRPr lang="sv-SE" sz="2200"/>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60400" marR="655320" algn="ctr">
                        <a:lnSpc>
                          <a:spcPct val="107000"/>
                        </a:lnSpc>
                        <a:spcBef>
                          <a:spcPts val="360"/>
                        </a:spcBef>
                        <a:spcAft>
                          <a:spcPts val="0"/>
                        </a:spcAft>
                      </a:pPr>
                      <a:r>
                        <a:rPr lang="en-US" sz="2200">
                          <a:effectLst/>
                        </a:rPr>
                        <a:t>Relevance</a:t>
                      </a:r>
                      <a:r>
                        <a:rPr lang="en-US" sz="2200" spc="-15">
                          <a:effectLst/>
                        </a:rPr>
                        <a:t> </a:t>
                      </a:r>
                      <a:r>
                        <a:rPr lang="en-US" sz="2200">
                          <a:effectLst/>
                        </a:rPr>
                        <a:t>for</a:t>
                      </a:r>
                      <a:r>
                        <a:rPr lang="en-US" sz="2200" spc="-20">
                          <a:effectLst/>
                        </a:rPr>
                        <a:t> </a:t>
                      </a:r>
                      <a:r>
                        <a:rPr lang="en-US" sz="2200">
                          <a:effectLst/>
                        </a:rPr>
                        <a:t>RETROFEED</a:t>
                      </a:r>
                      <a:endParaRPr lang="sv-SE" sz="2200">
                        <a:effectLst/>
                        <a:latin typeface="Arial MT"/>
                        <a:ea typeface="Arial MT"/>
                        <a:cs typeface="Arial MT"/>
                      </a:endParaRPr>
                    </a:p>
                  </a:txBody>
                  <a:tcPr marL="0" marR="0" marT="0" marB="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25591918"/>
                  </a:ext>
                </a:extLst>
              </a:tr>
              <a:tr h="315058">
                <a:tc gridSpan="3">
                  <a:txBody>
                    <a:bodyPr/>
                    <a:lstStyle/>
                    <a:p>
                      <a:pPr marL="1116330" indent="0" algn="l">
                        <a:lnSpc>
                          <a:spcPct val="100000"/>
                        </a:lnSpc>
                        <a:spcBef>
                          <a:spcPts val="360"/>
                        </a:spcBef>
                        <a:spcAft>
                          <a:spcPts val="0"/>
                        </a:spcAft>
                      </a:pPr>
                      <a:r>
                        <a:rPr lang="en-US" sz="2200" b="1">
                          <a:effectLst/>
                        </a:rPr>
                        <a:t>                                           KRIs</a:t>
                      </a:r>
                      <a:r>
                        <a:rPr lang="en-US" sz="2200" b="1" spc="-15">
                          <a:effectLst/>
                        </a:rPr>
                        <a:t> </a:t>
                      </a:r>
                      <a:r>
                        <a:rPr lang="en-US" sz="2200" b="1">
                          <a:effectLst/>
                        </a:rPr>
                        <a:t>related</a:t>
                      </a:r>
                      <a:r>
                        <a:rPr lang="en-US" sz="2200" b="1" spc="-15">
                          <a:effectLst/>
                        </a:rPr>
                        <a:t> </a:t>
                      </a:r>
                      <a:r>
                        <a:rPr lang="en-US" sz="2200" b="1">
                          <a:effectLst/>
                        </a:rPr>
                        <a:t>to</a:t>
                      </a:r>
                      <a:r>
                        <a:rPr lang="en-US" sz="2200" b="1" spc="-20">
                          <a:effectLst/>
                        </a:rPr>
                        <a:t> </a:t>
                      </a:r>
                      <a:r>
                        <a:rPr lang="en-US" sz="2200" b="1">
                          <a:effectLst/>
                        </a:rPr>
                        <a:t>energy</a:t>
                      </a:r>
                      <a:r>
                        <a:rPr lang="en-US" sz="2200" b="1" spc="-15">
                          <a:effectLst/>
                        </a:rPr>
                        <a:t> </a:t>
                      </a:r>
                      <a:r>
                        <a:rPr lang="en-US" sz="2200" b="1">
                          <a:effectLst/>
                        </a:rPr>
                        <a:t>use</a:t>
                      </a:r>
                      <a:r>
                        <a:rPr lang="en-US" sz="2200" b="1" spc="-15">
                          <a:effectLst/>
                        </a:rPr>
                        <a:t> </a:t>
                      </a:r>
                      <a:r>
                        <a:rPr lang="en-US" sz="2200" b="1">
                          <a:effectLst/>
                        </a:rPr>
                        <a:t>and</a:t>
                      </a:r>
                      <a:r>
                        <a:rPr lang="en-US" sz="2200" b="1" spc="-20">
                          <a:effectLst/>
                        </a:rPr>
                        <a:t> </a:t>
                      </a:r>
                      <a:r>
                        <a:rPr lang="en-US" sz="2200" b="1">
                          <a:effectLst/>
                        </a:rPr>
                        <a:t>assessment of</a:t>
                      </a:r>
                      <a:r>
                        <a:rPr lang="en-US" sz="2200" b="1" spc="-20">
                          <a:effectLst/>
                        </a:rPr>
                        <a:t> </a:t>
                      </a:r>
                      <a:r>
                        <a:rPr lang="en-US" sz="2200" b="1">
                          <a:effectLst/>
                        </a:rPr>
                        <a:t>their</a:t>
                      </a:r>
                      <a:r>
                        <a:rPr lang="en-US" sz="2200" b="1" spc="-15">
                          <a:effectLst/>
                        </a:rPr>
                        <a:t> </a:t>
                      </a:r>
                      <a:r>
                        <a:rPr lang="en-US" sz="2200" b="1">
                          <a:effectLst/>
                        </a:rPr>
                        <a:t>relevance</a:t>
                      </a:r>
                      <a:endParaRPr lang="sv-SE" sz="2200" b="1">
                        <a:effectLst/>
                        <a:latin typeface="Arial MT"/>
                        <a:ea typeface="Arial MT"/>
                        <a:cs typeface="Arial MT"/>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hMerge="1">
                  <a:txBody>
                    <a:bodyPr/>
                    <a:lstStyle/>
                    <a:p>
                      <a:endParaRPr lang="sv-SE"/>
                    </a:p>
                  </a:txBody>
                  <a:tcPr>
                    <a:lnL>
                      <a:noFill/>
                    </a:lnL>
                    <a:lnT w="12700" cap="flat" cmpd="sng" algn="ctr">
                      <a:solidFill>
                        <a:schemeClr val="tx1"/>
                      </a:solidFill>
                      <a:prstDash val="solid"/>
                      <a:round/>
                      <a:headEnd type="none" w="med" len="med"/>
                      <a:tailEnd type="none" w="med" len="med"/>
                    </a:lnT>
                  </a:tcPr>
                </a:tc>
                <a:tc hMerge="1">
                  <a:txBody>
                    <a:bodyPr/>
                    <a:lstStyle/>
                    <a:p>
                      <a:endParaRPr lang="sv-SE"/>
                    </a:p>
                  </a:txBody>
                  <a:tcPr/>
                </a:tc>
                <a:extLst>
                  <a:ext uri="{0D108BD9-81ED-4DB2-BD59-A6C34878D82A}">
                    <a16:rowId xmlns:a16="http://schemas.microsoft.com/office/drawing/2014/main" val="2198553554"/>
                  </a:ext>
                </a:extLst>
              </a:tr>
              <a:tr h="1197098">
                <a:tc>
                  <a:txBody>
                    <a:bodyPr/>
                    <a:lstStyle/>
                    <a:p>
                      <a:pPr marL="0" marR="313690" indent="0" algn="l">
                        <a:lnSpc>
                          <a:spcPct val="100000"/>
                        </a:lnSpc>
                        <a:spcBef>
                          <a:spcPts val="0"/>
                        </a:spcBef>
                        <a:spcAft>
                          <a:spcPts val="0"/>
                        </a:spcAft>
                      </a:pPr>
                      <a:r>
                        <a:rPr lang="en-US" sz="2200" b="0">
                          <a:effectLst/>
                        </a:rPr>
                        <a:t>Primary energy</a:t>
                      </a:r>
                      <a:r>
                        <a:rPr lang="en-US" sz="2200" b="0" spc="-300">
                          <a:effectLst/>
                        </a:rPr>
                        <a:t> </a:t>
                      </a:r>
                      <a:r>
                        <a:rPr lang="en-US" sz="2200" b="0">
                          <a:effectLst/>
                        </a:rPr>
                        <a:t>consumption</a:t>
                      </a:r>
                      <a:endParaRPr lang="sv-SE" sz="2200" b="0">
                        <a:effectLst/>
                        <a:latin typeface="Arial MT"/>
                        <a:ea typeface="Arial MT"/>
                        <a:cs typeface="Arial MT"/>
                      </a:endParaRP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7310" indent="0">
                        <a:lnSpc>
                          <a:spcPct val="100000"/>
                        </a:lnSpc>
                        <a:spcBef>
                          <a:spcPts val="100"/>
                        </a:spcBef>
                      </a:pPr>
                      <a:r>
                        <a:rPr lang="en-US" sz="2200" b="0">
                          <a:effectLst/>
                        </a:rPr>
                        <a:t>[MJ/output</a:t>
                      </a:r>
                      <a:r>
                        <a:rPr lang="en-US" sz="2200" b="0" spc="-10">
                          <a:effectLst/>
                        </a:rPr>
                        <a:t> </a:t>
                      </a:r>
                      <a:r>
                        <a:rPr lang="en-US" sz="2200" b="0">
                          <a:effectLst/>
                        </a:rPr>
                        <a:t>unit]</a:t>
                      </a:r>
                      <a:endParaRPr lang="sv-SE" sz="2200" b="0">
                        <a:effectLst/>
                        <a:latin typeface="Arial MT"/>
                        <a:ea typeface="Arial MT"/>
                        <a:cs typeface="Arial MT"/>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marL="67945" indent="0">
                        <a:lnSpc>
                          <a:spcPct val="100000"/>
                        </a:lnSpc>
                        <a:spcBef>
                          <a:spcPts val="100"/>
                        </a:spcBef>
                      </a:pPr>
                      <a:r>
                        <a:rPr lang="en-US" sz="2200" b="0">
                          <a:effectLst/>
                        </a:rPr>
                        <a:t>For</a:t>
                      </a:r>
                      <a:r>
                        <a:rPr lang="en-US" sz="2200" b="0" spc="-10">
                          <a:effectLst/>
                        </a:rPr>
                        <a:t> </a:t>
                      </a:r>
                      <a:r>
                        <a:rPr lang="en-US" sz="2200" b="0">
                          <a:effectLst/>
                        </a:rPr>
                        <a:t>all</a:t>
                      </a:r>
                      <a:r>
                        <a:rPr lang="en-US" sz="2200" b="0" spc="-10">
                          <a:effectLst/>
                        </a:rPr>
                        <a:t> </a:t>
                      </a:r>
                      <a:r>
                        <a:rPr lang="en-US" sz="2200" b="0">
                          <a:effectLst/>
                        </a:rPr>
                        <a:t>test</a:t>
                      </a:r>
                      <a:r>
                        <a:rPr lang="en-US" sz="2200" b="0" spc="-10">
                          <a:effectLst/>
                        </a:rPr>
                        <a:t> </a:t>
                      </a:r>
                      <a:r>
                        <a:rPr lang="en-US" sz="2200" b="0">
                          <a:effectLst/>
                        </a:rPr>
                        <a:t>cases</a:t>
                      </a:r>
                      <a:r>
                        <a:rPr lang="en-US" sz="2200" b="0" spc="-10">
                          <a:effectLst/>
                        </a:rPr>
                        <a:t> </a:t>
                      </a:r>
                      <a:r>
                        <a:rPr lang="en-US" sz="2200" b="0">
                          <a:effectLst/>
                        </a:rPr>
                        <a:t>but</a:t>
                      </a:r>
                      <a:r>
                        <a:rPr lang="en-US" sz="2200" b="0" spc="-5">
                          <a:effectLst/>
                        </a:rPr>
                        <a:t> </a:t>
                      </a:r>
                      <a:r>
                        <a:rPr lang="en-US" sz="2200" b="0">
                          <a:effectLst/>
                        </a:rPr>
                        <a:t>particularly</a:t>
                      </a:r>
                      <a:r>
                        <a:rPr lang="en-US" sz="2200" b="0" spc="-10">
                          <a:effectLst/>
                        </a:rPr>
                        <a:t> </a:t>
                      </a:r>
                      <a:r>
                        <a:rPr lang="en-US" sz="2200" b="0">
                          <a:effectLst/>
                        </a:rPr>
                        <a:t>for</a:t>
                      </a:r>
                      <a:r>
                        <a:rPr lang="en-US" sz="2200" b="0" spc="-5">
                          <a:effectLst/>
                        </a:rPr>
                        <a:t> </a:t>
                      </a:r>
                      <a:r>
                        <a:rPr lang="en-US" sz="2200" b="0">
                          <a:effectLst/>
                        </a:rPr>
                        <a:t>the:</a:t>
                      </a:r>
                      <a:endParaRPr lang="sv-SE" sz="2200" b="0">
                        <a:effectLst/>
                      </a:endParaRPr>
                    </a:p>
                    <a:p>
                      <a:pPr marL="342900" marR="186055" lvl="0" indent="0">
                        <a:lnSpc>
                          <a:spcPct val="100000"/>
                        </a:lnSpc>
                        <a:spcBef>
                          <a:spcPts val="95"/>
                        </a:spcBef>
                        <a:spcAft>
                          <a:spcPts val="0"/>
                        </a:spcAft>
                        <a:buClr>
                          <a:srgbClr val="3E3E3E"/>
                        </a:buClr>
                        <a:buSzPts val="1100"/>
                        <a:buFont typeface="Symbol" panose="05050102010706020507" pitchFamily="18" charset="2"/>
                        <a:buChar char=""/>
                        <a:tabLst>
                          <a:tab pos="525145" algn="l"/>
                          <a:tab pos="525780" algn="l"/>
                        </a:tabLst>
                      </a:pPr>
                      <a:r>
                        <a:rPr lang="en-US" sz="2200" b="0">
                          <a:effectLst/>
                        </a:rPr>
                        <a:t>aluminum case which expects an energy reduction for</a:t>
                      </a:r>
                      <a:r>
                        <a:rPr lang="en-US" sz="2200" b="0" spc="-300">
                          <a:effectLst/>
                        </a:rPr>
                        <a:t> </a:t>
                      </a:r>
                      <a:r>
                        <a:rPr lang="en-US" sz="2200" b="0">
                          <a:effectLst/>
                        </a:rPr>
                        <a:t>increase</a:t>
                      </a:r>
                      <a:r>
                        <a:rPr lang="en-US" sz="2200" b="0" spc="-5">
                          <a:effectLst/>
                        </a:rPr>
                        <a:t> </a:t>
                      </a:r>
                      <a:r>
                        <a:rPr lang="en-US" sz="2200" b="0">
                          <a:effectLst/>
                        </a:rPr>
                        <a:t>in</a:t>
                      </a:r>
                      <a:r>
                        <a:rPr lang="en-US" sz="2200" b="0" spc="-5">
                          <a:effectLst/>
                        </a:rPr>
                        <a:t> </a:t>
                      </a:r>
                      <a:r>
                        <a:rPr lang="en-US" sz="2200" b="0">
                          <a:effectLst/>
                        </a:rPr>
                        <a:t>the share of</a:t>
                      </a:r>
                      <a:r>
                        <a:rPr lang="en-US" sz="2200" b="0" spc="-5">
                          <a:effectLst/>
                        </a:rPr>
                        <a:t> </a:t>
                      </a:r>
                      <a:r>
                        <a:rPr lang="en-US" sz="2200" b="0">
                          <a:effectLst/>
                        </a:rPr>
                        <a:t>scrap.</a:t>
                      </a:r>
                      <a:endParaRPr lang="sv-SE" sz="2200" b="0">
                        <a:effectLst/>
                      </a:endParaRPr>
                    </a:p>
                    <a:p>
                      <a:pPr marL="342900" marR="340995" lvl="0" indent="0">
                        <a:lnSpc>
                          <a:spcPct val="100000"/>
                        </a:lnSpc>
                        <a:spcBef>
                          <a:spcPts val="95"/>
                        </a:spcBef>
                        <a:spcAft>
                          <a:spcPts val="0"/>
                        </a:spcAft>
                        <a:buClr>
                          <a:srgbClr val="3E3E3E"/>
                        </a:buClr>
                        <a:buSzPts val="1100"/>
                        <a:buFont typeface="Symbol" panose="05050102010706020507" pitchFamily="18" charset="2"/>
                        <a:buChar char=""/>
                        <a:tabLst>
                          <a:tab pos="525145" algn="l"/>
                          <a:tab pos="525780" algn="l"/>
                        </a:tabLst>
                      </a:pPr>
                      <a:r>
                        <a:rPr lang="en-US" sz="2200" b="0">
                          <a:effectLst/>
                        </a:rPr>
                        <a:t>the steel and cement factories, which are looking to</a:t>
                      </a:r>
                      <a:r>
                        <a:rPr lang="en-US" sz="2200" b="0" spc="-295">
                          <a:effectLst/>
                        </a:rPr>
                        <a:t> </a:t>
                      </a:r>
                      <a:r>
                        <a:rPr lang="en-US" sz="2200" b="0">
                          <a:effectLst/>
                        </a:rPr>
                        <a:t>reduce</a:t>
                      </a:r>
                      <a:r>
                        <a:rPr lang="en-US" sz="2200" b="0" spc="-5">
                          <a:effectLst/>
                        </a:rPr>
                        <a:t> </a:t>
                      </a:r>
                      <a:r>
                        <a:rPr lang="en-US" sz="2200" b="0">
                          <a:effectLst/>
                        </a:rPr>
                        <a:t>their</a:t>
                      </a:r>
                      <a:r>
                        <a:rPr lang="en-US" sz="2200" b="0" spc="-10">
                          <a:effectLst/>
                        </a:rPr>
                        <a:t> </a:t>
                      </a:r>
                      <a:r>
                        <a:rPr lang="en-US" sz="2200" b="0">
                          <a:effectLst/>
                        </a:rPr>
                        <a:t>primary energy use</a:t>
                      </a:r>
                      <a:endParaRPr lang="sv-SE" sz="2200" b="0">
                        <a:effectLst/>
                      </a:endParaRPr>
                    </a:p>
                    <a:p>
                      <a:pPr marL="342900" lvl="0" indent="0">
                        <a:lnSpc>
                          <a:spcPct val="100000"/>
                        </a:lnSpc>
                        <a:spcBef>
                          <a:spcPts val="90"/>
                        </a:spcBef>
                        <a:spcAft>
                          <a:spcPts val="0"/>
                        </a:spcAft>
                        <a:buClr>
                          <a:srgbClr val="3E3E3E"/>
                        </a:buClr>
                        <a:buSzPts val="1100"/>
                        <a:buFont typeface="Symbol" panose="05050102010706020507" pitchFamily="18" charset="2"/>
                        <a:buChar char=""/>
                        <a:tabLst>
                          <a:tab pos="525145" algn="l"/>
                          <a:tab pos="525780" algn="l"/>
                        </a:tabLst>
                      </a:pPr>
                      <a:r>
                        <a:rPr lang="en-US" sz="2200" b="0">
                          <a:effectLst/>
                        </a:rPr>
                        <a:t>fertilizer</a:t>
                      </a:r>
                      <a:r>
                        <a:rPr lang="en-US" sz="2200" b="0" spc="-20">
                          <a:effectLst/>
                        </a:rPr>
                        <a:t> </a:t>
                      </a:r>
                      <a:r>
                        <a:rPr lang="en-US" sz="2200" b="0">
                          <a:effectLst/>
                        </a:rPr>
                        <a:t>case</a:t>
                      </a:r>
                      <a:r>
                        <a:rPr lang="en-US" sz="2200" b="0" spc="-10">
                          <a:effectLst/>
                        </a:rPr>
                        <a:t> </a:t>
                      </a:r>
                      <a:r>
                        <a:rPr lang="en-US" sz="2200" b="0">
                          <a:effectLst/>
                        </a:rPr>
                        <a:t>which</a:t>
                      </a:r>
                      <a:r>
                        <a:rPr lang="en-US" sz="2200" b="0" spc="-5">
                          <a:effectLst/>
                        </a:rPr>
                        <a:t> </a:t>
                      </a:r>
                      <a:r>
                        <a:rPr lang="en-US" sz="2200" b="0">
                          <a:effectLst/>
                        </a:rPr>
                        <a:t>aims</a:t>
                      </a:r>
                      <a:r>
                        <a:rPr lang="en-US" sz="2200" b="0" spc="-10">
                          <a:effectLst/>
                        </a:rPr>
                        <a:t> </a:t>
                      </a:r>
                      <a:r>
                        <a:rPr lang="en-US" sz="2200" b="0">
                          <a:effectLst/>
                        </a:rPr>
                        <a:t>at</a:t>
                      </a:r>
                      <a:r>
                        <a:rPr lang="en-US" sz="2200" b="0" spc="-5">
                          <a:effectLst/>
                        </a:rPr>
                        <a:t> </a:t>
                      </a:r>
                      <a:r>
                        <a:rPr lang="en-US" sz="2200" b="0">
                          <a:effectLst/>
                        </a:rPr>
                        <a:t>modifying</a:t>
                      </a:r>
                      <a:r>
                        <a:rPr lang="en-US" sz="2200" b="0" spc="-10">
                          <a:effectLst/>
                        </a:rPr>
                        <a:t> </a:t>
                      </a:r>
                      <a:r>
                        <a:rPr lang="en-US" sz="2200" b="0">
                          <a:effectLst/>
                        </a:rPr>
                        <a:t>their</a:t>
                      </a:r>
                      <a:r>
                        <a:rPr lang="en-US" sz="2200" b="0" spc="-10">
                          <a:effectLst/>
                        </a:rPr>
                        <a:t> </a:t>
                      </a:r>
                      <a:r>
                        <a:rPr lang="en-US" sz="2200" b="0">
                          <a:effectLst/>
                        </a:rPr>
                        <a:t>heat</a:t>
                      </a:r>
                      <a:r>
                        <a:rPr lang="en-US" sz="2200" b="0" spc="-10">
                          <a:effectLst/>
                        </a:rPr>
                        <a:t> </a:t>
                      </a:r>
                      <a:r>
                        <a:rPr lang="en-US" sz="2200" b="0">
                          <a:effectLst/>
                        </a:rPr>
                        <a:t>source</a:t>
                      </a:r>
                      <a:endParaRPr lang="sv-SE" sz="2200" b="0">
                        <a:effectLst/>
                      </a:endParaRPr>
                    </a:p>
                    <a:p>
                      <a:pPr marL="342900" marR="335915" lvl="0" indent="0">
                        <a:lnSpc>
                          <a:spcPct val="100000"/>
                        </a:lnSpc>
                        <a:spcBef>
                          <a:spcPts val="155"/>
                        </a:spcBef>
                        <a:spcAft>
                          <a:spcPts val="0"/>
                        </a:spcAft>
                        <a:buClr>
                          <a:srgbClr val="3E3E3E"/>
                        </a:buClr>
                        <a:buSzPts val="1100"/>
                        <a:buFont typeface="Symbol" panose="05050102010706020507" pitchFamily="18" charset="2"/>
                        <a:buChar char=""/>
                        <a:tabLst>
                          <a:tab pos="525145" algn="l"/>
                          <a:tab pos="525780" algn="l"/>
                        </a:tabLst>
                      </a:pPr>
                      <a:r>
                        <a:rPr lang="en-US" sz="2200" b="0">
                          <a:effectLst/>
                        </a:rPr>
                        <a:t>ceramic case which aims at integrating smart</a:t>
                      </a:r>
                      <a:r>
                        <a:rPr lang="en-US" sz="2200" b="0" spc="5">
                          <a:effectLst/>
                        </a:rPr>
                        <a:t> </a:t>
                      </a:r>
                      <a:r>
                        <a:rPr lang="en-US" sz="2200" b="0">
                          <a:effectLst/>
                        </a:rPr>
                        <a:t>combustion</a:t>
                      </a:r>
                      <a:r>
                        <a:rPr lang="en-US" sz="2200" b="0" spc="-30">
                          <a:effectLst/>
                        </a:rPr>
                        <a:t> </a:t>
                      </a:r>
                      <a:r>
                        <a:rPr lang="en-US" sz="2200" b="0">
                          <a:effectLst/>
                        </a:rPr>
                        <a:t>and</a:t>
                      </a:r>
                      <a:r>
                        <a:rPr lang="en-US" sz="2200" b="0" spc="-25">
                          <a:effectLst/>
                        </a:rPr>
                        <a:t> </a:t>
                      </a:r>
                      <a:r>
                        <a:rPr lang="en-US" sz="2200" b="0">
                          <a:effectLst/>
                        </a:rPr>
                        <a:t>improving</a:t>
                      </a:r>
                      <a:r>
                        <a:rPr lang="en-US" sz="2200" b="0" spc="-20">
                          <a:effectLst/>
                        </a:rPr>
                        <a:t> </a:t>
                      </a:r>
                      <a:r>
                        <a:rPr lang="en-US" sz="2200" b="0">
                          <a:effectLst/>
                        </a:rPr>
                        <a:t>the</a:t>
                      </a:r>
                      <a:r>
                        <a:rPr lang="en-US" sz="2200" b="0" spc="-25">
                          <a:effectLst/>
                        </a:rPr>
                        <a:t> </a:t>
                      </a:r>
                      <a:r>
                        <a:rPr lang="en-US" sz="2200" b="0">
                          <a:effectLst/>
                        </a:rPr>
                        <a:t>waste</a:t>
                      </a:r>
                      <a:r>
                        <a:rPr lang="en-US" sz="2200" b="0" spc="-25">
                          <a:effectLst/>
                        </a:rPr>
                        <a:t> </a:t>
                      </a:r>
                      <a:r>
                        <a:rPr lang="en-US" sz="2200" b="0">
                          <a:effectLst/>
                        </a:rPr>
                        <a:t>heat</a:t>
                      </a:r>
                      <a:r>
                        <a:rPr lang="en-US" sz="2200" b="0" spc="-20">
                          <a:effectLst/>
                        </a:rPr>
                        <a:t> </a:t>
                      </a:r>
                      <a:r>
                        <a:rPr lang="en-US" sz="2200" b="0">
                          <a:effectLst/>
                        </a:rPr>
                        <a:t>recovery.</a:t>
                      </a:r>
                      <a:endParaRPr lang="sv-SE" sz="2200" b="0">
                        <a:effectLst/>
                        <a:latin typeface="Arial MT"/>
                        <a:ea typeface="Arial MT"/>
                        <a:cs typeface="Arial MT"/>
                      </a:endParaRPr>
                    </a:p>
                  </a:txBody>
                  <a:tcPr marL="0" marR="0" marT="0" marB="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2353165"/>
                  </a:ext>
                </a:extLst>
              </a:tr>
              <a:tr h="865893">
                <a:tc>
                  <a:txBody>
                    <a:bodyPr/>
                    <a:lstStyle/>
                    <a:p>
                      <a:pPr marL="67945" marR="80645" indent="0" algn="l">
                        <a:lnSpc>
                          <a:spcPct val="100000"/>
                        </a:lnSpc>
                        <a:spcBef>
                          <a:spcPts val="95"/>
                        </a:spcBef>
                        <a:spcAft>
                          <a:spcPts val="0"/>
                        </a:spcAft>
                      </a:pPr>
                      <a:r>
                        <a:rPr lang="en-US" sz="2200" b="0">
                          <a:effectLst/>
                        </a:rPr>
                        <a:t>Final energy</a:t>
                      </a:r>
                      <a:r>
                        <a:rPr lang="en-US" sz="2200" b="0" spc="5">
                          <a:effectLst/>
                        </a:rPr>
                        <a:t> </a:t>
                      </a:r>
                      <a:r>
                        <a:rPr lang="en-US" sz="2200" b="0">
                          <a:effectLst/>
                        </a:rPr>
                        <a:t>consumption by</a:t>
                      </a:r>
                      <a:r>
                        <a:rPr lang="en-US" sz="2200" b="0" spc="5">
                          <a:effectLst/>
                        </a:rPr>
                        <a:t> </a:t>
                      </a:r>
                      <a:r>
                        <a:rPr lang="en-US" sz="2200" b="0">
                          <a:effectLst/>
                        </a:rPr>
                        <a:t>type of energy</a:t>
                      </a:r>
                      <a:r>
                        <a:rPr lang="en-US" sz="2200" b="0" spc="5">
                          <a:effectLst/>
                        </a:rPr>
                        <a:t> </a:t>
                      </a:r>
                      <a:r>
                        <a:rPr lang="en-US" sz="2200" b="0">
                          <a:effectLst/>
                        </a:rPr>
                        <a:t>carrier (e.g. natural</a:t>
                      </a:r>
                      <a:r>
                        <a:rPr lang="en-US" sz="2200" b="0" spc="-300">
                          <a:effectLst/>
                        </a:rPr>
                        <a:t> </a:t>
                      </a:r>
                      <a:r>
                        <a:rPr lang="en-US" sz="2200" b="0">
                          <a:effectLst/>
                        </a:rPr>
                        <a:t>gas, coal,</a:t>
                      </a:r>
                      <a:r>
                        <a:rPr lang="en-US" sz="2200" b="0" spc="5">
                          <a:effectLst/>
                        </a:rPr>
                        <a:t> </a:t>
                      </a:r>
                      <a:r>
                        <a:rPr lang="en-US" sz="2200" b="0">
                          <a:effectLst/>
                        </a:rPr>
                        <a:t>electricity,</a:t>
                      </a:r>
                      <a:r>
                        <a:rPr lang="en-US" sz="2200" b="0" spc="-15">
                          <a:effectLst/>
                        </a:rPr>
                        <a:t> </a:t>
                      </a:r>
                      <a:r>
                        <a:rPr lang="en-US" sz="2200" b="0">
                          <a:effectLst/>
                        </a:rPr>
                        <a:t>etc.)</a:t>
                      </a:r>
                      <a:endParaRPr lang="sv-SE" sz="2200" b="0">
                        <a:effectLst/>
                        <a:latin typeface="Arial MT"/>
                        <a:ea typeface="Arial MT"/>
                        <a:cs typeface="Arial MT"/>
                      </a:endParaRP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7310" indent="0">
                        <a:lnSpc>
                          <a:spcPct val="100000"/>
                        </a:lnSpc>
                        <a:spcBef>
                          <a:spcPts val="100"/>
                        </a:spcBef>
                      </a:pPr>
                      <a:r>
                        <a:rPr lang="en-US" sz="2200" b="0">
                          <a:effectLst/>
                        </a:rPr>
                        <a:t>[MJ/unit</a:t>
                      </a:r>
                      <a:r>
                        <a:rPr lang="en-US" sz="2200" b="0" spc="-10">
                          <a:effectLst/>
                        </a:rPr>
                        <a:t> </a:t>
                      </a:r>
                      <a:r>
                        <a:rPr lang="en-US" sz="2200" b="0">
                          <a:effectLst/>
                        </a:rPr>
                        <a:t>product]</a:t>
                      </a:r>
                      <a:endParaRPr lang="sv-SE" sz="2200" b="0">
                        <a:effectLst/>
                        <a:latin typeface="Arial MT"/>
                        <a:ea typeface="Arial MT"/>
                        <a:cs typeface="Arial MT"/>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7310" indent="0">
                        <a:lnSpc>
                          <a:spcPct val="100000"/>
                        </a:lnSpc>
                        <a:spcBef>
                          <a:spcPts val="100"/>
                        </a:spcBef>
                      </a:pPr>
                      <a:r>
                        <a:rPr lang="en-US" sz="2200" b="0">
                          <a:effectLst/>
                        </a:rPr>
                        <a:t>For</a:t>
                      </a:r>
                      <a:r>
                        <a:rPr lang="en-US" sz="2200" b="0" spc="-10">
                          <a:effectLst/>
                        </a:rPr>
                        <a:t> </a:t>
                      </a:r>
                      <a:r>
                        <a:rPr lang="en-US" sz="2200" b="0">
                          <a:effectLst/>
                        </a:rPr>
                        <a:t>all</a:t>
                      </a:r>
                      <a:r>
                        <a:rPr lang="en-US" sz="2200" b="0" spc="-10">
                          <a:effectLst/>
                        </a:rPr>
                        <a:t> </a:t>
                      </a:r>
                      <a:r>
                        <a:rPr lang="en-US" sz="2200" b="0">
                          <a:effectLst/>
                        </a:rPr>
                        <a:t>test</a:t>
                      </a:r>
                      <a:r>
                        <a:rPr lang="en-US" sz="2200" b="0" spc="-15">
                          <a:effectLst/>
                        </a:rPr>
                        <a:t> </a:t>
                      </a:r>
                      <a:r>
                        <a:rPr lang="en-US" sz="2200" b="0">
                          <a:effectLst/>
                        </a:rPr>
                        <a:t>cases</a:t>
                      </a:r>
                      <a:r>
                        <a:rPr lang="en-US" sz="2200" b="0" spc="-5">
                          <a:effectLst/>
                        </a:rPr>
                        <a:t> </a:t>
                      </a:r>
                      <a:r>
                        <a:rPr lang="en-US" sz="2200" b="0">
                          <a:effectLst/>
                        </a:rPr>
                        <a:t>but</a:t>
                      </a:r>
                      <a:r>
                        <a:rPr lang="en-US" sz="2200" b="0" spc="-10">
                          <a:effectLst/>
                        </a:rPr>
                        <a:t> </a:t>
                      </a:r>
                      <a:r>
                        <a:rPr lang="en-US" sz="2200" b="0">
                          <a:effectLst/>
                        </a:rPr>
                        <a:t>particularly</a:t>
                      </a:r>
                      <a:r>
                        <a:rPr lang="en-US" sz="2200" b="0" spc="-10">
                          <a:effectLst/>
                        </a:rPr>
                        <a:t> </a:t>
                      </a:r>
                      <a:r>
                        <a:rPr lang="en-US" sz="2200" b="0">
                          <a:effectLst/>
                        </a:rPr>
                        <a:t>for</a:t>
                      </a:r>
                      <a:r>
                        <a:rPr lang="en-US" sz="2200" b="0" spc="-20">
                          <a:effectLst/>
                        </a:rPr>
                        <a:t> </a:t>
                      </a:r>
                      <a:r>
                        <a:rPr lang="en-US" sz="2200" b="0">
                          <a:effectLst/>
                        </a:rPr>
                        <a:t>cases</a:t>
                      </a:r>
                      <a:r>
                        <a:rPr lang="en-US" sz="2200" b="0" spc="-5">
                          <a:effectLst/>
                        </a:rPr>
                        <a:t> </a:t>
                      </a:r>
                      <a:r>
                        <a:rPr lang="en-US" sz="2200" b="0">
                          <a:effectLst/>
                        </a:rPr>
                        <a:t>mentioned</a:t>
                      </a:r>
                      <a:r>
                        <a:rPr lang="en-US" sz="2200" b="0" spc="-10">
                          <a:effectLst/>
                        </a:rPr>
                        <a:t> </a:t>
                      </a:r>
                      <a:r>
                        <a:rPr lang="en-US" sz="2200" b="0">
                          <a:effectLst/>
                        </a:rPr>
                        <a:t>under</a:t>
                      </a:r>
                      <a:r>
                        <a:rPr lang="en-US" sz="2200" b="0" spc="-290">
                          <a:effectLst/>
                        </a:rPr>
                        <a:t> </a:t>
                      </a:r>
                      <a:r>
                        <a:rPr lang="en-US" sz="2200" b="0">
                          <a:effectLst/>
                        </a:rPr>
                        <a:t>primary</a:t>
                      </a:r>
                      <a:r>
                        <a:rPr lang="en-US" sz="2200" b="0" spc="-5">
                          <a:effectLst/>
                        </a:rPr>
                        <a:t> </a:t>
                      </a:r>
                      <a:r>
                        <a:rPr lang="en-US" sz="2200" b="0">
                          <a:effectLst/>
                        </a:rPr>
                        <a:t>energy consumption.</a:t>
                      </a:r>
                      <a:endParaRPr lang="sv-SE" sz="2200" b="0">
                        <a:effectLst/>
                        <a:latin typeface="Arial MT"/>
                        <a:ea typeface="Arial MT"/>
                        <a:cs typeface="Arial MT"/>
                      </a:endParaRPr>
                    </a:p>
                  </a:txBody>
                  <a:tcPr marL="0" marR="0" marT="0" marB="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761117443"/>
                  </a:ext>
                </a:extLst>
              </a:tr>
              <a:tr h="204774">
                <a:tc gridSpan="3">
                  <a:txBody>
                    <a:bodyPr/>
                    <a:lstStyle/>
                    <a:p>
                      <a:pPr marL="72390" indent="0" algn="l">
                        <a:lnSpc>
                          <a:spcPct val="100000"/>
                        </a:lnSpc>
                        <a:spcBef>
                          <a:spcPts val="470"/>
                        </a:spcBef>
                        <a:spcAft>
                          <a:spcPts val="0"/>
                        </a:spcAft>
                      </a:pPr>
                      <a:r>
                        <a:rPr lang="en-US" sz="2200" b="1">
                          <a:effectLst/>
                        </a:rPr>
                        <a:t>                                                        KRIs</a:t>
                      </a:r>
                      <a:r>
                        <a:rPr lang="en-US" sz="2200" b="1" spc="-15">
                          <a:effectLst/>
                        </a:rPr>
                        <a:t> </a:t>
                      </a:r>
                      <a:r>
                        <a:rPr lang="en-US" sz="2200" b="1">
                          <a:effectLst/>
                        </a:rPr>
                        <a:t>related</a:t>
                      </a:r>
                      <a:r>
                        <a:rPr lang="en-US" sz="2200" b="1" spc="-20">
                          <a:effectLst/>
                        </a:rPr>
                        <a:t> </a:t>
                      </a:r>
                      <a:r>
                        <a:rPr lang="en-US" sz="2200" b="1">
                          <a:effectLst/>
                        </a:rPr>
                        <a:t>to</a:t>
                      </a:r>
                      <a:r>
                        <a:rPr lang="en-US" sz="2200" b="1" spc="-20">
                          <a:effectLst/>
                        </a:rPr>
                        <a:t> </a:t>
                      </a:r>
                      <a:r>
                        <a:rPr lang="en-US" sz="2200" b="1">
                          <a:effectLst/>
                        </a:rPr>
                        <a:t>material</a:t>
                      </a:r>
                      <a:r>
                        <a:rPr lang="en-US" sz="2200" b="1" spc="-20">
                          <a:effectLst/>
                        </a:rPr>
                        <a:t> </a:t>
                      </a:r>
                      <a:r>
                        <a:rPr lang="en-US" sz="2200" b="1">
                          <a:effectLst/>
                        </a:rPr>
                        <a:t>flow</a:t>
                      </a:r>
                      <a:r>
                        <a:rPr lang="en-US" sz="2200" b="1" spc="-15">
                          <a:effectLst/>
                        </a:rPr>
                        <a:t> </a:t>
                      </a:r>
                      <a:r>
                        <a:rPr lang="en-US" sz="2200" b="1">
                          <a:effectLst/>
                        </a:rPr>
                        <a:t>and</a:t>
                      </a:r>
                      <a:r>
                        <a:rPr lang="en-US" sz="2200" b="1" spc="-25">
                          <a:effectLst/>
                        </a:rPr>
                        <a:t> </a:t>
                      </a:r>
                      <a:r>
                        <a:rPr lang="en-US" sz="2200" b="1">
                          <a:effectLst/>
                        </a:rPr>
                        <a:t>assessment</a:t>
                      </a:r>
                      <a:r>
                        <a:rPr lang="en-US" sz="2200" b="1" spc="-20">
                          <a:effectLst/>
                        </a:rPr>
                        <a:t> </a:t>
                      </a:r>
                      <a:r>
                        <a:rPr lang="en-US" sz="2200" b="1">
                          <a:effectLst/>
                        </a:rPr>
                        <a:t>of</a:t>
                      </a:r>
                      <a:r>
                        <a:rPr lang="en-US" sz="2200" b="1" spc="-20">
                          <a:effectLst/>
                        </a:rPr>
                        <a:t> </a:t>
                      </a:r>
                      <a:r>
                        <a:rPr lang="en-US" sz="2200" b="1">
                          <a:effectLst/>
                        </a:rPr>
                        <a:t>their</a:t>
                      </a:r>
                      <a:r>
                        <a:rPr lang="en-US" sz="2200" b="1" spc="-15">
                          <a:effectLst/>
                        </a:rPr>
                        <a:t> </a:t>
                      </a:r>
                      <a:r>
                        <a:rPr lang="en-US" sz="2200" b="1">
                          <a:effectLst/>
                        </a:rPr>
                        <a:t>relevance</a:t>
                      </a:r>
                      <a:endParaRPr lang="sv-SE" sz="2200" b="1">
                        <a:effectLst/>
                        <a:latin typeface="Arial MT"/>
                        <a:ea typeface="Arial MT"/>
                        <a:cs typeface="Arial MT"/>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hMerge="1">
                  <a:txBody>
                    <a:bodyPr/>
                    <a:lstStyle/>
                    <a:p>
                      <a:endParaRPr lang="sv-SE"/>
                    </a:p>
                  </a:txBody>
                  <a:tcPr>
                    <a:lnL>
                      <a:noFill/>
                    </a:lnL>
                    <a:lnT w="12700" cap="flat" cmpd="sng" algn="ctr">
                      <a:solidFill>
                        <a:schemeClr val="tx1"/>
                      </a:solidFill>
                      <a:prstDash val="solid"/>
                      <a:round/>
                      <a:headEnd type="none" w="med" len="med"/>
                      <a:tailEnd type="none" w="med" len="med"/>
                    </a:lnT>
                  </a:tcPr>
                </a:tc>
                <a:tc hMerge="1">
                  <a:txBody>
                    <a:bodyPr/>
                    <a:lstStyle/>
                    <a:p>
                      <a:endParaRPr lang="sv-SE"/>
                    </a:p>
                  </a:txBody>
                  <a:tcPr/>
                </a:tc>
                <a:extLst>
                  <a:ext uri="{0D108BD9-81ED-4DB2-BD59-A6C34878D82A}">
                    <a16:rowId xmlns:a16="http://schemas.microsoft.com/office/drawing/2014/main" val="384023565"/>
                  </a:ext>
                </a:extLst>
              </a:tr>
              <a:tr h="403342">
                <a:tc>
                  <a:txBody>
                    <a:bodyPr/>
                    <a:lstStyle/>
                    <a:p>
                      <a:pPr marL="67945" marR="146050" indent="0" algn="l">
                        <a:lnSpc>
                          <a:spcPct val="100000"/>
                        </a:lnSpc>
                        <a:spcBef>
                          <a:spcPts val="100"/>
                        </a:spcBef>
                        <a:spcAft>
                          <a:spcPts val="0"/>
                        </a:spcAft>
                      </a:pPr>
                      <a:r>
                        <a:rPr lang="en-US" sz="2200" b="0">
                          <a:effectLst/>
                        </a:rPr>
                        <a:t>Material intensity,</a:t>
                      </a:r>
                      <a:r>
                        <a:rPr lang="en-US" sz="2200" b="0" spc="5">
                          <a:effectLst/>
                        </a:rPr>
                        <a:t> </a:t>
                      </a:r>
                      <a:r>
                        <a:rPr lang="en-US" sz="2200" b="0">
                          <a:effectLst/>
                        </a:rPr>
                        <a:t>as in raw material</a:t>
                      </a:r>
                      <a:r>
                        <a:rPr lang="en-US" sz="2200" b="0" spc="-295">
                          <a:effectLst/>
                        </a:rPr>
                        <a:t> </a:t>
                      </a:r>
                      <a:r>
                        <a:rPr lang="en-US" sz="2200" b="0">
                          <a:effectLst/>
                        </a:rPr>
                        <a:t>per</a:t>
                      </a:r>
                      <a:r>
                        <a:rPr lang="en-US" sz="2200" b="0" spc="-30">
                          <a:effectLst/>
                        </a:rPr>
                        <a:t> </a:t>
                      </a:r>
                      <a:r>
                        <a:rPr lang="en-US" sz="2200" b="0">
                          <a:effectLst/>
                        </a:rPr>
                        <a:t>unit</a:t>
                      </a:r>
                      <a:r>
                        <a:rPr lang="en-US" sz="2200" b="0" spc="-25">
                          <a:effectLst/>
                        </a:rPr>
                        <a:t> </a:t>
                      </a:r>
                      <a:r>
                        <a:rPr lang="en-US" sz="2200" b="0">
                          <a:effectLst/>
                        </a:rPr>
                        <a:t>of</a:t>
                      </a:r>
                      <a:r>
                        <a:rPr lang="en-US" sz="2200" b="0" spc="-25">
                          <a:effectLst/>
                        </a:rPr>
                        <a:t> </a:t>
                      </a:r>
                      <a:r>
                        <a:rPr lang="en-US" sz="2200" b="0">
                          <a:effectLst/>
                        </a:rPr>
                        <a:t>product</a:t>
                      </a:r>
                      <a:endParaRPr lang="sv-SE" sz="2200" b="0">
                        <a:effectLst/>
                        <a:latin typeface="Arial MT"/>
                        <a:ea typeface="Arial MT"/>
                        <a:cs typeface="Arial MT"/>
                      </a:endParaRP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indent="0">
                        <a:lnSpc>
                          <a:spcPct val="100000"/>
                        </a:lnSpc>
                      </a:pPr>
                      <a:r>
                        <a:rPr lang="en-US" sz="2200" b="0">
                          <a:effectLst/>
                        </a:rPr>
                        <a:t>[kg/unit</a:t>
                      </a:r>
                      <a:r>
                        <a:rPr lang="en-US" sz="2200" b="0" spc="-10">
                          <a:effectLst/>
                        </a:rPr>
                        <a:t> </a:t>
                      </a:r>
                      <a:r>
                        <a:rPr lang="en-US" sz="2200" b="0">
                          <a:effectLst/>
                        </a:rPr>
                        <a:t>product]</a:t>
                      </a:r>
                      <a:endParaRPr lang="sv-SE" sz="2200" b="0"/>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marL="67310" indent="0">
                        <a:lnSpc>
                          <a:spcPct val="100000"/>
                        </a:lnSpc>
                        <a:spcBef>
                          <a:spcPts val="100"/>
                        </a:spcBef>
                        <a:spcAft>
                          <a:spcPts val="0"/>
                        </a:spcAft>
                      </a:pPr>
                      <a:r>
                        <a:rPr lang="en-US" sz="2200" b="0">
                          <a:effectLst/>
                        </a:rPr>
                        <a:t>Relevant</a:t>
                      </a:r>
                      <a:r>
                        <a:rPr lang="en-US" sz="2200" b="0" spc="-15">
                          <a:effectLst/>
                        </a:rPr>
                        <a:t> </a:t>
                      </a:r>
                      <a:r>
                        <a:rPr lang="en-US" sz="2200" b="0">
                          <a:effectLst/>
                        </a:rPr>
                        <a:t>for</a:t>
                      </a:r>
                      <a:r>
                        <a:rPr lang="en-US" sz="2200" b="0" spc="-15">
                          <a:effectLst/>
                        </a:rPr>
                        <a:t> </a:t>
                      </a:r>
                      <a:r>
                        <a:rPr lang="en-US" sz="2200" b="0">
                          <a:effectLst/>
                        </a:rPr>
                        <a:t>all</a:t>
                      </a:r>
                      <a:r>
                        <a:rPr lang="en-US" sz="2200" b="0" spc="-10">
                          <a:effectLst/>
                        </a:rPr>
                        <a:t> </a:t>
                      </a:r>
                      <a:r>
                        <a:rPr lang="en-US" sz="2200" b="0">
                          <a:effectLst/>
                        </a:rPr>
                        <a:t>test</a:t>
                      </a:r>
                      <a:r>
                        <a:rPr lang="en-US" sz="2200" b="0" spc="-15">
                          <a:effectLst/>
                        </a:rPr>
                        <a:t> </a:t>
                      </a:r>
                      <a:r>
                        <a:rPr lang="en-US" sz="2200" b="0">
                          <a:effectLst/>
                        </a:rPr>
                        <a:t>cases,</a:t>
                      </a:r>
                      <a:r>
                        <a:rPr lang="en-US" sz="2200" b="0" spc="-10">
                          <a:effectLst/>
                        </a:rPr>
                        <a:t> </a:t>
                      </a:r>
                      <a:r>
                        <a:rPr lang="en-US" sz="2200" b="0">
                          <a:effectLst/>
                        </a:rPr>
                        <a:t>as</a:t>
                      </a:r>
                      <a:r>
                        <a:rPr lang="en-US" sz="2200" b="0" spc="-10">
                          <a:effectLst/>
                        </a:rPr>
                        <a:t> </a:t>
                      </a:r>
                      <a:r>
                        <a:rPr lang="en-US" sz="2200" b="0">
                          <a:effectLst/>
                        </a:rPr>
                        <a:t>material</a:t>
                      </a:r>
                      <a:r>
                        <a:rPr lang="en-US" sz="2200" b="0" spc="-10">
                          <a:effectLst/>
                        </a:rPr>
                        <a:t> </a:t>
                      </a:r>
                      <a:r>
                        <a:rPr lang="en-US" sz="2200" b="0">
                          <a:effectLst/>
                        </a:rPr>
                        <a:t>intensity</a:t>
                      </a:r>
                      <a:r>
                        <a:rPr lang="en-US" sz="2200" b="0" spc="-10">
                          <a:effectLst/>
                        </a:rPr>
                        <a:t> </a:t>
                      </a:r>
                      <a:r>
                        <a:rPr lang="en-US" sz="2200" b="0">
                          <a:effectLst/>
                        </a:rPr>
                        <a:t>reductions</a:t>
                      </a:r>
                      <a:r>
                        <a:rPr lang="en-US" sz="2200" b="0" spc="-10">
                          <a:effectLst/>
                        </a:rPr>
                        <a:t> </a:t>
                      </a:r>
                      <a:r>
                        <a:rPr lang="en-US" sz="2200" b="0">
                          <a:effectLst/>
                        </a:rPr>
                        <a:t>are</a:t>
                      </a:r>
                      <a:r>
                        <a:rPr lang="en-US" sz="2200" b="0" spc="-295">
                          <a:effectLst/>
                        </a:rPr>
                        <a:t> </a:t>
                      </a:r>
                      <a:r>
                        <a:rPr lang="en-US" sz="2200" b="0">
                          <a:effectLst/>
                        </a:rPr>
                        <a:t>expected</a:t>
                      </a:r>
                      <a:r>
                        <a:rPr lang="en-US" sz="2200" b="0" spc="-5">
                          <a:effectLst/>
                        </a:rPr>
                        <a:t> </a:t>
                      </a:r>
                      <a:r>
                        <a:rPr lang="en-US" sz="2200" b="0">
                          <a:effectLst/>
                        </a:rPr>
                        <a:t>for</a:t>
                      </a:r>
                      <a:r>
                        <a:rPr lang="en-US" sz="2200" b="0" spc="-5">
                          <a:effectLst/>
                        </a:rPr>
                        <a:t> </a:t>
                      </a:r>
                      <a:r>
                        <a:rPr lang="en-US" sz="2200" b="0">
                          <a:effectLst/>
                        </a:rPr>
                        <a:t>all cases.</a:t>
                      </a:r>
                      <a:endParaRPr lang="sv-SE" sz="2200" b="0">
                        <a:effectLst/>
                        <a:latin typeface="Arial MT"/>
                        <a:ea typeface="Arial MT"/>
                        <a:cs typeface="Arial MT"/>
                      </a:endParaRPr>
                    </a:p>
                  </a:txBody>
                  <a:tcPr marL="0" marR="0" marT="0" marB="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51889971"/>
                  </a:ext>
                </a:extLst>
              </a:tr>
              <a:tr h="1176414">
                <a:tc>
                  <a:txBody>
                    <a:bodyPr/>
                    <a:lstStyle/>
                    <a:p>
                      <a:pPr marL="67945" marR="204470" indent="0" algn="l">
                        <a:lnSpc>
                          <a:spcPct val="100000"/>
                        </a:lnSpc>
                        <a:spcBef>
                          <a:spcPts val="100"/>
                        </a:spcBef>
                        <a:spcAft>
                          <a:spcPts val="0"/>
                        </a:spcAft>
                      </a:pPr>
                      <a:r>
                        <a:rPr lang="en-US" sz="2200" b="0">
                          <a:effectLst/>
                        </a:rPr>
                        <a:t>Input of waste/by</a:t>
                      </a:r>
                      <a:r>
                        <a:rPr lang="en-US" sz="2200" b="0" spc="-295">
                          <a:effectLst/>
                        </a:rPr>
                        <a:t> </a:t>
                      </a:r>
                      <a:r>
                        <a:rPr lang="en-US" sz="2200" b="0">
                          <a:effectLst/>
                        </a:rPr>
                        <a:t>products as raw</a:t>
                      </a:r>
                      <a:r>
                        <a:rPr lang="en-US" sz="2200" b="0" spc="5">
                          <a:effectLst/>
                        </a:rPr>
                        <a:t> </a:t>
                      </a:r>
                      <a:r>
                        <a:rPr lang="en-US" sz="2200" b="0">
                          <a:effectLst/>
                        </a:rPr>
                        <a:t>material (not</a:t>
                      </a:r>
                      <a:r>
                        <a:rPr lang="en-US" sz="2200" b="0" spc="5">
                          <a:effectLst/>
                        </a:rPr>
                        <a:t> </a:t>
                      </a:r>
                      <a:r>
                        <a:rPr lang="en-US" sz="2200" b="0">
                          <a:effectLst/>
                        </a:rPr>
                        <a:t>energy</a:t>
                      </a:r>
                      <a:r>
                        <a:rPr lang="en-US" sz="2200" b="0" spc="305">
                          <a:effectLst/>
                        </a:rPr>
                        <a:t> </a:t>
                      </a:r>
                      <a:r>
                        <a:rPr lang="en-US" sz="2200" b="0">
                          <a:effectLst/>
                        </a:rPr>
                        <a:t>carrier)</a:t>
                      </a:r>
                      <a:r>
                        <a:rPr lang="en-US" sz="2200" b="0" spc="5">
                          <a:effectLst/>
                        </a:rPr>
                        <a:t> </a:t>
                      </a:r>
                      <a:r>
                        <a:rPr lang="en-US" sz="2200" b="0">
                          <a:effectLst/>
                        </a:rPr>
                        <a:t>or</a:t>
                      </a:r>
                      <a:endParaRPr lang="sv-SE" sz="2200" b="0">
                        <a:effectLst/>
                      </a:endParaRPr>
                    </a:p>
                    <a:p>
                      <a:pPr marL="67945" marR="235585" indent="0" algn="l">
                        <a:lnSpc>
                          <a:spcPct val="100000"/>
                        </a:lnSpc>
                        <a:spcBef>
                          <a:spcPts val="100"/>
                        </a:spcBef>
                        <a:spcAft>
                          <a:spcPts val="0"/>
                        </a:spcAft>
                      </a:pPr>
                      <a:r>
                        <a:rPr lang="en-US" sz="2200" b="0">
                          <a:effectLst/>
                        </a:rPr>
                        <a:t>Input of recycled</a:t>
                      </a:r>
                      <a:r>
                        <a:rPr lang="en-US" sz="2200" b="0" spc="-295">
                          <a:effectLst/>
                        </a:rPr>
                        <a:t> </a:t>
                      </a:r>
                      <a:r>
                        <a:rPr lang="en-US" sz="2200" b="0">
                          <a:effectLst/>
                        </a:rPr>
                        <a:t>material</a:t>
                      </a:r>
                      <a:endParaRPr lang="sv-SE" sz="2200" b="0">
                        <a:effectLst/>
                        <a:latin typeface="Arial MT"/>
                        <a:ea typeface="Arial MT"/>
                        <a:cs typeface="Arial MT"/>
                      </a:endParaRP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7310" indent="0">
                        <a:lnSpc>
                          <a:spcPct val="100000"/>
                        </a:lnSpc>
                        <a:spcBef>
                          <a:spcPts val="100"/>
                        </a:spcBef>
                        <a:spcAft>
                          <a:spcPts val="0"/>
                        </a:spcAft>
                      </a:pPr>
                      <a:r>
                        <a:rPr lang="en-US" sz="2200" b="0">
                          <a:effectLst/>
                        </a:rPr>
                        <a:t>[%]</a:t>
                      </a:r>
                      <a:endParaRPr lang="sv-SE" sz="2200" b="0">
                        <a:effectLst/>
                      </a:endParaRPr>
                    </a:p>
                    <a:p>
                      <a:pPr marL="67945" indent="0">
                        <a:lnSpc>
                          <a:spcPct val="100000"/>
                        </a:lnSpc>
                        <a:spcBef>
                          <a:spcPts val="100"/>
                        </a:spcBef>
                        <a:spcAft>
                          <a:spcPts val="0"/>
                        </a:spcAft>
                      </a:pPr>
                      <a:r>
                        <a:rPr lang="en-US" sz="2200" b="0">
                          <a:effectLst/>
                        </a:rPr>
                        <a:t> </a:t>
                      </a:r>
                      <a:endParaRPr lang="sv-SE" sz="2200" b="0">
                        <a:effectLst/>
                      </a:endParaRPr>
                    </a:p>
                    <a:p>
                      <a:pPr marL="67310" indent="0">
                        <a:lnSpc>
                          <a:spcPct val="100000"/>
                        </a:lnSpc>
                        <a:spcBef>
                          <a:spcPts val="100"/>
                        </a:spcBef>
                        <a:spcAft>
                          <a:spcPts val="0"/>
                        </a:spcAft>
                      </a:pPr>
                      <a:r>
                        <a:rPr lang="en-US" sz="2200" b="0">
                          <a:effectLst/>
                        </a:rPr>
                        <a:t>[kg/unit</a:t>
                      </a:r>
                      <a:r>
                        <a:rPr lang="en-US" sz="2200" b="0" spc="-10">
                          <a:effectLst/>
                        </a:rPr>
                        <a:t> </a:t>
                      </a:r>
                      <a:r>
                        <a:rPr lang="en-US" sz="2200" b="0">
                          <a:effectLst/>
                        </a:rPr>
                        <a:t>product]</a:t>
                      </a:r>
                      <a:endParaRPr lang="sv-SE" sz="2200" b="0"/>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7945" marR="645160" indent="0">
                        <a:lnSpc>
                          <a:spcPct val="100000"/>
                        </a:lnSpc>
                        <a:spcBef>
                          <a:spcPts val="100"/>
                        </a:spcBef>
                        <a:spcAft>
                          <a:spcPts val="0"/>
                        </a:spcAft>
                      </a:pPr>
                      <a:r>
                        <a:rPr lang="en-US" sz="2200" b="0">
                          <a:effectLst/>
                        </a:rPr>
                        <a:t>Relevant for all test cases as waste reductions are also</a:t>
                      </a:r>
                      <a:r>
                        <a:rPr lang="en-US" sz="2200" b="0" spc="-300">
                          <a:effectLst/>
                        </a:rPr>
                        <a:t> </a:t>
                      </a:r>
                      <a:r>
                        <a:rPr lang="en-US" sz="2200" b="0">
                          <a:effectLst/>
                        </a:rPr>
                        <a:t>expected,</a:t>
                      </a:r>
                      <a:r>
                        <a:rPr lang="en-US" sz="2200" b="0" spc="-5">
                          <a:effectLst/>
                        </a:rPr>
                        <a:t> </a:t>
                      </a:r>
                      <a:r>
                        <a:rPr lang="en-US" sz="2200" b="0">
                          <a:effectLst/>
                        </a:rPr>
                        <a:t>but particularly for the:</a:t>
                      </a:r>
                      <a:endParaRPr lang="sv-SE" sz="2200" b="0">
                        <a:effectLst/>
                      </a:endParaRPr>
                    </a:p>
                    <a:p>
                      <a:pPr marL="342900" marR="378460" lvl="0" indent="0">
                        <a:lnSpc>
                          <a:spcPct val="100000"/>
                        </a:lnSpc>
                        <a:spcBef>
                          <a:spcPts val="100"/>
                        </a:spcBef>
                        <a:spcAft>
                          <a:spcPts val="0"/>
                        </a:spcAft>
                        <a:buClr>
                          <a:srgbClr val="3E3E3E"/>
                        </a:buClr>
                        <a:buSzPts val="1100"/>
                        <a:buFont typeface="Symbol" panose="05050102010706020507" pitchFamily="18" charset="2"/>
                        <a:buChar char=""/>
                        <a:tabLst>
                          <a:tab pos="525145" algn="l"/>
                          <a:tab pos="525780" algn="l"/>
                        </a:tabLst>
                      </a:pPr>
                      <a:r>
                        <a:rPr lang="en-US" sz="2200" b="0">
                          <a:effectLst/>
                        </a:rPr>
                        <a:t>aluminum case which aims at increasing the input of</a:t>
                      </a:r>
                      <a:r>
                        <a:rPr lang="en-US" sz="2200" b="0" spc="-300">
                          <a:effectLst/>
                        </a:rPr>
                        <a:t> </a:t>
                      </a:r>
                      <a:r>
                        <a:rPr lang="en-US" sz="2200" b="0">
                          <a:effectLst/>
                        </a:rPr>
                        <a:t>scrap</a:t>
                      </a:r>
                      <a:endParaRPr lang="sv-SE" sz="2200" b="0">
                        <a:effectLst/>
                      </a:endParaRPr>
                    </a:p>
                    <a:p>
                      <a:pPr marL="342900" marR="525780" lvl="0" indent="0">
                        <a:lnSpc>
                          <a:spcPct val="100000"/>
                        </a:lnSpc>
                        <a:spcBef>
                          <a:spcPts val="100"/>
                        </a:spcBef>
                        <a:spcAft>
                          <a:spcPts val="0"/>
                        </a:spcAft>
                        <a:buClr>
                          <a:srgbClr val="3E3E3E"/>
                        </a:buClr>
                        <a:buSzPts val="1100"/>
                        <a:buFont typeface="Symbol" panose="05050102010706020507" pitchFamily="18" charset="2"/>
                        <a:buChar char=""/>
                        <a:tabLst>
                          <a:tab pos="525145" algn="l"/>
                          <a:tab pos="525780" algn="l"/>
                        </a:tabLst>
                      </a:pPr>
                      <a:r>
                        <a:rPr lang="en-US" sz="2200" b="0">
                          <a:effectLst/>
                        </a:rPr>
                        <a:t>ceramic case which aims at reducing raw material</a:t>
                      </a:r>
                      <a:r>
                        <a:rPr lang="en-US" sz="2200" b="0" spc="-295">
                          <a:effectLst/>
                        </a:rPr>
                        <a:t> </a:t>
                      </a:r>
                      <a:r>
                        <a:rPr lang="en-US" sz="2200" b="0">
                          <a:effectLst/>
                        </a:rPr>
                        <a:t>consumption</a:t>
                      </a:r>
                      <a:endParaRPr lang="sv-SE" sz="2200" b="0">
                        <a:effectLst/>
                      </a:endParaRPr>
                    </a:p>
                    <a:p>
                      <a:pPr marL="342900" marR="160655" lvl="0" indent="0">
                        <a:lnSpc>
                          <a:spcPct val="100000"/>
                        </a:lnSpc>
                        <a:spcBef>
                          <a:spcPts val="100"/>
                        </a:spcBef>
                        <a:spcAft>
                          <a:spcPts val="0"/>
                        </a:spcAft>
                        <a:buClr>
                          <a:srgbClr val="3E3E3E"/>
                        </a:buClr>
                        <a:buSzPts val="1100"/>
                        <a:buFont typeface="Symbol" panose="05050102010706020507" pitchFamily="18" charset="2"/>
                        <a:buChar char=""/>
                        <a:tabLst>
                          <a:tab pos="525145" algn="l"/>
                          <a:tab pos="525780" algn="l"/>
                        </a:tabLst>
                      </a:pPr>
                      <a:r>
                        <a:rPr lang="en-US" sz="2200" b="0">
                          <a:effectLst/>
                        </a:rPr>
                        <a:t>fertilizer case which aims at using alternative sources of</a:t>
                      </a:r>
                      <a:r>
                        <a:rPr lang="en-US" sz="2200" b="0" spc="-295">
                          <a:effectLst/>
                        </a:rPr>
                        <a:t> </a:t>
                      </a:r>
                      <a:r>
                        <a:rPr lang="en-US" sz="2200" b="0">
                          <a:effectLst/>
                        </a:rPr>
                        <a:t>phosphate</a:t>
                      </a:r>
                      <a:r>
                        <a:rPr lang="en-US" sz="2200" b="0" spc="-5">
                          <a:effectLst/>
                        </a:rPr>
                        <a:t> </a:t>
                      </a:r>
                      <a:r>
                        <a:rPr lang="en-US" sz="2200" b="0">
                          <a:effectLst/>
                        </a:rPr>
                        <a:t>(P), sulfur</a:t>
                      </a:r>
                      <a:r>
                        <a:rPr lang="en-US" sz="2200" b="0" spc="-5">
                          <a:effectLst/>
                        </a:rPr>
                        <a:t> </a:t>
                      </a:r>
                      <a:r>
                        <a:rPr lang="en-US" sz="2200" b="0">
                          <a:effectLst/>
                        </a:rPr>
                        <a:t>(S) and</a:t>
                      </a:r>
                      <a:r>
                        <a:rPr lang="en-US" sz="2200" b="0" spc="-5">
                          <a:effectLst/>
                        </a:rPr>
                        <a:t> </a:t>
                      </a:r>
                      <a:r>
                        <a:rPr lang="en-US" sz="2200" b="0">
                          <a:effectLst/>
                        </a:rPr>
                        <a:t>potassium</a:t>
                      </a:r>
                      <a:r>
                        <a:rPr lang="en-US" sz="2200" b="0" spc="-5">
                          <a:effectLst/>
                        </a:rPr>
                        <a:t> </a:t>
                      </a:r>
                      <a:r>
                        <a:rPr lang="en-US" sz="2200" b="0">
                          <a:effectLst/>
                        </a:rPr>
                        <a:t>(K).</a:t>
                      </a:r>
                      <a:endParaRPr lang="sv-SE" sz="2200" b="0">
                        <a:effectLst/>
                        <a:latin typeface="Arial MT"/>
                        <a:ea typeface="Arial MT"/>
                        <a:cs typeface="Arial MT"/>
                      </a:endParaRPr>
                    </a:p>
                  </a:txBody>
                  <a:tcPr marL="0" marR="0" marT="0" marB="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41457733"/>
                  </a:ext>
                </a:extLst>
              </a:tr>
              <a:tr h="268895">
                <a:tc>
                  <a:txBody>
                    <a:bodyPr/>
                    <a:lstStyle/>
                    <a:p>
                      <a:pPr marL="67945" marR="235585" indent="0">
                        <a:lnSpc>
                          <a:spcPct val="100000"/>
                        </a:lnSpc>
                        <a:spcBef>
                          <a:spcPts val="100"/>
                        </a:spcBef>
                        <a:spcAft>
                          <a:spcPts val="0"/>
                        </a:spcAft>
                      </a:pPr>
                      <a:r>
                        <a:rPr lang="en-US" sz="2200" b="0">
                          <a:effectLst/>
                        </a:rPr>
                        <a:t>Abiotic depletion</a:t>
                      </a:r>
                      <a:r>
                        <a:rPr lang="en-US" sz="2200" b="0" spc="-295">
                          <a:effectLst/>
                        </a:rPr>
                        <a:t> </a:t>
                      </a:r>
                    </a:p>
                    <a:p>
                      <a:pPr marL="67945" marR="235585" indent="0">
                        <a:lnSpc>
                          <a:spcPct val="100000"/>
                        </a:lnSpc>
                        <a:spcBef>
                          <a:spcPts val="100"/>
                        </a:spcBef>
                        <a:spcAft>
                          <a:spcPts val="0"/>
                        </a:spcAft>
                      </a:pPr>
                      <a:r>
                        <a:rPr lang="en-US" sz="2200" b="0">
                          <a:effectLst/>
                        </a:rPr>
                        <a:t>Fossil</a:t>
                      </a:r>
                      <a:r>
                        <a:rPr lang="en-US" sz="2200" b="0" spc="-10">
                          <a:effectLst/>
                        </a:rPr>
                        <a:t> </a:t>
                      </a:r>
                      <a:r>
                        <a:rPr lang="en-US" sz="2200" b="0">
                          <a:effectLst/>
                        </a:rPr>
                        <a:t>depletion</a:t>
                      </a:r>
                      <a:endParaRPr lang="sv-SE" sz="2200" b="0">
                        <a:effectLst/>
                        <a:latin typeface="Arial MT"/>
                        <a:ea typeface="Arial MT"/>
                        <a:cs typeface="Arial MT"/>
                      </a:endParaRP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indent="0">
                        <a:lnSpc>
                          <a:spcPct val="100000"/>
                        </a:lnSpc>
                      </a:pPr>
                      <a:r>
                        <a:rPr lang="en-US" sz="2200" b="0">
                          <a:effectLst/>
                        </a:rPr>
                        <a:t>[kg</a:t>
                      </a:r>
                      <a:r>
                        <a:rPr lang="en-US" sz="2200" b="0" spc="-30">
                          <a:effectLst/>
                        </a:rPr>
                        <a:t> </a:t>
                      </a:r>
                      <a:r>
                        <a:rPr lang="en-US" sz="2200" b="0">
                          <a:effectLst/>
                        </a:rPr>
                        <a:t>Sb</a:t>
                      </a:r>
                      <a:r>
                        <a:rPr lang="en-US" sz="2200" b="0" spc="-25">
                          <a:effectLst/>
                        </a:rPr>
                        <a:t> </a:t>
                      </a:r>
                      <a:r>
                        <a:rPr lang="en-US" sz="2200" b="0">
                          <a:effectLst/>
                        </a:rPr>
                        <a:t>eq/</a:t>
                      </a:r>
                      <a:r>
                        <a:rPr lang="en-US" sz="2200" b="0" spc="-30">
                          <a:effectLst/>
                        </a:rPr>
                        <a:t> </a:t>
                      </a:r>
                      <a:r>
                        <a:rPr lang="en-US" sz="2200" b="0">
                          <a:effectLst/>
                        </a:rPr>
                        <a:t>FU]</a:t>
                      </a:r>
                      <a:r>
                        <a:rPr lang="en-US" sz="2200" b="0" spc="-290">
                          <a:effectLst/>
                        </a:rPr>
                        <a:t> </a:t>
                      </a:r>
                    </a:p>
                    <a:p>
                      <a:pPr indent="0">
                        <a:lnSpc>
                          <a:spcPct val="100000"/>
                        </a:lnSpc>
                      </a:pPr>
                      <a:r>
                        <a:rPr lang="en-US" sz="2200" b="0">
                          <a:effectLst/>
                        </a:rPr>
                        <a:t>[kg</a:t>
                      </a:r>
                      <a:r>
                        <a:rPr lang="en-US" sz="2200" b="0" spc="-10">
                          <a:effectLst/>
                        </a:rPr>
                        <a:t> </a:t>
                      </a:r>
                      <a:r>
                        <a:rPr lang="en-US" sz="2200" b="0">
                          <a:effectLst/>
                        </a:rPr>
                        <a:t>oil</a:t>
                      </a:r>
                      <a:r>
                        <a:rPr lang="en-US" sz="2200" b="0" spc="-5">
                          <a:effectLst/>
                        </a:rPr>
                        <a:t> </a:t>
                      </a:r>
                      <a:r>
                        <a:rPr lang="en-US" sz="2200" b="0">
                          <a:effectLst/>
                        </a:rPr>
                        <a:t>eq/</a:t>
                      </a:r>
                      <a:r>
                        <a:rPr lang="en-US" sz="2200" b="0" spc="-5">
                          <a:effectLst/>
                        </a:rPr>
                        <a:t> </a:t>
                      </a:r>
                      <a:r>
                        <a:rPr lang="en-US" sz="2200" b="0">
                          <a:effectLst/>
                        </a:rPr>
                        <a:t>FU]</a:t>
                      </a:r>
                      <a:endParaRPr lang="sv-SE" sz="2200" b="0"/>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67310" marR="650240" indent="0">
                        <a:lnSpc>
                          <a:spcPct val="100000"/>
                        </a:lnSpc>
                        <a:spcBef>
                          <a:spcPts val="100"/>
                        </a:spcBef>
                        <a:spcAft>
                          <a:spcPts val="0"/>
                        </a:spcAft>
                      </a:pPr>
                      <a:r>
                        <a:rPr lang="en-US" sz="2200" b="0">
                          <a:effectLst/>
                        </a:rPr>
                        <a:t>Relevant</a:t>
                      </a:r>
                      <a:r>
                        <a:rPr lang="en-US" sz="2200" b="0" spc="-10">
                          <a:effectLst/>
                        </a:rPr>
                        <a:t> </a:t>
                      </a:r>
                      <a:r>
                        <a:rPr lang="en-US" sz="2200" b="0">
                          <a:effectLst/>
                        </a:rPr>
                        <a:t>for</a:t>
                      </a:r>
                      <a:r>
                        <a:rPr lang="en-US" sz="2200" b="0" spc="-15">
                          <a:effectLst/>
                        </a:rPr>
                        <a:t> </a:t>
                      </a:r>
                      <a:r>
                        <a:rPr lang="en-US" sz="2200" b="0">
                          <a:effectLst/>
                        </a:rPr>
                        <a:t>all</a:t>
                      </a:r>
                      <a:r>
                        <a:rPr lang="en-US" sz="2200" b="0" spc="-10">
                          <a:effectLst/>
                        </a:rPr>
                        <a:t> </a:t>
                      </a:r>
                      <a:r>
                        <a:rPr lang="en-US" sz="2200" b="0">
                          <a:effectLst/>
                        </a:rPr>
                        <a:t>test</a:t>
                      </a:r>
                      <a:r>
                        <a:rPr lang="en-US" sz="2200" b="0" spc="-15">
                          <a:effectLst/>
                        </a:rPr>
                        <a:t> </a:t>
                      </a:r>
                      <a:r>
                        <a:rPr lang="en-US" sz="2200" b="0">
                          <a:effectLst/>
                        </a:rPr>
                        <a:t>cases,</a:t>
                      </a:r>
                      <a:r>
                        <a:rPr lang="en-US" sz="2200" b="0" spc="-5">
                          <a:effectLst/>
                        </a:rPr>
                        <a:t> </a:t>
                      </a:r>
                      <a:r>
                        <a:rPr lang="en-US" sz="2200" b="0">
                          <a:effectLst/>
                        </a:rPr>
                        <a:t>as</a:t>
                      </a:r>
                      <a:r>
                        <a:rPr lang="en-US" sz="2200" b="0" spc="-10">
                          <a:effectLst/>
                        </a:rPr>
                        <a:t> </a:t>
                      </a:r>
                      <a:r>
                        <a:rPr lang="en-US" sz="2200" b="0">
                          <a:effectLst/>
                        </a:rPr>
                        <a:t>reductions</a:t>
                      </a:r>
                      <a:r>
                        <a:rPr lang="en-US" sz="2200" b="0" spc="-10">
                          <a:effectLst/>
                        </a:rPr>
                        <a:t> </a:t>
                      </a:r>
                      <a:r>
                        <a:rPr lang="en-US" sz="2200" b="0">
                          <a:effectLst/>
                        </a:rPr>
                        <a:t>of</a:t>
                      </a:r>
                      <a:r>
                        <a:rPr lang="en-US" sz="2200" b="0" spc="-10">
                          <a:effectLst/>
                        </a:rPr>
                        <a:t> </a:t>
                      </a:r>
                      <a:r>
                        <a:rPr lang="en-US" sz="2200" b="0">
                          <a:effectLst/>
                        </a:rPr>
                        <a:t>fossil</a:t>
                      </a:r>
                      <a:r>
                        <a:rPr lang="en-US" sz="2200" b="0" spc="-15">
                          <a:effectLst/>
                        </a:rPr>
                        <a:t> </a:t>
                      </a:r>
                      <a:r>
                        <a:rPr lang="en-US" sz="2200" b="0">
                          <a:effectLst/>
                        </a:rPr>
                        <a:t>feedstock</a:t>
                      </a:r>
                      <a:r>
                        <a:rPr lang="en-US" sz="2200" b="0" spc="-10">
                          <a:effectLst/>
                        </a:rPr>
                        <a:t> </a:t>
                      </a:r>
                      <a:r>
                        <a:rPr lang="en-US" sz="2200" b="0">
                          <a:effectLst/>
                        </a:rPr>
                        <a:t>are</a:t>
                      </a:r>
                      <a:r>
                        <a:rPr lang="en-US" sz="2200" b="0" spc="-290">
                          <a:effectLst/>
                        </a:rPr>
                        <a:t> </a:t>
                      </a:r>
                      <a:r>
                        <a:rPr lang="en-US" sz="2200" b="0">
                          <a:effectLst/>
                        </a:rPr>
                        <a:t>expected</a:t>
                      </a:r>
                      <a:r>
                        <a:rPr lang="en-US" sz="2200" b="0" spc="-5">
                          <a:effectLst/>
                        </a:rPr>
                        <a:t> </a:t>
                      </a:r>
                      <a:r>
                        <a:rPr lang="en-US" sz="2200" b="0">
                          <a:effectLst/>
                        </a:rPr>
                        <a:t>in</a:t>
                      </a:r>
                      <a:r>
                        <a:rPr lang="en-US" sz="2200" b="0" spc="-5">
                          <a:effectLst/>
                        </a:rPr>
                        <a:t> </a:t>
                      </a:r>
                      <a:r>
                        <a:rPr lang="en-US" sz="2200" b="0">
                          <a:effectLst/>
                        </a:rPr>
                        <a:t>all pilot</a:t>
                      </a:r>
                      <a:r>
                        <a:rPr lang="en-US" sz="2200" b="0" spc="-5">
                          <a:effectLst/>
                        </a:rPr>
                        <a:t> </a:t>
                      </a:r>
                      <a:r>
                        <a:rPr lang="en-US" sz="2200" b="0">
                          <a:effectLst/>
                        </a:rPr>
                        <a:t>cases.</a:t>
                      </a:r>
                      <a:endParaRPr lang="sv-SE" sz="2200" b="0">
                        <a:effectLst/>
                        <a:latin typeface="Arial MT"/>
                        <a:ea typeface="Arial MT"/>
                        <a:cs typeface="Arial MT"/>
                      </a:endParaRPr>
                    </a:p>
                  </a:txBody>
                  <a:tcPr marL="0" marR="0" marT="0" marB="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3171461696"/>
                  </a:ext>
                </a:extLst>
              </a:tr>
            </a:tbl>
          </a:graphicData>
        </a:graphic>
      </p:graphicFrame>
    </p:spTree>
    <p:extLst>
      <p:ext uri="{BB962C8B-B14F-4D97-AF65-F5344CB8AC3E}">
        <p14:creationId xmlns:p14="http://schemas.microsoft.com/office/powerpoint/2010/main" val="51580628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uppo 16">
            <a:extLst>
              <a:ext uri="{FF2B5EF4-FFF2-40B4-BE49-F238E27FC236}">
                <a16:creationId xmlns:a16="http://schemas.microsoft.com/office/drawing/2014/main" id="{7BACCD1F-9686-4087-BB33-F20CE26B709A}"/>
              </a:ext>
            </a:extLst>
          </p:cNvPr>
          <p:cNvGrpSpPr/>
          <p:nvPr/>
        </p:nvGrpSpPr>
        <p:grpSpPr>
          <a:xfrm>
            <a:off x="4329146" y="9679208"/>
            <a:ext cx="13958844" cy="666567"/>
            <a:chOff x="4329156" y="9649198"/>
            <a:chExt cx="13958844" cy="666567"/>
          </a:xfrm>
        </p:grpSpPr>
        <p:pic>
          <p:nvPicPr>
            <p:cNvPr id="5" name="Picture 12">
              <a:extLst>
                <a:ext uri="{FF2B5EF4-FFF2-40B4-BE49-F238E27FC236}">
                  <a16:creationId xmlns:a16="http://schemas.microsoft.com/office/drawing/2014/main" id="{56D2B9EA-B725-488F-A1CD-57C637EB525D}"/>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6" name="TextBox 16">
              <a:extLst>
                <a:ext uri="{FF2B5EF4-FFF2-40B4-BE49-F238E27FC236}">
                  <a16:creationId xmlns:a16="http://schemas.microsoft.com/office/drawing/2014/main" id="{D6E5CF12-E17F-41D4-9F41-C479FC06588E}"/>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pic>
        <p:nvPicPr>
          <p:cNvPr id="7" name="Picture 12">
            <a:extLst>
              <a:ext uri="{FF2B5EF4-FFF2-40B4-BE49-F238E27FC236}">
                <a16:creationId xmlns:a16="http://schemas.microsoft.com/office/drawing/2014/main" id="{6C29DD11-0A0B-4A67-A938-80795ACCB8E5}"/>
              </a:ext>
            </a:extLst>
          </p:cNvPr>
          <p:cNvPicPr>
            <a:picLocks noChangeAspect="1"/>
          </p:cNvPicPr>
          <p:nvPr/>
        </p:nvPicPr>
        <p:blipFill>
          <a:blip r:embed="rId4"/>
          <a:srcRect/>
          <a:stretch>
            <a:fillRect/>
          </a:stretch>
        </p:blipFill>
        <p:spPr>
          <a:xfrm>
            <a:off x="0" y="8901113"/>
            <a:ext cx="5715000" cy="1385887"/>
          </a:xfrm>
          <a:prstGeom prst="rect">
            <a:avLst/>
          </a:prstGeom>
        </p:spPr>
      </p:pic>
      <p:grpSp>
        <p:nvGrpSpPr>
          <p:cNvPr id="8" name="Gruppo 2">
            <a:extLst>
              <a:ext uri="{FF2B5EF4-FFF2-40B4-BE49-F238E27FC236}">
                <a16:creationId xmlns:a16="http://schemas.microsoft.com/office/drawing/2014/main" id="{E24A5B4F-EDDE-494A-BE11-CFD865411C1E}"/>
              </a:ext>
            </a:extLst>
          </p:cNvPr>
          <p:cNvGrpSpPr/>
          <p:nvPr/>
        </p:nvGrpSpPr>
        <p:grpSpPr>
          <a:xfrm>
            <a:off x="-12" y="138554"/>
            <a:ext cx="18288002" cy="681138"/>
            <a:chOff x="-12" y="138554"/>
            <a:chExt cx="18288002" cy="681138"/>
          </a:xfrm>
        </p:grpSpPr>
        <p:grpSp>
          <p:nvGrpSpPr>
            <p:cNvPr id="9" name="Gruppo 1">
              <a:extLst>
                <a:ext uri="{FF2B5EF4-FFF2-40B4-BE49-F238E27FC236}">
                  <a16:creationId xmlns:a16="http://schemas.microsoft.com/office/drawing/2014/main" id="{A4DF8892-F815-45A4-AB48-B1972224F71C}"/>
                </a:ext>
              </a:extLst>
            </p:cNvPr>
            <p:cNvGrpSpPr/>
            <p:nvPr/>
          </p:nvGrpSpPr>
          <p:grpSpPr>
            <a:xfrm>
              <a:off x="0" y="153125"/>
              <a:ext cx="17907000" cy="666567"/>
              <a:chOff x="0" y="153125"/>
              <a:chExt cx="17907000" cy="666567"/>
            </a:xfrm>
          </p:grpSpPr>
          <p:grpSp>
            <p:nvGrpSpPr>
              <p:cNvPr id="11" name="Gruppo 15">
                <a:extLst>
                  <a:ext uri="{FF2B5EF4-FFF2-40B4-BE49-F238E27FC236}">
                    <a16:creationId xmlns:a16="http://schemas.microsoft.com/office/drawing/2014/main" id="{948F7F4C-E54E-42B1-A753-48D74BBDC713}"/>
                  </a:ext>
                </a:extLst>
              </p:cNvPr>
              <p:cNvGrpSpPr/>
              <p:nvPr/>
            </p:nvGrpSpPr>
            <p:grpSpPr>
              <a:xfrm>
                <a:off x="0" y="153125"/>
                <a:ext cx="13958844" cy="666567"/>
                <a:chOff x="0" y="153125"/>
                <a:chExt cx="13958844" cy="666567"/>
              </a:xfrm>
            </p:grpSpPr>
            <p:pic>
              <p:nvPicPr>
                <p:cNvPr id="13" name="Picture 10">
                  <a:extLst>
                    <a:ext uri="{FF2B5EF4-FFF2-40B4-BE49-F238E27FC236}">
                      <a16:creationId xmlns:a16="http://schemas.microsoft.com/office/drawing/2014/main" id="{07561B61-D593-4693-8104-16C3072C1262}"/>
                    </a:ext>
                  </a:extLst>
                </p:cNvPr>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4" name="TextBox 11">
                  <a:extLst>
                    <a:ext uri="{FF2B5EF4-FFF2-40B4-BE49-F238E27FC236}">
                      <a16:creationId xmlns:a16="http://schemas.microsoft.com/office/drawing/2014/main" id="{7E61F482-2C19-4060-B41E-C2F6869449D3}"/>
                    </a:ext>
                  </a:extLst>
                </p:cNvPr>
                <p:cNvSpPr txBox="1"/>
                <p:nvPr/>
              </p:nvSpPr>
              <p:spPr>
                <a:xfrm>
                  <a:off x="228600" y="257980"/>
                  <a:ext cx="9296400" cy="456856"/>
                </a:xfrm>
                <a:prstGeom prst="rect">
                  <a:avLst/>
                </a:prstGeom>
              </p:spPr>
              <p:txBody>
                <a:bodyPr wrap="square" lIns="0" tIns="0" rIns="0" bIns="0" rtlCol="0" anchor="t">
                  <a:spAutoFit/>
                </a:bodyPr>
                <a:lstStyle/>
                <a:p>
                  <a:pPr>
                    <a:lnSpc>
                      <a:spcPts val="3919"/>
                    </a:lnSpc>
                    <a:spcBef>
                      <a:spcPct val="0"/>
                    </a:spcBef>
                  </a:pPr>
                  <a:endParaRPr lang="en-US" sz="2800" b="1">
                    <a:solidFill>
                      <a:srgbClr val="FFFFFF"/>
                    </a:solidFill>
                    <a:latin typeface="Arial" panose="020B0604020202020204" pitchFamily="34" charset="0"/>
                    <a:cs typeface="Arial" panose="020B0604020202020204" pitchFamily="34" charset="0"/>
                  </a:endParaRPr>
                </a:p>
              </p:txBody>
            </p:sp>
          </p:grpSp>
          <p:sp>
            <p:nvSpPr>
              <p:cNvPr id="12" name="TextBox 11">
                <a:extLst>
                  <a:ext uri="{FF2B5EF4-FFF2-40B4-BE49-F238E27FC236}">
                    <a16:creationId xmlns:a16="http://schemas.microsoft.com/office/drawing/2014/main" id="{DA7246BD-7520-46DD-98C8-CDEB766CE10B}"/>
                  </a:ext>
                </a:extLst>
              </p:cNvPr>
              <p:cNvSpPr txBox="1"/>
              <p:nvPr/>
            </p:nvSpPr>
            <p:spPr>
              <a:xfrm>
                <a:off x="12154296" y="257980"/>
                <a:ext cx="5752704" cy="456856"/>
              </a:xfrm>
              <a:prstGeom prst="rect">
                <a:avLst/>
              </a:prstGeom>
            </p:spPr>
            <p:txBody>
              <a:bodyPr wrap="square" lIns="0" tIns="0" rIns="0" bIns="0" rtlCol="0" anchor="t">
                <a:spAutoFit/>
              </a:bodyPr>
              <a:lstStyle/>
              <a:p>
                <a:pPr algn="r">
                  <a:lnSpc>
                    <a:spcPts val="3919"/>
                  </a:lnSpc>
                  <a:spcBef>
                    <a:spcPct val="0"/>
                  </a:spcBef>
                </a:pPr>
                <a:endParaRPr lang="en-US" sz="2800">
                  <a:solidFill>
                    <a:schemeClr val="tx1">
                      <a:lumMod val="75000"/>
                      <a:lumOff val="25000"/>
                    </a:schemeClr>
                  </a:solidFill>
                  <a:latin typeface="Arial" panose="020B0604020202020204" pitchFamily="34" charset="0"/>
                  <a:cs typeface="Arial" panose="020B0604020202020204" pitchFamily="34" charset="0"/>
                </a:endParaRPr>
              </a:p>
            </p:txBody>
          </p:sp>
        </p:grpSp>
        <p:sp>
          <p:nvSpPr>
            <p:cNvPr id="10" name="Rettangolo 13">
              <a:extLst>
                <a:ext uri="{FF2B5EF4-FFF2-40B4-BE49-F238E27FC236}">
                  <a16:creationId xmlns:a16="http://schemas.microsoft.com/office/drawing/2014/main" id="{E9CDDDCB-8477-4EC3-9CC4-19B79F5C378E}"/>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5" name="TextBox 14">
            <a:extLst>
              <a:ext uri="{FF2B5EF4-FFF2-40B4-BE49-F238E27FC236}">
                <a16:creationId xmlns:a16="http://schemas.microsoft.com/office/drawing/2014/main" id="{B522EC93-2689-4B48-A4AD-625C0BA68544}"/>
              </a:ext>
            </a:extLst>
          </p:cNvPr>
          <p:cNvSpPr txBox="1"/>
          <p:nvPr/>
        </p:nvSpPr>
        <p:spPr>
          <a:xfrm>
            <a:off x="228600" y="717252"/>
            <a:ext cx="17807739" cy="1015663"/>
          </a:xfrm>
          <a:prstGeom prst="rect">
            <a:avLst/>
          </a:prstGeom>
          <a:noFill/>
        </p:spPr>
        <p:txBody>
          <a:bodyPr wrap="square">
            <a:spAutoFit/>
          </a:bodyPr>
          <a:lstStyle/>
          <a:p>
            <a:pPr algn="ctr"/>
            <a:r>
              <a:rPr lang="en-US" sz="6000" b="1">
                <a:solidFill>
                  <a:srgbClr val="CC0033"/>
                </a:solidFill>
                <a:latin typeface="+mj-lt"/>
                <a:cs typeface="Arial" panose="020B0604020202020204" pitchFamily="34" charset="0"/>
              </a:rPr>
              <a:t>Key Resource Indicators (KRI)</a:t>
            </a:r>
            <a:endParaRPr lang="sv-SE" sz="6000" b="1">
              <a:solidFill>
                <a:srgbClr val="CC0033"/>
              </a:solidFill>
              <a:latin typeface="+mj-lt"/>
              <a:cs typeface="Arial" panose="020B0604020202020204" pitchFamily="34" charset="0"/>
            </a:endParaRPr>
          </a:p>
        </p:txBody>
      </p:sp>
      <p:graphicFrame>
        <p:nvGraphicFramePr>
          <p:cNvPr id="2" name="Table 1">
            <a:extLst>
              <a:ext uri="{FF2B5EF4-FFF2-40B4-BE49-F238E27FC236}">
                <a16:creationId xmlns:a16="http://schemas.microsoft.com/office/drawing/2014/main" id="{E214A7EB-8DDC-4920-A34B-EDCFD06A8B2E}"/>
              </a:ext>
            </a:extLst>
          </p:cNvPr>
          <p:cNvGraphicFramePr>
            <a:graphicFrameLocks noGrp="1"/>
          </p:cNvGraphicFramePr>
          <p:nvPr>
            <p:extLst>
              <p:ext uri="{D42A27DB-BD31-4B8C-83A1-F6EECF244321}">
                <p14:modId xmlns:p14="http://schemas.microsoft.com/office/powerpoint/2010/main" val="791216907"/>
              </p:ext>
            </p:extLst>
          </p:nvPr>
        </p:nvGraphicFramePr>
        <p:xfrm>
          <a:off x="294480" y="1846628"/>
          <a:ext cx="17624553" cy="7067734"/>
        </p:xfrm>
        <a:graphic>
          <a:graphicData uri="http://schemas.openxmlformats.org/drawingml/2006/table">
            <a:tbl>
              <a:tblPr firstRow="1" firstCol="1" lastRow="1" lastCol="1" bandRow="1" bandCol="1">
                <a:tableStyleId>{72833802-FEF1-4C79-8D5D-14CF1EAF98D9}</a:tableStyleId>
              </a:tblPr>
              <a:tblGrid>
                <a:gridCol w="7116974">
                  <a:extLst>
                    <a:ext uri="{9D8B030D-6E8A-4147-A177-3AD203B41FA5}">
                      <a16:colId xmlns:a16="http://schemas.microsoft.com/office/drawing/2014/main" val="2784526241"/>
                    </a:ext>
                  </a:extLst>
                </a:gridCol>
                <a:gridCol w="1524000">
                  <a:extLst>
                    <a:ext uri="{9D8B030D-6E8A-4147-A177-3AD203B41FA5}">
                      <a16:colId xmlns:a16="http://schemas.microsoft.com/office/drawing/2014/main" val="534015953"/>
                    </a:ext>
                  </a:extLst>
                </a:gridCol>
                <a:gridCol w="8983579">
                  <a:extLst>
                    <a:ext uri="{9D8B030D-6E8A-4147-A177-3AD203B41FA5}">
                      <a16:colId xmlns:a16="http://schemas.microsoft.com/office/drawing/2014/main" val="4180283984"/>
                    </a:ext>
                  </a:extLst>
                </a:gridCol>
              </a:tblGrid>
              <a:tr h="306022">
                <a:tc>
                  <a:txBody>
                    <a:bodyPr/>
                    <a:lstStyle/>
                    <a:p>
                      <a:pPr marL="815340" marR="810260" indent="0" algn="ctr">
                        <a:lnSpc>
                          <a:spcPct val="100000"/>
                        </a:lnSpc>
                        <a:spcBef>
                          <a:spcPts val="360"/>
                        </a:spcBef>
                        <a:spcAft>
                          <a:spcPts val="0"/>
                        </a:spcAft>
                      </a:pPr>
                      <a:r>
                        <a:rPr lang="en-US" sz="2200">
                          <a:effectLst/>
                        </a:rPr>
                        <a:t>Indicator</a:t>
                      </a:r>
                      <a:endParaRPr lang="sv-SE" sz="2200">
                        <a:effectLst/>
                        <a:latin typeface="Arial MT"/>
                        <a:ea typeface="Arial MT"/>
                        <a:cs typeface="Arial MT"/>
                      </a:endParaRP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300990" marR="295910" indent="0" algn="ctr">
                        <a:lnSpc>
                          <a:spcPct val="100000"/>
                        </a:lnSpc>
                        <a:spcBef>
                          <a:spcPts val="360"/>
                        </a:spcBef>
                        <a:spcAft>
                          <a:spcPts val="0"/>
                        </a:spcAft>
                      </a:pPr>
                      <a:r>
                        <a:rPr lang="en-US" sz="2200">
                          <a:effectLst/>
                        </a:rPr>
                        <a:t>Unit</a:t>
                      </a:r>
                      <a:endParaRPr lang="sv-SE" sz="2200">
                        <a:effectLst/>
                        <a:latin typeface="Arial MT"/>
                        <a:ea typeface="Arial MT"/>
                        <a:cs typeface="Arial MT"/>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071245">
                        <a:lnSpc>
                          <a:spcPct val="107000"/>
                        </a:lnSpc>
                        <a:spcBef>
                          <a:spcPts val="360"/>
                        </a:spcBef>
                        <a:spcAft>
                          <a:spcPts val="0"/>
                        </a:spcAft>
                      </a:pPr>
                      <a:r>
                        <a:rPr lang="en-US" sz="2200">
                          <a:effectLst/>
                        </a:rPr>
                        <a:t>Relevance</a:t>
                      </a:r>
                      <a:r>
                        <a:rPr lang="en-US" sz="2200" spc="-15">
                          <a:effectLst/>
                        </a:rPr>
                        <a:t> </a:t>
                      </a:r>
                      <a:r>
                        <a:rPr lang="en-US" sz="2200">
                          <a:effectLst/>
                        </a:rPr>
                        <a:t>for</a:t>
                      </a:r>
                      <a:r>
                        <a:rPr lang="en-US" sz="2200" spc="-20">
                          <a:effectLst/>
                        </a:rPr>
                        <a:t> </a:t>
                      </a:r>
                      <a:r>
                        <a:rPr lang="en-US" sz="2200">
                          <a:effectLst/>
                        </a:rPr>
                        <a:t>RETROFEED</a:t>
                      </a:r>
                      <a:endParaRPr lang="sv-SE" sz="2200">
                        <a:effectLst/>
                        <a:latin typeface="Arial MT"/>
                        <a:ea typeface="Arial MT"/>
                        <a:cs typeface="Arial MT"/>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56257773"/>
                  </a:ext>
                </a:extLst>
              </a:tr>
              <a:tr h="158642">
                <a:tc gridSpan="3">
                  <a:txBody>
                    <a:bodyPr/>
                    <a:lstStyle/>
                    <a:p>
                      <a:pPr marL="1071245" indent="0" algn="l">
                        <a:lnSpc>
                          <a:spcPct val="100000"/>
                        </a:lnSpc>
                        <a:spcBef>
                          <a:spcPts val="360"/>
                        </a:spcBef>
                        <a:spcAft>
                          <a:spcPts val="0"/>
                        </a:spcAft>
                      </a:pPr>
                      <a:r>
                        <a:rPr lang="en-US" sz="2200">
                          <a:effectLst/>
                        </a:rPr>
                        <a:t>                                          KRIs</a:t>
                      </a:r>
                      <a:r>
                        <a:rPr lang="en-US" sz="2200" spc="-15">
                          <a:effectLst/>
                        </a:rPr>
                        <a:t> </a:t>
                      </a:r>
                      <a:r>
                        <a:rPr lang="en-US" sz="2200">
                          <a:effectLst/>
                        </a:rPr>
                        <a:t>related</a:t>
                      </a:r>
                      <a:r>
                        <a:rPr lang="en-US" sz="2200" spc="-20">
                          <a:effectLst/>
                        </a:rPr>
                        <a:t> </a:t>
                      </a:r>
                      <a:r>
                        <a:rPr lang="en-US" sz="2200">
                          <a:effectLst/>
                        </a:rPr>
                        <a:t>to</a:t>
                      </a:r>
                      <a:r>
                        <a:rPr lang="en-US" sz="2200" spc="-20">
                          <a:effectLst/>
                        </a:rPr>
                        <a:t> </a:t>
                      </a:r>
                      <a:r>
                        <a:rPr lang="en-US" sz="2200">
                          <a:effectLst/>
                        </a:rPr>
                        <a:t>water</a:t>
                      </a:r>
                      <a:r>
                        <a:rPr lang="en-US" sz="2200" spc="-15">
                          <a:effectLst/>
                        </a:rPr>
                        <a:t> </a:t>
                      </a:r>
                      <a:r>
                        <a:rPr lang="en-US" sz="2200">
                          <a:effectLst/>
                        </a:rPr>
                        <a:t>use</a:t>
                      </a:r>
                      <a:r>
                        <a:rPr lang="en-US" sz="2200" spc="-20">
                          <a:effectLst/>
                        </a:rPr>
                        <a:t> </a:t>
                      </a:r>
                      <a:r>
                        <a:rPr lang="en-US" sz="2200">
                          <a:effectLst/>
                        </a:rPr>
                        <a:t>and</a:t>
                      </a:r>
                      <a:r>
                        <a:rPr lang="en-US" sz="2200" spc="-20">
                          <a:effectLst/>
                        </a:rPr>
                        <a:t> </a:t>
                      </a:r>
                      <a:r>
                        <a:rPr lang="en-US" sz="2200">
                          <a:effectLst/>
                        </a:rPr>
                        <a:t>assessment</a:t>
                      </a:r>
                      <a:r>
                        <a:rPr lang="en-US" sz="2200" spc="-20">
                          <a:effectLst/>
                        </a:rPr>
                        <a:t> </a:t>
                      </a:r>
                      <a:r>
                        <a:rPr lang="en-US" sz="2200">
                          <a:effectLst/>
                        </a:rPr>
                        <a:t>of</a:t>
                      </a:r>
                      <a:r>
                        <a:rPr lang="en-US" sz="2200" spc="-20">
                          <a:effectLst/>
                        </a:rPr>
                        <a:t> </a:t>
                      </a:r>
                      <a:r>
                        <a:rPr lang="en-US" sz="2200">
                          <a:effectLst/>
                        </a:rPr>
                        <a:t>their</a:t>
                      </a:r>
                      <a:r>
                        <a:rPr lang="en-US" sz="2200" spc="-20">
                          <a:effectLst/>
                        </a:rPr>
                        <a:t> </a:t>
                      </a:r>
                      <a:r>
                        <a:rPr lang="en-US" sz="2200">
                          <a:effectLst/>
                        </a:rPr>
                        <a:t>relevance</a:t>
                      </a:r>
                      <a:endParaRPr lang="sv-SE" sz="2200">
                        <a:effectLst/>
                        <a:latin typeface="Arial MT"/>
                        <a:ea typeface="Arial MT"/>
                        <a:cs typeface="Arial MT"/>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hMerge="1">
                  <a:txBody>
                    <a:bodyPr/>
                    <a:lstStyle/>
                    <a:p>
                      <a:endParaRPr lang="sv-SE"/>
                    </a:p>
                  </a:txBody>
                  <a:tcPr>
                    <a:lnL>
                      <a:noFill/>
                    </a:lnL>
                    <a:lnT w="12700" cap="flat" cmpd="sng" algn="ctr">
                      <a:solidFill>
                        <a:schemeClr val="tx1"/>
                      </a:solidFill>
                      <a:prstDash val="solid"/>
                      <a:round/>
                      <a:headEnd type="none" w="med" len="med"/>
                      <a:tailEnd type="none" w="med" len="med"/>
                    </a:lnT>
                  </a:tcPr>
                </a:tc>
                <a:tc hMerge="1">
                  <a:txBody>
                    <a:bodyPr/>
                    <a:lstStyle/>
                    <a:p>
                      <a:pPr marL="1071245" indent="0">
                        <a:lnSpc>
                          <a:spcPct val="100000"/>
                        </a:lnSpc>
                        <a:spcBef>
                          <a:spcPts val="360"/>
                        </a:spcBef>
                        <a:spcAft>
                          <a:spcPts val="0"/>
                        </a:spcAft>
                      </a:pPr>
                      <a:endParaRPr lang="sv-SE" sz="2200">
                        <a:effectLst/>
                        <a:latin typeface="Arial MT"/>
                        <a:ea typeface="Arial MT"/>
                        <a:cs typeface="Arial MT"/>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21182091"/>
                  </a:ext>
                </a:extLst>
              </a:tr>
              <a:tr h="805798">
                <a:tc>
                  <a:txBody>
                    <a:bodyPr/>
                    <a:lstStyle/>
                    <a:p>
                      <a:pPr marL="67945" marR="911860" indent="0">
                        <a:lnSpc>
                          <a:spcPct val="100000"/>
                        </a:lnSpc>
                        <a:spcBef>
                          <a:spcPts val="105"/>
                        </a:spcBef>
                        <a:spcAft>
                          <a:spcPts val="0"/>
                        </a:spcAft>
                      </a:pPr>
                      <a:r>
                        <a:rPr lang="en-US" sz="2200" b="0">
                          <a:effectLst/>
                        </a:rPr>
                        <a:t>(Gross) water use</a:t>
                      </a:r>
                      <a:r>
                        <a:rPr lang="en-US" sz="2200" b="0" spc="5">
                          <a:effectLst/>
                        </a:rPr>
                        <a:t> </a:t>
                      </a:r>
                      <a:r>
                        <a:rPr lang="en-US" sz="2200" b="0">
                          <a:effectLst/>
                        </a:rPr>
                        <a:t>(Overall</a:t>
                      </a:r>
                      <a:r>
                        <a:rPr lang="en-US" sz="2200" b="0" spc="-40">
                          <a:effectLst/>
                        </a:rPr>
                        <a:t> </a:t>
                      </a:r>
                      <a:r>
                        <a:rPr lang="en-US" sz="2200" b="0">
                          <a:effectLst/>
                        </a:rPr>
                        <a:t>water</a:t>
                      </a:r>
                      <a:r>
                        <a:rPr lang="en-US" sz="2200" b="0" spc="-35">
                          <a:effectLst/>
                        </a:rPr>
                        <a:t> </a:t>
                      </a:r>
                      <a:r>
                        <a:rPr lang="en-US" sz="2200" b="0">
                          <a:effectLst/>
                        </a:rPr>
                        <a:t>input)</a:t>
                      </a:r>
                      <a:endParaRPr lang="sv-SE" sz="2200" b="0">
                        <a:effectLst/>
                        <a:latin typeface="Arial MT"/>
                        <a:ea typeface="Arial MT"/>
                        <a:cs typeface="Arial MT"/>
                      </a:endParaRP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2200" b="0">
                          <a:effectLst/>
                        </a:rPr>
                        <a:t>[m3/ unit</a:t>
                      </a:r>
                      <a:r>
                        <a:rPr lang="en-US" sz="2200" b="0" spc="-300">
                          <a:effectLst/>
                        </a:rPr>
                        <a:t> </a:t>
                      </a:r>
                      <a:r>
                        <a:rPr lang="en-US" sz="2200" b="0">
                          <a:effectLst/>
                        </a:rPr>
                        <a:t>product]</a:t>
                      </a:r>
                      <a:endParaRPr lang="sv-SE"/>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marL="67945" indent="0">
                        <a:lnSpc>
                          <a:spcPct val="100000"/>
                        </a:lnSpc>
                        <a:spcBef>
                          <a:spcPts val="105"/>
                        </a:spcBef>
                      </a:pPr>
                      <a:r>
                        <a:rPr lang="en-US" sz="2200" b="0">
                          <a:effectLst/>
                        </a:rPr>
                        <a:t>Particularly</a:t>
                      </a:r>
                      <a:r>
                        <a:rPr lang="en-US" sz="2200" b="0" spc="-15">
                          <a:effectLst/>
                        </a:rPr>
                        <a:t> </a:t>
                      </a:r>
                      <a:r>
                        <a:rPr lang="en-US" sz="2200" b="0">
                          <a:effectLst/>
                        </a:rPr>
                        <a:t>relevant</a:t>
                      </a:r>
                      <a:r>
                        <a:rPr lang="en-US" sz="2200" b="0" spc="-10">
                          <a:effectLst/>
                        </a:rPr>
                        <a:t> </a:t>
                      </a:r>
                      <a:r>
                        <a:rPr lang="en-US" sz="2200" b="0">
                          <a:effectLst/>
                        </a:rPr>
                        <a:t>for</a:t>
                      </a:r>
                      <a:r>
                        <a:rPr lang="en-US" sz="2200" b="0" spc="-15">
                          <a:effectLst/>
                        </a:rPr>
                        <a:t> </a:t>
                      </a:r>
                      <a:r>
                        <a:rPr lang="en-US" sz="2200" b="0">
                          <a:effectLst/>
                        </a:rPr>
                        <a:t>the:</a:t>
                      </a:r>
                      <a:endParaRPr lang="sv-SE" sz="2200" b="0">
                        <a:effectLst/>
                      </a:endParaRPr>
                    </a:p>
                    <a:p>
                      <a:pPr marL="342900" marR="66040" lvl="0" indent="0">
                        <a:lnSpc>
                          <a:spcPct val="100000"/>
                        </a:lnSpc>
                        <a:spcBef>
                          <a:spcPts val="95"/>
                        </a:spcBef>
                        <a:spcAft>
                          <a:spcPts val="0"/>
                        </a:spcAft>
                        <a:buClr>
                          <a:srgbClr val="3E3E3E"/>
                        </a:buClr>
                        <a:buSzPts val="1100"/>
                        <a:buFont typeface="Symbol" panose="05050102010706020507" pitchFamily="18" charset="2"/>
                        <a:buChar char=""/>
                        <a:tabLst>
                          <a:tab pos="524510" algn="l"/>
                          <a:tab pos="525145" algn="l"/>
                        </a:tabLst>
                      </a:pPr>
                      <a:r>
                        <a:rPr lang="en-US" sz="2200" b="0">
                          <a:effectLst/>
                        </a:rPr>
                        <a:t>fertilizer</a:t>
                      </a:r>
                      <a:r>
                        <a:rPr lang="en-US" sz="2200" b="0" spc="-30">
                          <a:effectLst/>
                        </a:rPr>
                        <a:t> </a:t>
                      </a:r>
                      <a:r>
                        <a:rPr lang="en-US" sz="2200" b="0">
                          <a:effectLst/>
                        </a:rPr>
                        <a:t>case</a:t>
                      </a:r>
                      <a:r>
                        <a:rPr lang="en-US" sz="2200" b="0" spc="-20">
                          <a:effectLst/>
                        </a:rPr>
                        <a:t> </a:t>
                      </a:r>
                      <a:r>
                        <a:rPr lang="en-US" sz="2200" b="0">
                          <a:effectLst/>
                        </a:rPr>
                        <a:t>which</a:t>
                      </a:r>
                      <a:r>
                        <a:rPr lang="en-US" sz="2200" b="0" spc="-15">
                          <a:effectLst/>
                        </a:rPr>
                        <a:t> </a:t>
                      </a:r>
                      <a:r>
                        <a:rPr lang="en-US" sz="2200" b="0">
                          <a:effectLst/>
                        </a:rPr>
                        <a:t>needs</a:t>
                      </a:r>
                      <a:r>
                        <a:rPr lang="en-US" sz="2200" b="0" spc="-20">
                          <a:effectLst/>
                        </a:rPr>
                        <a:t> </a:t>
                      </a:r>
                      <a:r>
                        <a:rPr lang="en-US" sz="2200" b="0">
                          <a:effectLst/>
                        </a:rPr>
                        <a:t>process</a:t>
                      </a:r>
                      <a:r>
                        <a:rPr lang="en-US" sz="2200" b="0" spc="-25">
                          <a:effectLst/>
                        </a:rPr>
                        <a:t> </a:t>
                      </a:r>
                      <a:r>
                        <a:rPr lang="en-US" sz="2200" b="0">
                          <a:effectLst/>
                        </a:rPr>
                        <a:t>water,</a:t>
                      </a:r>
                      <a:r>
                        <a:rPr lang="en-US" sz="2200" b="0" spc="-15">
                          <a:effectLst/>
                        </a:rPr>
                        <a:t> </a:t>
                      </a:r>
                      <a:r>
                        <a:rPr lang="en-US" sz="2200" b="0">
                          <a:effectLst/>
                        </a:rPr>
                        <a:t>and</a:t>
                      </a:r>
                      <a:r>
                        <a:rPr lang="en-US" sz="2200" b="0" spc="-20">
                          <a:effectLst/>
                        </a:rPr>
                        <a:t> </a:t>
                      </a:r>
                      <a:r>
                        <a:rPr lang="en-US" sz="2200" b="0">
                          <a:effectLst/>
                        </a:rPr>
                        <a:t>savings</a:t>
                      </a:r>
                      <a:r>
                        <a:rPr lang="en-US" sz="2200" b="0" spc="-290">
                          <a:effectLst/>
                        </a:rPr>
                        <a:t> </a:t>
                      </a:r>
                      <a:r>
                        <a:rPr lang="en-US" sz="2200" b="0">
                          <a:effectLst/>
                        </a:rPr>
                        <a:t>are</a:t>
                      </a:r>
                      <a:r>
                        <a:rPr lang="en-US" sz="2200" b="0" spc="-5">
                          <a:effectLst/>
                        </a:rPr>
                        <a:t> </a:t>
                      </a:r>
                      <a:r>
                        <a:rPr lang="en-US" sz="2200" b="0">
                          <a:effectLst/>
                        </a:rPr>
                        <a:t>expected</a:t>
                      </a:r>
                      <a:endParaRPr lang="sv-SE" sz="2200" b="0">
                        <a:effectLst/>
                      </a:endParaRPr>
                    </a:p>
                    <a:p>
                      <a:pPr marL="342900" marR="233045" lvl="0" indent="0">
                        <a:lnSpc>
                          <a:spcPct val="100000"/>
                        </a:lnSpc>
                        <a:spcBef>
                          <a:spcPts val="90"/>
                        </a:spcBef>
                        <a:spcAft>
                          <a:spcPts val="0"/>
                        </a:spcAft>
                        <a:buClr>
                          <a:srgbClr val="3E3E3E"/>
                        </a:buClr>
                        <a:buSzPts val="1100"/>
                        <a:buFont typeface="Symbol" panose="05050102010706020507" pitchFamily="18" charset="2"/>
                        <a:buChar char=""/>
                        <a:tabLst>
                          <a:tab pos="524510" algn="l"/>
                          <a:tab pos="525145" algn="l"/>
                        </a:tabLst>
                      </a:pPr>
                      <a:r>
                        <a:rPr lang="en-US" sz="2200" b="0">
                          <a:effectLst/>
                        </a:rPr>
                        <a:t>TORRECID,</a:t>
                      </a:r>
                      <a:r>
                        <a:rPr lang="en-US" sz="2200" b="0" spc="-15">
                          <a:effectLst/>
                        </a:rPr>
                        <a:t> </a:t>
                      </a:r>
                      <a:r>
                        <a:rPr lang="en-US" sz="2200" b="0">
                          <a:effectLst/>
                        </a:rPr>
                        <a:t>where</a:t>
                      </a:r>
                      <a:r>
                        <a:rPr lang="en-US" sz="2200" b="0" spc="-15">
                          <a:effectLst/>
                        </a:rPr>
                        <a:t> </a:t>
                      </a:r>
                      <a:r>
                        <a:rPr lang="en-US" sz="2200" b="0">
                          <a:effectLst/>
                        </a:rPr>
                        <a:t>water</a:t>
                      </a:r>
                      <a:r>
                        <a:rPr lang="en-US" sz="2200" b="0" spc="-15">
                          <a:effectLst/>
                        </a:rPr>
                        <a:t> </a:t>
                      </a:r>
                      <a:r>
                        <a:rPr lang="en-US" sz="2200" b="0">
                          <a:effectLst/>
                        </a:rPr>
                        <a:t>loses</a:t>
                      </a:r>
                      <a:r>
                        <a:rPr lang="en-US" sz="2200" b="0" spc="-15">
                          <a:effectLst/>
                        </a:rPr>
                        <a:t> </a:t>
                      </a:r>
                      <a:r>
                        <a:rPr lang="en-US" sz="2200" b="0">
                          <a:effectLst/>
                        </a:rPr>
                        <a:t>occur</a:t>
                      </a:r>
                      <a:r>
                        <a:rPr lang="en-US" sz="2200" b="0" spc="-15">
                          <a:effectLst/>
                        </a:rPr>
                        <a:t> </a:t>
                      </a:r>
                      <a:r>
                        <a:rPr lang="en-US" sz="2200" b="0">
                          <a:effectLst/>
                        </a:rPr>
                        <a:t>in</a:t>
                      </a:r>
                      <a:r>
                        <a:rPr lang="en-US" sz="2200" b="0" spc="-15">
                          <a:effectLst/>
                        </a:rPr>
                        <a:t> </a:t>
                      </a:r>
                      <a:r>
                        <a:rPr lang="en-US" sz="2200" b="0">
                          <a:effectLst/>
                        </a:rPr>
                        <a:t>the</a:t>
                      </a:r>
                      <a:r>
                        <a:rPr lang="en-US" sz="2200" b="0" spc="-15">
                          <a:effectLst/>
                        </a:rPr>
                        <a:t> </a:t>
                      </a:r>
                      <a:r>
                        <a:rPr lang="en-US" sz="2200" b="0">
                          <a:effectLst/>
                        </a:rPr>
                        <a:t>furnace</a:t>
                      </a:r>
                      <a:r>
                        <a:rPr lang="en-US" sz="2200" b="0" spc="-290">
                          <a:effectLst/>
                        </a:rPr>
                        <a:t> </a:t>
                      </a:r>
                      <a:r>
                        <a:rPr lang="en-US" sz="2200" b="0">
                          <a:effectLst/>
                        </a:rPr>
                        <a:t>and</a:t>
                      </a:r>
                      <a:r>
                        <a:rPr lang="en-US" sz="2200" b="0" spc="-5">
                          <a:effectLst/>
                        </a:rPr>
                        <a:t> </a:t>
                      </a:r>
                      <a:r>
                        <a:rPr lang="en-US" sz="2200" b="0">
                          <a:effectLst/>
                        </a:rPr>
                        <a:t>are expected to be</a:t>
                      </a:r>
                      <a:r>
                        <a:rPr lang="en-US" sz="2200" b="0" spc="-5">
                          <a:effectLst/>
                        </a:rPr>
                        <a:t> </a:t>
                      </a:r>
                      <a:r>
                        <a:rPr lang="en-US" sz="2200" b="0">
                          <a:effectLst/>
                        </a:rPr>
                        <a:t>reduced.</a:t>
                      </a:r>
                      <a:endParaRPr lang="sv-SE" sz="2200" b="0">
                        <a:effectLst/>
                        <a:latin typeface="Arial MT"/>
                        <a:ea typeface="Symbol" panose="05050102010706020507" pitchFamily="18" charset="2"/>
                        <a:cs typeface="Symbol" panose="05050102010706020507" pitchFamily="18" charset="2"/>
                      </a:endParaRPr>
                    </a:p>
                  </a:txBody>
                  <a:tcPr marL="0" marR="0" marT="0" marB="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30406827"/>
                  </a:ext>
                </a:extLst>
              </a:tr>
              <a:tr h="97005">
                <a:tc>
                  <a:txBody>
                    <a:bodyPr/>
                    <a:lstStyle/>
                    <a:p>
                      <a:pPr marL="67945" marR="797560" indent="0">
                        <a:lnSpc>
                          <a:spcPct val="100000"/>
                        </a:lnSpc>
                        <a:spcBef>
                          <a:spcPts val="100"/>
                        </a:spcBef>
                      </a:pPr>
                      <a:r>
                        <a:rPr lang="en-US" sz="2200" b="0">
                          <a:effectLst/>
                        </a:rPr>
                        <a:t>Net water use = water</a:t>
                      </a:r>
                      <a:r>
                        <a:rPr lang="en-US" sz="2200" b="0" spc="-295">
                          <a:effectLst/>
                        </a:rPr>
                        <a:t> </a:t>
                      </a:r>
                      <a:r>
                        <a:rPr lang="en-US" sz="2200" b="0">
                          <a:effectLst/>
                        </a:rPr>
                        <a:t>consumption</a:t>
                      </a:r>
                      <a:endParaRPr lang="sv-SE" sz="2200" b="0">
                        <a:effectLst/>
                      </a:endParaRPr>
                    </a:p>
                    <a:p>
                      <a:pPr marL="67945" indent="0">
                        <a:lnSpc>
                          <a:spcPct val="100000"/>
                        </a:lnSpc>
                        <a:spcBef>
                          <a:spcPts val="105"/>
                        </a:spcBef>
                      </a:pPr>
                      <a:r>
                        <a:rPr lang="en-US" sz="2200" b="0">
                          <a:effectLst/>
                        </a:rPr>
                        <a:t>(water</a:t>
                      </a:r>
                      <a:r>
                        <a:rPr lang="en-US" sz="2200" b="0" spc="-10">
                          <a:effectLst/>
                        </a:rPr>
                        <a:t> </a:t>
                      </a:r>
                      <a:r>
                        <a:rPr lang="en-US" sz="2200" b="0">
                          <a:effectLst/>
                        </a:rPr>
                        <a:t>input</a:t>
                      </a:r>
                      <a:r>
                        <a:rPr lang="en-US" sz="2200" b="0" spc="-10">
                          <a:effectLst/>
                        </a:rPr>
                        <a:t> </a:t>
                      </a:r>
                      <a:r>
                        <a:rPr lang="en-US" sz="2200" b="0">
                          <a:effectLst/>
                        </a:rPr>
                        <a:t>minus</a:t>
                      </a:r>
                      <a:r>
                        <a:rPr lang="en-US" sz="2200" b="0" spc="-5">
                          <a:effectLst/>
                        </a:rPr>
                        <a:t> </a:t>
                      </a:r>
                      <a:r>
                        <a:rPr lang="en-US" sz="2200" b="0">
                          <a:effectLst/>
                        </a:rPr>
                        <a:t>water</a:t>
                      </a:r>
                      <a:r>
                        <a:rPr lang="en-US" sz="2200" b="0" spc="-10">
                          <a:effectLst/>
                        </a:rPr>
                        <a:t> </a:t>
                      </a:r>
                      <a:r>
                        <a:rPr lang="en-US" sz="2200" b="0">
                          <a:effectLst/>
                        </a:rPr>
                        <a:t>output)</a:t>
                      </a:r>
                      <a:endParaRPr lang="sv-SE" sz="2200" b="0">
                        <a:effectLst/>
                        <a:latin typeface="Arial MT"/>
                        <a:ea typeface="Arial MT"/>
                        <a:cs typeface="Arial MT"/>
                      </a:endParaRP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2200" b="0">
                          <a:effectLst/>
                        </a:rPr>
                        <a:t>[m3/unit</a:t>
                      </a:r>
                      <a:r>
                        <a:rPr lang="en-US" sz="2200" b="0" spc="-295">
                          <a:effectLst/>
                        </a:rPr>
                        <a:t> </a:t>
                      </a:r>
                      <a:r>
                        <a:rPr lang="en-US" sz="2200" b="0">
                          <a:effectLst/>
                        </a:rPr>
                        <a:t>product]</a:t>
                      </a:r>
                      <a:endParaRPr lang="sv-SE"/>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7945" indent="0">
                        <a:lnSpc>
                          <a:spcPct val="100000"/>
                        </a:lnSpc>
                        <a:spcBef>
                          <a:spcPts val="105"/>
                        </a:spcBef>
                      </a:pPr>
                      <a:r>
                        <a:rPr lang="en-US" sz="2200" b="0">
                          <a:effectLst/>
                        </a:rPr>
                        <a:t>Same</a:t>
                      </a:r>
                      <a:r>
                        <a:rPr lang="en-US" sz="2200" b="0" spc="-10">
                          <a:effectLst/>
                        </a:rPr>
                        <a:t> </a:t>
                      </a:r>
                      <a:r>
                        <a:rPr lang="en-US" sz="2200" b="0">
                          <a:effectLst/>
                        </a:rPr>
                        <a:t>as</a:t>
                      </a:r>
                      <a:r>
                        <a:rPr lang="en-US" sz="2200" b="0" spc="-10">
                          <a:effectLst/>
                        </a:rPr>
                        <a:t> </a:t>
                      </a:r>
                      <a:r>
                        <a:rPr lang="en-US" sz="2200" b="0">
                          <a:effectLst/>
                        </a:rPr>
                        <a:t>for</a:t>
                      </a:r>
                      <a:r>
                        <a:rPr lang="en-US" sz="2200" b="0" spc="-5">
                          <a:effectLst/>
                        </a:rPr>
                        <a:t> </a:t>
                      </a:r>
                      <a:r>
                        <a:rPr lang="en-US" sz="2200" b="0">
                          <a:effectLst/>
                        </a:rPr>
                        <a:t>“(Gross)</a:t>
                      </a:r>
                      <a:r>
                        <a:rPr lang="en-US" sz="2200" b="0" spc="-10">
                          <a:effectLst/>
                        </a:rPr>
                        <a:t> </a:t>
                      </a:r>
                      <a:r>
                        <a:rPr lang="en-US" sz="2200" b="0">
                          <a:effectLst/>
                        </a:rPr>
                        <a:t>water</a:t>
                      </a:r>
                      <a:r>
                        <a:rPr lang="en-US" sz="2200" b="0" spc="-5">
                          <a:effectLst/>
                        </a:rPr>
                        <a:t> </a:t>
                      </a:r>
                      <a:r>
                        <a:rPr lang="en-US" sz="2200" b="0">
                          <a:effectLst/>
                        </a:rPr>
                        <a:t>use”.</a:t>
                      </a:r>
                      <a:endParaRPr lang="sv-SE" sz="2200" b="0">
                        <a:effectLst/>
                        <a:latin typeface="Arial MT"/>
                        <a:ea typeface="Arial MT"/>
                        <a:cs typeface="Arial MT"/>
                      </a:endParaRPr>
                    </a:p>
                  </a:txBody>
                  <a:tcPr marL="0" marR="0" marT="0" marB="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78335711"/>
                  </a:ext>
                </a:extLst>
              </a:tr>
              <a:tr h="969194">
                <a:tc>
                  <a:txBody>
                    <a:bodyPr/>
                    <a:lstStyle/>
                    <a:p>
                      <a:pPr marL="67945" indent="0">
                        <a:lnSpc>
                          <a:spcPct val="100000"/>
                        </a:lnSpc>
                        <a:spcBef>
                          <a:spcPts val="105"/>
                        </a:spcBef>
                      </a:pPr>
                      <a:r>
                        <a:rPr lang="en-US" sz="2200" b="0">
                          <a:effectLst/>
                        </a:rPr>
                        <a:t>Water</a:t>
                      </a:r>
                      <a:r>
                        <a:rPr lang="en-US" sz="2200" b="0" spc="-30">
                          <a:effectLst/>
                        </a:rPr>
                        <a:t> </a:t>
                      </a:r>
                      <a:r>
                        <a:rPr lang="en-US" sz="2200" b="0">
                          <a:effectLst/>
                        </a:rPr>
                        <a:t>discharge</a:t>
                      </a:r>
                      <a:endParaRPr lang="sv-SE" sz="2200" b="0">
                        <a:effectLst/>
                        <a:latin typeface="Arial MT"/>
                        <a:ea typeface="Arial MT"/>
                        <a:cs typeface="Arial MT"/>
                      </a:endParaRP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2200" b="0">
                          <a:effectLst/>
                        </a:rPr>
                        <a:t>[m3/year]</a:t>
                      </a:r>
                      <a:endParaRPr lang="sv-SE"/>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7945" marR="149860" indent="0" algn="just">
                        <a:lnSpc>
                          <a:spcPct val="100000"/>
                        </a:lnSpc>
                        <a:spcBef>
                          <a:spcPts val="100"/>
                        </a:spcBef>
                      </a:pPr>
                      <a:r>
                        <a:rPr lang="en-US" sz="2200" b="0">
                          <a:effectLst/>
                        </a:rPr>
                        <a:t>Particularly relevant for the cement, steel and fertilizer cases</a:t>
                      </a:r>
                      <a:r>
                        <a:rPr lang="en-US" sz="2200" b="0" spc="-295">
                          <a:effectLst/>
                        </a:rPr>
                        <a:t> </a:t>
                      </a:r>
                      <a:r>
                        <a:rPr lang="en-US" sz="2200" b="0">
                          <a:effectLst/>
                        </a:rPr>
                        <a:t>as globally leading producers include it in their sustainability</a:t>
                      </a:r>
                      <a:r>
                        <a:rPr lang="en-US" sz="2200" b="0" spc="5">
                          <a:effectLst/>
                        </a:rPr>
                        <a:t> </a:t>
                      </a:r>
                      <a:r>
                        <a:rPr lang="en-US" sz="2200" b="0">
                          <a:effectLst/>
                        </a:rPr>
                        <a:t>reports.</a:t>
                      </a:r>
                      <a:endParaRPr lang="sv-SE" sz="2200" b="0">
                        <a:effectLst/>
                        <a:latin typeface="Arial MT"/>
                        <a:ea typeface="Arial MT"/>
                        <a:cs typeface="Arial MT"/>
                      </a:endParaRPr>
                    </a:p>
                  </a:txBody>
                  <a:tcPr marL="0" marR="0" marT="0" marB="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93227229"/>
                  </a:ext>
                </a:extLst>
              </a:tr>
              <a:tr h="444476">
                <a:tc>
                  <a:txBody>
                    <a:bodyPr/>
                    <a:lstStyle/>
                    <a:p>
                      <a:pPr marL="67945" marR="140970" indent="0">
                        <a:lnSpc>
                          <a:spcPct val="100000"/>
                        </a:lnSpc>
                        <a:spcBef>
                          <a:spcPts val="100"/>
                        </a:spcBef>
                      </a:pPr>
                      <a:r>
                        <a:rPr lang="en-US" sz="2200" b="0">
                          <a:effectLst/>
                        </a:rPr>
                        <a:t>Nitrogen compounds, phosphate</a:t>
                      </a:r>
                      <a:r>
                        <a:rPr lang="en-US" sz="2200" b="0" spc="-300">
                          <a:effectLst/>
                        </a:rPr>
                        <a:t> </a:t>
                      </a:r>
                      <a:r>
                        <a:rPr lang="en-US" sz="2200" b="0">
                          <a:effectLst/>
                        </a:rPr>
                        <a:t>compounds and fluoride</a:t>
                      </a:r>
                      <a:r>
                        <a:rPr lang="en-US" sz="2200" b="0" spc="5">
                          <a:effectLst/>
                        </a:rPr>
                        <a:t> </a:t>
                      </a:r>
                      <a:r>
                        <a:rPr lang="en-US" sz="2200" b="0">
                          <a:effectLst/>
                        </a:rPr>
                        <a:t>compounds discharged with</a:t>
                      </a:r>
                      <a:r>
                        <a:rPr lang="en-US" sz="2200" b="0" spc="5">
                          <a:effectLst/>
                        </a:rPr>
                        <a:t> </a:t>
                      </a:r>
                      <a:r>
                        <a:rPr lang="en-US" sz="2200" b="0">
                          <a:effectLst/>
                        </a:rPr>
                        <a:t>wastewater</a:t>
                      </a:r>
                      <a:endParaRPr lang="sv-SE" sz="2200" b="0">
                        <a:effectLst/>
                        <a:latin typeface="Arial MT"/>
                        <a:ea typeface="Arial MT"/>
                        <a:cs typeface="Arial MT"/>
                      </a:endParaRP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2200" b="0">
                          <a:effectLst/>
                        </a:rPr>
                        <a:t>[t]</a:t>
                      </a:r>
                      <a:endParaRPr lang="sv-SE"/>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7945" marR="99695" indent="0">
                        <a:lnSpc>
                          <a:spcPct val="100000"/>
                        </a:lnSpc>
                        <a:spcBef>
                          <a:spcPts val="100"/>
                        </a:spcBef>
                      </a:pPr>
                      <a:r>
                        <a:rPr lang="en-US" sz="2200" b="0">
                          <a:effectLst/>
                        </a:rPr>
                        <a:t>Particularly relevant for the fertilizer case as globally leading</a:t>
                      </a:r>
                      <a:r>
                        <a:rPr lang="en-US" sz="2200" b="0" spc="5">
                          <a:effectLst/>
                        </a:rPr>
                        <a:t> </a:t>
                      </a:r>
                      <a:r>
                        <a:rPr lang="en-US" sz="2200" b="0">
                          <a:effectLst/>
                        </a:rPr>
                        <a:t>producers</a:t>
                      </a:r>
                      <a:r>
                        <a:rPr lang="en-US" sz="2200" b="0" spc="-20">
                          <a:effectLst/>
                        </a:rPr>
                        <a:t> </a:t>
                      </a:r>
                      <a:r>
                        <a:rPr lang="en-US" sz="2200" b="0">
                          <a:effectLst/>
                        </a:rPr>
                        <a:t>include</a:t>
                      </a:r>
                      <a:r>
                        <a:rPr lang="en-US" sz="2200" b="0" spc="-20">
                          <a:effectLst/>
                        </a:rPr>
                        <a:t> </a:t>
                      </a:r>
                      <a:r>
                        <a:rPr lang="en-US" sz="2200" b="0">
                          <a:effectLst/>
                        </a:rPr>
                        <a:t>it</a:t>
                      </a:r>
                      <a:r>
                        <a:rPr lang="en-US" sz="2200" b="0" spc="-20">
                          <a:effectLst/>
                        </a:rPr>
                        <a:t> </a:t>
                      </a:r>
                      <a:r>
                        <a:rPr lang="en-US" sz="2200" b="0">
                          <a:effectLst/>
                        </a:rPr>
                        <a:t>in</a:t>
                      </a:r>
                      <a:r>
                        <a:rPr lang="en-US" sz="2200" b="0" spc="-20">
                          <a:effectLst/>
                        </a:rPr>
                        <a:t> </a:t>
                      </a:r>
                      <a:r>
                        <a:rPr lang="en-US" sz="2200" b="0">
                          <a:effectLst/>
                        </a:rPr>
                        <a:t>their</a:t>
                      </a:r>
                      <a:r>
                        <a:rPr lang="en-US" sz="2200" b="0" spc="-20">
                          <a:effectLst/>
                        </a:rPr>
                        <a:t> </a:t>
                      </a:r>
                      <a:r>
                        <a:rPr lang="en-US" sz="2200" b="0">
                          <a:effectLst/>
                        </a:rPr>
                        <a:t>sustainability</a:t>
                      </a:r>
                      <a:r>
                        <a:rPr lang="en-US" sz="2200" b="0" spc="-20">
                          <a:effectLst/>
                        </a:rPr>
                        <a:t> </a:t>
                      </a:r>
                      <a:r>
                        <a:rPr lang="en-US" sz="2200" b="0">
                          <a:effectLst/>
                        </a:rPr>
                        <a:t>reports</a:t>
                      </a:r>
                      <a:r>
                        <a:rPr lang="en-US" sz="2200" b="0" spc="-20">
                          <a:effectLst/>
                        </a:rPr>
                        <a:t> </a:t>
                      </a:r>
                      <a:r>
                        <a:rPr lang="en-US" sz="2200" b="0">
                          <a:effectLst/>
                        </a:rPr>
                        <a:t>and</a:t>
                      </a:r>
                      <a:r>
                        <a:rPr lang="en-US" sz="2200" b="0" spc="-20">
                          <a:effectLst/>
                        </a:rPr>
                        <a:t> </a:t>
                      </a:r>
                      <a:r>
                        <a:rPr lang="en-US" sz="2200" b="0">
                          <a:effectLst/>
                        </a:rPr>
                        <a:t>the</a:t>
                      </a:r>
                      <a:r>
                        <a:rPr lang="en-US" sz="2200" b="0" spc="-20">
                          <a:effectLst/>
                        </a:rPr>
                        <a:t> </a:t>
                      </a:r>
                      <a:r>
                        <a:rPr lang="en-US" sz="2200" b="0">
                          <a:effectLst/>
                        </a:rPr>
                        <a:t>BAT</a:t>
                      </a:r>
                      <a:r>
                        <a:rPr lang="en-US" sz="2200" b="0" spc="-290">
                          <a:effectLst/>
                        </a:rPr>
                        <a:t> </a:t>
                      </a:r>
                      <a:r>
                        <a:rPr lang="en-US" sz="2200" b="0">
                          <a:effectLst/>
                        </a:rPr>
                        <a:t>document</a:t>
                      </a:r>
                      <a:r>
                        <a:rPr lang="en-US" sz="2200" b="0" spc="-5">
                          <a:effectLst/>
                        </a:rPr>
                        <a:t> </a:t>
                      </a:r>
                      <a:r>
                        <a:rPr lang="en-US" sz="2200" b="0">
                          <a:effectLst/>
                        </a:rPr>
                        <a:t>includes it</a:t>
                      </a:r>
                      <a:r>
                        <a:rPr lang="en-US" sz="2200" b="0" spc="-5">
                          <a:effectLst/>
                        </a:rPr>
                        <a:t> </a:t>
                      </a:r>
                      <a:r>
                        <a:rPr lang="en-US" sz="2200" b="0">
                          <a:effectLst/>
                        </a:rPr>
                        <a:t>as</a:t>
                      </a:r>
                      <a:r>
                        <a:rPr lang="en-US" sz="2200" b="0" spc="-5">
                          <a:effectLst/>
                        </a:rPr>
                        <a:t> </a:t>
                      </a:r>
                      <a:r>
                        <a:rPr lang="en-US" sz="2200" b="0">
                          <a:effectLst/>
                        </a:rPr>
                        <a:t>well.</a:t>
                      </a:r>
                      <a:endParaRPr lang="sv-SE" sz="2200" b="0">
                        <a:effectLst/>
                        <a:latin typeface="Arial MT"/>
                        <a:ea typeface="Arial MT"/>
                        <a:cs typeface="Arial MT"/>
                      </a:endParaRPr>
                    </a:p>
                  </a:txBody>
                  <a:tcPr marL="0" marR="0" marT="0" marB="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45236547"/>
                  </a:ext>
                </a:extLst>
              </a:tr>
              <a:tr h="158642">
                <a:tc gridSpan="3">
                  <a:txBody>
                    <a:bodyPr/>
                    <a:lstStyle/>
                    <a:p>
                      <a:pPr marL="926465" indent="0" algn="l">
                        <a:lnSpc>
                          <a:spcPct val="100000"/>
                        </a:lnSpc>
                        <a:spcBef>
                          <a:spcPts val="360"/>
                        </a:spcBef>
                        <a:spcAft>
                          <a:spcPts val="0"/>
                        </a:spcAft>
                      </a:pPr>
                      <a:r>
                        <a:rPr lang="en-US" sz="2200">
                          <a:effectLst/>
                        </a:rPr>
                        <a:t>                                            KRIs</a:t>
                      </a:r>
                      <a:r>
                        <a:rPr lang="en-US" sz="2200" spc="-15">
                          <a:effectLst/>
                        </a:rPr>
                        <a:t> </a:t>
                      </a:r>
                      <a:r>
                        <a:rPr lang="en-US" sz="2200">
                          <a:effectLst/>
                        </a:rPr>
                        <a:t>related</a:t>
                      </a:r>
                      <a:r>
                        <a:rPr lang="en-US" sz="2200" spc="-15">
                          <a:effectLst/>
                        </a:rPr>
                        <a:t> </a:t>
                      </a:r>
                      <a:r>
                        <a:rPr lang="en-US" sz="2200">
                          <a:effectLst/>
                        </a:rPr>
                        <a:t>to</a:t>
                      </a:r>
                      <a:r>
                        <a:rPr lang="en-US" sz="2200" spc="-20">
                          <a:effectLst/>
                        </a:rPr>
                        <a:t> </a:t>
                      </a:r>
                      <a:r>
                        <a:rPr lang="en-US" sz="2200">
                          <a:effectLst/>
                        </a:rPr>
                        <a:t>waste</a:t>
                      </a:r>
                      <a:r>
                        <a:rPr lang="en-US" sz="2200" spc="-20">
                          <a:effectLst/>
                        </a:rPr>
                        <a:t> </a:t>
                      </a:r>
                      <a:r>
                        <a:rPr lang="en-US" sz="2200">
                          <a:effectLst/>
                        </a:rPr>
                        <a:t>generation</a:t>
                      </a:r>
                      <a:r>
                        <a:rPr lang="en-US" sz="2200" spc="-25">
                          <a:effectLst/>
                        </a:rPr>
                        <a:t> </a:t>
                      </a:r>
                      <a:r>
                        <a:rPr lang="en-US" sz="2200">
                          <a:effectLst/>
                        </a:rPr>
                        <a:t>and</a:t>
                      </a:r>
                      <a:r>
                        <a:rPr lang="en-US" sz="2200" spc="-20">
                          <a:effectLst/>
                        </a:rPr>
                        <a:t> </a:t>
                      </a:r>
                      <a:r>
                        <a:rPr lang="en-US" sz="2200">
                          <a:effectLst/>
                        </a:rPr>
                        <a:t>assessment</a:t>
                      </a:r>
                      <a:r>
                        <a:rPr lang="en-US" sz="2200" spc="-15">
                          <a:effectLst/>
                        </a:rPr>
                        <a:t> </a:t>
                      </a:r>
                      <a:r>
                        <a:rPr lang="en-US" sz="2200">
                          <a:effectLst/>
                        </a:rPr>
                        <a:t>of</a:t>
                      </a:r>
                      <a:r>
                        <a:rPr lang="en-US" sz="2200" spc="-20">
                          <a:effectLst/>
                        </a:rPr>
                        <a:t> </a:t>
                      </a:r>
                      <a:r>
                        <a:rPr lang="en-US" sz="2200">
                          <a:effectLst/>
                        </a:rPr>
                        <a:t>their</a:t>
                      </a:r>
                      <a:r>
                        <a:rPr lang="en-US" sz="2200" spc="-15">
                          <a:effectLst/>
                        </a:rPr>
                        <a:t> </a:t>
                      </a:r>
                      <a:r>
                        <a:rPr lang="en-US" sz="2200">
                          <a:effectLst/>
                        </a:rPr>
                        <a:t>relevance</a:t>
                      </a:r>
                      <a:endParaRPr lang="sv-SE" sz="2200">
                        <a:effectLst/>
                        <a:latin typeface="Arial MT"/>
                        <a:ea typeface="Arial MT"/>
                        <a:cs typeface="Arial MT"/>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hMerge="1">
                  <a:txBody>
                    <a:bodyPr/>
                    <a:lstStyle/>
                    <a:p>
                      <a:endParaRPr lang="sv-SE"/>
                    </a:p>
                  </a:txBody>
                  <a:tcPr>
                    <a:lnL>
                      <a:noFill/>
                    </a:lnL>
                    <a:lnT w="12700" cap="flat" cmpd="sng" algn="ctr">
                      <a:solidFill>
                        <a:schemeClr val="tx1"/>
                      </a:solidFill>
                      <a:prstDash val="solid"/>
                      <a:round/>
                      <a:headEnd type="none" w="med" len="med"/>
                      <a:tailEnd type="none" w="med" len="med"/>
                    </a:lnT>
                  </a:tcPr>
                </a:tc>
                <a:tc hMerge="1">
                  <a:txBody>
                    <a:bodyPr/>
                    <a:lstStyle/>
                    <a:p>
                      <a:pPr marL="926465" indent="0">
                        <a:lnSpc>
                          <a:spcPct val="100000"/>
                        </a:lnSpc>
                        <a:spcBef>
                          <a:spcPts val="360"/>
                        </a:spcBef>
                        <a:spcAft>
                          <a:spcPts val="0"/>
                        </a:spcAft>
                      </a:pPr>
                      <a:endParaRPr lang="sv-SE" sz="2200">
                        <a:effectLst/>
                        <a:latin typeface="Arial MT"/>
                        <a:ea typeface="Arial MT"/>
                        <a:cs typeface="Arial MT"/>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759336572"/>
                  </a:ext>
                </a:extLst>
              </a:tr>
              <a:tr h="331304">
                <a:tc>
                  <a:txBody>
                    <a:bodyPr/>
                    <a:lstStyle/>
                    <a:p>
                      <a:pPr marL="67945" marR="296545" indent="0">
                        <a:lnSpc>
                          <a:spcPct val="100000"/>
                        </a:lnSpc>
                        <a:spcBef>
                          <a:spcPts val="20"/>
                        </a:spcBef>
                        <a:spcAft>
                          <a:spcPts val="0"/>
                        </a:spcAft>
                      </a:pPr>
                      <a:r>
                        <a:rPr lang="en-US" sz="2200" b="0">
                          <a:effectLst/>
                        </a:rPr>
                        <a:t>Generation of non-hazardous waste</a:t>
                      </a:r>
                      <a:r>
                        <a:rPr lang="en-US" sz="2200" b="0" spc="-295">
                          <a:effectLst/>
                        </a:rPr>
                        <a:t> </a:t>
                      </a:r>
                      <a:r>
                        <a:rPr lang="en-US" sz="2200" b="0">
                          <a:effectLst/>
                        </a:rPr>
                        <a:t>Generation</a:t>
                      </a:r>
                      <a:r>
                        <a:rPr lang="en-US" sz="2200" b="0" spc="-5">
                          <a:effectLst/>
                        </a:rPr>
                        <a:t> </a:t>
                      </a:r>
                      <a:r>
                        <a:rPr lang="en-US" sz="2200" b="0">
                          <a:effectLst/>
                        </a:rPr>
                        <a:t>of</a:t>
                      </a:r>
                      <a:r>
                        <a:rPr lang="en-US" sz="2200" b="0" spc="-5">
                          <a:effectLst/>
                        </a:rPr>
                        <a:t> </a:t>
                      </a:r>
                      <a:r>
                        <a:rPr lang="en-US" sz="2200" b="0">
                          <a:effectLst/>
                        </a:rPr>
                        <a:t>hazardous</a:t>
                      </a:r>
                      <a:r>
                        <a:rPr lang="en-US" sz="2200" b="0" spc="-5">
                          <a:effectLst/>
                        </a:rPr>
                        <a:t> </a:t>
                      </a:r>
                      <a:r>
                        <a:rPr lang="en-US" sz="2200" b="0">
                          <a:effectLst/>
                        </a:rPr>
                        <a:t>waste</a:t>
                      </a:r>
                      <a:endParaRPr lang="sv-SE" sz="2200" b="0">
                        <a:effectLst/>
                        <a:latin typeface="Arial MT"/>
                        <a:ea typeface="Arial MT"/>
                        <a:cs typeface="Arial MT"/>
                      </a:endParaRP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2200" b="0">
                          <a:effectLst/>
                        </a:rPr>
                        <a:t>[t]</a:t>
                      </a:r>
                      <a:endParaRPr lang="sv-SE"/>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marL="67945" marR="474345" indent="0">
                        <a:lnSpc>
                          <a:spcPct val="100000"/>
                        </a:lnSpc>
                        <a:spcBef>
                          <a:spcPts val="100"/>
                        </a:spcBef>
                      </a:pPr>
                      <a:r>
                        <a:rPr lang="en-US" sz="2200" b="0">
                          <a:effectLst/>
                        </a:rPr>
                        <a:t>Relevant</a:t>
                      </a:r>
                      <a:r>
                        <a:rPr lang="en-US" sz="2200" b="0" spc="-15">
                          <a:effectLst/>
                        </a:rPr>
                        <a:t> </a:t>
                      </a:r>
                      <a:r>
                        <a:rPr lang="en-US" sz="2200" b="0">
                          <a:effectLst/>
                        </a:rPr>
                        <a:t>for</a:t>
                      </a:r>
                      <a:r>
                        <a:rPr lang="en-US" sz="2200" b="0" spc="-15">
                          <a:effectLst/>
                        </a:rPr>
                        <a:t> </a:t>
                      </a:r>
                      <a:r>
                        <a:rPr lang="en-US" sz="2200" b="0">
                          <a:effectLst/>
                        </a:rPr>
                        <a:t>all</a:t>
                      </a:r>
                      <a:r>
                        <a:rPr lang="en-US" sz="2200" b="0" spc="-10">
                          <a:effectLst/>
                        </a:rPr>
                        <a:t> </a:t>
                      </a:r>
                      <a:r>
                        <a:rPr lang="en-US" sz="2200" b="0">
                          <a:effectLst/>
                        </a:rPr>
                        <a:t>cases,</a:t>
                      </a:r>
                      <a:r>
                        <a:rPr lang="en-US" sz="2200" b="0" spc="-10">
                          <a:effectLst/>
                        </a:rPr>
                        <a:t> </a:t>
                      </a:r>
                      <a:r>
                        <a:rPr lang="en-US" sz="2200" b="0">
                          <a:effectLst/>
                        </a:rPr>
                        <a:t>where</a:t>
                      </a:r>
                      <a:r>
                        <a:rPr lang="en-US" sz="2200" b="0" spc="-10">
                          <a:effectLst/>
                        </a:rPr>
                        <a:t> </a:t>
                      </a:r>
                      <a:r>
                        <a:rPr lang="en-US" sz="2200" b="0">
                          <a:effectLst/>
                        </a:rPr>
                        <a:t>waste</a:t>
                      </a:r>
                      <a:r>
                        <a:rPr lang="en-US" sz="2200" b="0" spc="-15">
                          <a:effectLst/>
                        </a:rPr>
                        <a:t> </a:t>
                      </a:r>
                      <a:r>
                        <a:rPr lang="en-US" sz="2200" b="0">
                          <a:effectLst/>
                        </a:rPr>
                        <a:t>reductions</a:t>
                      </a:r>
                      <a:r>
                        <a:rPr lang="en-US" sz="2200" b="0" spc="-10">
                          <a:effectLst/>
                        </a:rPr>
                        <a:t> </a:t>
                      </a:r>
                      <a:r>
                        <a:rPr lang="en-US" sz="2200" b="0">
                          <a:effectLst/>
                        </a:rPr>
                        <a:t>are</a:t>
                      </a:r>
                      <a:r>
                        <a:rPr lang="en-US" sz="2200" b="0" spc="-290">
                          <a:effectLst/>
                        </a:rPr>
                        <a:t> </a:t>
                      </a:r>
                      <a:r>
                        <a:rPr lang="en-US" sz="2200" b="0">
                          <a:effectLst/>
                        </a:rPr>
                        <a:t>expected.</a:t>
                      </a:r>
                      <a:endParaRPr lang="sv-SE" sz="2200" b="0">
                        <a:effectLst/>
                        <a:latin typeface="Arial MT"/>
                        <a:ea typeface="Arial MT"/>
                        <a:cs typeface="Arial MT"/>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42418820"/>
                  </a:ext>
                </a:extLst>
              </a:tr>
              <a:tr h="686845">
                <a:tc>
                  <a:txBody>
                    <a:bodyPr/>
                    <a:lstStyle/>
                    <a:p>
                      <a:pPr marL="67945" marR="153670" indent="0">
                        <a:lnSpc>
                          <a:spcPct val="100000"/>
                        </a:lnSpc>
                        <a:spcBef>
                          <a:spcPts val="100"/>
                        </a:spcBef>
                      </a:pPr>
                      <a:r>
                        <a:rPr lang="en-US" sz="2200" b="0">
                          <a:effectLst/>
                        </a:rPr>
                        <a:t>Waste</a:t>
                      </a:r>
                      <a:r>
                        <a:rPr lang="en-US" sz="2200" b="0" spc="-25">
                          <a:effectLst/>
                        </a:rPr>
                        <a:t> </a:t>
                      </a:r>
                      <a:r>
                        <a:rPr lang="en-US" sz="2200" b="0">
                          <a:effectLst/>
                        </a:rPr>
                        <a:t>to</a:t>
                      </a:r>
                      <a:r>
                        <a:rPr lang="en-US" sz="2200" b="0" spc="-25">
                          <a:effectLst/>
                        </a:rPr>
                        <a:t> </a:t>
                      </a:r>
                      <a:r>
                        <a:rPr lang="en-US" sz="2200" b="0">
                          <a:effectLst/>
                        </a:rPr>
                        <a:t>disposal</a:t>
                      </a:r>
                      <a:r>
                        <a:rPr lang="en-US" sz="2200" b="0" spc="-25">
                          <a:effectLst/>
                        </a:rPr>
                        <a:t> </a:t>
                      </a:r>
                      <a:r>
                        <a:rPr lang="en-US" sz="2200" b="0">
                          <a:effectLst/>
                        </a:rPr>
                        <a:t>(landfill,</a:t>
                      </a:r>
                      <a:r>
                        <a:rPr lang="en-US" sz="2200" b="0" spc="-20">
                          <a:effectLst/>
                        </a:rPr>
                        <a:t> </a:t>
                      </a:r>
                      <a:r>
                        <a:rPr lang="en-US" sz="2200" b="0">
                          <a:effectLst/>
                        </a:rPr>
                        <a:t>incineration</a:t>
                      </a:r>
                      <a:r>
                        <a:rPr lang="en-US" sz="2200" b="0" spc="-290">
                          <a:effectLst/>
                        </a:rPr>
                        <a:t> </a:t>
                      </a:r>
                      <a:r>
                        <a:rPr lang="en-US" sz="2200" b="0">
                          <a:effectLst/>
                        </a:rPr>
                        <a:t>without</a:t>
                      </a:r>
                      <a:r>
                        <a:rPr lang="en-US" sz="2200" b="0" spc="-5">
                          <a:effectLst/>
                        </a:rPr>
                        <a:t> </a:t>
                      </a:r>
                      <a:r>
                        <a:rPr lang="en-US" sz="2200" b="0">
                          <a:effectLst/>
                        </a:rPr>
                        <a:t>energy recovery)</a:t>
                      </a:r>
                      <a:endParaRPr lang="sv-SE" sz="2200" b="0">
                        <a:effectLst/>
                      </a:endParaRPr>
                    </a:p>
                    <a:p>
                      <a:pPr marL="67945" marR="680720" indent="0">
                        <a:lnSpc>
                          <a:spcPct val="100000"/>
                        </a:lnSpc>
                        <a:spcBef>
                          <a:spcPts val="100"/>
                        </a:spcBef>
                      </a:pPr>
                      <a:r>
                        <a:rPr lang="en-US" sz="2200" b="0">
                          <a:effectLst/>
                        </a:rPr>
                        <a:t>Waste</a:t>
                      </a:r>
                      <a:r>
                        <a:rPr lang="en-US" sz="2200" b="0" spc="-30">
                          <a:effectLst/>
                        </a:rPr>
                        <a:t> </a:t>
                      </a:r>
                      <a:r>
                        <a:rPr lang="en-US" sz="2200" b="0">
                          <a:effectLst/>
                        </a:rPr>
                        <a:t>to</a:t>
                      </a:r>
                      <a:r>
                        <a:rPr lang="en-US" sz="2200" b="0" spc="-25">
                          <a:effectLst/>
                        </a:rPr>
                        <a:t> </a:t>
                      </a:r>
                      <a:r>
                        <a:rPr lang="en-US" sz="2200" b="0">
                          <a:effectLst/>
                        </a:rPr>
                        <a:t>recycling</a:t>
                      </a:r>
                      <a:r>
                        <a:rPr lang="en-US" sz="2200" b="0" spc="-30">
                          <a:effectLst/>
                        </a:rPr>
                        <a:t> </a:t>
                      </a:r>
                      <a:r>
                        <a:rPr lang="en-US" sz="2200" b="0">
                          <a:effectLst/>
                        </a:rPr>
                        <a:t>(upcycling,</a:t>
                      </a:r>
                      <a:r>
                        <a:rPr lang="en-US" sz="2200" b="0" spc="-290">
                          <a:effectLst/>
                        </a:rPr>
                        <a:t> </a:t>
                      </a:r>
                      <a:r>
                        <a:rPr lang="en-US" sz="2200" b="0">
                          <a:effectLst/>
                        </a:rPr>
                        <a:t>downcycling)</a:t>
                      </a:r>
                      <a:endParaRPr lang="sv-SE" sz="2200" b="0">
                        <a:effectLst/>
                      </a:endParaRPr>
                    </a:p>
                    <a:p>
                      <a:pPr marL="67945" indent="0">
                        <a:lnSpc>
                          <a:spcPct val="100000"/>
                        </a:lnSpc>
                        <a:spcBef>
                          <a:spcPts val="100"/>
                        </a:spcBef>
                      </a:pPr>
                      <a:r>
                        <a:rPr lang="en-US" sz="2200" b="0">
                          <a:effectLst/>
                        </a:rPr>
                        <a:t>Waste</a:t>
                      </a:r>
                      <a:r>
                        <a:rPr lang="en-US" sz="2200" b="0" spc="-20">
                          <a:effectLst/>
                        </a:rPr>
                        <a:t> </a:t>
                      </a:r>
                      <a:r>
                        <a:rPr lang="en-US" sz="2200" b="0">
                          <a:effectLst/>
                        </a:rPr>
                        <a:t>to</a:t>
                      </a:r>
                      <a:r>
                        <a:rPr lang="en-US" sz="2200" b="0" spc="-20">
                          <a:effectLst/>
                        </a:rPr>
                        <a:t> </a:t>
                      </a:r>
                      <a:r>
                        <a:rPr lang="en-US" sz="2200" b="0">
                          <a:effectLst/>
                        </a:rPr>
                        <a:t>energy</a:t>
                      </a:r>
                      <a:r>
                        <a:rPr lang="en-US" sz="2200" b="0" spc="-20">
                          <a:effectLst/>
                        </a:rPr>
                        <a:t> </a:t>
                      </a:r>
                      <a:r>
                        <a:rPr lang="en-US" sz="2200" b="0">
                          <a:effectLst/>
                        </a:rPr>
                        <a:t>recovery</a:t>
                      </a:r>
                      <a:endParaRPr lang="sv-SE" sz="2200" b="0">
                        <a:effectLst/>
                        <a:latin typeface="Arial MT"/>
                        <a:ea typeface="Arial MT"/>
                        <a:cs typeface="Arial MT"/>
                      </a:endParaRP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r>
                        <a:rPr lang="en-US" sz="2200" b="0">
                          <a:effectLst/>
                        </a:rPr>
                        <a:t>[%]</a:t>
                      </a:r>
                      <a:endParaRPr lang="sv-SE"/>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67945" marR="474345" indent="0">
                        <a:lnSpc>
                          <a:spcPct val="100000"/>
                        </a:lnSpc>
                        <a:spcBef>
                          <a:spcPts val="100"/>
                        </a:spcBef>
                      </a:pPr>
                      <a:r>
                        <a:rPr lang="en-US" sz="2200" b="0">
                          <a:effectLst/>
                        </a:rPr>
                        <a:t>Relevant</a:t>
                      </a:r>
                      <a:r>
                        <a:rPr lang="en-US" sz="2200" b="0" spc="-15">
                          <a:effectLst/>
                        </a:rPr>
                        <a:t> </a:t>
                      </a:r>
                      <a:r>
                        <a:rPr lang="en-US" sz="2200" b="0">
                          <a:effectLst/>
                        </a:rPr>
                        <a:t>for</a:t>
                      </a:r>
                      <a:r>
                        <a:rPr lang="en-US" sz="2200" b="0" spc="-15">
                          <a:effectLst/>
                        </a:rPr>
                        <a:t> </a:t>
                      </a:r>
                      <a:r>
                        <a:rPr lang="en-US" sz="2200" b="0">
                          <a:effectLst/>
                        </a:rPr>
                        <a:t>all</a:t>
                      </a:r>
                      <a:r>
                        <a:rPr lang="en-US" sz="2200" b="0" spc="-10">
                          <a:effectLst/>
                        </a:rPr>
                        <a:t> </a:t>
                      </a:r>
                      <a:r>
                        <a:rPr lang="en-US" sz="2200" b="0">
                          <a:effectLst/>
                        </a:rPr>
                        <a:t>cases,</a:t>
                      </a:r>
                      <a:r>
                        <a:rPr lang="en-US" sz="2200" b="0" spc="-10">
                          <a:effectLst/>
                        </a:rPr>
                        <a:t> </a:t>
                      </a:r>
                      <a:r>
                        <a:rPr lang="en-US" sz="2200" b="0">
                          <a:effectLst/>
                        </a:rPr>
                        <a:t>where</a:t>
                      </a:r>
                      <a:r>
                        <a:rPr lang="en-US" sz="2200" b="0" spc="-10">
                          <a:effectLst/>
                        </a:rPr>
                        <a:t> </a:t>
                      </a:r>
                      <a:r>
                        <a:rPr lang="en-US" sz="2200" b="0">
                          <a:effectLst/>
                        </a:rPr>
                        <a:t>waste</a:t>
                      </a:r>
                      <a:r>
                        <a:rPr lang="en-US" sz="2200" b="0" spc="-15">
                          <a:effectLst/>
                        </a:rPr>
                        <a:t> </a:t>
                      </a:r>
                      <a:r>
                        <a:rPr lang="en-US" sz="2200" b="0">
                          <a:effectLst/>
                        </a:rPr>
                        <a:t>reductions</a:t>
                      </a:r>
                      <a:r>
                        <a:rPr lang="en-US" sz="2200" b="0" spc="-10">
                          <a:effectLst/>
                        </a:rPr>
                        <a:t> </a:t>
                      </a:r>
                      <a:r>
                        <a:rPr lang="en-US" sz="2200" b="0">
                          <a:effectLst/>
                        </a:rPr>
                        <a:t>are</a:t>
                      </a:r>
                      <a:r>
                        <a:rPr lang="en-US" sz="2200" b="0" spc="-290">
                          <a:effectLst/>
                        </a:rPr>
                        <a:t> </a:t>
                      </a:r>
                      <a:r>
                        <a:rPr lang="en-US" sz="2200" b="0">
                          <a:effectLst/>
                        </a:rPr>
                        <a:t>expected.</a:t>
                      </a:r>
                      <a:endParaRPr lang="sv-SE" sz="2200" b="0">
                        <a:effectLst/>
                        <a:latin typeface="Arial MT"/>
                        <a:ea typeface="Arial MT"/>
                        <a:cs typeface="Arial MT"/>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3211052330"/>
                  </a:ext>
                </a:extLst>
              </a:tr>
            </a:tbl>
          </a:graphicData>
        </a:graphic>
      </p:graphicFrame>
    </p:spTree>
    <p:extLst>
      <p:ext uri="{BB962C8B-B14F-4D97-AF65-F5344CB8AC3E}">
        <p14:creationId xmlns:p14="http://schemas.microsoft.com/office/powerpoint/2010/main" val="10106633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6"/>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marL="0" marR="0" lvl="0" indent="0" algn="ctr" defTabSz="914400" rtl="0" eaLnBrk="1" fontAlgn="auto" latinLnBrk="0" hangingPunct="1">
                <a:lnSpc>
                  <a:spcPts val="3919"/>
                </a:lnSpc>
                <a:spcBef>
                  <a:spcPct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OCR A Extended" panose="02010509020102010303" pitchFamily="50" charset="0"/>
                  <a:ea typeface="+mn-ea"/>
                  <a:cs typeface="+mn-cs"/>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4"/>
          <a:srcRect/>
          <a:stretch>
            <a:fillRect/>
          </a:stretch>
        </p:blipFill>
        <p:spPr>
          <a:xfrm>
            <a:off x="0" y="9625294"/>
            <a:ext cx="2728686" cy="661706"/>
          </a:xfrm>
          <a:prstGeom prst="rect">
            <a:avLst/>
          </a:prstGeom>
        </p:spPr>
      </p:pic>
      <p:grpSp>
        <p:nvGrpSpPr>
          <p:cNvPr id="3" name="Gruppo 2">
            <a:extLst>
              <a:ext uri="{FF2B5EF4-FFF2-40B4-BE49-F238E27FC236}">
                <a16:creationId xmlns:a16="http://schemas.microsoft.com/office/drawing/2014/main" id="{1C29CBCA-BE0A-4EF6-AC69-329941E1DCFD}"/>
              </a:ext>
            </a:extLst>
          </p:cNvPr>
          <p:cNvGrpSpPr/>
          <p:nvPr/>
        </p:nvGrpSpPr>
        <p:grpSpPr>
          <a:xfrm>
            <a:off x="-12" y="138554"/>
            <a:ext cx="18288002" cy="681138"/>
            <a:chOff x="-12" y="138554"/>
            <a:chExt cx="18288002" cy="681138"/>
          </a:xfrm>
        </p:grpSpPr>
        <p:grpSp>
          <p:nvGrpSpPr>
            <p:cNvPr id="2" name="Gruppo 1">
              <a:extLst>
                <a:ext uri="{FF2B5EF4-FFF2-40B4-BE49-F238E27FC236}">
                  <a16:creationId xmlns:a16="http://schemas.microsoft.com/office/drawing/2014/main" id="{24E9C7AF-0093-476F-826C-A2702AB72892}"/>
                </a:ext>
              </a:extLst>
            </p:cNvPr>
            <p:cNvGrpSpPr/>
            <p:nvPr/>
          </p:nvGrpSpPr>
          <p:grpSpPr>
            <a:xfrm>
              <a:off x="0" y="153125"/>
              <a:ext cx="17907000" cy="666567"/>
              <a:chOff x="0" y="153125"/>
              <a:chExt cx="17907000" cy="666567"/>
            </a:xfrm>
          </p:grpSpPr>
          <p:grpSp>
            <p:nvGrpSpPr>
              <p:cNvPr id="16" name="Gruppo 15">
                <a:extLst>
                  <a:ext uri="{FF2B5EF4-FFF2-40B4-BE49-F238E27FC236}">
                    <a16:creationId xmlns:a16="http://schemas.microsoft.com/office/drawing/2014/main" id="{DAC42A46-917D-41AB-8F07-E15E54D0F7D4}"/>
                  </a:ext>
                </a:extLst>
              </p:cNvPr>
              <p:cNvGrpSpPr/>
              <p:nvPr/>
            </p:nvGrpSpPr>
            <p:grpSpPr>
              <a:xfrm>
                <a:off x="0" y="153125"/>
                <a:ext cx="13958844" cy="666567"/>
                <a:chOff x="0" y="153125"/>
                <a:chExt cx="13958844" cy="666567"/>
              </a:xfrm>
            </p:grpSpPr>
            <p:pic>
              <p:nvPicPr>
                <p:cNvPr id="10" name="Picture 10"/>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1" name="TextBox 11"/>
                <p:cNvSpPr txBox="1"/>
                <p:nvPr/>
              </p:nvSpPr>
              <p:spPr>
                <a:xfrm>
                  <a:off x="228600" y="257980"/>
                  <a:ext cx="9296400" cy="456856"/>
                </a:xfrm>
                <a:prstGeom prst="rect">
                  <a:avLst/>
                </a:prstGeom>
              </p:spPr>
              <p:txBody>
                <a:bodyPr wrap="square" lIns="0" tIns="0" rIns="0" bIns="0" rtlCol="0" anchor="t">
                  <a:spAutoFit/>
                </a:bodyPr>
                <a:lstStyle/>
                <a:p>
                  <a:pPr marL="0" marR="0" lvl="0" indent="0" algn="l" defTabSz="914400" rtl="0" eaLnBrk="1" fontAlgn="auto" latinLnBrk="0" hangingPunct="1">
                    <a:lnSpc>
                      <a:spcPts val="3919"/>
                    </a:lnSpc>
                    <a:spcBef>
                      <a:spcPct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2" name="TextBox 11">
                <a:extLst>
                  <a:ext uri="{FF2B5EF4-FFF2-40B4-BE49-F238E27FC236}">
                    <a16:creationId xmlns:a16="http://schemas.microsoft.com/office/drawing/2014/main" id="{1BD9B5F4-614C-4EB6-8C5B-120A5420CE43}"/>
                  </a:ext>
                </a:extLst>
              </p:cNvPr>
              <p:cNvSpPr txBox="1"/>
              <p:nvPr/>
            </p:nvSpPr>
            <p:spPr>
              <a:xfrm>
                <a:off x="12154296" y="257980"/>
                <a:ext cx="5752704" cy="456856"/>
              </a:xfrm>
              <a:prstGeom prst="rect">
                <a:avLst/>
              </a:prstGeom>
            </p:spPr>
            <p:txBody>
              <a:bodyPr wrap="square" lIns="0" tIns="0" rIns="0" bIns="0" rtlCol="0" anchor="t">
                <a:spAutoFit/>
              </a:bodyPr>
              <a:lstStyle/>
              <a:p>
                <a:pPr marL="0" marR="0" lvl="0" indent="0" algn="r" defTabSz="914400" rtl="0" eaLnBrk="1" fontAlgn="auto" latinLnBrk="0" hangingPunct="1">
                  <a:lnSpc>
                    <a:spcPts val="3919"/>
                  </a:lnSpc>
                  <a:spcBef>
                    <a:spcPct val="0"/>
                  </a:spcBef>
                  <a:spcAft>
                    <a:spcPts val="0"/>
                  </a:spcAft>
                  <a:buClrTx/>
                  <a:buSzTx/>
                  <a:buFontTx/>
                  <a:buNone/>
                  <a:tabLst/>
                  <a:defRPr/>
                </a:pPr>
                <a:endParaRPr kumimoji="0" lang="en-US" sz="2800" b="0" i="0" u="none" strike="noStrike" kern="1200" cap="none" spc="0" normalizeH="0" baseline="0" noProof="0">
                  <a:ln>
                    <a:noFill/>
                  </a:ln>
                  <a:solidFill>
                    <a:srgbClr val="2F2F2F">
                      <a:lumMod val="75000"/>
                      <a:lumOff val="25000"/>
                    </a:srgbClr>
                  </a:solidFill>
                  <a:effectLst/>
                  <a:uLnTx/>
                  <a:uFillTx/>
                  <a:latin typeface="Arial" panose="020B0604020202020204" pitchFamily="34" charset="0"/>
                  <a:ea typeface="+mn-ea"/>
                  <a:cs typeface="Arial" panose="020B0604020202020204" pitchFamily="34" charset="0"/>
                </a:endParaRPr>
              </a:p>
            </p:txBody>
          </p:sp>
        </p:grpSp>
        <p:sp>
          <p:nvSpPr>
            <p:cNvPr id="14" name="Rettangolo 13">
              <a:extLst>
                <a:ext uri="{FF2B5EF4-FFF2-40B4-BE49-F238E27FC236}">
                  <a16:creationId xmlns:a16="http://schemas.microsoft.com/office/drawing/2014/main" id="{55199736-B8B6-4C9A-8BAF-233E07A0CA89}"/>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6" name="Title 1">
            <a:extLst>
              <a:ext uri="{FF2B5EF4-FFF2-40B4-BE49-F238E27FC236}">
                <a16:creationId xmlns:a16="http://schemas.microsoft.com/office/drawing/2014/main" id="{2583BFDD-8EE6-8483-D4E4-AA6A5F3901C8}"/>
              </a:ext>
            </a:extLst>
          </p:cNvPr>
          <p:cNvSpPr txBox="1">
            <a:spLocks/>
          </p:cNvSpPr>
          <p:nvPr/>
        </p:nvSpPr>
        <p:spPr>
          <a:xfrm>
            <a:off x="540522" y="934579"/>
            <a:ext cx="12877800" cy="930729"/>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sv-SE" sz="5400" b="1">
                <a:solidFill>
                  <a:srgbClr val="CC0033"/>
                </a:solidFill>
                <a:ea typeface="+mn-ea"/>
                <a:cs typeface="Arial" panose="020B0604020202020204" pitchFamily="34" charset="0"/>
              </a:rPr>
              <a:t>Group </a:t>
            </a:r>
            <a:r>
              <a:rPr lang="sv-SE" sz="5400" b="1" err="1">
                <a:solidFill>
                  <a:srgbClr val="CC0033"/>
                </a:solidFill>
                <a:ea typeface="+mn-ea"/>
                <a:cs typeface="Arial" panose="020B0604020202020204" pitchFamily="34" charset="0"/>
              </a:rPr>
              <a:t>discussion</a:t>
            </a:r>
            <a:endParaRPr lang="sv-SE"/>
          </a:p>
        </p:txBody>
      </p:sp>
      <p:sp>
        <p:nvSpPr>
          <p:cNvPr id="7" name="Oval 6">
            <a:extLst>
              <a:ext uri="{FF2B5EF4-FFF2-40B4-BE49-F238E27FC236}">
                <a16:creationId xmlns:a16="http://schemas.microsoft.com/office/drawing/2014/main" id="{19AE5D9D-3AC7-66BB-55B7-372D536612D6}"/>
              </a:ext>
            </a:extLst>
          </p:cNvPr>
          <p:cNvSpPr/>
          <p:nvPr/>
        </p:nvSpPr>
        <p:spPr>
          <a:xfrm>
            <a:off x="6529614" y="6032499"/>
            <a:ext cx="2859313" cy="114662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400" b="1" i="0" u="none" strike="noStrike" kern="1200" cap="none" spc="0" normalizeH="0" baseline="0" noProof="0">
                <a:ln>
                  <a:noFill/>
                </a:ln>
                <a:solidFill>
                  <a:srgbClr val="FFFFFF"/>
                </a:solidFill>
                <a:effectLst/>
                <a:uLnTx/>
                <a:uFillTx/>
                <a:latin typeface="Arial"/>
                <a:ea typeface="+mn-ea"/>
                <a:cs typeface="+mn-cs"/>
              </a:rPr>
              <a:t>EU policy </a:t>
            </a:r>
            <a:r>
              <a:rPr kumimoji="0" lang="sv-SE" sz="2400" b="1" i="0" u="none" strike="noStrike" kern="1200" cap="none" spc="0" normalizeH="0" baseline="0" noProof="0" err="1">
                <a:ln>
                  <a:noFill/>
                </a:ln>
                <a:solidFill>
                  <a:srgbClr val="FFFFFF"/>
                </a:solidFill>
                <a:effectLst/>
                <a:uLnTx/>
                <a:uFillTx/>
                <a:latin typeface="Arial"/>
                <a:ea typeface="+mn-ea"/>
                <a:cs typeface="+mn-cs"/>
              </a:rPr>
              <a:t>framework</a:t>
            </a:r>
            <a:endParaRPr kumimoji="0" lang="sv-SE" sz="2400" b="1" i="0" u="none" strike="noStrike" kern="1200" cap="none" spc="0" normalizeH="0" baseline="0" noProof="0">
              <a:ln>
                <a:noFill/>
              </a:ln>
              <a:solidFill>
                <a:srgbClr val="FFFFFF"/>
              </a:solidFill>
              <a:effectLst/>
              <a:uLnTx/>
              <a:uFillTx/>
              <a:latin typeface="Arial"/>
              <a:ea typeface="+mn-ea"/>
              <a:cs typeface="+mn-cs"/>
            </a:endParaRPr>
          </a:p>
        </p:txBody>
      </p:sp>
      <p:sp>
        <p:nvSpPr>
          <p:cNvPr id="8" name="Oval 7">
            <a:extLst>
              <a:ext uri="{FF2B5EF4-FFF2-40B4-BE49-F238E27FC236}">
                <a16:creationId xmlns:a16="http://schemas.microsoft.com/office/drawing/2014/main" id="{2F050510-5E10-03FC-EA75-23CAF4D23A88}"/>
              </a:ext>
            </a:extLst>
          </p:cNvPr>
          <p:cNvSpPr/>
          <p:nvPr/>
        </p:nvSpPr>
        <p:spPr>
          <a:xfrm>
            <a:off x="5261425" y="7794960"/>
            <a:ext cx="3069769" cy="140062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400" b="1" i="0" u="none" strike="noStrike" kern="1200" cap="none" spc="0" normalizeH="0" baseline="0" noProof="0" err="1">
                <a:ln>
                  <a:noFill/>
                </a:ln>
                <a:solidFill>
                  <a:srgbClr val="FFFFFF"/>
                </a:solidFill>
                <a:effectLst/>
                <a:uLnTx/>
                <a:uFillTx/>
                <a:latin typeface="Arial"/>
                <a:ea typeface="+mn-ea"/>
                <a:cs typeface="+mn-cs"/>
              </a:rPr>
              <a:t>Reduction</a:t>
            </a:r>
            <a:r>
              <a:rPr kumimoji="0" lang="sv-SE" sz="2400" b="1" i="0" u="none" strike="noStrike" kern="1200" cap="none" spc="0" normalizeH="0" baseline="0" noProof="0">
                <a:ln>
                  <a:noFill/>
                </a:ln>
                <a:solidFill>
                  <a:srgbClr val="FFFFFF"/>
                </a:solidFill>
                <a:effectLst/>
                <a:uLnTx/>
                <a:uFillTx/>
                <a:latin typeface="Arial"/>
                <a:ea typeface="+mn-ea"/>
                <a:cs typeface="+mn-cs"/>
              </a:rPr>
              <a:t> of CAPEX and OPEX</a:t>
            </a:r>
          </a:p>
        </p:txBody>
      </p:sp>
      <p:sp>
        <p:nvSpPr>
          <p:cNvPr id="9" name="Oval 8">
            <a:extLst>
              <a:ext uri="{FF2B5EF4-FFF2-40B4-BE49-F238E27FC236}">
                <a16:creationId xmlns:a16="http://schemas.microsoft.com/office/drawing/2014/main" id="{44C8D079-09F3-D192-892B-42B558E86050}"/>
              </a:ext>
            </a:extLst>
          </p:cNvPr>
          <p:cNvSpPr/>
          <p:nvPr/>
        </p:nvSpPr>
        <p:spPr>
          <a:xfrm>
            <a:off x="8778419" y="8264859"/>
            <a:ext cx="3817254" cy="93072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400" b="1" i="0" u="none" strike="noStrike" kern="1200" cap="none" spc="0" normalizeH="0" baseline="0" noProof="0" err="1">
                <a:ln>
                  <a:noFill/>
                </a:ln>
                <a:solidFill>
                  <a:srgbClr val="FFFFFF"/>
                </a:solidFill>
                <a:effectLst/>
                <a:uLnTx/>
                <a:uFillTx/>
                <a:latin typeface="Arial"/>
                <a:ea typeface="+mn-ea"/>
                <a:cs typeface="+mn-cs"/>
              </a:rPr>
              <a:t>Competitiveness</a:t>
            </a:r>
            <a:r>
              <a:rPr kumimoji="0" lang="sv-SE" sz="2400" b="1" i="0" u="none" strike="noStrike" kern="1200" cap="none" spc="0" normalizeH="0" baseline="0" noProof="0">
                <a:ln>
                  <a:noFill/>
                </a:ln>
                <a:solidFill>
                  <a:srgbClr val="FFFFFF"/>
                </a:solidFill>
                <a:effectLst/>
                <a:uLnTx/>
                <a:uFillTx/>
                <a:latin typeface="Arial"/>
                <a:ea typeface="+mn-ea"/>
                <a:cs typeface="+mn-cs"/>
              </a:rPr>
              <a:t> level</a:t>
            </a:r>
          </a:p>
        </p:txBody>
      </p:sp>
      <p:sp>
        <p:nvSpPr>
          <p:cNvPr id="15" name="Oval 14">
            <a:extLst>
              <a:ext uri="{FF2B5EF4-FFF2-40B4-BE49-F238E27FC236}">
                <a16:creationId xmlns:a16="http://schemas.microsoft.com/office/drawing/2014/main" id="{23CFCDD7-7379-6070-BB60-B67CE7575E57}"/>
              </a:ext>
            </a:extLst>
          </p:cNvPr>
          <p:cNvSpPr/>
          <p:nvPr/>
        </p:nvSpPr>
        <p:spPr>
          <a:xfrm>
            <a:off x="1045024" y="6032499"/>
            <a:ext cx="4216401" cy="126771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400" b="1" i="0" u="none" strike="noStrike" kern="1200" cap="none" spc="0" normalizeH="0" baseline="0" noProof="0" err="1">
                <a:ln>
                  <a:noFill/>
                </a:ln>
                <a:solidFill>
                  <a:srgbClr val="FFFFFF"/>
                </a:solidFill>
                <a:effectLst/>
                <a:uLnTx/>
                <a:uFillTx/>
                <a:latin typeface="Arial"/>
                <a:ea typeface="+mn-ea"/>
                <a:cs typeface="+mn-cs"/>
              </a:rPr>
              <a:t>Type</a:t>
            </a:r>
            <a:r>
              <a:rPr kumimoji="0" lang="sv-SE" sz="2400" b="1" i="0" u="none" strike="noStrike" kern="1200" cap="none" spc="0" normalizeH="0" baseline="0" noProof="0">
                <a:ln>
                  <a:noFill/>
                </a:ln>
                <a:solidFill>
                  <a:srgbClr val="FFFFFF"/>
                </a:solidFill>
                <a:effectLst/>
                <a:uLnTx/>
                <a:uFillTx/>
                <a:latin typeface="Arial"/>
                <a:ea typeface="+mn-ea"/>
                <a:cs typeface="+mn-cs"/>
              </a:rPr>
              <a:t> </a:t>
            </a:r>
            <a:r>
              <a:rPr kumimoji="0" lang="sv-SE" sz="2400" b="1" i="0" u="none" strike="noStrike" kern="1200" cap="none" spc="0" normalizeH="0" baseline="0" noProof="0" err="1">
                <a:ln>
                  <a:noFill/>
                </a:ln>
                <a:solidFill>
                  <a:srgbClr val="FFFFFF"/>
                </a:solidFill>
                <a:effectLst/>
                <a:uLnTx/>
                <a:uFillTx/>
                <a:latin typeface="Arial"/>
                <a:ea typeface="+mn-ea"/>
                <a:cs typeface="+mn-cs"/>
              </a:rPr>
              <a:t>of</a:t>
            </a:r>
            <a:r>
              <a:rPr kumimoji="0" lang="sv-SE" sz="2400" b="1" i="0" u="none" strike="noStrike" kern="1200" cap="none" spc="0" normalizeH="0" baseline="0" noProof="0">
                <a:ln>
                  <a:noFill/>
                </a:ln>
                <a:solidFill>
                  <a:srgbClr val="FFFFFF"/>
                </a:solidFill>
                <a:effectLst/>
                <a:uLnTx/>
                <a:uFillTx/>
                <a:latin typeface="Arial"/>
                <a:ea typeface="+mn-ea"/>
                <a:cs typeface="+mn-cs"/>
              </a:rPr>
              <a:t> market: international or </a:t>
            </a:r>
            <a:r>
              <a:rPr kumimoji="0" lang="sv-SE" sz="2400" b="1" i="0" u="none" strike="noStrike" kern="1200" cap="none" spc="0" normalizeH="0" baseline="0" noProof="0" err="1">
                <a:ln>
                  <a:noFill/>
                </a:ln>
                <a:solidFill>
                  <a:srgbClr val="FFFFFF"/>
                </a:solidFill>
                <a:effectLst/>
                <a:uLnTx/>
                <a:uFillTx/>
                <a:latin typeface="Arial"/>
                <a:ea typeface="+mn-ea"/>
                <a:cs typeface="+mn-cs"/>
              </a:rPr>
              <a:t>domestic</a:t>
            </a:r>
            <a:endParaRPr kumimoji="0" lang="sv-SE" sz="2400" b="1" i="0" u="none" strike="noStrike" kern="1200" cap="none" spc="0" normalizeH="0" baseline="0" noProof="0">
              <a:ln>
                <a:noFill/>
              </a:ln>
              <a:solidFill>
                <a:srgbClr val="FFFFFF"/>
              </a:solidFill>
              <a:effectLst/>
              <a:uLnTx/>
              <a:uFillTx/>
              <a:latin typeface="Arial"/>
              <a:ea typeface="+mn-ea"/>
              <a:cs typeface="+mn-cs"/>
            </a:endParaRPr>
          </a:p>
        </p:txBody>
      </p:sp>
      <p:sp>
        <p:nvSpPr>
          <p:cNvPr id="21" name="Oval 20">
            <a:extLst>
              <a:ext uri="{FF2B5EF4-FFF2-40B4-BE49-F238E27FC236}">
                <a16:creationId xmlns:a16="http://schemas.microsoft.com/office/drawing/2014/main" id="{6F03AF8C-5EA2-DC13-B30D-CC923CF20A9A}"/>
              </a:ext>
            </a:extLst>
          </p:cNvPr>
          <p:cNvSpPr/>
          <p:nvPr/>
        </p:nvSpPr>
        <p:spPr>
          <a:xfrm>
            <a:off x="10063848" y="4368257"/>
            <a:ext cx="2859313" cy="93072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400" b="1" i="0" u="none" strike="noStrike" kern="1200" cap="none" spc="0" normalizeH="0" baseline="0" noProof="0">
                <a:ln>
                  <a:noFill/>
                </a:ln>
                <a:solidFill>
                  <a:srgbClr val="FFFFFF"/>
                </a:solidFill>
                <a:effectLst/>
                <a:uLnTx/>
                <a:uFillTx/>
                <a:latin typeface="Arial"/>
                <a:ea typeface="+mn-ea"/>
                <a:cs typeface="+mn-cs"/>
              </a:rPr>
              <a:t>Company </a:t>
            </a:r>
            <a:r>
              <a:rPr kumimoji="0" lang="sv-SE" sz="2400" b="1" i="0" u="none" strike="noStrike" kern="1200" cap="none" spc="0" normalizeH="0" baseline="0" noProof="0" err="1">
                <a:ln>
                  <a:noFill/>
                </a:ln>
                <a:solidFill>
                  <a:srgbClr val="FFFFFF"/>
                </a:solidFill>
                <a:effectLst/>
                <a:uLnTx/>
                <a:uFillTx/>
                <a:latin typeface="Arial"/>
                <a:ea typeface="+mn-ea"/>
                <a:cs typeface="+mn-cs"/>
              </a:rPr>
              <a:t>organization</a:t>
            </a:r>
            <a:endParaRPr kumimoji="0" lang="sv-SE" sz="2400" b="1" i="0" u="none" strike="noStrike" kern="1200" cap="none" spc="0" normalizeH="0" baseline="0" noProof="0">
              <a:ln>
                <a:noFill/>
              </a:ln>
              <a:solidFill>
                <a:srgbClr val="FFFFFF"/>
              </a:solidFill>
              <a:effectLst/>
              <a:uLnTx/>
              <a:uFillTx/>
              <a:latin typeface="Arial"/>
              <a:ea typeface="+mn-ea"/>
              <a:cs typeface="+mn-cs"/>
            </a:endParaRPr>
          </a:p>
        </p:txBody>
      </p:sp>
      <p:sp>
        <p:nvSpPr>
          <p:cNvPr id="23" name="Oval 22">
            <a:extLst>
              <a:ext uri="{FF2B5EF4-FFF2-40B4-BE49-F238E27FC236}">
                <a16:creationId xmlns:a16="http://schemas.microsoft.com/office/drawing/2014/main" id="{8FC52B93-ECC7-B31B-6A2A-42BAE28D855D}"/>
              </a:ext>
            </a:extLst>
          </p:cNvPr>
          <p:cNvSpPr/>
          <p:nvPr/>
        </p:nvSpPr>
        <p:spPr>
          <a:xfrm>
            <a:off x="1519466" y="7971971"/>
            <a:ext cx="2859313" cy="114662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400" b="1" i="0" u="none" strike="noStrike" kern="1200" cap="none" spc="0" normalizeH="0" baseline="0" noProof="0">
                <a:ln>
                  <a:noFill/>
                </a:ln>
                <a:solidFill>
                  <a:srgbClr val="FFFFFF"/>
                </a:solidFill>
                <a:effectLst/>
                <a:uLnTx/>
                <a:uFillTx/>
                <a:latin typeface="Arial"/>
                <a:ea typeface="+mn-ea"/>
                <a:cs typeface="+mn-cs"/>
              </a:rPr>
              <a:t>Price of </a:t>
            </a:r>
            <a:r>
              <a:rPr kumimoji="0" lang="sv-SE" sz="2400" b="1" i="0" u="none" strike="noStrike" kern="1200" cap="none" spc="0" normalizeH="0" baseline="0" noProof="0" err="1">
                <a:ln>
                  <a:noFill/>
                </a:ln>
                <a:solidFill>
                  <a:srgbClr val="FFFFFF"/>
                </a:solidFill>
                <a:effectLst/>
                <a:uLnTx/>
                <a:uFillTx/>
                <a:latin typeface="Arial"/>
                <a:ea typeface="+mn-ea"/>
                <a:cs typeface="+mn-cs"/>
              </a:rPr>
              <a:t>feedstock</a:t>
            </a:r>
            <a:endParaRPr kumimoji="0" lang="sv-SE" sz="2400" b="1" i="0" u="none" strike="noStrike" kern="1200" cap="none" spc="0" normalizeH="0" baseline="0" noProof="0">
              <a:ln>
                <a:noFill/>
              </a:ln>
              <a:solidFill>
                <a:srgbClr val="FFFFFF"/>
              </a:solidFill>
              <a:effectLst/>
              <a:uLnTx/>
              <a:uFillTx/>
              <a:latin typeface="Arial"/>
              <a:ea typeface="+mn-ea"/>
              <a:cs typeface="+mn-cs"/>
            </a:endParaRPr>
          </a:p>
        </p:txBody>
      </p:sp>
      <p:sp>
        <p:nvSpPr>
          <p:cNvPr id="24" name="Oval 23">
            <a:extLst>
              <a:ext uri="{FF2B5EF4-FFF2-40B4-BE49-F238E27FC236}">
                <a16:creationId xmlns:a16="http://schemas.microsoft.com/office/drawing/2014/main" id="{38FA6073-5208-B9FB-B244-79C81A17FA60}"/>
              </a:ext>
            </a:extLst>
          </p:cNvPr>
          <p:cNvSpPr/>
          <p:nvPr/>
        </p:nvSpPr>
        <p:spPr>
          <a:xfrm>
            <a:off x="13819420" y="6140448"/>
            <a:ext cx="2859313" cy="93072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400" b="1" i="0" u="none" strike="noStrike" kern="1200" cap="none" spc="0" normalizeH="0" baseline="0" noProof="0" err="1">
                <a:ln>
                  <a:noFill/>
                </a:ln>
                <a:solidFill>
                  <a:srgbClr val="FFFFFF"/>
                </a:solidFill>
                <a:effectLst/>
                <a:uLnTx/>
                <a:uFillTx/>
                <a:latin typeface="Arial"/>
                <a:ea typeface="+mn-ea"/>
                <a:cs typeface="+mn-cs"/>
              </a:rPr>
              <a:t>Size</a:t>
            </a:r>
            <a:r>
              <a:rPr kumimoji="0" lang="sv-SE" sz="2400" b="1" i="0" u="none" strike="noStrike" kern="1200" cap="none" spc="0" normalizeH="0" baseline="0" noProof="0">
                <a:ln>
                  <a:noFill/>
                </a:ln>
                <a:solidFill>
                  <a:srgbClr val="FFFFFF"/>
                </a:solidFill>
                <a:effectLst/>
                <a:uLnTx/>
                <a:uFillTx/>
                <a:latin typeface="Arial"/>
                <a:ea typeface="+mn-ea"/>
                <a:cs typeface="+mn-cs"/>
              </a:rPr>
              <a:t> of the </a:t>
            </a:r>
            <a:r>
              <a:rPr kumimoji="0" lang="sv-SE" sz="2400" b="1" i="0" u="none" strike="noStrike" kern="1200" cap="none" spc="0" normalizeH="0" baseline="0" noProof="0" err="1">
                <a:ln>
                  <a:noFill/>
                </a:ln>
                <a:solidFill>
                  <a:srgbClr val="FFFFFF"/>
                </a:solidFill>
                <a:effectLst/>
                <a:uLnTx/>
                <a:uFillTx/>
                <a:latin typeface="Arial"/>
                <a:ea typeface="+mn-ea"/>
                <a:cs typeface="+mn-cs"/>
              </a:rPr>
              <a:t>company</a:t>
            </a:r>
            <a:endParaRPr kumimoji="0" lang="sv-SE" sz="2400" b="1" i="0" u="none" strike="noStrike" kern="1200" cap="none" spc="0" normalizeH="0" baseline="0" noProof="0">
              <a:ln>
                <a:noFill/>
              </a:ln>
              <a:solidFill>
                <a:srgbClr val="FFFFFF"/>
              </a:solidFill>
              <a:effectLst/>
              <a:uLnTx/>
              <a:uFillTx/>
              <a:latin typeface="Arial"/>
              <a:ea typeface="+mn-ea"/>
              <a:cs typeface="+mn-cs"/>
            </a:endParaRPr>
          </a:p>
        </p:txBody>
      </p:sp>
      <p:sp>
        <p:nvSpPr>
          <p:cNvPr id="25" name="Oval 24">
            <a:extLst>
              <a:ext uri="{FF2B5EF4-FFF2-40B4-BE49-F238E27FC236}">
                <a16:creationId xmlns:a16="http://schemas.microsoft.com/office/drawing/2014/main" id="{872D24E1-713A-08E6-2785-52AB75BDD0A4}"/>
              </a:ext>
            </a:extLst>
          </p:cNvPr>
          <p:cNvSpPr/>
          <p:nvPr/>
        </p:nvSpPr>
        <p:spPr>
          <a:xfrm>
            <a:off x="1944918" y="3966026"/>
            <a:ext cx="2859313" cy="93072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400" b="1" i="0" u="none" strike="noStrike" kern="1200" cap="none" spc="0" normalizeH="0" baseline="0" noProof="0">
                <a:ln>
                  <a:noFill/>
                </a:ln>
                <a:solidFill>
                  <a:srgbClr val="FFFFFF"/>
                </a:solidFill>
                <a:effectLst/>
                <a:uLnTx/>
                <a:uFillTx/>
                <a:latin typeface="Arial"/>
                <a:ea typeface="+mn-ea"/>
                <a:cs typeface="+mn-cs"/>
              </a:rPr>
              <a:t>Company </a:t>
            </a:r>
            <a:r>
              <a:rPr kumimoji="0" lang="sv-SE" sz="2400" b="1" i="0" u="none" strike="noStrike" kern="1200" cap="none" spc="0" normalizeH="0" baseline="0" noProof="0" err="1">
                <a:ln>
                  <a:noFill/>
                </a:ln>
                <a:solidFill>
                  <a:srgbClr val="FFFFFF"/>
                </a:solidFill>
                <a:effectLst/>
                <a:uLnTx/>
                <a:uFillTx/>
                <a:latin typeface="Arial"/>
                <a:ea typeface="+mn-ea"/>
                <a:cs typeface="+mn-cs"/>
              </a:rPr>
              <a:t>culture</a:t>
            </a:r>
            <a:endParaRPr kumimoji="0" lang="sv-SE" sz="2400" b="1" i="0" u="none" strike="noStrike" kern="1200" cap="none" spc="0" normalizeH="0" baseline="0" noProof="0">
              <a:ln>
                <a:noFill/>
              </a:ln>
              <a:solidFill>
                <a:srgbClr val="FFFFFF"/>
              </a:solidFill>
              <a:effectLst/>
              <a:uLnTx/>
              <a:uFillTx/>
              <a:latin typeface="Arial"/>
              <a:ea typeface="+mn-ea"/>
              <a:cs typeface="+mn-cs"/>
            </a:endParaRPr>
          </a:p>
        </p:txBody>
      </p:sp>
      <p:sp>
        <p:nvSpPr>
          <p:cNvPr id="26" name="TextBox 25">
            <a:extLst>
              <a:ext uri="{FF2B5EF4-FFF2-40B4-BE49-F238E27FC236}">
                <a16:creationId xmlns:a16="http://schemas.microsoft.com/office/drawing/2014/main" id="{A97BC720-60F9-19A6-5233-7766CA9FAD18}"/>
              </a:ext>
            </a:extLst>
          </p:cNvPr>
          <p:cNvSpPr txBox="1"/>
          <p:nvPr/>
        </p:nvSpPr>
        <p:spPr>
          <a:xfrm>
            <a:off x="710644" y="1918158"/>
            <a:ext cx="15548431" cy="1200329"/>
          </a:xfrm>
          <a:prstGeom prst="rect">
            <a:avLst/>
          </a:prstGeom>
          <a:noFill/>
        </p:spPr>
        <p:txBody>
          <a:bodyPr wrap="square">
            <a:spAutoFit/>
          </a:bodyPr>
          <a:lstStyle/>
          <a:p>
            <a:pPr marL="571500" marR="0" lvl="0" indent="-5715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3600" b="0" i="0" u="none" strike="noStrike" kern="1200" cap="none" spc="0" normalizeH="0" baseline="0" noProof="0" err="1">
                <a:ln>
                  <a:noFill/>
                </a:ln>
                <a:solidFill>
                  <a:srgbClr val="2F2F2F"/>
                </a:solidFill>
                <a:effectLst/>
                <a:uLnTx/>
                <a:uFillTx/>
                <a:latin typeface="Arial"/>
                <a:ea typeface="+mn-ea"/>
                <a:cs typeface="+mn-cs"/>
              </a:rPr>
              <a:t>Prioritize</a:t>
            </a:r>
            <a:r>
              <a:rPr kumimoji="0" lang="sv-SE" sz="3600" b="0" i="0" u="none" strike="noStrike" kern="1200" cap="none" spc="0" normalizeH="0" baseline="0" noProof="0">
                <a:ln>
                  <a:noFill/>
                </a:ln>
                <a:solidFill>
                  <a:srgbClr val="2F2F2F"/>
                </a:solidFill>
                <a:effectLst/>
                <a:uLnTx/>
                <a:uFillTx/>
                <a:latin typeface="Arial"/>
                <a:ea typeface="+mn-ea"/>
                <a:cs typeface="+mn-cs"/>
              </a:rPr>
              <a:t> the drivers for </a:t>
            </a:r>
            <a:r>
              <a:rPr kumimoji="0" lang="sv-SE" sz="3600" b="0" i="0" u="none" strike="noStrike" kern="1200" cap="none" spc="0" normalizeH="0" baseline="0" noProof="0" err="1">
                <a:ln>
                  <a:noFill/>
                </a:ln>
                <a:solidFill>
                  <a:srgbClr val="2F2F2F"/>
                </a:solidFill>
                <a:effectLst/>
                <a:uLnTx/>
                <a:uFillTx/>
                <a:latin typeface="Arial"/>
                <a:ea typeface="+mn-ea"/>
                <a:cs typeface="+mn-cs"/>
              </a:rPr>
              <a:t>retrofitting</a:t>
            </a:r>
            <a:r>
              <a:rPr kumimoji="0" lang="sv-SE" sz="3600" b="0" i="0" u="none" strike="noStrike" kern="1200" cap="none" spc="0" normalizeH="0" baseline="0" noProof="0">
                <a:ln>
                  <a:noFill/>
                </a:ln>
                <a:solidFill>
                  <a:srgbClr val="2F2F2F"/>
                </a:solidFill>
                <a:effectLst/>
                <a:uLnTx/>
                <a:uFillTx/>
                <a:latin typeface="Arial"/>
                <a:ea typeface="+mn-ea"/>
                <a:cs typeface="+mn-cs"/>
              </a:rPr>
              <a:t>, for a </a:t>
            </a:r>
            <a:r>
              <a:rPr kumimoji="0" lang="sv-SE" sz="3600" b="0" i="0" u="none" strike="noStrike" kern="1200" cap="none" spc="0" normalizeH="0" baseline="0" noProof="0" err="1">
                <a:ln>
                  <a:noFill/>
                </a:ln>
                <a:solidFill>
                  <a:srgbClr val="2F2F2F"/>
                </a:solidFill>
                <a:effectLst/>
                <a:uLnTx/>
                <a:uFillTx/>
                <a:latin typeface="Arial"/>
                <a:ea typeface="+mn-ea"/>
                <a:cs typeface="+mn-cs"/>
              </a:rPr>
              <a:t>ceramic</a:t>
            </a:r>
            <a:r>
              <a:rPr kumimoji="0" lang="sv-SE" sz="3600" b="0" i="0" u="none" strike="noStrike" kern="1200" cap="none" spc="0" normalizeH="0" baseline="0" noProof="0">
                <a:ln>
                  <a:noFill/>
                </a:ln>
                <a:solidFill>
                  <a:srgbClr val="2F2F2F"/>
                </a:solidFill>
                <a:effectLst/>
                <a:uLnTx/>
                <a:uFillTx/>
                <a:latin typeface="Arial"/>
                <a:ea typeface="+mn-ea"/>
                <a:cs typeface="+mn-cs"/>
              </a:rPr>
              <a:t> </a:t>
            </a:r>
            <a:r>
              <a:rPr kumimoji="0" lang="sv-SE" sz="3600" b="0" i="0" u="none" strike="noStrike" kern="1200" cap="none" spc="0" normalizeH="0" baseline="0" noProof="0" err="1">
                <a:ln>
                  <a:noFill/>
                </a:ln>
                <a:solidFill>
                  <a:srgbClr val="2F2F2F"/>
                </a:solidFill>
                <a:effectLst/>
                <a:uLnTx/>
                <a:uFillTx/>
                <a:latin typeface="Arial"/>
                <a:ea typeface="+mn-ea"/>
                <a:cs typeface="+mn-cs"/>
              </a:rPr>
              <a:t>industry</a:t>
            </a:r>
            <a:r>
              <a:rPr kumimoji="0" lang="sv-SE" sz="3600" b="0" i="0" u="none" strike="noStrike" kern="1200" cap="none" spc="0" normalizeH="0" baseline="0" noProof="0">
                <a:ln>
                  <a:noFill/>
                </a:ln>
                <a:solidFill>
                  <a:srgbClr val="2F2F2F"/>
                </a:solidFill>
                <a:effectLst/>
                <a:uLnTx/>
                <a:uFillTx/>
                <a:latin typeface="Arial"/>
                <a:ea typeface="+mn-ea"/>
                <a:cs typeface="+mn-cs"/>
              </a:rPr>
              <a:t>. </a:t>
            </a:r>
          </a:p>
          <a:p>
            <a:pPr marL="571500" marR="0" lvl="0" indent="-5715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3600" b="0" i="0" u="none" strike="noStrike" kern="1200" cap="none" spc="0" normalizeH="0" baseline="0" noProof="0">
                <a:ln>
                  <a:noFill/>
                </a:ln>
                <a:solidFill>
                  <a:srgbClr val="2F2F2F"/>
                </a:solidFill>
                <a:effectLst/>
                <a:uLnTx/>
                <a:uFillTx/>
                <a:latin typeface="Arial"/>
                <a:ea typeface="+mn-ea"/>
                <a:cs typeface="+mn-cs"/>
              </a:rPr>
              <a:t>Do </a:t>
            </a:r>
            <a:r>
              <a:rPr kumimoji="0" lang="sv-SE" sz="3600" b="0" i="0" u="none" strike="noStrike" kern="1200" cap="none" spc="0" normalizeH="0" baseline="0" noProof="0" err="1">
                <a:ln>
                  <a:noFill/>
                </a:ln>
                <a:solidFill>
                  <a:srgbClr val="2F2F2F"/>
                </a:solidFill>
                <a:effectLst/>
                <a:uLnTx/>
                <a:uFillTx/>
                <a:latin typeface="Arial"/>
                <a:ea typeface="+mn-ea"/>
                <a:cs typeface="+mn-cs"/>
              </a:rPr>
              <a:t>you</a:t>
            </a:r>
            <a:r>
              <a:rPr kumimoji="0" lang="sv-SE" sz="3600" b="0" i="0" u="none" strike="noStrike" kern="1200" cap="none" spc="0" normalizeH="0" baseline="0" noProof="0">
                <a:ln>
                  <a:noFill/>
                </a:ln>
                <a:solidFill>
                  <a:srgbClr val="2F2F2F"/>
                </a:solidFill>
                <a:effectLst/>
                <a:uLnTx/>
                <a:uFillTx/>
                <a:latin typeface="Arial"/>
                <a:ea typeface="+mn-ea"/>
                <a:cs typeface="+mn-cs"/>
              </a:rPr>
              <a:t> </a:t>
            </a:r>
            <a:r>
              <a:rPr kumimoji="0" lang="sv-SE" sz="3600" b="0" i="0" u="none" strike="noStrike" kern="1200" cap="none" spc="0" normalizeH="0" baseline="0" noProof="0" err="1">
                <a:ln>
                  <a:noFill/>
                </a:ln>
                <a:solidFill>
                  <a:srgbClr val="2F2F2F"/>
                </a:solidFill>
                <a:effectLst/>
                <a:uLnTx/>
                <a:uFillTx/>
                <a:latin typeface="Arial"/>
                <a:ea typeface="+mn-ea"/>
                <a:cs typeface="+mn-cs"/>
              </a:rPr>
              <a:t>think</a:t>
            </a:r>
            <a:r>
              <a:rPr kumimoji="0" lang="sv-SE" sz="3600" b="0" i="0" u="none" strike="noStrike" kern="1200" cap="none" spc="0" normalizeH="0" baseline="0" noProof="0">
                <a:ln>
                  <a:noFill/>
                </a:ln>
                <a:solidFill>
                  <a:srgbClr val="2F2F2F"/>
                </a:solidFill>
                <a:effectLst/>
                <a:uLnTx/>
                <a:uFillTx/>
                <a:latin typeface="Arial"/>
                <a:ea typeface="+mn-ea"/>
                <a:cs typeface="+mn-cs"/>
              </a:rPr>
              <a:t> the drivers </a:t>
            </a:r>
            <a:r>
              <a:rPr kumimoji="0" lang="sv-SE" sz="3600" b="0" i="0" u="none" strike="noStrike" kern="1200" cap="none" spc="0" normalizeH="0" baseline="0" noProof="0" err="1">
                <a:ln>
                  <a:noFill/>
                </a:ln>
                <a:solidFill>
                  <a:srgbClr val="2F2F2F"/>
                </a:solidFill>
                <a:effectLst/>
                <a:uLnTx/>
                <a:uFillTx/>
                <a:latin typeface="Arial"/>
                <a:ea typeface="+mn-ea"/>
                <a:cs typeface="+mn-cs"/>
              </a:rPr>
              <a:t>would</a:t>
            </a:r>
            <a:r>
              <a:rPr kumimoji="0" lang="sv-SE" sz="3600" b="0" i="0" u="none" strike="noStrike" kern="1200" cap="none" spc="0" normalizeH="0" baseline="0" noProof="0">
                <a:ln>
                  <a:noFill/>
                </a:ln>
                <a:solidFill>
                  <a:srgbClr val="2F2F2F"/>
                </a:solidFill>
                <a:effectLst/>
                <a:uLnTx/>
                <a:uFillTx/>
                <a:latin typeface="Arial"/>
                <a:ea typeface="+mn-ea"/>
                <a:cs typeface="+mn-cs"/>
              </a:rPr>
              <a:t> be different for </a:t>
            </a:r>
            <a:r>
              <a:rPr kumimoji="0" lang="sv-SE" sz="3600" b="0" i="0" u="none" strike="noStrike" kern="1200" cap="none" spc="0" normalizeH="0" baseline="0" noProof="0" err="1">
                <a:ln>
                  <a:noFill/>
                </a:ln>
                <a:solidFill>
                  <a:srgbClr val="2F2F2F"/>
                </a:solidFill>
                <a:effectLst/>
                <a:uLnTx/>
                <a:uFillTx/>
                <a:latin typeface="Arial"/>
                <a:ea typeface="+mn-ea"/>
                <a:cs typeface="+mn-cs"/>
              </a:rPr>
              <a:t>fertilizer</a:t>
            </a:r>
            <a:r>
              <a:rPr kumimoji="0" lang="sv-SE" sz="3600" b="0" i="0" u="none" strike="noStrike" kern="1200" cap="none" spc="0" normalizeH="0" baseline="0" noProof="0">
                <a:ln>
                  <a:noFill/>
                </a:ln>
                <a:solidFill>
                  <a:srgbClr val="2F2F2F"/>
                </a:solidFill>
                <a:effectLst/>
                <a:uLnTx/>
                <a:uFillTx/>
                <a:latin typeface="Arial"/>
                <a:ea typeface="+mn-ea"/>
                <a:cs typeface="+mn-cs"/>
              </a:rPr>
              <a:t> </a:t>
            </a:r>
            <a:r>
              <a:rPr kumimoji="0" lang="sv-SE" sz="3600" b="0" i="0" u="none" strike="noStrike" kern="1200" cap="none" spc="0" normalizeH="0" baseline="0" noProof="0" err="1">
                <a:ln>
                  <a:noFill/>
                </a:ln>
                <a:solidFill>
                  <a:srgbClr val="2F2F2F"/>
                </a:solidFill>
                <a:effectLst/>
                <a:uLnTx/>
                <a:uFillTx/>
                <a:latin typeface="Arial"/>
                <a:ea typeface="+mn-ea"/>
                <a:cs typeface="+mn-cs"/>
              </a:rPr>
              <a:t>industry</a:t>
            </a:r>
            <a:r>
              <a:rPr kumimoji="0" lang="sv-SE" sz="3600" b="0" i="0" u="none" strike="noStrike" kern="1200" cap="none" spc="0" normalizeH="0" baseline="0" noProof="0">
                <a:ln>
                  <a:noFill/>
                </a:ln>
                <a:solidFill>
                  <a:srgbClr val="2F2F2F"/>
                </a:solidFill>
                <a:effectLst/>
                <a:uLnTx/>
                <a:uFillTx/>
                <a:latin typeface="Arial"/>
                <a:ea typeface="+mn-ea"/>
                <a:cs typeface="+mn-cs"/>
              </a:rPr>
              <a:t>?</a:t>
            </a:r>
          </a:p>
        </p:txBody>
      </p:sp>
      <p:sp>
        <p:nvSpPr>
          <p:cNvPr id="27" name="Oval 26">
            <a:extLst>
              <a:ext uri="{FF2B5EF4-FFF2-40B4-BE49-F238E27FC236}">
                <a16:creationId xmlns:a16="http://schemas.microsoft.com/office/drawing/2014/main" id="{CF7C020E-44BA-9BA3-5799-3EE1CED7431B}"/>
              </a:ext>
            </a:extLst>
          </p:cNvPr>
          <p:cNvSpPr/>
          <p:nvPr/>
        </p:nvSpPr>
        <p:spPr>
          <a:xfrm>
            <a:off x="10063848" y="6032499"/>
            <a:ext cx="3189513" cy="139391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400" b="1" i="0" u="none" strike="noStrike" kern="1200" cap="none" spc="0" normalizeH="0" baseline="0" noProof="0">
                <a:ln>
                  <a:noFill/>
                </a:ln>
                <a:solidFill>
                  <a:srgbClr val="FFFFFF"/>
                </a:solidFill>
                <a:effectLst/>
                <a:uLnTx/>
                <a:uFillTx/>
                <a:latin typeface="Arial"/>
                <a:ea typeface="+mn-ea"/>
                <a:cs typeface="+mn-cs"/>
              </a:rPr>
              <a:t>Company </a:t>
            </a:r>
            <a:r>
              <a:rPr kumimoji="0" lang="sv-SE" sz="2400" b="1" i="0" u="none" strike="noStrike" kern="1200" cap="none" spc="0" normalizeH="0" baseline="0" noProof="0" err="1">
                <a:ln>
                  <a:noFill/>
                </a:ln>
                <a:solidFill>
                  <a:srgbClr val="FFFFFF"/>
                </a:solidFill>
                <a:effectLst/>
                <a:uLnTx/>
                <a:uFillTx/>
                <a:latin typeface="Arial"/>
                <a:ea typeface="+mn-ea"/>
                <a:cs typeface="+mn-cs"/>
              </a:rPr>
              <a:t>Regulatory</a:t>
            </a:r>
            <a:r>
              <a:rPr kumimoji="0" lang="sv-SE" sz="2400" b="1" i="0" u="none" strike="noStrike" kern="1200" cap="none" spc="0" normalizeH="0" baseline="0" noProof="0">
                <a:ln>
                  <a:noFill/>
                </a:ln>
                <a:solidFill>
                  <a:srgbClr val="FFFFFF"/>
                </a:solidFill>
                <a:effectLst/>
                <a:uLnTx/>
                <a:uFillTx/>
                <a:latin typeface="Arial"/>
                <a:ea typeface="+mn-ea"/>
                <a:cs typeface="+mn-cs"/>
              </a:rPr>
              <a:t> </a:t>
            </a:r>
            <a:r>
              <a:rPr kumimoji="0" lang="sv-SE" sz="2400" b="1" i="0" u="none" strike="noStrike" kern="1200" cap="none" spc="0" normalizeH="0" baseline="0" noProof="0" err="1">
                <a:ln>
                  <a:noFill/>
                </a:ln>
                <a:solidFill>
                  <a:srgbClr val="FFFFFF"/>
                </a:solidFill>
                <a:effectLst/>
                <a:uLnTx/>
                <a:uFillTx/>
                <a:latin typeface="Arial"/>
                <a:ea typeface="+mn-ea"/>
                <a:cs typeface="+mn-cs"/>
              </a:rPr>
              <a:t>Department</a:t>
            </a:r>
            <a:r>
              <a:rPr kumimoji="0" lang="sv-SE" sz="2400" b="1" i="0" u="none" strike="noStrike" kern="1200" cap="none" spc="0" normalizeH="0" baseline="0" noProof="0">
                <a:ln>
                  <a:noFill/>
                </a:ln>
                <a:solidFill>
                  <a:srgbClr val="FFFFFF"/>
                </a:solidFill>
                <a:effectLst/>
                <a:uLnTx/>
                <a:uFillTx/>
                <a:latin typeface="Arial"/>
                <a:ea typeface="+mn-ea"/>
                <a:cs typeface="+mn-cs"/>
              </a:rPr>
              <a:t> </a:t>
            </a:r>
          </a:p>
        </p:txBody>
      </p:sp>
      <p:sp>
        <p:nvSpPr>
          <p:cNvPr id="28" name="Oval 27">
            <a:extLst>
              <a:ext uri="{FF2B5EF4-FFF2-40B4-BE49-F238E27FC236}">
                <a16:creationId xmlns:a16="http://schemas.microsoft.com/office/drawing/2014/main" id="{AF1EB125-43C0-1F4B-8B21-5D1D9A23D1BA}"/>
              </a:ext>
            </a:extLst>
          </p:cNvPr>
          <p:cNvSpPr/>
          <p:nvPr/>
        </p:nvSpPr>
        <p:spPr>
          <a:xfrm>
            <a:off x="13846629" y="3699982"/>
            <a:ext cx="2496453" cy="10855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400" b="1" i="0" u="none" strike="noStrike" kern="1200" cap="none" spc="0" normalizeH="0" baseline="0" noProof="0">
                <a:ln>
                  <a:noFill/>
                </a:ln>
                <a:solidFill>
                  <a:srgbClr val="FFFFFF"/>
                </a:solidFill>
                <a:effectLst/>
                <a:uLnTx/>
                <a:uFillTx/>
                <a:latin typeface="Arial"/>
                <a:ea typeface="+mn-ea"/>
                <a:cs typeface="+mn-cs"/>
              </a:rPr>
              <a:t>Access to </a:t>
            </a:r>
            <a:r>
              <a:rPr kumimoji="0" lang="sv-SE" sz="2400" b="1" i="0" u="none" strike="noStrike" kern="1200" cap="none" spc="0" normalizeH="0" baseline="0" noProof="0" err="1">
                <a:ln>
                  <a:noFill/>
                </a:ln>
                <a:solidFill>
                  <a:srgbClr val="FFFFFF"/>
                </a:solidFill>
                <a:effectLst/>
                <a:uLnTx/>
                <a:uFillTx/>
                <a:latin typeface="Arial"/>
                <a:ea typeface="+mn-ea"/>
                <a:cs typeface="+mn-cs"/>
              </a:rPr>
              <a:t>financing</a:t>
            </a:r>
            <a:endParaRPr kumimoji="0" lang="sv-SE" sz="2400" b="1" i="0" u="none" strike="noStrike" kern="1200" cap="none" spc="0" normalizeH="0" baseline="0" noProof="0">
              <a:ln>
                <a:noFill/>
              </a:ln>
              <a:solidFill>
                <a:srgbClr val="FFFFFF"/>
              </a:solidFill>
              <a:effectLst/>
              <a:uLnTx/>
              <a:uFillTx/>
              <a:latin typeface="Arial"/>
              <a:ea typeface="+mn-ea"/>
              <a:cs typeface="+mn-cs"/>
            </a:endParaRPr>
          </a:p>
        </p:txBody>
      </p:sp>
      <p:sp>
        <p:nvSpPr>
          <p:cNvPr id="29" name="Oval 28">
            <a:extLst>
              <a:ext uri="{FF2B5EF4-FFF2-40B4-BE49-F238E27FC236}">
                <a16:creationId xmlns:a16="http://schemas.microsoft.com/office/drawing/2014/main" id="{2E42FF0B-30AA-E96E-06E2-753327F7AF9F}"/>
              </a:ext>
            </a:extLst>
          </p:cNvPr>
          <p:cNvSpPr/>
          <p:nvPr/>
        </p:nvSpPr>
        <p:spPr>
          <a:xfrm>
            <a:off x="13042898" y="7596446"/>
            <a:ext cx="4765569" cy="200640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400" b="1" i="0" u="none" strike="noStrike" kern="1200" cap="none" spc="0" normalizeH="0" baseline="0" noProof="0">
                <a:ln>
                  <a:noFill/>
                </a:ln>
                <a:solidFill>
                  <a:srgbClr val="FFFFFF"/>
                </a:solidFill>
                <a:effectLst/>
                <a:uLnTx/>
                <a:uFillTx/>
                <a:latin typeface="Arial"/>
                <a:ea typeface="+mn-ea"/>
                <a:cs typeface="+mn-cs"/>
              </a:rPr>
              <a:t>Company in-house </a:t>
            </a:r>
            <a:r>
              <a:rPr kumimoji="0" lang="sv-SE" sz="2400" b="1" i="0" u="none" strike="noStrike" kern="1200" cap="none" spc="0" normalizeH="0" baseline="0" noProof="0" err="1">
                <a:ln>
                  <a:noFill/>
                </a:ln>
                <a:solidFill>
                  <a:srgbClr val="FFFFFF"/>
                </a:solidFill>
                <a:effectLst/>
                <a:uLnTx/>
                <a:uFillTx/>
                <a:latin typeface="Arial"/>
                <a:ea typeface="+mn-ea"/>
                <a:cs typeface="+mn-cs"/>
              </a:rPr>
              <a:t>capacity</a:t>
            </a:r>
            <a:r>
              <a:rPr kumimoji="0" lang="sv-SE" sz="2400" b="1" i="0" u="none" strike="noStrike" kern="1200" cap="none" spc="0" normalizeH="0" baseline="0" noProof="0">
                <a:ln>
                  <a:noFill/>
                </a:ln>
                <a:solidFill>
                  <a:srgbClr val="FFFFFF"/>
                </a:solidFill>
                <a:effectLst/>
                <a:uLnTx/>
                <a:uFillTx/>
                <a:latin typeface="Arial"/>
                <a:ea typeface="+mn-ea"/>
                <a:cs typeface="+mn-cs"/>
              </a:rPr>
              <a:t> </a:t>
            </a:r>
            <a:r>
              <a:rPr kumimoji="0" lang="sv-SE" sz="2000" b="1" i="0" u="none" strike="noStrike" kern="1200" cap="none" spc="0" normalizeH="0" baseline="0" noProof="0">
                <a:ln>
                  <a:noFill/>
                </a:ln>
                <a:solidFill>
                  <a:srgbClr val="FFFFFF"/>
                </a:solidFill>
                <a:effectLst/>
                <a:uLnTx/>
                <a:uFillTx/>
                <a:latin typeface="Arial"/>
                <a:ea typeface="+mn-ea"/>
                <a:cs typeface="+mn-cs"/>
              </a:rPr>
              <a:t>(expert </a:t>
            </a:r>
            <a:r>
              <a:rPr kumimoji="0" lang="sv-SE" sz="2000" b="1" i="0" u="none" strike="noStrike" kern="1200" cap="none" spc="0" normalizeH="0" baseline="0" noProof="0" err="1">
                <a:ln>
                  <a:noFill/>
                </a:ln>
                <a:solidFill>
                  <a:srgbClr val="FFFFFF"/>
                </a:solidFill>
                <a:effectLst/>
                <a:uLnTx/>
                <a:uFillTx/>
                <a:latin typeface="Arial"/>
                <a:ea typeface="+mn-ea"/>
                <a:cs typeface="+mn-cs"/>
              </a:rPr>
              <a:t>staff</a:t>
            </a:r>
            <a:r>
              <a:rPr kumimoji="0" lang="sv-SE" sz="2000" b="1" i="0" u="none" strike="noStrike" kern="1200" cap="none" spc="0" normalizeH="0" baseline="0" noProof="0">
                <a:ln>
                  <a:noFill/>
                </a:ln>
                <a:solidFill>
                  <a:srgbClr val="FFFFFF"/>
                </a:solidFill>
                <a:effectLst/>
                <a:uLnTx/>
                <a:uFillTx/>
                <a:latin typeface="Arial"/>
                <a:ea typeface="+mn-ea"/>
                <a:cs typeface="+mn-cs"/>
              </a:rPr>
              <a:t>, R&amp;D, </a:t>
            </a:r>
            <a:r>
              <a:rPr kumimoji="0" lang="sv-SE" sz="2000" b="1" i="0" u="none" strike="noStrike" kern="1200" cap="none" spc="0" normalizeH="0" baseline="0" noProof="0" err="1">
                <a:ln>
                  <a:noFill/>
                </a:ln>
                <a:solidFill>
                  <a:srgbClr val="FFFFFF"/>
                </a:solidFill>
                <a:effectLst/>
                <a:uLnTx/>
                <a:uFillTx/>
                <a:latin typeface="Arial"/>
                <a:ea typeface="+mn-ea"/>
                <a:cs typeface="+mn-cs"/>
              </a:rPr>
              <a:t>environmental</a:t>
            </a:r>
            <a:r>
              <a:rPr kumimoji="0" lang="sv-SE" sz="2000" b="1" i="0" u="none" strike="noStrike" kern="1200" cap="none" spc="0" normalizeH="0" baseline="0" noProof="0">
                <a:ln>
                  <a:noFill/>
                </a:ln>
                <a:solidFill>
                  <a:srgbClr val="FFFFFF"/>
                </a:solidFill>
                <a:effectLst/>
                <a:uLnTx/>
                <a:uFillTx/>
                <a:latin typeface="Arial"/>
                <a:ea typeface="+mn-ea"/>
                <a:cs typeface="+mn-cs"/>
              </a:rPr>
              <a:t>, innovation </a:t>
            </a:r>
            <a:r>
              <a:rPr kumimoji="0" lang="sv-SE" sz="2000" b="1" i="0" u="none" strike="noStrike" kern="1200" cap="none" spc="0" normalizeH="0" baseline="0" noProof="0" err="1">
                <a:ln>
                  <a:noFill/>
                </a:ln>
                <a:solidFill>
                  <a:srgbClr val="FFFFFF"/>
                </a:solidFill>
                <a:effectLst/>
                <a:uLnTx/>
                <a:uFillTx/>
                <a:latin typeface="Arial"/>
                <a:ea typeface="+mn-ea"/>
                <a:cs typeface="+mn-cs"/>
              </a:rPr>
              <a:t>departments</a:t>
            </a:r>
            <a:r>
              <a:rPr kumimoji="0" lang="sv-SE" sz="2000" b="1" i="0" u="none" strike="noStrike" kern="1200" cap="none" spc="0" normalizeH="0" baseline="0" noProof="0">
                <a:ln>
                  <a:noFill/>
                </a:ln>
                <a:solidFill>
                  <a:srgbClr val="FFFFFF"/>
                </a:solidFill>
                <a:effectLst/>
                <a:uLnTx/>
                <a:uFillTx/>
                <a:latin typeface="Arial"/>
                <a:ea typeface="+mn-ea"/>
                <a:cs typeface="+mn-cs"/>
              </a:rPr>
              <a:t>..)</a:t>
            </a:r>
            <a:endParaRPr kumimoji="0" lang="sv-SE" sz="2400" b="1" i="0" u="none" strike="noStrike" kern="1200" cap="none" spc="0" normalizeH="0" baseline="0" noProof="0">
              <a:ln>
                <a:noFill/>
              </a:ln>
              <a:solidFill>
                <a:srgbClr val="FFFFFF"/>
              </a:solidFill>
              <a:effectLst/>
              <a:uLnTx/>
              <a:uFillTx/>
              <a:latin typeface="Arial"/>
              <a:ea typeface="+mn-ea"/>
              <a:cs typeface="+mn-cs"/>
            </a:endParaRPr>
          </a:p>
        </p:txBody>
      </p:sp>
      <p:sp>
        <p:nvSpPr>
          <p:cNvPr id="30" name="Oval 29">
            <a:extLst>
              <a:ext uri="{FF2B5EF4-FFF2-40B4-BE49-F238E27FC236}">
                <a16:creationId xmlns:a16="http://schemas.microsoft.com/office/drawing/2014/main" id="{486C1CAE-D3D6-9B21-071A-639D0CF350E2}"/>
              </a:ext>
            </a:extLst>
          </p:cNvPr>
          <p:cNvSpPr/>
          <p:nvPr/>
        </p:nvSpPr>
        <p:spPr>
          <a:xfrm>
            <a:off x="5992589" y="4553132"/>
            <a:ext cx="2730498" cy="68724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400" b="1" i="0" u="none" strike="noStrike" kern="1200" cap="none" spc="0" normalizeH="0" baseline="0" noProof="0">
                <a:ln>
                  <a:noFill/>
                </a:ln>
                <a:solidFill>
                  <a:srgbClr val="FFFFFF"/>
                </a:solidFill>
                <a:effectLst/>
                <a:uLnTx/>
                <a:uFillTx/>
                <a:latin typeface="Arial"/>
                <a:ea typeface="+mn-ea"/>
                <a:cs typeface="+mn-cs"/>
              </a:rPr>
              <a:t>Price of fuel</a:t>
            </a:r>
          </a:p>
        </p:txBody>
      </p:sp>
    </p:spTree>
    <p:extLst>
      <p:ext uri="{BB962C8B-B14F-4D97-AF65-F5344CB8AC3E}">
        <p14:creationId xmlns:p14="http://schemas.microsoft.com/office/powerpoint/2010/main" val="183292191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uppo 16">
            <a:extLst>
              <a:ext uri="{FF2B5EF4-FFF2-40B4-BE49-F238E27FC236}">
                <a16:creationId xmlns:a16="http://schemas.microsoft.com/office/drawing/2014/main" id="{5641D69D-F446-45C0-B1B1-D52C17384F41}"/>
              </a:ext>
            </a:extLst>
          </p:cNvPr>
          <p:cNvGrpSpPr/>
          <p:nvPr/>
        </p:nvGrpSpPr>
        <p:grpSpPr>
          <a:xfrm>
            <a:off x="4329146" y="9679208"/>
            <a:ext cx="13958844" cy="666567"/>
            <a:chOff x="4329156" y="9649198"/>
            <a:chExt cx="13958844" cy="666567"/>
          </a:xfrm>
        </p:grpSpPr>
        <p:pic>
          <p:nvPicPr>
            <p:cNvPr id="5" name="Picture 12">
              <a:extLst>
                <a:ext uri="{FF2B5EF4-FFF2-40B4-BE49-F238E27FC236}">
                  <a16:creationId xmlns:a16="http://schemas.microsoft.com/office/drawing/2014/main" id="{C443324A-16BC-439B-BA92-3C206F27773D}"/>
                </a:ext>
              </a:extLst>
            </p:cNvPr>
            <p:cNvPicPr>
              <a:picLocks noChangeAspect="1"/>
            </p:cNvPicPr>
            <p:nvPr/>
          </p:nvPicPr>
          <p:blipFill>
            <a:blip r:embed="rId2"/>
            <a:srcRect l="134" t="91287" b="3943"/>
            <a:stretch>
              <a:fillRect/>
            </a:stretch>
          </p:blipFill>
          <p:spPr>
            <a:xfrm rot="-10800000">
              <a:off x="4329156" y="9649198"/>
              <a:ext cx="13958844" cy="666567"/>
            </a:xfrm>
            <a:prstGeom prst="rect">
              <a:avLst/>
            </a:prstGeom>
          </p:spPr>
        </p:pic>
        <p:sp>
          <p:nvSpPr>
            <p:cNvPr id="6" name="TextBox 16">
              <a:extLst>
                <a:ext uri="{FF2B5EF4-FFF2-40B4-BE49-F238E27FC236}">
                  <a16:creationId xmlns:a16="http://schemas.microsoft.com/office/drawing/2014/main" id="{D1FD3C08-9A87-4EDD-BC80-689832CE91BA}"/>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pic>
        <p:nvPicPr>
          <p:cNvPr id="7" name="Picture 12">
            <a:extLst>
              <a:ext uri="{FF2B5EF4-FFF2-40B4-BE49-F238E27FC236}">
                <a16:creationId xmlns:a16="http://schemas.microsoft.com/office/drawing/2014/main" id="{6279672E-4F2E-4362-8E83-52C6FD33164E}"/>
              </a:ext>
            </a:extLst>
          </p:cNvPr>
          <p:cNvPicPr>
            <a:picLocks noChangeAspect="1"/>
          </p:cNvPicPr>
          <p:nvPr/>
        </p:nvPicPr>
        <p:blipFill>
          <a:blip r:embed="rId3"/>
          <a:srcRect/>
          <a:stretch>
            <a:fillRect/>
          </a:stretch>
        </p:blipFill>
        <p:spPr>
          <a:xfrm>
            <a:off x="0" y="8901113"/>
            <a:ext cx="5715000" cy="1385887"/>
          </a:xfrm>
          <a:prstGeom prst="rect">
            <a:avLst/>
          </a:prstGeom>
        </p:spPr>
      </p:pic>
      <p:grpSp>
        <p:nvGrpSpPr>
          <p:cNvPr id="8" name="Gruppo 2">
            <a:extLst>
              <a:ext uri="{FF2B5EF4-FFF2-40B4-BE49-F238E27FC236}">
                <a16:creationId xmlns:a16="http://schemas.microsoft.com/office/drawing/2014/main" id="{33B55136-7EFA-4157-861B-08087FA0C0F2}"/>
              </a:ext>
            </a:extLst>
          </p:cNvPr>
          <p:cNvGrpSpPr/>
          <p:nvPr/>
        </p:nvGrpSpPr>
        <p:grpSpPr>
          <a:xfrm>
            <a:off x="-12" y="138554"/>
            <a:ext cx="18288002" cy="681138"/>
            <a:chOff x="-12" y="138554"/>
            <a:chExt cx="18288002" cy="681138"/>
          </a:xfrm>
        </p:grpSpPr>
        <p:grpSp>
          <p:nvGrpSpPr>
            <p:cNvPr id="9" name="Gruppo 1">
              <a:extLst>
                <a:ext uri="{FF2B5EF4-FFF2-40B4-BE49-F238E27FC236}">
                  <a16:creationId xmlns:a16="http://schemas.microsoft.com/office/drawing/2014/main" id="{62A55FC7-320F-48B3-A59B-755D8FA9782B}"/>
                </a:ext>
              </a:extLst>
            </p:cNvPr>
            <p:cNvGrpSpPr/>
            <p:nvPr/>
          </p:nvGrpSpPr>
          <p:grpSpPr>
            <a:xfrm>
              <a:off x="0" y="153125"/>
              <a:ext cx="17907000" cy="666567"/>
              <a:chOff x="0" y="153125"/>
              <a:chExt cx="17907000" cy="666567"/>
            </a:xfrm>
          </p:grpSpPr>
          <p:grpSp>
            <p:nvGrpSpPr>
              <p:cNvPr id="11" name="Gruppo 15">
                <a:extLst>
                  <a:ext uri="{FF2B5EF4-FFF2-40B4-BE49-F238E27FC236}">
                    <a16:creationId xmlns:a16="http://schemas.microsoft.com/office/drawing/2014/main" id="{3B5A4C16-6470-45B9-BE89-6A9F2D53488D}"/>
                  </a:ext>
                </a:extLst>
              </p:cNvPr>
              <p:cNvGrpSpPr/>
              <p:nvPr/>
            </p:nvGrpSpPr>
            <p:grpSpPr>
              <a:xfrm>
                <a:off x="0" y="153125"/>
                <a:ext cx="13958844" cy="666567"/>
                <a:chOff x="0" y="153125"/>
                <a:chExt cx="13958844" cy="666567"/>
              </a:xfrm>
            </p:grpSpPr>
            <p:pic>
              <p:nvPicPr>
                <p:cNvPr id="13" name="Picture 10">
                  <a:extLst>
                    <a:ext uri="{FF2B5EF4-FFF2-40B4-BE49-F238E27FC236}">
                      <a16:creationId xmlns:a16="http://schemas.microsoft.com/office/drawing/2014/main" id="{0CF0D3B5-3E76-4526-9E35-20FAF3770486}"/>
                    </a:ext>
                  </a:extLst>
                </p:cNvPr>
                <p:cNvPicPr>
                  <a:picLocks noChangeAspect="1"/>
                </p:cNvPicPr>
                <p:nvPr/>
              </p:nvPicPr>
              <p:blipFill>
                <a:blip r:embed="rId4"/>
                <a:srcRect l="134" t="91287" b="3943"/>
                <a:stretch>
                  <a:fillRect/>
                </a:stretch>
              </p:blipFill>
              <p:spPr>
                <a:xfrm>
                  <a:off x="0" y="153125"/>
                  <a:ext cx="13958844" cy="666567"/>
                </a:xfrm>
                <a:prstGeom prst="rect">
                  <a:avLst/>
                </a:prstGeom>
              </p:spPr>
            </p:pic>
            <p:sp>
              <p:nvSpPr>
                <p:cNvPr id="14" name="TextBox 11">
                  <a:extLst>
                    <a:ext uri="{FF2B5EF4-FFF2-40B4-BE49-F238E27FC236}">
                      <a16:creationId xmlns:a16="http://schemas.microsoft.com/office/drawing/2014/main" id="{C873002F-5FBC-4124-BF29-34AE8E42E696}"/>
                    </a:ext>
                  </a:extLst>
                </p:cNvPr>
                <p:cNvSpPr txBox="1"/>
                <p:nvPr/>
              </p:nvSpPr>
              <p:spPr>
                <a:xfrm>
                  <a:off x="228600" y="257980"/>
                  <a:ext cx="9296400" cy="456856"/>
                </a:xfrm>
                <a:prstGeom prst="rect">
                  <a:avLst/>
                </a:prstGeom>
              </p:spPr>
              <p:txBody>
                <a:bodyPr wrap="square" lIns="0" tIns="0" rIns="0" bIns="0" rtlCol="0" anchor="t">
                  <a:spAutoFit/>
                </a:bodyPr>
                <a:lstStyle/>
                <a:p>
                  <a:pPr>
                    <a:lnSpc>
                      <a:spcPts val="3919"/>
                    </a:lnSpc>
                    <a:spcBef>
                      <a:spcPct val="0"/>
                    </a:spcBef>
                  </a:pPr>
                  <a:endParaRPr lang="en-US" sz="2800" b="1">
                    <a:solidFill>
                      <a:srgbClr val="FFFFFF"/>
                    </a:solidFill>
                    <a:latin typeface="Arial" panose="020B0604020202020204" pitchFamily="34" charset="0"/>
                    <a:cs typeface="Arial" panose="020B0604020202020204" pitchFamily="34" charset="0"/>
                  </a:endParaRPr>
                </a:p>
              </p:txBody>
            </p:sp>
          </p:grpSp>
          <p:sp>
            <p:nvSpPr>
              <p:cNvPr id="12" name="TextBox 11">
                <a:extLst>
                  <a:ext uri="{FF2B5EF4-FFF2-40B4-BE49-F238E27FC236}">
                    <a16:creationId xmlns:a16="http://schemas.microsoft.com/office/drawing/2014/main" id="{EBBE7005-ACBB-42F6-A108-399AADAA415A}"/>
                  </a:ext>
                </a:extLst>
              </p:cNvPr>
              <p:cNvSpPr txBox="1"/>
              <p:nvPr/>
            </p:nvSpPr>
            <p:spPr>
              <a:xfrm>
                <a:off x="12154296" y="257980"/>
                <a:ext cx="5752704" cy="456856"/>
              </a:xfrm>
              <a:prstGeom prst="rect">
                <a:avLst/>
              </a:prstGeom>
            </p:spPr>
            <p:txBody>
              <a:bodyPr wrap="square" lIns="0" tIns="0" rIns="0" bIns="0" rtlCol="0" anchor="t">
                <a:spAutoFit/>
              </a:bodyPr>
              <a:lstStyle/>
              <a:p>
                <a:pPr algn="r">
                  <a:lnSpc>
                    <a:spcPts val="3919"/>
                  </a:lnSpc>
                  <a:spcBef>
                    <a:spcPct val="0"/>
                  </a:spcBef>
                </a:pPr>
                <a:endParaRPr lang="en-US" sz="2800">
                  <a:solidFill>
                    <a:schemeClr val="tx1">
                      <a:lumMod val="75000"/>
                      <a:lumOff val="25000"/>
                    </a:schemeClr>
                  </a:solidFill>
                  <a:latin typeface="Arial" panose="020B0604020202020204" pitchFamily="34" charset="0"/>
                  <a:cs typeface="Arial" panose="020B0604020202020204" pitchFamily="34" charset="0"/>
                </a:endParaRPr>
              </a:p>
            </p:txBody>
          </p:sp>
        </p:grpSp>
        <p:sp>
          <p:nvSpPr>
            <p:cNvPr id="10" name="Rettangolo 13">
              <a:extLst>
                <a:ext uri="{FF2B5EF4-FFF2-40B4-BE49-F238E27FC236}">
                  <a16:creationId xmlns:a16="http://schemas.microsoft.com/office/drawing/2014/main" id="{E4D6A16F-1667-450B-8473-A527F2BCBA45}"/>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5" name="TextBox 14">
            <a:extLst>
              <a:ext uri="{FF2B5EF4-FFF2-40B4-BE49-F238E27FC236}">
                <a16:creationId xmlns:a16="http://schemas.microsoft.com/office/drawing/2014/main" id="{BED41E68-DA5D-4E37-AD7F-E96D5A8AC9A5}"/>
              </a:ext>
            </a:extLst>
          </p:cNvPr>
          <p:cNvSpPr txBox="1"/>
          <p:nvPr/>
        </p:nvSpPr>
        <p:spPr>
          <a:xfrm>
            <a:off x="228600" y="765922"/>
            <a:ext cx="17807739" cy="1015663"/>
          </a:xfrm>
          <a:prstGeom prst="rect">
            <a:avLst/>
          </a:prstGeom>
          <a:noFill/>
        </p:spPr>
        <p:txBody>
          <a:bodyPr wrap="square">
            <a:spAutoFit/>
          </a:bodyPr>
          <a:lstStyle/>
          <a:p>
            <a:pPr algn="ctr"/>
            <a:r>
              <a:rPr lang="en-US" sz="6000" b="1">
                <a:solidFill>
                  <a:srgbClr val="CC0033"/>
                </a:solidFill>
                <a:latin typeface="+mj-lt"/>
                <a:cs typeface="Arial" panose="020B0604020202020204" pitchFamily="34" charset="0"/>
              </a:rPr>
              <a:t>Key Resource Indicators (KRI)</a:t>
            </a:r>
            <a:endParaRPr lang="sv-SE" sz="6000" b="1">
              <a:solidFill>
                <a:srgbClr val="CC0033"/>
              </a:solidFill>
              <a:latin typeface="+mj-lt"/>
              <a:cs typeface="Arial" panose="020B0604020202020204" pitchFamily="34" charset="0"/>
            </a:endParaRPr>
          </a:p>
        </p:txBody>
      </p:sp>
      <p:graphicFrame>
        <p:nvGraphicFramePr>
          <p:cNvPr id="17" name="Table 16">
            <a:extLst>
              <a:ext uri="{FF2B5EF4-FFF2-40B4-BE49-F238E27FC236}">
                <a16:creationId xmlns:a16="http://schemas.microsoft.com/office/drawing/2014/main" id="{D6F0A493-935C-4F0C-8DA9-38A248094EDA}"/>
              </a:ext>
            </a:extLst>
          </p:cNvPr>
          <p:cNvGraphicFramePr>
            <a:graphicFrameLocks noGrp="1"/>
          </p:cNvGraphicFramePr>
          <p:nvPr>
            <p:extLst>
              <p:ext uri="{D42A27DB-BD31-4B8C-83A1-F6EECF244321}">
                <p14:modId xmlns:p14="http://schemas.microsoft.com/office/powerpoint/2010/main" val="3462280242"/>
              </p:ext>
            </p:extLst>
          </p:nvPr>
        </p:nvGraphicFramePr>
        <p:xfrm>
          <a:off x="316319" y="1815571"/>
          <a:ext cx="17655339" cy="7376160"/>
        </p:xfrm>
        <a:graphic>
          <a:graphicData uri="http://schemas.openxmlformats.org/drawingml/2006/table">
            <a:tbl>
              <a:tblPr firstRow="1" firstCol="1" lastRow="1" lastCol="1" bandRow="1" bandCol="1">
                <a:tableStyleId>{72833802-FEF1-4C79-8D5D-14CF1EAF98D9}</a:tableStyleId>
              </a:tblPr>
              <a:tblGrid>
                <a:gridCol w="4704529">
                  <a:extLst>
                    <a:ext uri="{9D8B030D-6E8A-4147-A177-3AD203B41FA5}">
                      <a16:colId xmlns:a16="http://schemas.microsoft.com/office/drawing/2014/main" val="3460427771"/>
                    </a:ext>
                  </a:extLst>
                </a:gridCol>
                <a:gridCol w="2118377">
                  <a:extLst>
                    <a:ext uri="{9D8B030D-6E8A-4147-A177-3AD203B41FA5}">
                      <a16:colId xmlns:a16="http://schemas.microsoft.com/office/drawing/2014/main" val="814983830"/>
                    </a:ext>
                  </a:extLst>
                </a:gridCol>
                <a:gridCol w="10832433">
                  <a:extLst>
                    <a:ext uri="{9D8B030D-6E8A-4147-A177-3AD203B41FA5}">
                      <a16:colId xmlns:a16="http://schemas.microsoft.com/office/drawing/2014/main" val="955182470"/>
                    </a:ext>
                  </a:extLst>
                </a:gridCol>
              </a:tblGrid>
              <a:tr h="206365">
                <a:tc>
                  <a:txBody>
                    <a:bodyPr/>
                    <a:lstStyle/>
                    <a:p>
                      <a:pPr marL="0" algn="ctr">
                        <a:lnSpc>
                          <a:spcPct val="100000"/>
                        </a:lnSpc>
                        <a:spcBef>
                          <a:spcPts val="0"/>
                        </a:spcBef>
                        <a:spcAft>
                          <a:spcPts val="0"/>
                        </a:spcAft>
                      </a:pPr>
                      <a:r>
                        <a:rPr lang="en-US" sz="2200">
                          <a:effectLst/>
                        </a:rPr>
                        <a:t>Indicator</a:t>
                      </a:r>
                      <a:endParaRPr lang="sv-SE" sz="2200">
                        <a:effectLst/>
                        <a:latin typeface="Arial MT"/>
                        <a:ea typeface="Arial MT"/>
                        <a:cs typeface="Arial MT"/>
                      </a:endParaRP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a:lnSpc>
                          <a:spcPct val="100000"/>
                        </a:lnSpc>
                        <a:spcBef>
                          <a:spcPts val="0"/>
                        </a:spcBef>
                        <a:spcAft>
                          <a:spcPts val="0"/>
                        </a:spcAft>
                      </a:pPr>
                      <a:r>
                        <a:rPr lang="en-US" sz="2200">
                          <a:effectLst/>
                        </a:rPr>
                        <a:t>Unit</a:t>
                      </a:r>
                      <a:endParaRPr lang="sv-SE" sz="2200">
                        <a:effectLst/>
                        <a:latin typeface="Arial MT"/>
                        <a:ea typeface="Arial MT"/>
                        <a:cs typeface="Arial MT"/>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a:lnSpc>
                          <a:spcPct val="100000"/>
                        </a:lnSpc>
                        <a:spcBef>
                          <a:spcPts val="0"/>
                        </a:spcBef>
                        <a:spcAft>
                          <a:spcPts val="0"/>
                        </a:spcAft>
                      </a:pPr>
                      <a:r>
                        <a:rPr lang="en-US" sz="2200">
                          <a:effectLst/>
                        </a:rPr>
                        <a:t>Relevance</a:t>
                      </a:r>
                      <a:r>
                        <a:rPr lang="en-US" sz="2200" spc="-15">
                          <a:effectLst/>
                        </a:rPr>
                        <a:t> </a:t>
                      </a:r>
                      <a:r>
                        <a:rPr lang="en-US" sz="2200">
                          <a:effectLst/>
                        </a:rPr>
                        <a:t>for</a:t>
                      </a:r>
                      <a:r>
                        <a:rPr lang="en-US" sz="2200" spc="-20">
                          <a:effectLst/>
                        </a:rPr>
                        <a:t> </a:t>
                      </a:r>
                      <a:r>
                        <a:rPr lang="en-US" sz="2200">
                          <a:effectLst/>
                        </a:rPr>
                        <a:t>RETROFEED</a:t>
                      </a:r>
                      <a:endParaRPr lang="sv-SE" sz="2200">
                        <a:effectLst/>
                        <a:latin typeface="Arial MT"/>
                        <a:ea typeface="Arial MT"/>
                        <a:cs typeface="Arial MT"/>
                      </a:endParaRPr>
                    </a:p>
                  </a:txBody>
                  <a:tcPr marL="0" marR="0" marT="0" marB="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00117347"/>
                  </a:ext>
                </a:extLst>
              </a:tr>
              <a:tr h="206365">
                <a:tc gridSpan="3">
                  <a:txBody>
                    <a:bodyPr/>
                    <a:lstStyle/>
                    <a:p>
                      <a:pPr marL="0" algn="l">
                        <a:lnSpc>
                          <a:spcPct val="100000"/>
                        </a:lnSpc>
                        <a:spcBef>
                          <a:spcPts val="0"/>
                        </a:spcBef>
                        <a:spcAft>
                          <a:spcPts val="0"/>
                        </a:spcAft>
                      </a:pPr>
                      <a:r>
                        <a:rPr lang="en-US" sz="2200">
                          <a:effectLst/>
                        </a:rPr>
                        <a:t>                                                      KRIs</a:t>
                      </a:r>
                      <a:r>
                        <a:rPr lang="en-US" sz="2200" spc="-15">
                          <a:effectLst/>
                        </a:rPr>
                        <a:t> </a:t>
                      </a:r>
                      <a:r>
                        <a:rPr lang="en-US" sz="2200">
                          <a:effectLst/>
                        </a:rPr>
                        <a:t>related</a:t>
                      </a:r>
                      <a:r>
                        <a:rPr lang="en-US" sz="2200" spc="-20">
                          <a:effectLst/>
                        </a:rPr>
                        <a:t> </a:t>
                      </a:r>
                      <a:r>
                        <a:rPr lang="en-US" sz="2200">
                          <a:effectLst/>
                        </a:rPr>
                        <a:t>to</a:t>
                      </a:r>
                      <a:r>
                        <a:rPr lang="en-US" sz="2200" spc="-20">
                          <a:effectLst/>
                        </a:rPr>
                        <a:t> </a:t>
                      </a:r>
                      <a:r>
                        <a:rPr lang="en-US" sz="2200">
                          <a:effectLst/>
                        </a:rPr>
                        <a:t>GHG</a:t>
                      </a:r>
                      <a:r>
                        <a:rPr lang="en-US" sz="2200" spc="-20">
                          <a:effectLst/>
                        </a:rPr>
                        <a:t> </a:t>
                      </a:r>
                      <a:r>
                        <a:rPr lang="en-US" sz="2200">
                          <a:effectLst/>
                        </a:rPr>
                        <a:t>generation</a:t>
                      </a:r>
                      <a:r>
                        <a:rPr lang="en-US" sz="2200" spc="-25">
                          <a:effectLst/>
                        </a:rPr>
                        <a:t> </a:t>
                      </a:r>
                      <a:r>
                        <a:rPr lang="en-US" sz="2200">
                          <a:effectLst/>
                        </a:rPr>
                        <a:t>and</a:t>
                      </a:r>
                      <a:r>
                        <a:rPr lang="en-US" sz="2200" spc="-20">
                          <a:effectLst/>
                        </a:rPr>
                        <a:t> </a:t>
                      </a:r>
                      <a:r>
                        <a:rPr lang="en-US" sz="2200">
                          <a:effectLst/>
                        </a:rPr>
                        <a:t>assessment</a:t>
                      </a:r>
                      <a:r>
                        <a:rPr lang="en-US" sz="2200" spc="-20">
                          <a:effectLst/>
                        </a:rPr>
                        <a:t> </a:t>
                      </a:r>
                      <a:r>
                        <a:rPr lang="en-US" sz="2200">
                          <a:effectLst/>
                        </a:rPr>
                        <a:t>of</a:t>
                      </a:r>
                      <a:r>
                        <a:rPr lang="en-US" sz="2200" spc="-20">
                          <a:effectLst/>
                        </a:rPr>
                        <a:t> </a:t>
                      </a:r>
                      <a:r>
                        <a:rPr lang="en-US" sz="2200">
                          <a:effectLst/>
                        </a:rPr>
                        <a:t>their</a:t>
                      </a:r>
                      <a:r>
                        <a:rPr lang="en-US" sz="2200" spc="-15">
                          <a:effectLst/>
                        </a:rPr>
                        <a:t> </a:t>
                      </a:r>
                      <a:r>
                        <a:rPr lang="en-US" sz="2200">
                          <a:effectLst/>
                        </a:rPr>
                        <a:t>relevance</a:t>
                      </a:r>
                      <a:endParaRPr lang="sv-SE" sz="2200">
                        <a:effectLst/>
                        <a:latin typeface="Arial MT"/>
                        <a:ea typeface="Arial MT"/>
                        <a:cs typeface="Arial MT"/>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hMerge="1">
                  <a:txBody>
                    <a:bodyPr/>
                    <a:lstStyle/>
                    <a:p>
                      <a:endParaRPr lang="sv-SE"/>
                    </a:p>
                  </a:txBody>
                  <a:tcPr/>
                </a:tc>
                <a:tc hMerge="1">
                  <a:txBody>
                    <a:bodyPr/>
                    <a:lstStyle/>
                    <a:p>
                      <a:endParaRPr lang="sv-SE"/>
                    </a:p>
                  </a:txBody>
                  <a:tcPr/>
                </a:tc>
                <a:extLst>
                  <a:ext uri="{0D108BD9-81ED-4DB2-BD59-A6C34878D82A}">
                    <a16:rowId xmlns:a16="http://schemas.microsoft.com/office/drawing/2014/main" val="2940391434"/>
                  </a:ext>
                </a:extLst>
              </a:tr>
              <a:tr h="430970">
                <a:tc>
                  <a:txBody>
                    <a:bodyPr/>
                    <a:lstStyle/>
                    <a:p>
                      <a:pPr marL="0">
                        <a:lnSpc>
                          <a:spcPct val="100000"/>
                        </a:lnSpc>
                        <a:spcBef>
                          <a:spcPts val="0"/>
                        </a:spcBef>
                        <a:spcAft>
                          <a:spcPts val="0"/>
                        </a:spcAft>
                      </a:pPr>
                      <a:r>
                        <a:rPr lang="en-US" sz="2200" b="0">
                          <a:effectLst/>
                        </a:rPr>
                        <a:t>Scope 1 GHG emissions</a:t>
                      </a:r>
                      <a:r>
                        <a:rPr lang="en-US" sz="2200" b="0" spc="5">
                          <a:effectLst/>
                        </a:rPr>
                        <a:t> </a:t>
                      </a:r>
                      <a:r>
                        <a:rPr lang="en-US" sz="2200" b="0">
                          <a:effectLst/>
                        </a:rPr>
                        <a:t>(emissions released from</a:t>
                      </a:r>
                      <a:r>
                        <a:rPr lang="en-US" sz="2200" b="0" spc="5">
                          <a:effectLst/>
                        </a:rPr>
                        <a:t> </a:t>
                      </a:r>
                      <a:r>
                        <a:rPr lang="en-US" sz="2200" b="0">
                          <a:effectLst/>
                        </a:rPr>
                        <a:t>owned</a:t>
                      </a:r>
                      <a:r>
                        <a:rPr lang="en-US" sz="2200" b="0" spc="-15">
                          <a:effectLst/>
                        </a:rPr>
                        <a:t> </a:t>
                      </a:r>
                      <a:r>
                        <a:rPr lang="en-US" sz="2200" b="0">
                          <a:effectLst/>
                        </a:rPr>
                        <a:t>or</a:t>
                      </a:r>
                      <a:r>
                        <a:rPr lang="en-US" sz="2200" b="0" spc="-15">
                          <a:effectLst/>
                        </a:rPr>
                        <a:t> </a:t>
                      </a:r>
                      <a:r>
                        <a:rPr lang="en-US" sz="2200" b="0">
                          <a:effectLst/>
                        </a:rPr>
                        <a:t>controlled</a:t>
                      </a:r>
                      <a:r>
                        <a:rPr lang="en-US" sz="2200" b="0" spc="-10">
                          <a:effectLst/>
                        </a:rPr>
                        <a:t> </a:t>
                      </a:r>
                      <a:r>
                        <a:rPr lang="en-US" sz="2200" b="0">
                          <a:effectLst/>
                        </a:rPr>
                        <a:t>sources)</a:t>
                      </a:r>
                      <a:endParaRPr lang="sv-SE" sz="2200" b="0">
                        <a:effectLst/>
                        <a:latin typeface="Arial MT"/>
                        <a:ea typeface="Arial MT"/>
                        <a:cs typeface="Arial MT"/>
                      </a:endParaRP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nSpc>
                          <a:spcPct val="100000"/>
                        </a:lnSpc>
                        <a:spcBef>
                          <a:spcPts val="0"/>
                        </a:spcBef>
                        <a:spcAft>
                          <a:spcPts val="0"/>
                        </a:spcAft>
                      </a:pPr>
                      <a:r>
                        <a:rPr lang="en-US" sz="2200" b="0">
                          <a:effectLst/>
                        </a:rPr>
                        <a:t>[t</a:t>
                      </a:r>
                      <a:r>
                        <a:rPr lang="en-US" sz="2200" b="0" spc="-5">
                          <a:effectLst/>
                        </a:rPr>
                        <a:t> </a:t>
                      </a:r>
                      <a:r>
                        <a:rPr lang="en-US" sz="2200" b="0">
                          <a:effectLst/>
                        </a:rPr>
                        <a:t>CO</a:t>
                      </a:r>
                      <a:r>
                        <a:rPr lang="en-US" sz="2200" b="0" baseline="-25000">
                          <a:effectLst/>
                        </a:rPr>
                        <a:t>2</a:t>
                      </a:r>
                      <a:r>
                        <a:rPr lang="en-US" sz="2200" b="0" spc="-5">
                          <a:effectLst/>
                        </a:rPr>
                        <a:t> </a:t>
                      </a:r>
                      <a:r>
                        <a:rPr lang="en-US" sz="2200" b="0">
                          <a:effectLst/>
                        </a:rPr>
                        <a:t>eq]</a:t>
                      </a:r>
                      <a:endParaRPr lang="sv-SE" sz="2200" b="0">
                        <a:effectLst/>
                        <a:latin typeface="Arial MT"/>
                        <a:ea typeface="Arial MT"/>
                        <a:cs typeface="Arial MT"/>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nSpc>
                          <a:spcPct val="100000"/>
                        </a:lnSpc>
                        <a:spcBef>
                          <a:spcPts val="0"/>
                        </a:spcBef>
                        <a:spcAft>
                          <a:spcPts val="0"/>
                        </a:spcAft>
                      </a:pPr>
                      <a:r>
                        <a:rPr lang="en-US" sz="2200" b="0">
                          <a:effectLst/>
                        </a:rPr>
                        <a:t>Relevant</a:t>
                      </a:r>
                      <a:r>
                        <a:rPr lang="en-US" sz="2200" b="0" spc="-10">
                          <a:effectLst/>
                        </a:rPr>
                        <a:t> </a:t>
                      </a:r>
                      <a:r>
                        <a:rPr lang="en-US" sz="2200" b="0">
                          <a:effectLst/>
                        </a:rPr>
                        <a:t>for</a:t>
                      </a:r>
                      <a:r>
                        <a:rPr lang="en-US" sz="2200" b="0" spc="-15">
                          <a:effectLst/>
                        </a:rPr>
                        <a:t> </a:t>
                      </a:r>
                      <a:r>
                        <a:rPr lang="en-US" sz="2200" b="0">
                          <a:effectLst/>
                        </a:rPr>
                        <a:t>all</a:t>
                      </a:r>
                      <a:r>
                        <a:rPr lang="en-US" sz="2200" b="0" spc="-10">
                          <a:effectLst/>
                        </a:rPr>
                        <a:t> </a:t>
                      </a:r>
                      <a:r>
                        <a:rPr lang="en-US" sz="2200" b="0">
                          <a:effectLst/>
                        </a:rPr>
                        <a:t>cases,</a:t>
                      </a:r>
                      <a:r>
                        <a:rPr lang="en-US" sz="2200" b="0" spc="-10">
                          <a:effectLst/>
                        </a:rPr>
                        <a:t> </a:t>
                      </a:r>
                      <a:r>
                        <a:rPr lang="en-US" sz="2200" b="0">
                          <a:effectLst/>
                        </a:rPr>
                        <a:t>included</a:t>
                      </a:r>
                      <a:r>
                        <a:rPr lang="en-US" sz="2200" b="0" spc="-5">
                          <a:effectLst/>
                        </a:rPr>
                        <a:t> </a:t>
                      </a:r>
                      <a:r>
                        <a:rPr lang="en-US" sz="2200" b="0">
                          <a:effectLst/>
                        </a:rPr>
                        <a:t>in</a:t>
                      </a:r>
                      <a:r>
                        <a:rPr lang="en-US" sz="2200" b="0" spc="-10">
                          <a:effectLst/>
                        </a:rPr>
                        <a:t> </a:t>
                      </a:r>
                      <a:r>
                        <a:rPr lang="en-US" sz="2200" b="0">
                          <a:effectLst/>
                        </a:rPr>
                        <a:t>most</a:t>
                      </a:r>
                      <a:r>
                        <a:rPr lang="en-US" sz="2200" b="0" spc="-10">
                          <a:effectLst/>
                        </a:rPr>
                        <a:t> </a:t>
                      </a:r>
                      <a:r>
                        <a:rPr lang="en-US" sz="2200" b="0">
                          <a:effectLst/>
                        </a:rPr>
                        <a:t>of</a:t>
                      </a:r>
                      <a:r>
                        <a:rPr lang="en-US" sz="2200" b="0" spc="-10">
                          <a:effectLst/>
                        </a:rPr>
                        <a:t> </a:t>
                      </a:r>
                      <a:r>
                        <a:rPr lang="en-US" sz="2200" b="0">
                          <a:effectLst/>
                        </a:rPr>
                        <a:t>the</a:t>
                      </a:r>
                      <a:r>
                        <a:rPr lang="en-US" sz="2200" b="0" spc="-10">
                          <a:effectLst/>
                        </a:rPr>
                        <a:t> </a:t>
                      </a:r>
                      <a:r>
                        <a:rPr lang="en-US" sz="2200" b="0">
                          <a:effectLst/>
                        </a:rPr>
                        <a:t>reviewed</a:t>
                      </a:r>
                      <a:r>
                        <a:rPr lang="en-US" sz="2200" b="0" spc="-290">
                          <a:effectLst/>
                        </a:rPr>
                        <a:t> </a:t>
                      </a:r>
                      <a:r>
                        <a:rPr lang="en-US" sz="2200" b="0">
                          <a:effectLst/>
                        </a:rPr>
                        <a:t>sustainability</a:t>
                      </a:r>
                      <a:r>
                        <a:rPr lang="en-US" sz="2200" b="0" spc="-5">
                          <a:effectLst/>
                        </a:rPr>
                        <a:t> </a:t>
                      </a:r>
                      <a:r>
                        <a:rPr lang="en-US" sz="2200" b="0">
                          <a:effectLst/>
                        </a:rPr>
                        <a:t>reports.</a:t>
                      </a:r>
                      <a:endParaRPr lang="sv-SE" sz="2200" b="0">
                        <a:effectLst/>
                        <a:latin typeface="Arial MT"/>
                        <a:ea typeface="Arial MT"/>
                        <a:cs typeface="Arial MT"/>
                      </a:endParaRPr>
                    </a:p>
                  </a:txBody>
                  <a:tcPr marL="0" marR="0" marT="0" marB="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17114614"/>
                  </a:ext>
                </a:extLst>
              </a:tr>
              <a:tr h="430970">
                <a:tc>
                  <a:txBody>
                    <a:bodyPr/>
                    <a:lstStyle/>
                    <a:p>
                      <a:pPr marL="0">
                        <a:lnSpc>
                          <a:spcPct val="100000"/>
                        </a:lnSpc>
                        <a:spcBef>
                          <a:spcPts val="0"/>
                        </a:spcBef>
                        <a:spcAft>
                          <a:spcPts val="0"/>
                        </a:spcAft>
                      </a:pPr>
                      <a:r>
                        <a:rPr lang="en-US" sz="2200" b="0">
                          <a:effectLst/>
                        </a:rPr>
                        <a:t>Scope 2 GHG emissions</a:t>
                      </a:r>
                      <a:r>
                        <a:rPr lang="en-US" sz="2200" b="0" spc="5">
                          <a:effectLst/>
                        </a:rPr>
                        <a:t> </a:t>
                      </a:r>
                      <a:r>
                        <a:rPr lang="en-US" sz="2200" b="0">
                          <a:effectLst/>
                        </a:rPr>
                        <a:t>(emissions from purchased</a:t>
                      </a:r>
                      <a:r>
                        <a:rPr lang="en-US" sz="2200" b="0" spc="-295">
                          <a:effectLst/>
                        </a:rPr>
                        <a:t> </a:t>
                      </a:r>
                      <a:r>
                        <a:rPr lang="en-US" sz="2200" b="0">
                          <a:effectLst/>
                        </a:rPr>
                        <a:t>energy)</a:t>
                      </a:r>
                      <a:endParaRPr lang="sv-SE" sz="2200" b="0">
                        <a:effectLst/>
                        <a:latin typeface="Arial MT"/>
                        <a:ea typeface="Arial MT"/>
                        <a:cs typeface="Arial MT"/>
                      </a:endParaRP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nSpc>
                          <a:spcPct val="100000"/>
                        </a:lnSpc>
                        <a:spcBef>
                          <a:spcPts val="0"/>
                        </a:spcBef>
                        <a:spcAft>
                          <a:spcPts val="0"/>
                        </a:spcAft>
                      </a:pPr>
                      <a:r>
                        <a:rPr lang="en-US" sz="2200" b="0">
                          <a:effectLst/>
                        </a:rPr>
                        <a:t>[t</a:t>
                      </a:r>
                      <a:r>
                        <a:rPr lang="en-US" sz="2200" b="0" spc="-5">
                          <a:effectLst/>
                        </a:rPr>
                        <a:t> </a:t>
                      </a:r>
                      <a:r>
                        <a:rPr lang="en-US" sz="2200" b="0">
                          <a:effectLst/>
                        </a:rPr>
                        <a:t>CO</a:t>
                      </a:r>
                      <a:r>
                        <a:rPr lang="en-US" sz="2200" b="0" baseline="-25000">
                          <a:effectLst/>
                        </a:rPr>
                        <a:t>2</a:t>
                      </a:r>
                      <a:r>
                        <a:rPr lang="en-US" sz="2200" b="0" spc="-5">
                          <a:effectLst/>
                        </a:rPr>
                        <a:t> </a:t>
                      </a:r>
                      <a:r>
                        <a:rPr lang="en-US" sz="2200" b="0">
                          <a:effectLst/>
                        </a:rPr>
                        <a:t>eq]</a:t>
                      </a:r>
                      <a:endParaRPr lang="sv-SE" sz="2200" b="0">
                        <a:effectLst/>
                        <a:latin typeface="Arial MT"/>
                        <a:ea typeface="Arial MT"/>
                        <a:cs typeface="Arial MT"/>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nSpc>
                          <a:spcPct val="100000"/>
                        </a:lnSpc>
                        <a:spcBef>
                          <a:spcPts val="0"/>
                        </a:spcBef>
                        <a:spcAft>
                          <a:spcPts val="0"/>
                        </a:spcAft>
                      </a:pPr>
                      <a:r>
                        <a:rPr lang="en-US" sz="2200" b="0">
                          <a:effectLst/>
                        </a:rPr>
                        <a:t>Relevant for all cases, included in most of the reviewed</a:t>
                      </a:r>
                      <a:r>
                        <a:rPr lang="en-US" sz="2200" b="0" spc="-300">
                          <a:effectLst/>
                        </a:rPr>
                        <a:t> </a:t>
                      </a:r>
                      <a:r>
                        <a:rPr lang="en-US" sz="2200" b="0">
                          <a:effectLst/>
                        </a:rPr>
                        <a:t>sustainability</a:t>
                      </a:r>
                      <a:r>
                        <a:rPr lang="en-US" sz="2200" b="0" spc="-5">
                          <a:effectLst/>
                        </a:rPr>
                        <a:t> </a:t>
                      </a:r>
                      <a:r>
                        <a:rPr lang="en-US" sz="2200" b="0">
                          <a:effectLst/>
                        </a:rPr>
                        <a:t>reports.</a:t>
                      </a:r>
                      <a:endParaRPr lang="sv-SE" sz="2200" b="0">
                        <a:effectLst/>
                        <a:latin typeface="Arial MT"/>
                        <a:ea typeface="Arial MT"/>
                        <a:cs typeface="Arial MT"/>
                      </a:endParaRPr>
                    </a:p>
                  </a:txBody>
                  <a:tcPr marL="0" marR="0" marT="0" marB="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7915489"/>
                  </a:ext>
                </a:extLst>
              </a:tr>
              <a:tr h="578187">
                <a:tc>
                  <a:txBody>
                    <a:bodyPr/>
                    <a:lstStyle/>
                    <a:p>
                      <a:pPr marL="0">
                        <a:lnSpc>
                          <a:spcPct val="100000"/>
                        </a:lnSpc>
                        <a:spcBef>
                          <a:spcPts val="0"/>
                        </a:spcBef>
                        <a:spcAft>
                          <a:spcPts val="0"/>
                        </a:spcAft>
                      </a:pPr>
                      <a:r>
                        <a:rPr lang="en-US" sz="2200" b="0">
                          <a:effectLst/>
                        </a:rPr>
                        <a:t>Scope 3 GHG emissions (all</a:t>
                      </a:r>
                      <a:r>
                        <a:rPr lang="en-US" sz="2200" b="0" spc="5">
                          <a:effectLst/>
                        </a:rPr>
                        <a:t> </a:t>
                      </a:r>
                      <a:r>
                        <a:rPr lang="en-US" sz="2200" b="0">
                          <a:effectLst/>
                        </a:rPr>
                        <a:t>up- and downstream</a:t>
                      </a:r>
                      <a:r>
                        <a:rPr lang="en-US" sz="2200" b="0" spc="5">
                          <a:effectLst/>
                        </a:rPr>
                        <a:t> </a:t>
                      </a:r>
                      <a:r>
                        <a:rPr lang="en-US" sz="2200" b="0">
                          <a:effectLst/>
                        </a:rPr>
                        <a:t>emissions not included under</a:t>
                      </a:r>
                      <a:r>
                        <a:rPr lang="en-US" sz="2200" b="0" spc="-295">
                          <a:effectLst/>
                        </a:rPr>
                        <a:t> </a:t>
                      </a:r>
                      <a:r>
                        <a:rPr lang="en-US" sz="2200" b="0">
                          <a:effectLst/>
                        </a:rPr>
                        <a:t>scope</a:t>
                      </a:r>
                      <a:r>
                        <a:rPr lang="en-US" sz="2200" b="0" spc="-5">
                          <a:effectLst/>
                        </a:rPr>
                        <a:t> </a:t>
                      </a:r>
                      <a:r>
                        <a:rPr lang="en-US" sz="2200" b="0">
                          <a:effectLst/>
                        </a:rPr>
                        <a:t>1 and</a:t>
                      </a:r>
                      <a:r>
                        <a:rPr lang="en-US" sz="2200" b="0" spc="-5">
                          <a:effectLst/>
                        </a:rPr>
                        <a:t> </a:t>
                      </a:r>
                      <a:r>
                        <a:rPr lang="en-US" sz="2200" b="0">
                          <a:effectLst/>
                        </a:rPr>
                        <a:t>2)</a:t>
                      </a:r>
                      <a:endParaRPr lang="sv-SE" sz="2200" b="0">
                        <a:effectLst/>
                        <a:latin typeface="Arial MT"/>
                        <a:ea typeface="Arial MT"/>
                        <a:cs typeface="Arial MT"/>
                      </a:endParaRP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nSpc>
                          <a:spcPct val="100000"/>
                        </a:lnSpc>
                        <a:spcBef>
                          <a:spcPts val="0"/>
                        </a:spcBef>
                        <a:spcAft>
                          <a:spcPts val="0"/>
                        </a:spcAft>
                      </a:pPr>
                      <a:r>
                        <a:rPr lang="en-US" sz="2200" b="0">
                          <a:effectLst/>
                        </a:rPr>
                        <a:t>[t</a:t>
                      </a:r>
                      <a:r>
                        <a:rPr lang="en-US" sz="2200" b="0" spc="-5">
                          <a:effectLst/>
                        </a:rPr>
                        <a:t> </a:t>
                      </a:r>
                      <a:r>
                        <a:rPr lang="en-US" sz="2200" b="0">
                          <a:effectLst/>
                        </a:rPr>
                        <a:t>CO</a:t>
                      </a:r>
                      <a:r>
                        <a:rPr lang="en-US" sz="2200" b="0" baseline="-25000">
                          <a:effectLst/>
                        </a:rPr>
                        <a:t>2</a:t>
                      </a:r>
                      <a:r>
                        <a:rPr lang="en-US" sz="2200" b="0" spc="-5">
                          <a:effectLst/>
                        </a:rPr>
                        <a:t> </a:t>
                      </a:r>
                      <a:r>
                        <a:rPr lang="en-US" sz="2200" b="0">
                          <a:effectLst/>
                        </a:rPr>
                        <a:t>eq]</a:t>
                      </a:r>
                      <a:endParaRPr lang="sv-SE" sz="2200" b="0">
                        <a:effectLst/>
                        <a:latin typeface="Arial MT"/>
                        <a:ea typeface="Arial MT"/>
                        <a:cs typeface="Arial MT"/>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nSpc>
                          <a:spcPct val="100000"/>
                        </a:lnSpc>
                        <a:spcBef>
                          <a:spcPts val="0"/>
                        </a:spcBef>
                        <a:spcAft>
                          <a:spcPts val="0"/>
                        </a:spcAft>
                      </a:pPr>
                      <a:r>
                        <a:rPr lang="en-US" sz="2200" b="0">
                          <a:effectLst/>
                        </a:rPr>
                        <a:t>Relevant</a:t>
                      </a:r>
                      <a:r>
                        <a:rPr lang="en-US" sz="2200" b="0" spc="-15">
                          <a:effectLst/>
                        </a:rPr>
                        <a:t> </a:t>
                      </a:r>
                      <a:r>
                        <a:rPr lang="en-US" sz="2200" b="0">
                          <a:effectLst/>
                        </a:rPr>
                        <a:t>for</a:t>
                      </a:r>
                      <a:r>
                        <a:rPr lang="en-US" sz="2200" b="0" spc="-15">
                          <a:effectLst/>
                        </a:rPr>
                        <a:t> </a:t>
                      </a:r>
                      <a:r>
                        <a:rPr lang="en-US" sz="2200" b="0">
                          <a:effectLst/>
                        </a:rPr>
                        <a:t>all</a:t>
                      </a:r>
                      <a:r>
                        <a:rPr lang="en-US" sz="2200" b="0" spc="-10">
                          <a:effectLst/>
                        </a:rPr>
                        <a:t> </a:t>
                      </a:r>
                      <a:r>
                        <a:rPr lang="en-US" sz="2200" b="0">
                          <a:effectLst/>
                        </a:rPr>
                        <a:t>cases,</a:t>
                      </a:r>
                      <a:r>
                        <a:rPr lang="en-US" sz="2200" b="0" spc="-10">
                          <a:effectLst/>
                        </a:rPr>
                        <a:t> </a:t>
                      </a:r>
                      <a:r>
                        <a:rPr lang="en-US" sz="2200" b="0">
                          <a:effectLst/>
                        </a:rPr>
                        <a:t>included</a:t>
                      </a:r>
                      <a:r>
                        <a:rPr lang="en-US" sz="2200" b="0" spc="-10">
                          <a:effectLst/>
                        </a:rPr>
                        <a:t> </a:t>
                      </a:r>
                      <a:r>
                        <a:rPr lang="en-US" sz="2200" b="0">
                          <a:effectLst/>
                        </a:rPr>
                        <a:t>in</a:t>
                      </a:r>
                      <a:r>
                        <a:rPr lang="en-US" sz="2200" b="0" spc="-10">
                          <a:effectLst/>
                        </a:rPr>
                        <a:t> </a:t>
                      </a:r>
                      <a:r>
                        <a:rPr lang="en-US" sz="2200" b="0">
                          <a:effectLst/>
                        </a:rPr>
                        <a:t>most</a:t>
                      </a:r>
                      <a:r>
                        <a:rPr lang="en-US" sz="2200" b="0" spc="-15">
                          <a:effectLst/>
                        </a:rPr>
                        <a:t> </a:t>
                      </a:r>
                      <a:r>
                        <a:rPr lang="en-US" sz="2200" b="0">
                          <a:effectLst/>
                        </a:rPr>
                        <a:t>sustainability</a:t>
                      </a:r>
                      <a:r>
                        <a:rPr lang="en-US" sz="2200" b="0" spc="-10">
                          <a:effectLst/>
                        </a:rPr>
                        <a:t> </a:t>
                      </a:r>
                      <a:r>
                        <a:rPr lang="en-US" sz="2200" b="0">
                          <a:effectLst/>
                        </a:rPr>
                        <a:t>reports.</a:t>
                      </a:r>
                      <a:endParaRPr lang="sv-SE" sz="2200" b="0">
                        <a:effectLst/>
                        <a:latin typeface="Arial MT"/>
                        <a:ea typeface="Arial MT"/>
                        <a:cs typeface="Arial MT"/>
                      </a:endParaRPr>
                    </a:p>
                  </a:txBody>
                  <a:tcPr marL="0" marR="0" marT="0" marB="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43781019"/>
                  </a:ext>
                </a:extLst>
              </a:tr>
              <a:tr h="206365">
                <a:tc gridSpan="3">
                  <a:txBody>
                    <a:bodyPr/>
                    <a:lstStyle/>
                    <a:p>
                      <a:pPr marL="0" algn="l">
                        <a:lnSpc>
                          <a:spcPct val="100000"/>
                        </a:lnSpc>
                        <a:spcBef>
                          <a:spcPts val="0"/>
                        </a:spcBef>
                        <a:spcAft>
                          <a:spcPts val="0"/>
                        </a:spcAft>
                      </a:pPr>
                      <a:r>
                        <a:rPr lang="en-US" sz="2200">
                          <a:effectLst/>
                        </a:rPr>
                        <a:t>                                                      KRIs</a:t>
                      </a:r>
                      <a:r>
                        <a:rPr lang="en-US" sz="2200" spc="-20">
                          <a:effectLst/>
                        </a:rPr>
                        <a:t> </a:t>
                      </a:r>
                      <a:r>
                        <a:rPr lang="en-US" sz="2200">
                          <a:effectLst/>
                        </a:rPr>
                        <a:t>related</a:t>
                      </a:r>
                      <a:r>
                        <a:rPr lang="en-US" sz="2200" spc="-20">
                          <a:effectLst/>
                        </a:rPr>
                        <a:t> </a:t>
                      </a:r>
                      <a:r>
                        <a:rPr lang="en-US" sz="2200">
                          <a:effectLst/>
                        </a:rPr>
                        <a:t>to</a:t>
                      </a:r>
                      <a:r>
                        <a:rPr lang="en-US" sz="2200" spc="-20">
                          <a:effectLst/>
                        </a:rPr>
                        <a:t> </a:t>
                      </a:r>
                      <a:r>
                        <a:rPr lang="en-US" sz="2200">
                          <a:effectLst/>
                        </a:rPr>
                        <a:t>generation</a:t>
                      </a:r>
                      <a:r>
                        <a:rPr lang="en-US" sz="2200" spc="-20">
                          <a:effectLst/>
                        </a:rPr>
                        <a:t> </a:t>
                      </a:r>
                      <a:r>
                        <a:rPr lang="en-US" sz="2200">
                          <a:effectLst/>
                        </a:rPr>
                        <a:t>of</a:t>
                      </a:r>
                      <a:r>
                        <a:rPr lang="en-US" sz="2200" spc="-20">
                          <a:effectLst/>
                        </a:rPr>
                        <a:t> </a:t>
                      </a:r>
                      <a:r>
                        <a:rPr lang="en-US" sz="2200">
                          <a:effectLst/>
                        </a:rPr>
                        <a:t>other</a:t>
                      </a:r>
                      <a:r>
                        <a:rPr lang="en-US" sz="2200" spc="-15">
                          <a:effectLst/>
                        </a:rPr>
                        <a:t> </a:t>
                      </a:r>
                      <a:r>
                        <a:rPr lang="en-US" sz="2200">
                          <a:effectLst/>
                        </a:rPr>
                        <a:t>emissions</a:t>
                      </a:r>
                      <a:r>
                        <a:rPr lang="en-US" sz="2200" spc="-15">
                          <a:effectLst/>
                        </a:rPr>
                        <a:t> </a:t>
                      </a:r>
                      <a:r>
                        <a:rPr lang="en-US" sz="2200">
                          <a:effectLst/>
                        </a:rPr>
                        <a:t>and</a:t>
                      </a:r>
                      <a:r>
                        <a:rPr lang="en-US" sz="2200" spc="-20">
                          <a:effectLst/>
                        </a:rPr>
                        <a:t> </a:t>
                      </a:r>
                      <a:r>
                        <a:rPr lang="en-US" sz="2200">
                          <a:effectLst/>
                        </a:rPr>
                        <a:t>assessment</a:t>
                      </a:r>
                      <a:r>
                        <a:rPr lang="en-US" sz="2200" spc="-20">
                          <a:effectLst/>
                        </a:rPr>
                        <a:t> </a:t>
                      </a:r>
                      <a:r>
                        <a:rPr lang="en-US" sz="2200">
                          <a:effectLst/>
                        </a:rPr>
                        <a:t>of</a:t>
                      </a:r>
                      <a:r>
                        <a:rPr lang="en-US" sz="2200" spc="-20">
                          <a:effectLst/>
                        </a:rPr>
                        <a:t> </a:t>
                      </a:r>
                      <a:r>
                        <a:rPr lang="en-US" sz="2200">
                          <a:effectLst/>
                        </a:rPr>
                        <a:t>their</a:t>
                      </a:r>
                      <a:r>
                        <a:rPr lang="en-US" sz="2200" spc="-15">
                          <a:effectLst/>
                        </a:rPr>
                        <a:t> </a:t>
                      </a:r>
                      <a:r>
                        <a:rPr lang="en-US" sz="2200">
                          <a:effectLst/>
                        </a:rPr>
                        <a:t>relevance</a:t>
                      </a:r>
                      <a:endParaRPr lang="sv-SE" sz="2200">
                        <a:effectLst/>
                        <a:latin typeface="Arial MT"/>
                        <a:ea typeface="Arial MT"/>
                        <a:cs typeface="Arial MT"/>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hMerge="1">
                  <a:txBody>
                    <a:bodyPr/>
                    <a:lstStyle/>
                    <a:p>
                      <a:endParaRPr lang="sv-SE"/>
                    </a:p>
                  </a:txBody>
                  <a:tcPr/>
                </a:tc>
                <a:tc hMerge="1">
                  <a:txBody>
                    <a:bodyPr/>
                    <a:lstStyle/>
                    <a:p>
                      <a:endParaRPr lang="sv-SE"/>
                    </a:p>
                  </a:txBody>
                  <a:tcPr/>
                </a:tc>
                <a:extLst>
                  <a:ext uri="{0D108BD9-81ED-4DB2-BD59-A6C34878D82A}">
                    <a16:rowId xmlns:a16="http://schemas.microsoft.com/office/drawing/2014/main" val="3888699013"/>
                  </a:ext>
                </a:extLst>
              </a:tr>
              <a:tr h="441392">
                <a:tc>
                  <a:txBody>
                    <a:bodyPr/>
                    <a:lstStyle/>
                    <a:p>
                      <a:pPr marL="0">
                        <a:lnSpc>
                          <a:spcPct val="100000"/>
                        </a:lnSpc>
                        <a:spcBef>
                          <a:spcPts val="0"/>
                        </a:spcBef>
                        <a:spcAft>
                          <a:spcPts val="0"/>
                        </a:spcAft>
                      </a:pPr>
                      <a:r>
                        <a:rPr lang="en-US" sz="2200" b="0">
                          <a:effectLst/>
                        </a:rPr>
                        <a:t>NOx,</a:t>
                      </a:r>
                      <a:r>
                        <a:rPr lang="en-US" sz="2200" b="0" spc="-15">
                          <a:effectLst/>
                        </a:rPr>
                        <a:t> </a:t>
                      </a:r>
                      <a:r>
                        <a:rPr lang="en-US" sz="2200" b="0" err="1">
                          <a:effectLst/>
                        </a:rPr>
                        <a:t>SOx</a:t>
                      </a:r>
                      <a:r>
                        <a:rPr lang="en-US" sz="2200" b="0">
                          <a:effectLst/>
                        </a:rPr>
                        <a:t>,</a:t>
                      </a:r>
                      <a:r>
                        <a:rPr lang="en-US" sz="2200" b="0" spc="-5">
                          <a:effectLst/>
                        </a:rPr>
                        <a:t> </a:t>
                      </a:r>
                      <a:r>
                        <a:rPr lang="en-US" sz="2200" b="0">
                          <a:effectLst/>
                        </a:rPr>
                        <a:t>PM</a:t>
                      </a:r>
                      <a:endParaRPr lang="sv-SE" sz="2200" b="0">
                        <a:effectLst/>
                      </a:endParaRPr>
                    </a:p>
                    <a:p>
                      <a:pPr marL="0">
                        <a:lnSpc>
                          <a:spcPct val="100000"/>
                        </a:lnSpc>
                        <a:spcBef>
                          <a:spcPts val="0"/>
                        </a:spcBef>
                        <a:spcAft>
                          <a:spcPts val="0"/>
                        </a:spcAft>
                      </a:pPr>
                      <a:r>
                        <a:rPr lang="en-US" sz="2200" b="0">
                          <a:effectLst/>
                        </a:rPr>
                        <a:t>(particulate</a:t>
                      </a:r>
                      <a:r>
                        <a:rPr lang="en-US" sz="2200" b="0" spc="-15">
                          <a:effectLst/>
                        </a:rPr>
                        <a:t> </a:t>
                      </a:r>
                      <a:r>
                        <a:rPr lang="en-US" sz="2200" b="0">
                          <a:effectLst/>
                        </a:rPr>
                        <a:t>matter)</a:t>
                      </a:r>
                      <a:endParaRPr lang="sv-SE" sz="2200" b="0">
                        <a:effectLst/>
                        <a:latin typeface="Arial MT"/>
                        <a:ea typeface="Arial MT"/>
                        <a:cs typeface="Arial MT"/>
                      </a:endParaRP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nSpc>
                          <a:spcPct val="100000"/>
                        </a:lnSpc>
                        <a:spcBef>
                          <a:spcPts val="0"/>
                        </a:spcBef>
                        <a:spcAft>
                          <a:spcPts val="0"/>
                        </a:spcAft>
                      </a:pPr>
                      <a:r>
                        <a:rPr lang="en-US" sz="2200" b="0">
                          <a:effectLst/>
                        </a:rPr>
                        <a:t>[kg]</a:t>
                      </a:r>
                      <a:endParaRPr lang="sv-SE" sz="2200" b="0">
                        <a:effectLst/>
                      </a:endParaRPr>
                    </a:p>
                    <a:p>
                      <a:pPr marL="0">
                        <a:lnSpc>
                          <a:spcPct val="100000"/>
                        </a:lnSpc>
                        <a:spcBef>
                          <a:spcPts val="0"/>
                        </a:spcBef>
                        <a:spcAft>
                          <a:spcPts val="0"/>
                        </a:spcAft>
                      </a:pPr>
                      <a:r>
                        <a:rPr lang="en-US" sz="2200" b="0">
                          <a:effectLst/>
                        </a:rPr>
                        <a:t>[kg/unit</a:t>
                      </a:r>
                      <a:r>
                        <a:rPr lang="en-US" sz="2200" b="0" spc="5">
                          <a:effectLst/>
                        </a:rPr>
                        <a:t> </a:t>
                      </a:r>
                      <a:r>
                        <a:rPr lang="en-US" sz="2200" b="0">
                          <a:effectLst/>
                        </a:rPr>
                        <a:t>product]</a:t>
                      </a:r>
                      <a:endParaRPr lang="sv-SE" sz="2200" b="0">
                        <a:effectLst/>
                        <a:latin typeface="Arial MT"/>
                        <a:ea typeface="Arial MT"/>
                        <a:cs typeface="Arial MT"/>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2200" b="0">
                          <a:effectLst/>
                        </a:rPr>
                        <a:t>Relevant for all cases, as combustion of fossil fuels is expected to be</a:t>
                      </a:r>
                      <a:r>
                        <a:rPr lang="en-US" sz="2200" b="0" spc="-300">
                          <a:effectLst/>
                        </a:rPr>
                        <a:t> </a:t>
                      </a:r>
                      <a:r>
                        <a:rPr lang="en-US" sz="2200" b="0">
                          <a:effectLst/>
                        </a:rPr>
                        <a:t>reduced.</a:t>
                      </a:r>
                      <a:r>
                        <a:rPr lang="en-US" sz="2200" b="0" spc="-5">
                          <a:effectLst/>
                        </a:rPr>
                        <a:t> </a:t>
                      </a:r>
                      <a:r>
                        <a:rPr lang="en-US" sz="2200" b="0">
                          <a:effectLst/>
                        </a:rPr>
                        <a:t>If</a:t>
                      </a:r>
                      <a:r>
                        <a:rPr lang="en-US" sz="2200" b="0" spc="-5">
                          <a:effectLst/>
                        </a:rPr>
                        <a:t> </a:t>
                      </a:r>
                      <a:r>
                        <a:rPr lang="en-US" sz="2200" b="0">
                          <a:effectLst/>
                        </a:rPr>
                        <a:t>natural</a:t>
                      </a:r>
                      <a:r>
                        <a:rPr lang="en-US" sz="2200" b="0" spc="-5">
                          <a:effectLst/>
                        </a:rPr>
                        <a:t> </a:t>
                      </a:r>
                      <a:r>
                        <a:rPr lang="en-US" sz="2200" b="0">
                          <a:effectLst/>
                        </a:rPr>
                        <a:t>gas</a:t>
                      </a:r>
                      <a:r>
                        <a:rPr lang="en-US" sz="2200" b="0" spc="-5">
                          <a:effectLst/>
                        </a:rPr>
                        <a:t> </a:t>
                      </a:r>
                      <a:r>
                        <a:rPr lang="en-US" sz="2200" b="0">
                          <a:effectLst/>
                        </a:rPr>
                        <a:t>is</a:t>
                      </a:r>
                      <a:r>
                        <a:rPr lang="en-US" sz="2200" b="0" spc="-5">
                          <a:effectLst/>
                        </a:rPr>
                        <a:t> </a:t>
                      </a:r>
                      <a:r>
                        <a:rPr lang="en-US" sz="2200" b="0">
                          <a:effectLst/>
                        </a:rPr>
                        <a:t>the</a:t>
                      </a:r>
                      <a:r>
                        <a:rPr lang="en-US" sz="2200" b="0" spc="-5">
                          <a:effectLst/>
                        </a:rPr>
                        <a:t> </a:t>
                      </a:r>
                      <a:r>
                        <a:rPr lang="en-US" sz="2200" b="0">
                          <a:effectLst/>
                        </a:rPr>
                        <a:t>only</a:t>
                      </a:r>
                      <a:r>
                        <a:rPr lang="en-US" sz="2200" b="0" spc="-5">
                          <a:effectLst/>
                        </a:rPr>
                        <a:t> </a:t>
                      </a:r>
                      <a:r>
                        <a:rPr lang="en-US" sz="2200" b="0">
                          <a:effectLst/>
                        </a:rPr>
                        <a:t>fossil</a:t>
                      </a:r>
                      <a:r>
                        <a:rPr lang="en-US" sz="2200" b="0" spc="-5">
                          <a:effectLst/>
                        </a:rPr>
                        <a:t> </a:t>
                      </a:r>
                      <a:r>
                        <a:rPr lang="en-US" sz="2200" b="0">
                          <a:effectLst/>
                        </a:rPr>
                        <a:t>fuel,</a:t>
                      </a:r>
                      <a:r>
                        <a:rPr lang="en-US" sz="2200" b="0" spc="-5">
                          <a:effectLst/>
                        </a:rPr>
                        <a:t> </a:t>
                      </a:r>
                      <a:r>
                        <a:rPr lang="en-US" sz="2200" b="0">
                          <a:effectLst/>
                        </a:rPr>
                        <a:t>PM</a:t>
                      </a:r>
                      <a:r>
                        <a:rPr lang="en-US" sz="2200" b="0" spc="-5">
                          <a:effectLst/>
                        </a:rPr>
                        <a:t> </a:t>
                      </a:r>
                      <a:r>
                        <a:rPr lang="en-US" sz="2200" b="0">
                          <a:effectLst/>
                        </a:rPr>
                        <a:t>is</a:t>
                      </a:r>
                      <a:r>
                        <a:rPr lang="en-US" sz="2200" b="0" spc="-5">
                          <a:effectLst/>
                        </a:rPr>
                        <a:t> </a:t>
                      </a:r>
                      <a:r>
                        <a:rPr lang="en-US" sz="2200" b="0">
                          <a:effectLst/>
                        </a:rPr>
                        <a:t>not</a:t>
                      </a:r>
                      <a:r>
                        <a:rPr lang="en-US" sz="2200" b="0" spc="-5">
                          <a:effectLst/>
                        </a:rPr>
                        <a:t> </a:t>
                      </a:r>
                      <a:r>
                        <a:rPr lang="en-US" sz="2200" b="0">
                          <a:effectLst/>
                        </a:rPr>
                        <a:t>relevant.</a:t>
                      </a:r>
                      <a:endParaRPr lang="sv-SE"/>
                    </a:p>
                  </a:txBody>
                  <a:tcPr marL="0" marR="0" marT="0" marB="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68468354"/>
                  </a:ext>
                </a:extLst>
              </a:tr>
              <a:tr h="284013">
                <a:tc>
                  <a:txBody>
                    <a:bodyPr/>
                    <a:lstStyle/>
                    <a:p>
                      <a:pPr marL="0">
                        <a:lnSpc>
                          <a:spcPct val="100000"/>
                        </a:lnSpc>
                        <a:spcBef>
                          <a:spcPts val="0"/>
                        </a:spcBef>
                        <a:spcAft>
                          <a:spcPts val="0"/>
                        </a:spcAft>
                      </a:pPr>
                      <a:r>
                        <a:rPr lang="en-US" sz="2200" b="0">
                          <a:effectLst/>
                        </a:rPr>
                        <a:t>NH</a:t>
                      </a:r>
                      <a:r>
                        <a:rPr lang="en-US" sz="2200" b="0" baseline="-25000">
                          <a:effectLst/>
                        </a:rPr>
                        <a:t>3</a:t>
                      </a:r>
                      <a:endParaRPr lang="sv-SE" sz="2200" b="0">
                        <a:effectLst/>
                        <a:latin typeface="Arial MT"/>
                        <a:ea typeface="Arial MT"/>
                        <a:cs typeface="Arial MT"/>
                      </a:endParaRP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nSpc>
                          <a:spcPct val="100000"/>
                        </a:lnSpc>
                        <a:spcBef>
                          <a:spcPts val="0"/>
                        </a:spcBef>
                        <a:spcAft>
                          <a:spcPts val="0"/>
                        </a:spcAft>
                      </a:pPr>
                      <a:r>
                        <a:rPr lang="en-US" sz="2200" b="0">
                          <a:effectLst/>
                        </a:rPr>
                        <a:t>[kg]</a:t>
                      </a:r>
                      <a:endParaRPr lang="sv-SE" sz="2200" b="0">
                        <a:effectLst/>
                        <a:latin typeface="Arial MT"/>
                        <a:ea typeface="Arial MT"/>
                        <a:cs typeface="Arial MT"/>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2200" b="0">
                          <a:effectLst/>
                        </a:rPr>
                        <a:t>Particularly relevant for the fertilizer case, as emissions are expected to</a:t>
                      </a:r>
                      <a:r>
                        <a:rPr lang="en-US" sz="2200" b="0" spc="-295">
                          <a:effectLst/>
                        </a:rPr>
                        <a:t> </a:t>
                      </a:r>
                      <a:r>
                        <a:rPr lang="en-US" sz="2200" b="0">
                          <a:effectLst/>
                        </a:rPr>
                        <a:t>be</a:t>
                      </a:r>
                      <a:r>
                        <a:rPr lang="en-US" sz="2200" b="0" spc="-5">
                          <a:effectLst/>
                        </a:rPr>
                        <a:t> </a:t>
                      </a:r>
                      <a:r>
                        <a:rPr lang="en-US" sz="2200" b="0">
                          <a:effectLst/>
                        </a:rPr>
                        <a:t>reduced.</a:t>
                      </a:r>
                      <a:endParaRPr lang="sv-SE"/>
                    </a:p>
                  </a:txBody>
                  <a:tcPr marL="0" marR="0" marT="0" marB="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49403362"/>
                  </a:ext>
                </a:extLst>
              </a:tr>
              <a:tr h="426801">
                <a:tc>
                  <a:txBody>
                    <a:bodyPr/>
                    <a:lstStyle/>
                    <a:p>
                      <a:pPr marL="0">
                        <a:lnSpc>
                          <a:spcPct val="100000"/>
                        </a:lnSpc>
                        <a:spcBef>
                          <a:spcPts val="0"/>
                        </a:spcBef>
                        <a:spcAft>
                          <a:spcPts val="0"/>
                        </a:spcAft>
                      </a:pPr>
                      <a:r>
                        <a:rPr lang="en-US" sz="2200" b="0">
                          <a:effectLst/>
                        </a:rPr>
                        <a:t>Fluoride</a:t>
                      </a:r>
                      <a:r>
                        <a:rPr lang="en-US" sz="2200" b="0" spc="-15">
                          <a:effectLst/>
                        </a:rPr>
                        <a:t> </a:t>
                      </a:r>
                      <a:r>
                        <a:rPr lang="en-US" sz="2200" b="0">
                          <a:effectLst/>
                        </a:rPr>
                        <a:t>compounds</a:t>
                      </a:r>
                      <a:endParaRPr lang="sv-SE" sz="2200" b="0">
                        <a:effectLst/>
                        <a:latin typeface="Arial MT"/>
                        <a:ea typeface="Arial MT"/>
                        <a:cs typeface="Arial MT"/>
                      </a:endParaRP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nSpc>
                          <a:spcPct val="100000"/>
                        </a:lnSpc>
                        <a:spcBef>
                          <a:spcPts val="0"/>
                        </a:spcBef>
                        <a:spcAft>
                          <a:spcPts val="0"/>
                        </a:spcAft>
                      </a:pPr>
                      <a:r>
                        <a:rPr lang="en-US" sz="2200" b="0">
                          <a:effectLst/>
                        </a:rPr>
                        <a:t>[kg]</a:t>
                      </a:r>
                      <a:endParaRPr lang="sv-SE" sz="2200" b="0">
                        <a:effectLst/>
                        <a:latin typeface="Arial MT"/>
                        <a:ea typeface="Arial MT"/>
                        <a:cs typeface="Arial MT"/>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2200" b="0">
                          <a:effectLst/>
                        </a:rPr>
                        <a:t>Particularly relevant for cement, aluminum, steel and ceramic case since</a:t>
                      </a:r>
                      <a:r>
                        <a:rPr lang="en-US" sz="2200" b="0" spc="-295">
                          <a:effectLst/>
                        </a:rPr>
                        <a:t> </a:t>
                      </a:r>
                      <a:r>
                        <a:rPr lang="en-US" sz="2200" b="0">
                          <a:effectLst/>
                        </a:rPr>
                        <a:t>it</a:t>
                      </a:r>
                      <a:r>
                        <a:rPr lang="en-US" sz="2200" b="0" spc="-5">
                          <a:effectLst/>
                        </a:rPr>
                        <a:t> </a:t>
                      </a:r>
                      <a:r>
                        <a:rPr lang="en-US" sz="2200" b="0">
                          <a:effectLst/>
                        </a:rPr>
                        <a:t>is included</a:t>
                      </a:r>
                      <a:r>
                        <a:rPr lang="en-US" sz="2200" b="0" spc="-10">
                          <a:effectLst/>
                        </a:rPr>
                        <a:t> </a:t>
                      </a:r>
                      <a:r>
                        <a:rPr lang="en-US" sz="2200" b="0">
                          <a:effectLst/>
                        </a:rPr>
                        <a:t>in the</a:t>
                      </a:r>
                      <a:r>
                        <a:rPr lang="en-US" sz="2200" b="0" spc="-5">
                          <a:effectLst/>
                        </a:rPr>
                        <a:t> </a:t>
                      </a:r>
                      <a:r>
                        <a:rPr lang="en-US" sz="2200" b="0">
                          <a:effectLst/>
                        </a:rPr>
                        <a:t>BAT</a:t>
                      </a:r>
                      <a:r>
                        <a:rPr lang="en-US" sz="2200" b="0" spc="-20">
                          <a:effectLst/>
                        </a:rPr>
                        <a:t> </a:t>
                      </a:r>
                      <a:r>
                        <a:rPr lang="en-US" sz="2200" b="0">
                          <a:effectLst/>
                        </a:rPr>
                        <a:t>documents.</a:t>
                      </a:r>
                      <a:endParaRPr lang="sv-SE"/>
                    </a:p>
                  </a:txBody>
                  <a:tcPr marL="0" marR="0" marT="0" marB="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29235364"/>
                  </a:ext>
                </a:extLst>
              </a:tr>
              <a:tr h="430970">
                <a:tc>
                  <a:txBody>
                    <a:bodyPr/>
                    <a:lstStyle/>
                    <a:p>
                      <a:pPr marL="0">
                        <a:lnSpc>
                          <a:spcPct val="100000"/>
                        </a:lnSpc>
                        <a:spcBef>
                          <a:spcPts val="0"/>
                        </a:spcBef>
                        <a:spcAft>
                          <a:spcPts val="0"/>
                        </a:spcAft>
                      </a:pPr>
                      <a:r>
                        <a:rPr lang="en-US" sz="2200" b="0">
                          <a:effectLst/>
                        </a:rPr>
                        <a:t>VOC (volatile</a:t>
                      </a:r>
                      <a:r>
                        <a:rPr lang="en-US" sz="2200" b="0" spc="5">
                          <a:effectLst/>
                        </a:rPr>
                        <a:t> </a:t>
                      </a:r>
                      <a:r>
                        <a:rPr lang="en-US" sz="2200" b="0">
                          <a:effectLst/>
                        </a:rPr>
                        <a:t>organic compounds</a:t>
                      </a:r>
                      <a:r>
                        <a:rPr lang="en-US" sz="2200" b="0" spc="-300">
                          <a:effectLst/>
                        </a:rPr>
                        <a:t> </a:t>
                      </a:r>
                      <a:r>
                        <a:rPr lang="en-US" sz="2200" b="0">
                          <a:effectLst/>
                        </a:rPr>
                        <a:t>including</a:t>
                      </a:r>
                      <a:r>
                        <a:rPr lang="en-US" sz="2200" b="0" spc="-15">
                          <a:effectLst/>
                        </a:rPr>
                        <a:t> </a:t>
                      </a:r>
                      <a:r>
                        <a:rPr lang="en-US" sz="2200" b="0">
                          <a:effectLst/>
                        </a:rPr>
                        <a:t>methane)</a:t>
                      </a:r>
                      <a:endParaRPr lang="sv-SE" sz="2200" b="0">
                        <a:effectLst/>
                        <a:latin typeface="Arial MT"/>
                        <a:ea typeface="Arial MT"/>
                        <a:cs typeface="Arial MT"/>
                      </a:endParaRP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nSpc>
                          <a:spcPct val="100000"/>
                        </a:lnSpc>
                        <a:spcBef>
                          <a:spcPts val="0"/>
                        </a:spcBef>
                        <a:spcAft>
                          <a:spcPts val="0"/>
                        </a:spcAft>
                      </a:pPr>
                      <a:r>
                        <a:rPr lang="en-US" sz="2200" b="0">
                          <a:effectLst/>
                        </a:rPr>
                        <a:t>[g]</a:t>
                      </a:r>
                      <a:endParaRPr lang="sv-SE" sz="2200" b="0">
                        <a:effectLst/>
                        <a:latin typeface="Arial MT"/>
                        <a:ea typeface="Arial MT"/>
                        <a:cs typeface="Arial MT"/>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2200" b="0">
                          <a:effectLst/>
                        </a:rPr>
                        <a:t>Particularly relevant for cement, aluminum, steel and ceramic case since</a:t>
                      </a:r>
                      <a:r>
                        <a:rPr lang="en-US" sz="2200" b="0" spc="-295">
                          <a:effectLst/>
                        </a:rPr>
                        <a:t> </a:t>
                      </a:r>
                      <a:r>
                        <a:rPr lang="en-US" sz="2200" b="0">
                          <a:effectLst/>
                        </a:rPr>
                        <a:t>it</a:t>
                      </a:r>
                      <a:r>
                        <a:rPr lang="en-US" sz="2200" b="0" spc="-5">
                          <a:effectLst/>
                        </a:rPr>
                        <a:t> </a:t>
                      </a:r>
                      <a:r>
                        <a:rPr lang="en-US" sz="2200" b="0">
                          <a:effectLst/>
                        </a:rPr>
                        <a:t>is included</a:t>
                      </a:r>
                      <a:r>
                        <a:rPr lang="en-US" sz="2200" b="0" spc="-10">
                          <a:effectLst/>
                        </a:rPr>
                        <a:t> </a:t>
                      </a:r>
                      <a:r>
                        <a:rPr lang="en-US" sz="2200" b="0">
                          <a:effectLst/>
                        </a:rPr>
                        <a:t>in the</a:t>
                      </a:r>
                      <a:r>
                        <a:rPr lang="en-US" sz="2200" b="0" spc="-5">
                          <a:effectLst/>
                        </a:rPr>
                        <a:t> </a:t>
                      </a:r>
                      <a:r>
                        <a:rPr lang="en-US" sz="2200" b="0">
                          <a:effectLst/>
                        </a:rPr>
                        <a:t>BAT</a:t>
                      </a:r>
                      <a:r>
                        <a:rPr lang="en-US" sz="2200" b="0" spc="-20">
                          <a:effectLst/>
                        </a:rPr>
                        <a:t> </a:t>
                      </a:r>
                      <a:r>
                        <a:rPr lang="en-US" sz="2200" b="0">
                          <a:effectLst/>
                        </a:rPr>
                        <a:t>documents.</a:t>
                      </a:r>
                      <a:endParaRPr lang="sv-SE"/>
                    </a:p>
                  </a:txBody>
                  <a:tcPr marL="0" marR="0" marT="0" marB="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03791561"/>
                  </a:ext>
                </a:extLst>
              </a:tr>
              <a:tr h="588610">
                <a:tc>
                  <a:txBody>
                    <a:bodyPr/>
                    <a:lstStyle/>
                    <a:p>
                      <a:pPr marL="0">
                        <a:lnSpc>
                          <a:spcPct val="100000"/>
                        </a:lnSpc>
                        <a:spcBef>
                          <a:spcPts val="0"/>
                        </a:spcBef>
                        <a:spcAft>
                          <a:spcPts val="0"/>
                        </a:spcAft>
                      </a:pPr>
                      <a:r>
                        <a:rPr lang="en-US" sz="2200" b="0">
                          <a:effectLst/>
                        </a:rPr>
                        <a:t>Metals</a:t>
                      </a:r>
                      <a:endParaRPr lang="sv-SE" sz="2200" b="0">
                        <a:effectLst/>
                        <a:latin typeface="Arial MT"/>
                        <a:ea typeface="Arial MT"/>
                        <a:cs typeface="Arial MT"/>
                      </a:endParaRP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nSpc>
                          <a:spcPct val="100000"/>
                        </a:lnSpc>
                        <a:spcBef>
                          <a:spcPts val="0"/>
                        </a:spcBef>
                        <a:spcAft>
                          <a:spcPts val="0"/>
                        </a:spcAft>
                      </a:pPr>
                      <a:r>
                        <a:rPr lang="en-US" sz="2200" b="0">
                          <a:effectLst/>
                        </a:rPr>
                        <a:t>[mg]</a:t>
                      </a:r>
                      <a:endParaRPr lang="sv-SE" sz="2200" b="0">
                        <a:effectLst/>
                        <a:latin typeface="Arial MT"/>
                        <a:ea typeface="Arial MT"/>
                        <a:cs typeface="Arial MT"/>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nSpc>
                          <a:spcPct val="100000"/>
                        </a:lnSpc>
                        <a:spcBef>
                          <a:spcPts val="0"/>
                        </a:spcBef>
                        <a:spcAft>
                          <a:spcPts val="0"/>
                        </a:spcAft>
                      </a:pPr>
                      <a:r>
                        <a:rPr lang="en-US" sz="2200" b="0">
                          <a:effectLst/>
                        </a:rPr>
                        <a:t>Relevant</a:t>
                      </a:r>
                      <a:r>
                        <a:rPr lang="en-US" sz="2200" b="0" spc="-15">
                          <a:effectLst/>
                        </a:rPr>
                        <a:t> </a:t>
                      </a:r>
                      <a:r>
                        <a:rPr lang="en-US" sz="2200" b="0">
                          <a:effectLst/>
                        </a:rPr>
                        <a:t>e.g.</a:t>
                      </a:r>
                      <a:r>
                        <a:rPr lang="en-US" sz="2200" b="0" spc="-15">
                          <a:effectLst/>
                        </a:rPr>
                        <a:t> </a:t>
                      </a:r>
                      <a:r>
                        <a:rPr lang="en-US" sz="2200" b="0">
                          <a:effectLst/>
                        </a:rPr>
                        <a:t>lead</a:t>
                      </a:r>
                      <a:r>
                        <a:rPr lang="en-US" sz="2200" b="0" spc="-15">
                          <a:effectLst/>
                        </a:rPr>
                        <a:t> </a:t>
                      </a:r>
                      <a:r>
                        <a:rPr lang="en-US" sz="2200" b="0">
                          <a:effectLst/>
                        </a:rPr>
                        <a:t>and</a:t>
                      </a:r>
                      <a:r>
                        <a:rPr lang="en-US" sz="2200" b="0" spc="-20">
                          <a:effectLst/>
                        </a:rPr>
                        <a:t> </a:t>
                      </a:r>
                      <a:r>
                        <a:rPr lang="en-US" sz="2200" b="0">
                          <a:effectLst/>
                        </a:rPr>
                        <a:t>copper</a:t>
                      </a:r>
                      <a:r>
                        <a:rPr lang="en-US" sz="2200" b="0" spc="-15">
                          <a:effectLst/>
                        </a:rPr>
                        <a:t> </a:t>
                      </a:r>
                      <a:r>
                        <a:rPr lang="en-US" sz="2200" b="0">
                          <a:effectLst/>
                        </a:rPr>
                        <a:t>for</a:t>
                      </a:r>
                      <a:r>
                        <a:rPr lang="en-US" sz="2200" b="0" spc="-15">
                          <a:effectLst/>
                        </a:rPr>
                        <a:t> </a:t>
                      </a:r>
                      <a:r>
                        <a:rPr lang="en-US" sz="2200" b="0">
                          <a:effectLst/>
                        </a:rPr>
                        <a:t>the</a:t>
                      </a:r>
                      <a:r>
                        <a:rPr lang="en-US" sz="2200" b="0" spc="-15">
                          <a:effectLst/>
                        </a:rPr>
                        <a:t> </a:t>
                      </a:r>
                      <a:r>
                        <a:rPr lang="en-US" sz="2200" b="0">
                          <a:effectLst/>
                        </a:rPr>
                        <a:t>steel</a:t>
                      </a:r>
                      <a:r>
                        <a:rPr lang="en-US" sz="2200" b="0" spc="-15">
                          <a:effectLst/>
                        </a:rPr>
                        <a:t> </a:t>
                      </a:r>
                      <a:r>
                        <a:rPr lang="en-US" sz="2200" b="0">
                          <a:effectLst/>
                        </a:rPr>
                        <a:t>case</a:t>
                      </a:r>
                      <a:r>
                        <a:rPr lang="en-US" sz="2200" b="0" spc="-5">
                          <a:effectLst/>
                        </a:rPr>
                        <a:t> </a:t>
                      </a:r>
                      <a:r>
                        <a:rPr lang="en-US" sz="2200" b="0">
                          <a:effectLst/>
                        </a:rPr>
                        <a:t>–</a:t>
                      </a:r>
                      <a:r>
                        <a:rPr lang="en-US" sz="2200" b="0" spc="-15">
                          <a:effectLst/>
                        </a:rPr>
                        <a:t> </a:t>
                      </a:r>
                      <a:r>
                        <a:rPr lang="en-US" sz="2200" b="0">
                          <a:effectLst/>
                        </a:rPr>
                        <a:t>see</a:t>
                      </a:r>
                      <a:r>
                        <a:rPr lang="en-US" sz="2200" b="0" spc="-15">
                          <a:effectLst/>
                        </a:rPr>
                        <a:t> </a:t>
                      </a:r>
                      <a:r>
                        <a:rPr lang="en-US" sz="2200" b="0">
                          <a:effectLst/>
                        </a:rPr>
                        <a:t>BAT</a:t>
                      </a:r>
                      <a:r>
                        <a:rPr lang="en-US" sz="2200" b="0" spc="-35">
                          <a:effectLst/>
                        </a:rPr>
                        <a:t> </a:t>
                      </a:r>
                      <a:r>
                        <a:rPr lang="en-US" sz="2200" b="0">
                          <a:effectLst/>
                        </a:rPr>
                        <a:t>document</a:t>
                      </a:r>
                      <a:r>
                        <a:rPr lang="en-US" sz="2200" b="0" spc="-15">
                          <a:effectLst/>
                        </a:rPr>
                        <a:t> </a:t>
                      </a:r>
                      <a:r>
                        <a:rPr lang="en-US" sz="2200" b="0">
                          <a:effectLst/>
                        </a:rPr>
                        <a:t>for</a:t>
                      </a:r>
                      <a:r>
                        <a:rPr lang="en-US" sz="2200" b="0" spc="-290">
                          <a:effectLst/>
                        </a:rPr>
                        <a:t> </a:t>
                      </a:r>
                      <a:r>
                        <a:rPr lang="en-US" sz="2200" b="0">
                          <a:effectLst/>
                        </a:rPr>
                        <a:t>more</a:t>
                      </a:r>
                      <a:r>
                        <a:rPr lang="en-US" sz="2200" b="0" spc="-5">
                          <a:effectLst/>
                        </a:rPr>
                        <a:t> </a:t>
                      </a:r>
                      <a:r>
                        <a:rPr lang="en-US" sz="2200" b="0">
                          <a:effectLst/>
                        </a:rPr>
                        <a:t>details</a:t>
                      </a:r>
                      <a:endParaRPr lang="sv-SE" sz="2200" b="0">
                        <a:effectLst/>
                      </a:endParaRPr>
                    </a:p>
                    <a:p>
                      <a:pPr marL="0">
                        <a:lnSpc>
                          <a:spcPct val="100000"/>
                        </a:lnSpc>
                        <a:spcBef>
                          <a:spcPts val="0"/>
                        </a:spcBef>
                        <a:spcAft>
                          <a:spcPts val="0"/>
                        </a:spcAft>
                      </a:pPr>
                      <a:r>
                        <a:rPr lang="en-US" sz="2200" b="0">
                          <a:effectLst/>
                        </a:rPr>
                        <a:t>Relevant</a:t>
                      </a:r>
                      <a:r>
                        <a:rPr lang="en-US" sz="2200" b="0" spc="-15">
                          <a:effectLst/>
                        </a:rPr>
                        <a:t> </a:t>
                      </a:r>
                      <a:r>
                        <a:rPr lang="en-US" sz="2200" b="0">
                          <a:effectLst/>
                        </a:rPr>
                        <a:t>e.g.</a:t>
                      </a:r>
                      <a:r>
                        <a:rPr lang="en-US" sz="2200" b="0" spc="-15">
                          <a:effectLst/>
                        </a:rPr>
                        <a:t> </a:t>
                      </a:r>
                      <a:r>
                        <a:rPr lang="en-US" sz="2200" b="0">
                          <a:effectLst/>
                        </a:rPr>
                        <a:t>mercury</a:t>
                      </a:r>
                      <a:r>
                        <a:rPr lang="en-US" sz="2200" b="0" spc="-15">
                          <a:effectLst/>
                        </a:rPr>
                        <a:t> </a:t>
                      </a:r>
                      <a:r>
                        <a:rPr lang="en-US" sz="2200" b="0">
                          <a:effectLst/>
                        </a:rPr>
                        <a:t>for</a:t>
                      </a:r>
                      <a:r>
                        <a:rPr lang="en-US" sz="2200" b="0" spc="-15">
                          <a:effectLst/>
                        </a:rPr>
                        <a:t> </a:t>
                      </a:r>
                      <a:r>
                        <a:rPr lang="en-US" sz="2200" b="0">
                          <a:effectLst/>
                        </a:rPr>
                        <a:t>the</a:t>
                      </a:r>
                      <a:r>
                        <a:rPr lang="en-US" sz="2200" b="0" spc="-15">
                          <a:effectLst/>
                        </a:rPr>
                        <a:t> </a:t>
                      </a:r>
                      <a:r>
                        <a:rPr lang="en-US" sz="2200" b="0">
                          <a:effectLst/>
                        </a:rPr>
                        <a:t>cement</a:t>
                      </a:r>
                      <a:r>
                        <a:rPr lang="en-US" sz="2200" b="0" spc="-15">
                          <a:effectLst/>
                        </a:rPr>
                        <a:t> </a:t>
                      </a:r>
                      <a:r>
                        <a:rPr lang="en-US" sz="2200" b="0">
                          <a:effectLst/>
                        </a:rPr>
                        <a:t>case</a:t>
                      </a:r>
                      <a:r>
                        <a:rPr lang="en-US" sz="2200" b="0" spc="-15">
                          <a:effectLst/>
                        </a:rPr>
                        <a:t> </a:t>
                      </a:r>
                      <a:r>
                        <a:rPr lang="en-US" sz="2200" b="0">
                          <a:effectLst/>
                        </a:rPr>
                        <a:t>–</a:t>
                      </a:r>
                      <a:r>
                        <a:rPr lang="en-US" sz="2200" b="0" spc="-15">
                          <a:effectLst/>
                        </a:rPr>
                        <a:t> </a:t>
                      </a:r>
                      <a:r>
                        <a:rPr lang="en-US" sz="2200" b="0">
                          <a:effectLst/>
                        </a:rPr>
                        <a:t>see</a:t>
                      </a:r>
                      <a:r>
                        <a:rPr lang="en-US" sz="2200" b="0" spc="-15">
                          <a:effectLst/>
                        </a:rPr>
                        <a:t> </a:t>
                      </a:r>
                      <a:r>
                        <a:rPr lang="en-US" sz="2200" b="0">
                          <a:effectLst/>
                        </a:rPr>
                        <a:t>BAT</a:t>
                      </a:r>
                      <a:r>
                        <a:rPr lang="en-US" sz="2200" b="0" spc="-40">
                          <a:effectLst/>
                        </a:rPr>
                        <a:t> </a:t>
                      </a:r>
                      <a:r>
                        <a:rPr lang="en-US" sz="2200" b="0">
                          <a:effectLst/>
                        </a:rPr>
                        <a:t>document</a:t>
                      </a:r>
                      <a:r>
                        <a:rPr lang="en-US" sz="2200" b="0" spc="-15">
                          <a:effectLst/>
                        </a:rPr>
                        <a:t> </a:t>
                      </a:r>
                      <a:r>
                        <a:rPr lang="en-US" sz="2200" b="0">
                          <a:effectLst/>
                        </a:rPr>
                        <a:t>for</a:t>
                      </a:r>
                      <a:r>
                        <a:rPr lang="en-US" sz="2200" b="0" spc="-15">
                          <a:effectLst/>
                        </a:rPr>
                        <a:t> </a:t>
                      </a:r>
                      <a:r>
                        <a:rPr lang="en-US" sz="2200" b="0">
                          <a:effectLst/>
                        </a:rPr>
                        <a:t>more</a:t>
                      </a:r>
                      <a:r>
                        <a:rPr lang="en-US" sz="2200" b="0" spc="-290">
                          <a:effectLst/>
                        </a:rPr>
                        <a:t> </a:t>
                      </a:r>
                      <a:r>
                        <a:rPr lang="en-US" sz="2200" b="0">
                          <a:effectLst/>
                        </a:rPr>
                        <a:t>details.</a:t>
                      </a:r>
                      <a:endParaRPr lang="sv-SE"/>
                    </a:p>
                  </a:txBody>
                  <a:tcPr marL="0" marR="0" marT="0" marB="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21578164"/>
                  </a:ext>
                </a:extLst>
              </a:tr>
              <a:tr h="294956">
                <a:tc>
                  <a:txBody>
                    <a:bodyPr/>
                    <a:lstStyle/>
                    <a:p>
                      <a:pPr marL="0">
                        <a:lnSpc>
                          <a:spcPct val="100000"/>
                        </a:lnSpc>
                        <a:spcBef>
                          <a:spcPts val="0"/>
                        </a:spcBef>
                        <a:spcAft>
                          <a:spcPts val="0"/>
                        </a:spcAft>
                      </a:pPr>
                      <a:r>
                        <a:rPr lang="en-US" sz="2200" b="0">
                          <a:effectLst/>
                        </a:rPr>
                        <a:t>Chlorinated</a:t>
                      </a:r>
                      <a:r>
                        <a:rPr lang="en-US" sz="2200" b="0" spc="-295">
                          <a:effectLst/>
                        </a:rPr>
                        <a:t> </a:t>
                      </a:r>
                      <a:r>
                        <a:rPr lang="en-US" sz="2200" b="0">
                          <a:effectLst/>
                        </a:rPr>
                        <a:t>compounds</a:t>
                      </a:r>
                      <a:endParaRPr lang="sv-SE" sz="2200" b="0">
                        <a:effectLst/>
                        <a:latin typeface="Arial MT"/>
                        <a:ea typeface="Arial MT"/>
                        <a:cs typeface="Arial MT"/>
                      </a:endParaRP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a:lnSpc>
                          <a:spcPct val="100000"/>
                        </a:lnSpc>
                        <a:spcBef>
                          <a:spcPts val="0"/>
                        </a:spcBef>
                        <a:spcAft>
                          <a:spcPts val="0"/>
                        </a:spcAft>
                      </a:pPr>
                      <a:r>
                        <a:rPr lang="en-US" sz="2200" b="0">
                          <a:effectLst/>
                        </a:rPr>
                        <a:t>[mg]</a:t>
                      </a:r>
                      <a:endParaRPr lang="sv-SE" sz="2200" b="0">
                        <a:effectLst/>
                        <a:latin typeface="Arial MT"/>
                        <a:ea typeface="Arial MT"/>
                        <a:cs typeface="Arial MT"/>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r>
                        <a:rPr lang="en-US" sz="2200" b="0">
                          <a:effectLst/>
                        </a:rPr>
                        <a:t>Particularly relevant for steel, cement and ceramic case as they are</a:t>
                      </a:r>
                      <a:r>
                        <a:rPr lang="en-US" sz="2200" b="0" spc="-295">
                          <a:effectLst/>
                        </a:rPr>
                        <a:t> </a:t>
                      </a:r>
                      <a:r>
                        <a:rPr lang="en-US" sz="2200" b="0">
                          <a:effectLst/>
                        </a:rPr>
                        <a:t>included</a:t>
                      </a:r>
                      <a:r>
                        <a:rPr lang="en-US" sz="2200" b="0" spc="-5">
                          <a:effectLst/>
                        </a:rPr>
                        <a:t> </a:t>
                      </a:r>
                      <a:r>
                        <a:rPr lang="en-US" sz="2200" b="0">
                          <a:effectLst/>
                        </a:rPr>
                        <a:t>in</a:t>
                      </a:r>
                      <a:r>
                        <a:rPr lang="en-US" sz="2200" b="0" spc="-10">
                          <a:effectLst/>
                        </a:rPr>
                        <a:t> </a:t>
                      </a:r>
                      <a:r>
                        <a:rPr lang="en-US" sz="2200" b="0">
                          <a:effectLst/>
                        </a:rPr>
                        <a:t>the related</a:t>
                      </a:r>
                      <a:r>
                        <a:rPr lang="en-US" sz="2200" b="0" spc="-5">
                          <a:effectLst/>
                        </a:rPr>
                        <a:t> </a:t>
                      </a:r>
                      <a:r>
                        <a:rPr lang="en-US" sz="2200" b="0">
                          <a:effectLst/>
                        </a:rPr>
                        <a:t>BAT</a:t>
                      </a:r>
                      <a:r>
                        <a:rPr lang="en-US" sz="2200" b="0" spc="-25">
                          <a:effectLst/>
                        </a:rPr>
                        <a:t> </a:t>
                      </a:r>
                      <a:r>
                        <a:rPr lang="en-US" sz="2200" b="0">
                          <a:effectLst/>
                        </a:rPr>
                        <a:t>documents.</a:t>
                      </a:r>
                      <a:endParaRPr lang="sv-SE"/>
                    </a:p>
                  </a:txBody>
                  <a:tcPr marL="0" marR="0" marT="0" marB="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282617697"/>
                  </a:ext>
                </a:extLst>
              </a:tr>
            </a:tbl>
          </a:graphicData>
        </a:graphic>
      </p:graphicFrame>
    </p:spTree>
    <p:extLst>
      <p:ext uri="{BB962C8B-B14F-4D97-AF65-F5344CB8AC3E}">
        <p14:creationId xmlns:p14="http://schemas.microsoft.com/office/powerpoint/2010/main" val="357970353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uppo 16">
            <a:extLst>
              <a:ext uri="{FF2B5EF4-FFF2-40B4-BE49-F238E27FC236}">
                <a16:creationId xmlns:a16="http://schemas.microsoft.com/office/drawing/2014/main" id="{F42BB19C-171F-4042-B733-664F59BA37A2}"/>
              </a:ext>
            </a:extLst>
          </p:cNvPr>
          <p:cNvGrpSpPr/>
          <p:nvPr/>
        </p:nvGrpSpPr>
        <p:grpSpPr>
          <a:xfrm>
            <a:off x="4329146" y="9679208"/>
            <a:ext cx="13958844" cy="666567"/>
            <a:chOff x="4329156" y="9649198"/>
            <a:chExt cx="13958844" cy="666567"/>
          </a:xfrm>
        </p:grpSpPr>
        <p:pic>
          <p:nvPicPr>
            <p:cNvPr id="5" name="Picture 12">
              <a:extLst>
                <a:ext uri="{FF2B5EF4-FFF2-40B4-BE49-F238E27FC236}">
                  <a16:creationId xmlns:a16="http://schemas.microsoft.com/office/drawing/2014/main" id="{5B4B7AF5-D5E3-49DC-969E-FFEFC86F65A8}"/>
                </a:ext>
              </a:extLst>
            </p:cNvPr>
            <p:cNvPicPr>
              <a:picLocks noChangeAspect="1"/>
            </p:cNvPicPr>
            <p:nvPr/>
          </p:nvPicPr>
          <p:blipFill>
            <a:blip r:embed="rId2"/>
            <a:srcRect l="134" t="91287" b="3943"/>
            <a:stretch>
              <a:fillRect/>
            </a:stretch>
          </p:blipFill>
          <p:spPr>
            <a:xfrm rot="-10800000">
              <a:off x="4329156" y="9649198"/>
              <a:ext cx="13958844" cy="666567"/>
            </a:xfrm>
            <a:prstGeom prst="rect">
              <a:avLst/>
            </a:prstGeom>
          </p:spPr>
        </p:pic>
        <p:sp>
          <p:nvSpPr>
            <p:cNvPr id="6" name="TextBox 16">
              <a:extLst>
                <a:ext uri="{FF2B5EF4-FFF2-40B4-BE49-F238E27FC236}">
                  <a16:creationId xmlns:a16="http://schemas.microsoft.com/office/drawing/2014/main" id="{D9CD8C6E-0679-428C-B0E7-ECE21934F0B8}"/>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pic>
        <p:nvPicPr>
          <p:cNvPr id="7" name="Picture 12">
            <a:extLst>
              <a:ext uri="{FF2B5EF4-FFF2-40B4-BE49-F238E27FC236}">
                <a16:creationId xmlns:a16="http://schemas.microsoft.com/office/drawing/2014/main" id="{98BC90D4-30F4-464C-9C4D-FEAE209E54A7}"/>
              </a:ext>
            </a:extLst>
          </p:cNvPr>
          <p:cNvPicPr>
            <a:picLocks noChangeAspect="1"/>
          </p:cNvPicPr>
          <p:nvPr/>
        </p:nvPicPr>
        <p:blipFill>
          <a:blip r:embed="rId3"/>
          <a:srcRect/>
          <a:stretch>
            <a:fillRect/>
          </a:stretch>
        </p:blipFill>
        <p:spPr>
          <a:xfrm>
            <a:off x="0" y="8901113"/>
            <a:ext cx="5715000" cy="1385887"/>
          </a:xfrm>
          <a:prstGeom prst="rect">
            <a:avLst/>
          </a:prstGeom>
        </p:spPr>
      </p:pic>
      <p:grpSp>
        <p:nvGrpSpPr>
          <p:cNvPr id="8" name="Gruppo 2">
            <a:extLst>
              <a:ext uri="{FF2B5EF4-FFF2-40B4-BE49-F238E27FC236}">
                <a16:creationId xmlns:a16="http://schemas.microsoft.com/office/drawing/2014/main" id="{73AC54CF-D81D-4726-A531-EA18BD7217BF}"/>
              </a:ext>
            </a:extLst>
          </p:cNvPr>
          <p:cNvGrpSpPr/>
          <p:nvPr/>
        </p:nvGrpSpPr>
        <p:grpSpPr>
          <a:xfrm>
            <a:off x="-12" y="138554"/>
            <a:ext cx="18288002" cy="681138"/>
            <a:chOff x="-12" y="138554"/>
            <a:chExt cx="18288002" cy="681138"/>
          </a:xfrm>
        </p:grpSpPr>
        <p:grpSp>
          <p:nvGrpSpPr>
            <p:cNvPr id="9" name="Gruppo 1">
              <a:extLst>
                <a:ext uri="{FF2B5EF4-FFF2-40B4-BE49-F238E27FC236}">
                  <a16:creationId xmlns:a16="http://schemas.microsoft.com/office/drawing/2014/main" id="{DC0D3B87-640E-439A-B82D-D7B86B34204D}"/>
                </a:ext>
              </a:extLst>
            </p:cNvPr>
            <p:cNvGrpSpPr/>
            <p:nvPr/>
          </p:nvGrpSpPr>
          <p:grpSpPr>
            <a:xfrm>
              <a:off x="0" y="153125"/>
              <a:ext cx="17907000" cy="666567"/>
              <a:chOff x="0" y="153125"/>
              <a:chExt cx="17907000" cy="666567"/>
            </a:xfrm>
          </p:grpSpPr>
          <p:grpSp>
            <p:nvGrpSpPr>
              <p:cNvPr id="11" name="Gruppo 15">
                <a:extLst>
                  <a:ext uri="{FF2B5EF4-FFF2-40B4-BE49-F238E27FC236}">
                    <a16:creationId xmlns:a16="http://schemas.microsoft.com/office/drawing/2014/main" id="{D54BF748-4923-4B42-815A-542591DC06F1}"/>
                  </a:ext>
                </a:extLst>
              </p:cNvPr>
              <p:cNvGrpSpPr/>
              <p:nvPr/>
            </p:nvGrpSpPr>
            <p:grpSpPr>
              <a:xfrm>
                <a:off x="0" y="153125"/>
                <a:ext cx="13958844" cy="666567"/>
                <a:chOff x="0" y="153125"/>
                <a:chExt cx="13958844" cy="666567"/>
              </a:xfrm>
            </p:grpSpPr>
            <p:pic>
              <p:nvPicPr>
                <p:cNvPr id="13" name="Picture 10">
                  <a:extLst>
                    <a:ext uri="{FF2B5EF4-FFF2-40B4-BE49-F238E27FC236}">
                      <a16:creationId xmlns:a16="http://schemas.microsoft.com/office/drawing/2014/main" id="{654F2A0F-D18D-4868-AAB5-22025988F6F1}"/>
                    </a:ext>
                  </a:extLst>
                </p:cNvPr>
                <p:cNvPicPr>
                  <a:picLocks noChangeAspect="1"/>
                </p:cNvPicPr>
                <p:nvPr/>
              </p:nvPicPr>
              <p:blipFill>
                <a:blip r:embed="rId4"/>
                <a:srcRect l="134" t="91287" b="3943"/>
                <a:stretch>
                  <a:fillRect/>
                </a:stretch>
              </p:blipFill>
              <p:spPr>
                <a:xfrm>
                  <a:off x="0" y="153125"/>
                  <a:ext cx="13958844" cy="666567"/>
                </a:xfrm>
                <a:prstGeom prst="rect">
                  <a:avLst/>
                </a:prstGeom>
              </p:spPr>
            </p:pic>
            <p:sp>
              <p:nvSpPr>
                <p:cNvPr id="14" name="TextBox 11">
                  <a:extLst>
                    <a:ext uri="{FF2B5EF4-FFF2-40B4-BE49-F238E27FC236}">
                      <a16:creationId xmlns:a16="http://schemas.microsoft.com/office/drawing/2014/main" id="{18FBC435-0B0F-4D81-91F1-E74D9955A834}"/>
                    </a:ext>
                  </a:extLst>
                </p:cNvPr>
                <p:cNvSpPr txBox="1"/>
                <p:nvPr/>
              </p:nvSpPr>
              <p:spPr>
                <a:xfrm>
                  <a:off x="228600" y="257980"/>
                  <a:ext cx="9296400" cy="456856"/>
                </a:xfrm>
                <a:prstGeom prst="rect">
                  <a:avLst/>
                </a:prstGeom>
              </p:spPr>
              <p:txBody>
                <a:bodyPr wrap="square" lIns="0" tIns="0" rIns="0" bIns="0" rtlCol="0" anchor="t">
                  <a:spAutoFit/>
                </a:bodyPr>
                <a:lstStyle/>
                <a:p>
                  <a:pPr>
                    <a:lnSpc>
                      <a:spcPts val="3919"/>
                    </a:lnSpc>
                    <a:spcBef>
                      <a:spcPct val="0"/>
                    </a:spcBef>
                  </a:pPr>
                  <a:endParaRPr lang="en-US" sz="2800" b="1">
                    <a:solidFill>
                      <a:srgbClr val="FFFFFF"/>
                    </a:solidFill>
                    <a:latin typeface="Arial" panose="020B0604020202020204" pitchFamily="34" charset="0"/>
                    <a:cs typeface="Arial" panose="020B0604020202020204" pitchFamily="34" charset="0"/>
                  </a:endParaRPr>
                </a:p>
              </p:txBody>
            </p:sp>
          </p:grpSp>
          <p:sp>
            <p:nvSpPr>
              <p:cNvPr id="12" name="TextBox 11">
                <a:extLst>
                  <a:ext uri="{FF2B5EF4-FFF2-40B4-BE49-F238E27FC236}">
                    <a16:creationId xmlns:a16="http://schemas.microsoft.com/office/drawing/2014/main" id="{4C4B5271-668B-4415-83B7-EBC2CD25258E}"/>
                  </a:ext>
                </a:extLst>
              </p:cNvPr>
              <p:cNvSpPr txBox="1"/>
              <p:nvPr/>
            </p:nvSpPr>
            <p:spPr>
              <a:xfrm>
                <a:off x="12154296" y="257980"/>
                <a:ext cx="5752704" cy="456856"/>
              </a:xfrm>
              <a:prstGeom prst="rect">
                <a:avLst/>
              </a:prstGeom>
            </p:spPr>
            <p:txBody>
              <a:bodyPr wrap="square" lIns="0" tIns="0" rIns="0" bIns="0" rtlCol="0" anchor="t">
                <a:spAutoFit/>
              </a:bodyPr>
              <a:lstStyle/>
              <a:p>
                <a:pPr algn="r">
                  <a:lnSpc>
                    <a:spcPts val="3919"/>
                  </a:lnSpc>
                  <a:spcBef>
                    <a:spcPct val="0"/>
                  </a:spcBef>
                </a:pPr>
                <a:endParaRPr lang="en-US" sz="2800">
                  <a:solidFill>
                    <a:schemeClr val="tx1">
                      <a:lumMod val="75000"/>
                      <a:lumOff val="25000"/>
                    </a:schemeClr>
                  </a:solidFill>
                  <a:latin typeface="Arial" panose="020B0604020202020204" pitchFamily="34" charset="0"/>
                  <a:cs typeface="Arial" panose="020B0604020202020204" pitchFamily="34" charset="0"/>
                </a:endParaRPr>
              </a:p>
            </p:txBody>
          </p:sp>
        </p:grpSp>
        <p:sp>
          <p:nvSpPr>
            <p:cNvPr id="10" name="Rettangolo 13">
              <a:extLst>
                <a:ext uri="{FF2B5EF4-FFF2-40B4-BE49-F238E27FC236}">
                  <a16:creationId xmlns:a16="http://schemas.microsoft.com/office/drawing/2014/main" id="{A36973E7-B7A9-4FBB-AFCD-F707154AFE58}"/>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5" name="TextBox 14">
            <a:extLst>
              <a:ext uri="{FF2B5EF4-FFF2-40B4-BE49-F238E27FC236}">
                <a16:creationId xmlns:a16="http://schemas.microsoft.com/office/drawing/2014/main" id="{D92A58FA-DB79-4B8E-B906-609BACDB9E1B}"/>
              </a:ext>
            </a:extLst>
          </p:cNvPr>
          <p:cNvSpPr txBox="1"/>
          <p:nvPr/>
        </p:nvSpPr>
        <p:spPr>
          <a:xfrm>
            <a:off x="228600" y="985099"/>
            <a:ext cx="17807739" cy="1015663"/>
          </a:xfrm>
          <a:prstGeom prst="rect">
            <a:avLst/>
          </a:prstGeom>
          <a:noFill/>
        </p:spPr>
        <p:txBody>
          <a:bodyPr wrap="square">
            <a:spAutoFit/>
          </a:bodyPr>
          <a:lstStyle/>
          <a:p>
            <a:pPr algn="ctr"/>
            <a:r>
              <a:rPr lang="en-US" sz="6000" b="1">
                <a:solidFill>
                  <a:srgbClr val="CC0033"/>
                </a:solidFill>
                <a:latin typeface="+mj-lt"/>
                <a:cs typeface="Arial" panose="020B0604020202020204" pitchFamily="34" charset="0"/>
              </a:rPr>
              <a:t>Key Performance Attributes (KPA)</a:t>
            </a:r>
            <a:endParaRPr lang="sv-SE" sz="6000" b="1">
              <a:solidFill>
                <a:srgbClr val="CC0033"/>
              </a:solidFill>
              <a:latin typeface="+mj-lt"/>
              <a:cs typeface="Arial" panose="020B0604020202020204" pitchFamily="34" charset="0"/>
            </a:endParaRPr>
          </a:p>
        </p:txBody>
      </p:sp>
      <p:graphicFrame>
        <p:nvGraphicFramePr>
          <p:cNvPr id="17" name="Table 16">
            <a:extLst>
              <a:ext uri="{FF2B5EF4-FFF2-40B4-BE49-F238E27FC236}">
                <a16:creationId xmlns:a16="http://schemas.microsoft.com/office/drawing/2014/main" id="{8B0F1350-5BE2-42E4-A05E-8489D2718875}"/>
              </a:ext>
            </a:extLst>
          </p:cNvPr>
          <p:cNvGraphicFramePr>
            <a:graphicFrameLocks noGrp="1"/>
          </p:cNvGraphicFramePr>
          <p:nvPr>
            <p:extLst>
              <p:ext uri="{D42A27DB-BD31-4B8C-83A1-F6EECF244321}">
                <p14:modId xmlns:p14="http://schemas.microsoft.com/office/powerpoint/2010/main" val="560730001"/>
              </p:ext>
            </p:extLst>
          </p:nvPr>
        </p:nvGraphicFramePr>
        <p:xfrm>
          <a:off x="228600" y="2302557"/>
          <a:ext cx="17678400" cy="4371340"/>
        </p:xfrm>
        <a:graphic>
          <a:graphicData uri="http://schemas.openxmlformats.org/drawingml/2006/table">
            <a:tbl>
              <a:tblPr firstRow="1" firstCol="1" lastRow="1" lastCol="1" bandRow="1" bandCol="1">
                <a:tableStyleId>{72833802-FEF1-4C79-8D5D-14CF1EAF98D9}</a:tableStyleId>
              </a:tblPr>
              <a:tblGrid>
                <a:gridCol w="5204741">
                  <a:extLst>
                    <a:ext uri="{9D8B030D-6E8A-4147-A177-3AD203B41FA5}">
                      <a16:colId xmlns:a16="http://schemas.microsoft.com/office/drawing/2014/main" val="692973861"/>
                    </a:ext>
                  </a:extLst>
                </a:gridCol>
                <a:gridCol w="2523814">
                  <a:extLst>
                    <a:ext uri="{9D8B030D-6E8A-4147-A177-3AD203B41FA5}">
                      <a16:colId xmlns:a16="http://schemas.microsoft.com/office/drawing/2014/main" val="172960429"/>
                    </a:ext>
                  </a:extLst>
                </a:gridCol>
                <a:gridCol w="9949845">
                  <a:extLst>
                    <a:ext uri="{9D8B030D-6E8A-4147-A177-3AD203B41FA5}">
                      <a16:colId xmlns:a16="http://schemas.microsoft.com/office/drawing/2014/main" val="4203310024"/>
                    </a:ext>
                  </a:extLst>
                </a:gridCol>
              </a:tblGrid>
              <a:tr h="251460">
                <a:tc>
                  <a:txBody>
                    <a:bodyPr/>
                    <a:lstStyle/>
                    <a:p>
                      <a:pPr marL="680085" marR="675005" algn="ctr">
                        <a:lnSpc>
                          <a:spcPct val="100000"/>
                        </a:lnSpc>
                        <a:spcBef>
                          <a:spcPts val="360"/>
                        </a:spcBef>
                        <a:spcAft>
                          <a:spcPts val="0"/>
                        </a:spcAft>
                      </a:pPr>
                      <a:r>
                        <a:rPr lang="en-US" sz="2200">
                          <a:effectLst/>
                        </a:rPr>
                        <a:t>Indicator</a:t>
                      </a:r>
                      <a:endParaRPr lang="sv-SE" sz="2200">
                        <a:effectLst/>
                        <a:latin typeface="Arial MT"/>
                        <a:ea typeface="Arial MT"/>
                        <a:cs typeface="Arial MT"/>
                      </a:endParaRP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570865" marR="565150" algn="ctr">
                        <a:lnSpc>
                          <a:spcPct val="100000"/>
                        </a:lnSpc>
                        <a:spcBef>
                          <a:spcPts val="360"/>
                        </a:spcBef>
                        <a:spcAft>
                          <a:spcPts val="0"/>
                        </a:spcAft>
                      </a:pPr>
                      <a:r>
                        <a:rPr lang="en-US" sz="2200">
                          <a:effectLst/>
                        </a:rPr>
                        <a:t>Unit</a:t>
                      </a:r>
                      <a:endParaRPr lang="sv-SE" sz="2200">
                        <a:effectLst/>
                        <a:latin typeface="Arial MT"/>
                        <a:ea typeface="Arial MT"/>
                        <a:cs typeface="Arial MT"/>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981075">
                        <a:lnSpc>
                          <a:spcPct val="100000"/>
                        </a:lnSpc>
                        <a:spcBef>
                          <a:spcPts val="360"/>
                        </a:spcBef>
                        <a:spcAft>
                          <a:spcPts val="0"/>
                        </a:spcAft>
                      </a:pPr>
                      <a:r>
                        <a:rPr lang="en-US" sz="2200">
                          <a:effectLst/>
                        </a:rPr>
                        <a:t>Relevance</a:t>
                      </a:r>
                      <a:r>
                        <a:rPr lang="en-US" sz="2200" spc="-15">
                          <a:effectLst/>
                        </a:rPr>
                        <a:t> </a:t>
                      </a:r>
                      <a:r>
                        <a:rPr lang="en-US" sz="2200">
                          <a:effectLst/>
                        </a:rPr>
                        <a:t>for</a:t>
                      </a:r>
                      <a:r>
                        <a:rPr lang="en-US" sz="2200" spc="-20">
                          <a:effectLst/>
                        </a:rPr>
                        <a:t> </a:t>
                      </a:r>
                      <a:r>
                        <a:rPr lang="en-US" sz="2200">
                          <a:effectLst/>
                        </a:rPr>
                        <a:t>RETROFEED</a:t>
                      </a:r>
                      <a:endParaRPr lang="sv-SE" sz="2200">
                        <a:effectLst/>
                        <a:latin typeface="Arial MT"/>
                        <a:ea typeface="Arial MT"/>
                        <a:cs typeface="Arial MT"/>
                      </a:endParaRPr>
                    </a:p>
                  </a:txBody>
                  <a:tcPr marL="0" marR="0" marT="0" marB="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95000410"/>
                  </a:ext>
                </a:extLst>
              </a:tr>
              <a:tr h="41618">
                <a:tc gridSpan="3">
                  <a:txBody>
                    <a:bodyPr/>
                    <a:lstStyle/>
                    <a:p>
                      <a:pPr marL="981075" algn="l">
                        <a:lnSpc>
                          <a:spcPct val="100000"/>
                        </a:lnSpc>
                        <a:spcBef>
                          <a:spcPts val="360"/>
                        </a:spcBef>
                        <a:spcAft>
                          <a:spcPts val="0"/>
                        </a:spcAft>
                      </a:pPr>
                      <a:r>
                        <a:rPr lang="en-US" sz="2200">
                          <a:effectLst/>
                        </a:rPr>
                        <a:t>                                     KPAs</a:t>
                      </a:r>
                      <a:r>
                        <a:rPr lang="en-US" sz="2200" spc="-25">
                          <a:effectLst/>
                        </a:rPr>
                        <a:t> </a:t>
                      </a:r>
                      <a:r>
                        <a:rPr lang="en-US" sz="2200">
                          <a:effectLst/>
                        </a:rPr>
                        <a:t>and</a:t>
                      </a:r>
                      <a:r>
                        <a:rPr lang="en-US" sz="2200" spc="-30">
                          <a:effectLst/>
                        </a:rPr>
                        <a:t> </a:t>
                      </a:r>
                      <a:r>
                        <a:rPr lang="en-US" sz="2200">
                          <a:effectLst/>
                        </a:rPr>
                        <a:t>assessment</a:t>
                      </a:r>
                      <a:r>
                        <a:rPr lang="en-US" sz="2200" spc="-25">
                          <a:effectLst/>
                        </a:rPr>
                        <a:t> </a:t>
                      </a:r>
                      <a:r>
                        <a:rPr lang="en-US" sz="2200">
                          <a:effectLst/>
                        </a:rPr>
                        <a:t>of</a:t>
                      </a:r>
                      <a:r>
                        <a:rPr lang="en-US" sz="2200" spc="-30">
                          <a:effectLst/>
                        </a:rPr>
                        <a:t> </a:t>
                      </a:r>
                      <a:r>
                        <a:rPr lang="en-US" sz="2200">
                          <a:effectLst/>
                        </a:rPr>
                        <a:t>their</a:t>
                      </a:r>
                      <a:r>
                        <a:rPr lang="en-US" sz="2200" spc="-25">
                          <a:effectLst/>
                        </a:rPr>
                        <a:t> </a:t>
                      </a:r>
                      <a:r>
                        <a:rPr lang="en-US" sz="2200">
                          <a:effectLst/>
                        </a:rPr>
                        <a:t>relevance</a:t>
                      </a:r>
                      <a:endParaRPr lang="sv-SE" sz="2200">
                        <a:effectLst/>
                        <a:latin typeface="Arial MT"/>
                        <a:ea typeface="Arial MT"/>
                        <a:cs typeface="Arial MT"/>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hMerge="1">
                  <a:txBody>
                    <a:bodyPr/>
                    <a:lstStyle/>
                    <a:p>
                      <a:endParaRPr lang="sv-SE"/>
                    </a:p>
                  </a:txBody>
                  <a:tcPr/>
                </a:tc>
                <a:tc hMerge="1">
                  <a:txBody>
                    <a:bodyPr/>
                    <a:lstStyle/>
                    <a:p>
                      <a:endParaRPr lang="sv-SE"/>
                    </a:p>
                  </a:txBody>
                  <a:tcPr/>
                </a:tc>
                <a:extLst>
                  <a:ext uri="{0D108BD9-81ED-4DB2-BD59-A6C34878D82A}">
                    <a16:rowId xmlns:a16="http://schemas.microsoft.com/office/drawing/2014/main" val="608902555"/>
                  </a:ext>
                </a:extLst>
              </a:tr>
              <a:tr h="412793">
                <a:tc>
                  <a:txBody>
                    <a:bodyPr/>
                    <a:lstStyle/>
                    <a:p>
                      <a:pPr marL="67945">
                        <a:lnSpc>
                          <a:spcPct val="100000"/>
                        </a:lnSpc>
                        <a:spcBef>
                          <a:spcPts val="105"/>
                        </a:spcBef>
                      </a:pPr>
                      <a:r>
                        <a:rPr lang="en-US" sz="2200" b="0">
                          <a:effectLst/>
                        </a:rPr>
                        <a:t>Production</a:t>
                      </a:r>
                      <a:r>
                        <a:rPr lang="en-US" sz="2200" b="0" spc="-15">
                          <a:effectLst/>
                        </a:rPr>
                        <a:t> </a:t>
                      </a:r>
                      <a:r>
                        <a:rPr lang="en-US" sz="2200" b="0">
                          <a:effectLst/>
                        </a:rPr>
                        <a:t>cost</a:t>
                      </a:r>
                      <a:endParaRPr lang="sv-SE" sz="2200" b="0">
                        <a:effectLst/>
                        <a:latin typeface="Arial MT"/>
                        <a:ea typeface="Arial MT"/>
                        <a:cs typeface="Arial MT"/>
                      </a:endParaRP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7945">
                        <a:lnSpc>
                          <a:spcPct val="100000"/>
                        </a:lnSpc>
                        <a:spcBef>
                          <a:spcPts val="105"/>
                        </a:spcBef>
                      </a:pPr>
                      <a:r>
                        <a:rPr lang="en-US" sz="2200" b="0">
                          <a:effectLst/>
                        </a:rPr>
                        <a:t>[€/t</a:t>
                      </a:r>
                      <a:r>
                        <a:rPr lang="en-US" sz="2200" b="0" spc="-35">
                          <a:effectLst/>
                        </a:rPr>
                        <a:t> </a:t>
                      </a:r>
                      <a:r>
                        <a:rPr lang="en-US" sz="2200" b="0">
                          <a:effectLst/>
                        </a:rPr>
                        <a:t>of</a:t>
                      </a:r>
                      <a:r>
                        <a:rPr lang="en-US" sz="2200" b="0" spc="-35">
                          <a:effectLst/>
                        </a:rPr>
                        <a:t> </a:t>
                      </a:r>
                      <a:r>
                        <a:rPr lang="en-US" sz="2200" b="0">
                          <a:effectLst/>
                        </a:rPr>
                        <a:t>product]</a:t>
                      </a:r>
                      <a:endParaRPr lang="sv-SE" sz="2200" b="0">
                        <a:effectLst/>
                        <a:latin typeface="Arial MT"/>
                        <a:ea typeface="Arial MT"/>
                        <a:cs typeface="Arial MT"/>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7945" marR="74295">
                        <a:lnSpc>
                          <a:spcPct val="100000"/>
                        </a:lnSpc>
                        <a:spcBef>
                          <a:spcPts val="100"/>
                        </a:spcBef>
                      </a:pPr>
                      <a:r>
                        <a:rPr lang="en-US" sz="2200" b="0">
                          <a:effectLst/>
                        </a:rPr>
                        <a:t>Relevant for all cases, since cost reductions are one of the</a:t>
                      </a:r>
                      <a:r>
                        <a:rPr lang="en-US" sz="2200" b="0" spc="-300">
                          <a:effectLst/>
                        </a:rPr>
                        <a:t> </a:t>
                      </a:r>
                      <a:r>
                        <a:rPr lang="en-US" sz="2200" b="0">
                          <a:effectLst/>
                        </a:rPr>
                        <a:t>main</a:t>
                      </a:r>
                      <a:r>
                        <a:rPr lang="en-US" sz="2200" b="0" spc="-5">
                          <a:effectLst/>
                        </a:rPr>
                        <a:t> </a:t>
                      </a:r>
                      <a:r>
                        <a:rPr lang="en-US" sz="2200" b="0">
                          <a:effectLst/>
                        </a:rPr>
                        <a:t>drivers</a:t>
                      </a:r>
                      <a:r>
                        <a:rPr lang="en-US" sz="2200" b="0" spc="-5">
                          <a:effectLst/>
                        </a:rPr>
                        <a:t> </a:t>
                      </a:r>
                      <a:r>
                        <a:rPr lang="en-US" sz="2200" b="0">
                          <a:effectLst/>
                        </a:rPr>
                        <a:t>of RETROFEED.</a:t>
                      </a:r>
                      <a:endParaRPr lang="sv-SE" sz="2200" b="0">
                        <a:effectLst/>
                        <a:latin typeface="Arial MT"/>
                        <a:ea typeface="Arial MT"/>
                        <a:cs typeface="Arial MT"/>
                      </a:endParaRPr>
                    </a:p>
                  </a:txBody>
                  <a:tcPr marL="0" marR="0" marT="0" marB="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82005227"/>
                  </a:ext>
                </a:extLst>
              </a:tr>
              <a:tr h="346075">
                <a:tc>
                  <a:txBody>
                    <a:bodyPr/>
                    <a:lstStyle/>
                    <a:p>
                      <a:pPr marL="67945">
                        <a:lnSpc>
                          <a:spcPct val="100000"/>
                        </a:lnSpc>
                        <a:spcBef>
                          <a:spcPts val="100"/>
                        </a:spcBef>
                      </a:pPr>
                      <a:r>
                        <a:rPr lang="en-US" sz="2200" b="0">
                          <a:effectLst/>
                        </a:rPr>
                        <a:t>Production</a:t>
                      </a:r>
                      <a:r>
                        <a:rPr lang="en-US" sz="2200" b="0" spc="-15">
                          <a:effectLst/>
                        </a:rPr>
                        <a:t> </a:t>
                      </a:r>
                      <a:r>
                        <a:rPr lang="en-US" sz="2200" b="0">
                          <a:effectLst/>
                        </a:rPr>
                        <a:t>rates</a:t>
                      </a:r>
                      <a:endParaRPr lang="sv-SE" sz="2200" b="0">
                        <a:effectLst/>
                        <a:latin typeface="Arial MT"/>
                        <a:ea typeface="Arial MT"/>
                        <a:cs typeface="Arial MT"/>
                      </a:endParaRP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7945">
                        <a:lnSpc>
                          <a:spcPct val="100000"/>
                        </a:lnSpc>
                        <a:spcBef>
                          <a:spcPts val="100"/>
                        </a:spcBef>
                      </a:pPr>
                      <a:r>
                        <a:rPr lang="en-US" sz="2200" b="0">
                          <a:effectLst/>
                        </a:rPr>
                        <a:t>[t</a:t>
                      </a:r>
                      <a:r>
                        <a:rPr lang="en-US" sz="2200" b="0" spc="-10">
                          <a:effectLst/>
                        </a:rPr>
                        <a:t> </a:t>
                      </a:r>
                      <a:r>
                        <a:rPr lang="en-US" sz="2200" b="0">
                          <a:effectLst/>
                        </a:rPr>
                        <a:t>of</a:t>
                      </a:r>
                      <a:r>
                        <a:rPr lang="en-US" sz="2200" b="0" spc="-10">
                          <a:effectLst/>
                        </a:rPr>
                        <a:t> </a:t>
                      </a:r>
                      <a:r>
                        <a:rPr lang="en-US" sz="2200" b="0">
                          <a:effectLst/>
                        </a:rPr>
                        <a:t>product/year]</a:t>
                      </a:r>
                      <a:endParaRPr lang="sv-SE" sz="2200" b="0">
                        <a:effectLst/>
                        <a:latin typeface="Arial MT"/>
                        <a:ea typeface="Arial MT"/>
                        <a:cs typeface="Arial MT"/>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7945" marR="175260">
                        <a:lnSpc>
                          <a:spcPct val="100000"/>
                        </a:lnSpc>
                        <a:spcBef>
                          <a:spcPts val="95"/>
                        </a:spcBef>
                        <a:spcAft>
                          <a:spcPts val="0"/>
                        </a:spcAft>
                      </a:pPr>
                      <a:r>
                        <a:rPr lang="en-US" sz="2200" b="0">
                          <a:effectLst/>
                        </a:rPr>
                        <a:t>Relevant for all cases, as increased productivity is one of</a:t>
                      </a:r>
                      <a:r>
                        <a:rPr lang="en-US" sz="2200" b="0" spc="-300">
                          <a:effectLst/>
                        </a:rPr>
                        <a:t> </a:t>
                      </a:r>
                      <a:r>
                        <a:rPr lang="en-US" sz="2200" b="0">
                          <a:effectLst/>
                        </a:rPr>
                        <a:t>the</a:t>
                      </a:r>
                      <a:r>
                        <a:rPr lang="en-US" sz="2200" b="0" spc="-5">
                          <a:effectLst/>
                        </a:rPr>
                        <a:t> </a:t>
                      </a:r>
                      <a:r>
                        <a:rPr lang="en-US" sz="2200" b="0">
                          <a:effectLst/>
                        </a:rPr>
                        <a:t>RETROFEED</a:t>
                      </a:r>
                      <a:r>
                        <a:rPr lang="en-US" sz="2200" b="0" spc="-5">
                          <a:effectLst/>
                        </a:rPr>
                        <a:t> </a:t>
                      </a:r>
                      <a:r>
                        <a:rPr lang="en-US" sz="2200" b="0">
                          <a:effectLst/>
                        </a:rPr>
                        <a:t>goals.</a:t>
                      </a:r>
                      <a:endParaRPr lang="sv-SE" sz="2200" b="0">
                        <a:effectLst/>
                        <a:latin typeface="Arial MT"/>
                        <a:ea typeface="Arial MT"/>
                        <a:cs typeface="Arial MT"/>
                      </a:endParaRPr>
                    </a:p>
                  </a:txBody>
                  <a:tcPr marL="0" marR="0" marT="0" marB="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351493"/>
                  </a:ext>
                </a:extLst>
              </a:tr>
              <a:tr h="532130">
                <a:tc>
                  <a:txBody>
                    <a:bodyPr/>
                    <a:lstStyle/>
                    <a:p>
                      <a:pPr marL="67945">
                        <a:lnSpc>
                          <a:spcPct val="100000"/>
                        </a:lnSpc>
                        <a:spcBef>
                          <a:spcPts val="100"/>
                        </a:spcBef>
                      </a:pPr>
                      <a:r>
                        <a:rPr lang="en-US" sz="2200" b="0">
                          <a:effectLst/>
                        </a:rPr>
                        <a:t>Fatality</a:t>
                      </a:r>
                      <a:r>
                        <a:rPr lang="en-US" sz="2200" b="0" spc="-5">
                          <a:effectLst/>
                        </a:rPr>
                        <a:t> </a:t>
                      </a:r>
                      <a:r>
                        <a:rPr lang="en-US" sz="2200" b="0">
                          <a:effectLst/>
                        </a:rPr>
                        <a:t>rate</a:t>
                      </a:r>
                      <a:endParaRPr lang="sv-SE" sz="2200" b="0">
                        <a:effectLst/>
                      </a:endParaRPr>
                    </a:p>
                    <a:p>
                      <a:pPr marL="67945">
                        <a:lnSpc>
                          <a:spcPct val="100000"/>
                        </a:lnSpc>
                        <a:spcBef>
                          <a:spcPts val="25"/>
                        </a:spcBef>
                        <a:spcAft>
                          <a:spcPts val="0"/>
                        </a:spcAft>
                      </a:pPr>
                      <a:r>
                        <a:rPr lang="en-US" sz="2200" b="0">
                          <a:effectLst/>
                        </a:rPr>
                        <a:t> </a:t>
                      </a:r>
                      <a:endParaRPr lang="sv-SE" sz="2200" b="0">
                        <a:effectLst/>
                      </a:endParaRPr>
                    </a:p>
                    <a:p>
                      <a:pPr marL="67945">
                        <a:lnSpc>
                          <a:spcPct val="100000"/>
                        </a:lnSpc>
                        <a:spcBef>
                          <a:spcPts val="100"/>
                        </a:spcBef>
                      </a:pPr>
                      <a:r>
                        <a:rPr lang="en-US" sz="2200" b="0">
                          <a:effectLst/>
                        </a:rPr>
                        <a:t>Fatal</a:t>
                      </a:r>
                      <a:r>
                        <a:rPr lang="en-US" sz="2200" b="0" spc="-15">
                          <a:effectLst/>
                        </a:rPr>
                        <a:t> </a:t>
                      </a:r>
                      <a:r>
                        <a:rPr lang="en-US" sz="2200" b="0">
                          <a:effectLst/>
                        </a:rPr>
                        <a:t>accidents</a:t>
                      </a:r>
                      <a:endParaRPr lang="sv-SE" sz="2200" b="0">
                        <a:effectLst/>
                        <a:latin typeface="Arial MT"/>
                        <a:ea typeface="Arial MT"/>
                        <a:cs typeface="Arial MT"/>
                      </a:endParaRP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7945">
                        <a:lnSpc>
                          <a:spcPct val="100000"/>
                        </a:lnSpc>
                        <a:spcBef>
                          <a:spcPts val="100"/>
                        </a:spcBef>
                      </a:pPr>
                      <a:r>
                        <a:rPr lang="en-US" sz="2200" b="0">
                          <a:effectLst/>
                        </a:rPr>
                        <a:t>[number/months]</a:t>
                      </a:r>
                      <a:endParaRPr lang="sv-SE" sz="2200" b="0">
                        <a:effectLst/>
                        <a:latin typeface="Arial MT"/>
                        <a:ea typeface="Arial MT"/>
                        <a:cs typeface="Arial MT"/>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7945" marR="450850">
                        <a:lnSpc>
                          <a:spcPct val="100000"/>
                        </a:lnSpc>
                        <a:spcBef>
                          <a:spcPts val="95"/>
                        </a:spcBef>
                        <a:spcAft>
                          <a:spcPts val="0"/>
                        </a:spcAft>
                      </a:pPr>
                      <a:r>
                        <a:rPr lang="en-US" sz="2200" b="0">
                          <a:effectLst/>
                        </a:rPr>
                        <a:t>Relevant for all cases. Safety is not expected to be</a:t>
                      </a:r>
                      <a:r>
                        <a:rPr lang="en-US" sz="2200" b="0" spc="5">
                          <a:effectLst/>
                        </a:rPr>
                        <a:t> </a:t>
                      </a:r>
                      <a:r>
                        <a:rPr lang="en-US" sz="2200" b="0">
                          <a:effectLst/>
                        </a:rPr>
                        <a:t>affected</a:t>
                      </a:r>
                      <a:r>
                        <a:rPr lang="en-US" sz="2200" b="0" spc="-10">
                          <a:effectLst/>
                        </a:rPr>
                        <a:t> </a:t>
                      </a:r>
                      <a:r>
                        <a:rPr lang="en-US" sz="2200" b="0">
                          <a:effectLst/>
                        </a:rPr>
                        <a:t>but</a:t>
                      </a:r>
                      <a:r>
                        <a:rPr lang="en-US" sz="2200" b="0" spc="-15">
                          <a:effectLst/>
                        </a:rPr>
                        <a:t> </a:t>
                      </a:r>
                      <a:r>
                        <a:rPr lang="en-US" sz="2200" b="0">
                          <a:effectLst/>
                        </a:rPr>
                        <a:t>it</a:t>
                      </a:r>
                      <a:r>
                        <a:rPr lang="en-US" sz="2200" b="0" spc="-10">
                          <a:effectLst/>
                        </a:rPr>
                        <a:t> </a:t>
                      </a:r>
                      <a:r>
                        <a:rPr lang="en-US" sz="2200" b="0">
                          <a:effectLst/>
                        </a:rPr>
                        <a:t>is</a:t>
                      </a:r>
                      <a:r>
                        <a:rPr lang="en-US" sz="2200" b="0" spc="-5">
                          <a:effectLst/>
                        </a:rPr>
                        <a:t> </a:t>
                      </a:r>
                      <a:r>
                        <a:rPr lang="en-US" sz="2200" b="0">
                          <a:effectLst/>
                        </a:rPr>
                        <a:t>important</a:t>
                      </a:r>
                      <a:r>
                        <a:rPr lang="en-US" sz="2200" b="0" spc="-10">
                          <a:effectLst/>
                        </a:rPr>
                        <a:t> </a:t>
                      </a:r>
                      <a:r>
                        <a:rPr lang="en-US" sz="2200" b="0">
                          <a:effectLst/>
                        </a:rPr>
                        <a:t>to</a:t>
                      </a:r>
                      <a:r>
                        <a:rPr lang="en-US" sz="2200" b="0" spc="-10">
                          <a:effectLst/>
                        </a:rPr>
                        <a:t> </a:t>
                      </a:r>
                      <a:r>
                        <a:rPr lang="en-US" sz="2200" b="0">
                          <a:effectLst/>
                        </a:rPr>
                        <a:t>ensure</a:t>
                      </a:r>
                      <a:r>
                        <a:rPr lang="en-US" sz="2200" b="0" spc="-10">
                          <a:effectLst/>
                        </a:rPr>
                        <a:t> </a:t>
                      </a:r>
                      <a:r>
                        <a:rPr lang="en-US" sz="2200" b="0">
                          <a:effectLst/>
                        </a:rPr>
                        <a:t>that</a:t>
                      </a:r>
                      <a:r>
                        <a:rPr lang="en-US" sz="2200" b="0" spc="-10">
                          <a:effectLst/>
                        </a:rPr>
                        <a:t> </a:t>
                      </a:r>
                      <a:r>
                        <a:rPr lang="en-US" sz="2200" b="0">
                          <a:effectLst/>
                        </a:rPr>
                        <a:t>the</a:t>
                      </a:r>
                      <a:r>
                        <a:rPr lang="en-US" sz="2200" b="0" spc="-10">
                          <a:effectLst/>
                        </a:rPr>
                        <a:t> </a:t>
                      </a:r>
                      <a:r>
                        <a:rPr lang="en-US" sz="2200" b="0">
                          <a:effectLst/>
                        </a:rPr>
                        <a:t>process</a:t>
                      </a:r>
                      <a:r>
                        <a:rPr lang="en-US" sz="2200" b="0" spc="-290">
                          <a:effectLst/>
                        </a:rPr>
                        <a:t> </a:t>
                      </a:r>
                      <a:r>
                        <a:rPr lang="en-US" sz="2200" b="0">
                          <a:effectLst/>
                        </a:rPr>
                        <a:t>modification</a:t>
                      </a:r>
                      <a:r>
                        <a:rPr lang="en-US" sz="2200" b="0" spc="-10">
                          <a:effectLst/>
                        </a:rPr>
                        <a:t> </a:t>
                      </a:r>
                      <a:r>
                        <a:rPr lang="en-US" sz="2200" b="0">
                          <a:effectLst/>
                        </a:rPr>
                        <a:t>do</a:t>
                      </a:r>
                      <a:r>
                        <a:rPr lang="en-US" sz="2200" b="0" spc="-5">
                          <a:effectLst/>
                        </a:rPr>
                        <a:t> </a:t>
                      </a:r>
                      <a:r>
                        <a:rPr lang="en-US" sz="2200" b="0">
                          <a:effectLst/>
                        </a:rPr>
                        <a:t>not have</a:t>
                      </a:r>
                      <a:r>
                        <a:rPr lang="en-US" sz="2200" b="0" spc="-10">
                          <a:effectLst/>
                        </a:rPr>
                        <a:t> </a:t>
                      </a:r>
                      <a:r>
                        <a:rPr lang="en-US" sz="2200" b="0">
                          <a:effectLst/>
                        </a:rPr>
                        <a:t>indirect effects.</a:t>
                      </a:r>
                      <a:endParaRPr lang="sv-SE" sz="2200" b="0">
                        <a:effectLst/>
                        <a:latin typeface="Arial MT"/>
                        <a:ea typeface="Arial MT"/>
                        <a:cs typeface="Arial MT"/>
                      </a:endParaRPr>
                    </a:p>
                  </a:txBody>
                  <a:tcPr marL="0" marR="0" marT="0" marB="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68485201"/>
                  </a:ext>
                </a:extLst>
              </a:tr>
              <a:tr h="186055">
                <a:tc>
                  <a:txBody>
                    <a:bodyPr/>
                    <a:lstStyle/>
                    <a:p>
                      <a:pPr marL="67945">
                        <a:lnSpc>
                          <a:spcPct val="100000"/>
                        </a:lnSpc>
                        <a:spcBef>
                          <a:spcPts val="105"/>
                        </a:spcBef>
                      </a:pPr>
                      <a:r>
                        <a:rPr lang="en-US" sz="2200" b="0">
                          <a:effectLst/>
                        </a:rPr>
                        <a:t>High</a:t>
                      </a:r>
                      <a:r>
                        <a:rPr lang="en-US" sz="2200" b="0" spc="-10">
                          <a:effectLst/>
                        </a:rPr>
                        <a:t> </a:t>
                      </a:r>
                      <a:r>
                        <a:rPr lang="en-US" sz="2200" b="0">
                          <a:effectLst/>
                        </a:rPr>
                        <a:t>risk</a:t>
                      </a:r>
                      <a:r>
                        <a:rPr lang="en-US" sz="2200" b="0" spc="-10">
                          <a:effectLst/>
                        </a:rPr>
                        <a:t> </a:t>
                      </a:r>
                      <a:r>
                        <a:rPr lang="en-US" sz="2200" b="0">
                          <a:effectLst/>
                        </a:rPr>
                        <a:t>accidents</a:t>
                      </a:r>
                      <a:endParaRPr lang="sv-SE" sz="2200" b="0">
                        <a:effectLst/>
                        <a:latin typeface="Arial MT"/>
                        <a:ea typeface="Arial MT"/>
                        <a:cs typeface="Arial MT"/>
                      </a:endParaRP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7945">
                        <a:lnSpc>
                          <a:spcPct val="100000"/>
                        </a:lnSpc>
                        <a:spcBef>
                          <a:spcPts val="105"/>
                        </a:spcBef>
                      </a:pPr>
                      <a:r>
                        <a:rPr lang="en-US" sz="2200" b="0">
                          <a:effectLst/>
                        </a:rPr>
                        <a:t>[number/months]</a:t>
                      </a:r>
                      <a:endParaRPr lang="sv-SE" sz="2200" b="0">
                        <a:effectLst/>
                        <a:latin typeface="Arial MT"/>
                        <a:ea typeface="Arial MT"/>
                        <a:cs typeface="Arial MT"/>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7945">
                        <a:lnSpc>
                          <a:spcPct val="100000"/>
                        </a:lnSpc>
                        <a:spcBef>
                          <a:spcPts val="105"/>
                        </a:spcBef>
                      </a:pPr>
                      <a:r>
                        <a:rPr lang="en-US" sz="2200" b="0">
                          <a:effectLst/>
                        </a:rPr>
                        <a:t>Relevant</a:t>
                      </a:r>
                      <a:r>
                        <a:rPr lang="en-US" sz="2200" b="0" spc="-10">
                          <a:effectLst/>
                        </a:rPr>
                        <a:t> </a:t>
                      </a:r>
                      <a:r>
                        <a:rPr lang="en-US" sz="2200" b="0">
                          <a:effectLst/>
                        </a:rPr>
                        <a:t>for</a:t>
                      </a:r>
                      <a:r>
                        <a:rPr lang="en-US" sz="2200" b="0" spc="-15">
                          <a:effectLst/>
                        </a:rPr>
                        <a:t> </a:t>
                      </a:r>
                      <a:r>
                        <a:rPr lang="en-US" sz="2200" b="0">
                          <a:effectLst/>
                        </a:rPr>
                        <a:t>all</a:t>
                      </a:r>
                      <a:r>
                        <a:rPr lang="en-US" sz="2200" b="0" spc="-5">
                          <a:effectLst/>
                        </a:rPr>
                        <a:t> </a:t>
                      </a:r>
                      <a:r>
                        <a:rPr lang="en-US" sz="2200" b="0">
                          <a:effectLst/>
                        </a:rPr>
                        <a:t>cases.</a:t>
                      </a:r>
                      <a:r>
                        <a:rPr lang="en-US" sz="2200" b="0" spc="-10">
                          <a:effectLst/>
                        </a:rPr>
                        <a:t> </a:t>
                      </a:r>
                      <a:r>
                        <a:rPr lang="en-US" sz="2200" b="0">
                          <a:effectLst/>
                        </a:rPr>
                        <a:t>Same</a:t>
                      </a:r>
                      <a:r>
                        <a:rPr lang="en-US" sz="2200" b="0" spc="-5">
                          <a:effectLst/>
                        </a:rPr>
                        <a:t> </a:t>
                      </a:r>
                      <a:r>
                        <a:rPr lang="en-US" sz="2200" b="0">
                          <a:effectLst/>
                        </a:rPr>
                        <a:t>as</a:t>
                      </a:r>
                      <a:r>
                        <a:rPr lang="en-US" sz="2200" b="0" spc="-10">
                          <a:effectLst/>
                        </a:rPr>
                        <a:t> </a:t>
                      </a:r>
                      <a:r>
                        <a:rPr lang="en-US" sz="2200" b="0">
                          <a:effectLst/>
                        </a:rPr>
                        <a:t>with</a:t>
                      </a:r>
                      <a:r>
                        <a:rPr lang="en-US" sz="2200" b="0" spc="-5">
                          <a:effectLst/>
                        </a:rPr>
                        <a:t> </a:t>
                      </a:r>
                      <a:r>
                        <a:rPr lang="en-US" sz="2200" b="0">
                          <a:effectLst/>
                        </a:rPr>
                        <a:t>fatality</a:t>
                      </a:r>
                      <a:r>
                        <a:rPr lang="en-US" sz="2200" b="0" spc="-10">
                          <a:effectLst/>
                        </a:rPr>
                        <a:t> </a:t>
                      </a:r>
                      <a:r>
                        <a:rPr lang="en-US" sz="2200" b="0">
                          <a:effectLst/>
                        </a:rPr>
                        <a:t>rate.</a:t>
                      </a:r>
                      <a:endParaRPr lang="sv-SE" sz="2200" b="0">
                        <a:effectLst/>
                        <a:latin typeface="Arial MT"/>
                        <a:ea typeface="Arial MT"/>
                        <a:cs typeface="Arial MT"/>
                      </a:endParaRPr>
                    </a:p>
                  </a:txBody>
                  <a:tcPr marL="0" marR="0" marT="0" marB="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58007928"/>
                  </a:ext>
                </a:extLst>
              </a:tr>
              <a:tr h="506730">
                <a:tc>
                  <a:txBody>
                    <a:bodyPr/>
                    <a:lstStyle/>
                    <a:p>
                      <a:pPr marL="67945">
                        <a:lnSpc>
                          <a:spcPct val="100000"/>
                        </a:lnSpc>
                        <a:spcBef>
                          <a:spcPts val="100"/>
                        </a:spcBef>
                      </a:pPr>
                      <a:r>
                        <a:rPr lang="en-US" sz="2200" b="0">
                          <a:effectLst/>
                        </a:rPr>
                        <a:t>Quality</a:t>
                      </a:r>
                      <a:endParaRPr lang="sv-SE" sz="2200" b="0">
                        <a:effectLst/>
                        <a:latin typeface="Arial MT"/>
                        <a:ea typeface="Arial MT"/>
                        <a:cs typeface="Arial MT"/>
                      </a:endParaRPr>
                    </a:p>
                  </a:txBody>
                  <a:tcPr marL="0" marR="0" marT="0" marB="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67945" marR="327660">
                        <a:lnSpc>
                          <a:spcPct val="100000"/>
                        </a:lnSpc>
                        <a:spcBef>
                          <a:spcPts val="95"/>
                        </a:spcBef>
                        <a:spcAft>
                          <a:spcPts val="0"/>
                        </a:spcAft>
                      </a:pPr>
                      <a:r>
                        <a:rPr lang="en-US" sz="2200" b="0">
                          <a:effectLst/>
                        </a:rPr>
                        <a:t>Defined for each</a:t>
                      </a:r>
                      <a:r>
                        <a:rPr lang="en-US" sz="2200" b="0" spc="-295">
                          <a:effectLst/>
                        </a:rPr>
                        <a:t> </a:t>
                      </a:r>
                      <a:r>
                        <a:rPr lang="en-US" sz="2200" b="0">
                          <a:effectLst/>
                        </a:rPr>
                        <a:t>site.</a:t>
                      </a:r>
                      <a:endParaRPr lang="sv-SE" sz="2200" b="0">
                        <a:effectLst/>
                        <a:latin typeface="Arial MT"/>
                        <a:ea typeface="Arial MT"/>
                        <a:cs typeface="Arial MT"/>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67945" marR="120650">
                        <a:lnSpc>
                          <a:spcPct val="100000"/>
                        </a:lnSpc>
                        <a:spcBef>
                          <a:spcPts val="95"/>
                        </a:spcBef>
                        <a:spcAft>
                          <a:spcPts val="0"/>
                        </a:spcAft>
                      </a:pPr>
                      <a:r>
                        <a:rPr lang="en-US" sz="2200" b="0">
                          <a:effectLst/>
                        </a:rPr>
                        <a:t>Relevant for all cases. Maintaining the quality of the</a:t>
                      </a:r>
                      <a:r>
                        <a:rPr lang="en-US" sz="2200" b="0" spc="5">
                          <a:effectLst/>
                        </a:rPr>
                        <a:t> </a:t>
                      </a:r>
                      <a:r>
                        <a:rPr lang="en-US" sz="2200" b="0">
                          <a:effectLst/>
                        </a:rPr>
                        <a:t>product beyond the implementation of the project is highly</a:t>
                      </a:r>
                      <a:r>
                        <a:rPr lang="en-US" sz="2200" b="0" spc="-295">
                          <a:effectLst/>
                        </a:rPr>
                        <a:t> </a:t>
                      </a:r>
                      <a:r>
                        <a:rPr lang="en-US" sz="2200" b="0">
                          <a:effectLst/>
                        </a:rPr>
                        <a:t>relevant</a:t>
                      </a:r>
                      <a:r>
                        <a:rPr lang="en-US" sz="2200" b="0" spc="-5">
                          <a:effectLst/>
                        </a:rPr>
                        <a:t> </a:t>
                      </a:r>
                      <a:r>
                        <a:rPr lang="en-US" sz="2200" b="0">
                          <a:effectLst/>
                        </a:rPr>
                        <a:t>for the</a:t>
                      </a:r>
                      <a:r>
                        <a:rPr lang="en-US" sz="2200" b="0" spc="-5">
                          <a:effectLst/>
                        </a:rPr>
                        <a:t> </a:t>
                      </a:r>
                      <a:r>
                        <a:rPr lang="en-US" sz="2200" b="0">
                          <a:effectLst/>
                        </a:rPr>
                        <a:t>feasibility</a:t>
                      </a:r>
                      <a:r>
                        <a:rPr lang="en-US" sz="2200" b="0" spc="-5">
                          <a:effectLst/>
                        </a:rPr>
                        <a:t> </a:t>
                      </a:r>
                      <a:r>
                        <a:rPr lang="en-US" sz="2200" b="0">
                          <a:effectLst/>
                        </a:rPr>
                        <a:t>of the</a:t>
                      </a:r>
                      <a:r>
                        <a:rPr lang="en-US" sz="2200" b="0" spc="-5">
                          <a:effectLst/>
                        </a:rPr>
                        <a:t> </a:t>
                      </a:r>
                      <a:r>
                        <a:rPr lang="en-US" sz="2200" b="0">
                          <a:effectLst/>
                        </a:rPr>
                        <a:t>pilot</a:t>
                      </a:r>
                      <a:r>
                        <a:rPr lang="en-US" sz="2200" b="0" spc="-5">
                          <a:effectLst/>
                        </a:rPr>
                        <a:t> </a:t>
                      </a:r>
                      <a:r>
                        <a:rPr lang="en-US" sz="2200" b="0">
                          <a:effectLst/>
                        </a:rPr>
                        <a:t>cases.</a:t>
                      </a:r>
                      <a:endParaRPr lang="sv-SE" sz="2200" b="0">
                        <a:effectLst/>
                        <a:latin typeface="Arial MT"/>
                        <a:ea typeface="Arial MT"/>
                        <a:cs typeface="Arial MT"/>
                      </a:endParaRPr>
                    </a:p>
                  </a:txBody>
                  <a:tcPr marL="0" marR="0" marT="0" marB="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212137187"/>
                  </a:ext>
                </a:extLst>
              </a:tr>
            </a:tbl>
          </a:graphicData>
        </a:graphic>
      </p:graphicFrame>
    </p:spTree>
    <p:extLst>
      <p:ext uri="{BB962C8B-B14F-4D97-AF65-F5344CB8AC3E}">
        <p14:creationId xmlns:p14="http://schemas.microsoft.com/office/powerpoint/2010/main" val="24779955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uppo 16">
            <a:extLst>
              <a:ext uri="{FF2B5EF4-FFF2-40B4-BE49-F238E27FC236}">
                <a16:creationId xmlns:a16="http://schemas.microsoft.com/office/drawing/2014/main" id="{3CB1E609-A9B7-4338-8623-292821D1EB3D}"/>
              </a:ext>
            </a:extLst>
          </p:cNvPr>
          <p:cNvGrpSpPr/>
          <p:nvPr/>
        </p:nvGrpSpPr>
        <p:grpSpPr>
          <a:xfrm>
            <a:off x="4329146" y="9679208"/>
            <a:ext cx="13958844" cy="666567"/>
            <a:chOff x="4329156" y="9649198"/>
            <a:chExt cx="13958844" cy="666567"/>
          </a:xfrm>
        </p:grpSpPr>
        <p:pic>
          <p:nvPicPr>
            <p:cNvPr id="5" name="Picture 12">
              <a:extLst>
                <a:ext uri="{FF2B5EF4-FFF2-40B4-BE49-F238E27FC236}">
                  <a16:creationId xmlns:a16="http://schemas.microsoft.com/office/drawing/2014/main" id="{7E783D2B-3925-4F24-9C47-8EC22B865A1F}"/>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6" name="TextBox 16">
              <a:extLst>
                <a:ext uri="{FF2B5EF4-FFF2-40B4-BE49-F238E27FC236}">
                  <a16:creationId xmlns:a16="http://schemas.microsoft.com/office/drawing/2014/main" id="{87C67AB7-C752-4923-BF0B-5BC09D4499DD}"/>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pic>
        <p:nvPicPr>
          <p:cNvPr id="7" name="Picture 12">
            <a:extLst>
              <a:ext uri="{FF2B5EF4-FFF2-40B4-BE49-F238E27FC236}">
                <a16:creationId xmlns:a16="http://schemas.microsoft.com/office/drawing/2014/main" id="{B283429C-59B7-4FBE-8F4E-93B7591027BD}"/>
              </a:ext>
            </a:extLst>
          </p:cNvPr>
          <p:cNvPicPr>
            <a:picLocks noChangeAspect="1"/>
          </p:cNvPicPr>
          <p:nvPr/>
        </p:nvPicPr>
        <p:blipFill>
          <a:blip r:embed="rId4"/>
          <a:srcRect/>
          <a:stretch>
            <a:fillRect/>
          </a:stretch>
        </p:blipFill>
        <p:spPr>
          <a:xfrm>
            <a:off x="0" y="8901113"/>
            <a:ext cx="5715000" cy="1385887"/>
          </a:xfrm>
          <a:prstGeom prst="rect">
            <a:avLst/>
          </a:prstGeom>
        </p:spPr>
      </p:pic>
      <p:grpSp>
        <p:nvGrpSpPr>
          <p:cNvPr id="8" name="Gruppo 2">
            <a:extLst>
              <a:ext uri="{FF2B5EF4-FFF2-40B4-BE49-F238E27FC236}">
                <a16:creationId xmlns:a16="http://schemas.microsoft.com/office/drawing/2014/main" id="{AB0F4813-EF2E-49DB-A180-8B977D9E4CC1}"/>
              </a:ext>
            </a:extLst>
          </p:cNvPr>
          <p:cNvGrpSpPr/>
          <p:nvPr/>
        </p:nvGrpSpPr>
        <p:grpSpPr>
          <a:xfrm>
            <a:off x="-12" y="138554"/>
            <a:ext cx="18288002" cy="681138"/>
            <a:chOff x="-12" y="138554"/>
            <a:chExt cx="18288002" cy="681138"/>
          </a:xfrm>
        </p:grpSpPr>
        <p:grpSp>
          <p:nvGrpSpPr>
            <p:cNvPr id="9" name="Gruppo 1">
              <a:extLst>
                <a:ext uri="{FF2B5EF4-FFF2-40B4-BE49-F238E27FC236}">
                  <a16:creationId xmlns:a16="http://schemas.microsoft.com/office/drawing/2014/main" id="{AFD4E68B-077D-43D8-ADA8-4890E636C161}"/>
                </a:ext>
              </a:extLst>
            </p:cNvPr>
            <p:cNvGrpSpPr/>
            <p:nvPr/>
          </p:nvGrpSpPr>
          <p:grpSpPr>
            <a:xfrm>
              <a:off x="0" y="153125"/>
              <a:ext cx="17907000" cy="666567"/>
              <a:chOff x="0" y="153125"/>
              <a:chExt cx="17907000" cy="666567"/>
            </a:xfrm>
          </p:grpSpPr>
          <p:grpSp>
            <p:nvGrpSpPr>
              <p:cNvPr id="11" name="Gruppo 15">
                <a:extLst>
                  <a:ext uri="{FF2B5EF4-FFF2-40B4-BE49-F238E27FC236}">
                    <a16:creationId xmlns:a16="http://schemas.microsoft.com/office/drawing/2014/main" id="{99C8F3AF-C106-4C24-9F7A-7C3DDA8F9478}"/>
                  </a:ext>
                </a:extLst>
              </p:cNvPr>
              <p:cNvGrpSpPr/>
              <p:nvPr/>
            </p:nvGrpSpPr>
            <p:grpSpPr>
              <a:xfrm>
                <a:off x="0" y="153125"/>
                <a:ext cx="13958844" cy="666567"/>
                <a:chOff x="0" y="153125"/>
                <a:chExt cx="13958844" cy="666567"/>
              </a:xfrm>
            </p:grpSpPr>
            <p:pic>
              <p:nvPicPr>
                <p:cNvPr id="13" name="Picture 10">
                  <a:extLst>
                    <a:ext uri="{FF2B5EF4-FFF2-40B4-BE49-F238E27FC236}">
                      <a16:creationId xmlns:a16="http://schemas.microsoft.com/office/drawing/2014/main" id="{6C4DB67B-C688-4929-A5C7-5D0BF061FEAD}"/>
                    </a:ext>
                  </a:extLst>
                </p:cNvPr>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4" name="TextBox 11">
                  <a:extLst>
                    <a:ext uri="{FF2B5EF4-FFF2-40B4-BE49-F238E27FC236}">
                      <a16:creationId xmlns:a16="http://schemas.microsoft.com/office/drawing/2014/main" id="{6540D7B5-52FC-497E-B65C-E99F2B50E916}"/>
                    </a:ext>
                  </a:extLst>
                </p:cNvPr>
                <p:cNvSpPr txBox="1"/>
                <p:nvPr/>
              </p:nvSpPr>
              <p:spPr>
                <a:xfrm>
                  <a:off x="228600" y="257980"/>
                  <a:ext cx="9296400" cy="456856"/>
                </a:xfrm>
                <a:prstGeom prst="rect">
                  <a:avLst/>
                </a:prstGeom>
              </p:spPr>
              <p:txBody>
                <a:bodyPr wrap="square" lIns="0" tIns="0" rIns="0" bIns="0" rtlCol="0" anchor="t">
                  <a:spAutoFit/>
                </a:bodyPr>
                <a:lstStyle/>
                <a:p>
                  <a:pPr>
                    <a:lnSpc>
                      <a:spcPts val="3919"/>
                    </a:lnSpc>
                    <a:spcBef>
                      <a:spcPct val="0"/>
                    </a:spcBef>
                  </a:pPr>
                  <a:endParaRPr lang="en-US" sz="2800" b="1">
                    <a:solidFill>
                      <a:srgbClr val="FFFFFF"/>
                    </a:solidFill>
                    <a:latin typeface="Arial" panose="020B0604020202020204" pitchFamily="34" charset="0"/>
                    <a:cs typeface="Arial" panose="020B0604020202020204" pitchFamily="34" charset="0"/>
                  </a:endParaRPr>
                </a:p>
              </p:txBody>
            </p:sp>
          </p:grpSp>
          <p:sp>
            <p:nvSpPr>
              <p:cNvPr id="12" name="TextBox 11">
                <a:extLst>
                  <a:ext uri="{FF2B5EF4-FFF2-40B4-BE49-F238E27FC236}">
                    <a16:creationId xmlns:a16="http://schemas.microsoft.com/office/drawing/2014/main" id="{D53788A9-7E56-4664-8498-BFF7840ECBDA}"/>
                  </a:ext>
                </a:extLst>
              </p:cNvPr>
              <p:cNvSpPr txBox="1"/>
              <p:nvPr/>
            </p:nvSpPr>
            <p:spPr>
              <a:xfrm>
                <a:off x="12154296" y="257980"/>
                <a:ext cx="5752704" cy="456856"/>
              </a:xfrm>
              <a:prstGeom prst="rect">
                <a:avLst/>
              </a:prstGeom>
            </p:spPr>
            <p:txBody>
              <a:bodyPr wrap="square" lIns="0" tIns="0" rIns="0" bIns="0" rtlCol="0" anchor="t">
                <a:spAutoFit/>
              </a:bodyPr>
              <a:lstStyle/>
              <a:p>
                <a:pPr algn="r">
                  <a:lnSpc>
                    <a:spcPts val="3919"/>
                  </a:lnSpc>
                  <a:spcBef>
                    <a:spcPct val="0"/>
                  </a:spcBef>
                </a:pPr>
                <a:endParaRPr lang="en-US" sz="2800">
                  <a:solidFill>
                    <a:schemeClr val="tx1">
                      <a:lumMod val="75000"/>
                      <a:lumOff val="25000"/>
                    </a:schemeClr>
                  </a:solidFill>
                  <a:latin typeface="Arial" panose="020B0604020202020204" pitchFamily="34" charset="0"/>
                  <a:cs typeface="Arial" panose="020B0604020202020204" pitchFamily="34" charset="0"/>
                </a:endParaRPr>
              </a:p>
            </p:txBody>
          </p:sp>
        </p:grpSp>
        <p:sp>
          <p:nvSpPr>
            <p:cNvPr id="10" name="Rettangolo 13">
              <a:extLst>
                <a:ext uri="{FF2B5EF4-FFF2-40B4-BE49-F238E27FC236}">
                  <a16:creationId xmlns:a16="http://schemas.microsoft.com/office/drawing/2014/main" id="{AE4CAB07-0792-4138-AB7E-9DC7F16A14A6}"/>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5" name="TextBox 14">
            <a:extLst>
              <a:ext uri="{FF2B5EF4-FFF2-40B4-BE49-F238E27FC236}">
                <a16:creationId xmlns:a16="http://schemas.microsoft.com/office/drawing/2014/main" id="{6C1D2753-FAE4-4476-BE01-BAD818CA4582}"/>
              </a:ext>
            </a:extLst>
          </p:cNvPr>
          <p:cNvSpPr txBox="1"/>
          <p:nvPr/>
        </p:nvSpPr>
        <p:spPr>
          <a:xfrm>
            <a:off x="-12" y="756526"/>
            <a:ext cx="18288012" cy="1077218"/>
          </a:xfrm>
          <a:prstGeom prst="rect">
            <a:avLst/>
          </a:prstGeom>
          <a:noFill/>
        </p:spPr>
        <p:txBody>
          <a:bodyPr wrap="square">
            <a:spAutoFit/>
          </a:bodyPr>
          <a:lstStyle/>
          <a:p>
            <a:pPr algn="ctr"/>
            <a:r>
              <a:rPr lang="en-US" sz="6400" b="1">
                <a:solidFill>
                  <a:srgbClr val="CC0033"/>
                </a:solidFill>
                <a:latin typeface="+mj-lt"/>
                <a:cs typeface="Arial" panose="020B0604020202020204" pitchFamily="34" charset="0"/>
              </a:rPr>
              <a:t>Selection of indicators and system boundaries</a:t>
            </a:r>
            <a:endParaRPr lang="sv-SE" sz="6400" b="1">
              <a:solidFill>
                <a:srgbClr val="CC0033"/>
              </a:solidFill>
              <a:latin typeface="+mj-lt"/>
              <a:cs typeface="Arial" panose="020B0604020202020204" pitchFamily="34" charset="0"/>
            </a:endParaRPr>
          </a:p>
        </p:txBody>
      </p:sp>
      <p:sp>
        <p:nvSpPr>
          <p:cNvPr id="18" name="TextBox 17">
            <a:extLst>
              <a:ext uri="{FF2B5EF4-FFF2-40B4-BE49-F238E27FC236}">
                <a16:creationId xmlns:a16="http://schemas.microsoft.com/office/drawing/2014/main" id="{9FA04D35-5E3C-4B32-BDBE-6A9F26EC02A2}"/>
              </a:ext>
            </a:extLst>
          </p:cNvPr>
          <p:cNvSpPr txBox="1"/>
          <p:nvPr/>
        </p:nvSpPr>
        <p:spPr>
          <a:xfrm>
            <a:off x="38100" y="1983648"/>
            <a:ext cx="18017289" cy="7825219"/>
          </a:xfrm>
          <a:prstGeom prst="rect">
            <a:avLst/>
          </a:prstGeom>
          <a:noFill/>
        </p:spPr>
        <p:txBody>
          <a:bodyPr wrap="square">
            <a:spAutoFit/>
          </a:bodyPr>
          <a:lstStyle/>
          <a:p>
            <a:pPr marL="72390" marR="210820" algn="ctr">
              <a:lnSpc>
                <a:spcPct val="125000"/>
              </a:lnSpc>
              <a:spcBef>
                <a:spcPts val="1200"/>
              </a:spcBef>
              <a:spcAft>
                <a:spcPts val="0"/>
              </a:spcAft>
            </a:pPr>
            <a:r>
              <a:rPr lang="en-US" sz="2800" b="1">
                <a:solidFill>
                  <a:srgbClr val="CC0033"/>
                </a:solidFill>
                <a:latin typeface="+mj-lt"/>
                <a:cs typeface="Arial" panose="020B0604020202020204" pitchFamily="34" charset="0"/>
              </a:rPr>
              <a:t>The objectives are divided into three categories:</a:t>
            </a:r>
            <a:endParaRPr lang="sv-SE" sz="2800" b="1">
              <a:solidFill>
                <a:srgbClr val="CC0033"/>
              </a:solidFill>
              <a:latin typeface="+mj-lt"/>
              <a:cs typeface="Arial" panose="020B0604020202020204" pitchFamily="34" charset="0"/>
            </a:endParaRPr>
          </a:p>
          <a:p>
            <a:pPr algn="ctr">
              <a:spcBef>
                <a:spcPts val="55"/>
              </a:spcBef>
            </a:pPr>
            <a:r>
              <a:rPr lang="en-US" sz="2800" kern="100">
                <a:solidFill>
                  <a:srgbClr val="404040"/>
                </a:solidFill>
                <a:latin typeface="Arial (body)"/>
              </a:rPr>
              <a:t> R – Reduce 				I – Increase			O – </a:t>
            </a:r>
            <a:r>
              <a:rPr lang="en-US" sz="2800" kern="100" err="1">
                <a:solidFill>
                  <a:srgbClr val="404040"/>
                </a:solidFill>
                <a:latin typeface="Arial (body)"/>
              </a:rPr>
              <a:t>Optimise</a:t>
            </a:r>
            <a:endParaRPr lang="en-US" sz="2800" kern="100">
              <a:solidFill>
                <a:srgbClr val="404040"/>
              </a:solidFill>
              <a:latin typeface="Arial (body)"/>
            </a:endParaRPr>
          </a:p>
          <a:p>
            <a:pPr>
              <a:spcBef>
                <a:spcPts val="55"/>
              </a:spcBef>
            </a:pPr>
            <a:endParaRPr lang="en-US" sz="2800" kern="100">
              <a:solidFill>
                <a:srgbClr val="404040"/>
              </a:solidFill>
              <a:latin typeface="Arial (body)"/>
            </a:endParaRPr>
          </a:p>
          <a:p>
            <a:pPr marL="72390" marR="210820" algn="ctr">
              <a:lnSpc>
                <a:spcPct val="125000"/>
              </a:lnSpc>
              <a:spcBef>
                <a:spcPts val="1200"/>
              </a:spcBef>
            </a:pPr>
            <a:r>
              <a:rPr lang="en-US" sz="2800" b="1">
                <a:solidFill>
                  <a:srgbClr val="CC0033"/>
                </a:solidFill>
                <a:latin typeface="+mj-lt"/>
                <a:cs typeface="Arial" panose="020B0604020202020204" pitchFamily="34" charset="0"/>
              </a:rPr>
              <a:t>The KRIs which have been selected for the demo-sites belong to the categories:</a:t>
            </a:r>
            <a:endParaRPr lang="sv-SE" sz="2800" b="1">
              <a:solidFill>
                <a:srgbClr val="CC0033"/>
              </a:solidFill>
              <a:latin typeface="+mj-lt"/>
              <a:cs typeface="Arial" panose="020B0604020202020204" pitchFamily="34" charset="0"/>
            </a:endParaRPr>
          </a:p>
          <a:p>
            <a:pPr algn="ctr"/>
            <a:r>
              <a:rPr lang="en-US" sz="2800" kern="100">
                <a:solidFill>
                  <a:srgbClr val="404040"/>
                </a:solidFill>
                <a:latin typeface="Arial (body)"/>
              </a:rPr>
              <a:t> Energy use (for each energy carrier)		Use of raw materials (for each raw material)</a:t>
            </a:r>
            <a:endParaRPr lang="sv-SE" sz="2800" kern="100">
              <a:solidFill>
                <a:srgbClr val="404040"/>
              </a:solidFill>
              <a:latin typeface="Arial (body)"/>
            </a:endParaRPr>
          </a:p>
          <a:p>
            <a:pPr algn="ctr">
              <a:spcBef>
                <a:spcPts val="10"/>
              </a:spcBef>
            </a:pPr>
            <a:r>
              <a:rPr lang="en-US" sz="2800" kern="100">
                <a:solidFill>
                  <a:srgbClr val="404040"/>
                </a:solidFill>
                <a:latin typeface="Arial (body)"/>
              </a:rPr>
              <a:t> </a:t>
            </a:r>
            <a:endParaRPr lang="sv-SE" sz="2800" kern="100">
              <a:solidFill>
                <a:srgbClr val="404040"/>
              </a:solidFill>
              <a:latin typeface="Arial (body)"/>
            </a:endParaRPr>
          </a:p>
          <a:p>
            <a:pPr algn="ctr">
              <a:spcBef>
                <a:spcPts val="10"/>
              </a:spcBef>
            </a:pPr>
            <a:r>
              <a:rPr lang="en-US" sz="2800" kern="100">
                <a:solidFill>
                  <a:srgbClr val="404040"/>
                </a:solidFill>
                <a:latin typeface="Arial (body)"/>
              </a:rPr>
              <a:t>Waste disposal						Water consumption</a:t>
            </a:r>
            <a:endParaRPr lang="sv-SE" sz="2800" kern="100">
              <a:solidFill>
                <a:srgbClr val="404040"/>
              </a:solidFill>
              <a:latin typeface="Arial (body)"/>
            </a:endParaRPr>
          </a:p>
          <a:p>
            <a:pPr>
              <a:spcBef>
                <a:spcPts val="5"/>
              </a:spcBef>
            </a:pPr>
            <a:endParaRPr lang="en-US" sz="2800" kern="100">
              <a:solidFill>
                <a:srgbClr val="404040"/>
              </a:solidFill>
              <a:latin typeface="Arial (body)"/>
            </a:endParaRPr>
          </a:p>
          <a:p>
            <a:pPr algn="ctr">
              <a:spcBef>
                <a:spcPts val="5"/>
              </a:spcBef>
            </a:pPr>
            <a:r>
              <a:rPr lang="en-US" sz="2800" kern="100">
                <a:solidFill>
                  <a:srgbClr val="404040"/>
                </a:solidFill>
                <a:latin typeface="Arial (body)"/>
              </a:rPr>
              <a:t>Water discharge						Emissions to water</a:t>
            </a:r>
            <a:endParaRPr lang="sv-SE" sz="2800" kern="100">
              <a:solidFill>
                <a:srgbClr val="404040"/>
              </a:solidFill>
              <a:latin typeface="Arial (body)"/>
            </a:endParaRPr>
          </a:p>
          <a:p>
            <a:pPr algn="ctr">
              <a:spcBef>
                <a:spcPts val="15"/>
              </a:spcBef>
            </a:pPr>
            <a:endParaRPr lang="en-US" sz="2800" kern="100">
              <a:solidFill>
                <a:srgbClr val="404040"/>
              </a:solidFill>
              <a:latin typeface="Arial (body)"/>
            </a:endParaRPr>
          </a:p>
          <a:p>
            <a:pPr>
              <a:spcBef>
                <a:spcPts val="15"/>
              </a:spcBef>
            </a:pPr>
            <a:r>
              <a:rPr lang="en-US" sz="2800" kern="100">
                <a:solidFill>
                  <a:srgbClr val="404040"/>
                </a:solidFill>
                <a:latin typeface="Arial (body)"/>
              </a:rPr>
              <a:t>				 CO2 emissions				Other GHG emissions / Other emissions to air.</a:t>
            </a:r>
          </a:p>
          <a:p>
            <a:pPr algn="ctr">
              <a:spcBef>
                <a:spcPts val="15"/>
              </a:spcBef>
            </a:pPr>
            <a:endParaRPr lang="en-US" sz="2800" kern="100">
              <a:solidFill>
                <a:srgbClr val="404040"/>
              </a:solidFill>
              <a:latin typeface="Arial (body)"/>
            </a:endParaRPr>
          </a:p>
          <a:p>
            <a:pPr algn="ctr">
              <a:spcBef>
                <a:spcPts val="15"/>
              </a:spcBef>
            </a:pPr>
            <a:r>
              <a:rPr lang="en-US" sz="2800" kern="100">
                <a:solidFill>
                  <a:srgbClr val="404040"/>
                </a:solidFill>
                <a:latin typeface="Arial (body)"/>
              </a:rPr>
              <a:t> </a:t>
            </a:r>
            <a:r>
              <a:rPr lang="en-US" sz="2800" b="1">
                <a:solidFill>
                  <a:srgbClr val="CC0033"/>
                </a:solidFill>
                <a:latin typeface="+mj-lt"/>
                <a:cs typeface="Arial" panose="020B0604020202020204" pitchFamily="34" charset="0"/>
              </a:rPr>
              <a:t>The KPAs which have been selected are within the categories:</a:t>
            </a:r>
            <a:endParaRPr lang="sv-SE" sz="2800" b="1">
              <a:solidFill>
                <a:srgbClr val="CC0033"/>
              </a:solidFill>
              <a:latin typeface="+mj-lt"/>
              <a:cs typeface="Arial" panose="020B0604020202020204" pitchFamily="34" charset="0"/>
            </a:endParaRPr>
          </a:p>
          <a:p>
            <a:pPr algn="ctr">
              <a:spcBef>
                <a:spcPts val="20"/>
              </a:spcBef>
            </a:pPr>
            <a:r>
              <a:rPr lang="en-US" sz="2800" kern="100">
                <a:solidFill>
                  <a:srgbClr val="404040"/>
                </a:solidFill>
                <a:latin typeface="Arial (body)"/>
              </a:rPr>
              <a:t>Productivity			Quality			Safety			Costs		 </a:t>
            </a:r>
            <a:endParaRPr lang="sv-SE" sz="2800" kern="100">
              <a:solidFill>
                <a:srgbClr val="404040"/>
              </a:solidFill>
              <a:latin typeface="Arial (body)"/>
            </a:endParaRPr>
          </a:p>
          <a:p>
            <a:pPr>
              <a:spcBef>
                <a:spcPts val="20"/>
              </a:spcBef>
            </a:pPr>
            <a:endParaRPr lang="sv-SE" sz="2800" kern="100">
              <a:solidFill>
                <a:srgbClr val="404040"/>
              </a:solidFill>
              <a:latin typeface="Arial (body)"/>
            </a:endParaRPr>
          </a:p>
          <a:p>
            <a:pPr algn="ctr">
              <a:spcBef>
                <a:spcPts val="20"/>
              </a:spcBef>
            </a:pPr>
            <a:r>
              <a:rPr lang="en-US" sz="2800" kern="100">
                <a:solidFill>
                  <a:srgbClr val="404040"/>
                </a:solidFill>
                <a:latin typeface="Arial (body)"/>
              </a:rPr>
              <a:t>Reject ratio			Downtime, planned and unplanned</a:t>
            </a:r>
            <a:endParaRPr lang="sv-SE" sz="2800" kern="100">
              <a:solidFill>
                <a:srgbClr val="404040"/>
              </a:solidFill>
              <a:latin typeface="Arial (body)"/>
            </a:endParaRPr>
          </a:p>
          <a:p>
            <a:pPr>
              <a:spcBef>
                <a:spcPts val="55"/>
              </a:spcBef>
            </a:pPr>
            <a:endParaRPr lang="sv-SE" sz="2800" kern="100">
              <a:solidFill>
                <a:srgbClr val="404040"/>
              </a:solidFill>
              <a:latin typeface="Arial (body)"/>
            </a:endParaRPr>
          </a:p>
        </p:txBody>
      </p:sp>
    </p:spTree>
    <p:extLst>
      <p:ext uri="{BB962C8B-B14F-4D97-AF65-F5344CB8AC3E}">
        <p14:creationId xmlns:p14="http://schemas.microsoft.com/office/powerpoint/2010/main" val="69027271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289ED1AA-8684-4D37-B208-8777E1A7780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8283428" cy="10287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Graphic 33">
            <a:extLst>
              <a:ext uri="{FF2B5EF4-FFF2-40B4-BE49-F238E27FC236}">
                <a16:creationId xmlns:a16="http://schemas.microsoft.com/office/drawing/2014/main" id="{4180E01B-B1F4-437C-807D-1C930718EE6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966176" y="0"/>
            <a:ext cx="14355646" cy="10287000"/>
          </a:xfrm>
          <a:custGeom>
            <a:avLst/>
            <a:gdLst>
              <a:gd name="connsiteX0" fmla="*/ 7178288 w 7187261"/>
              <a:gd name="connsiteY0" fmla="*/ 2604802 h 5150263"/>
              <a:gd name="connsiteX1" fmla="*/ 7169335 w 7187261"/>
              <a:gd name="connsiteY1" fmla="*/ 2328577 h 5150263"/>
              <a:gd name="connsiteX2" fmla="*/ 7060845 w 7187261"/>
              <a:gd name="connsiteY2" fmla="*/ 1661160 h 5150263"/>
              <a:gd name="connsiteX3" fmla="*/ 6212263 w 7187261"/>
              <a:gd name="connsiteY3" fmla="*/ 243840 h 5150263"/>
              <a:gd name="connsiteX4" fmla="*/ 5953564 w 7187261"/>
              <a:gd name="connsiteY4" fmla="*/ 0 h 5150263"/>
              <a:gd name="connsiteX5" fmla="*/ 1408615 w 7187261"/>
              <a:gd name="connsiteY5" fmla="*/ 0 h 5150263"/>
              <a:gd name="connsiteX6" fmla="*/ 805111 w 7187261"/>
              <a:gd name="connsiteY6" fmla="*/ 676275 h 5150263"/>
              <a:gd name="connsiteX7" fmla="*/ 104928 w 7187261"/>
              <a:gd name="connsiteY7" fmla="*/ 2183035 h 5150263"/>
              <a:gd name="connsiteX8" fmla="*/ 51588 w 7187261"/>
              <a:gd name="connsiteY8" fmla="*/ 2400014 h 5150263"/>
              <a:gd name="connsiteX9" fmla="*/ 41301 w 7187261"/>
              <a:gd name="connsiteY9" fmla="*/ 2424208 h 5150263"/>
              <a:gd name="connsiteX10" fmla="*/ 119692 w 7187261"/>
              <a:gd name="connsiteY10" fmla="*/ 1834801 h 5150263"/>
              <a:gd name="connsiteX11" fmla="*/ 870071 w 7187261"/>
              <a:gd name="connsiteY11" fmla="*/ 462248 h 5150263"/>
              <a:gd name="connsiteX12" fmla="*/ 1389279 w 7187261"/>
              <a:gd name="connsiteY12" fmla="*/ 476 h 5150263"/>
              <a:gd name="connsiteX13" fmla="*/ 1320223 w 7187261"/>
              <a:gd name="connsiteY13" fmla="*/ 476 h 5150263"/>
              <a:gd name="connsiteX14" fmla="*/ 423158 w 7187261"/>
              <a:gd name="connsiteY14" fmla="*/ 989743 h 5150263"/>
              <a:gd name="connsiteX15" fmla="*/ 25585 w 7187261"/>
              <a:gd name="connsiteY15" fmla="*/ 2113693 h 5150263"/>
              <a:gd name="connsiteX16" fmla="*/ 2344 w 7187261"/>
              <a:gd name="connsiteY16" fmla="*/ 2725865 h 5150263"/>
              <a:gd name="connsiteX17" fmla="*/ 447256 w 7187261"/>
              <a:gd name="connsiteY17" fmla="*/ 4210717 h 5150263"/>
              <a:gd name="connsiteX18" fmla="*/ 1138962 w 7187261"/>
              <a:gd name="connsiteY18" fmla="*/ 4988910 h 5150263"/>
              <a:gd name="connsiteX19" fmla="*/ 1348512 w 7187261"/>
              <a:gd name="connsiteY19" fmla="*/ 5146834 h 5150263"/>
              <a:gd name="connsiteX20" fmla="*/ 1422712 w 7187261"/>
              <a:gd name="connsiteY20" fmla="*/ 5146834 h 5150263"/>
              <a:gd name="connsiteX21" fmla="*/ 480594 w 7187261"/>
              <a:gd name="connsiteY21" fmla="*/ 4187952 h 5150263"/>
              <a:gd name="connsiteX22" fmla="*/ 398679 w 7187261"/>
              <a:gd name="connsiteY22" fmla="*/ 4046125 h 5150263"/>
              <a:gd name="connsiteX23" fmla="*/ 411823 w 7187261"/>
              <a:gd name="connsiteY23" fmla="*/ 4053078 h 5150263"/>
              <a:gd name="connsiteX24" fmla="*/ 1439380 w 7187261"/>
              <a:gd name="connsiteY24" fmla="*/ 5147405 h 5150263"/>
              <a:gd name="connsiteX25" fmla="*/ 5710010 w 7187261"/>
              <a:gd name="connsiteY25" fmla="*/ 5150263 h 5150263"/>
              <a:gd name="connsiteX26" fmla="*/ 5999665 w 7187261"/>
              <a:gd name="connsiteY26" fmla="*/ 4910900 h 5150263"/>
              <a:gd name="connsiteX27" fmla="*/ 6954165 w 7187261"/>
              <a:gd name="connsiteY27" fmla="*/ 3545777 h 5150263"/>
              <a:gd name="connsiteX28" fmla="*/ 7137712 w 7187261"/>
              <a:gd name="connsiteY28" fmla="*/ 2799207 h 5150263"/>
              <a:gd name="connsiteX29" fmla="*/ 7142951 w 7187261"/>
              <a:gd name="connsiteY29" fmla="*/ 2754535 h 5150263"/>
              <a:gd name="connsiteX30" fmla="*/ 7149428 w 7187261"/>
              <a:gd name="connsiteY30" fmla="*/ 2774823 h 5150263"/>
              <a:gd name="connsiteX31" fmla="*/ 7066465 w 7187261"/>
              <a:gd name="connsiteY31" fmla="*/ 3465672 h 5150263"/>
              <a:gd name="connsiteX32" fmla="*/ 6452578 w 7187261"/>
              <a:gd name="connsiteY32" fmla="*/ 4552760 h 5150263"/>
              <a:gd name="connsiteX33" fmla="*/ 5752110 w 7187261"/>
              <a:gd name="connsiteY33" fmla="*/ 5150263 h 5150263"/>
              <a:gd name="connsiteX34" fmla="*/ 5827643 w 7187261"/>
              <a:gd name="connsiteY34" fmla="*/ 5150263 h 5150263"/>
              <a:gd name="connsiteX35" fmla="*/ 6642793 w 7187261"/>
              <a:gd name="connsiteY35" fmla="*/ 4389406 h 5150263"/>
              <a:gd name="connsiteX36" fmla="*/ 7102469 w 7187261"/>
              <a:gd name="connsiteY36" fmla="*/ 3490817 h 5150263"/>
              <a:gd name="connsiteX37" fmla="*/ 7187242 w 7187261"/>
              <a:gd name="connsiteY37" fmla="*/ 2990183 h 5150263"/>
              <a:gd name="connsiteX38" fmla="*/ 7178288 w 7187261"/>
              <a:gd name="connsiteY38" fmla="*/ 2604802 h 5150263"/>
              <a:gd name="connsiteX39" fmla="*/ 6342565 w 7187261"/>
              <a:gd name="connsiteY39" fmla="*/ 441389 h 5150263"/>
              <a:gd name="connsiteX40" fmla="*/ 7126567 w 7187261"/>
              <a:gd name="connsiteY40" fmla="*/ 2355056 h 5150263"/>
              <a:gd name="connsiteX41" fmla="*/ 6342565 w 7187261"/>
              <a:gd name="connsiteY41" fmla="*/ 441389 h 5150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187261" h="5150263">
                <a:moveTo>
                  <a:pt x="7178288" y="2604802"/>
                </a:moveTo>
                <a:cubicBezTo>
                  <a:pt x="7168763" y="2513076"/>
                  <a:pt x="7174478" y="2420684"/>
                  <a:pt x="7169335" y="2328577"/>
                </a:cubicBezTo>
                <a:cubicBezTo>
                  <a:pt x="7156952" y="2102882"/>
                  <a:pt x="7120586" y="1879149"/>
                  <a:pt x="7060845" y="1661160"/>
                </a:cubicBezTo>
                <a:cubicBezTo>
                  <a:pt x="6910588" y="1121007"/>
                  <a:pt x="6617428" y="631374"/>
                  <a:pt x="6212263" y="243840"/>
                </a:cubicBezTo>
                <a:cubicBezTo>
                  <a:pt x="6126538" y="162496"/>
                  <a:pt x="6040813" y="80201"/>
                  <a:pt x="5953564" y="0"/>
                </a:cubicBezTo>
                <a:lnTo>
                  <a:pt x="1408615" y="0"/>
                </a:lnTo>
                <a:cubicBezTo>
                  <a:pt x="1180967" y="200316"/>
                  <a:pt x="978332" y="427387"/>
                  <a:pt x="805111" y="676275"/>
                </a:cubicBezTo>
                <a:cubicBezTo>
                  <a:pt x="481261" y="1136523"/>
                  <a:pt x="252089" y="1640872"/>
                  <a:pt x="104928" y="2183035"/>
                </a:cubicBezTo>
                <a:cubicBezTo>
                  <a:pt x="85878" y="2254853"/>
                  <a:pt x="69495" y="2327720"/>
                  <a:pt x="51588" y="2400014"/>
                </a:cubicBezTo>
                <a:cubicBezTo>
                  <a:pt x="49683" y="2407634"/>
                  <a:pt x="51588" y="2416969"/>
                  <a:pt x="41301" y="2424208"/>
                </a:cubicBezTo>
                <a:cubicBezTo>
                  <a:pt x="45900" y="2225469"/>
                  <a:pt x="72186" y="2027834"/>
                  <a:pt x="119692" y="1834801"/>
                </a:cubicBezTo>
                <a:cubicBezTo>
                  <a:pt x="247993" y="1310926"/>
                  <a:pt x="506121" y="857726"/>
                  <a:pt x="870071" y="462248"/>
                </a:cubicBezTo>
                <a:cubicBezTo>
                  <a:pt x="1027729" y="291823"/>
                  <a:pt x="1201617" y="137169"/>
                  <a:pt x="1389279" y="476"/>
                </a:cubicBezTo>
                <a:lnTo>
                  <a:pt x="1320223" y="476"/>
                </a:lnTo>
                <a:cubicBezTo>
                  <a:pt x="960844" y="274320"/>
                  <a:pt x="656330" y="599123"/>
                  <a:pt x="423158" y="989743"/>
                </a:cubicBezTo>
                <a:cubicBezTo>
                  <a:pt x="215608" y="1337596"/>
                  <a:pt x="80258" y="1711357"/>
                  <a:pt x="25585" y="2113693"/>
                </a:cubicBezTo>
                <a:cubicBezTo>
                  <a:pt x="-2705" y="2316480"/>
                  <a:pt x="-2228" y="2521077"/>
                  <a:pt x="2344" y="2725865"/>
                </a:cubicBezTo>
                <a:cubicBezTo>
                  <a:pt x="14155" y="3261932"/>
                  <a:pt x="170650" y="3754565"/>
                  <a:pt x="447256" y="4210717"/>
                </a:cubicBezTo>
                <a:cubicBezTo>
                  <a:pt x="629851" y="4511612"/>
                  <a:pt x="866356" y="4767167"/>
                  <a:pt x="1138962" y="4988910"/>
                </a:cubicBezTo>
                <a:cubicBezTo>
                  <a:pt x="1207161" y="5044345"/>
                  <a:pt x="1277008" y="5096990"/>
                  <a:pt x="1348512" y="5146834"/>
                </a:cubicBezTo>
                <a:lnTo>
                  <a:pt x="1422712" y="5146834"/>
                </a:lnTo>
                <a:cubicBezTo>
                  <a:pt x="1043426" y="4892802"/>
                  <a:pt x="724720" y="4577334"/>
                  <a:pt x="480594" y="4187952"/>
                </a:cubicBezTo>
                <a:cubicBezTo>
                  <a:pt x="452019" y="4141851"/>
                  <a:pt x="423444" y="4095179"/>
                  <a:pt x="398679" y="4046125"/>
                </a:cubicBezTo>
                <a:cubicBezTo>
                  <a:pt x="407442" y="4043267"/>
                  <a:pt x="409156" y="4048982"/>
                  <a:pt x="411823" y="4053078"/>
                </a:cubicBezTo>
                <a:cubicBezTo>
                  <a:pt x="683572" y="4484656"/>
                  <a:pt x="1033139" y="4842701"/>
                  <a:pt x="1439380" y="5147405"/>
                </a:cubicBezTo>
                <a:lnTo>
                  <a:pt x="5710010" y="5150263"/>
                </a:lnTo>
                <a:cubicBezTo>
                  <a:pt x="5810594" y="5075482"/>
                  <a:pt x="5907272" y="4995587"/>
                  <a:pt x="5999665" y="4910900"/>
                </a:cubicBezTo>
                <a:cubicBezTo>
                  <a:pt x="6418765" y="4526661"/>
                  <a:pt x="6746901" y="4078129"/>
                  <a:pt x="6954165" y="3545777"/>
                </a:cubicBezTo>
                <a:cubicBezTo>
                  <a:pt x="7048234" y="3306175"/>
                  <a:pt x="7109956" y="3055115"/>
                  <a:pt x="7137712" y="2799207"/>
                </a:cubicBezTo>
                <a:cubicBezTo>
                  <a:pt x="7139236" y="2784920"/>
                  <a:pt x="7141046" y="2770632"/>
                  <a:pt x="7142951" y="2754535"/>
                </a:cubicBezTo>
                <a:cubicBezTo>
                  <a:pt x="7151714" y="2760440"/>
                  <a:pt x="7149237" y="2768441"/>
                  <a:pt x="7149428" y="2774823"/>
                </a:cubicBezTo>
                <a:cubicBezTo>
                  <a:pt x="7156743" y="3007967"/>
                  <a:pt x="7128777" y="3240881"/>
                  <a:pt x="7066465" y="3465672"/>
                </a:cubicBezTo>
                <a:cubicBezTo>
                  <a:pt x="6952165" y="3878580"/>
                  <a:pt x="6737948" y="4235863"/>
                  <a:pt x="6452578" y="4552760"/>
                </a:cubicBezTo>
                <a:cubicBezTo>
                  <a:pt x="6244553" y="4783836"/>
                  <a:pt x="6008809" y="4980242"/>
                  <a:pt x="5752110" y="5150263"/>
                </a:cubicBezTo>
                <a:lnTo>
                  <a:pt x="5827643" y="5150263"/>
                </a:lnTo>
                <a:cubicBezTo>
                  <a:pt x="6136539" y="4938904"/>
                  <a:pt x="6412192" y="4689348"/>
                  <a:pt x="6642793" y="4389406"/>
                </a:cubicBezTo>
                <a:cubicBezTo>
                  <a:pt x="6851295" y="4118324"/>
                  <a:pt x="7009125" y="3820859"/>
                  <a:pt x="7102469" y="3490817"/>
                </a:cubicBezTo>
                <a:cubicBezTo>
                  <a:pt x="7148646" y="3327473"/>
                  <a:pt x="7177069" y="3159624"/>
                  <a:pt x="7187242" y="2990183"/>
                </a:cubicBezTo>
                <a:cubicBezTo>
                  <a:pt x="7187623" y="2984087"/>
                  <a:pt x="7182384" y="2642330"/>
                  <a:pt x="7178288" y="2604802"/>
                </a:cubicBezTo>
                <a:close/>
                <a:moveTo>
                  <a:pt x="6342565" y="441389"/>
                </a:moveTo>
                <a:cubicBezTo>
                  <a:pt x="6829797" y="986533"/>
                  <a:pt x="7091135" y="1624422"/>
                  <a:pt x="7126567" y="2355056"/>
                </a:cubicBezTo>
                <a:cubicBezTo>
                  <a:pt x="7001123" y="1661827"/>
                  <a:pt x="6756426" y="1017365"/>
                  <a:pt x="6342565" y="441389"/>
                </a:cubicBezTo>
                <a:close/>
              </a:path>
            </a:pathLst>
          </a:custGeom>
          <a:solidFill>
            <a:schemeClr val="accent2"/>
          </a:solidFill>
          <a:ln w="9525" cap="flat">
            <a:noFill/>
            <a:prstDash val="solid"/>
            <a:miter/>
          </a:ln>
        </p:spPr>
        <p:txBody>
          <a:bodyPr rtlCol="0" anchor="ctr"/>
          <a:lstStyle/>
          <a:p>
            <a:endParaRPr lang="en-US"/>
          </a:p>
        </p:txBody>
      </p:sp>
      <p:sp>
        <p:nvSpPr>
          <p:cNvPr id="4" name="Title 3">
            <a:extLst>
              <a:ext uri="{FF2B5EF4-FFF2-40B4-BE49-F238E27FC236}">
                <a16:creationId xmlns:a16="http://schemas.microsoft.com/office/drawing/2014/main" id="{B009CD84-DA40-4CAA-8A89-DD6DAA862368}"/>
              </a:ext>
            </a:extLst>
          </p:cNvPr>
          <p:cNvSpPr>
            <a:spLocks noGrp="1"/>
          </p:cNvSpPr>
          <p:nvPr>
            <p:ph type="title"/>
          </p:nvPr>
        </p:nvSpPr>
        <p:spPr>
          <a:xfrm>
            <a:off x="2996119" y="1432963"/>
            <a:ext cx="12217941" cy="4348463"/>
          </a:xfrm>
        </p:spPr>
        <p:txBody>
          <a:bodyPr vert="horz" lIns="91440" tIns="45720" rIns="91440" bIns="45720" rtlCol="0" anchor="b">
            <a:noAutofit/>
          </a:bodyPr>
          <a:lstStyle/>
          <a:p>
            <a:pPr indent="457200">
              <a:lnSpc>
                <a:spcPct val="90000"/>
              </a:lnSpc>
              <a:spcAft>
                <a:spcPts val="600"/>
              </a:spcAft>
            </a:pPr>
            <a:r>
              <a:rPr lang="en-GB" sz="6000" b="1" kern="1200" noProof="0" dirty="0">
                <a:solidFill>
                  <a:srgbClr val="FFFFFF"/>
                </a:solidFill>
                <a:latin typeface="+mj-lt"/>
                <a:ea typeface="+mj-ea"/>
                <a:cs typeface="+mj-cs"/>
              </a:rPr>
              <a:t>Chapter </a:t>
            </a:r>
            <a:r>
              <a:rPr lang="en-GB" sz="6000" b="1" noProof="0" dirty="0">
                <a:solidFill>
                  <a:srgbClr val="FFFFFF"/>
                </a:solidFill>
              </a:rPr>
              <a:t>3.2 </a:t>
            </a:r>
            <a:br>
              <a:rPr lang="en-GB" sz="6000" b="1" noProof="0" dirty="0">
                <a:solidFill>
                  <a:srgbClr val="FFFFFF"/>
                </a:solidFill>
              </a:rPr>
            </a:br>
            <a:r>
              <a:rPr lang="en-GB" sz="6000" b="1" kern="1200" noProof="0" dirty="0">
                <a:solidFill>
                  <a:srgbClr val="FFFFFF"/>
                </a:solidFill>
                <a:latin typeface="+mj-lt"/>
                <a:ea typeface="+mj-ea"/>
                <a:cs typeface="+mj-cs"/>
              </a:rPr>
              <a:t>Expected Impacts in RETROFEED demo-sites</a:t>
            </a:r>
          </a:p>
        </p:txBody>
      </p:sp>
      <p:sp>
        <p:nvSpPr>
          <p:cNvPr id="13" name="sketch line">
            <a:extLst>
              <a:ext uri="{FF2B5EF4-FFF2-40B4-BE49-F238E27FC236}">
                <a16:creationId xmlns:a16="http://schemas.microsoft.com/office/drawing/2014/main" id="{41F77738-2AF0-4750-A0C7-F97C2C17590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961309" y="6260247"/>
            <a:ext cx="6365383" cy="27432"/>
          </a:xfrm>
          <a:custGeom>
            <a:avLst/>
            <a:gdLst>
              <a:gd name="connsiteX0" fmla="*/ 0 w 6365383"/>
              <a:gd name="connsiteY0" fmla="*/ 0 h 27432"/>
              <a:gd name="connsiteX1" fmla="*/ 636538 w 6365383"/>
              <a:gd name="connsiteY1" fmla="*/ 0 h 27432"/>
              <a:gd name="connsiteX2" fmla="*/ 1273077 w 6365383"/>
              <a:gd name="connsiteY2" fmla="*/ 0 h 27432"/>
              <a:gd name="connsiteX3" fmla="*/ 1909615 w 6365383"/>
              <a:gd name="connsiteY3" fmla="*/ 0 h 27432"/>
              <a:gd name="connsiteX4" fmla="*/ 2673461 w 6365383"/>
              <a:gd name="connsiteY4" fmla="*/ 0 h 27432"/>
              <a:gd name="connsiteX5" fmla="*/ 3373653 w 6365383"/>
              <a:gd name="connsiteY5" fmla="*/ 0 h 27432"/>
              <a:gd name="connsiteX6" fmla="*/ 3819230 w 6365383"/>
              <a:gd name="connsiteY6" fmla="*/ 0 h 27432"/>
              <a:gd name="connsiteX7" fmla="*/ 4392114 w 6365383"/>
              <a:gd name="connsiteY7" fmla="*/ 0 h 27432"/>
              <a:gd name="connsiteX8" fmla="*/ 5155960 w 6365383"/>
              <a:gd name="connsiteY8" fmla="*/ 0 h 27432"/>
              <a:gd name="connsiteX9" fmla="*/ 5792499 w 6365383"/>
              <a:gd name="connsiteY9" fmla="*/ 0 h 27432"/>
              <a:gd name="connsiteX10" fmla="*/ 6365383 w 6365383"/>
              <a:gd name="connsiteY10" fmla="*/ 0 h 27432"/>
              <a:gd name="connsiteX11" fmla="*/ 6365383 w 6365383"/>
              <a:gd name="connsiteY11" fmla="*/ 27432 h 27432"/>
              <a:gd name="connsiteX12" fmla="*/ 5856152 w 6365383"/>
              <a:gd name="connsiteY12" fmla="*/ 27432 h 27432"/>
              <a:gd name="connsiteX13" fmla="*/ 5092306 w 6365383"/>
              <a:gd name="connsiteY13" fmla="*/ 27432 h 27432"/>
              <a:gd name="connsiteX14" fmla="*/ 4583076 w 6365383"/>
              <a:gd name="connsiteY14" fmla="*/ 27432 h 27432"/>
              <a:gd name="connsiteX15" fmla="*/ 4137499 w 6365383"/>
              <a:gd name="connsiteY15" fmla="*/ 27432 h 27432"/>
              <a:gd name="connsiteX16" fmla="*/ 3691922 w 6365383"/>
              <a:gd name="connsiteY16" fmla="*/ 27432 h 27432"/>
              <a:gd name="connsiteX17" fmla="*/ 2991730 w 6365383"/>
              <a:gd name="connsiteY17" fmla="*/ 27432 h 27432"/>
              <a:gd name="connsiteX18" fmla="*/ 2546153 w 6365383"/>
              <a:gd name="connsiteY18" fmla="*/ 27432 h 27432"/>
              <a:gd name="connsiteX19" fmla="*/ 1909615 w 6365383"/>
              <a:gd name="connsiteY19" fmla="*/ 27432 h 27432"/>
              <a:gd name="connsiteX20" fmla="*/ 1400384 w 6365383"/>
              <a:gd name="connsiteY20" fmla="*/ 27432 h 27432"/>
              <a:gd name="connsiteX21" fmla="*/ 763846 w 6365383"/>
              <a:gd name="connsiteY21" fmla="*/ 27432 h 27432"/>
              <a:gd name="connsiteX22" fmla="*/ 0 w 6365383"/>
              <a:gd name="connsiteY22" fmla="*/ 27432 h 27432"/>
              <a:gd name="connsiteX23" fmla="*/ 0 w 6365383"/>
              <a:gd name="connsiteY23" fmla="*/ 0 h 27432"/>
              <a:gd name="connsiteX0" fmla="*/ 0 w 6365383"/>
              <a:gd name="connsiteY0" fmla="*/ 0 h 27432"/>
              <a:gd name="connsiteX1" fmla="*/ 572884 w 6365383"/>
              <a:gd name="connsiteY1" fmla="*/ 0 h 27432"/>
              <a:gd name="connsiteX2" fmla="*/ 1018461 w 6365383"/>
              <a:gd name="connsiteY2" fmla="*/ 0 h 27432"/>
              <a:gd name="connsiteX3" fmla="*/ 1782307 w 6365383"/>
              <a:gd name="connsiteY3" fmla="*/ 0 h 27432"/>
              <a:gd name="connsiteX4" fmla="*/ 2355192 w 6365383"/>
              <a:gd name="connsiteY4" fmla="*/ 0 h 27432"/>
              <a:gd name="connsiteX5" fmla="*/ 2928076 w 6365383"/>
              <a:gd name="connsiteY5" fmla="*/ 0 h 27432"/>
              <a:gd name="connsiteX6" fmla="*/ 3691922 w 6365383"/>
              <a:gd name="connsiteY6" fmla="*/ 0 h 27432"/>
              <a:gd name="connsiteX7" fmla="*/ 4201153 w 6365383"/>
              <a:gd name="connsiteY7" fmla="*/ 0 h 27432"/>
              <a:gd name="connsiteX8" fmla="*/ 4964999 w 6365383"/>
              <a:gd name="connsiteY8" fmla="*/ 0 h 27432"/>
              <a:gd name="connsiteX9" fmla="*/ 5728845 w 6365383"/>
              <a:gd name="connsiteY9" fmla="*/ 0 h 27432"/>
              <a:gd name="connsiteX10" fmla="*/ 6365383 w 6365383"/>
              <a:gd name="connsiteY10" fmla="*/ 0 h 27432"/>
              <a:gd name="connsiteX11" fmla="*/ 6365383 w 6365383"/>
              <a:gd name="connsiteY11" fmla="*/ 27432 h 27432"/>
              <a:gd name="connsiteX12" fmla="*/ 5665191 w 6365383"/>
              <a:gd name="connsiteY12" fmla="*/ 27432 h 27432"/>
              <a:gd name="connsiteX13" fmla="*/ 4901345 w 6365383"/>
              <a:gd name="connsiteY13" fmla="*/ 27432 h 27432"/>
              <a:gd name="connsiteX14" fmla="*/ 4137499 w 6365383"/>
              <a:gd name="connsiteY14" fmla="*/ 27432 h 27432"/>
              <a:gd name="connsiteX15" fmla="*/ 3628268 w 6365383"/>
              <a:gd name="connsiteY15" fmla="*/ 27432 h 27432"/>
              <a:gd name="connsiteX16" fmla="*/ 2991730 w 6365383"/>
              <a:gd name="connsiteY16" fmla="*/ 27432 h 27432"/>
              <a:gd name="connsiteX17" fmla="*/ 2227884 w 6365383"/>
              <a:gd name="connsiteY17" fmla="*/ 27432 h 27432"/>
              <a:gd name="connsiteX18" fmla="*/ 1591346 w 6365383"/>
              <a:gd name="connsiteY18" fmla="*/ 27432 h 27432"/>
              <a:gd name="connsiteX19" fmla="*/ 1145769 w 6365383"/>
              <a:gd name="connsiteY19" fmla="*/ 27432 h 27432"/>
              <a:gd name="connsiteX20" fmla="*/ 636538 w 6365383"/>
              <a:gd name="connsiteY20" fmla="*/ 27432 h 27432"/>
              <a:gd name="connsiteX21" fmla="*/ 0 w 6365383"/>
              <a:gd name="connsiteY21" fmla="*/ 27432 h 27432"/>
              <a:gd name="connsiteX22" fmla="*/ 0 w 6365383"/>
              <a:gd name="connsiteY22"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365383" h="27432" fill="none" extrusionOk="0">
                <a:moveTo>
                  <a:pt x="0" y="0"/>
                </a:moveTo>
                <a:cubicBezTo>
                  <a:pt x="311910" y="25756"/>
                  <a:pt x="328854" y="-22977"/>
                  <a:pt x="636538" y="0"/>
                </a:cubicBezTo>
                <a:cubicBezTo>
                  <a:pt x="929901" y="50670"/>
                  <a:pt x="1067253" y="-1993"/>
                  <a:pt x="1273077" y="0"/>
                </a:cubicBezTo>
                <a:cubicBezTo>
                  <a:pt x="1507620" y="-24857"/>
                  <a:pt x="1747799" y="-10413"/>
                  <a:pt x="1909615" y="0"/>
                </a:cubicBezTo>
                <a:cubicBezTo>
                  <a:pt x="2041097" y="-21585"/>
                  <a:pt x="2422417" y="-28022"/>
                  <a:pt x="2673461" y="0"/>
                </a:cubicBezTo>
                <a:cubicBezTo>
                  <a:pt x="2948394" y="-4560"/>
                  <a:pt x="3134893" y="36981"/>
                  <a:pt x="3373653" y="0"/>
                </a:cubicBezTo>
                <a:cubicBezTo>
                  <a:pt x="3634761" y="-15887"/>
                  <a:pt x="3700843" y="23167"/>
                  <a:pt x="3819230" y="0"/>
                </a:cubicBezTo>
                <a:cubicBezTo>
                  <a:pt x="3977295" y="2943"/>
                  <a:pt x="4128910" y="-53150"/>
                  <a:pt x="4392114" y="0"/>
                </a:cubicBezTo>
                <a:cubicBezTo>
                  <a:pt x="4672763" y="9214"/>
                  <a:pt x="4999833" y="38501"/>
                  <a:pt x="5155960" y="0"/>
                </a:cubicBezTo>
                <a:cubicBezTo>
                  <a:pt x="5343367" y="-6557"/>
                  <a:pt x="5597661" y="6622"/>
                  <a:pt x="5792499" y="0"/>
                </a:cubicBezTo>
                <a:cubicBezTo>
                  <a:pt x="6020774" y="43813"/>
                  <a:pt x="6148830" y="-13954"/>
                  <a:pt x="6365383" y="0"/>
                </a:cubicBezTo>
                <a:cubicBezTo>
                  <a:pt x="6364517" y="8091"/>
                  <a:pt x="6365728" y="20268"/>
                  <a:pt x="6365383" y="27432"/>
                </a:cubicBezTo>
                <a:cubicBezTo>
                  <a:pt x="6144545" y="15144"/>
                  <a:pt x="6006673" y="-7419"/>
                  <a:pt x="5856152" y="27432"/>
                </a:cubicBezTo>
                <a:cubicBezTo>
                  <a:pt x="5638446" y="81548"/>
                  <a:pt x="5413846" y="52067"/>
                  <a:pt x="5092306" y="27432"/>
                </a:cubicBezTo>
                <a:cubicBezTo>
                  <a:pt x="4768499" y="43350"/>
                  <a:pt x="4708569" y="3163"/>
                  <a:pt x="4583076" y="27432"/>
                </a:cubicBezTo>
                <a:cubicBezTo>
                  <a:pt x="4475482" y="66269"/>
                  <a:pt x="4242792" y="42702"/>
                  <a:pt x="4137499" y="27432"/>
                </a:cubicBezTo>
                <a:cubicBezTo>
                  <a:pt x="4003968" y="24039"/>
                  <a:pt x="3882646" y="-3026"/>
                  <a:pt x="3691922" y="27432"/>
                </a:cubicBezTo>
                <a:cubicBezTo>
                  <a:pt x="3501639" y="8096"/>
                  <a:pt x="3270842" y="-14942"/>
                  <a:pt x="2991730" y="27432"/>
                </a:cubicBezTo>
                <a:cubicBezTo>
                  <a:pt x="2712135" y="55419"/>
                  <a:pt x="2758697" y="31955"/>
                  <a:pt x="2546153" y="27432"/>
                </a:cubicBezTo>
                <a:cubicBezTo>
                  <a:pt x="2362220" y="-818"/>
                  <a:pt x="2130397" y="57099"/>
                  <a:pt x="1909615" y="27432"/>
                </a:cubicBezTo>
                <a:cubicBezTo>
                  <a:pt x="1714835" y="-15389"/>
                  <a:pt x="1636770" y="40318"/>
                  <a:pt x="1400384" y="27432"/>
                </a:cubicBezTo>
                <a:cubicBezTo>
                  <a:pt x="1161504" y="29515"/>
                  <a:pt x="1060819" y="7773"/>
                  <a:pt x="763846" y="27432"/>
                </a:cubicBezTo>
                <a:cubicBezTo>
                  <a:pt x="465096" y="43671"/>
                  <a:pt x="165309" y="15831"/>
                  <a:pt x="0" y="27432"/>
                </a:cubicBezTo>
                <a:cubicBezTo>
                  <a:pt x="-2013" y="18874"/>
                  <a:pt x="-525" y="8614"/>
                  <a:pt x="0" y="0"/>
                </a:cubicBezTo>
                <a:close/>
              </a:path>
              <a:path w="6365383" h="27432" stroke="0" extrusionOk="0">
                <a:moveTo>
                  <a:pt x="0" y="0"/>
                </a:moveTo>
                <a:cubicBezTo>
                  <a:pt x="84020" y="9133"/>
                  <a:pt x="339524" y="24523"/>
                  <a:pt x="572884" y="0"/>
                </a:cubicBezTo>
                <a:cubicBezTo>
                  <a:pt x="803790" y="-14011"/>
                  <a:pt x="837492" y="-10007"/>
                  <a:pt x="1018461" y="0"/>
                </a:cubicBezTo>
                <a:cubicBezTo>
                  <a:pt x="1188530" y="8943"/>
                  <a:pt x="1571061" y="17361"/>
                  <a:pt x="1782307" y="0"/>
                </a:cubicBezTo>
                <a:cubicBezTo>
                  <a:pt x="1967448" y="-16010"/>
                  <a:pt x="2153334" y="-25629"/>
                  <a:pt x="2355192" y="0"/>
                </a:cubicBezTo>
                <a:cubicBezTo>
                  <a:pt x="2541804" y="20205"/>
                  <a:pt x="2779440" y="53811"/>
                  <a:pt x="2928076" y="0"/>
                </a:cubicBezTo>
                <a:cubicBezTo>
                  <a:pt x="3024078" y="-16903"/>
                  <a:pt x="3337092" y="43483"/>
                  <a:pt x="3691922" y="0"/>
                </a:cubicBezTo>
                <a:cubicBezTo>
                  <a:pt x="4060895" y="-1064"/>
                  <a:pt x="4072166" y="-17195"/>
                  <a:pt x="4201153" y="0"/>
                </a:cubicBezTo>
                <a:cubicBezTo>
                  <a:pt x="4349835" y="-22516"/>
                  <a:pt x="4800106" y="-64797"/>
                  <a:pt x="4964999" y="0"/>
                </a:cubicBezTo>
                <a:cubicBezTo>
                  <a:pt x="5186764" y="15779"/>
                  <a:pt x="5564421" y="-10544"/>
                  <a:pt x="5728845" y="0"/>
                </a:cubicBezTo>
                <a:cubicBezTo>
                  <a:pt x="5915953" y="5493"/>
                  <a:pt x="6171384" y="-48026"/>
                  <a:pt x="6365383" y="0"/>
                </a:cubicBezTo>
                <a:cubicBezTo>
                  <a:pt x="6366596" y="6455"/>
                  <a:pt x="6365588" y="14391"/>
                  <a:pt x="6365383" y="27432"/>
                </a:cubicBezTo>
                <a:cubicBezTo>
                  <a:pt x="6172514" y="805"/>
                  <a:pt x="6006523" y="20734"/>
                  <a:pt x="5665191" y="27432"/>
                </a:cubicBezTo>
                <a:cubicBezTo>
                  <a:pt x="5322179" y="66687"/>
                  <a:pt x="5219376" y="21111"/>
                  <a:pt x="4901345" y="27432"/>
                </a:cubicBezTo>
                <a:cubicBezTo>
                  <a:pt x="4621310" y="-13654"/>
                  <a:pt x="4455192" y="54857"/>
                  <a:pt x="4137499" y="27432"/>
                </a:cubicBezTo>
                <a:cubicBezTo>
                  <a:pt x="3853317" y="12285"/>
                  <a:pt x="3862894" y="26263"/>
                  <a:pt x="3628268" y="27432"/>
                </a:cubicBezTo>
                <a:cubicBezTo>
                  <a:pt x="3418779" y="32610"/>
                  <a:pt x="3174456" y="83656"/>
                  <a:pt x="2991730" y="27432"/>
                </a:cubicBezTo>
                <a:cubicBezTo>
                  <a:pt x="2801278" y="6667"/>
                  <a:pt x="2497351" y="22891"/>
                  <a:pt x="2227884" y="27432"/>
                </a:cubicBezTo>
                <a:cubicBezTo>
                  <a:pt x="1986101" y="16297"/>
                  <a:pt x="1767219" y="-7535"/>
                  <a:pt x="1591346" y="27432"/>
                </a:cubicBezTo>
                <a:cubicBezTo>
                  <a:pt x="1447183" y="73731"/>
                  <a:pt x="1315973" y="39477"/>
                  <a:pt x="1145769" y="27432"/>
                </a:cubicBezTo>
                <a:cubicBezTo>
                  <a:pt x="990245" y="8882"/>
                  <a:pt x="810845" y="16910"/>
                  <a:pt x="636538" y="27432"/>
                </a:cubicBezTo>
                <a:cubicBezTo>
                  <a:pt x="482916" y="17795"/>
                  <a:pt x="183027" y="-17710"/>
                  <a:pt x="0" y="27432"/>
                </a:cubicBezTo>
                <a:cubicBezTo>
                  <a:pt x="491" y="19542"/>
                  <a:pt x="-1038" y="8534"/>
                  <a:pt x="0" y="0"/>
                </a:cubicBezTo>
                <a:close/>
              </a:path>
              <a:path w="6365383" h="27432" fill="none" stroke="0" extrusionOk="0">
                <a:moveTo>
                  <a:pt x="0" y="0"/>
                </a:moveTo>
                <a:cubicBezTo>
                  <a:pt x="296223" y="15991"/>
                  <a:pt x="333462" y="-23795"/>
                  <a:pt x="636538" y="0"/>
                </a:cubicBezTo>
                <a:cubicBezTo>
                  <a:pt x="970197" y="30961"/>
                  <a:pt x="1039864" y="3183"/>
                  <a:pt x="1273077" y="0"/>
                </a:cubicBezTo>
                <a:cubicBezTo>
                  <a:pt x="1449809" y="24819"/>
                  <a:pt x="1735152" y="23060"/>
                  <a:pt x="1909615" y="0"/>
                </a:cubicBezTo>
                <a:cubicBezTo>
                  <a:pt x="2016351" y="-41665"/>
                  <a:pt x="2415001" y="34773"/>
                  <a:pt x="2673461" y="0"/>
                </a:cubicBezTo>
                <a:cubicBezTo>
                  <a:pt x="2996983" y="-13411"/>
                  <a:pt x="3130707" y="3741"/>
                  <a:pt x="3373653" y="0"/>
                </a:cubicBezTo>
                <a:cubicBezTo>
                  <a:pt x="3601951" y="-16140"/>
                  <a:pt x="3689909" y="23222"/>
                  <a:pt x="3819230" y="0"/>
                </a:cubicBezTo>
                <a:cubicBezTo>
                  <a:pt x="3931872" y="-29406"/>
                  <a:pt x="4119438" y="24094"/>
                  <a:pt x="4392114" y="0"/>
                </a:cubicBezTo>
                <a:cubicBezTo>
                  <a:pt x="4665359" y="21557"/>
                  <a:pt x="4978709" y="13267"/>
                  <a:pt x="5155960" y="0"/>
                </a:cubicBezTo>
                <a:cubicBezTo>
                  <a:pt x="5299518" y="-18386"/>
                  <a:pt x="5605020" y="-6762"/>
                  <a:pt x="5792499" y="0"/>
                </a:cubicBezTo>
                <a:cubicBezTo>
                  <a:pt x="6013281" y="43398"/>
                  <a:pt x="6167567" y="36727"/>
                  <a:pt x="6365383" y="0"/>
                </a:cubicBezTo>
                <a:cubicBezTo>
                  <a:pt x="6365697" y="8368"/>
                  <a:pt x="6365332" y="21050"/>
                  <a:pt x="6365383" y="27432"/>
                </a:cubicBezTo>
                <a:cubicBezTo>
                  <a:pt x="6154893" y="8454"/>
                  <a:pt x="6014206" y="-8372"/>
                  <a:pt x="5856152" y="27432"/>
                </a:cubicBezTo>
                <a:cubicBezTo>
                  <a:pt x="5659455" y="59503"/>
                  <a:pt x="5350806" y="-35991"/>
                  <a:pt x="5092306" y="27432"/>
                </a:cubicBezTo>
                <a:cubicBezTo>
                  <a:pt x="4756309" y="48260"/>
                  <a:pt x="4699746" y="-4780"/>
                  <a:pt x="4583076" y="27432"/>
                </a:cubicBezTo>
                <a:cubicBezTo>
                  <a:pt x="4462137" y="30142"/>
                  <a:pt x="4226168" y="50236"/>
                  <a:pt x="4137499" y="27432"/>
                </a:cubicBezTo>
                <a:cubicBezTo>
                  <a:pt x="4018570" y="42181"/>
                  <a:pt x="3887179" y="34623"/>
                  <a:pt x="3691922" y="27432"/>
                </a:cubicBezTo>
                <a:cubicBezTo>
                  <a:pt x="3499755" y="32935"/>
                  <a:pt x="3281056" y="-9158"/>
                  <a:pt x="2991730" y="27432"/>
                </a:cubicBezTo>
                <a:cubicBezTo>
                  <a:pt x="2716073" y="57462"/>
                  <a:pt x="2755481" y="34494"/>
                  <a:pt x="2546153" y="27432"/>
                </a:cubicBezTo>
                <a:cubicBezTo>
                  <a:pt x="2356479" y="62622"/>
                  <a:pt x="2079190" y="73729"/>
                  <a:pt x="1909615" y="27432"/>
                </a:cubicBezTo>
                <a:cubicBezTo>
                  <a:pt x="1715819" y="-26444"/>
                  <a:pt x="1631368" y="48131"/>
                  <a:pt x="1400384" y="27432"/>
                </a:cubicBezTo>
                <a:cubicBezTo>
                  <a:pt x="1177327" y="16190"/>
                  <a:pt x="1065236" y="24992"/>
                  <a:pt x="763846" y="27432"/>
                </a:cubicBezTo>
                <a:cubicBezTo>
                  <a:pt x="448643" y="60691"/>
                  <a:pt x="160833" y="2330"/>
                  <a:pt x="0" y="27432"/>
                </a:cubicBezTo>
                <a:cubicBezTo>
                  <a:pt x="1559" y="18666"/>
                  <a:pt x="-585" y="7580"/>
                  <a:pt x="0" y="0"/>
                </a:cubicBezTo>
                <a:close/>
              </a:path>
            </a:pathLst>
          </a:custGeom>
          <a:solidFill>
            <a:srgbClr val="FFFFFF"/>
          </a:solidFill>
          <a:ln w="41275" cap="rnd">
            <a:solidFill>
              <a:srgbClr val="FFFFFF"/>
            </a:solidFill>
            <a:round/>
            <a:extLst>
              <a:ext uri="{C807C97D-BFC1-408E-A445-0C87EB9F89A2}">
                <ask:lineSketchStyleProps xmlns:ask="http://schemas.microsoft.com/office/drawing/2018/sketchyshapes" sd="1219033472">
                  <a:custGeom>
                    <a:avLst/>
                    <a:gdLst>
                      <a:gd name="connsiteX0" fmla="*/ 0 w 6365383"/>
                      <a:gd name="connsiteY0" fmla="*/ 0 h 27432"/>
                      <a:gd name="connsiteX1" fmla="*/ 636538 w 6365383"/>
                      <a:gd name="connsiteY1" fmla="*/ 0 h 27432"/>
                      <a:gd name="connsiteX2" fmla="*/ 1273077 w 6365383"/>
                      <a:gd name="connsiteY2" fmla="*/ 0 h 27432"/>
                      <a:gd name="connsiteX3" fmla="*/ 1909615 w 6365383"/>
                      <a:gd name="connsiteY3" fmla="*/ 0 h 27432"/>
                      <a:gd name="connsiteX4" fmla="*/ 2673461 w 6365383"/>
                      <a:gd name="connsiteY4" fmla="*/ 0 h 27432"/>
                      <a:gd name="connsiteX5" fmla="*/ 3373653 w 6365383"/>
                      <a:gd name="connsiteY5" fmla="*/ 0 h 27432"/>
                      <a:gd name="connsiteX6" fmla="*/ 3819230 w 6365383"/>
                      <a:gd name="connsiteY6" fmla="*/ 0 h 27432"/>
                      <a:gd name="connsiteX7" fmla="*/ 4392114 w 6365383"/>
                      <a:gd name="connsiteY7" fmla="*/ 0 h 27432"/>
                      <a:gd name="connsiteX8" fmla="*/ 5155960 w 6365383"/>
                      <a:gd name="connsiteY8" fmla="*/ 0 h 27432"/>
                      <a:gd name="connsiteX9" fmla="*/ 5792499 w 6365383"/>
                      <a:gd name="connsiteY9" fmla="*/ 0 h 27432"/>
                      <a:gd name="connsiteX10" fmla="*/ 6365383 w 6365383"/>
                      <a:gd name="connsiteY10" fmla="*/ 0 h 27432"/>
                      <a:gd name="connsiteX11" fmla="*/ 6365383 w 6365383"/>
                      <a:gd name="connsiteY11" fmla="*/ 27432 h 27432"/>
                      <a:gd name="connsiteX12" fmla="*/ 5856152 w 6365383"/>
                      <a:gd name="connsiteY12" fmla="*/ 27432 h 27432"/>
                      <a:gd name="connsiteX13" fmla="*/ 5092306 w 6365383"/>
                      <a:gd name="connsiteY13" fmla="*/ 27432 h 27432"/>
                      <a:gd name="connsiteX14" fmla="*/ 4583076 w 6365383"/>
                      <a:gd name="connsiteY14" fmla="*/ 27432 h 27432"/>
                      <a:gd name="connsiteX15" fmla="*/ 4137499 w 6365383"/>
                      <a:gd name="connsiteY15" fmla="*/ 27432 h 27432"/>
                      <a:gd name="connsiteX16" fmla="*/ 3691922 w 6365383"/>
                      <a:gd name="connsiteY16" fmla="*/ 27432 h 27432"/>
                      <a:gd name="connsiteX17" fmla="*/ 2991730 w 6365383"/>
                      <a:gd name="connsiteY17" fmla="*/ 27432 h 27432"/>
                      <a:gd name="connsiteX18" fmla="*/ 2546153 w 6365383"/>
                      <a:gd name="connsiteY18" fmla="*/ 27432 h 27432"/>
                      <a:gd name="connsiteX19" fmla="*/ 1909615 w 6365383"/>
                      <a:gd name="connsiteY19" fmla="*/ 27432 h 27432"/>
                      <a:gd name="connsiteX20" fmla="*/ 1400384 w 6365383"/>
                      <a:gd name="connsiteY20" fmla="*/ 27432 h 27432"/>
                      <a:gd name="connsiteX21" fmla="*/ 763846 w 6365383"/>
                      <a:gd name="connsiteY21" fmla="*/ 27432 h 27432"/>
                      <a:gd name="connsiteX22" fmla="*/ 0 w 6365383"/>
                      <a:gd name="connsiteY22" fmla="*/ 27432 h 27432"/>
                      <a:gd name="connsiteX23" fmla="*/ 0 w 6365383"/>
                      <a:gd name="connsiteY23"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365383" h="27432" fill="none" extrusionOk="0">
                        <a:moveTo>
                          <a:pt x="0" y="0"/>
                        </a:moveTo>
                        <a:cubicBezTo>
                          <a:pt x="305169" y="21509"/>
                          <a:pt x="334704" y="-24261"/>
                          <a:pt x="636538" y="0"/>
                        </a:cubicBezTo>
                        <a:cubicBezTo>
                          <a:pt x="938372" y="24261"/>
                          <a:pt x="1068606" y="2269"/>
                          <a:pt x="1273077" y="0"/>
                        </a:cubicBezTo>
                        <a:cubicBezTo>
                          <a:pt x="1477548" y="-2269"/>
                          <a:pt x="1738189" y="6272"/>
                          <a:pt x="1909615" y="0"/>
                        </a:cubicBezTo>
                        <a:cubicBezTo>
                          <a:pt x="2081041" y="-6272"/>
                          <a:pt x="2377015" y="16623"/>
                          <a:pt x="2673461" y="0"/>
                        </a:cubicBezTo>
                        <a:cubicBezTo>
                          <a:pt x="2969907" y="-16623"/>
                          <a:pt x="3126114" y="13194"/>
                          <a:pt x="3373653" y="0"/>
                        </a:cubicBezTo>
                        <a:cubicBezTo>
                          <a:pt x="3621192" y="-13194"/>
                          <a:pt x="3704499" y="9486"/>
                          <a:pt x="3819230" y="0"/>
                        </a:cubicBezTo>
                        <a:cubicBezTo>
                          <a:pt x="3933961" y="-9486"/>
                          <a:pt x="4142691" y="-8221"/>
                          <a:pt x="4392114" y="0"/>
                        </a:cubicBezTo>
                        <a:cubicBezTo>
                          <a:pt x="4641537" y="8221"/>
                          <a:pt x="4974506" y="12257"/>
                          <a:pt x="5155960" y="0"/>
                        </a:cubicBezTo>
                        <a:cubicBezTo>
                          <a:pt x="5337414" y="-12257"/>
                          <a:pt x="5585731" y="-22537"/>
                          <a:pt x="5792499" y="0"/>
                        </a:cubicBezTo>
                        <a:cubicBezTo>
                          <a:pt x="5999267" y="22537"/>
                          <a:pt x="6164726" y="7303"/>
                          <a:pt x="6365383" y="0"/>
                        </a:cubicBezTo>
                        <a:cubicBezTo>
                          <a:pt x="6365125" y="7487"/>
                          <a:pt x="6364462" y="19984"/>
                          <a:pt x="6365383" y="27432"/>
                        </a:cubicBezTo>
                        <a:cubicBezTo>
                          <a:pt x="6132222" y="28304"/>
                          <a:pt x="6011986" y="2071"/>
                          <a:pt x="5856152" y="27432"/>
                        </a:cubicBezTo>
                        <a:cubicBezTo>
                          <a:pt x="5700318" y="52793"/>
                          <a:pt x="5410732" y="5357"/>
                          <a:pt x="5092306" y="27432"/>
                        </a:cubicBezTo>
                        <a:cubicBezTo>
                          <a:pt x="4773880" y="49507"/>
                          <a:pt x="4705351" y="6645"/>
                          <a:pt x="4583076" y="27432"/>
                        </a:cubicBezTo>
                        <a:cubicBezTo>
                          <a:pt x="4460801" y="48220"/>
                          <a:pt x="4239915" y="42209"/>
                          <a:pt x="4137499" y="27432"/>
                        </a:cubicBezTo>
                        <a:cubicBezTo>
                          <a:pt x="4035083" y="12655"/>
                          <a:pt x="3883665" y="32012"/>
                          <a:pt x="3691922" y="27432"/>
                        </a:cubicBezTo>
                        <a:cubicBezTo>
                          <a:pt x="3500179" y="22852"/>
                          <a:pt x="3265830" y="-126"/>
                          <a:pt x="2991730" y="27432"/>
                        </a:cubicBezTo>
                        <a:cubicBezTo>
                          <a:pt x="2717630" y="54990"/>
                          <a:pt x="2757122" y="34407"/>
                          <a:pt x="2546153" y="27432"/>
                        </a:cubicBezTo>
                        <a:cubicBezTo>
                          <a:pt x="2335184" y="20457"/>
                          <a:pt x="2107331" y="58889"/>
                          <a:pt x="1909615" y="27432"/>
                        </a:cubicBezTo>
                        <a:cubicBezTo>
                          <a:pt x="1711899" y="-4025"/>
                          <a:pt x="1634641" y="48316"/>
                          <a:pt x="1400384" y="27432"/>
                        </a:cubicBezTo>
                        <a:cubicBezTo>
                          <a:pt x="1166127" y="6548"/>
                          <a:pt x="1068288" y="15776"/>
                          <a:pt x="763846" y="27432"/>
                        </a:cubicBezTo>
                        <a:cubicBezTo>
                          <a:pt x="459404" y="39088"/>
                          <a:pt x="170017" y="14515"/>
                          <a:pt x="0" y="27432"/>
                        </a:cubicBezTo>
                        <a:cubicBezTo>
                          <a:pt x="-14" y="18173"/>
                          <a:pt x="-517" y="8990"/>
                          <a:pt x="0" y="0"/>
                        </a:cubicBezTo>
                        <a:close/>
                      </a:path>
                      <a:path w="6365383" h="27432" stroke="0" extrusionOk="0">
                        <a:moveTo>
                          <a:pt x="0" y="0"/>
                        </a:moveTo>
                        <a:cubicBezTo>
                          <a:pt x="114610" y="-2215"/>
                          <a:pt x="340315" y="12554"/>
                          <a:pt x="572884" y="0"/>
                        </a:cubicBezTo>
                        <a:cubicBezTo>
                          <a:pt x="805453" y="-12554"/>
                          <a:pt x="832891" y="-10424"/>
                          <a:pt x="1018461" y="0"/>
                        </a:cubicBezTo>
                        <a:cubicBezTo>
                          <a:pt x="1204031" y="10424"/>
                          <a:pt x="1590875" y="8682"/>
                          <a:pt x="1782307" y="0"/>
                        </a:cubicBezTo>
                        <a:cubicBezTo>
                          <a:pt x="1973739" y="-8682"/>
                          <a:pt x="2150876" y="5508"/>
                          <a:pt x="2355192" y="0"/>
                        </a:cubicBezTo>
                        <a:cubicBezTo>
                          <a:pt x="2559508" y="-5508"/>
                          <a:pt x="2790194" y="26965"/>
                          <a:pt x="2928076" y="0"/>
                        </a:cubicBezTo>
                        <a:cubicBezTo>
                          <a:pt x="3065958" y="-26965"/>
                          <a:pt x="3321537" y="819"/>
                          <a:pt x="3691922" y="0"/>
                        </a:cubicBezTo>
                        <a:cubicBezTo>
                          <a:pt x="4062307" y="-819"/>
                          <a:pt x="4072238" y="-15327"/>
                          <a:pt x="4201153" y="0"/>
                        </a:cubicBezTo>
                        <a:cubicBezTo>
                          <a:pt x="4330068" y="15327"/>
                          <a:pt x="4772079" y="-35646"/>
                          <a:pt x="4964999" y="0"/>
                        </a:cubicBezTo>
                        <a:cubicBezTo>
                          <a:pt x="5157919" y="35646"/>
                          <a:pt x="5543915" y="6802"/>
                          <a:pt x="5728845" y="0"/>
                        </a:cubicBezTo>
                        <a:cubicBezTo>
                          <a:pt x="5913775" y="-6802"/>
                          <a:pt x="6142952" y="-21408"/>
                          <a:pt x="6365383" y="0"/>
                        </a:cubicBezTo>
                        <a:cubicBezTo>
                          <a:pt x="6364552" y="6329"/>
                          <a:pt x="6365787" y="16858"/>
                          <a:pt x="6365383" y="27432"/>
                        </a:cubicBezTo>
                        <a:cubicBezTo>
                          <a:pt x="6176931" y="320"/>
                          <a:pt x="5998736" y="11244"/>
                          <a:pt x="5665191" y="27432"/>
                        </a:cubicBezTo>
                        <a:cubicBezTo>
                          <a:pt x="5331646" y="43620"/>
                          <a:pt x="5198011" y="28615"/>
                          <a:pt x="4901345" y="27432"/>
                        </a:cubicBezTo>
                        <a:cubicBezTo>
                          <a:pt x="4604679" y="26249"/>
                          <a:pt x="4422931" y="40617"/>
                          <a:pt x="4137499" y="27432"/>
                        </a:cubicBezTo>
                        <a:cubicBezTo>
                          <a:pt x="3852067" y="14247"/>
                          <a:pt x="3861939" y="26581"/>
                          <a:pt x="3628268" y="27432"/>
                        </a:cubicBezTo>
                        <a:cubicBezTo>
                          <a:pt x="3394597" y="28283"/>
                          <a:pt x="3171361" y="44132"/>
                          <a:pt x="2991730" y="27432"/>
                        </a:cubicBezTo>
                        <a:cubicBezTo>
                          <a:pt x="2812099" y="10732"/>
                          <a:pt x="2469344" y="24737"/>
                          <a:pt x="2227884" y="27432"/>
                        </a:cubicBezTo>
                        <a:cubicBezTo>
                          <a:pt x="1986424" y="30127"/>
                          <a:pt x="1748067" y="6359"/>
                          <a:pt x="1591346" y="27432"/>
                        </a:cubicBezTo>
                        <a:cubicBezTo>
                          <a:pt x="1434625" y="48505"/>
                          <a:pt x="1307456" y="39663"/>
                          <a:pt x="1145769" y="27432"/>
                        </a:cubicBezTo>
                        <a:cubicBezTo>
                          <a:pt x="984082" y="15201"/>
                          <a:pt x="800279" y="41647"/>
                          <a:pt x="636538" y="27432"/>
                        </a:cubicBezTo>
                        <a:cubicBezTo>
                          <a:pt x="472797" y="13217"/>
                          <a:pt x="160022" y="2213"/>
                          <a:pt x="0" y="27432"/>
                        </a:cubicBezTo>
                        <a:cubicBezTo>
                          <a:pt x="-177" y="19307"/>
                          <a:pt x="-1145" y="9170"/>
                          <a:pt x="0" y="0"/>
                        </a:cubicBezTo>
                        <a:close/>
                      </a:path>
                    </a:pathLst>
                  </a:cu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4353709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6"/>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4"/>
          <a:srcRect/>
          <a:stretch>
            <a:fillRect/>
          </a:stretch>
        </p:blipFill>
        <p:spPr>
          <a:xfrm>
            <a:off x="0" y="8901113"/>
            <a:ext cx="5715000" cy="1385887"/>
          </a:xfrm>
          <a:prstGeom prst="rect">
            <a:avLst/>
          </a:prstGeom>
        </p:spPr>
      </p:pic>
      <p:grpSp>
        <p:nvGrpSpPr>
          <p:cNvPr id="2" name="Gruppo 1">
            <a:extLst>
              <a:ext uri="{FF2B5EF4-FFF2-40B4-BE49-F238E27FC236}">
                <a16:creationId xmlns:a16="http://schemas.microsoft.com/office/drawing/2014/main" id="{D8D71BB5-458F-411D-AFA9-C648954E9F40}"/>
              </a:ext>
            </a:extLst>
          </p:cNvPr>
          <p:cNvGrpSpPr/>
          <p:nvPr/>
        </p:nvGrpSpPr>
        <p:grpSpPr>
          <a:xfrm>
            <a:off x="-12" y="138554"/>
            <a:ext cx="18288002" cy="681138"/>
            <a:chOff x="-12" y="138554"/>
            <a:chExt cx="18288002" cy="681138"/>
          </a:xfrm>
        </p:grpSpPr>
        <p:grpSp>
          <p:nvGrpSpPr>
            <p:cNvPr id="16" name="Gruppo 15">
              <a:extLst>
                <a:ext uri="{FF2B5EF4-FFF2-40B4-BE49-F238E27FC236}">
                  <a16:creationId xmlns:a16="http://schemas.microsoft.com/office/drawing/2014/main" id="{DAC42A46-917D-41AB-8F07-E15E54D0F7D4}"/>
                </a:ext>
              </a:extLst>
            </p:cNvPr>
            <p:cNvGrpSpPr/>
            <p:nvPr/>
          </p:nvGrpSpPr>
          <p:grpSpPr>
            <a:xfrm>
              <a:off x="0" y="153125"/>
              <a:ext cx="13958844" cy="666567"/>
              <a:chOff x="0" y="153125"/>
              <a:chExt cx="13958844" cy="666567"/>
            </a:xfrm>
          </p:grpSpPr>
          <p:pic>
            <p:nvPicPr>
              <p:cNvPr id="10" name="Picture 10"/>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1" name="TextBox 11"/>
              <p:cNvSpPr txBox="1"/>
              <p:nvPr/>
            </p:nvSpPr>
            <p:spPr>
              <a:xfrm>
                <a:off x="228600" y="257980"/>
                <a:ext cx="5752704" cy="456856"/>
              </a:xfrm>
              <a:prstGeom prst="rect">
                <a:avLst/>
              </a:prstGeom>
            </p:spPr>
            <p:txBody>
              <a:bodyPr wrap="square" lIns="0" tIns="0" rIns="0" bIns="0" rtlCol="0" anchor="t">
                <a:spAutoFit/>
              </a:bodyPr>
              <a:lstStyle/>
              <a:p>
                <a:pPr>
                  <a:lnSpc>
                    <a:spcPts val="3919"/>
                  </a:lnSpc>
                  <a:spcBef>
                    <a:spcPct val="0"/>
                  </a:spcBef>
                </a:pPr>
                <a:endParaRPr lang="en-US" sz="2800" b="1">
                  <a:solidFill>
                    <a:srgbClr val="FFFFFF"/>
                  </a:solidFill>
                  <a:latin typeface="Arial" panose="020B0604020202020204" pitchFamily="34" charset="0"/>
                  <a:cs typeface="Arial" panose="020B0604020202020204" pitchFamily="34" charset="0"/>
                </a:endParaRPr>
              </a:p>
            </p:txBody>
          </p:sp>
        </p:grpSp>
        <p:sp>
          <p:nvSpPr>
            <p:cNvPr id="12" name="Rettangolo 11">
              <a:extLst>
                <a:ext uri="{FF2B5EF4-FFF2-40B4-BE49-F238E27FC236}">
                  <a16:creationId xmlns:a16="http://schemas.microsoft.com/office/drawing/2014/main" id="{F2E90E36-F5DF-479E-BF3B-C6F6A1CEA4E7}"/>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4" name="TextBox 14">
            <a:extLst>
              <a:ext uri="{FF2B5EF4-FFF2-40B4-BE49-F238E27FC236}">
                <a16:creationId xmlns:a16="http://schemas.microsoft.com/office/drawing/2014/main" id="{2E5C4BC6-D32C-42B6-910C-B52E1E980240}"/>
              </a:ext>
            </a:extLst>
          </p:cNvPr>
          <p:cNvSpPr txBox="1"/>
          <p:nvPr/>
        </p:nvSpPr>
        <p:spPr>
          <a:xfrm>
            <a:off x="838189" y="1102822"/>
            <a:ext cx="16611600" cy="984885"/>
          </a:xfrm>
          <a:prstGeom prst="rect">
            <a:avLst/>
          </a:prstGeom>
        </p:spPr>
        <p:txBody>
          <a:bodyPr wrap="square" lIns="0" tIns="0" rIns="0" bIns="0" rtlCol="0" anchor="t">
            <a:spAutoFit/>
          </a:bodyPr>
          <a:lstStyle/>
          <a:p>
            <a:pPr algn="ctr">
              <a:buClr>
                <a:schemeClr val="accent5"/>
              </a:buClr>
            </a:pPr>
            <a:r>
              <a:rPr lang="en-US" sz="6400" b="1">
                <a:solidFill>
                  <a:schemeClr val="accent1"/>
                </a:solidFill>
              </a:rPr>
              <a:t>Expected impacts</a:t>
            </a:r>
          </a:p>
        </p:txBody>
      </p:sp>
      <p:sp>
        <p:nvSpPr>
          <p:cNvPr id="13" name="TextBox 14">
            <a:extLst>
              <a:ext uri="{FF2B5EF4-FFF2-40B4-BE49-F238E27FC236}">
                <a16:creationId xmlns:a16="http://schemas.microsoft.com/office/drawing/2014/main" id="{5A19E446-F4F0-4FC8-B5CF-05BB45A43215}"/>
              </a:ext>
            </a:extLst>
          </p:cNvPr>
          <p:cNvSpPr txBox="1"/>
          <p:nvPr/>
        </p:nvSpPr>
        <p:spPr>
          <a:xfrm>
            <a:off x="800100" y="3263570"/>
            <a:ext cx="2057400" cy="369332"/>
          </a:xfrm>
          <a:prstGeom prst="rect">
            <a:avLst/>
          </a:prstGeom>
        </p:spPr>
        <p:txBody>
          <a:bodyPr wrap="square" lIns="0" tIns="0" rIns="0" bIns="0" rtlCol="0" anchor="t">
            <a:spAutoFit/>
          </a:bodyPr>
          <a:lstStyle/>
          <a:p>
            <a:pPr algn="ctr">
              <a:buClr>
                <a:schemeClr val="accent5"/>
              </a:buClr>
            </a:pPr>
            <a:r>
              <a:rPr lang="en-US" sz="2400" b="1">
                <a:solidFill>
                  <a:schemeClr val="accent1"/>
                </a:solidFill>
              </a:rPr>
              <a:t>TORRECID</a:t>
            </a:r>
          </a:p>
        </p:txBody>
      </p:sp>
      <p:pic>
        <p:nvPicPr>
          <p:cNvPr id="5" name="Imagen 4">
            <a:extLst>
              <a:ext uri="{FF2B5EF4-FFF2-40B4-BE49-F238E27FC236}">
                <a16:creationId xmlns:a16="http://schemas.microsoft.com/office/drawing/2014/main" id="{247A3B58-602D-42B9-B8A4-2A9B2E135370}"/>
              </a:ext>
            </a:extLst>
          </p:cNvPr>
          <p:cNvPicPr>
            <a:picLocks noChangeAspect="1"/>
          </p:cNvPicPr>
          <p:nvPr/>
        </p:nvPicPr>
        <p:blipFill>
          <a:blip r:embed="rId6"/>
          <a:stretch>
            <a:fillRect/>
          </a:stretch>
        </p:blipFill>
        <p:spPr>
          <a:xfrm>
            <a:off x="3491339" y="2660554"/>
            <a:ext cx="12726850" cy="1821479"/>
          </a:xfrm>
          <a:prstGeom prst="rect">
            <a:avLst/>
          </a:prstGeom>
        </p:spPr>
      </p:pic>
      <p:pic>
        <p:nvPicPr>
          <p:cNvPr id="7" name="Imagen 6">
            <a:extLst>
              <a:ext uri="{FF2B5EF4-FFF2-40B4-BE49-F238E27FC236}">
                <a16:creationId xmlns:a16="http://schemas.microsoft.com/office/drawing/2014/main" id="{6B344ED6-DB52-4500-94A4-642E8EF0ACCA}"/>
              </a:ext>
            </a:extLst>
          </p:cNvPr>
          <p:cNvPicPr>
            <a:picLocks noChangeAspect="1"/>
          </p:cNvPicPr>
          <p:nvPr/>
        </p:nvPicPr>
        <p:blipFill>
          <a:blip r:embed="rId7"/>
          <a:stretch>
            <a:fillRect/>
          </a:stretch>
        </p:blipFill>
        <p:spPr>
          <a:xfrm>
            <a:off x="3491340" y="4852083"/>
            <a:ext cx="12726850" cy="1821479"/>
          </a:xfrm>
          <a:prstGeom prst="rect">
            <a:avLst/>
          </a:prstGeom>
        </p:spPr>
      </p:pic>
      <p:sp>
        <p:nvSpPr>
          <p:cNvPr id="21" name="TextBox 14">
            <a:extLst>
              <a:ext uri="{FF2B5EF4-FFF2-40B4-BE49-F238E27FC236}">
                <a16:creationId xmlns:a16="http://schemas.microsoft.com/office/drawing/2014/main" id="{EC34C639-488C-4BFB-9D88-6DEC0282EEFB}"/>
              </a:ext>
            </a:extLst>
          </p:cNvPr>
          <p:cNvSpPr txBox="1"/>
          <p:nvPr/>
        </p:nvSpPr>
        <p:spPr>
          <a:xfrm>
            <a:off x="800100" y="5498224"/>
            <a:ext cx="2057400" cy="369332"/>
          </a:xfrm>
          <a:prstGeom prst="rect">
            <a:avLst/>
          </a:prstGeom>
        </p:spPr>
        <p:txBody>
          <a:bodyPr wrap="square" lIns="0" tIns="0" rIns="0" bIns="0" rtlCol="0" anchor="t">
            <a:spAutoFit/>
          </a:bodyPr>
          <a:lstStyle/>
          <a:p>
            <a:pPr algn="ctr">
              <a:buClr>
                <a:schemeClr val="accent5"/>
              </a:buClr>
            </a:pPr>
            <a:r>
              <a:rPr lang="en-US" sz="2400" b="1">
                <a:solidFill>
                  <a:schemeClr val="accent1"/>
                </a:solidFill>
              </a:rPr>
              <a:t>SECIL</a:t>
            </a:r>
          </a:p>
        </p:txBody>
      </p:sp>
      <p:pic>
        <p:nvPicPr>
          <p:cNvPr id="9" name="Imagen 8">
            <a:extLst>
              <a:ext uri="{FF2B5EF4-FFF2-40B4-BE49-F238E27FC236}">
                <a16:creationId xmlns:a16="http://schemas.microsoft.com/office/drawing/2014/main" id="{E5D8E992-BC69-44E5-835D-711613FC73CD}"/>
              </a:ext>
            </a:extLst>
          </p:cNvPr>
          <p:cNvPicPr>
            <a:picLocks noChangeAspect="1"/>
          </p:cNvPicPr>
          <p:nvPr/>
        </p:nvPicPr>
        <p:blipFill>
          <a:blip r:embed="rId8"/>
          <a:stretch>
            <a:fillRect/>
          </a:stretch>
        </p:blipFill>
        <p:spPr>
          <a:xfrm>
            <a:off x="3491339" y="6957934"/>
            <a:ext cx="12741657" cy="1808417"/>
          </a:xfrm>
          <a:prstGeom prst="rect">
            <a:avLst/>
          </a:prstGeom>
        </p:spPr>
      </p:pic>
      <p:sp>
        <p:nvSpPr>
          <p:cNvPr id="22" name="TextBox 14">
            <a:extLst>
              <a:ext uri="{FF2B5EF4-FFF2-40B4-BE49-F238E27FC236}">
                <a16:creationId xmlns:a16="http://schemas.microsoft.com/office/drawing/2014/main" id="{03AB94D1-7AE0-46EA-8816-4BAD01410A8E}"/>
              </a:ext>
            </a:extLst>
          </p:cNvPr>
          <p:cNvSpPr txBox="1"/>
          <p:nvPr/>
        </p:nvSpPr>
        <p:spPr>
          <a:xfrm>
            <a:off x="819139" y="7682650"/>
            <a:ext cx="2057400" cy="369332"/>
          </a:xfrm>
          <a:prstGeom prst="rect">
            <a:avLst/>
          </a:prstGeom>
        </p:spPr>
        <p:txBody>
          <a:bodyPr wrap="square" lIns="0" tIns="0" rIns="0" bIns="0" rtlCol="0" anchor="t">
            <a:spAutoFit/>
          </a:bodyPr>
          <a:lstStyle/>
          <a:p>
            <a:pPr algn="ctr">
              <a:buClr>
                <a:schemeClr val="accent5"/>
              </a:buClr>
            </a:pPr>
            <a:r>
              <a:rPr lang="en-US" sz="2400" b="1">
                <a:solidFill>
                  <a:schemeClr val="accent1"/>
                </a:solidFill>
              </a:rPr>
              <a:t>ASAS</a:t>
            </a:r>
          </a:p>
        </p:txBody>
      </p:sp>
    </p:spTree>
    <p:extLst>
      <p:ext uri="{BB962C8B-B14F-4D97-AF65-F5344CB8AC3E}">
        <p14:creationId xmlns:p14="http://schemas.microsoft.com/office/powerpoint/2010/main" val="3957283506"/>
      </p:ext>
    </p:extLst>
  </p:cSld>
  <p:clrMapOvr>
    <a:masterClrMapping/>
  </p:clrMapOvr>
  <mc:AlternateContent xmlns:mc="http://schemas.openxmlformats.org/markup-compatibility/2006" xmlns:p14="http://schemas.microsoft.com/office/powerpoint/2010/main">
    <mc:Choice Requires="p14">
      <p:transition spd="slow" p14:dur="2000" advTm="38635"/>
    </mc:Choice>
    <mc:Fallback xmlns="">
      <p:transition spd="slow" advTm="38635"/>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6"/>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4"/>
          <a:srcRect/>
          <a:stretch>
            <a:fillRect/>
          </a:stretch>
        </p:blipFill>
        <p:spPr>
          <a:xfrm>
            <a:off x="0" y="8901113"/>
            <a:ext cx="5715000" cy="1385887"/>
          </a:xfrm>
          <a:prstGeom prst="rect">
            <a:avLst/>
          </a:prstGeom>
        </p:spPr>
      </p:pic>
      <p:grpSp>
        <p:nvGrpSpPr>
          <p:cNvPr id="2" name="Gruppo 1">
            <a:extLst>
              <a:ext uri="{FF2B5EF4-FFF2-40B4-BE49-F238E27FC236}">
                <a16:creationId xmlns:a16="http://schemas.microsoft.com/office/drawing/2014/main" id="{D8D71BB5-458F-411D-AFA9-C648954E9F40}"/>
              </a:ext>
            </a:extLst>
          </p:cNvPr>
          <p:cNvGrpSpPr/>
          <p:nvPr/>
        </p:nvGrpSpPr>
        <p:grpSpPr>
          <a:xfrm>
            <a:off x="-12" y="138554"/>
            <a:ext cx="18288002" cy="681138"/>
            <a:chOff x="-12" y="138554"/>
            <a:chExt cx="18288002" cy="681138"/>
          </a:xfrm>
        </p:grpSpPr>
        <p:grpSp>
          <p:nvGrpSpPr>
            <p:cNvPr id="16" name="Gruppo 15">
              <a:extLst>
                <a:ext uri="{FF2B5EF4-FFF2-40B4-BE49-F238E27FC236}">
                  <a16:creationId xmlns:a16="http://schemas.microsoft.com/office/drawing/2014/main" id="{DAC42A46-917D-41AB-8F07-E15E54D0F7D4}"/>
                </a:ext>
              </a:extLst>
            </p:cNvPr>
            <p:cNvGrpSpPr/>
            <p:nvPr/>
          </p:nvGrpSpPr>
          <p:grpSpPr>
            <a:xfrm>
              <a:off x="0" y="153125"/>
              <a:ext cx="13958844" cy="666567"/>
              <a:chOff x="0" y="153125"/>
              <a:chExt cx="13958844" cy="666567"/>
            </a:xfrm>
          </p:grpSpPr>
          <p:pic>
            <p:nvPicPr>
              <p:cNvPr id="10" name="Picture 10"/>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1" name="TextBox 11"/>
              <p:cNvSpPr txBox="1"/>
              <p:nvPr/>
            </p:nvSpPr>
            <p:spPr>
              <a:xfrm>
                <a:off x="228600" y="257980"/>
                <a:ext cx="5752704" cy="456856"/>
              </a:xfrm>
              <a:prstGeom prst="rect">
                <a:avLst/>
              </a:prstGeom>
            </p:spPr>
            <p:txBody>
              <a:bodyPr wrap="square" lIns="0" tIns="0" rIns="0" bIns="0" rtlCol="0" anchor="t">
                <a:spAutoFit/>
              </a:bodyPr>
              <a:lstStyle/>
              <a:p>
                <a:pPr>
                  <a:lnSpc>
                    <a:spcPts val="3919"/>
                  </a:lnSpc>
                  <a:spcBef>
                    <a:spcPct val="0"/>
                  </a:spcBef>
                </a:pPr>
                <a:endParaRPr lang="en-US" sz="2800" b="1">
                  <a:solidFill>
                    <a:srgbClr val="FFFFFF"/>
                  </a:solidFill>
                  <a:latin typeface="Arial" panose="020B0604020202020204" pitchFamily="34" charset="0"/>
                  <a:cs typeface="Arial" panose="020B0604020202020204" pitchFamily="34" charset="0"/>
                </a:endParaRPr>
              </a:p>
            </p:txBody>
          </p:sp>
        </p:grpSp>
        <p:sp>
          <p:nvSpPr>
            <p:cNvPr id="12" name="Rettangolo 11">
              <a:extLst>
                <a:ext uri="{FF2B5EF4-FFF2-40B4-BE49-F238E27FC236}">
                  <a16:creationId xmlns:a16="http://schemas.microsoft.com/office/drawing/2014/main" id="{F2E90E36-F5DF-479E-BF3B-C6F6A1CEA4E7}"/>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4" name="TextBox 14">
            <a:extLst>
              <a:ext uri="{FF2B5EF4-FFF2-40B4-BE49-F238E27FC236}">
                <a16:creationId xmlns:a16="http://schemas.microsoft.com/office/drawing/2014/main" id="{2E5C4BC6-D32C-42B6-910C-B52E1E980240}"/>
              </a:ext>
            </a:extLst>
          </p:cNvPr>
          <p:cNvSpPr txBox="1"/>
          <p:nvPr/>
        </p:nvSpPr>
        <p:spPr>
          <a:xfrm>
            <a:off x="685800" y="919390"/>
            <a:ext cx="16611600" cy="984885"/>
          </a:xfrm>
          <a:prstGeom prst="rect">
            <a:avLst/>
          </a:prstGeom>
        </p:spPr>
        <p:txBody>
          <a:bodyPr wrap="square" lIns="0" tIns="0" rIns="0" bIns="0" rtlCol="0" anchor="t">
            <a:spAutoFit/>
          </a:bodyPr>
          <a:lstStyle/>
          <a:p>
            <a:pPr algn="ctr">
              <a:buClr>
                <a:schemeClr val="accent5"/>
              </a:buClr>
            </a:pPr>
            <a:r>
              <a:rPr lang="en-US" sz="6400" b="1">
                <a:solidFill>
                  <a:schemeClr val="accent1"/>
                </a:solidFill>
              </a:rPr>
              <a:t>Expected impacts</a:t>
            </a:r>
          </a:p>
        </p:txBody>
      </p:sp>
      <p:sp>
        <p:nvSpPr>
          <p:cNvPr id="21" name="TextBox 14">
            <a:extLst>
              <a:ext uri="{FF2B5EF4-FFF2-40B4-BE49-F238E27FC236}">
                <a16:creationId xmlns:a16="http://schemas.microsoft.com/office/drawing/2014/main" id="{EC34C639-488C-4BFB-9D88-6DEC0282EEFB}"/>
              </a:ext>
            </a:extLst>
          </p:cNvPr>
          <p:cNvSpPr txBox="1"/>
          <p:nvPr/>
        </p:nvSpPr>
        <p:spPr>
          <a:xfrm>
            <a:off x="1182961" y="3576607"/>
            <a:ext cx="2057400" cy="369332"/>
          </a:xfrm>
          <a:prstGeom prst="rect">
            <a:avLst/>
          </a:prstGeom>
        </p:spPr>
        <p:txBody>
          <a:bodyPr wrap="square" lIns="0" tIns="0" rIns="0" bIns="0" rtlCol="0" anchor="t">
            <a:spAutoFit/>
          </a:bodyPr>
          <a:lstStyle/>
          <a:p>
            <a:pPr algn="ctr">
              <a:buClr>
                <a:schemeClr val="accent5"/>
              </a:buClr>
            </a:pPr>
            <a:r>
              <a:rPr lang="en-US" sz="2400" b="1">
                <a:solidFill>
                  <a:schemeClr val="accent1"/>
                </a:solidFill>
              </a:rPr>
              <a:t>SILCOTUB</a:t>
            </a:r>
          </a:p>
        </p:txBody>
      </p:sp>
      <p:graphicFrame>
        <p:nvGraphicFramePr>
          <p:cNvPr id="25" name="Table 24">
            <a:extLst>
              <a:ext uri="{FF2B5EF4-FFF2-40B4-BE49-F238E27FC236}">
                <a16:creationId xmlns:a16="http://schemas.microsoft.com/office/drawing/2014/main" id="{5E64C09C-EB24-A63F-1C1C-2DDAC84A868C}"/>
              </a:ext>
            </a:extLst>
          </p:cNvPr>
          <p:cNvGraphicFramePr>
            <a:graphicFrameLocks noGrp="1"/>
          </p:cNvGraphicFramePr>
          <p:nvPr>
            <p:extLst>
              <p:ext uri="{D42A27DB-BD31-4B8C-83A1-F6EECF244321}">
                <p14:modId xmlns:p14="http://schemas.microsoft.com/office/powerpoint/2010/main" val="421147964"/>
              </p:ext>
            </p:extLst>
          </p:nvPr>
        </p:nvGraphicFramePr>
        <p:xfrm>
          <a:off x="4288263" y="2674807"/>
          <a:ext cx="12054480" cy="1829959"/>
        </p:xfrm>
        <a:graphic>
          <a:graphicData uri="http://schemas.openxmlformats.org/drawingml/2006/table">
            <a:tbl>
              <a:tblPr firstRow="1" firstCol="1" bandRow="1"/>
              <a:tblGrid>
                <a:gridCol w="2008686">
                  <a:extLst>
                    <a:ext uri="{9D8B030D-6E8A-4147-A177-3AD203B41FA5}">
                      <a16:colId xmlns:a16="http://schemas.microsoft.com/office/drawing/2014/main" val="264688941"/>
                    </a:ext>
                  </a:extLst>
                </a:gridCol>
                <a:gridCol w="2008686">
                  <a:extLst>
                    <a:ext uri="{9D8B030D-6E8A-4147-A177-3AD203B41FA5}">
                      <a16:colId xmlns:a16="http://schemas.microsoft.com/office/drawing/2014/main" val="3003430678"/>
                    </a:ext>
                  </a:extLst>
                </a:gridCol>
                <a:gridCol w="2008686">
                  <a:extLst>
                    <a:ext uri="{9D8B030D-6E8A-4147-A177-3AD203B41FA5}">
                      <a16:colId xmlns:a16="http://schemas.microsoft.com/office/drawing/2014/main" val="453120474"/>
                    </a:ext>
                  </a:extLst>
                </a:gridCol>
                <a:gridCol w="2008686">
                  <a:extLst>
                    <a:ext uri="{9D8B030D-6E8A-4147-A177-3AD203B41FA5}">
                      <a16:colId xmlns:a16="http://schemas.microsoft.com/office/drawing/2014/main" val="2204631708"/>
                    </a:ext>
                  </a:extLst>
                </a:gridCol>
                <a:gridCol w="2009868">
                  <a:extLst>
                    <a:ext uri="{9D8B030D-6E8A-4147-A177-3AD203B41FA5}">
                      <a16:colId xmlns:a16="http://schemas.microsoft.com/office/drawing/2014/main" val="775007436"/>
                    </a:ext>
                  </a:extLst>
                </a:gridCol>
                <a:gridCol w="2009868">
                  <a:extLst>
                    <a:ext uri="{9D8B030D-6E8A-4147-A177-3AD203B41FA5}">
                      <a16:colId xmlns:a16="http://schemas.microsoft.com/office/drawing/2014/main" val="830894536"/>
                    </a:ext>
                  </a:extLst>
                </a:gridCol>
              </a:tblGrid>
              <a:tr h="597537">
                <a:tc>
                  <a:txBody>
                    <a:bodyPr/>
                    <a:lstStyle/>
                    <a:p>
                      <a:pPr algn="ctr">
                        <a:spcBef>
                          <a:spcPts val="600"/>
                        </a:spcBef>
                        <a:spcAft>
                          <a:spcPts val="600"/>
                        </a:spcAft>
                      </a:pPr>
                      <a:r>
                        <a:rPr lang="en-GB" sz="1600" b="1">
                          <a:solidFill>
                            <a:srgbClr val="FFFFFF"/>
                          </a:solidFill>
                          <a:effectLst/>
                          <a:latin typeface="Times New Roman" panose="02020603050405020304" pitchFamily="18" charset="0"/>
                          <a:ea typeface="SimSun" panose="02010600030101010101" pitchFamily="2" charset="-122"/>
                        </a:rPr>
                        <a:t>Resource efficiency</a:t>
                      </a:r>
                      <a:endParaRPr lang="es-ES" sz="2000">
                        <a:effectLst/>
                        <a:latin typeface="Times New Roman" panose="02020603050405020304" pitchFamily="18" charset="0"/>
                        <a:ea typeface="SimSun" panose="02010600030101010101" pitchFamily="2" charset="-122"/>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C0"/>
                    </a:solidFill>
                  </a:tcPr>
                </a:tc>
                <a:tc>
                  <a:txBody>
                    <a:bodyPr/>
                    <a:lstStyle/>
                    <a:p>
                      <a:pPr algn="ctr">
                        <a:spcBef>
                          <a:spcPts val="600"/>
                        </a:spcBef>
                        <a:spcAft>
                          <a:spcPts val="600"/>
                        </a:spcAft>
                      </a:pPr>
                      <a:r>
                        <a:rPr lang="en-GB" sz="1600" b="1">
                          <a:solidFill>
                            <a:srgbClr val="FFFFFF"/>
                          </a:solidFill>
                          <a:effectLst/>
                          <a:latin typeface="Times New Roman" panose="02020603050405020304" pitchFamily="18" charset="0"/>
                          <a:ea typeface="SimSun" panose="02010600030101010101" pitchFamily="2" charset="-122"/>
                        </a:rPr>
                        <a:t>Energy efficiency</a:t>
                      </a:r>
                      <a:endParaRPr lang="es-ES" sz="2000">
                        <a:effectLst/>
                        <a:latin typeface="Times New Roman" panose="02020603050405020304" pitchFamily="18" charset="0"/>
                        <a:ea typeface="SimSun" panose="02010600030101010101" pitchFamily="2" charset="-122"/>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C0"/>
                    </a:solidFill>
                  </a:tcPr>
                </a:tc>
                <a:tc>
                  <a:txBody>
                    <a:bodyPr/>
                    <a:lstStyle/>
                    <a:p>
                      <a:pPr algn="ctr">
                        <a:spcBef>
                          <a:spcPts val="600"/>
                        </a:spcBef>
                        <a:spcAft>
                          <a:spcPts val="600"/>
                        </a:spcAft>
                      </a:pPr>
                      <a:r>
                        <a:rPr lang="en-GB" sz="1600" b="1">
                          <a:solidFill>
                            <a:srgbClr val="FFFFFF"/>
                          </a:solidFill>
                          <a:effectLst/>
                          <a:latin typeface="Times New Roman" panose="02020603050405020304" pitchFamily="18" charset="0"/>
                          <a:ea typeface="SimSun" panose="02010600030101010101" pitchFamily="2" charset="-122"/>
                        </a:rPr>
                        <a:t>GHG emissions</a:t>
                      </a:r>
                      <a:endParaRPr lang="es-ES" sz="2000">
                        <a:effectLst/>
                        <a:latin typeface="Times New Roman" panose="02020603050405020304" pitchFamily="18" charset="0"/>
                        <a:ea typeface="SimSun" panose="02010600030101010101" pitchFamily="2" charset="-122"/>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C0"/>
                    </a:solidFill>
                  </a:tcPr>
                </a:tc>
                <a:tc>
                  <a:txBody>
                    <a:bodyPr/>
                    <a:lstStyle/>
                    <a:p>
                      <a:pPr algn="ctr">
                        <a:spcBef>
                          <a:spcPts val="600"/>
                        </a:spcBef>
                        <a:spcAft>
                          <a:spcPts val="600"/>
                        </a:spcAft>
                      </a:pPr>
                      <a:r>
                        <a:rPr lang="en-GB" sz="1600" b="1">
                          <a:solidFill>
                            <a:srgbClr val="FFFFFF"/>
                          </a:solidFill>
                          <a:effectLst/>
                          <a:latin typeface="Times New Roman" panose="02020603050405020304" pitchFamily="18" charset="0"/>
                          <a:ea typeface="SimSun" panose="02010600030101010101" pitchFamily="2" charset="-122"/>
                        </a:rPr>
                        <a:t>Fossil resources use</a:t>
                      </a:r>
                      <a:endParaRPr lang="es-ES" sz="2000">
                        <a:effectLst/>
                        <a:latin typeface="Times New Roman" panose="02020603050405020304" pitchFamily="18" charset="0"/>
                        <a:ea typeface="SimSun" panose="02010600030101010101" pitchFamily="2" charset="-122"/>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C0"/>
                    </a:solidFill>
                  </a:tcPr>
                </a:tc>
                <a:tc>
                  <a:txBody>
                    <a:bodyPr/>
                    <a:lstStyle/>
                    <a:p>
                      <a:pPr algn="ctr">
                        <a:spcBef>
                          <a:spcPts val="600"/>
                        </a:spcBef>
                        <a:spcAft>
                          <a:spcPts val="600"/>
                        </a:spcAft>
                      </a:pPr>
                      <a:r>
                        <a:rPr lang="en-GB" sz="1600" b="1">
                          <a:solidFill>
                            <a:srgbClr val="FFFFFF"/>
                          </a:solidFill>
                          <a:effectLst/>
                          <a:latin typeface="Times New Roman" panose="02020603050405020304" pitchFamily="18" charset="0"/>
                          <a:ea typeface="SimSun" panose="02010600030101010101" pitchFamily="2" charset="-122"/>
                        </a:rPr>
                        <a:t>OPEX</a:t>
                      </a:r>
                      <a:endParaRPr lang="es-ES" sz="2000">
                        <a:effectLst/>
                        <a:latin typeface="Times New Roman" panose="02020603050405020304" pitchFamily="18" charset="0"/>
                        <a:ea typeface="SimSun" panose="02010600030101010101" pitchFamily="2" charset="-122"/>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C0"/>
                    </a:solidFill>
                  </a:tcPr>
                </a:tc>
                <a:tc>
                  <a:txBody>
                    <a:bodyPr/>
                    <a:lstStyle/>
                    <a:p>
                      <a:pPr algn="ctr">
                        <a:spcBef>
                          <a:spcPts val="600"/>
                        </a:spcBef>
                        <a:spcAft>
                          <a:spcPts val="600"/>
                        </a:spcAft>
                      </a:pPr>
                      <a:r>
                        <a:rPr lang="en-GB" sz="1600" b="1">
                          <a:solidFill>
                            <a:srgbClr val="FFFFFF"/>
                          </a:solidFill>
                          <a:effectLst/>
                          <a:latin typeface="Times New Roman" panose="02020603050405020304" pitchFamily="18" charset="0"/>
                          <a:ea typeface="SimSun" panose="02010600030101010101" pitchFamily="2" charset="-122"/>
                        </a:rPr>
                        <a:t>Productivity</a:t>
                      </a:r>
                      <a:endParaRPr lang="es-ES" sz="2000">
                        <a:effectLst/>
                        <a:latin typeface="Times New Roman" panose="02020603050405020304" pitchFamily="18" charset="0"/>
                        <a:ea typeface="SimSun" panose="02010600030101010101" pitchFamily="2" charset="-122"/>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C0"/>
                    </a:solidFill>
                  </a:tcPr>
                </a:tc>
                <a:extLst>
                  <a:ext uri="{0D108BD9-81ED-4DB2-BD59-A6C34878D82A}">
                    <a16:rowId xmlns:a16="http://schemas.microsoft.com/office/drawing/2014/main" val="2010119833"/>
                  </a:ext>
                </a:extLst>
              </a:tr>
              <a:tr h="1232422">
                <a:tc>
                  <a:txBody>
                    <a:bodyPr/>
                    <a:lstStyle/>
                    <a:p>
                      <a:pPr algn="ctr">
                        <a:spcBef>
                          <a:spcPts val="600"/>
                        </a:spcBef>
                        <a:spcAft>
                          <a:spcPts val="600"/>
                        </a:spcAft>
                      </a:pPr>
                      <a:r>
                        <a:rPr lang="en-GB" sz="1600">
                          <a:solidFill>
                            <a:srgbClr val="00B050"/>
                          </a:solidFill>
                          <a:effectLst/>
                          <a:latin typeface="Times New Roman" panose="02020603050405020304" pitchFamily="18" charset="0"/>
                          <a:ea typeface="SimSun" panose="02010600030101010101" pitchFamily="2" charset="-122"/>
                          <a:sym typeface="Wingdings" panose="05000000000000000000" pitchFamily="2" charset="2"/>
                        </a:rPr>
                        <a:t>20</a:t>
                      </a:r>
                      <a:r>
                        <a:rPr lang="en-GB" sz="1600">
                          <a:solidFill>
                            <a:srgbClr val="00B050"/>
                          </a:solidFill>
                          <a:effectLst/>
                          <a:latin typeface="Times New Roman" panose="02020603050405020304" pitchFamily="18" charset="0"/>
                          <a:ea typeface="SimSun" panose="02010600030101010101" pitchFamily="2" charset="-122"/>
                        </a:rPr>
                        <a:t>%</a:t>
                      </a:r>
                      <a:endParaRPr lang="es-ES" sz="2000">
                        <a:effectLst/>
                        <a:latin typeface="Times New Roman" panose="02020603050405020304" pitchFamily="18" charset="0"/>
                        <a:ea typeface="SimSun" panose="02010600030101010101" pitchFamily="2" charset="-122"/>
                      </a:endParaRPr>
                    </a:p>
                    <a:p>
                      <a:pPr algn="ctr">
                        <a:spcBef>
                          <a:spcPts val="600"/>
                        </a:spcBef>
                        <a:spcAft>
                          <a:spcPts val="600"/>
                        </a:spcAft>
                      </a:pPr>
                      <a:r>
                        <a:rPr lang="en-GB" sz="1600">
                          <a:effectLst/>
                          <a:latin typeface="Times New Roman" panose="02020603050405020304" pitchFamily="18" charset="0"/>
                          <a:ea typeface="SimSun" panose="02010600030101010101" pitchFamily="2" charset="-122"/>
                        </a:rPr>
                        <a:t>700 ton/year lower raw material consumption</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600"/>
                        </a:spcBef>
                        <a:spcAft>
                          <a:spcPts val="600"/>
                        </a:spcAft>
                      </a:pPr>
                      <a:r>
                        <a:rPr lang="en-GB" sz="1600">
                          <a:solidFill>
                            <a:srgbClr val="00B050"/>
                          </a:solidFill>
                          <a:effectLst/>
                          <a:latin typeface="Times New Roman" panose="02020603050405020304" pitchFamily="18" charset="0"/>
                          <a:ea typeface="SimSun" panose="02010600030101010101" pitchFamily="2" charset="-122"/>
                          <a:sym typeface="Wingdings" panose="05000000000000000000" pitchFamily="2" charset="2"/>
                        </a:rPr>
                        <a:t></a:t>
                      </a:r>
                      <a:r>
                        <a:rPr lang="en-GB" sz="1600">
                          <a:solidFill>
                            <a:srgbClr val="00B050"/>
                          </a:solidFill>
                          <a:effectLst/>
                          <a:latin typeface="Times New Roman" panose="02020603050405020304" pitchFamily="18" charset="0"/>
                          <a:ea typeface="SimSun" panose="02010600030101010101" pitchFamily="2" charset="-122"/>
                        </a:rPr>
                        <a:t>18%</a:t>
                      </a:r>
                      <a:endParaRPr lang="es-ES" sz="2000">
                        <a:effectLst/>
                        <a:latin typeface="Times New Roman" panose="02020603050405020304" pitchFamily="18" charset="0"/>
                        <a:ea typeface="SimSun" panose="02010600030101010101" pitchFamily="2" charset="-122"/>
                      </a:endParaRPr>
                    </a:p>
                    <a:p>
                      <a:pPr algn="ctr">
                        <a:spcBef>
                          <a:spcPts val="600"/>
                        </a:spcBef>
                        <a:spcAft>
                          <a:spcPts val="600"/>
                        </a:spcAft>
                      </a:pPr>
                      <a:r>
                        <a:rPr lang="en-GB" sz="1600">
                          <a:effectLst/>
                          <a:latin typeface="Times New Roman" panose="02020603050405020304" pitchFamily="18" charset="0"/>
                          <a:ea typeface="SimSun" panose="02010600030101010101" pitchFamily="2" charset="-122"/>
                        </a:rPr>
                        <a:t>10 GWh/year of reduced energy consumption</a:t>
                      </a:r>
                      <a:endParaRPr lang="es-ES" sz="200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600"/>
                        </a:spcBef>
                        <a:spcAft>
                          <a:spcPts val="600"/>
                        </a:spcAft>
                      </a:pPr>
                      <a:r>
                        <a:rPr lang="en-GB" sz="1600">
                          <a:solidFill>
                            <a:srgbClr val="C00000"/>
                          </a:solidFill>
                          <a:effectLst/>
                          <a:latin typeface="Times New Roman" panose="02020603050405020304" pitchFamily="18" charset="0"/>
                          <a:ea typeface="SimSun" panose="02010600030101010101" pitchFamily="2" charset="-122"/>
                          <a:sym typeface="Wingdings" panose="05000000000000000000" pitchFamily="2" charset="2"/>
                        </a:rPr>
                        <a:t></a:t>
                      </a:r>
                      <a:r>
                        <a:rPr lang="en-GB" sz="1600">
                          <a:solidFill>
                            <a:srgbClr val="C00000"/>
                          </a:solidFill>
                          <a:effectLst/>
                          <a:latin typeface="Times New Roman" panose="02020603050405020304" pitchFamily="18" charset="0"/>
                          <a:ea typeface="SimSun" panose="02010600030101010101" pitchFamily="2" charset="-122"/>
                        </a:rPr>
                        <a:t>10%</a:t>
                      </a:r>
                      <a:endParaRPr lang="es-ES" sz="2000">
                        <a:effectLst/>
                        <a:latin typeface="Times New Roman" panose="02020603050405020304" pitchFamily="18" charset="0"/>
                        <a:ea typeface="SimSun" panose="02010600030101010101" pitchFamily="2" charset="-122"/>
                      </a:endParaRPr>
                    </a:p>
                    <a:p>
                      <a:pPr algn="ctr">
                        <a:spcBef>
                          <a:spcPts val="600"/>
                        </a:spcBef>
                        <a:spcAft>
                          <a:spcPts val="600"/>
                        </a:spcAft>
                      </a:pPr>
                      <a:r>
                        <a:rPr lang="en-GB" sz="1600">
                          <a:effectLst/>
                          <a:latin typeface="Times New Roman" panose="02020603050405020304" pitchFamily="18" charset="0"/>
                          <a:ea typeface="SimSun" panose="02010600030101010101" pitchFamily="2" charset="-122"/>
                        </a:rPr>
                        <a:t>2.2 ktCO</a:t>
                      </a:r>
                      <a:r>
                        <a:rPr lang="en-GB" sz="1600" baseline="-25000">
                          <a:effectLst/>
                          <a:latin typeface="Times New Roman" panose="02020603050405020304" pitchFamily="18" charset="0"/>
                          <a:ea typeface="SimSun" panose="02010600030101010101" pitchFamily="2" charset="-122"/>
                        </a:rPr>
                        <a:t>2</a:t>
                      </a:r>
                      <a:r>
                        <a:rPr lang="en-GB" sz="1600">
                          <a:effectLst/>
                          <a:latin typeface="Times New Roman" panose="02020603050405020304" pitchFamily="18" charset="0"/>
                          <a:ea typeface="SimSun" panose="02010600030101010101" pitchFamily="2" charset="-122"/>
                        </a:rPr>
                        <a:t>eq/year of reduced CO</a:t>
                      </a:r>
                      <a:r>
                        <a:rPr lang="en-GB" sz="1600" baseline="-25000">
                          <a:effectLst/>
                          <a:latin typeface="Times New Roman" panose="02020603050405020304" pitchFamily="18" charset="0"/>
                          <a:ea typeface="SimSun" panose="02010600030101010101" pitchFamily="2" charset="-122"/>
                        </a:rPr>
                        <a:t>2</a:t>
                      </a:r>
                      <a:r>
                        <a:rPr lang="en-GB" sz="1600">
                          <a:effectLst/>
                          <a:latin typeface="Times New Roman" panose="02020603050405020304" pitchFamily="18" charset="0"/>
                          <a:ea typeface="SimSun" panose="02010600030101010101" pitchFamily="2" charset="-122"/>
                        </a:rPr>
                        <a:t> emissions</a:t>
                      </a:r>
                      <a:endParaRPr lang="es-ES" sz="200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600"/>
                        </a:spcBef>
                        <a:spcAft>
                          <a:spcPts val="600"/>
                        </a:spcAft>
                      </a:pPr>
                      <a:r>
                        <a:rPr lang="en-GB" sz="1600">
                          <a:solidFill>
                            <a:srgbClr val="C00000"/>
                          </a:solidFill>
                          <a:effectLst/>
                          <a:latin typeface="Times New Roman" panose="02020603050405020304" pitchFamily="18" charset="0"/>
                          <a:ea typeface="SimSun" panose="02010600030101010101" pitchFamily="2" charset="-122"/>
                          <a:sym typeface="Wingdings" panose="05000000000000000000" pitchFamily="2" charset="2"/>
                        </a:rPr>
                        <a:t></a:t>
                      </a:r>
                      <a:r>
                        <a:rPr lang="en-GB" sz="1600">
                          <a:solidFill>
                            <a:srgbClr val="C00000"/>
                          </a:solidFill>
                          <a:effectLst/>
                          <a:latin typeface="Times New Roman" panose="02020603050405020304" pitchFamily="18" charset="0"/>
                          <a:ea typeface="SimSun" panose="02010600030101010101" pitchFamily="2" charset="-122"/>
                        </a:rPr>
                        <a:t>15%</a:t>
                      </a:r>
                      <a:endParaRPr lang="es-ES" sz="2000">
                        <a:effectLst/>
                        <a:latin typeface="Times New Roman" panose="02020603050405020304" pitchFamily="18" charset="0"/>
                        <a:ea typeface="SimSun" panose="02010600030101010101" pitchFamily="2" charset="-122"/>
                      </a:endParaRPr>
                    </a:p>
                    <a:p>
                      <a:pPr algn="ctr">
                        <a:spcBef>
                          <a:spcPts val="600"/>
                        </a:spcBef>
                        <a:spcAft>
                          <a:spcPts val="600"/>
                        </a:spcAft>
                      </a:pPr>
                      <a:r>
                        <a:rPr lang="en-GB" sz="1600">
                          <a:effectLst/>
                          <a:latin typeface="Times New Roman" panose="02020603050405020304" pitchFamily="18" charset="0"/>
                          <a:ea typeface="SimSun" panose="02010600030101010101" pitchFamily="2" charset="-122"/>
                        </a:rPr>
                        <a:t>6.48 GWh/year coal reduction</a:t>
                      </a:r>
                      <a:endParaRPr lang="es-ES" sz="200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600"/>
                        </a:spcBef>
                        <a:spcAft>
                          <a:spcPts val="600"/>
                        </a:spcAft>
                      </a:pPr>
                      <a:r>
                        <a:rPr lang="en-GB" sz="1600">
                          <a:solidFill>
                            <a:srgbClr val="C00000"/>
                          </a:solidFill>
                          <a:effectLst/>
                          <a:latin typeface="Times New Roman" panose="02020603050405020304" pitchFamily="18" charset="0"/>
                          <a:ea typeface="SimSun" panose="02010600030101010101" pitchFamily="2" charset="-122"/>
                          <a:sym typeface="Wingdings" panose="05000000000000000000" pitchFamily="2" charset="2"/>
                        </a:rPr>
                        <a:t>5</a:t>
                      </a:r>
                      <a:r>
                        <a:rPr lang="en-GB" sz="1600">
                          <a:solidFill>
                            <a:srgbClr val="C00000"/>
                          </a:solidFill>
                          <a:effectLst/>
                          <a:latin typeface="Times New Roman" panose="02020603050405020304" pitchFamily="18" charset="0"/>
                          <a:ea typeface="SimSun" panose="02010600030101010101" pitchFamily="2" charset="-122"/>
                        </a:rPr>
                        <a:t>%</a:t>
                      </a:r>
                      <a:endParaRPr lang="es-ES" sz="2000">
                        <a:effectLst/>
                        <a:latin typeface="Times New Roman" panose="02020603050405020304" pitchFamily="18" charset="0"/>
                        <a:ea typeface="SimSun" panose="02010600030101010101" pitchFamily="2" charset="-122"/>
                      </a:endParaRPr>
                    </a:p>
                    <a:p>
                      <a:pPr algn="ctr">
                        <a:spcBef>
                          <a:spcPts val="600"/>
                        </a:spcBef>
                        <a:spcAft>
                          <a:spcPts val="600"/>
                        </a:spcAft>
                      </a:pPr>
                      <a:r>
                        <a:rPr lang="en-US" sz="1600">
                          <a:effectLst/>
                          <a:latin typeface="Times New Roman" panose="02020603050405020304" pitchFamily="18" charset="0"/>
                          <a:ea typeface="SimSun" panose="02010600030101010101" pitchFamily="2" charset="-122"/>
                        </a:rPr>
                        <a:t>0.1 M€/year of reduced operation cost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600"/>
                        </a:spcBef>
                        <a:spcAft>
                          <a:spcPts val="600"/>
                        </a:spcAft>
                      </a:pPr>
                      <a:r>
                        <a:rPr lang="en-GB" sz="1600">
                          <a:solidFill>
                            <a:srgbClr val="00B050"/>
                          </a:solidFill>
                          <a:effectLst/>
                          <a:latin typeface="Times New Roman" panose="02020603050405020304" pitchFamily="18" charset="0"/>
                          <a:ea typeface="SimSun" panose="02010600030101010101" pitchFamily="2" charset="-122"/>
                          <a:sym typeface="Wingdings" panose="05000000000000000000" pitchFamily="2" charset="2"/>
                        </a:rPr>
                        <a:t>10</a:t>
                      </a:r>
                      <a:r>
                        <a:rPr lang="en-GB" sz="1600">
                          <a:solidFill>
                            <a:srgbClr val="00B050"/>
                          </a:solidFill>
                          <a:effectLst/>
                          <a:latin typeface="Times New Roman" panose="02020603050405020304" pitchFamily="18" charset="0"/>
                          <a:ea typeface="SimSun" panose="02010600030101010101" pitchFamily="2" charset="-122"/>
                        </a:rPr>
                        <a:t>%</a:t>
                      </a:r>
                      <a:endParaRPr lang="es-ES" sz="2000">
                        <a:effectLst/>
                        <a:latin typeface="Times New Roman" panose="02020603050405020304" pitchFamily="18" charset="0"/>
                        <a:ea typeface="SimSun" panose="02010600030101010101" pitchFamily="2" charset="-122"/>
                      </a:endParaRPr>
                    </a:p>
                    <a:p>
                      <a:pPr algn="ctr">
                        <a:spcBef>
                          <a:spcPts val="600"/>
                        </a:spcBef>
                        <a:spcAft>
                          <a:spcPts val="600"/>
                        </a:spcAft>
                      </a:pPr>
                      <a:r>
                        <a:rPr lang="en-US" sz="1600">
                          <a:effectLst/>
                          <a:latin typeface="Times New Roman" panose="02020603050405020304" pitchFamily="18" charset="0"/>
                          <a:ea typeface="SimSun" panose="02010600030101010101" pitchFamily="2" charset="-122"/>
                        </a:rPr>
                        <a:t>11.6 ratio of production vs carbon</a:t>
                      </a:r>
                      <a:endParaRPr lang="es-ES" sz="200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23566962"/>
                  </a:ext>
                </a:extLst>
              </a:tr>
            </a:tbl>
          </a:graphicData>
        </a:graphic>
      </p:graphicFrame>
      <p:pic>
        <p:nvPicPr>
          <p:cNvPr id="5" name="Imagen 14">
            <a:extLst>
              <a:ext uri="{FF2B5EF4-FFF2-40B4-BE49-F238E27FC236}">
                <a16:creationId xmlns:a16="http://schemas.microsoft.com/office/drawing/2014/main" id="{A74D870E-74F7-709B-80B1-91BC84D1659A}"/>
              </a:ext>
            </a:extLst>
          </p:cNvPr>
          <p:cNvPicPr>
            <a:picLocks noChangeAspect="1"/>
          </p:cNvPicPr>
          <p:nvPr/>
        </p:nvPicPr>
        <p:blipFill>
          <a:blip r:embed="rId6"/>
          <a:stretch>
            <a:fillRect/>
          </a:stretch>
        </p:blipFill>
        <p:spPr>
          <a:xfrm>
            <a:off x="4288263" y="4908189"/>
            <a:ext cx="12054480" cy="1725248"/>
          </a:xfrm>
          <a:prstGeom prst="rect">
            <a:avLst/>
          </a:prstGeom>
        </p:spPr>
      </p:pic>
      <p:sp>
        <p:nvSpPr>
          <p:cNvPr id="6" name="TextBox 14">
            <a:extLst>
              <a:ext uri="{FF2B5EF4-FFF2-40B4-BE49-F238E27FC236}">
                <a16:creationId xmlns:a16="http://schemas.microsoft.com/office/drawing/2014/main" id="{C66063A5-FB6E-CDC2-5DC9-AE3A9B9846EF}"/>
              </a:ext>
            </a:extLst>
          </p:cNvPr>
          <p:cNvSpPr txBox="1"/>
          <p:nvPr/>
        </p:nvSpPr>
        <p:spPr>
          <a:xfrm>
            <a:off x="1182961" y="5590200"/>
            <a:ext cx="2057400" cy="369332"/>
          </a:xfrm>
          <a:prstGeom prst="rect">
            <a:avLst/>
          </a:prstGeom>
        </p:spPr>
        <p:txBody>
          <a:bodyPr wrap="square" lIns="0" tIns="0" rIns="0" bIns="0" rtlCol="0" anchor="t">
            <a:spAutoFit/>
          </a:bodyPr>
          <a:lstStyle/>
          <a:p>
            <a:pPr algn="ctr">
              <a:buClr>
                <a:schemeClr val="accent5"/>
              </a:buClr>
            </a:pPr>
            <a:r>
              <a:rPr lang="en-US" sz="2400" b="1">
                <a:solidFill>
                  <a:schemeClr val="accent1"/>
                </a:solidFill>
              </a:rPr>
              <a:t>FENO</a:t>
            </a:r>
          </a:p>
        </p:txBody>
      </p:sp>
      <p:pic>
        <p:nvPicPr>
          <p:cNvPr id="7" name="Imagen 5">
            <a:extLst>
              <a:ext uri="{FF2B5EF4-FFF2-40B4-BE49-F238E27FC236}">
                <a16:creationId xmlns:a16="http://schemas.microsoft.com/office/drawing/2014/main" id="{AB04BF09-0546-B990-36CB-E37DB76E3765}"/>
              </a:ext>
            </a:extLst>
          </p:cNvPr>
          <p:cNvPicPr>
            <a:picLocks noChangeAspect="1"/>
          </p:cNvPicPr>
          <p:nvPr/>
        </p:nvPicPr>
        <p:blipFill>
          <a:blip r:embed="rId7"/>
          <a:stretch>
            <a:fillRect/>
          </a:stretch>
        </p:blipFill>
        <p:spPr>
          <a:xfrm>
            <a:off x="4288263" y="6881422"/>
            <a:ext cx="12157759" cy="1733606"/>
          </a:xfrm>
          <a:prstGeom prst="rect">
            <a:avLst/>
          </a:prstGeom>
        </p:spPr>
      </p:pic>
      <p:sp>
        <p:nvSpPr>
          <p:cNvPr id="8" name="TextBox 14">
            <a:extLst>
              <a:ext uri="{FF2B5EF4-FFF2-40B4-BE49-F238E27FC236}">
                <a16:creationId xmlns:a16="http://schemas.microsoft.com/office/drawing/2014/main" id="{83F94F35-A720-8D28-3B17-3E622D0FB612}"/>
              </a:ext>
            </a:extLst>
          </p:cNvPr>
          <p:cNvSpPr txBox="1"/>
          <p:nvPr/>
        </p:nvSpPr>
        <p:spPr>
          <a:xfrm>
            <a:off x="1182961" y="7511339"/>
            <a:ext cx="2057400" cy="369332"/>
          </a:xfrm>
          <a:prstGeom prst="rect">
            <a:avLst/>
          </a:prstGeom>
        </p:spPr>
        <p:txBody>
          <a:bodyPr wrap="square" lIns="0" tIns="0" rIns="0" bIns="0" rtlCol="0" anchor="t">
            <a:spAutoFit/>
          </a:bodyPr>
          <a:lstStyle/>
          <a:p>
            <a:pPr algn="ctr">
              <a:buClr>
                <a:schemeClr val="accent5"/>
              </a:buClr>
            </a:pPr>
            <a:r>
              <a:rPr lang="en-US" sz="2400" b="1">
                <a:solidFill>
                  <a:schemeClr val="accent1"/>
                </a:solidFill>
              </a:rPr>
              <a:t>FERTIBERIA</a:t>
            </a:r>
          </a:p>
        </p:txBody>
      </p:sp>
    </p:spTree>
    <p:extLst>
      <p:ext uri="{BB962C8B-B14F-4D97-AF65-F5344CB8AC3E}">
        <p14:creationId xmlns:p14="http://schemas.microsoft.com/office/powerpoint/2010/main" val="4201031203"/>
      </p:ext>
    </p:extLst>
  </p:cSld>
  <p:clrMapOvr>
    <a:masterClrMapping/>
  </p:clrMapOvr>
  <mc:AlternateContent xmlns:mc="http://schemas.openxmlformats.org/markup-compatibility/2006" xmlns:p14="http://schemas.microsoft.com/office/powerpoint/2010/main">
    <mc:Choice Requires="p14">
      <p:transition spd="slow" p14:dur="2000" advTm="38635"/>
    </mc:Choice>
    <mc:Fallback xmlns="">
      <p:transition spd="slow" advTm="38635"/>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uppo 16">
            <a:extLst>
              <a:ext uri="{FF2B5EF4-FFF2-40B4-BE49-F238E27FC236}">
                <a16:creationId xmlns:a16="http://schemas.microsoft.com/office/drawing/2014/main" id="{9D39CAA0-4DC7-4BB7-837A-3DBD037B982B}"/>
              </a:ext>
            </a:extLst>
          </p:cNvPr>
          <p:cNvGrpSpPr/>
          <p:nvPr/>
        </p:nvGrpSpPr>
        <p:grpSpPr>
          <a:xfrm>
            <a:off x="4329146" y="9679208"/>
            <a:ext cx="13958844" cy="666567"/>
            <a:chOff x="4329156" y="9649198"/>
            <a:chExt cx="13958844" cy="666567"/>
          </a:xfrm>
        </p:grpSpPr>
        <p:pic>
          <p:nvPicPr>
            <p:cNvPr id="5" name="Picture 12">
              <a:extLst>
                <a:ext uri="{FF2B5EF4-FFF2-40B4-BE49-F238E27FC236}">
                  <a16:creationId xmlns:a16="http://schemas.microsoft.com/office/drawing/2014/main" id="{998F1DF5-6B8C-421D-AA21-6E142DB796C7}"/>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6" name="TextBox 16">
              <a:extLst>
                <a:ext uri="{FF2B5EF4-FFF2-40B4-BE49-F238E27FC236}">
                  <a16:creationId xmlns:a16="http://schemas.microsoft.com/office/drawing/2014/main" id="{5668498D-912A-452A-B3D6-25BC2C1058BA}"/>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grpSp>
        <p:nvGrpSpPr>
          <p:cNvPr id="7" name="Gruppo 2">
            <a:extLst>
              <a:ext uri="{FF2B5EF4-FFF2-40B4-BE49-F238E27FC236}">
                <a16:creationId xmlns:a16="http://schemas.microsoft.com/office/drawing/2014/main" id="{9F3D89A6-9F1C-4E6B-85E6-A4CC12603EEB}"/>
              </a:ext>
            </a:extLst>
          </p:cNvPr>
          <p:cNvGrpSpPr/>
          <p:nvPr/>
        </p:nvGrpSpPr>
        <p:grpSpPr>
          <a:xfrm>
            <a:off x="-12" y="138554"/>
            <a:ext cx="18288002" cy="681138"/>
            <a:chOff x="-12" y="138554"/>
            <a:chExt cx="18288002" cy="681138"/>
          </a:xfrm>
        </p:grpSpPr>
        <p:grpSp>
          <p:nvGrpSpPr>
            <p:cNvPr id="8" name="Gruppo 1">
              <a:extLst>
                <a:ext uri="{FF2B5EF4-FFF2-40B4-BE49-F238E27FC236}">
                  <a16:creationId xmlns:a16="http://schemas.microsoft.com/office/drawing/2014/main" id="{D07BE39F-9B11-4607-A15C-338053117985}"/>
                </a:ext>
              </a:extLst>
            </p:cNvPr>
            <p:cNvGrpSpPr/>
            <p:nvPr/>
          </p:nvGrpSpPr>
          <p:grpSpPr>
            <a:xfrm>
              <a:off x="0" y="153125"/>
              <a:ext cx="17907000" cy="666567"/>
              <a:chOff x="0" y="153125"/>
              <a:chExt cx="17907000" cy="666567"/>
            </a:xfrm>
          </p:grpSpPr>
          <p:grpSp>
            <p:nvGrpSpPr>
              <p:cNvPr id="10" name="Gruppo 15">
                <a:extLst>
                  <a:ext uri="{FF2B5EF4-FFF2-40B4-BE49-F238E27FC236}">
                    <a16:creationId xmlns:a16="http://schemas.microsoft.com/office/drawing/2014/main" id="{C291D968-5DB6-4459-92D2-48397821BF87}"/>
                  </a:ext>
                </a:extLst>
              </p:cNvPr>
              <p:cNvGrpSpPr/>
              <p:nvPr/>
            </p:nvGrpSpPr>
            <p:grpSpPr>
              <a:xfrm>
                <a:off x="0" y="153125"/>
                <a:ext cx="13958844" cy="666567"/>
                <a:chOff x="0" y="153125"/>
                <a:chExt cx="13958844" cy="666567"/>
              </a:xfrm>
            </p:grpSpPr>
            <p:pic>
              <p:nvPicPr>
                <p:cNvPr id="12" name="Picture 10">
                  <a:extLst>
                    <a:ext uri="{FF2B5EF4-FFF2-40B4-BE49-F238E27FC236}">
                      <a16:creationId xmlns:a16="http://schemas.microsoft.com/office/drawing/2014/main" id="{69E57043-8188-4277-A09E-7E676CCFEE8F}"/>
                    </a:ext>
                  </a:extLst>
                </p:cNvPr>
                <p:cNvPicPr>
                  <a:picLocks noChangeAspect="1"/>
                </p:cNvPicPr>
                <p:nvPr/>
              </p:nvPicPr>
              <p:blipFill>
                <a:blip r:embed="rId4"/>
                <a:srcRect l="134" t="91287" b="3943"/>
                <a:stretch>
                  <a:fillRect/>
                </a:stretch>
              </p:blipFill>
              <p:spPr>
                <a:xfrm>
                  <a:off x="0" y="153125"/>
                  <a:ext cx="13958844" cy="666567"/>
                </a:xfrm>
                <a:prstGeom prst="rect">
                  <a:avLst/>
                </a:prstGeom>
              </p:spPr>
            </p:pic>
            <p:sp>
              <p:nvSpPr>
                <p:cNvPr id="13" name="TextBox 11">
                  <a:extLst>
                    <a:ext uri="{FF2B5EF4-FFF2-40B4-BE49-F238E27FC236}">
                      <a16:creationId xmlns:a16="http://schemas.microsoft.com/office/drawing/2014/main" id="{4C0C7E26-E492-4234-ACD8-E1E6F9D8A5F1}"/>
                    </a:ext>
                  </a:extLst>
                </p:cNvPr>
                <p:cNvSpPr txBox="1"/>
                <p:nvPr/>
              </p:nvSpPr>
              <p:spPr>
                <a:xfrm>
                  <a:off x="228600" y="257980"/>
                  <a:ext cx="9296400" cy="456856"/>
                </a:xfrm>
                <a:prstGeom prst="rect">
                  <a:avLst/>
                </a:prstGeom>
              </p:spPr>
              <p:txBody>
                <a:bodyPr wrap="square" lIns="0" tIns="0" rIns="0" bIns="0" rtlCol="0" anchor="t">
                  <a:spAutoFit/>
                </a:bodyPr>
                <a:lstStyle/>
                <a:p>
                  <a:pPr>
                    <a:lnSpc>
                      <a:spcPts val="3919"/>
                    </a:lnSpc>
                    <a:spcBef>
                      <a:spcPct val="0"/>
                    </a:spcBef>
                  </a:pPr>
                  <a:endParaRPr lang="en-US" sz="2800" b="1">
                    <a:solidFill>
                      <a:srgbClr val="FFFFFF"/>
                    </a:solidFill>
                    <a:latin typeface="Arial" panose="020B0604020202020204" pitchFamily="34" charset="0"/>
                    <a:cs typeface="Arial" panose="020B0604020202020204" pitchFamily="34" charset="0"/>
                  </a:endParaRPr>
                </a:p>
              </p:txBody>
            </p:sp>
          </p:grpSp>
          <p:sp>
            <p:nvSpPr>
              <p:cNvPr id="11" name="TextBox 10">
                <a:extLst>
                  <a:ext uri="{FF2B5EF4-FFF2-40B4-BE49-F238E27FC236}">
                    <a16:creationId xmlns:a16="http://schemas.microsoft.com/office/drawing/2014/main" id="{D81F8AEE-388B-42C5-ADF9-A2F19BA00BAC}"/>
                  </a:ext>
                </a:extLst>
              </p:cNvPr>
              <p:cNvSpPr txBox="1"/>
              <p:nvPr/>
            </p:nvSpPr>
            <p:spPr>
              <a:xfrm>
                <a:off x="12154296" y="257980"/>
                <a:ext cx="5752704" cy="456856"/>
              </a:xfrm>
              <a:prstGeom prst="rect">
                <a:avLst/>
              </a:prstGeom>
            </p:spPr>
            <p:txBody>
              <a:bodyPr wrap="square" lIns="0" tIns="0" rIns="0" bIns="0" rtlCol="0" anchor="t">
                <a:spAutoFit/>
              </a:bodyPr>
              <a:lstStyle/>
              <a:p>
                <a:pPr algn="r">
                  <a:lnSpc>
                    <a:spcPts val="3919"/>
                  </a:lnSpc>
                  <a:spcBef>
                    <a:spcPct val="0"/>
                  </a:spcBef>
                </a:pPr>
                <a:endParaRPr lang="en-US" sz="2800">
                  <a:solidFill>
                    <a:schemeClr val="tx1">
                      <a:lumMod val="75000"/>
                      <a:lumOff val="25000"/>
                    </a:schemeClr>
                  </a:solidFill>
                  <a:latin typeface="Arial" panose="020B0604020202020204" pitchFamily="34" charset="0"/>
                  <a:cs typeface="Arial" panose="020B0604020202020204" pitchFamily="34" charset="0"/>
                </a:endParaRPr>
              </a:p>
            </p:txBody>
          </p:sp>
        </p:grpSp>
        <p:sp>
          <p:nvSpPr>
            <p:cNvPr id="9" name="Rettangolo 13">
              <a:extLst>
                <a:ext uri="{FF2B5EF4-FFF2-40B4-BE49-F238E27FC236}">
                  <a16:creationId xmlns:a16="http://schemas.microsoft.com/office/drawing/2014/main" id="{8CBB2CDF-EDD5-4199-96BE-D9AF51EFB7B4}"/>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4" name="TextBox 13">
            <a:extLst>
              <a:ext uri="{FF2B5EF4-FFF2-40B4-BE49-F238E27FC236}">
                <a16:creationId xmlns:a16="http://schemas.microsoft.com/office/drawing/2014/main" id="{2EABD916-9036-485F-861F-B54C736CC200}"/>
              </a:ext>
            </a:extLst>
          </p:cNvPr>
          <p:cNvSpPr txBox="1"/>
          <p:nvPr/>
        </p:nvSpPr>
        <p:spPr>
          <a:xfrm>
            <a:off x="534838" y="763022"/>
            <a:ext cx="16804256" cy="5109091"/>
          </a:xfrm>
          <a:prstGeom prst="rect">
            <a:avLst/>
          </a:prstGeom>
          <a:noFill/>
        </p:spPr>
        <p:txBody>
          <a:bodyPr wrap="square">
            <a:spAutoFit/>
          </a:bodyPr>
          <a:lstStyle/>
          <a:p>
            <a:pPr algn="ctr"/>
            <a:r>
              <a:rPr lang="sv-SE" sz="6400" b="1">
                <a:solidFill>
                  <a:srgbClr val="CC0033"/>
                </a:solidFill>
                <a:latin typeface="+mj-lt"/>
                <a:cs typeface="Arial" panose="020B0604020202020204" pitchFamily="34" charset="0"/>
              </a:rPr>
              <a:t>Group </a:t>
            </a:r>
            <a:r>
              <a:rPr lang="sv-SE" sz="6400" b="1" err="1">
                <a:solidFill>
                  <a:srgbClr val="CC0033"/>
                </a:solidFill>
                <a:latin typeface="+mj-lt"/>
                <a:cs typeface="Arial" panose="020B0604020202020204" pitchFamily="34" charset="0"/>
              </a:rPr>
              <a:t>Activity</a:t>
            </a:r>
            <a:r>
              <a:rPr lang="sv-SE" sz="6400" b="1">
                <a:solidFill>
                  <a:srgbClr val="CC0033"/>
                </a:solidFill>
                <a:latin typeface="+mj-lt"/>
                <a:cs typeface="Arial" panose="020B0604020202020204" pitchFamily="34" charset="0"/>
              </a:rPr>
              <a:t>:</a:t>
            </a:r>
          </a:p>
          <a:p>
            <a:pPr algn="ctr"/>
            <a:endParaRPr lang="sv-SE" sz="6400" b="1">
              <a:solidFill>
                <a:srgbClr val="CC0033"/>
              </a:solidFill>
              <a:latin typeface="+mj-lt"/>
              <a:cs typeface="Arial" panose="020B0604020202020204" pitchFamily="34" charset="0"/>
            </a:endParaRPr>
          </a:p>
          <a:p>
            <a:pPr algn="just"/>
            <a:r>
              <a:rPr lang="sv-SE" sz="6600" err="1"/>
              <a:t>Are</a:t>
            </a:r>
            <a:r>
              <a:rPr lang="sv-SE" sz="6600"/>
              <a:t> </a:t>
            </a:r>
            <a:r>
              <a:rPr lang="sv-SE" sz="6600" err="1"/>
              <a:t>these</a:t>
            </a:r>
            <a:r>
              <a:rPr lang="sv-SE" sz="6600"/>
              <a:t> </a:t>
            </a:r>
            <a:r>
              <a:rPr lang="sv-SE" sz="6600" err="1"/>
              <a:t>indicators</a:t>
            </a:r>
            <a:r>
              <a:rPr lang="sv-SE" sz="6600"/>
              <a:t> relevant </a:t>
            </a:r>
            <a:r>
              <a:rPr lang="sv-SE" sz="6600" err="1"/>
              <a:t>also</a:t>
            </a:r>
            <a:r>
              <a:rPr lang="sv-SE" sz="6600"/>
              <a:t> for the </a:t>
            </a:r>
            <a:r>
              <a:rPr lang="sv-SE" sz="6600" err="1"/>
              <a:t>sustainable</a:t>
            </a:r>
            <a:r>
              <a:rPr lang="sv-SE" sz="6600"/>
              <a:t> </a:t>
            </a:r>
            <a:r>
              <a:rPr lang="sv-SE" sz="6600" err="1"/>
              <a:t>future</a:t>
            </a:r>
            <a:r>
              <a:rPr lang="sv-SE" sz="6600"/>
              <a:t>? </a:t>
            </a:r>
            <a:r>
              <a:rPr lang="sv-SE" sz="6600" err="1"/>
              <a:t>What</a:t>
            </a:r>
            <a:r>
              <a:rPr lang="sv-SE" sz="6600"/>
              <a:t> </a:t>
            </a:r>
            <a:r>
              <a:rPr lang="sv-SE" sz="6600" err="1"/>
              <a:t>changes</a:t>
            </a:r>
            <a:r>
              <a:rPr lang="sv-SE" sz="6600"/>
              <a:t> </a:t>
            </a:r>
            <a:r>
              <a:rPr lang="sv-SE" sz="6600" err="1"/>
              <a:t>would</a:t>
            </a:r>
            <a:r>
              <a:rPr lang="sv-SE" sz="6600"/>
              <a:t> </a:t>
            </a:r>
            <a:r>
              <a:rPr lang="sv-SE" sz="6600" err="1"/>
              <a:t>you</a:t>
            </a:r>
            <a:r>
              <a:rPr lang="sv-SE" sz="6600"/>
              <a:t> </a:t>
            </a:r>
            <a:r>
              <a:rPr lang="sv-SE" sz="6600" err="1"/>
              <a:t>recommend</a:t>
            </a:r>
            <a:r>
              <a:rPr lang="sv-SE" sz="6600"/>
              <a:t>?</a:t>
            </a:r>
          </a:p>
        </p:txBody>
      </p:sp>
      <p:pic>
        <p:nvPicPr>
          <p:cNvPr id="15" name="Picture 12">
            <a:extLst>
              <a:ext uri="{FF2B5EF4-FFF2-40B4-BE49-F238E27FC236}">
                <a16:creationId xmlns:a16="http://schemas.microsoft.com/office/drawing/2014/main" id="{9AB6B694-86AA-4F73-9414-0E2F37ABE3CA}"/>
              </a:ext>
            </a:extLst>
          </p:cNvPr>
          <p:cNvPicPr>
            <a:picLocks noChangeAspect="1"/>
          </p:cNvPicPr>
          <p:nvPr/>
        </p:nvPicPr>
        <p:blipFill>
          <a:blip r:embed="rId5"/>
          <a:srcRect/>
          <a:stretch>
            <a:fillRect/>
          </a:stretch>
        </p:blipFill>
        <p:spPr>
          <a:xfrm>
            <a:off x="0" y="8901113"/>
            <a:ext cx="5715000" cy="1385887"/>
          </a:xfrm>
          <a:prstGeom prst="rect">
            <a:avLst/>
          </a:prstGeom>
        </p:spPr>
      </p:pic>
    </p:spTree>
    <p:extLst>
      <p:ext uri="{BB962C8B-B14F-4D97-AF65-F5344CB8AC3E}">
        <p14:creationId xmlns:p14="http://schemas.microsoft.com/office/powerpoint/2010/main" val="403336289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696705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8294908-8B00-4F58-BBBA-20F71A40AA9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8288000" cy="10287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1" name="Freeform: Shape 10">
            <a:extLst>
              <a:ext uri="{FF2B5EF4-FFF2-40B4-BE49-F238E27FC236}">
                <a16:creationId xmlns:a16="http://schemas.microsoft.com/office/drawing/2014/main" id="{4364C879-1404-4203-8E9D-CC5DE0A621A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124173" y="-2079252"/>
            <a:ext cx="3637310" cy="5416787"/>
          </a:xfrm>
          <a:custGeom>
            <a:avLst/>
            <a:gdLst>
              <a:gd name="connsiteX0" fmla="*/ 0 w 2424873"/>
              <a:gd name="connsiteY0" fmla="*/ 2424874 h 3611191"/>
              <a:gd name="connsiteX1" fmla="*/ 2424873 w 2424873"/>
              <a:gd name="connsiteY1" fmla="*/ 0 h 3611191"/>
              <a:gd name="connsiteX2" fmla="*/ 2424873 w 2424873"/>
              <a:gd name="connsiteY2" fmla="*/ 3611191 h 3611191"/>
              <a:gd name="connsiteX3" fmla="*/ 1186317 w 2424873"/>
              <a:gd name="connsiteY3" fmla="*/ 3611191 h 3611191"/>
            </a:gdLst>
            <a:ahLst/>
            <a:cxnLst>
              <a:cxn ang="0">
                <a:pos x="connsiteX0" y="connsiteY0"/>
              </a:cxn>
              <a:cxn ang="0">
                <a:pos x="connsiteX1" y="connsiteY1"/>
              </a:cxn>
              <a:cxn ang="0">
                <a:pos x="connsiteX2" y="connsiteY2"/>
              </a:cxn>
              <a:cxn ang="0">
                <a:pos x="connsiteX3" y="connsiteY3"/>
              </a:cxn>
            </a:cxnLst>
            <a:rect l="l" t="t" r="r" b="b"/>
            <a:pathLst>
              <a:path w="2424873" h="3611191">
                <a:moveTo>
                  <a:pt x="0" y="2424874"/>
                </a:moveTo>
                <a:lnTo>
                  <a:pt x="2424873" y="0"/>
                </a:lnTo>
                <a:lnTo>
                  <a:pt x="2424873" y="3611191"/>
                </a:lnTo>
                <a:lnTo>
                  <a:pt x="1186317" y="3611191"/>
                </a:lnTo>
                <a:close/>
              </a:path>
            </a:pathLst>
          </a:cu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3" name="Freeform: Shape 12">
            <a:extLst>
              <a:ext uri="{FF2B5EF4-FFF2-40B4-BE49-F238E27FC236}">
                <a16:creationId xmlns:a16="http://schemas.microsoft.com/office/drawing/2014/main" id="{84617302-4B0D-4351-A6BB-6F0930D943A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2356500" y="-507873"/>
            <a:ext cx="2453933" cy="2453933"/>
          </a:xfrm>
          <a:custGeom>
            <a:avLst/>
            <a:gdLst>
              <a:gd name="connsiteX0" fmla="*/ 0 w 1635955"/>
              <a:gd name="connsiteY0" fmla="*/ 957987 h 1635955"/>
              <a:gd name="connsiteX1" fmla="*/ 957987 w 1635955"/>
              <a:gd name="connsiteY1" fmla="*/ 0 h 1635955"/>
              <a:gd name="connsiteX2" fmla="*/ 1635955 w 1635955"/>
              <a:gd name="connsiteY2" fmla="*/ 0 h 1635955"/>
              <a:gd name="connsiteX3" fmla="*/ 1635955 w 1635955"/>
              <a:gd name="connsiteY3" fmla="*/ 1635955 h 1635955"/>
              <a:gd name="connsiteX4" fmla="*/ 0 w 1635955"/>
              <a:gd name="connsiteY4" fmla="*/ 1635955 h 1635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5955" h="1635955">
                <a:moveTo>
                  <a:pt x="0" y="957987"/>
                </a:moveTo>
                <a:lnTo>
                  <a:pt x="957987" y="0"/>
                </a:lnTo>
                <a:lnTo>
                  <a:pt x="1635955" y="0"/>
                </a:lnTo>
                <a:lnTo>
                  <a:pt x="1635955" y="1635955"/>
                </a:lnTo>
                <a:lnTo>
                  <a:pt x="0" y="1635955"/>
                </a:lnTo>
                <a:close/>
              </a:path>
            </a:pathLst>
          </a:cu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5" name="Freeform: Shape 14">
            <a:extLst>
              <a:ext uri="{FF2B5EF4-FFF2-40B4-BE49-F238E27FC236}">
                <a16:creationId xmlns:a16="http://schemas.microsoft.com/office/drawing/2014/main" id="{DA2C7802-C2E0-4218-8F89-8DD7CCD2CD1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14441978" y="-9882"/>
            <a:ext cx="6089090" cy="3822165"/>
          </a:xfrm>
          <a:custGeom>
            <a:avLst/>
            <a:gdLst>
              <a:gd name="connsiteX0" fmla="*/ 0 w 4059393"/>
              <a:gd name="connsiteY0" fmla="*/ 1511282 h 2548110"/>
              <a:gd name="connsiteX1" fmla="*/ 1511282 w 4059393"/>
              <a:gd name="connsiteY1" fmla="*/ 0 h 2548110"/>
              <a:gd name="connsiteX2" fmla="*/ 4059393 w 4059393"/>
              <a:gd name="connsiteY2" fmla="*/ 2548110 h 2548110"/>
              <a:gd name="connsiteX3" fmla="*/ 0 w 4059393"/>
              <a:gd name="connsiteY3" fmla="*/ 2548110 h 2548110"/>
            </a:gdLst>
            <a:ahLst/>
            <a:cxnLst>
              <a:cxn ang="0">
                <a:pos x="connsiteX0" y="connsiteY0"/>
              </a:cxn>
              <a:cxn ang="0">
                <a:pos x="connsiteX1" y="connsiteY1"/>
              </a:cxn>
              <a:cxn ang="0">
                <a:pos x="connsiteX2" y="connsiteY2"/>
              </a:cxn>
              <a:cxn ang="0">
                <a:pos x="connsiteX3" y="connsiteY3"/>
              </a:cxn>
            </a:cxnLst>
            <a:rect l="l" t="t" r="r" b="b"/>
            <a:pathLst>
              <a:path w="4059393" h="2548110">
                <a:moveTo>
                  <a:pt x="0" y="1511282"/>
                </a:moveTo>
                <a:lnTo>
                  <a:pt x="1511282" y="0"/>
                </a:lnTo>
                <a:lnTo>
                  <a:pt x="4059393" y="2548110"/>
                </a:lnTo>
                <a:lnTo>
                  <a:pt x="0" y="2548110"/>
                </a:lnTo>
                <a:close/>
              </a:path>
            </a:pathLst>
          </a:cu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7" name="Rectangle 16">
            <a:extLst>
              <a:ext uri="{FF2B5EF4-FFF2-40B4-BE49-F238E27FC236}">
                <a16:creationId xmlns:a16="http://schemas.microsoft.com/office/drawing/2014/main" id="{A6D7111A-21E5-4EE9-8A78-10E5530F011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15394386" y="2198670"/>
            <a:ext cx="1778562" cy="1778562"/>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9" name="Freeform: Shape 18">
            <a:extLst>
              <a:ext uri="{FF2B5EF4-FFF2-40B4-BE49-F238E27FC236}">
                <a16:creationId xmlns:a16="http://schemas.microsoft.com/office/drawing/2014/main" id="{A3969E80-A77B-49FC-9122-D89AFD5EE11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44336" y="7798115"/>
            <a:ext cx="3667361" cy="3549174"/>
          </a:xfrm>
          <a:custGeom>
            <a:avLst/>
            <a:gdLst>
              <a:gd name="connsiteX0" fmla="*/ 0 w 2203753"/>
              <a:gd name="connsiteY0" fmla="*/ 0 h 2132734"/>
              <a:gd name="connsiteX1" fmla="*/ 2203753 w 2203753"/>
              <a:gd name="connsiteY1" fmla="*/ 0 h 2132734"/>
              <a:gd name="connsiteX2" fmla="*/ 2203753 w 2203753"/>
              <a:gd name="connsiteY2" fmla="*/ 576461 h 2132734"/>
              <a:gd name="connsiteX3" fmla="*/ 647480 w 2203753"/>
              <a:gd name="connsiteY3" fmla="*/ 2132734 h 2132734"/>
              <a:gd name="connsiteX4" fmla="*/ 0 w 2203753"/>
              <a:gd name="connsiteY4" fmla="*/ 1485255 h 2132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3753" h="2132734">
                <a:moveTo>
                  <a:pt x="0" y="0"/>
                </a:moveTo>
                <a:lnTo>
                  <a:pt x="2203753" y="0"/>
                </a:lnTo>
                <a:lnTo>
                  <a:pt x="2203753" y="576461"/>
                </a:lnTo>
                <a:lnTo>
                  <a:pt x="647480" y="2132734"/>
                </a:lnTo>
                <a:lnTo>
                  <a:pt x="0" y="1485255"/>
                </a:lnTo>
                <a:close/>
              </a:path>
            </a:pathLst>
          </a:cu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1" name="Rectangle 20">
            <a:extLst>
              <a:ext uri="{FF2B5EF4-FFF2-40B4-BE49-F238E27FC236}">
                <a16:creationId xmlns:a16="http://schemas.microsoft.com/office/drawing/2014/main" id="{1849CA57-76BD-4CF2-80BA-D7A46A01B7B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2654681" y="8159840"/>
            <a:ext cx="1392701" cy="1392701"/>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Arial"/>
              <a:ea typeface="+mn-ea"/>
              <a:cs typeface="+mn-cs"/>
            </a:endParaRPr>
          </a:p>
        </p:txBody>
      </p:sp>
      <p:sp>
        <p:nvSpPr>
          <p:cNvPr id="23" name="Freeform: Shape 22">
            <a:extLst>
              <a:ext uri="{FF2B5EF4-FFF2-40B4-BE49-F238E27FC236}">
                <a16:creationId xmlns:a16="http://schemas.microsoft.com/office/drawing/2014/main" id="{35E9085E-E730-4768-83D4-6CB7E989715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5101967" y="1101467"/>
            <a:ext cx="8084069" cy="8084069"/>
          </a:xfrm>
          <a:custGeom>
            <a:avLst/>
            <a:gdLst>
              <a:gd name="connsiteX0" fmla="*/ 0 w 5389379"/>
              <a:gd name="connsiteY0" fmla="*/ 540040 h 5389379"/>
              <a:gd name="connsiteX1" fmla="*/ 540040 w 5389379"/>
              <a:gd name="connsiteY1" fmla="*/ 0 h 5389379"/>
              <a:gd name="connsiteX2" fmla="*/ 5389379 w 5389379"/>
              <a:gd name="connsiteY2" fmla="*/ 0 h 5389379"/>
              <a:gd name="connsiteX3" fmla="*/ 5389379 w 5389379"/>
              <a:gd name="connsiteY3" fmla="*/ 4838655 h 5389379"/>
              <a:gd name="connsiteX4" fmla="*/ 4838655 w 5389379"/>
              <a:gd name="connsiteY4" fmla="*/ 5389379 h 5389379"/>
              <a:gd name="connsiteX5" fmla="*/ 0 w 5389379"/>
              <a:gd name="connsiteY5" fmla="*/ 5389379 h 538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89379" h="5389379">
                <a:moveTo>
                  <a:pt x="0" y="540040"/>
                </a:moveTo>
                <a:lnTo>
                  <a:pt x="540040" y="0"/>
                </a:lnTo>
                <a:lnTo>
                  <a:pt x="5389379" y="0"/>
                </a:lnTo>
                <a:lnTo>
                  <a:pt x="5389379" y="4838655"/>
                </a:lnTo>
                <a:lnTo>
                  <a:pt x="4838655" y="5389379"/>
                </a:lnTo>
                <a:lnTo>
                  <a:pt x="0" y="5389379"/>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5" name="Freeform: Shape 24">
            <a:extLst>
              <a:ext uri="{FF2B5EF4-FFF2-40B4-BE49-F238E27FC236}">
                <a16:creationId xmlns:a16="http://schemas.microsoft.com/office/drawing/2014/main" id="{973272FE-A474-4CAE-8CA2-BCC8B476C3F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4050425" y="49925"/>
            <a:ext cx="10187153" cy="10187153"/>
          </a:xfrm>
          <a:custGeom>
            <a:avLst/>
            <a:gdLst>
              <a:gd name="connsiteX0" fmla="*/ 1860938 w 6791435"/>
              <a:gd name="connsiteY0" fmla="*/ 81158 h 6791435"/>
              <a:gd name="connsiteX1" fmla="*/ 1942096 w 6791435"/>
              <a:gd name="connsiteY1" fmla="*/ 0 h 6791435"/>
              <a:gd name="connsiteX2" fmla="*/ 6791435 w 6791435"/>
              <a:gd name="connsiteY2" fmla="*/ 0 h 6791435"/>
              <a:gd name="connsiteX3" fmla="*/ 6791435 w 6791435"/>
              <a:gd name="connsiteY3" fmla="*/ 4838655 h 6791435"/>
              <a:gd name="connsiteX4" fmla="*/ 6710277 w 6791435"/>
              <a:gd name="connsiteY4" fmla="*/ 4919813 h 6791435"/>
              <a:gd name="connsiteX5" fmla="*/ 6710277 w 6791435"/>
              <a:gd name="connsiteY5" fmla="*/ 81158 h 6791435"/>
              <a:gd name="connsiteX6" fmla="*/ 0 w 6791435"/>
              <a:gd name="connsiteY6" fmla="*/ 1942096 h 6791435"/>
              <a:gd name="connsiteX7" fmla="*/ 81158 w 6791435"/>
              <a:gd name="connsiteY7" fmla="*/ 1860938 h 6791435"/>
              <a:gd name="connsiteX8" fmla="*/ 81158 w 6791435"/>
              <a:gd name="connsiteY8" fmla="*/ 6710277 h 6791435"/>
              <a:gd name="connsiteX9" fmla="*/ 4919813 w 6791435"/>
              <a:gd name="connsiteY9" fmla="*/ 6710277 h 6791435"/>
              <a:gd name="connsiteX10" fmla="*/ 4838655 w 6791435"/>
              <a:gd name="connsiteY10" fmla="*/ 6791435 h 6791435"/>
              <a:gd name="connsiteX11" fmla="*/ 0 w 6791435"/>
              <a:gd name="connsiteY11" fmla="*/ 6791435 h 6791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791435" h="6791435">
                <a:moveTo>
                  <a:pt x="1860938" y="81158"/>
                </a:moveTo>
                <a:lnTo>
                  <a:pt x="1942096" y="0"/>
                </a:lnTo>
                <a:lnTo>
                  <a:pt x="6791435" y="0"/>
                </a:lnTo>
                <a:lnTo>
                  <a:pt x="6791435" y="4838655"/>
                </a:lnTo>
                <a:lnTo>
                  <a:pt x="6710277" y="4919813"/>
                </a:lnTo>
                <a:lnTo>
                  <a:pt x="6710277" y="81158"/>
                </a:lnTo>
                <a:close/>
                <a:moveTo>
                  <a:pt x="0" y="1942096"/>
                </a:moveTo>
                <a:lnTo>
                  <a:pt x="81158" y="1860938"/>
                </a:lnTo>
                <a:lnTo>
                  <a:pt x="81158" y="6710277"/>
                </a:lnTo>
                <a:lnTo>
                  <a:pt x="4919813" y="6710277"/>
                </a:lnTo>
                <a:lnTo>
                  <a:pt x="4838655" y="6791435"/>
                </a:lnTo>
                <a:lnTo>
                  <a:pt x="0" y="6791435"/>
                </a:lnTo>
                <a:close/>
              </a:path>
            </a:pathLst>
          </a:cu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Arial"/>
              <a:ea typeface="+mn-ea"/>
              <a:cs typeface="+mn-cs"/>
            </a:endParaRPr>
          </a:p>
        </p:txBody>
      </p:sp>
      <p:sp>
        <p:nvSpPr>
          <p:cNvPr id="4" name="Title 3">
            <a:extLst>
              <a:ext uri="{FF2B5EF4-FFF2-40B4-BE49-F238E27FC236}">
                <a16:creationId xmlns:a16="http://schemas.microsoft.com/office/drawing/2014/main" id="{B009CD84-DA40-4CAA-8A89-DD6DAA862368}"/>
              </a:ext>
            </a:extLst>
          </p:cNvPr>
          <p:cNvSpPr>
            <a:spLocks noGrp="1"/>
          </p:cNvSpPr>
          <p:nvPr>
            <p:ph type="title"/>
          </p:nvPr>
        </p:nvSpPr>
        <p:spPr>
          <a:xfrm>
            <a:off x="593812" y="2226712"/>
            <a:ext cx="17100376" cy="5423039"/>
          </a:xfrm>
          <a:noFill/>
        </p:spPr>
        <p:txBody>
          <a:bodyPr vert="horz" lIns="91440" tIns="45720" rIns="91440" bIns="45720" rtlCol="0" anchor="ctr">
            <a:normAutofit/>
          </a:bodyPr>
          <a:lstStyle/>
          <a:p>
            <a:pPr indent="457200">
              <a:spcBef>
                <a:spcPts val="600"/>
              </a:spcBef>
              <a:spcAft>
                <a:spcPts val="600"/>
              </a:spcAft>
            </a:pPr>
            <a:r>
              <a:rPr lang="en-GB" sz="1800" noProof="0" dirty="0">
                <a:effectLst/>
                <a:latin typeface="Palatino Linotype" panose="02040502050505030304" pitchFamily="18" charset="0"/>
                <a:ea typeface="Georgia" panose="02040502050405020303" pitchFamily="18" charset="0"/>
                <a:cs typeface="Times New Roman" panose="02020603050405020304" pitchFamily="18" charset="0"/>
              </a:rPr>
              <a:t> </a:t>
            </a:r>
            <a:br>
              <a:rPr lang="en-GB" sz="1800" noProof="0" dirty="0">
                <a:effectLst/>
                <a:latin typeface="Palatino Linotype" panose="02040502050505030304" pitchFamily="18" charset="0"/>
                <a:ea typeface="Georgia" panose="02040502050405020303" pitchFamily="18" charset="0"/>
                <a:cs typeface="Times New Roman" panose="02020603050405020304" pitchFamily="18" charset="0"/>
              </a:rPr>
            </a:br>
            <a:r>
              <a:rPr lang="en-GB" sz="5400" b="1" noProof="0" dirty="0">
                <a:solidFill>
                  <a:srgbClr val="CC0033"/>
                </a:solidFill>
                <a:ea typeface="+mn-ea"/>
                <a:cs typeface="Arial" panose="020B0604020202020204" pitchFamily="34" charset="0"/>
              </a:rPr>
              <a:t>Chapter 4: Digital Twin (DT) Development</a:t>
            </a:r>
          </a:p>
        </p:txBody>
      </p:sp>
      <p:sp>
        <p:nvSpPr>
          <p:cNvPr id="27" name="Freeform: Shape 26">
            <a:extLst>
              <a:ext uri="{FF2B5EF4-FFF2-40B4-BE49-F238E27FC236}">
                <a16:creationId xmlns:a16="http://schemas.microsoft.com/office/drawing/2014/main" id="{E07981EA-05A6-437C-88D7-B377B92B031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14444735" y="8186387"/>
            <a:ext cx="3347691" cy="3853217"/>
          </a:xfrm>
          <a:custGeom>
            <a:avLst/>
            <a:gdLst>
              <a:gd name="connsiteX0" fmla="*/ 0 w 2940086"/>
              <a:gd name="connsiteY0" fmla="*/ 0 h 3384061"/>
              <a:gd name="connsiteX1" fmla="*/ 2496112 w 2940086"/>
              <a:gd name="connsiteY1" fmla="*/ 0 h 3384061"/>
              <a:gd name="connsiteX2" fmla="*/ 2940086 w 2940086"/>
              <a:gd name="connsiteY2" fmla="*/ 443975 h 3384061"/>
              <a:gd name="connsiteX3" fmla="*/ 0 w 2940086"/>
              <a:gd name="connsiteY3" fmla="*/ 3384061 h 3384061"/>
            </a:gdLst>
            <a:ahLst/>
            <a:cxnLst>
              <a:cxn ang="0">
                <a:pos x="connsiteX0" y="connsiteY0"/>
              </a:cxn>
              <a:cxn ang="0">
                <a:pos x="connsiteX1" y="connsiteY1"/>
              </a:cxn>
              <a:cxn ang="0">
                <a:pos x="connsiteX2" y="connsiteY2"/>
              </a:cxn>
              <a:cxn ang="0">
                <a:pos x="connsiteX3" y="connsiteY3"/>
              </a:cxn>
            </a:cxnLst>
            <a:rect l="l" t="t" r="r" b="b"/>
            <a:pathLst>
              <a:path w="2940086" h="3384061">
                <a:moveTo>
                  <a:pt x="0" y="0"/>
                </a:moveTo>
                <a:lnTo>
                  <a:pt x="2496112" y="0"/>
                </a:lnTo>
                <a:lnTo>
                  <a:pt x="2940086" y="443975"/>
                </a:lnTo>
                <a:lnTo>
                  <a:pt x="0" y="3384061"/>
                </a:lnTo>
                <a:close/>
              </a:path>
            </a:pathLst>
          </a:cu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9" name="Rectangle 28">
            <a:extLst>
              <a:ext uri="{FF2B5EF4-FFF2-40B4-BE49-F238E27FC236}">
                <a16:creationId xmlns:a16="http://schemas.microsoft.com/office/drawing/2014/main" id="{15E3C750-986E-4769-B1AE-49289FBEE75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14580089" y="7865318"/>
            <a:ext cx="1439978" cy="1439978"/>
          </a:xfrm>
          <a:prstGeom prst="rect">
            <a:avLst/>
          </a:pr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463167702"/>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6"/>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marL="0" marR="0" lvl="0" indent="0" algn="ctr" defTabSz="914400" rtl="0" eaLnBrk="1" fontAlgn="auto" latinLnBrk="0" hangingPunct="1">
                <a:lnSpc>
                  <a:spcPts val="3919"/>
                </a:lnSpc>
                <a:spcBef>
                  <a:spcPct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OCR A Extended" panose="02010509020102010303" pitchFamily="50" charset="0"/>
                  <a:ea typeface="+mn-ea"/>
                  <a:cs typeface="+mn-cs"/>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4"/>
          <a:srcRect/>
          <a:stretch>
            <a:fillRect/>
          </a:stretch>
        </p:blipFill>
        <p:spPr>
          <a:xfrm>
            <a:off x="0" y="8901113"/>
            <a:ext cx="5715000" cy="1385887"/>
          </a:xfrm>
          <a:prstGeom prst="rect">
            <a:avLst/>
          </a:prstGeom>
        </p:spPr>
      </p:pic>
      <p:grpSp>
        <p:nvGrpSpPr>
          <p:cNvPr id="3" name="Gruppo 2">
            <a:extLst>
              <a:ext uri="{FF2B5EF4-FFF2-40B4-BE49-F238E27FC236}">
                <a16:creationId xmlns:a16="http://schemas.microsoft.com/office/drawing/2014/main" id="{1C29CBCA-BE0A-4EF6-AC69-329941E1DCFD}"/>
              </a:ext>
            </a:extLst>
          </p:cNvPr>
          <p:cNvGrpSpPr/>
          <p:nvPr/>
        </p:nvGrpSpPr>
        <p:grpSpPr>
          <a:xfrm>
            <a:off x="-12" y="138554"/>
            <a:ext cx="18288002" cy="681138"/>
            <a:chOff x="-12" y="138554"/>
            <a:chExt cx="18288002" cy="681138"/>
          </a:xfrm>
        </p:grpSpPr>
        <p:grpSp>
          <p:nvGrpSpPr>
            <p:cNvPr id="2" name="Gruppo 1">
              <a:extLst>
                <a:ext uri="{FF2B5EF4-FFF2-40B4-BE49-F238E27FC236}">
                  <a16:creationId xmlns:a16="http://schemas.microsoft.com/office/drawing/2014/main" id="{24E9C7AF-0093-476F-826C-A2702AB72892}"/>
                </a:ext>
              </a:extLst>
            </p:cNvPr>
            <p:cNvGrpSpPr/>
            <p:nvPr/>
          </p:nvGrpSpPr>
          <p:grpSpPr>
            <a:xfrm>
              <a:off x="0" y="153125"/>
              <a:ext cx="17907000" cy="666567"/>
              <a:chOff x="0" y="153125"/>
              <a:chExt cx="17907000" cy="666567"/>
            </a:xfrm>
          </p:grpSpPr>
          <p:pic>
            <p:nvPicPr>
              <p:cNvPr id="10" name="Picture 10"/>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2" name="TextBox 11">
                <a:extLst>
                  <a:ext uri="{FF2B5EF4-FFF2-40B4-BE49-F238E27FC236}">
                    <a16:creationId xmlns:a16="http://schemas.microsoft.com/office/drawing/2014/main" id="{1BD9B5F4-614C-4EB6-8C5B-120A5420CE43}"/>
                  </a:ext>
                </a:extLst>
              </p:cNvPr>
              <p:cNvSpPr txBox="1"/>
              <p:nvPr/>
            </p:nvSpPr>
            <p:spPr>
              <a:xfrm>
                <a:off x="12154296" y="257980"/>
                <a:ext cx="5752704" cy="456856"/>
              </a:xfrm>
              <a:prstGeom prst="rect">
                <a:avLst/>
              </a:prstGeom>
            </p:spPr>
            <p:txBody>
              <a:bodyPr wrap="square" lIns="0" tIns="0" rIns="0" bIns="0" rtlCol="0" anchor="t">
                <a:spAutoFit/>
              </a:bodyPr>
              <a:lstStyle/>
              <a:p>
                <a:pPr marL="0" marR="0" lvl="0" indent="0" algn="r" defTabSz="914400" rtl="0" eaLnBrk="1" fontAlgn="auto" latinLnBrk="0" hangingPunct="1">
                  <a:lnSpc>
                    <a:spcPts val="3919"/>
                  </a:lnSpc>
                  <a:spcBef>
                    <a:spcPct val="0"/>
                  </a:spcBef>
                  <a:spcAft>
                    <a:spcPts val="0"/>
                  </a:spcAft>
                  <a:buClrTx/>
                  <a:buSzTx/>
                  <a:buFontTx/>
                  <a:buNone/>
                  <a:tabLst/>
                  <a:defRPr/>
                </a:pPr>
                <a:endParaRPr kumimoji="0" lang="en-US" sz="2800" b="0" i="0" u="none" strike="noStrike" kern="1200" cap="none" spc="0" normalizeH="0" baseline="0" noProof="0">
                  <a:ln>
                    <a:noFill/>
                  </a:ln>
                  <a:solidFill>
                    <a:srgbClr val="2F2F2F">
                      <a:lumMod val="75000"/>
                      <a:lumOff val="25000"/>
                    </a:srgbClr>
                  </a:solidFill>
                  <a:effectLst/>
                  <a:uLnTx/>
                  <a:uFillTx/>
                  <a:latin typeface="Arial" panose="020B0604020202020204" pitchFamily="34" charset="0"/>
                  <a:ea typeface="+mn-ea"/>
                  <a:cs typeface="Arial" panose="020B0604020202020204" pitchFamily="34" charset="0"/>
                </a:endParaRPr>
              </a:p>
            </p:txBody>
          </p:sp>
        </p:grpSp>
        <p:sp>
          <p:nvSpPr>
            <p:cNvPr id="14" name="Rettangolo 13">
              <a:extLst>
                <a:ext uri="{FF2B5EF4-FFF2-40B4-BE49-F238E27FC236}">
                  <a16:creationId xmlns:a16="http://schemas.microsoft.com/office/drawing/2014/main" id="{55199736-B8B6-4C9A-8BAF-233E07A0CA89}"/>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3" name="TextBox 13"/>
          <p:cNvSpPr txBox="1"/>
          <p:nvPr/>
        </p:nvSpPr>
        <p:spPr>
          <a:xfrm>
            <a:off x="1646220" y="1231987"/>
            <a:ext cx="13618595" cy="677108"/>
          </a:xfrm>
          <a:prstGeom prst="rect">
            <a:avLst/>
          </a:prstGeom>
        </p:spPr>
        <p:txBody>
          <a:bodyPr wrap="square" lIns="0" tIns="0" rIns="0" bIns="0" rtlCol="0" anchor="t">
            <a:sp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4400" b="1" i="0" u="none" strike="noStrike" kern="1200" cap="none" spc="0" normalizeH="0" baseline="0" noProof="0">
                <a:ln>
                  <a:noFill/>
                </a:ln>
                <a:solidFill>
                  <a:srgbClr val="CC0033"/>
                </a:solidFill>
                <a:effectLst/>
                <a:uLnTx/>
                <a:uFillTx/>
                <a:latin typeface="Arial"/>
                <a:ea typeface="+mn-ea"/>
                <a:cs typeface="Arial" panose="020B0604020202020204" pitchFamily="34" charset="0"/>
              </a:rPr>
              <a:t>Overview of Chapter 4</a:t>
            </a:r>
            <a:endParaRPr kumimoji="0" lang="en-US" sz="3600" b="1" i="1" u="none" strike="noStrike" kern="1200" cap="none" spc="0" normalizeH="0" baseline="0" noProof="0">
              <a:ln>
                <a:noFill/>
              </a:ln>
              <a:solidFill>
                <a:srgbClr val="CC0033"/>
              </a:solidFill>
              <a:effectLst/>
              <a:uLnTx/>
              <a:uFillTx/>
              <a:latin typeface="Arial"/>
              <a:ea typeface="+mn-ea"/>
              <a:cs typeface="Arial" panose="020B0604020202020204" pitchFamily="34" charset="0"/>
            </a:endParaRPr>
          </a:p>
        </p:txBody>
      </p:sp>
      <p:sp>
        <p:nvSpPr>
          <p:cNvPr id="21" name="Content Placeholder 2">
            <a:extLst>
              <a:ext uri="{FF2B5EF4-FFF2-40B4-BE49-F238E27FC236}">
                <a16:creationId xmlns:a16="http://schemas.microsoft.com/office/drawing/2014/main" id="{7410B400-A91F-45CE-9F10-13149670B085}"/>
              </a:ext>
            </a:extLst>
          </p:cNvPr>
          <p:cNvSpPr txBox="1">
            <a:spLocks/>
          </p:cNvSpPr>
          <p:nvPr/>
        </p:nvSpPr>
        <p:spPr>
          <a:xfrm>
            <a:off x="1129553" y="2426246"/>
            <a:ext cx="9055336" cy="6217995"/>
          </a:xfrm>
          <a:prstGeom prst="rect">
            <a:avLst/>
          </a:prstGeom>
        </p:spPr>
        <p:txBody>
          <a:bodyPr vert="horz" lIns="91440" tIns="45720" rIns="91440" bIns="45720" rtlCol="0">
            <a:normAutofit/>
          </a:bodyPr>
          <a:lstStyle>
            <a:lvl1pPr marL="0" indent="0" algn="ctr" defTabSz="914400" rtl="0" eaLnBrk="1" latinLnBrk="0" hangingPunct="1">
              <a:spcBef>
                <a:spcPct val="20000"/>
              </a:spcBef>
              <a:buFont typeface="Arial" pitchFamily="34" charset="0"/>
              <a:buNone/>
              <a:defRPr sz="3200" kern="1200">
                <a:solidFill>
                  <a:schemeClr val="tx1">
                    <a:tint val="75000"/>
                  </a:schemeClr>
                </a:solidFill>
                <a:latin typeface="+mn-lt"/>
                <a:ea typeface="+mn-ea"/>
                <a:cs typeface="+mn-cs"/>
              </a:defRPr>
            </a:lvl1pPr>
            <a:lvl2pPr marL="457200" indent="0" algn="ctr" defTabSz="914400"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marL="457200" marR="0" lvl="1"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sv-SE" sz="2800" b="1" i="0" u="none" strike="noStrike" kern="1200" cap="none" spc="0" normalizeH="0" baseline="0" noProof="0">
                <a:ln>
                  <a:noFill/>
                </a:ln>
                <a:solidFill>
                  <a:srgbClr val="2F2F2F"/>
                </a:solidFill>
                <a:effectLst/>
                <a:uLnTx/>
                <a:uFillTx/>
                <a:latin typeface="Arial"/>
                <a:ea typeface="+mn-ea"/>
                <a:cs typeface="+mn-cs"/>
              </a:rPr>
              <a:t>In </a:t>
            </a:r>
            <a:r>
              <a:rPr kumimoji="0" lang="sv-SE" sz="2800" b="1" i="0" u="none" strike="noStrike" kern="1200" cap="none" spc="0" normalizeH="0" baseline="0" noProof="0" err="1">
                <a:ln>
                  <a:noFill/>
                </a:ln>
                <a:solidFill>
                  <a:srgbClr val="2F2F2F"/>
                </a:solidFill>
                <a:effectLst/>
                <a:uLnTx/>
                <a:uFillTx/>
                <a:latin typeface="Arial"/>
                <a:ea typeface="+mn-ea"/>
                <a:cs typeface="+mn-cs"/>
              </a:rPr>
              <a:t>this</a:t>
            </a:r>
            <a:r>
              <a:rPr kumimoji="0" lang="sv-SE" sz="2800" b="1" i="0" u="none" strike="noStrike" kern="1200" cap="none" spc="0" normalizeH="0" baseline="0" noProof="0">
                <a:ln>
                  <a:noFill/>
                </a:ln>
                <a:solidFill>
                  <a:srgbClr val="2F2F2F"/>
                </a:solidFill>
                <a:effectLst/>
                <a:uLnTx/>
                <a:uFillTx/>
                <a:latin typeface="Arial"/>
                <a:ea typeface="+mn-ea"/>
                <a:cs typeface="+mn-cs"/>
              </a:rPr>
              <a:t> </a:t>
            </a:r>
            <a:r>
              <a:rPr kumimoji="0" lang="sv-SE" sz="2800" b="1" i="0" u="none" strike="noStrike" kern="1200" cap="none" spc="0" normalizeH="0" baseline="0" noProof="0" err="1">
                <a:ln>
                  <a:noFill/>
                </a:ln>
                <a:solidFill>
                  <a:srgbClr val="2F2F2F"/>
                </a:solidFill>
                <a:effectLst/>
                <a:uLnTx/>
                <a:uFillTx/>
                <a:latin typeface="Arial"/>
                <a:ea typeface="+mn-ea"/>
                <a:cs typeface="+mn-cs"/>
              </a:rPr>
              <a:t>chapter</a:t>
            </a:r>
            <a:r>
              <a:rPr kumimoji="0" lang="sv-SE" sz="2800" b="1" i="0" u="none" strike="noStrike" kern="1200" cap="none" spc="0" normalizeH="0" baseline="0" noProof="0">
                <a:ln>
                  <a:noFill/>
                </a:ln>
                <a:solidFill>
                  <a:srgbClr val="2F2F2F"/>
                </a:solidFill>
                <a:effectLst/>
                <a:uLnTx/>
                <a:uFillTx/>
                <a:latin typeface="Arial"/>
                <a:ea typeface="+mn-ea"/>
                <a:cs typeface="+mn-cs"/>
              </a:rPr>
              <a:t>, </a:t>
            </a:r>
            <a:r>
              <a:rPr kumimoji="0" lang="sv-SE" sz="2800" b="1" i="0" u="none" strike="noStrike" kern="1200" cap="none" spc="0" normalizeH="0" baseline="0" noProof="0" err="1">
                <a:ln>
                  <a:noFill/>
                </a:ln>
                <a:solidFill>
                  <a:srgbClr val="2F2F2F"/>
                </a:solidFill>
                <a:effectLst/>
                <a:uLnTx/>
                <a:uFillTx/>
                <a:latin typeface="Arial"/>
                <a:ea typeface="+mn-ea"/>
                <a:cs typeface="+mn-cs"/>
              </a:rPr>
              <a:t>we</a:t>
            </a:r>
            <a:r>
              <a:rPr kumimoji="0" lang="sv-SE" sz="2800" b="1" i="0" u="none" strike="noStrike" kern="1200" cap="none" spc="0" normalizeH="0" baseline="0" noProof="0">
                <a:ln>
                  <a:noFill/>
                </a:ln>
                <a:solidFill>
                  <a:srgbClr val="2F2F2F"/>
                </a:solidFill>
                <a:effectLst/>
                <a:uLnTx/>
                <a:uFillTx/>
                <a:latin typeface="Arial"/>
                <a:ea typeface="+mn-ea"/>
                <a:cs typeface="+mn-cs"/>
              </a:rPr>
              <a:t> </a:t>
            </a:r>
            <a:r>
              <a:rPr kumimoji="0" lang="sv-SE" sz="2800" b="1" i="0" u="none" strike="noStrike" kern="1200" cap="none" spc="0" normalizeH="0" baseline="0" noProof="0" err="1">
                <a:ln>
                  <a:noFill/>
                </a:ln>
                <a:solidFill>
                  <a:srgbClr val="2F2F2F"/>
                </a:solidFill>
                <a:effectLst/>
                <a:uLnTx/>
                <a:uFillTx/>
                <a:latin typeface="Arial"/>
                <a:ea typeface="+mn-ea"/>
                <a:cs typeface="+mn-cs"/>
              </a:rPr>
              <a:t>will</a:t>
            </a:r>
            <a:r>
              <a:rPr kumimoji="0" lang="sv-SE" sz="2800" b="1" i="0" u="none" strike="noStrike" kern="1200" cap="none" spc="0" normalizeH="0" baseline="0" noProof="0">
                <a:ln>
                  <a:noFill/>
                </a:ln>
                <a:solidFill>
                  <a:srgbClr val="2F2F2F"/>
                </a:solidFill>
                <a:effectLst/>
                <a:uLnTx/>
                <a:uFillTx/>
                <a:latin typeface="Arial"/>
                <a:ea typeface="+mn-ea"/>
                <a:cs typeface="+mn-cs"/>
              </a:rPr>
              <a:t> </a:t>
            </a:r>
            <a:r>
              <a:rPr kumimoji="0" lang="sv-SE" sz="2800" b="1" i="0" u="none" strike="noStrike" kern="1200" cap="none" spc="0" normalizeH="0" baseline="0" noProof="0" err="1">
                <a:ln>
                  <a:noFill/>
                </a:ln>
                <a:solidFill>
                  <a:srgbClr val="2F2F2F"/>
                </a:solidFill>
                <a:effectLst/>
                <a:uLnTx/>
                <a:uFillTx/>
                <a:latin typeface="Arial"/>
                <a:ea typeface="+mn-ea"/>
                <a:cs typeface="+mn-cs"/>
              </a:rPr>
              <a:t>learn</a:t>
            </a:r>
            <a:r>
              <a:rPr kumimoji="0" lang="sv-SE" sz="2800" b="1" i="0" u="none" strike="noStrike" kern="1200" cap="none" spc="0" normalizeH="0" baseline="0" noProof="0">
                <a:ln>
                  <a:noFill/>
                </a:ln>
                <a:solidFill>
                  <a:srgbClr val="2F2F2F"/>
                </a:solidFill>
                <a:effectLst/>
                <a:uLnTx/>
                <a:uFillTx/>
                <a:latin typeface="Arial"/>
                <a:ea typeface="+mn-ea"/>
                <a:cs typeface="+mn-cs"/>
              </a:rPr>
              <a:t> </a:t>
            </a:r>
            <a:r>
              <a:rPr kumimoji="0" lang="sv-SE" sz="2800" b="1" i="0" u="none" strike="noStrike" kern="1200" cap="none" spc="0" normalizeH="0" baseline="0" noProof="0" err="1">
                <a:ln>
                  <a:noFill/>
                </a:ln>
                <a:solidFill>
                  <a:srgbClr val="2F2F2F"/>
                </a:solidFill>
                <a:effectLst/>
                <a:uLnTx/>
                <a:uFillTx/>
                <a:latin typeface="Arial"/>
                <a:ea typeface="+mn-ea"/>
                <a:cs typeface="+mn-cs"/>
              </a:rPr>
              <a:t>about</a:t>
            </a:r>
            <a:r>
              <a:rPr kumimoji="0" lang="sv-SE" sz="2800" b="1" i="0" u="none" strike="noStrike" kern="1200" cap="none" spc="0" normalizeH="0" baseline="0" noProof="0">
                <a:ln>
                  <a:noFill/>
                </a:ln>
                <a:solidFill>
                  <a:srgbClr val="2F2F2F"/>
                </a:solidFill>
                <a:effectLst/>
                <a:uLnTx/>
                <a:uFillTx/>
                <a:latin typeface="Arial"/>
                <a:ea typeface="+mn-ea"/>
                <a:cs typeface="+mn-cs"/>
              </a:rPr>
              <a:t>:</a:t>
            </a:r>
          </a:p>
          <a:p>
            <a:pPr marL="457200" marR="0" lvl="1" indent="0" algn="l"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sv-SE" sz="2800" b="1" i="0" u="none" strike="noStrike" kern="1200" cap="none" spc="0" normalizeH="0" baseline="0" noProof="0">
              <a:ln>
                <a:noFill/>
              </a:ln>
              <a:solidFill>
                <a:srgbClr val="2F2F2F"/>
              </a:solidFill>
              <a:effectLst/>
              <a:uLnTx/>
              <a:uFillTx/>
              <a:latin typeface="Arial"/>
              <a:ea typeface="+mn-ea"/>
              <a:cs typeface="+mn-cs"/>
            </a:endParaRPr>
          </a:p>
          <a:p>
            <a:pPr marL="914400" marR="0" lvl="1" indent="-4572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sv-SE" sz="2800" b="0" i="0" u="none" strike="noStrike" kern="1200" cap="none" spc="0" normalizeH="0" baseline="0" noProof="0" err="1">
                <a:ln>
                  <a:noFill/>
                </a:ln>
                <a:solidFill>
                  <a:srgbClr val="2F2F2F"/>
                </a:solidFill>
                <a:effectLst/>
                <a:uLnTx/>
                <a:uFillTx/>
                <a:latin typeface="Arial"/>
                <a:ea typeface="+mn-ea"/>
                <a:cs typeface="+mn-cs"/>
              </a:rPr>
              <a:t>Chapter</a:t>
            </a:r>
            <a:r>
              <a:rPr kumimoji="0" lang="sv-SE" sz="2800" b="0" i="0" u="none" strike="noStrike" kern="1200" cap="none" spc="0" normalizeH="0" baseline="0" noProof="0">
                <a:ln>
                  <a:noFill/>
                </a:ln>
                <a:solidFill>
                  <a:srgbClr val="2F2F2F"/>
                </a:solidFill>
                <a:effectLst/>
                <a:uLnTx/>
                <a:uFillTx/>
                <a:latin typeface="Arial"/>
                <a:ea typeface="+mn-ea"/>
                <a:cs typeface="+mn-cs"/>
              </a:rPr>
              <a:t> 4.1 Digital </a:t>
            </a:r>
            <a:r>
              <a:rPr kumimoji="0" lang="sv-SE" sz="2800" b="0" i="0" u="none" strike="noStrike" kern="1200" cap="none" spc="0" normalizeH="0" baseline="0" noProof="0" err="1">
                <a:ln>
                  <a:noFill/>
                </a:ln>
                <a:solidFill>
                  <a:srgbClr val="2F2F2F"/>
                </a:solidFill>
                <a:effectLst/>
                <a:uLnTx/>
                <a:uFillTx/>
                <a:latin typeface="Arial"/>
                <a:ea typeface="+mn-ea"/>
                <a:cs typeface="+mn-cs"/>
              </a:rPr>
              <a:t>Readiness</a:t>
            </a:r>
            <a:r>
              <a:rPr kumimoji="0" lang="sv-SE" sz="2800" b="0" i="0" u="none" strike="noStrike" kern="1200" cap="none" spc="0" normalizeH="0" baseline="0" noProof="0">
                <a:ln>
                  <a:noFill/>
                </a:ln>
                <a:solidFill>
                  <a:srgbClr val="2F2F2F"/>
                </a:solidFill>
                <a:effectLst/>
                <a:uLnTx/>
                <a:uFillTx/>
                <a:latin typeface="Arial"/>
                <a:ea typeface="+mn-ea"/>
                <a:cs typeface="+mn-cs"/>
              </a:rPr>
              <a:t> </a:t>
            </a:r>
            <a:r>
              <a:rPr kumimoji="0" lang="sv-SE" sz="2800" b="0" i="0" u="none" strike="noStrike" kern="1200" cap="none" spc="0" normalizeH="0" baseline="0" noProof="0" err="1">
                <a:ln>
                  <a:noFill/>
                </a:ln>
                <a:solidFill>
                  <a:srgbClr val="2F2F2F"/>
                </a:solidFill>
                <a:effectLst/>
                <a:uLnTx/>
                <a:uFillTx/>
                <a:latin typeface="Arial"/>
                <a:ea typeface="+mn-ea"/>
                <a:cs typeface="+mn-cs"/>
              </a:rPr>
              <a:t>Level</a:t>
            </a:r>
            <a:endParaRPr kumimoji="0" lang="sv-SE" sz="2800" b="0" i="0" u="none" strike="noStrike" kern="1200" cap="none" spc="0" normalizeH="0" baseline="0" noProof="0">
              <a:ln>
                <a:noFill/>
              </a:ln>
              <a:solidFill>
                <a:srgbClr val="2F2F2F"/>
              </a:solidFill>
              <a:effectLst/>
              <a:uLnTx/>
              <a:uFillTx/>
              <a:latin typeface="Arial"/>
              <a:ea typeface="+mn-ea"/>
              <a:cs typeface="+mn-cs"/>
            </a:endParaRPr>
          </a:p>
          <a:p>
            <a:pPr marL="914400" marR="0" lvl="1" indent="-4572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sv-SE" sz="2800" b="0" i="0" u="none" strike="noStrike" kern="1200" cap="none" spc="0" normalizeH="0" baseline="0" noProof="0" err="1">
                <a:ln>
                  <a:noFill/>
                </a:ln>
                <a:solidFill>
                  <a:srgbClr val="2F2F2F"/>
                </a:solidFill>
                <a:effectLst/>
                <a:uLnTx/>
                <a:uFillTx/>
                <a:latin typeface="Arial"/>
                <a:ea typeface="+mn-ea"/>
                <a:cs typeface="+mn-cs"/>
              </a:rPr>
              <a:t>Chapter</a:t>
            </a:r>
            <a:r>
              <a:rPr kumimoji="0" lang="sv-SE" sz="2800" b="0" i="0" u="none" strike="noStrike" kern="1200" cap="none" spc="0" normalizeH="0" baseline="0" noProof="0">
                <a:ln>
                  <a:noFill/>
                </a:ln>
                <a:solidFill>
                  <a:srgbClr val="2F2F2F"/>
                </a:solidFill>
                <a:effectLst/>
                <a:uLnTx/>
                <a:uFillTx/>
                <a:latin typeface="Arial"/>
                <a:ea typeface="+mn-ea"/>
                <a:cs typeface="+mn-cs"/>
              </a:rPr>
              <a:t> 4.2 Digital Twins and </a:t>
            </a:r>
            <a:r>
              <a:rPr kumimoji="0" lang="sv-SE" sz="2800" b="0" i="0" u="none" strike="noStrike" kern="1200" cap="none" spc="0" normalizeH="0" baseline="0" noProof="0" err="1">
                <a:ln>
                  <a:noFill/>
                </a:ln>
                <a:solidFill>
                  <a:srgbClr val="2F2F2F"/>
                </a:solidFill>
                <a:effectLst/>
                <a:uLnTx/>
                <a:uFillTx/>
                <a:latin typeface="Arial"/>
                <a:ea typeface="+mn-ea"/>
                <a:cs typeface="+mn-cs"/>
              </a:rPr>
              <a:t>how</a:t>
            </a:r>
            <a:r>
              <a:rPr kumimoji="0" lang="sv-SE" sz="2800" b="0" i="0" u="none" strike="noStrike" kern="1200" cap="none" spc="0" normalizeH="0" baseline="0" noProof="0">
                <a:ln>
                  <a:noFill/>
                </a:ln>
                <a:solidFill>
                  <a:srgbClr val="2F2F2F"/>
                </a:solidFill>
                <a:effectLst/>
                <a:uLnTx/>
                <a:uFillTx/>
                <a:latin typeface="Arial"/>
                <a:ea typeface="+mn-ea"/>
                <a:cs typeface="+mn-cs"/>
              </a:rPr>
              <a:t> to </a:t>
            </a:r>
            <a:r>
              <a:rPr kumimoji="0" lang="sv-SE" sz="2800" b="0" i="0" u="none" strike="noStrike" kern="1200" cap="none" spc="0" normalizeH="0" baseline="0" noProof="0" err="1">
                <a:ln>
                  <a:noFill/>
                </a:ln>
                <a:solidFill>
                  <a:srgbClr val="2F2F2F"/>
                </a:solidFill>
                <a:effectLst/>
                <a:uLnTx/>
                <a:uFillTx/>
                <a:latin typeface="Arial"/>
                <a:ea typeface="+mn-ea"/>
                <a:cs typeface="+mn-cs"/>
              </a:rPr>
              <a:t>create</a:t>
            </a:r>
            <a:r>
              <a:rPr kumimoji="0" lang="sv-SE" sz="2800" b="0" i="0" u="none" strike="noStrike" kern="1200" cap="none" spc="0" normalizeH="0" baseline="0" noProof="0">
                <a:ln>
                  <a:noFill/>
                </a:ln>
                <a:solidFill>
                  <a:srgbClr val="2F2F2F"/>
                </a:solidFill>
                <a:effectLst/>
                <a:uLnTx/>
                <a:uFillTx/>
                <a:latin typeface="Arial"/>
                <a:ea typeface="+mn-ea"/>
                <a:cs typeface="+mn-cs"/>
              </a:rPr>
              <a:t> </a:t>
            </a:r>
            <a:r>
              <a:rPr kumimoji="0" lang="sv-SE" sz="2800" b="0" i="0" u="none" strike="noStrike" kern="1200" cap="none" spc="0" normalizeH="0" baseline="0" noProof="0" err="1">
                <a:ln>
                  <a:noFill/>
                </a:ln>
                <a:solidFill>
                  <a:srgbClr val="2F2F2F"/>
                </a:solidFill>
                <a:effectLst/>
                <a:uLnTx/>
                <a:uFillTx/>
                <a:latin typeface="Arial"/>
                <a:ea typeface="+mn-ea"/>
                <a:cs typeface="+mn-cs"/>
              </a:rPr>
              <a:t>one</a:t>
            </a:r>
            <a:endParaRPr kumimoji="0" lang="sv-SE" sz="2800" b="0" i="0" u="none" strike="noStrike" kern="1200" cap="none" spc="0" normalizeH="0" baseline="0" noProof="0">
              <a:ln>
                <a:noFill/>
              </a:ln>
              <a:solidFill>
                <a:srgbClr val="2F2F2F"/>
              </a:solidFill>
              <a:effectLst/>
              <a:uLnTx/>
              <a:uFillTx/>
              <a:latin typeface="Arial"/>
              <a:ea typeface="+mn-ea"/>
              <a:cs typeface="+mn-cs"/>
            </a:endParaRPr>
          </a:p>
          <a:p>
            <a:pPr marL="914400" marR="0" lvl="1" indent="-4572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sv-SE" err="1">
                <a:solidFill>
                  <a:srgbClr val="2F2F2F"/>
                </a:solidFill>
                <a:latin typeface="Arial"/>
              </a:rPr>
              <a:t>Chapter</a:t>
            </a:r>
            <a:r>
              <a:rPr lang="sv-SE">
                <a:solidFill>
                  <a:srgbClr val="2F2F2F"/>
                </a:solidFill>
                <a:latin typeface="Arial"/>
              </a:rPr>
              <a:t> 4.3 </a:t>
            </a:r>
            <a:r>
              <a:rPr lang="sv-SE" err="1">
                <a:solidFill>
                  <a:srgbClr val="2F2F2F"/>
                </a:solidFill>
                <a:latin typeface="Arial"/>
              </a:rPr>
              <a:t>Example</a:t>
            </a:r>
            <a:r>
              <a:rPr lang="sv-SE">
                <a:solidFill>
                  <a:srgbClr val="2F2F2F"/>
                </a:solidFill>
                <a:latin typeface="Arial"/>
              </a:rPr>
              <a:t> </a:t>
            </a:r>
            <a:r>
              <a:rPr lang="sv-SE" err="1">
                <a:solidFill>
                  <a:schemeClr val="tx1"/>
                </a:solidFill>
              </a:rPr>
              <a:t>of</a:t>
            </a:r>
            <a:r>
              <a:rPr lang="sv-SE">
                <a:solidFill>
                  <a:schemeClr val="tx1"/>
                </a:solidFill>
              </a:rPr>
              <a:t> digital Twin for </a:t>
            </a:r>
            <a:r>
              <a:rPr lang="sv-SE" err="1">
                <a:solidFill>
                  <a:schemeClr val="tx1"/>
                </a:solidFill>
              </a:rPr>
              <a:t>Agrochemical</a:t>
            </a:r>
            <a:r>
              <a:rPr lang="sv-SE">
                <a:solidFill>
                  <a:schemeClr val="tx1"/>
                </a:solidFill>
              </a:rPr>
              <a:t> </a:t>
            </a:r>
            <a:r>
              <a:rPr lang="sv-SE" err="1">
                <a:solidFill>
                  <a:schemeClr val="tx1"/>
                </a:solidFill>
              </a:rPr>
              <a:t>Sector</a:t>
            </a:r>
            <a:r>
              <a:rPr lang="sv-SE">
                <a:solidFill>
                  <a:srgbClr val="2F2F2F"/>
                </a:solidFill>
                <a:latin typeface="Arial"/>
              </a:rPr>
              <a:t> </a:t>
            </a:r>
            <a:endParaRPr kumimoji="0" lang="sv-SE" sz="2800" b="0" i="0" u="none" strike="noStrike" kern="1200" cap="none" spc="0" normalizeH="0" baseline="0" noProof="0">
              <a:ln>
                <a:noFill/>
              </a:ln>
              <a:solidFill>
                <a:srgbClr val="2F2F2F"/>
              </a:solidFill>
              <a:effectLst/>
              <a:uLnTx/>
              <a:uFillTx/>
              <a:latin typeface="Arial"/>
              <a:ea typeface="+mn-ea"/>
              <a:cs typeface="+mn-cs"/>
            </a:endParaRPr>
          </a:p>
        </p:txBody>
      </p:sp>
      <p:pic>
        <p:nvPicPr>
          <p:cNvPr id="5" name="Picture 4">
            <a:extLst>
              <a:ext uri="{FF2B5EF4-FFF2-40B4-BE49-F238E27FC236}">
                <a16:creationId xmlns:a16="http://schemas.microsoft.com/office/drawing/2014/main" id="{E931608B-EF97-A3BC-522D-5C16D1E42A6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184889" y="2434998"/>
            <a:ext cx="7547910" cy="5035534"/>
          </a:xfrm>
          <a:prstGeom prst="rect">
            <a:avLst/>
          </a:prstGeom>
        </p:spPr>
      </p:pic>
    </p:spTree>
    <p:extLst>
      <p:ext uri="{BB962C8B-B14F-4D97-AF65-F5344CB8AC3E}">
        <p14:creationId xmlns:p14="http://schemas.microsoft.com/office/powerpoint/2010/main" val="338513169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6"/>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marL="0" marR="0" lvl="0" indent="0" algn="ctr" defTabSz="914400" rtl="0" eaLnBrk="1" fontAlgn="auto" latinLnBrk="0" hangingPunct="1">
                <a:lnSpc>
                  <a:spcPts val="3919"/>
                </a:lnSpc>
                <a:spcBef>
                  <a:spcPct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OCR A Extended" panose="02010509020102010303" pitchFamily="50" charset="0"/>
                  <a:ea typeface="+mn-ea"/>
                  <a:cs typeface="+mn-cs"/>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4"/>
          <a:srcRect/>
          <a:stretch>
            <a:fillRect/>
          </a:stretch>
        </p:blipFill>
        <p:spPr>
          <a:xfrm>
            <a:off x="0" y="9625294"/>
            <a:ext cx="2728686" cy="661706"/>
          </a:xfrm>
          <a:prstGeom prst="rect">
            <a:avLst/>
          </a:prstGeom>
        </p:spPr>
      </p:pic>
      <p:grpSp>
        <p:nvGrpSpPr>
          <p:cNvPr id="3" name="Gruppo 2">
            <a:extLst>
              <a:ext uri="{FF2B5EF4-FFF2-40B4-BE49-F238E27FC236}">
                <a16:creationId xmlns:a16="http://schemas.microsoft.com/office/drawing/2014/main" id="{1C29CBCA-BE0A-4EF6-AC69-329941E1DCFD}"/>
              </a:ext>
            </a:extLst>
          </p:cNvPr>
          <p:cNvGrpSpPr/>
          <p:nvPr/>
        </p:nvGrpSpPr>
        <p:grpSpPr>
          <a:xfrm>
            <a:off x="-12" y="138554"/>
            <a:ext cx="18288002" cy="681138"/>
            <a:chOff x="-12" y="138554"/>
            <a:chExt cx="18288002" cy="681138"/>
          </a:xfrm>
        </p:grpSpPr>
        <p:grpSp>
          <p:nvGrpSpPr>
            <p:cNvPr id="2" name="Gruppo 1">
              <a:extLst>
                <a:ext uri="{FF2B5EF4-FFF2-40B4-BE49-F238E27FC236}">
                  <a16:creationId xmlns:a16="http://schemas.microsoft.com/office/drawing/2014/main" id="{24E9C7AF-0093-476F-826C-A2702AB72892}"/>
                </a:ext>
              </a:extLst>
            </p:cNvPr>
            <p:cNvGrpSpPr/>
            <p:nvPr/>
          </p:nvGrpSpPr>
          <p:grpSpPr>
            <a:xfrm>
              <a:off x="0" y="153125"/>
              <a:ext cx="17907000" cy="666567"/>
              <a:chOff x="0" y="153125"/>
              <a:chExt cx="17907000" cy="666567"/>
            </a:xfrm>
          </p:grpSpPr>
          <p:grpSp>
            <p:nvGrpSpPr>
              <p:cNvPr id="16" name="Gruppo 15">
                <a:extLst>
                  <a:ext uri="{FF2B5EF4-FFF2-40B4-BE49-F238E27FC236}">
                    <a16:creationId xmlns:a16="http://schemas.microsoft.com/office/drawing/2014/main" id="{DAC42A46-917D-41AB-8F07-E15E54D0F7D4}"/>
                  </a:ext>
                </a:extLst>
              </p:cNvPr>
              <p:cNvGrpSpPr/>
              <p:nvPr/>
            </p:nvGrpSpPr>
            <p:grpSpPr>
              <a:xfrm>
                <a:off x="0" y="153125"/>
                <a:ext cx="13958844" cy="666567"/>
                <a:chOff x="0" y="153125"/>
                <a:chExt cx="13958844" cy="666567"/>
              </a:xfrm>
            </p:grpSpPr>
            <p:pic>
              <p:nvPicPr>
                <p:cNvPr id="10" name="Picture 10"/>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1" name="TextBox 11"/>
                <p:cNvSpPr txBox="1"/>
                <p:nvPr/>
              </p:nvSpPr>
              <p:spPr>
                <a:xfrm>
                  <a:off x="228600" y="257980"/>
                  <a:ext cx="9296400" cy="456856"/>
                </a:xfrm>
                <a:prstGeom prst="rect">
                  <a:avLst/>
                </a:prstGeom>
              </p:spPr>
              <p:txBody>
                <a:bodyPr wrap="square" lIns="0" tIns="0" rIns="0" bIns="0" rtlCol="0" anchor="t">
                  <a:spAutoFit/>
                </a:bodyPr>
                <a:lstStyle/>
                <a:p>
                  <a:pPr marL="0" marR="0" lvl="0" indent="0" algn="l" defTabSz="914400" rtl="0" eaLnBrk="1" fontAlgn="auto" latinLnBrk="0" hangingPunct="1">
                    <a:lnSpc>
                      <a:spcPts val="3919"/>
                    </a:lnSpc>
                    <a:spcBef>
                      <a:spcPct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2" name="TextBox 11">
                <a:extLst>
                  <a:ext uri="{FF2B5EF4-FFF2-40B4-BE49-F238E27FC236}">
                    <a16:creationId xmlns:a16="http://schemas.microsoft.com/office/drawing/2014/main" id="{1BD9B5F4-614C-4EB6-8C5B-120A5420CE43}"/>
                  </a:ext>
                </a:extLst>
              </p:cNvPr>
              <p:cNvSpPr txBox="1"/>
              <p:nvPr/>
            </p:nvSpPr>
            <p:spPr>
              <a:xfrm>
                <a:off x="12154296" y="257980"/>
                <a:ext cx="5752704" cy="456856"/>
              </a:xfrm>
              <a:prstGeom prst="rect">
                <a:avLst/>
              </a:prstGeom>
            </p:spPr>
            <p:txBody>
              <a:bodyPr wrap="square" lIns="0" tIns="0" rIns="0" bIns="0" rtlCol="0" anchor="t">
                <a:spAutoFit/>
              </a:bodyPr>
              <a:lstStyle/>
              <a:p>
                <a:pPr marL="0" marR="0" lvl="0" indent="0" algn="r" defTabSz="914400" rtl="0" eaLnBrk="1" fontAlgn="auto" latinLnBrk="0" hangingPunct="1">
                  <a:lnSpc>
                    <a:spcPts val="3919"/>
                  </a:lnSpc>
                  <a:spcBef>
                    <a:spcPct val="0"/>
                  </a:spcBef>
                  <a:spcAft>
                    <a:spcPts val="0"/>
                  </a:spcAft>
                  <a:buClrTx/>
                  <a:buSzTx/>
                  <a:buFontTx/>
                  <a:buNone/>
                  <a:tabLst/>
                  <a:defRPr/>
                </a:pPr>
                <a:endParaRPr kumimoji="0" lang="en-US" sz="2800" b="0" i="0" u="none" strike="noStrike" kern="1200" cap="none" spc="0" normalizeH="0" baseline="0" noProof="0">
                  <a:ln>
                    <a:noFill/>
                  </a:ln>
                  <a:solidFill>
                    <a:srgbClr val="2F2F2F">
                      <a:lumMod val="75000"/>
                      <a:lumOff val="25000"/>
                    </a:srgbClr>
                  </a:solidFill>
                  <a:effectLst/>
                  <a:uLnTx/>
                  <a:uFillTx/>
                  <a:latin typeface="Arial" panose="020B0604020202020204" pitchFamily="34" charset="0"/>
                  <a:ea typeface="+mn-ea"/>
                  <a:cs typeface="Arial" panose="020B0604020202020204" pitchFamily="34" charset="0"/>
                </a:endParaRPr>
              </a:p>
            </p:txBody>
          </p:sp>
        </p:grpSp>
        <p:sp>
          <p:nvSpPr>
            <p:cNvPr id="14" name="Rettangolo 13">
              <a:extLst>
                <a:ext uri="{FF2B5EF4-FFF2-40B4-BE49-F238E27FC236}">
                  <a16:creationId xmlns:a16="http://schemas.microsoft.com/office/drawing/2014/main" id="{55199736-B8B6-4C9A-8BAF-233E07A0CA89}"/>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3" name="TextBox 13"/>
          <p:cNvSpPr txBox="1"/>
          <p:nvPr/>
        </p:nvSpPr>
        <p:spPr>
          <a:xfrm>
            <a:off x="841829" y="1004417"/>
            <a:ext cx="16410214" cy="1052468"/>
          </a:xfrm>
          <a:prstGeom prst="rect">
            <a:avLst/>
          </a:prstGeom>
        </p:spPr>
        <p:txBody>
          <a:bodyPr wrap="square" lIns="0" tIns="0" rIns="0" bIns="0" rtlCol="0" anchor="t">
            <a:spAutoFit/>
          </a:bodyPr>
          <a:lstStyle/>
          <a:p>
            <a:pPr marL="0" marR="0" lvl="0" indent="0" algn="l" defTabSz="914400" rtl="0" eaLnBrk="1" fontAlgn="auto" latinLnBrk="0" hangingPunct="1">
              <a:lnSpc>
                <a:spcPts val="8960"/>
              </a:lnSpc>
              <a:spcBef>
                <a:spcPct val="0"/>
              </a:spcBef>
              <a:spcAft>
                <a:spcPts val="0"/>
              </a:spcAft>
              <a:buClrTx/>
              <a:buSzTx/>
              <a:buFontTx/>
              <a:buNone/>
              <a:tabLst/>
              <a:defRPr/>
            </a:pPr>
            <a:r>
              <a:rPr kumimoji="0" lang="en-US" sz="6400" b="1" i="0" u="none" strike="noStrike" kern="1200" cap="none" spc="0" normalizeH="0" baseline="0" noProof="0">
                <a:ln>
                  <a:noFill/>
                </a:ln>
                <a:solidFill>
                  <a:srgbClr val="CC0033"/>
                </a:solidFill>
                <a:effectLst/>
                <a:uLnTx/>
                <a:uFillTx/>
                <a:latin typeface="Arial"/>
                <a:ea typeface="+mn-ea"/>
                <a:cs typeface="Arial" panose="020B0604020202020204" pitchFamily="34" charset="0"/>
              </a:rPr>
              <a:t>A. EU Policy Framework</a:t>
            </a:r>
          </a:p>
        </p:txBody>
      </p:sp>
      <p:sp>
        <p:nvSpPr>
          <p:cNvPr id="22" name="TextBox 21">
            <a:extLst>
              <a:ext uri="{FF2B5EF4-FFF2-40B4-BE49-F238E27FC236}">
                <a16:creationId xmlns:a16="http://schemas.microsoft.com/office/drawing/2014/main" id="{F21DCD0B-B68A-4D7A-9F6C-6D71442D13F2}"/>
              </a:ext>
            </a:extLst>
          </p:cNvPr>
          <p:cNvSpPr txBox="1"/>
          <p:nvPr/>
        </p:nvSpPr>
        <p:spPr>
          <a:xfrm>
            <a:off x="620485" y="2295899"/>
            <a:ext cx="14850174" cy="7848302"/>
          </a:xfrm>
          <a:prstGeom prst="rect">
            <a:avLst/>
          </a:prstGeom>
        </p:spPr>
        <p:txBody>
          <a:bodyPr wrap="square" lIns="0" tIns="0" rIns="0" bIns="0" rtlCol="0" anchor="t">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sv-SE" sz="3600" b="0" i="0" u="sng" strike="noStrike" kern="100" cap="none" spc="0" normalizeH="0" baseline="0" noProof="0" dirty="0">
                <a:ln>
                  <a:noFill/>
                </a:ln>
                <a:solidFill>
                  <a:srgbClr val="404040"/>
                </a:solidFill>
                <a:effectLst/>
                <a:uLnTx/>
                <a:uFillTx/>
                <a:latin typeface="Arial"/>
                <a:ea typeface="+mn-ea"/>
                <a:cs typeface="+mn-cs"/>
              </a:rPr>
              <a:t>1.1 The Emissions Trading System (ETS)</a:t>
            </a:r>
          </a:p>
          <a:p>
            <a:pPr marL="1028700" marR="0" lvl="1" indent="-571500" algn="l" defTabSz="914400" rtl="0" eaLnBrk="1" fontAlgn="auto" latinLnBrk="0" hangingPunct="1">
              <a:lnSpc>
                <a:spcPct val="150000"/>
              </a:lnSpc>
              <a:spcBef>
                <a:spcPts val="0"/>
              </a:spcBef>
              <a:spcAft>
                <a:spcPts val="0"/>
              </a:spcAft>
              <a:buClrTx/>
              <a:buSzTx/>
              <a:buFont typeface="Courier New" panose="02070309020205020404" pitchFamily="49" charset="0"/>
              <a:buChar char="o"/>
              <a:tabLst/>
              <a:defRPr/>
            </a:pPr>
            <a:r>
              <a:rPr kumimoji="0" lang="en-US" sz="2800" b="0" i="0" u="none" strike="noStrike" kern="100" cap="none" spc="0" normalizeH="0" baseline="0" dirty="0">
                <a:ln>
                  <a:noFill/>
                </a:ln>
                <a:solidFill>
                  <a:srgbClr val="404040"/>
                </a:solidFill>
                <a:effectLst/>
                <a:uLnTx/>
                <a:uFillTx/>
                <a:latin typeface="Arial"/>
                <a:ea typeface="+mn-ea"/>
                <a:cs typeface="+mn-cs"/>
              </a:rPr>
              <a:t>First</a:t>
            </a:r>
            <a:r>
              <a:rPr kumimoji="0" lang="sv-SE" sz="2800" b="0" i="0" u="none" strike="noStrike" kern="100" cap="none" spc="0" normalizeH="0" baseline="0" noProof="0" dirty="0">
                <a:ln>
                  <a:noFill/>
                </a:ln>
                <a:solidFill>
                  <a:srgbClr val="404040"/>
                </a:solidFill>
                <a:effectLst/>
                <a:uLnTx/>
                <a:uFillTx/>
                <a:latin typeface="Arial"/>
                <a:ea typeface="+mn-ea"/>
                <a:cs typeface="+mn-cs"/>
              </a:rPr>
              <a:t> and </a:t>
            </a:r>
            <a:r>
              <a:rPr kumimoji="0" lang="sv-SE" sz="2800" b="0" i="0" u="none" strike="noStrike" kern="100" cap="none" spc="0" normalizeH="0" baseline="0" noProof="0" dirty="0" err="1">
                <a:ln>
                  <a:noFill/>
                </a:ln>
                <a:solidFill>
                  <a:srgbClr val="404040"/>
                </a:solidFill>
                <a:effectLst/>
                <a:uLnTx/>
                <a:uFillTx/>
                <a:latin typeface="Arial"/>
                <a:ea typeface="+mn-ea"/>
                <a:cs typeface="+mn-cs"/>
              </a:rPr>
              <a:t>biggest</a:t>
            </a:r>
            <a:r>
              <a:rPr kumimoji="0" lang="sv-SE" sz="2800" b="0" i="0" u="none" strike="noStrike" kern="100" cap="none" spc="0" normalizeH="0" baseline="0" noProof="0" dirty="0">
                <a:ln>
                  <a:noFill/>
                </a:ln>
                <a:solidFill>
                  <a:srgbClr val="404040"/>
                </a:solidFill>
                <a:effectLst/>
                <a:uLnTx/>
                <a:uFillTx/>
                <a:latin typeface="Arial"/>
                <a:ea typeface="+mn-ea"/>
                <a:cs typeface="+mn-cs"/>
              </a:rPr>
              <a:t> </a:t>
            </a:r>
            <a:r>
              <a:rPr kumimoji="0" lang="sv-SE" sz="2800" b="1" i="0" u="none" strike="noStrike" kern="100" cap="none" spc="0" normalizeH="0" baseline="0" noProof="0" dirty="0" err="1">
                <a:ln>
                  <a:noFill/>
                </a:ln>
                <a:solidFill>
                  <a:srgbClr val="404040"/>
                </a:solidFill>
                <a:effectLst/>
                <a:uLnTx/>
                <a:uFillTx/>
                <a:latin typeface="Arial"/>
                <a:ea typeface="+mn-ea"/>
                <a:cs typeface="+mn-cs"/>
              </a:rPr>
              <a:t>carbon</a:t>
            </a:r>
            <a:r>
              <a:rPr kumimoji="0" lang="sv-SE" sz="2800" b="1" i="0" u="none" strike="noStrike" kern="100" cap="none" spc="0" normalizeH="0" baseline="0" noProof="0" dirty="0">
                <a:ln>
                  <a:noFill/>
                </a:ln>
                <a:solidFill>
                  <a:srgbClr val="404040"/>
                </a:solidFill>
                <a:effectLst/>
                <a:uLnTx/>
                <a:uFillTx/>
                <a:latin typeface="Arial"/>
                <a:ea typeface="+mn-ea"/>
                <a:cs typeface="+mn-cs"/>
              </a:rPr>
              <a:t> market</a:t>
            </a:r>
          </a:p>
          <a:p>
            <a:pPr marL="1028700" marR="0" lvl="1" indent="-571500" algn="l" defTabSz="914400" rtl="0" eaLnBrk="1" fontAlgn="auto" latinLnBrk="0" hangingPunct="1">
              <a:lnSpc>
                <a:spcPct val="150000"/>
              </a:lnSpc>
              <a:spcBef>
                <a:spcPts val="0"/>
              </a:spcBef>
              <a:spcAft>
                <a:spcPts val="0"/>
              </a:spcAft>
              <a:buClrTx/>
              <a:buSzTx/>
              <a:buFont typeface="Courier New" panose="02070309020205020404" pitchFamily="49" charset="0"/>
              <a:buChar char="o"/>
              <a:tabLst/>
              <a:defRPr/>
            </a:pPr>
            <a:r>
              <a:rPr kumimoji="0" lang="sv-SE" sz="2800" b="0" i="0" u="none" strike="noStrike" kern="100" cap="none" spc="0" normalizeH="0" baseline="0" noProof="0" dirty="0">
                <a:ln>
                  <a:noFill/>
                </a:ln>
                <a:solidFill>
                  <a:srgbClr val="404040"/>
                </a:solidFill>
                <a:effectLst/>
                <a:uLnTx/>
                <a:uFillTx/>
                <a:latin typeface="Arial"/>
                <a:ea typeface="+mn-ea"/>
                <a:cs typeface="+mn-cs"/>
              </a:rPr>
              <a:t>Power plants, </a:t>
            </a:r>
            <a:r>
              <a:rPr kumimoji="0" lang="sv-SE" sz="2800" b="0" i="0" u="none" strike="noStrike" kern="100" cap="none" spc="0" normalizeH="0" baseline="0" noProof="0" dirty="0" err="1">
                <a:ln>
                  <a:noFill/>
                </a:ln>
                <a:solidFill>
                  <a:srgbClr val="404040"/>
                </a:solidFill>
                <a:effectLst/>
                <a:uLnTx/>
                <a:uFillTx/>
                <a:latin typeface="Arial"/>
                <a:ea typeface="+mn-ea"/>
                <a:cs typeface="+mn-cs"/>
              </a:rPr>
              <a:t>industry</a:t>
            </a:r>
            <a:r>
              <a:rPr kumimoji="0" lang="sv-SE" sz="2800" b="0" i="0" u="none" strike="noStrike" kern="100" cap="none" spc="0" normalizeH="0" baseline="0" noProof="0" dirty="0">
                <a:ln>
                  <a:noFill/>
                </a:ln>
                <a:solidFill>
                  <a:srgbClr val="404040"/>
                </a:solidFill>
                <a:effectLst/>
                <a:uLnTx/>
                <a:uFillTx/>
                <a:latin typeface="Arial"/>
                <a:ea typeface="+mn-ea"/>
                <a:cs typeface="+mn-cs"/>
              </a:rPr>
              <a:t> </a:t>
            </a:r>
            <a:r>
              <a:rPr kumimoji="0" lang="sv-SE" sz="2800" b="0" i="0" u="none" strike="noStrike" kern="100" cap="none" spc="0" normalizeH="0" baseline="0" noProof="0" dirty="0" err="1">
                <a:ln>
                  <a:noFill/>
                </a:ln>
                <a:solidFill>
                  <a:srgbClr val="404040"/>
                </a:solidFill>
                <a:effectLst/>
                <a:uLnTx/>
                <a:uFillTx/>
                <a:latin typeface="Arial"/>
                <a:ea typeface="+mn-ea"/>
                <a:cs typeface="+mn-cs"/>
              </a:rPr>
              <a:t>factories</a:t>
            </a:r>
            <a:r>
              <a:rPr kumimoji="0" lang="sv-SE" sz="2800" b="0" i="0" u="none" strike="noStrike" kern="100" cap="none" spc="0" normalizeH="0" baseline="0" noProof="0" dirty="0">
                <a:ln>
                  <a:noFill/>
                </a:ln>
                <a:solidFill>
                  <a:srgbClr val="404040"/>
                </a:solidFill>
                <a:effectLst/>
                <a:uLnTx/>
                <a:uFillTx/>
                <a:latin typeface="Arial"/>
                <a:ea typeface="+mn-ea"/>
                <a:cs typeface="+mn-cs"/>
              </a:rPr>
              <a:t> (</a:t>
            </a:r>
            <a:r>
              <a:rPr kumimoji="0" lang="en-US" sz="2800" b="0" i="0" u="none" strike="noStrike" kern="100" cap="none" spc="0" normalizeH="0" baseline="0" noProof="0" dirty="0">
                <a:ln>
                  <a:noFill/>
                </a:ln>
                <a:solidFill>
                  <a:srgbClr val="404040"/>
                </a:solidFill>
                <a:effectLst/>
                <a:uLnTx/>
                <a:uFillTx/>
                <a:latin typeface="Arial"/>
                <a:ea typeface="+mn-ea"/>
                <a:cs typeface="+mn-cs"/>
              </a:rPr>
              <a:t>oil refineries, steel works and production of iron, </a:t>
            </a:r>
            <a:r>
              <a:rPr kumimoji="0" lang="en-US" sz="2800" b="0" i="0" u="none" strike="noStrike" kern="100" cap="none" spc="0" normalizeH="0" baseline="0" noProof="0" dirty="0" err="1">
                <a:ln>
                  <a:noFill/>
                </a:ln>
                <a:solidFill>
                  <a:srgbClr val="404040"/>
                </a:solidFill>
                <a:effectLst/>
                <a:uLnTx/>
                <a:uFillTx/>
                <a:latin typeface="Arial"/>
                <a:ea typeface="+mn-ea"/>
                <a:cs typeface="+mn-cs"/>
              </a:rPr>
              <a:t>aluminium</a:t>
            </a:r>
            <a:r>
              <a:rPr kumimoji="0" lang="en-US" sz="2800" b="0" i="0" u="none" strike="noStrike" kern="100" cap="none" spc="0" normalizeH="0" baseline="0" noProof="0" dirty="0">
                <a:ln>
                  <a:noFill/>
                </a:ln>
                <a:solidFill>
                  <a:srgbClr val="404040"/>
                </a:solidFill>
                <a:effectLst/>
                <a:uLnTx/>
                <a:uFillTx/>
                <a:latin typeface="Arial"/>
                <a:ea typeface="+mn-ea"/>
                <a:cs typeface="+mn-cs"/>
              </a:rPr>
              <a:t>, metals, cement, lime, glass, ceramics, pulp, paper, cardboard, acids, and bulk organic chemicals) </a:t>
            </a:r>
            <a:r>
              <a:rPr kumimoji="0" lang="sv-SE" sz="2800" b="0" i="0" u="none" strike="noStrike" kern="100" cap="none" spc="0" normalizeH="0" baseline="0" noProof="0" dirty="0">
                <a:ln>
                  <a:noFill/>
                </a:ln>
                <a:solidFill>
                  <a:srgbClr val="404040"/>
                </a:solidFill>
                <a:effectLst/>
                <a:uLnTx/>
                <a:uFillTx/>
                <a:latin typeface="Arial"/>
                <a:ea typeface="+mn-ea"/>
                <a:cs typeface="+mn-cs"/>
              </a:rPr>
              <a:t>and the </a:t>
            </a:r>
            <a:r>
              <a:rPr kumimoji="0" lang="sv-SE" sz="2800" b="0" i="0" u="none" strike="noStrike" kern="100" cap="none" spc="0" normalizeH="0" baseline="0" noProof="0" dirty="0" err="1">
                <a:ln>
                  <a:noFill/>
                </a:ln>
                <a:solidFill>
                  <a:srgbClr val="404040"/>
                </a:solidFill>
                <a:effectLst/>
                <a:uLnTx/>
                <a:uFillTx/>
                <a:latin typeface="Arial"/>
                <a:ea typeface="+mn-ea"/>
                <a:cs typeface="+mn-cs"/>
              </a:rPr>
              <a:t>aviation</a:t>
            </a:r>
            <a:r>
              <a:rPr kumimoji="0" lang="sv-SE" sz="2800" b="0" i="0" u="none" strike="noStrike" kern="100" cap="none" spc="0" normalizeH="0" baseline="0" noProof="0" dirty="0">
                <a:ln>
                  <a:noFill/>
                </a:ln>
                <a:solidFill>
                  <a:srgbClr val="404040"/>
                </a:solidFill>
                <a:effectLst/>
                <a:uLnTx/>
                <a:uFillTx/>
                <a:latin typeface="Arial"/>
                <a:ea typeface="+mn-ea"/>
                <a:cs typeface="+mn-cs"/>
              </a:rPr>
              <a:t> </a:t>
            </a:r>
            <a:r>
              <a:rPr kumimoji="0" lang="sv-SE" sz="2800" b="0" i="0" u="none" strike="noStrike" kern="100" cap="none" spc="0" normalizeH="0" baseline="0" noProof="0" dirty="0" err="1">
                <a:ln>
                  <a:noFill/>
                </a:ln>
                <a:solidFill>
                  <a:srgbClr val="404040"/>
                </a:solidFill>
                <a:effectLst/>
                <a:uLnTx/>
                <a:uFillTx/>
                <a:latin typeface="Arial"/>
                <a:ea typeface="+mn-ea"/>
                <a:cs typeface="+mn-cs"/>
              </a:rPr>
              <a:t>sector</a:t>
            </a:r>
            <a:r>
              <a:rPr kumimoji="0" lang="sv-SE" sz="2800" b="0" i="0" u="none" strike="noStrike" kern="100" cap="none" spc="0" normalizeH="0" baseline="0" noProof="0" dirty="0">
                <a:ln>
                  <a:noFill/>
                </a:ln>
                <a:solidFill>
                  <a:srgbClr val="404040"/>
                </a:solidFill>
                <a:effectLst/>
                <a:uLnTx/>
                <a:uFillTx/>
                <a:latin typeface="Arial"/>
                <a:ea typeface="+mn-ea"/>
                <a:cs typeface="+mn-cs"/>
              </a:rPr>
              <a:t> has a </a:t>
            </a:r>
            <a:r>
              <a:rPr kumimoji="0" lang="sv-SE" sz="2800" b="1" i="0" u="none" strike="noStrike" kern="100" cap="none" spc="0" normalizeH="0" baseline="0" noProof="0" dirty="0" err="1">
                <a:ln>
                  <a:noFill/>
                </a:ln>
                <a:solidFill>
                  <a:srgbClr val="404040"/>
                </a:solidFill>
                <a:effectLst/>
                <a:uLnTx/>
                <a:uFillTx/>
                <a:latin typeface="Arial"/>
                <a:ea typeface="+mn-ea"/>
                <a:cs typeface="+mn-cs"/>
              </a:rPr>
              <a:t>limited</a:t>
            </a:r>
            <a:r>
              <a:rPr kumimoji="0" lang="sv-SE" sz="2800" b="0" i="0" u="none" strike="noStrike" kern="100" cap="none" spc="0" normalizeH="0" baseline="0" noProof="0" dirty="0">
                <a:ln>
                  <a:noFill/>
                </a:ln>
                <a:solidFill>
                  <a:srgbClr val="404040"/>
                </a:solidFill>
                <a:effectLst/>
                <a:uLnTx/>
                <a:uFillTx/>
                <a:latin typeface="Arial"/>
                <a:ea typeface="+mn-ea"/>
                <a:cs typeface="+mn-cs"/>
              </a:rPr>
              <a:t> emission </a:t>
            </a:r>
            <a:r>
              <a:rPr kumimoji="0" lang="sv-SE" sz="2800" b="0" i="0" u="none" strike="noStrike" kern="100" cap="none" spc="0" normalizeH="0" baseline="0" noProof="0" dirty="0" err="1">
                <a:ln>
                  <a:noFill/>
                </a:ln>
                <a:solidFill>
                  <a:srgbClr val="404040"/>
                </a:solidFill>
                <a:effectLst/>
                <a:uLnTx/>
                <a:uFillTx/>
                <a:latin typeface="Arial"/>
                <a:ea typeface="+mn-ea"/>
                <a:cs typeface="+mn-cs"/>
              </a:rPr>
              <a:t>of</a:t>
            </a:r>
            <a:r>
              <a:rPr kumimoji="0" lang="sv-SE" sz="2800" b="0" i="0" u="none" strike="noStrike" kern="100" cap="none" spc="0" normalizeH="0" baseline="0" noProof="0" dirty="0">
                <a:ln>
                  <a:noFill/>
                </a:ln>
                <a:solidFill>
                  <a:srgbClr val="404040"/>
                </a:solidFill>
                <a:effectLst/>
                <a:uLnTx/>
                <a:uFillTx/>
                <a:latin typeface="Arial"/>
                <a:ea typeface="+mn-ea"/>
                <a:cs typeface="+mn-cs"/>
              </a:rPr>
              <a:t> green house </a:t>
            </a:r>
            <a:r>
              <a:rPr kumimoji="0" lang="sv-SE" sz="2800" b="0" i="0" u="none" strike="noStrike" kern="100" cap="none" spc="0" normalizeH="0" baseline="0" noProof="0" dirty="0" err="1">
                <a:ln>
                  <a:noFill/>
                </a:ln>
                <a:solidFill>
                  <a:srgbClr val="404040"/>
                </a:solidFill>
                <a:effectLst/>
                <a:uLnTx/>
                <a:uFillTx/>
                <a:latin typeface="Arial"/>
                <a:ea typeface="+mn-ea"/>
                <a:cs typeface="+mn-cs"/>
              </a:rPr>
              <a:t>gases</a:t>
            </a:r>
            <a:r>
              <a:rPr kumimoji="0" lang="sv-SE" sz="2800" b="0" i="0" u="none" strike="noStrike" kern="100" cap="none" spc="0" normalizeH="0" baseline="0" noProof="0" dirty="0">
                <a:ln>
                  <a:noFill/>
                </a:ln>
                <a:solidFill>
                  <a:srgbClr val="404040"/>
                </a:solidFill>
                <a:effectLst/>
                <a:uLnTx/>
                <a:uFillTx/>
                <a:latin typeface="Arial"/>
                <a:ea typeface="+mn-ea"/>
                <a:cs typeface="+mn-cs"/>
              </a:rPr>
              <a:t> </a:t>
            </a:r>
            <a:r>
              <a:rPr kumimoji="0" lang="sv-SE" sz="2800" b="0" i="0" u="none" strike="noStrike" kern="100" cap="none" spc="0" normalizeH="0" baseline="0" noProof="0" dirty="0" err="1">
                <a:ln>
                  <a:noFill/>
                </a:ln>
                <a:solidFill>
                  <a:srgbClr val="404040"/>
                </a:solidFill>
                <a:effectLst/>
                <a:uLnTx/>
                <a:uFillTx/>
                <a:latin typeface="Arial"/>
                <a:ea typeface="+mn-ea"/>
                <a:cs typeface="+mn-cs"/>
              </a:rPr>
              <a:t>called</a:t>
            </a:r>
            <a:r>
              <a:rPr kumimoji="0" lang="sv-SE" sz="2800" b="0" i="0" u="none" strike="noStrike" kern="100" cap="none" spc="0" normalizeH="0" baseline="0" noProof="0" dirty="0">
                <a:ln>
                  <a:noFill/>
                </a:ln>
                <a:solidFill>
                  <a:srgbClr val="404040"/>
                </a:solidFill>
                <a:effectLst/>
                <a:uLnTx/>
                <a:uFillTx/>
                <a:latin typeface="Arial"/>
                <a:ea typeface="+mn-ea"/>
                <a:cs typeface="+mn-cs"/>
              </a:rPr>
              <a:t> </a:t>
            </a:r>
            <a:r>
              <a:rPr kumimoji="0" lang="sv-SE" sz="2800" b="0" i="1" u="none" strike="noStrike" kern="100" cap="none" spc="0" normalizeH="0" baseline="0" noProof="0" dirty="0" err="1">
                <a:ln>
                  <a:noFill/>
                </a:ln>
                <a:solidFill>
                  <a:srgbClr val="CC0033"/>
                </a:solidFill>
                <a:effectLst/>
                <a:uLnTx/>
                <a:uFillTx/>
                <a:latin typeface="Arial"/>
                <a:ea typeface="+mn-ea"/>
                <a:cs typeface="+mn-cs"/>
              </a:rPr>
              <a:t>cap</a:t>
            </a:r>
            <a:r>
              <a:rPr kumimoji="0" lang="sv-SE" sz="2800" b="0" i="0" u="none" strike="noStrike" kern="100" cap="none" spc="0" normalizeH="0" baseline="0" noProof="0" dirty="0">
                <a:ln>
                  <a:noFill/>
                </a:ln>
                <a:solidFill>
                  <a:srgbClr val="404040"/>
                </a:solidFill>
                <a:effectLst/>
                <a:uLnTx/>
                <a:uFillTx/>
                <a:latin typeface="Arial"/>
                <a:ea typeface="+mn-ea"/>
                <a:cs typeface="+mn-cs"/>
              </a:rPr>
              <a:t>, </a:t>
            </a:r>
            <a:r>
              <a:rPr kumimoji="0" lang="sv-SE" sz="2800" b="0" i="0" u="none" strike="noStrike" kern="100" cap="none" spc="0" normalizeH="0" baseline="0" noProof="0" dirty="0" err="1">
                <a:ln>
                  <a:noFill/>
                </a:ln>
                <a:solidFill>
                  <a:srgbClr val="404040"/>
                </a:solidFill>
                <a:effectLst/>
                <a:uLnTx/>
                <a:uFillTx/>
                <a:latin typeface="Arial"/>
                <a:ea typeface="+mn-ea"/>
                <a:cs typeface="+mn-cs"/>
              </a:rPr>
              <a:t>which</a:t>
            </a:r>
            <a:r>
              <a:rPr kumimoji="0" lang="sv-SE" sz="2800" b="0" i="0" u="none" strike="noStrike" kern="100" cap="none" spc="0" normalizeH="0" baseline="0" noProof="0" dirty="0">
                <a:ln>
                  <a:noFill/>
                </a:ln>
                <a:solidFill>
                  <a:srgbClr val="404040"/>
                </a:solidFill>
                <a:effectLst/>
                <a:uLnTx/>
                <a:uFillTx/>
                <a:latin typeface="Arial"/>
                <a:ea typeface="+mn-ea"/>
                <a:cs typeface="+mn-cs"/>
              </a:rPr>
              <a:t> </a:t>
            </a:r>
            <a:r>
              <a:rPr kumimoji="0" lang="sv-SE" sz="2800" b="0" i="0" u="none" strike="noStrike" kern="100" cap="none" spc="0" normalizeH="0" baseline="0" noProof="0" dirty="0" err="1">
                <a:ln>
                  <a:noFill/>
                </a:ln>
                <a:solidFill>
                  <a:srgbClr val="404040"/>
                </a:solidFill>
                <a:effectLst/>
                <a:uLnTx/>
                <a:uFillTx/>
                <a:latin typeface="Arial"/>
                <a:ea typeface="+mn-ea"/>
                <a:cs typeface="+mn-cs"/>
              </a:rPr>
              <a:t>decreases</a:t>
            </a:r>
            <a:r>
              <a:rPr kumimoji="0" lang="sv-SE" sz="2800" b="0" i="0" u="none" strike="noStrike" kern="100" cap="none" spc="0" normalizeH="0" baseline="0" noProof="0" dirty="0">
                <a:ln>
                  <a:noFill/>
                </a:ln>
                <a:solidFill>
                  <a:srgbClr val="404040"/>
                </a:solidFill>
                <a:effectLst/>
                <a:uLnTx/>
                <a:uFillTx/>
                <a:latin typeface="Arial"/>
                <a:ea typeface="+mn-ea"/>
                <a:cs typeface="+mn-cs"/>
              </a:rPr>
              <a:t> </a:t>
            </a:r>
            <a:r>
              <a:rPr kumimoji="0" lang="sv-SE" sz="2800" b="0" i="0" u="none" strike="noStrike" kern="100" cap="none" spc="0" normalizeH="0" baseline="0" noProof="0" dirty="0" err="1">
                <a:ln>
                  <a:noFill/>
                </a:ln>
                <a:solidFill>
                  <a:srgbClr val="404040"/>
                </a:solidFill>
                <a:effectLst/>
                <a:uLnTx/>
                <a:uFillTx/>
                <a:latin typeface="Arial"/>
                <a:ea typeface="+mn-ea"/>
                <a:cs typeface="+mn-cs"/>
              </a:rPr>
              <a:t>every</a:t>
            </a:r>
            <a:r>
              <a:rPr kumimoji="0" lang="sv-SE" sz="2800" b="0" i="0" u="none" strike="noStrike" kern="100" cap="none" spc="0" normalizeH="0" baseline="0" noProof="0" dirty="0">
                <a:ln>
                  <a:noFill/>
                </a:ln>
                <a:solidFill>
                  <a:srgbClr val="404040"/>
                </a:solidFill>
                <a:effectLst/>
                <a:uLnTx/>
                <a:uFillTx/>
                <a:latin typeface="Arial"/>
                <a:ea typeface="+mn-ea"/>
                <a:cs typeface="+mn-cs"/>
              </a:rPr>
              <a:t> </a:t>
            </a:r>
            <a:r>
              <a:rPr kumimoji="0" lang="sv-SE" sz="2800" b="0" i="0" u="none" strike="noStrike" kern="100" cap="none" spc="0" normalizeH="0" baseline="0" noProof="0" dirty="0" err="1">
                <a:ln>
                  <a:noFill/>
                </a:ln>
                <a:solidFill>
                  <a:srgbClr val="404040"/>
                </a:solidFill>
                <a:effectLst/>
                <a:uLnTx/>
                <a:uFillTx/>
                <a:latin typeface="Arial"/>
                <a:ea typeface="+mn-ea"/>
                <a:cs typeface="+mn-cs"/>
              </a:rPr>
              <a:t>year</a:t>
            </a:r>
            <a:r>
              <a:rPr kumimoji="0" lang="sv-SE" sz="2800" b="0" i="0" u="none" strike="noStrike" kern="100" cap="none" spc="0" normalizeH="0" baseline="0" noProof="0" dirty="0">
                <a:ln>
                  <a:noFill/>
                </a:ln>
                <a:solidFill>
                  <a:srgbClr val="404040"/>
                </a:solidFill>
                <a:effectLst/>
                <a:uLnTx/>
                <a:uFillTx/>
                <a:latin typeface="Arial"/>
                <a:ea typeface="+mn-ea"/>
                <a:cs typeface="+mn-cs"/>
              </a:rPr>
              <a:t> to </a:t>
            </a:r>
            <a:r>
              <a:rPr kumimoji="0" lang="sv-SE" sz="2800" b="0" i="0" u="none" strike="noStrike" kern="100" cap="none" spc="0" normalizeH="0" baseline="0" noProof="0" dirty="0" err="1">
                <a:ln>
                  <a:noFill/>
                </a:ln>
                <a:solidFill>
                  <a:srgbClr val="404040"/>
                </a:solidFill>
                <a:effectLst/>
                <a:uLnTx/>
                <a:uFillTx/>
                <a:latin typeface="Arial"/>
                <a:ea typeface="+mn-ea"/>
                <a:cs typeface="+mn-cs"/>
              </a:rPr>
              <a:t>ensure</a:t>
            </a:r>
            <a:r>
              <a:rPr kumimoji="0" lang="sv-SE" sz="2800" b="0" i="0" u="none" strike="noStrike" kern="100" cap="none" spc="0" normalizeH="0" baseline="0" noProof="0" dirty="0">
                <a:ln>
                  <a:noFill/>
                </a:ln>
                <a:solidFill>
                  <a:srgbClr val="404040"/>
                </a:solidFill>
                <a:effectLst/>
                <a:uLnTx/>
                <a:uFillTx/>
                <a:latin typeface="Arial"/>
                <a:ea typeface="+mn-ea"/>
                <a:cs typeface="+mn-cs"/>
              </a:rPr>
              <a:t> the </a:t>
            </a:r>
            <a:r>
              <a:rPr kumimoji="0" lang="sv-SE" sz="2800" b="0" i="0" u="none" strike="noStrike" kern="100" cap="none" spc="0" normalizeH="0" baseline="0" noProof="0" dirty="0" err="1">
                <a:ln>
                  <a:noFill/>
                </a:ln>
                <a:solidFill>
                  <a:srgbClr val="404040"/>
                </a:solidFill>
                <a:effectLst/>
                <a:uLnTx/>
                <a:uFillTx/>
                <a:latin typeface="Arial"/>
                <a:ea typeface="+mn-ea"/>
                <a:cs typeface="+mn-cs"/>
              </a:rPr>
              <a:t>decrease</a:t>
            </a:r>
            <a:r>
              <a:rPr kumimoji="0" lang="sv-SE" sz="2800" b="0" i="0" u="none" strike="noStrike" kern="100" cap="none" spc="0" normalizeH="0" baseline="0" noProof="0" dirty="0">
                <a:ln>
                  <a:noFill/>
                </a:ln>
                <a:solidFill>
                  <a:srgbClr val="404040"/>
                </a:solidFill>
                <a:effectLst/>
                <a:uLnTx/>
                <a:uFillTx/>
                <a:latin typeface="Arial"/>
                <a:ea typeface="+mn-ea"/>
                <a:cs typeface="+mn-cs"/>
              </a:rPr>
              <a:t> </a:t>
            </a:r>
            <a:r>
              <a:rPr kumimoji="0" lang="sv-SE" sz="2800" b="0" i="0" u="none" strike="noStrike" kern="100" cap="none" spc="0" normalizeH="0" baseline="0" noProof="0" dirty="0" err="1">
                <a:ln>
                  <a:noFill/>
                </a:ln>
                <a:solidFill>
                  <a:srgbClr val="404040"/>
                </a:solidFill>
                <a:effectLst/>
                <a:uLnTx/>
                <a:uFillTx/>
                <a:latin typeface="Arial"/>
                <a:ea typeface="+mn-ea"/>
                <a:cs typeface="+mn-cs"/>
              </a:rPr>
              <a:t>of</a:t>
            </a:r>
            <a:r>
              <a:rPr kumimoji="0" lang="sv-SE" sz="2800" b="0" i="0" u="none" strike="noStrike" kern="100" cap="none" spc="0" normalizeH="0" baseline="0" noProof="0" dirty="0">
                <a:ln>
                  <a:noFill/>
                </a:ln>
                <a:solidFill>
                  <a:srgbClr val="404040"/>
                </a:solidFill>
                <a:effectLst/>
                <a:uLnTx/>
                <a:uFillTx/>
                <a:latin typeface="Arial"/>
                <a:ea typeface="+mn-ea"/>
                <a:cs typeface="+mn-cs"/>
              </a:rPr>
              <a:t> emissions. </a:t>
            </a:r>
          </a:p>
          <a:p>
            <a:pPr marL="1028700" marR="0" lvl="1" indent="-571500" algn="l" defTabSz="914400" rtl="0" eaLnBrk="1" fontAlgn="auto" latinLnBrk="0" hangingPunct="1">
              <a:lnSpc>
                <a:spcPct val="150000"/>
              </a:lnSpc>
              <a:spcBef>
                <a:spcPts val="0"/>
              </a:spcBef>
              <a:spcAft>
                <a:spcPts val="0"/>
              </a:spcAft>
              <a:buClrTx/>
              <a:buSzTx/>
              <a:buFont typeface="Courier New" panose="02070309020205020404" pitchFamily="49" charset="0"/>
              <a:buChar char="o"/>
              <a:tabLst/>
              <a:defRPr/>
            </a:pPr>
            <a:r>
              <a:rPr kumimoji="0" lang="sv-SE" sz="2800" b="0" i="0" u="none" strike="noStrike" kern="100" cap="none" spc="0" normalizeH="0" baseline="0" noProof="0" dirty="0" err="1">
                <a:ln>
                  <a:noFill/>
                </a:ln>
                <a:solidFill>
                  <a:srgbClr val="404040"/>
                </a:solidFill>
                <a:effectLst/>
                <a:uLnTx/>
                <a:uFillTx/>
                <a:latin typeface="Arial"/>
                <a:ea typeface="+mn-ea"/>
                <a:cs typeface="+mn-cs"/>
              </a:rPr>
              <a:t>Within</a:t>
            </a:r>
            <a:r>
              <a:rPr kumimoji="0" lang="sv-SE" sz="2800" b="0" i="0" u="none" strike="noStrike" kern="100" cap="none" spc="0" normalizeH="0" baseline="0" noProof="0" dirty="0">
                <a:ln>
                  <a:noFill/>
                </a:ln>
                <a:solidFill>
                  <a:srgbClr val="404040"/>
                </a:solidFill>
                <a:effectLst/>
                <a:uLnTx/>
                <a:uFillTx/>
                <a:latin typeface="Arial"/>
                <a:ea typeface="+mn-ea"/>
                <a:cs typeface="+mn-cs"/>
              </a:rPr>
              <a:t> the </a:t>
            </a:r>
            <a:r>
              <a:rPr kumimoji="0" lang="sv-SE" sz="2800" b="0" i="1" u="none" strike="noStrike" kern="100" cap="none" spc="0" normalizeH="0" baseline="0" noProof="0" dirty="0" err="1">
                <a:ln>
                  <a:noFill/>
                </a:ln>
                <a:solidFill>
                  <a:srgbClr val="CC0033"/>
                </a:solidFill>
                <a:effectLst/>
                <a:uLnTx/>
                <a:uFillTx/>
                <a:latin typeface="Arial"/>
                <a:ea typeface="+mn-ea"/>
                <a:cs typeface="+mn-cs"/>
              </a:rPr>
              <a:t>cap</a:t>
            </a:r>
            <a:r>
              <a:rPr kumimoji="0" lang="sv-SE" sz="2800" b="0" i="0" u="none" strike="noStrike" kern="100" cap="none" spc="0" normalizeH="0" baseline="0" noProof="0" dirty="0">
                <a:ln>
                  <a:noFill/>
                </a:ln>
                <a:solidFill>
                  <a:srgbClr val="404040"/>
                </a:solidFill>
                <a:effectLst/>
                <a:uLnTx/>
                <a:uFillTx/>
                <a:latin typeface="Arial"/>
                <a:ea typeface="+mn-ea"/>
                <a:cs typeface="+mn-cs"/>
              </a:rPr>
              <a:t> </a:t>
            </a:r>
            <a:r>
              <a:rPr kumimoji="0" lang="sv-SE" sz="2800" b="0" i="0" u="none" strike="noStrike" kern="100" cap="none" spc="0" normalizeH="0" baseline="0" noProof="0" dirty="0" err="1">
                <a:ln>
                  <a:noFill/>
                </a:ln>
                <a:solidFill>
                  <a:srgbClr val="404040"/>
                </a:solidFill>
                <a:effectLst/>
                <a:uLnTx/>
                <a:uFillTx/>
                <a:latin typeface="Arial"/>
                <a:ea typeface="+mn-ea"/>
                <a:cs typeface="+mn-cs"/>
              </a:rPr>
              <a:t>each</a:t>
            </a:r>
            <a:r>
              <a:rPr kumimoji="0" lang="sv-SE" sz="2800" b="0" i="0" u="none" strike="noStrike" kern="100" cap="none" spc="0" normalizeH="0" baseline="0" noProof="0" dirty="0">
                <a:ln>
                  <a:noFill/>
                </a:ln>
                <a:solidFill>
                  <a:srgbClr val="404040"/>
                </a:solidFill>
                <a:effectLst/>
                <a:uLnTx/>
                <a:uFillTx/>
                <a:latin typeface="Arial"/>
                <a:ea typeface="+mn-ea"/>
                <a:cs typeface="+mn-cs"/>
              </a:rPr>
              <a:t> </a:t>
            </a:r>
            <a:r>
              <a:rPr kumimoji="0" lang="sv-SE" sz="2800" b="0" i="0" u="none" strike="noStrike" kern="100" cap="none" spc="0" normalizeH="0" baseline="0" noProof="0" dirty="0" err="1">
                <a:ln>
                  <a:noFill/>
                </a:ln>
                <a:solidFill>
                  <a:srgbClr val="404040"/>
                </a:solidFill>
                <a:effectLst/>
                <a:uLnTx/>
                <a:uFillTx/>
                <a:latin typeface="Arial"/>
                <a:ea typeface="+mn-ea"/>
                <a:cs typeface="+mn-cs"/>
              </a:rPr>
              <a:t>company</a:t>
            </a:r>
            <a:r>
              <a:rPr kumimoji="0" lang="sv-SE" sz="2800" b="0" i="0" u="none" strike="noStrike" kern="100" cap="none" spc="0" normalizeH="0" baseline="0" noProof="0" dirty="0">
                <a:ln>
                  <a:noFill/>
                </a:ln>
                <a:solidFill>
                  <a:srgbClr val="404040"/>
                </a:solidFill>
                <a:effectLst/>
                <a:uLnTx/>
                <a:uFillTx/>
                <a:latin typeface="Arial"/>
                <a:ea typeface="+mn-ea"/>
                <a:cs typeface="+mn-cs"/>
              </a:rPr>
              <a:t> </a:t>
            </a:r>
            <a:r>
              <a:rPr kumimoji="0" lang="sv-SE" sz="2800" b="0" i="0" u="none" strike="noStrike" kern="100" cap="none" spc="0" normalizeH="0" baseline="0" noProof="0" dirty="0" err="1">
                <a:ln>
                  <a:noFill/>
                </a:ln>
                <a:solidFill>
                  <a:srgbClr val="404040"/>
                </a:solidFill>
                <a:effectLst/>
                <a:uLnTx/>
                <a:uFillTx/>
                <a:latin typeface="Arial"/>
                <a:ea typeface="+mn-ea"/>
                <a:cs typeface="+mn-cs"/>
              </a:rPr>
              <a:t>receives</a:t>
            </a:r>
            <a:r>
              <a:rPr kumimoji="0" lang="sv-SE" sz="2800" b="0" i="0" u="none" strike="noStrike" kern="100" cap="none" spc="0" normalizeH="0" baseline="0" noProof="0" dirty="0">
                <a:ln>
                  <a:noFill/>
                </a:ln>
                <a:solidFill>
                  <a:srgbClr val="404040"/>
                </a:solidFill>
                <a:effectLst/>
                <a:uLnTx/>
                <a:uFillTx/>
                <a:latin typeface="Arial"/>
                <a:ea typeface="+mn-ea"/>
                <a:cs typeface="+mn-cs"/>
              </a:rPr>
              <a:t> or </a:t>
            </a:r>
            <a:r>
              <a:rPr kumimoji="0" lang="sv-SE" sz="2800" b="0" i="0" u="none" strike="noStrike" kern="100" cap="none" spc="0" normalizeH="0" baseline="0" noProof="0" dirty="0" err="1">
                <a:ln>
                  <a:noFill/>
                </a:ln>
                <a:solidFill>
                  <a:srgbClr val="404040"/>
                </a:solidFill>
                <a:effectLst/>
                <a:uLnTx/>
                <a:uFillTx/>
                <a:latin typeface="Arial"/>
                <a:ea typeface="+mn-ea"/>
                <a:cs typeface="+mn-cs"/>
              </a:rPr>
              <a:t>buys</a:t>
            </a:r>
            <a:r>
              <a:rPr kumimoji="0" lang="sv-SE" sz="2800" b="0" i="0" u="none" strike="noStrike" kern="100" cap="none" spc="0" normalizeH="0" baseline="0" noProof="0" dirty="0">
                <a:ln>
                  <a:noFill/>
                </a:ln>
                <a:solidFill>
                  <a:srgbClr val="404040"/>
                </a:solidFill>
                <a:effectLst/>
                <a:uLnTx/>
                <a:uFillTx/>
                <a:latin typeface="Arial"/>
                <a:ea typeface="+mn-ea"/>
                <a:cs typeface="+mn-cs"/>
              </a:rPr>
              <a:t> </a:t>
            </a:r>
            <a:r>
              <a:rPr kumimoji="0" lang="sv-SE" sz="2800" b="0" i="1" u="none" strike="noStrike" kern="100" cap="none" spc="0" normalizeH="0" baseline="0" noProof="0" dirty="0">
                <a:ln>
                  <a:noFill/>
                </a:ln>
                <a:solidFill>
                  <a:srgbClr val="CC0033"/>
                </a:solidFill>
                <a:effectLst/>
                <a:uLnTx/>
                <a:uFillTx/>
                <a:latin typeface="Arial"/>
                <a:ea typeface="+mn-ea"/>
                <a:cs typeface="+mn-cs"/>
              </a:rPr>
              <a:t>emission </a:t>
            </a:r>
            <a:r>
              <a:rPr kumimoji="0" lang="sv-SE" sz="2800" b="0" i="1" u="none" strike="noStrike" kern="100" cap="none" spc="0" normalizeH="0" baseline="0" noProof="0" dirty="0" err="1">
                <a:ln>
                  <a:noFill/>
                </a:ln>
                <a:solidFill>
                  <a:srgbClr val="CC0033"/>
                </a:solidFill>
                <a:effectLst/>
                <a:uLnTx/>
                <a:uFillTx/>
                <a:latin typeface="Arial"/>
                <a:ea typeface="+mn-ea"/>
                <a:cs typeface="+mn-cs"/>
              </a:rPr>
              <a:t>allowances</a:t>
            </a:r>
            <a:endParaRPr kumimoji="0" lang="sv-SE" sz="2800" b="0" i="1" u="none" strike="noStrike" kern="100" cap="none" spc="0" normalizeH="0" baseline="0" noProof="0" dirty="0">
              <a:ln>
                <a:noFill/>
              </a:ln>
              <a:solidFill>
                <a:srgbClr val="CC0033"/>
              </a:solidFill>
              <a:effectLst/>
              <a:uLnTx/>
              <a:uFillTx/>
              <a:latin typeface="Arial"/>
              <a:ea typeface="+mn-ea"/>
              <a:cs typeface="+mn-cs"/>
            </a:endParaRPr>
          </a:p>
          <a:p>
            <a:pPr marL="1028700" marR="0" lvl="1" indent="-571500" algn="l" defTabSz="914400" rtl="0" eaLnBrk="1" fontAlgn="auto" latinLnBrk="0" hangingPunct="1">
              <a:lnSpc>
                <a:spcPct val="150000"/>
              </a:lnSpc>
              <a:spcBef>
                <a:spcPts val="0"/>
              </a:spcBef>
              <a:spcAft>
                <a:spcPts val="0"/>
              </a:spcAft>
              <a:buClrTx/>
              <a:buSzTx/>
              <a:buFont typeface="Courier New" panose="02070309020205020404" pitchFamily="49" charset="0"/>
              <a:buChar char="o"/>
              <a:tabLst/>
              <a:defRPr/>
            </a:pPr>
            <a:r>
              <a:rPr kumimoji="0" lang="sv-SE" sz="2800" b="0" i="0" u="none" strike="noStrike" kern="100" cap="none" spc="0" normalizeH="0" baseline="0" noProof="0" dirty="0" err="1">
                <a:ln>
                  <a:noFill/>
                </a:ln>
                <a:solidFill>
                  <a:srgbClr val="2F2F2F"/>
                </a:solidFill>
                <a:effectLst/>
                <a:uLnTx/>
                <a:uFillTx/>
                <a:latin typeface="Arial"/>
                <a:ea typeface="+mn-ea"/>
                <a:cs typeface="+mn-cs"/>
              </a:rPr>
              <a:t>Each</a:t>
            </a:r>
            <a:r>
              <a:rPr kumimoji="0" lang="sv-SE" sz="2800" b="0" i="0" u="none" strike="noStrike" kern="100" cap="none" spc="0" normalizeH="0" baseline="0" noProof="0" dirty="0">
                <a:ln>
                  <a:noFill/>
                </a:ln>
                <a:solidFill>
                  <a:srgbClr val="2F2F2F"/>
                </a:solidFill>
                <a:effectLst/>
                <a:uLnTx/>
                <a:uFillTx/>
                <a:latin typeface="Arial"/>
                <a:ea typeface="+mn-ea"/>
                <a:cs typeface="+mn-cs"/>
              </a:rPr>
              <a:t> </a:t>
            </a:r>
            <a:r>
              <a:rPr kumimoji="0" lang="sv-SE" sz="2800" b="0" i="1" u="none" strike="noStrike" kern="100" cap="none" spc="0" normalizeH="0" baseline="0" noProof="0" dirty="0">
                <a:ln>
                  <a:noFill/>
                </a:ln>
                <a:solidFill>
                  <a:srgbClr val="CC0033"/>
                </a:solidFill>
                <a:effectLst/>
                <a:uLnTx/>
                <a:uFillTx/>
                <a:latin typeface="Arial"/>
                <a:ea typeface="+mn-ea"/>
                <a:cs typeface="+mn-cs"/>
              </a:rPr>
              <a:t>emission </a:t>
            </a:r>
            <a:r>
              <a:rPr kumimoji="0" lang="sv-SE" sz="2800" b="0" i="1" u="none" strike="noStrike" kern="100" cap="none" spc="0" normalizeH="0" baseline="0" noProof="0" dirty="0" err="1">
                <a:ln>
                  <a:noFill/>
                </a:ln>
                <a:solidFill>
                  <a:srgbClr val="CC0033"/>
                </a:solidFill>
                <a:effectLst/>
                <a:uLnTx/>
                <a:uFillTx/>
                <a:latin typeface="Arial"/>
                <a:ea typeface="+mn-ea"/>
                <a:cs typeface="+mn-cs"/>
              </a:rPr>
              <a:t>allowance</a:t>
            </a:r>
            <a:r>
              <a:rPr kumimoji="0" lang="sv-SE" sz="2800" b="0" i="1" u="none" strike="noStrike" kern="100" cap="none" spc="0" normalizeH="0" baseline="0" noProof="0" dirty="0">
                <a:ln>
                  <a:noFill/>
                </a:ln>
                <a:solidFill>
                  <a:srgbClr val="CC0033"/>
                </a:solidFill>
                <a:effectLst/>
                <a:uLnTx/>
                <a:uFillTx/>
                <a:latin typeface="Arial"/>
                <a:ea typeface="+mn-ea"/>
                <a:cs typeface="+mn-cs"/>
              </a:rPr>
              <a:t> </a:t>
            </a:r>
            <a:r>
              <a:rPr kumimoji="0" lang="sv-SE" sz="2800" b="0" i="0" u="none" strike="noStrike" kern="100" cap="none" spc="0" normalizeH="0" baseline="0" noProof="0" dirty="0">
                <a:ln>
                  <a:noFill/>
                </a:ln>
                <a:solidFill>
                  <a:srgbClr val="2F2F2F"/>
                </a:solidFill>
                <a:effectLst/>
                <a:uLnTx/>
                <a:uFillTx/>
                <a:latin typeface="Arial"/>
                <a:ea typeface="+mn-ea"/>
                <a:cs typeface="+mn-cs"/>
              </a:rPr>
              <a:t>is </a:t>
            </a:r>
            <a:r>
              <a:rPr kumimoji="0" lang="sv-SE" sz="2800" b="0" i="0" u="none" strike="noStrike" kern="100" cap="none" spc="0" normalizeH="0" baseline="0" noProof="0" dirty="0" err="1">
                <a:ln>
                  <a:noFill/>
                </a:ln>
                <a:solidFill>
                  <a:srgbClr val="2F2F2F"/>
                </a:solidFill>
                <a:effectLst/>
                <a:uLnTx/>
                <a:uFillTx/>
                <a:latin typeface="Arial"/>
                <a:ea typeface="+mn-ea"/>
                <a:cs typeface="+mn-cs"/>
              </a:rPr>
              <a:t>equivalent</a:t>
            </a:r>
            <a:r>
              <a:rPr kumimoji="0" lang="sv-SE" sz="2800" b="0" i="0" u="none" strike="noStrike" kern="100" cap="none" spc="0" normalizeH="0" baseline="0" noProof="0" dirty="0">
                <a:ln>
                  <a:noFill/>
                </a:ln>
                <a:solidFill>
                  <a:srgbClr val="2F2F2F"/>
                </a:solidFill>
                <a:effectLst/>
                <a:uLnTx/>
                <a:uFillTx/>
                <a:latin typeface="Arial"/>
                <a:ea typeface="+mn-ea"/>
                <a:cs typeface="+mn-cs"/>
              </a:rPr>
              <a:t> to </a:t>
            </a:r>
            <a:r>
              <a:rPr kumimoji="0" lang="sv-SE" sz="2800" b="1" i="0" u="none" strike="noStrike" kern="100" cap="none" spc="0" normalizeH="0" baseline="0" noProof="0" dirty="0">
                <a:ln>
                  <a:noFill/>
                </a:ln>
                <a:solidFill>
                  <a:srgbClr val="2F2F2F"/>
                </a:solidFill>
                <a:effectLst/>
                <a:uLnTx/>
                <a:uFillTx/>
                <a:latin typeface="Arial"/>
                <a:ea typeface="+mn-ea"/>
                <a:cs typeface="+mn-cs"/>
              </a:rPr>
              <a:t>1 ton </a:t>
            </a:r>
            <a:r>
              <a:rPr kumimoji="0" lang="sv-SE" sz="2800" b="1" i="0" u="none" strike="noStrike" kern="100" cap="none" spc="0" normalizeH="0" baseline="0" noProof="0" dirty="0" err="1">
                <a:ln>
                  <a:noFill/>
                </a:ln>
                <a:solidFill>
                  <a:srgbClr val="2F2F2F"/>
                </a:solidFill>
                <a:effectLst/>
                <a:uLnTx/>
                <a:uFillTx/>
                <a:latin typeface="Arial"/>
                <a:ea typeface="+mn-ea"/>
                <a:cs typeface="+mn-cs"/>
              </a:rPr>
              <a:t>of</a:t>
            </a:r>
            <a:r>
              <a:rPr kumimoji="0" lang="sv-SE" sz="2800" b="1" i="0" u="none" strike="noStrike" kern="100" cap="none" spc="0" normalizeH="0" baseline="0" noProof="0" dirty="0">
                <a:ln>
                  <a:noFill/>
                </a:ln>
                <a:solidFill>
                  <a:srgbClr val="2F2F2F"/>
                </a:solidFill>
                <a:effectLst/>
                <a:uLnTx/>
                <a:uFillTx/>
                <a:latin typeface="Arial"/>
                <a:ea typeface="+mn-ea"/>
                <a:cs typeface="+mn-cs"/>
              </a:rPr>
              <a:t> CO2 </a:t>
            </a:r>
            <a:r>
              <a:rPr kumimoji="0" lang="sv-SE" sz="2800" b="0" i="0" u="none" strike="noStrike" kern="100" cap="none" spc="0" normalizeH="0" baseline="0" noProof="0" dirty="0">
                <a:ln>
                  <a:noFill/>
                </a:ln>
                <a:solidFill>
                  <a:srgbClr val="2F2F2F"/>
                </a:solidFill>
                <a:effectLst/>
                <a:uLnTx/>
                <a:uFillTx/>
                <a:latin typeface="Arial"/>
                <a:ea typeface="+mn-ea"/>
                <a:cs typeface="+mn-cs"/>
              </a:rPr>
              <a:t>or the </a:t>
            </a:r>
            <a:r>
              <a:rPr kumimoji="0" lang="sv-SE" sz="2800" b="1" i="0" u="none" strike="noStrike" kern="100" cap="none" spc="0" normalizeH="0" baseline="0" noProof="0" dirty="0" err="1">
                <a:ln>
                  <a:noFill/>
                </a:ln>
                <a:solidFill>
                  <a:srgbClr val="2F2F2F"/>
                </a:solidFill>
                <a:effectLst/>
                <a:uLnTx/>
                <a:uFillTx/>
                <a:latin typeface="Arial"/>
                <a:ea typeface="+mn-ea"/>
                <a:cs typeface="+mn-cs"/>
              </a:rPr>
              <a:t>equivalent</a:t>
            </a:r>
            <a:r>
              <a:rPr kumimoji="0" lang="sv-SE" sz="2800" b="1" i="0" u="none" strike="noStrike" kern="100" cap="none" spc="0" normalizeH="0" baseline="0" noProof="0" dirty="0">
                <a:ln>
                  <a:noFill/>
                </a:ln>
                <a:solidFill>
                  <a:srgbClr val="2F2F2F"/>
                </a:solidFill>
                <a:effectLst/>
                <a:uLnTx/>
                <a:uFillTx/>
                <a:latin typeface="Arial"/>
                <a:ea typeface="+mn-ea"/>
                <a:cs typeface="+mn-cs"/>
              </a:rPr>
              <a:t> </a:t>
            </a:r>
            <a:r>
              <a:rPr kumimoji="0" lang="sv-SE" sz="2800" b="0" i="0" u="none" strike="noStrike" kern="100" cap="none" spc="0" normalizeH="0" baseline="0" noProof="0" dirty="0" err="1">
                <a:ln>
                  <a:noFill/>
                </a:ln>
                <a:solidFill>
                  <a:srgbClr val="2F2F2F"/>
                </a:solidFill>
                <a:effectLst/>
                <a:uLnTx/>
                <a:uFillTx/>
                <a:latin typeface="Arial"/>
                <a:ea typeface="+mn-ea"/>
                <a:cs typeface="+mn-cs"/>
              </a:rPr>
              <a:t>amount</a:t>
            </a:r>
            <a:r>
              <a:rPr kumimoji="0" lang="sv-SE" sz="2800" b="0" i="0" u="none" strike="noStrike" kern="100" cap="none" spc="0" normalizeH="0" baseline="0" noProof="0" dirty="0">
                <a:ln>
                  <a:noFill/>
                </a:ln>
                <a:solidFill>
                  <a:srgbClr val="2F2F2F"/>
                </a:solidFill>
                <a:effectLst/>
                <a:uLnTx/>
                <a:uFillTx/>
                <a:latin typeface="Arial"/>
                <a:ea typeface="+mn-ea"/>
                <a:cs typeface="+mn-cs"/>
              </a:rPr>
              <a:t> </a:t>
            </a:r>
            <a:r>
              <a:rPr kumimoji="0" lang="sv-SE" sz="2800" b="0" i="0" u="none" strike="noStrike" kern="100" cap="none" spc="0" normalizeH="0" baseline="0" noProof="0" dirty="0" err="1">
                <a:ln>
                  <a:noFill/>
                </a:ln>
                <a:solidFill>
                  <a:srgbClr val="2F2F2F"/>
                </a:solidFill>
                <a:effectLst/>
                <a:uLnTx/>
                <a:uFillTx/>
                <a:latin typeface="Arial"/>
                <a:ea typeface="+mn-ea"/>
                <a:cs typeface="+mn-cs"/>
              </a:rPr>
              <a:t>of</a:t>
            </a:r>
            <a:r>
              <a:rPr kumimoji="0" lang="sv-SE" sz="2800" b="0" i="0" u="none" strike="noStrike" kern="100" cap="none" spc="0" normalizeH="0" baseline="0" noProof="0" dirty="0">
                <a:ln>
                  <a:noFill/>
                </a:ln>
                <a:solidFill>
                  <a:srgbClr val="2F2F2F"/>
                </a:solidFill>
                <a:effectLst/>
                <a:uLnTx/>
                <a:uFillTx/>
                <a:latin typeface="Arial"/>
                <a:ea typeface="+mn-ea"/>
                <a:cs typeface="+mn-cs"/>
              </a:rPr>
              <a:t> </a:t>
            </a:r>
            <a:r>
              <a:rPr kumimoji="0" lang="sv-SE" sz="2800" b="0" i="0" u="none" strike="noStrike" kern="100" cap="none" spc="0" normalizeH="0" baseline="0" noProof="0" dirty="0" err="1">
                <a:ln>
                  <a:noFill/>
                </a:ln>
                <a:solidFill>
                  <a:srgbClr val="2F2F2F"/>
                </a:solidFill>
                <a:effectLst/>
                <a:uLnTx/>
                <a:uFillTx/>
                <a:latin typeface="Arial"/>
                <a:ea typeface="+mn-ea"/>
                <a:cs typeface="+mn-cs"/>
              </a:rPr>
              <a:t>other</a:t>
            </a:r>
            <a:r>
              <a:rPr kumimoji="0" lang="sv-SE" sz="2800" b="0" i="0" u="none" strike="noStrike" kern="100" cap="none" spc="0" normalizeH="0" baseline="0" noProof="0" dirty="0">
                <a:ln>
                  <a:noFill/>
                </a:ln>
                <a:solidFill>
                  <a:srgbClr val="2F2F2F"/>
                </a:solidFill>
                <a:effectLst/>
                <a:uLnTx/>
                <a:uFillTx/>
                <a:latin typeface="Arial"/>
                <a:ea typeface="+mn-ea"/>
                <a:cs typeface="+mn-cs"/>
              </a:rPr>
              <a:t> greenhouse </a:t>
            </a:r>
            <a:r>
              <a:rPr kumimoji="0" lang="sv-SE" sz="2800" b="0" i="0" u="none" strike="noStrike" kern="100" cap="none" spc="0" normalizeH="0" baseline="0" noProof="0" dirty="0" err="1">
                <a:ln>
                  <a:noFill/>
                </a:ln>
                <a:solidFill>
                  <a:srgbClr val="2F2F2F"/>
                </a:solidFill>
                <a:effectLst/>
                <a:uLnTx/>
                <a:uFillTx/>
                <a:latin typeface="Arial"/>
                <a:ea typeface="+mn-ea"/>
                <a:cs typeface="+mn-cs"/>
              </a:rPr>
              <a:t>gases</a:t>
            </a:r>
            <a:r>
              <a:rPr kumimoji="0" lang="sv-SE" sz="2800" b="0" i="0" u="none" strike="noStrike" kern="100" cap="none" spc="0" normalizeH="0" baseline="0" noProof="0" dirty="0">
                <a:ln>
                  <a:noFill/>
                </a:ln>
                <a:solidFill>
                  <a:srgbClr val="2F2F2F"/>
                </a:solidFill>
                <a:effectLst/>
                <a:uLnTx/>
                <a:uFillTx/>
                <a:latin typeface="Arial"/>
                <a:ea typeface="+mn-ea"/>
                <a:cs typeface="+mn-cs"/>
              </a:rPr>
              <a:t>, N2O and </a:t>
            </a:r>
            <a:r>
              <a:rPr kumimoji="0" lang="sv-SE" sz="2800" b="0" i="0" u="none" strike="noStrike" kern="100" cap="none" spc="0" normalizeH="0" baseline="0" noProof="0" dirty="0" err="1">
                <a:ln>
                  <a:noFill/>
                </a:ln>
                <a:solidFill>
                  <a:srgbClr val="2F2F2F"/>
                </a:solidFill>
                <a:effectLst/>
                <a:uLnTx/>
                <a:uFillTx/>
                <a:latin typeface="Arial"/>
                <a:ea typeface="+mn-ea"/>
                <a:cs typeface="+mn-cs"/>
              </a:rPr>
              <a:t>perfluorocarbons</a:t>
            </a:r>
            <a:r>
              <a:rPr kumimoji="0" lang="sv-SE" sz="2800" b="0" i="0" u="none" strike="noStrike" kern="100" cap="none" spc="0" normalizeH="0" baseline="0" noProof="0" dirty="0">
                <a:ln>
                  <a:noFill/>
                </a:ln>
                <a:solidFill>
                  <a:srgbClr val="2F2F2F"/>
                </a:solidFill>
                <a:effectLst/>
                <a:uLnTx/>
                <a:uFillTx/>
                <a:latin typeface="Arial"/>
                <a:ea typeface="+mn-ea"/>
                <a:cs typeface="+mn-cs"/>
              </a:rPr>
              <a:t> (</a:t>
            </a:r>
            <a:r>
              <a:rPr kumimoji="0" lang="sv-SE" sz="2800" b="0" i="0" u="none" strike="noStrike" kern="100" cap="none" spc="0" normalizeH="0" baseline="0" noProof="0" dirty="0" err="1">
                <a:ln>
                  <a:noFill/>
                </a:ln>
                <a:solidFill>
                  <a:srgbClr val="2F2F2F"/>
                </a:solidFill>
                <a:effectLst/>
                <a:uLnTx/>
                <a:uFillTx/>
                <a:latin typeface="Arial"/>
                <a:ea typeface="+mn-ea"/>
                <a:cs typeface="+mn-cs"/>
              </a:rPr>
              <a:t>PFCs</a:t>
            </a:r>
            <a:r>
              <a:rPr kumimoji="0" lang="sv-SE" sz="2800" b="0" i="0" u="none" strike="noStrike" kern="100" cap="none" spc="0" normalizeH="0" baseline="0" noProof="0" dirty="0">
                <a:ln>
                  <a:noFill/>
                </a:ln>
                <a:solidFill>
                  <a:srgbClr val="2F2F2F"/>
                </a:solidFill>
                <a:effectLst/>
                <a:uLnTx/>
                <a:uFillTx/>
                <a:latin typeface="Arial"/>
                <a:ea typeface="+mn-ea"/>
                <a:cs typeface="+mn-cs"/>
              </a:rPr>
              <a:t>)</a:t>
            </a:r>
            <a:endParaRPr kumimoji="0" lang="sv-SE" sz="2800" b="0" i="1" u="none" strike="noStrike" kern="100" cap="none" spc="0" normalizeH="0" baseline="0" noProof="0" dirty="0">
              <a:ln>
                <a:noFill/>
              </a:ln>
              <a:solidFill>
                <a:srgbClr val="CC0033"/>
              </a:solidFill>
              <a:effectLst/>
              <a:uLnTx/>
              <a:uFillTx/>
              <a:latin typeface="Arial"/>
              <a:ea typeface="+mn-ea"/>
              <a:cs typeface="+mn-cs"/>
            </a:endParaRPr>
          </a:p>
          <a:p>
            <a:pPr marL="1028700" marR="0" lvl="1" indent="-571500" algn="l" defTabSz="914400" rtl="0" eaLnBrk="1" fontAlgn="auto" latinLnBrk="0" hangingPunct="1">
              <a:lnSpc>
                <a:spcPct val="150000"/>
              </a:lnSpc>
              <a:spcBef>
                <a:spcPts val="0"/>
              </a:spcBef>
              <a:spcAft>
                <a:spcPts val="0"/>
              </a:spcAft>
              <a:buClrTx/>
              <a:buSzTx/>
              <a:buFont typeface="Courier New" panose="02070309020205020404" pitchFamily="49" charset="0"/>
              <a:buChar char="o"/>
              <a:tabLst/>
              <a:defRPr/>
            </a:pPr>
            <a:r>
              <a:rPr kumimoji="0" lang="sv-SE" sz="2800" b="0" i="0" u="none" strike="noStrike" kern="100" cap="none" spc="0" normalizeH="0" baseline="0" noProof="0" dirty="0" err="1">
                <a:ln>
                  <a:noFill/>
                </a:ln>
                <a:solidFill>
                  <a:srgbClr val="404040"/>
                </a:solidFill>
                <a:effectLst/>
                <a:uLnTx/>
                <a:uFillTx/>
                <a:latin typeface="Arial"/>
                <a:ea typeface="+mn-ea"/>
                <a:cs typeface="+mn-cs"/>
              </a:rPr>
              <a:t>Phase</a:t>
            </a:r>
            <a:r>
              <a:rPr kumimoji="0" lang="sv-SE" sz="2800" b="0" i="0" u="none" strike="noStrike" kern="100" cap="none" spc="0" normalizeH="0" baseline="0" noProof="0" dirty="0">
                <a:ln>
                  <a:noFill/>
                </a:ln>
                <a:solidFill>
                  <a:srgbClr val="404040"/>
                </a:solidFill>
                <a:effectLst/>
                <a:uLnTx/>
                <a:uFillTx/>
                <a:latin typeface="Arial"/>
                <a:ea typeface="+mn-ea"/>
                <a:cs typeface="+mn-cs"/>
              </a:rPr>
              <a:t> 4: 2021-2030</a:t>
            </a:r>
          </a:p>
          <a:p>
            <a:pPr marL="1485900" marR="0" lvl="2" indent="-571500" algn="l" defTabSz="914400" rtl="0" eaLnBrk="1" fontAlgn="auto" latinLnBrk="0" hangingPunct="1">
              <a:lnSpc>
                <a:spcPct val="150000"/>
              </a:lnSpc>
              <a:spcBef>
                <a:spcPts val="0"/>
              </a:spcBef>
              <a:spcAft>
                <a:spcPts val="0"/>
              </a:spcAft>
              <a:buClrTx/>
              <a:buSzTx/>
              <a:buFont typeface="Wingdings" panose="05000000000000000000" pitchFamily="2" charset="2"/>
              <a:buChar char="ü"/>
              <a:tabLst/>
              <a:defRPr/>
            </a:pPr>
            <a:r>
              <a:rPr kumimoji="0" lang="sv-SE" sz="2800" b="0" i="0" u="none" strike="noStrike" kern="100" cap="none" spc="0" normalizeH="0" baseline="0" noProof="0" dirty="0" err="1">
                <a:ln>
                  <a:noFill/>
                </a:ln>
                <a:solidFill>
                  <a:srgbClr val="404040"/>
                </a:solidFill>
                <a:effectLst/>
                <a:uLnTx/>
                <a:uFillTx/>
                <a:latin typeface="Arial"/>
                <a:ea typeface="+mn-ea"/>
                <a:cs typeface="+mn-cs"/>
              </a:rPr>
              <a:t>Annual</a:t>
            </a:r>
            <a:r>
              <a:rPr kumimoji="0" lang="sv-SE" sz="2800" b="0" i="0" u="none" strike="noStrike" kern="100" cap="none" spc="0" normalizeH="0" baseline="0" noProof="0" dirty="0">
                <a:ln>
                  <a:noFill/>
                </a:ln>
                <a:solidFill>
                  <a:srgbClr val="404040"/>
                </a:solidFill>
                <a:effectLst/>
                <a:uLnTx/>
                <a:uFillTx/>
                <a:latin typeface="Arial"/>
                <a:ea typeface="+mn-ea"/>
                <a:cs typeface="+mn-cs"/>
              </a:rPr>
              <a:t> </a:t>
            </a:r>
            <a:r>
              <a:rPr kumimoji="0" lang="sv-SE" sz="2800" b="0" i="0" u="none" strike="noStrike" kern="100" cap="none" spc="0" normalizeH="0" baseline="0" noProof="0" dirty="0" err="1">
                <a:ln>
                  <a:noFill/>
                </a:ln>
                <a:solidFill>
                  <a:srgbClr val="404040"/>
                </a:solidFill>
                <a:effectLst/>
                <a:uLnTx/>
                <a:uFillTx/>
                <a:latin typeface="Arial"/>
                <a:ea typeface="+mn-ea"/>
                <a:cs typeface="+mn-cs"/>
              </a:rPr>
              <a:t>reduction</a:t>
            </a:r>
            <a:r>
              <a:rPr kumimoji="0" lang="sv-SE" sz="2800" b="0" i="0" u="none" strike="noStrike" kern="100" cap="none" spc="0" normalizeH="0" baseline="0" noProof="0" dirty="0">
                <a:ln>
                  <a:noFill/>
                </a:ln>
                <a:solidFill>
                  <a:srgbClr val="404040"/>
                </a:solidFill>
                <a:effectLst/>
                <a:uLnTx/>
                <a:uFillTx/>
                <a:latin typeface="Arial"/>
                <a:ea typeface="+mn-ea"/>
                <a:cs typeface="+mn-cs"/>
              </a:rPr>
              <a:t> </a:t>
            </a:r>
            <a:r>
              <a:rPr kumimoji="0" lang="sv-SE" sz="2800" b="0" i="0" u="none" strike="noStrike" kern="100" cap="none" spc="0" normalizeH="0" baseline="0" noProof="0" dirty="0" err="1">
                <a:ln>
                  <a:noFill/>
                </a:ln>
                <a:solidFill>
                  <a:srgbClr val="404040"/>
                </a:solidFill>
                <a:effectLst/>
                <a:uLnTx/>
                <a:uFillTx/>
                <a:latin typeface="Arial"/>
                <a:ea typeface="+mn-ea"/>
                <a:cs typeface="+mn-cs"/>
              </a:rPr>
              <a:t>cap</a:t>
            </a:r>
            <a:r>
              <a:rPr kumimoji="0" lang="sv-SE" sz="2800" b="0" i="0" u="none" strike="noStrike" kern="100" cap="none" spc="0" normalizeH="0" baseline="0" noProof="0" dirty="0">
                <a:ln>
                  <a:noFill/>
                </a:ln>
                <a:solidFill>
                  <a:srgbClr val="404040"/>
                </a:solidFill>
                <a:effectLst/>
                <a:uLnTx/>
                <a:uFillTx/>
                <a:latin typeface="Arial"/>
                <a:ea typeface="+mn-ea"/>
                <a:cs typeface="+mn-cs"/>
              </a:rPr>
              <a:t> </a:t>
            </a:r>
            <a:r>
              <a:rPr kumimoji="0" lang="sv-SE" sz="2800" b="0" i="0" u="none" strike="noStrike" kern="100" cap="none" spc="0" normalizeH="0" baseline="0" noProof="0" dirty="0" err="1">
                <a:ln>
                  <a:noFill/>
                </a:ln>
                <a:solidFill>
                  <a:srgbClr val="404040"/>
                </a:solidFill>
                <a:effectLst/>
                <a:uLnTx/>
                <a:uFillTx/>
                <a:latin typeface="Arial"/>
                <a:ea typeface="+mn-ea"/>
                <a:cs typeface="+mn-cs"/>
              </a:rPr>
              <a:t>of</a:t>
            </a:r>
            <a:r>
              <a:rPr kumimoji="0" lang="sv-SE" sz="2800" b="0" i="0" u="none" strike="noStrike" kern="100" cap="none" spc="0" normalizeH="0" baseline="0" noProof="0" dirty="0">
                <a:ln>
                  <a:noFill/>
                </a:ln>
                <a:solidFill>
                  <a:srgbClr val="404040"/>
                </a:solidFill>
                <a:effectLst/>
                <a:uLnTx/>
                <a:uFillTx/>
                <a:latin typeface="Arial"/>
                <a:ea typeface="+mn-ea"/>
                <a:cs typeface="+mn-cs"/>
              </a:rPr>
              <a:t> 2.2%</a:t>
            </a:r>
          </a:p>
          <a:p>
            <a:pPr marL="1028700" marR="0" lvl="1" indent="-5715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sv-SE" sz="3600" b="0" i="0" u="none" strike="noStrike" kern="100" cap="none" spc="0" normalizeH="0" baseline="0" noProof="0" dirty="0">
              <a:ln>
                <a:noFill/>
              </a:ln>
              <a:solidFill>
                <a:srgbClr val="404040"/>
              </a:solidFill>
              <a:effectLst/>
              <a:uLnTx/>
              <a:uFillTx/>
              <a:latin typeface="Arial"/>
              <a:ea typeface="Noto Sans CJK SC"/>
              <a:cs typeface="Lohit Devanagari"/>
            </a:endParaRPr>
          </a:p>
        </p:txBody>
      </p:sp>
      <p:pic>
        <p:nvPicPr>
          <p:cNvPr id="5" name="Graphic 4" descr="Coins outline">
            <a:extLst>
              <a:ext uri="{FF2B5EF4-FFF2-40B4-BE49-F238E27FC236}">
                <a16:creationId xmlns:a16="http://schemas.microsoft.com/office/drawing/2014/main" id="{7DD450C9-837E-4E99-9163-46E66856C55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133772" y="3090818"/>
            <a:ext cx="666568" cy="666568"/>
          </a:xfrm>
          <a:prstGeom prst="rect">
            <a:avLst/>
          </a:prstGeom>
        </p:spPr>
      </p:pic>
      <p:sp>
        <p:nvSpPr>
          <p:cNvPr id="4" name="Ribbon: Tilted Up 3">
            <a:extLst>
              <a:ext uri="{FF2B5EF4-FFF2-40B4-BE49-F238E27FC236}">
                <a16:creationId xmlns:a16="http://schemas.microsoft.com/office/drawing/2014/main" id="{54E74926-888A-4525-A1A9-526D2C569E2F}"/>
              </a:ext>
            </a:extLst>
          </p:cNvPr>
          <p:cNvSpPr/>
          <p:nvPr/>
        </p:nvSpPr>
        <p:spPr>
          <a:xfrm>
            <a:off x="10537090" y="2077796"/>
            <a:ext cx="6441094" cy="1679590"/>
          </a:xfrm>
          <a:prstGeom prst="ribbon2">
            <a:avLst>
              <a:gd name="adj1" fmla="val 16667"/>
              <a:gd name="adj2" fmla="val 75000"/>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800" b="0" i="0" u="sng" strike="noStrike" kern="100" cap="none" spc="0" normalizeH="0" baseline="0" noProof="0" err="1">
                <a:ln>
                  <a:noFill/>
                </a:ln>
                <a:solidFill>
                  <a:srgbClr val="FFFFFF"/>
                </a:solidFill>
                <a:effectLst/>
                <a:uLnTx/>
                <a:uFillTx/>
                <a:latin typeface="Arial"/>
                <a:ea typeface="+mn-ea"/>
                <a:cs typeface="+mn-cs"/>
              </a:rPr>
              <a:t>EU’s</a:t>
            </a:r>
            <a:r>
              <a:rPr kumimoji="0" lang="sv-SE" sz="2800" b="0" i="0" u="sng" strike="noStrike" kern="100" cap="none" spc="0" normalizeH="0" baseline="0" noProof="0">
                <a:ln>
                  <a:noFill/>
                </a:ln>
                <a:solidFill>
                  <a:srgbClr val="FFFFFF"/>
                </a:solidFill>
                <a:effectLst/>
                <a:uLnTx/>
                <a:uFillTx/>
                <a:latin typeface="Arial"/>
                <a:ea typeface="+mn-ea"/>
                <a:cs typeface="+mn-cs"/>
              </a:rPr>
              <a:t> 2030 </a:t>
            </a:r>
            <a:r>
              <a:rPr kumimoji="0" lang="sv-SE" sz="2800" b="0" i="0" u="sng" strike="noStrike" kern="100" cap="none" spc="0" normalizeH="0" baseline="0" noProof="0" err="1">
                <a:ln>
                  <a:noFill/>
                </a:ln>
                <a:solidFill>
                  <a:srgbClr val="FFFFFF"/>
                </a:solidFill>
                <a:effectLst/>
                <a:uLnTx/>
                <a:uFillTx/>
                <a:latin typeface="Arial"/>
                <a:ea typeface="+mn-ea"/>
                <a:cs typeface="+mn-cs"/>
              </a:rPr>
              <a:t>target</a:t>
            </a:r>
            <a:endParaRPr kumimoji="0" lang="sv-SE" sz="2800" b="0" i="0" u="sng" strike="noStrike" kern="100" cap="none" spc="0" normalizeH="0" baseline="0" noProof="0">
              <a:ln>
                <a:noFill/>
              </a:ln>
              <a:solidFill>
                <a:srgbClr val="FFFFFF"/>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800" b="0" i="0" u="none" strike="noStrike" kern="100" cap="none" spc="0" normalizeH="0" baseline="0" noProof="0">
                <a:ln>
                  <a:noFill/>
                </a:ln>
                <a:solidFill>
                  <a:srgbClr val="FFFFFF"/>
                </a:solidFill>
                <a:effectLst/>
                <a:uLnTx/>
                <a:uFillTx/>
                <a:latin typeface="Arial"/>
                <a:ea typeface="+mn-ea"/>
                <a:cs typeface="+mn-cs"/>
              </a:rPr>
              <a:t> </a:t>
            </a:r>
            <a:r>
              <a:rPr kumimoji="0" lang="sv-SE" sz="2800" b="0" i="0" u="none" strike="noStrike" kern="100" cap="none" spc="0" normalizeH="0" baseline="0" noProof="0" err="1">
                <a:ln>
                  <a:noFill/>
                </a:ln>
                <a:solidFill>
                  <a:srgbClr val="FFFFFF"/>
                </a:solidFill>
                <a:effectLst/>
                <a:uLnTx/>
                <a:uFillTx/>
                <a:latin typeface="Arial"/>
                <a:ea typeface="+mn-ea"/>
                <a:cs typeface="+mn-cs"/>
              </a:rPr>
              <a:t>Reduce</a:t>
            </a:r>
            <a:r>
              <a:rPr kumimoji="0" lang="sv-SE" sz="2800" b="0" i="0" u="none" strike="noStrike" kern="100" cap="none" spc="0" normalizeH="0" baseline="0" noProof="0">
                <a:ln>
                  <a:noFill/>
                </a:ln>
                <a:solidFill>
                  <a:srgbClr val="FFFFFF"/>
                </a:solidFill>
                <a:effectLst/>
                <a:uLnTx/>
                <a:uFillTx/>
                <a:latin typeface="Arial"/>
                <a:ea typeface="+mn-ea"/>
                <a:cs typeface="+mn-cs"/>
              </a:rPr>
              <a:t> GHG emissions by </a:t>
            </a:r>
            <a:r>
              <a:rPr kumimoji="0" lang="sv-SE" sz="2800" b="1" i="0" u="none" strike="noStrike" kern="100" cap="none" spc="0" normalizeH="0" baseline="0" noProof="0">
                <a:ln>
                  <a:noFill/>
                </a:ln>
                <a:solidFill>
                  <a:srgbClr val="FFFFFF"/>
                </a:solidFill>
                <a:effectLst/>
                <a:uLnTx/>
                <a:uFillTx/>
                <a:latin typeface="Arial"/>
                <a:ea typeface="+mn-ea"/>
                <a:cs typeface="+mn-cs"/>
              </a:rPr>
              <a:t>55% </a:t>
            </a:r>
            <a:r>
              <a:rPr kumimoji="0" lang="sv-SE" sz="2800" b="0" i="0" u="none" strike="noStrike" kern="100" cap="none" spc="0" normalizeH="0" baseline="0" noProof="0" err="1">
                <a:ln>
                  <a:noFill/>
                </a:ln>
                <a:solidFill>
                  <a:srgbClr val="FFFFFF"/>
                </a:solidFill>
                <a:effectLst/>
                <a:uLnTx/>
                <a:uFillTx/>
                <a:latin typeface="Arial"/>
                <a:ea typeface="+mn-ea"/>
                <a:cs typeface="+mn-cs"/>
              </a:rPr>
              <a:t>compared</a:t>
            </a:r>
            <a:r>
              <a:rPr kumimoji="0" lang="sv-SE" sz="2800" b="0" i="0" u="none" strike="noStrike" kern="100" cap="none" spc="0" normalizeH="0" baseline="0" noProof="0">
                <a:ln>
                  <a:noFill/>
                </a:ln>
                <a:solidFill>
                  <a:srgbClr val="FFFFFF"/>
                </a:solidFill>
                <a:effectLst/>
                <a:uLnTx/>
                <a:uFillTx/>
                <a:latin typeface="Arial"/>
                <a:ea typeface="+mn-ea"/>
                <a:cs typeface="+mn-cs"/>
              </a:rPr>
              <a:t> to 1990</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20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417273300"/>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4" name="Rectangle 13">
            <a:extLst>
              <a:ext uri="{FF2B5EF4-FFF2-40B4-BE49-F238E27FC236}">
                <a16:creationId xmlns:a16="http://schemas.microsoft.com/office/drawing/2014/main" id="{289ED1AA-8684-4D37-B208-8777E1A7780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8283428" cy="10287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6" name="Graphic 33">
            <a:extLst>
              <a:ext uri="{FF2B5EF4-FFF2-40B4-BE49-F238E27FC236}">
                <a16:creationId xmlns:a16="http://schemas.microsoft.com/office/drawing/2014/main" id="{4180E01B-B1F4-437C-807D-1C930718EE6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966176" y="0"/>
            <a:ext cx="14355646" cy="10287000"/>
          </a:xfrm>
          <a:custGeom>
            <a:avLst/>
            <a:gdLst>
              <a:gd name="connsiteX0" fmla="*/ 7178288 w 7187261"/>
              <a:gd name="connsiteY0" fmla="*/ 2604802 h 5150263"/>
              <a:gd name="connsiteX1" fmla="*/ 7169335 w 7187261"/>
              <a:gd name="connsiteY1" fmla="*/ 2328577 h 5150263"/>
              <a:gd name="connsiteX2" fmla="*/ 7060845 w 7187261"/>
              <a:gd name="connsiteY2" fmla="*/ 1661160 h 5150263"/>
              <a:gd name="connsiteX3" fmla="*/ 6212263 w 7187261"/>
              <a:gd name="connsiteY3" fmla="*/ 243840 h 5150263"/>
              <a:gd name="connsiteX4" fmla="*/ 5953564 w 7187261"/>
              <a:gd name="connsiteY4" fmla="*/ 0 h 5150263"/>
              <a:gd name="connsiteX5" fmla="*/ 1408615 w 7187261"/>
              <a:gd name="connsiteY5" fmla="*/ 0 h 5150263"/>
              <a:gd name="connsiteX6" fmla="*/ 805111 w 7187261"/>
              <a:gd name="connsiteY6" fmla="*/ 676275 h 5150263"/>
              <a:gd name="connsiteX7" fmla="*/ 104928 w 7187261"/>
              <a:gd name="connsiteY7" fmla="*/ 2183035 h 5150263"/>
              <a:gd name="connsiteX8" fmla="*/ 51588 w 7187261"/>
              <a:gd name="connsiteY8" fmla="*/ 2400014 h 5150263"/>
              <a:gd name="connsiteX9" fmla="*/ 41301 w 7187261"/>
              <a:gd name="connsiteY9" fmla="*/ 2424208 h 5150263"/>
              <a:gd name="connsiteX10" fmla="*/ 119692 w 7187261"/>
              <a:gd name="connsiteY10" fmla="*/ 1834801 h 5150263"/>
              <a:gd name="connsiteX11" fmla="*/ 870071 w 7187261"/>
              <a:gd name="connsiteY11" fmla="*/ 462248 h 5150263"/>
              <a:gd name="connsiteX12" fmla="*/ 1389279 w 7187261"/>
              <a:gd name="connsiteY12" fmla="*/ 476 h 5150263"/>
              <a:gd name="connsiteX13" fmla="*/ 1320223 w 7187261"/>
              <a:gd name="connsiteY13" fmla="*/ 476 h 5150263"/>
              <a:gd name="connsiteX14" fmla="*/ 423158 w 7187261"/>
              <a:gd name="connsiteY14" fmla="*/ 989743 h 5150263"/>
              <a:gd name="connsiteX15" fmla="*/ 25585 w 7187261"/>
              <a:gd name="connsiteY15" fmla="*/ 2113693 h 5150263"/>
              <a:gd name="connsiteX16" fmla="*/ 2344 w 7187261"/>
              <a:gd name="connsiteY16" fmla="*/ 2725865 h 5150263"/>
              <a:gd name="connsiteX17" fmla="*/ 447256 w 7187261"/>
              <a:gd name="connsiteY17" fmla="*/ 4210717 h 5150263"/>
              <a:gd name="connsiteX18" fmla="*/ 1138962 w 7187261"/>
              <a:gd name="connsiteY18" fmla="*/ 4988910 h 5150263"/>
              <a:gd name="connsiteX19" fmla="*/ 1348512 w 7187261"/>
              <a:gd name="connsiteY19" fmla="*/ 5146834 h 5150263"/>
              <a:gd name="connsiteX20" fmla="*/ 1422712 w 7187261"/>
              <a:gd name="connsiteY20" fmla="*/ 5146834 h 5150263"/>
              <a:gd name="connsiteX21" fmla="*/ 480594 w 7187261"/>
              <a:gd name="connsiteY21" fmla="*/ 4187952 h 5150263"/>
              <a:gd name="connsiteX22" fmla="*/ 398679 w 7187261"/>
              <a:gd name="connsiteY22" fmla="*/ 4046125 h 5150263"/>
              <a:gd name="connsiteX23" fmla="*/ 411823 w 7187261"/>
              <a:gd name="connsiteY23" fmla="*/ 4053078 h 5150263"/>
              <a:gd name="connsiteX24" fmla="*/ 1439380 w 7187261"/>
              <a:gd name="connsiteY24" fmla="*/ 5147405 h 5150263"/>
              <a:gd name="connsiteX25" fmla="*/ 5710010 w 7187261"/>
              <a:gd name="connsiteY25" fmla="*/ 5150263 h 5150263"/>
              <a:gd name="connsiteX26" fmla="*/ 5999665 w 7187261"/>
              <a:gd name="connsiteY26" fmla="*/ 4910900 h 5150263"/>
              <a:gd name="connsiteX27" fmla="*/ 6954165 w 7187261"/>
              <a:gd name="connsiteY27" fmla="*/ 3545777 h 5150263"/>
              <a:gd name="connsiteX28" fmla="*/ 7137712 w 7187261"/>
              <a:gd name="connsiteY28" fmla="*/ 2799207 h 5150263"/>
              <a:gd name="connsiteX29" fmla="*/ 7142951 w 7187261"/>
              <a:gd name="connsiteY29" fmla="*/ 2754535 h 5150263"/>
              <a:gd name="connsiteX30" fmla="*/ 7149428 w 7187261"/>
              <a:gd name="connsiteY30" fmla="*/ 2774823 h 5150263"/>
              <a:gd name="connsiteX31" fmla="*/ 7066465 w 7187261"/>
              <a:gd name="connsiteY31" fmla="*/ 3465672 h 5150263"/>
              <a:gd name="connsiteX32" fmla="*/ 6452578 w 7187261"/>
              <a:gd name="connsiteY32" fmla="*/ 4552760 h 5150263"/>
              <a:gd name="connsiteX33" fmla="*/ 5752110 w 7187261"/>
              <a:gd name="connsiteY33" fmla="*/ 5150263 h 5150263"/>
              <a:gd name="connsiteX34" fmla="*/ 5827643 w 7187261"/>
              <a:gd name="connsiteY34" fmla="*/ 5150263 h 5150263"/>
              <a:gd name="connsiteX35" fmla="*/ 6642793 w 7187261"/>
              <a:gd name="connsiteY35" fmla="*/ 4389406 h 5150263"/>
              <a:gd name="connsiteX36" fmla="*/ 7102469 w 7187261"/>
              <a:gd name="connsiteY36" fmla="*/ 3490817 h 5150263"/>
              <a:gd name="connsiteX37" fmla="*/ 7187242 w 7187261"/>
              <a:gd name="connsiteY37" fmla="*/ 2990183 h 5150263"/>
              <a:gd name="connsiteX38" fmla="*/ 7178288 w 7187261"/>
              <a:gd name="connsiteY38" fmla="*/ 2604802 h 5150263"/>
              <a:gd name="connsiteX39" fmla="*/ 6342565 w 7187261"/>
              <a:gd name="connsiteY39" fmla="*/ 441389 h 5150263"/>
              <a:gd name="connsiteX40" fmla="*/ 7126567 w 7187261"/>
              <a:gd name="connsiteY40" fmla="*/ 2355056 h 5150263"/>
              <a:gd name="connsiteX41" fmla="*/ 6342565 w 7187261"/>
              <a:gd name="connsiteY41" fmla="*/ 441389 h 5150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187261" h="5150263">
                <a:moveTo>
                  <a:pt x="7178288" y="2604802"/>
                </a:moveTo>
                <a:cubicBezTo>
                  <a:pt x="7168763" y="2513076"/>
                  <a:pt x="7174478" y="2420684"/>
                  <a:pt x="7169335" y="2328577"/>
                </a:cubicBezTo>
                <a:cubicBezTo>
                  <a:pt x="7156952" y="2102882"/>
                  <a:pt x="7120586" y="1879149"/>
                  <a:pt x="7060845" y="1661160"/>
                </a:cubicBezTo>
                <a:cubicBezTo>
                  <a:pt x="6910588" y="1121007"/>
                  <a:pt x="6617428" y="631374"/>
                  <a:pt x="6212263" y="243840"/>
                </a:cubicBezTo>
                <a:cubicBezTo>
                  <a:pt x="6126538" y="162496"/>
                  <a:pt x="6040813" y="80201"/>
                  <a:pt x="5953564" y="0"/>
                </a:cubicBezTo>
                <a:lnTo>
                  <a:pt x="1408615" y="0"/>
                </a:lnTo>
                <a:cubicBezTo>
                  <a:pt x="1180967" y="200316"/>
                  <a:pt x="978332" y="427387"/>
                  <a:pt x="805111" y="676275"/>
                </a:cubicBezTo>
                <a:cubicBezTo>
                  <a:pt x="481261" y="1136523"/>
                  <a:pt x="252089" y="1640872"/>
                  <a:pt x="104928" y="2183035"/>
                </a:cubicBezTo>
                <a:cubicBezTo>
                  <a:pt x="85878" y="2254853"/>
                  <a:pt x="69495" y="2327720"/>
                  <a:pt x="51588" y="2400014"/>
                </a:cubicBezTo>
                <a:cubicBezTo>
                  <a:pt x="49683" y="2407634"/>
                  <a:pt x="51588" y="2416969"/>
                  <a:pt x="41301" y="2424208"/>
                </a:cubicBezTo>
                <a:cubicBezTo>
                  <a:pt x="45900" y="2225469"/>
                  <a:pt x="72186" y="2027834"/>
                  <a:pt x="119692" y="1834801"/>
                </a:cubicBezTo>
                <a:cubicBezTo>
                  <a:pt x="247993" y="1310926"/>
                  <a:pt x="506121" y="857726"/>
                  <a:pt x="870071" y="462248"/>
                </a:cubicBezTo>
                <a:cubicBezTo>
                  <a:pt x="1027729" y="291823"/>
                  <a:pt x="1201617" y="137169"/>
                  <a:pt x="1389279" y="476"/>
                </a:cubicBezTo>
                <a:lnTo>
                  <a:pt x="1320223" y="476"/>
                </a:lnTo>
                <a:cubicBezTo>
                  <a:pt x="960844" y="274320"/>
                  <a:pt x="656330" y="599123"/>
                  <a:pt x="423158" y="989743"/>
                </a:cubicBezTo>
                <a:cubicBezTo>
                  <a:pt x="215608" y="1337596"/>
                  <a:pt x="80258" y="1711357"/>
                  <a:pt x="25585" y="2113693"/>
                </a:cubicBezTo>
                <a:cubicBezTo>
                  <a:pt x="-2705" y="2316480"/>
                  <a:pt x="-2228" y="2521077"/>
                  <a:pt x="2344" y="2725865"/>
                </a:cubicBezTo>
                <a:cubicBezTo>
                  <a:pt x="14155" y="3261932"/>
                  <a:pt x="170650" y="3754565"/>
                  <a:pt x="447256" y="4210717"/>
                </a:cubicBezTo>
                <a:cubicBezTo>
                  <a:pt x="629851" y="4511612"/>
                  <a:pt x="866356" y="4767167"/>
                  <a:pt x="1138962" y="4988910"/>
                </a:cubicBezTo>
                <a:cubicBezTo>
                  <a:pt x="1207161" y="5044345"/>
                  <a:pt x="1277008" y="5096990"/>
                  <a:pt x="1348512" y="5146834"/>
                </a:cubicBezTo>
                <a:lnTo>
                  <a:pt x="1422712" y="5146834"/>
                </a:lnTo>
                <a:cubicBezTo>
                  <a:pt x="1043426" y="4892802"/>
                  <a:pt x="724720" y="4577334"/>
                  <a:pt x="480594" y="4187952"/>
                </a:cubicBezTo>
                <a:cubicBezTo>
                  <a:pt x="452019" y="4141851"/>
                  <a:pt x="423444" y="4095179"/>
                  <a:pt x="398679" y="4046125"/>
                </a:cubicBezTo>
                <a:cubicBezTo>
                  <a:pt x="407442" y="4043267"/>
                  <a:pt x="409156" y="4048982"/>
                  <a:pt x="411823" y="4053078"/>
                </a:cubicBezTo>
                <a:cubicBezTo>
                  <a:pt x="683572" y="4484656"/>
                  <a:pt x="1033139" y="4842701"/>
                  <a:pt x="1439380" y="5147405"/>
                </a:cubicBezTo>
                <a:lnTo>
                  <a:pt x="5710010" y="5150263"/>
                </a:lnTo>
                <a:cubicBezTo>
                  <a:pt x="5810594" y="5075482"/>
                  <a:pt x="5907272" y="4995587"/>
                  <a:pt x="5999665" y="4910900"/>
                </a:cubicBezTo>
                <a:cubicBezTo>
                  <a:pt x="6418765" y="4526661"/>
                  <a:pt x="6746901" y="4078129"/>
                  <a:pt x="6954165" y="3545777"/>
                </a:cubicBezTo>
                <a:cubicBezTo>
                  <a:pt x="7048234" y="3306175"/>
                  <a:pt x="7109956" y="3055115"/>
                  <a:pt x="7137712" y="2799207"/>
                </a:cubicBezTo>
                <a:cubicBezTo>
                  <a:pt x="7139236" y="2784920"/>
                  <a:pt x="7141046" y="2770632"/>
                  <a:pt x="7142951" y="2754535"/>
                </a:cubicBezTo>
                <a:cubicBezTo>
                  <a:pt x="7151714" y="2760440"/>
                  <a:pt x="7149237" y="2768441"/>
                  <a:pt x="7149428" y="2774823"/>
                </a:cubicBezTo>
                <a:cubicBezTo>
                  <a:pt x="7156743" y="3007967"/>
                  <a:pt x="7128777" y="3240881"/>
                  <a:pt x="7066465" y="3465672"/>
                </a:cubicBezTo>
                <a:cubicBezTo>
                  <a:pt x="6952165" y="3878580"/>
                  <a:pt x="6737948" y="4235863"/>
                  <a:pt x="6452578" y="4552760"/>
                </a:cubicBezTo>
                <a:cubicBezTo>
                  <a:pt x="6244553" y="4783836"/>
                  <a:pt x="6008809" y="4980242"/>
                  <a:pt x="5752110" y="5150263"/>
                </a:cubicBezTo>
                <a:lnTo>
                  <a:pt x="5827643" y="5150263"/>
                </a:lnTo>
                <a:cubicBezTo>
                  <a:pt x="6136539" y="4938904"/>
                  <a:pt x="6412192" y="4689348"/>
                  <a:pt x="6642793" y="4389406"/>
                </a:cubicBezTo>
                <a:cubicBezTo>
                  <a:pt x="6851295" y="4118324"/>
                  <a:pt x="7009125" y="3820859"/>
                  <a:pt x="7102469" y="3490817"/>
                </a:cubicBezTo>
                <a:cubicBezTo>
                  <a:pt x="7148646" y="3327473"/>
                  <a:pt x="7177069" y="3159624"/>
                  <a:pt x="7187242" y="2990183"/>
                </a:cubicBezTo>
                <a:cubicBezTo>
                  <a:pt x="7187623" y="2984087"/>
                  <a:pt x="7182384" y="2642330"/>
                  <a:pt x="7178288" y="2604802"/>
                </a:cubicBezTo>
                <a:close/>
                <a:moveTo>
                  <a:pt x="6342565" y="441389"/>
                </a:moveTo>
                <a:cubicBezTo>
                  <a:pt x="6829797" y="986533"/>
                  <a:pt x="7091135" y="1624422"/>
                  <a:pt x="7126567" y="2355056"/>
                </a:cubicBezTo>
                <a:cubicBezTo>
                  <a:pt x="7001123" y="1661827"/>
                  <a:pt x="6756426" y="1017365"/>
                  <a:pt x="6342565" y="441389"/>
                </a:cubicBez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Arial"/>
              <a:ea typeface="+mn-ea"/>
              <a:cs typeface="+mn-cs"/>
            </a:endParaRPr>
          </a:p>
        </p:txBody>
      </p:sp>
      <p:sp>
        <p:nvSpPr>
          <p:cNvPr id="9" name="Title 3">
            <a:extLst>
              <a:ext uri="{FF2B5EF4-FFF2-40B4-BE49-F238E27FC236}">
                <a16:creationId xmlns:a16="http://schemas.microsoft.com/office/drawing/2014/main" id="{4E84962A-B870-4CD9-A3DA-1FE228038F42}"/>
              </a:ext>
            </a:extLst>
          </p:cNvPr>
          <p:cNvSpPr>
            <a:spLocks noGrp="1"/>
          </p:cNvSpPr>
          <p:nvPr>
            <p:ph type="title"/>
          </p:nvPr>
        </p:nvSpPr>
        <p:spPr>
          <a:xfrm>
            <a:off x="2431915" y="1432963"/>
            <a:ext cx="13151795" cy="4348463"/>
          </a:xfrm>
        </p:spPr>
        <p:txBody>
          <a:bodyPr vert="horz" lIns="91440" tIns="45720" rIns="91440" bIns="45720" rtlCol="0" anchor="b">
            <a:normAutofit/>
          </a:bodyPr>
          <a:lstStyle/>
          <a:p>
            <a:pPr indent="457200">
              <a:lnSpc>
                <a:spcPct val="90000"/>
              </a:lnSpc>
              <a:spcAft>
                <a:spcPts val="600"/>
              </a:spcAft>
            </a:pPr>
            <a:r>
              <a:rPr lang="en-GB" sz="6000" b="1" kern="1200" noProof="0" dirty="0">
                <a:solidFill>
                  <a:srgbClr val="FFFFFF"/>
                </a:solidFill>
                <a:latin typeface="+mj-lt"/>
                <a:ea typeface="+mj-ea"/>
                <a:cs typeface="+mj-cs"/>
              </a:rPr>
              <a:t>Chapter 4.1</a:t>
            </a:r>
            <a:br>
              <a:rPr lang="en-GB" sz="6000" b="1" kern="1200" noProof="0" dirty="0">
                <a:solidFill>
                  <a:srgbClr val="FFFFFF"/>
                </a:solidFill>
                <a:latin typeface="+mj-lt"/>
                <a:ea typeface="+mj-ea"/>
                <a:cs typeface="+mj-cs"/>
              </a:rPr>
            </a:br>
            <a:r>
              <a:rPr lang="en-GB" sz="6000" b="1" kern="1200" noProof="0" dirty="0">
                <a:solidFill>
                  <a:srgbClr val="FFFFFF"/>
                </a:solidFill>
                <a:latin typeface="+mj-lt"/>
                <a:ea typeface="+mj-ea"/>
                <a:cs typeface="+mj-cs"/>
              </a:rPr>
              <a:t>Digital Readiness Level</a:t>
            </a:r>
          </a:p>
        </p:txBody>
      </p:sp>
      <p:sp>
        <p:nvSpPr>
          <p:cNvPr id="18" name="sketch line">
            <a:extLst>
              <a:ext uri="{FF2B5EF4-FFF2-40B4-BE49-F238E27FC236}">
                <a16:creationId xmlns:a16="http://schemas.microsoft.com/office/drawing/2014/main" id="{41F77738-2AF0-4750-A0C7-F97C2C17590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961309" y="6260247"/>
            <a:ext cx="6365383" cy="27432"/>
          </a:xfrm>
          <a:custGeom>
            <a:avLst/>
            <a:gdLst>
              <a:gd name="connsiteX0" fmla="*/ 0 w 6365383"/>
              <a:gd name="connsiteY0" fmla="*/ 0 h 27432"/>
              <a:gd name="connsiteX1" fmla="*/ 636538 w 6365383"/>
              <a:gd name="connsiteY1" fmla="*/ 0 h 27432"/>
              <a:gd name="connsiteX2" fmla="*/ 1273077 w 6365383"/>
              <a:gd name="connsiteY2" fmla="*/ 0 h 27432"/>
              <a:gd name="connsiteX3" fmla="*/ 1909615 w 6365383"/>
              <a:gd name="connsiteY3" fmla="*/ 0 h 27432"/>
              <a:gd name="connsiteX4" fmla="*/ 2673461 w 6365383"/>
              <a:gd name="connsiteY4" fmla="*/ 0 h 27432"/>
              <a:gd name="connsiteX5" fmla="*/ 3373653 w 6365383"/>
              <a:gd name="connsiteY5" fmla="*/ 0 h 27432"/>
              <a:gd name="connsiteX6" fmla="*/ 3819230 w 6365383"/>
              <a:gd name="connsiteY6" fmla="*/ 0 h 27432"/>
              <a:gd name="connsiteX7" fmla="*/ 4392114 w 6365383"/>
              <a:gd name="connsiteY7" fmla="*/ 0 h 27432"/>
              <a:gd name="connsiteX8" fmla="*/ 5155960 w 6365383"/>
              <a:gd name="connsiteY8" fmla="*/ 0 h 27432"/>
              <a:gd name="connsiteX9" fmla="*/ 5792499 w 6365383"/>
              <a:gd name="connsiteY9" fmla="*/ 0 h 27432"/>
              <a:gd name="connsiteX10" fmla="*/ 6365383 w 6365383"/>
              <a:gd name="connsiteY10" fmla="*/ 0 h 27432"/>
              <a:gd name="connsiteX11" fmla="*/ 6365383 w 6365383"/>
              <a:gd name="connsiteY11" fmla="*/ 27432 h 27432"/>
              <a:gd name="connsiteX12" fmla="*/ 5856152 w 6365383"/>
              <a:gd name="connsiteY12" fmla="*/ 27432 h 27432"/>
              <a:gd name="connsiteX13" fmla="*/ 5092306 w 6365383"/>
              <a:gd name="connsiteY13" fmla="*/ 27432 h 27432"/>
              <a:gd name="connsiteX14" fmla="*/ 4583076 w 6365383"/>
              <a:gd name="connsiteY14" fmla="*/ 27432 h 27432"/>
              <a:gd name="connsiteX15" fmla="*/ 4137499 w 6365383"/>
              <a:gd name="connsiteY15" fmla="*/ 27432 h 27432"/>
              <a:gd name="connsiteX16" fmla="*/ 3691922 w 6365383"/>
              <a:gd name="connsiteY16" fmla="*/ 27432 h 27432"/>
              <a:gd name="connsiteX17" fmla="*/ 2991730 w 6365383"/>
              <a:gd name="connsiteY17" fmla="*/ 27432 h 27432"/>
              <a:gd name="connsiteX18" fmla="*/ 2546153 w 6365383"/>
              <a:gd name="connsiteY18" fmla="*/ 27432 h 27432"/>
              <a:gd name="connsiteX19" fmla="*/ 1909615 w 6365383"/>
              <a:gd name="connsiteY19" fmla="*/ 27432 h 27432"/>
              <a:gd name="connsiteX20" fmla="*/ 1400384 w 6365383"/>
              <a:gd name="connsiteY20" fmla="*/ 27432 h 27432"/>
              <a:gd name="connsiteX21" fmla="*/ 763846 w 6365383"/>
              <a:gd name="connsiteY21" fmla="*/ 27432 h 27432"/>
              <a:gd name="connsiteX22" fmla="*/ 0 w 6365383"/>
              <a:gd name="connsiteY22" fmla="*/ 27432 h 27432"/>
              <a:gd name="connsiteX23" fmla="*/ 0 w 6365383"/>
              <a:gd name="connsiteY23" fmla="*/ 0 h 27432"/>
              <a:gd name="connsiteX0" fmla="*/ 0 w 6365383"/>
              <a:gd name="connsiteY0" fmla="*/ 0 h 27432"/>
              <a:gd name="connsiteX1" fmla="*/ 572884 w 6365383"/>
              <a:gd name="connsiteY1" fmla="*/ 0 h 27432"/>
              <a:gd name="connsiteX2" fmla="*/ 1018461 w 6365383"/>
              <a:gd name="connsiteY2" fmla="*/ 0 h 27432"/>
              <a:gd name="connsiteX3" fmla="*/ 1782307 w 6365383"/>
              <a:gd name="connsiteY3" fmla="*/ 0 h 27432"/>
              <a:gd name="connsiteX4" fmla="*/ 2355192 w 6365383"/>
              <a:gd name="connsiteY4" fmla="*/ 0 h 27432"/>
              <a:gd name="connsiteX5" fmla="*/ 2928076 w 6365383"/>
              <a:gd name="connsiteY5" fmla="*/ 0 h 27432"/>
              <a:gd name="connsiteX6" fmla="*/ 3691922 w 6365383"/>
              <a:gd name="connsiteY6" fmla="*/ 0 h 27432"/>
              <a:gd name="connsiteX7" fmla="*/ 4201153 w 6365383"/>
              <a:gd name="connsiteY7" fmla="*/ 0 h 27432"/>
              <a:gd name="connsiteX8" fmla="*/ 4964999 w 6365383"/>
              <a:gd name="connsiteY8" fmla="*/ 0 h 27432"/>
              <a:gd name="connsiteX9" fmla="*/ 5728845 w 6365383"/>
              <a:gd name="connsiteY9" fmla="*/ 0 h 27432"/>
              <a:gd name="connsiteX10" fmla="*/ 6365383 w 6365383"/>
              <a:gd name="connsiteY10" fmla="*/ 0 h 27432"/>
              <a:gd name="connsiteX11" fmla="*/ 6365383 w 6365383"/>
              <a:gd name="connsiteY11" fmla="*/ 27432 h 27432"/>
              <a:gd name="connsiteX12" fmla="*/ 5665191 w 6365383"/>
              <a:gd name="connsiteY12" fmla="*/ 27432 h 27432"/>
              <a:gd name="connsiteX13" fmla="*/ 4901345 w 6365383"/>
              <a:gd name="connsiteY13" fmla="*/ 27432 h 27432"/>
              <a:gd name="connsiteX14" fmla="*/ 4137499 w 6365383"/>
              <a:gd name="connsiteY14" fmla="*/ 27432 h 27432"/>
              <a:gd name="connsiteX15" fmla="*/ 3628268 w 6365383"/>
              <a:gd name="connsiteY15" fmla="*/ 27432 h 27432"/>
              <a:gd name="connsiteX16" fmla="*/ 2991730 w 6365383"/>
              <a:gd name="connsiteY16" fmla="*/ 27432 h 27432"/>
              <a:gd name="connsiteX17" fmla="*/ 2227884 w 6365383"/>
              <a:gd name="connsiteY17" fmla="*/ 27432 h 27432"/>
              <a:gd name="connsiteX18" fmla="*/ 1591346 w 6365383"/>
              <a:gd name="connsiteY18" fmla="*/ 27432 h 27432"/>
              <a:gd name="connsiteX19" fmla="*/ 1145769 w 6365383"/>
              <a:gd name="connsiteY19" fmla="*/ 27432 h 27432"/>
              <a:gd name="connsiteX20" fmla="*/ 636538 w 6365383"/>
              <a:gd name="connsiteY20" fmla="*/ 27432 h 27432"/>
              <a:gd name="connsiteX21" fmla="*/ 0 w 6365383"/>
              <a:gd name="connsiteY21" fmla="*/ 27432 h 27432"/>
              <a:gd name="connsiteX22" fmla="*/ 0 w 6365383"/>
              <a:gd name="connsiteY22"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365383" h="27432" fill="none" extrusionOk="0">
                <a:moveTo>
                  <a:pt x="0" y="0"/>
                </a:moveTo>
                <a:cubicBezTo>
                  <a:pt x="311910" y="25756"/>
                  <a:pt x="328854" y="-22977"/>
                  <a:pt x="636538" y="0"/>
                </a:cubicBezTo>
                <a:cubicBezTo>
                  <a:pt x="929901" y="50670"/>
                  <a:pt x="1067253" y="-1993"/>
                  <a:pt x="1273077" y="0"/>
                </a:cubicBezTo>
                <a:cubicBezTo>
                  <a:pt x="1507620" y="-24857"/>
                  <a:pt x="1747799" y="-10413"/>
                  <a:pt x="1909615" y="0"/>
                </a:cubicBezTo>
                <a:cubicBezTo>
                  <a:pt x="2041097" y="-21585"/>
                  <a:pt x="2422417" y="-28022"/>
                  <a:pt x="2673461" y="0"/>
                </a:cubicBezTo>
                <a:cubicBezTo>
                  <a:pt x="2948394" y="-4560"/>
                  <a:pt x="3134893" y="36981"/>
                  <a:pt x="3373653" y="0"/>
                </a:cubicBezTo>
                <a:cubicBezTo>
                  <a:pt x="3634761" y="-15887"/>
                  <a:pt x="3700843" y="23167"/>
                  <a:pt x="3819230" y="0"/>
                </a:cubicBezTo>
                <a:cubicBezTo>
                  <a:pt x="3977295" y="2943"/>
                  <a:pt x="4128910" y="-53150"/>
                  <a:pt x="4392114" y="0"/>
                </a:cubicBezTo>
                <a:cubicBezTo>
                  <a:pt x="4672763" y="9214"/>
                  <a:pt x="4999833" y="38501"/>
                  <a:pt x="5155960" y="0"/>
                </a:cubicBezTo>
                <a:cubicBezTo>
                  <a:pt x="5343367" y="-6557"/>
                  <a:pt x="5597661" y="6622"/>
                  <a:pt x="5792499" y="0"/>
                </a:cubicBezTo>
                <a:cubicBezTo>
                  <a:pt x="6020774" y="43813"/>
                  <a:pt x="6148830" y="-13954"/>
                  <a:pt x="6365383" y="0"/>
                </a:cubicBezTo>
                <a:cubicBezTo>
                  <a:pt x="6364517" y="8091"/>
                  <a:pt x="6365728" y="20268"/>
                  <a:pt x="6365383" y="27432"/>
                </a:cubicBezTo>
                <a:cubicBezTo>
                  <a:pt x="6144545" y="15144"/>
                  <a:pt x="6006673" y="-7419"/>
                  <a:pt x="5856152" y="27432"/>
                </a:cubicBezTo>
                <a:cubicBezTo>
                  <a:pt x="5638446" y="81548"/>
                  <a:pt x="5413846" y="52067"/>
                  <a:pt x="5092306" y="27432"/>
                </a:cubicBezTo>
                <a:cubicBezTo>
                  <a:pt x="4768499" y="43350"/>
                  <a:pt x="4708569" y="3163"/>
                  <a:pt x="4583076" y="27432"/>
                </a:cubicBezTo>
                <a:cubicBezTo>
                  <a:pt x="4475482" y="66269"/>
                  <a:pt x="4242792" y="42702"/>
                  <a:pt x="4137499" y="27432"/>
                </a:cubicBezTo>
                <a:cubicBezTo>
                  <a:pt x="4003968" y="24039"/>
                  <a:pt x="3882646" y="-3026"/>
                  <a:pt x="3691922" y="27432"/>
                </a:cubicBezTo>
                <a:cubicBezTo>
                  <a:pt x="3501639" y="8096"/>
                  <a:pt x="3270842" y="-14942"/>
                  <a:pt x="2991730" y="27432"/>
                </a:cubicBezTo>
                <a:cubicBezTo>
                  <a:pt x="2712135" y="55419"/>
                  <a:pt x="2758697" y="31955"/>
                  <a:pt x="2546153" y="27432"/>
                </a:cubicBezTo>
                <a:cubicBezTo>
                  <a:pt x="2362220" y="-818"/>
                  <a:pt x="2130397" y="57099"/>
                  <a:pt x="1909615" y="27432"/>
                </a:cubicBezTo>
                <a:cubicBezTo>
                  <a:pt x="1714835" y="-15389"/>
                  <a:pt x="1636770" y="40318"/>
                  <a:pt x="1400384" y="27432"/>
                </a:cubicBezTo>
                <a:cubicBezTo>
                  <a:pt x="1161504" y="29515"/>
                  <a:pt x="1060819" y="7773"/>
                  <a:pt x="763846" y="27432"/>
                </a:cubicBezTo>
                <a:cubicBezTo>
                  <a:pt x="465096" y="43671"/>
                  <a:pt x="165309" y="15831"/>
                  <a:pt x="0" y="27432"/>
                </a:cubicBezTo>
                <a:cubicBezTo>
                  <a:pt x="-2013" y="18874"/>
                  <a:pt x="-525" y="8614"/>
                  <a:pt x="0" y="0"/>
                </a:cubicBezTo>
                <a:close/>
              </a:path>
              <a:path w="6365383" h="27432" stroke="0" extrusionOk="0">
                <a:moveTo>
                  <a:pt x="0" y="0"/>
                </a:moveTo>
                <a:cubicBezTo>
                  <a:pt x="84020" y="9133"/>
                  <a:pt x="339524" y="24523"/>
                  <a:pt x="572884" y="0"/>
                </a:cubicBezTo>
                <a:cubicBezTo>
                  <a:pt x="803790" y="-14011"/>
                  <a:pt x="837492" y="-10007"/>
                  <a:pt x="1018461" y="0"/>
                </a:cubicBezTo>
                <a:cubicBezTo>
                  <a:pt x="1188530" y="8943"/>
                  <a:pt x="1571061" y="17361"/>
                  <a:pt x="1782307" y="0"/>
                </a:cubicBezTo>
                <a:cubicBezTo>
                  <a:pt x="1967448" y="-16010"/>
                  <a:pt x="2153334" y="-25629"/>
                  <a:pt x="2355192" y="0"/>
                </a:cubicBezTo>
                <a:cubicBezTo>
                  <a:pt x="2541804" y="20205"/>
                  <a:pt x="2779440" y="53811"/>
                  <a:pt x="2928076" y="0"/>
                </a:cubicBezTo>
                <a:cubicBezTo>
                  <a:pt x="3024078" y="-16903"/>
                  <a:pt x="3337092" y="43483"/>
                  <a:pt x="3691922" y="0"/>
                </a:cubicBezTo>
                <a:cubicBezTo>
                  <a:pt x="4060895" y="-1064"/>
                  <a:pt x="4072166" y="-17195"/>
                  <a:pt x="4201153" y="0"/>
                </a:cubicBezTo>
                <a:cubicBezTo>
                  <a:pt x="4349835" y="-22516"/>
                  <a:pt x="4800106" y="-64797"/>
                  <a:pt x="4964999" y="0"/>
                </a:cubicBezTo>
                <a:cubicBezTo>
                  <a:pt x="5186764" y="15779"/>
                  <a:pt x="5564421" y="-10544"/>
                  <a:pt x="5728845" y="0"/>
                </a:cubicBezTo>
                <a:cubicBezTo>
                  <a:pt x="5915953" y="5493"/>
                  <a:pt x="6171384" y="-48026"/>
                  <a:pt x="6365383" y="0"/>
                </a:cubicBezTo>
                <a:cubicBezTo>
                  <a:pt x="6366596" y="6455"/>
                  <a:pt x="6365588" y="14391"/>
                  <a:pt x="6365383" y="27432"/>
                </a:cubicBezTo>
                <a:cubicBezTo>
                  <a:pt x="6172514" y="805"/>
                  <a:pt x="6006523" y="20734"/>
                  <a:pt x="5665191" y="27432"/>
                </a:cubicBezTo>
                <a:cubicBezTo>
                  <a:pt x="5322179" y="66687"/>
                  <a:pt x="5219376" y="21111"/>
                  <a:pt x="4901345" y="27432"/>
                </a:cubicBezTo>
                <a:cubicBezTo>
                  <a:pt x="4621310" y="-13654"/>
                  <a:pt x="4455192" y="54857"/>
                  <a:pt x="4137499" y="27432"/>
                </a:cubicBezTo>
                <a:cubicBezTo>
                  <a:pt x="3853317" y="12285"/>
                  <a:pt x="3862894" y="26263"/>
                  <a:pt x="3628268" y="27432"/>
                </a:cubicBezTo>
                <a:cubicBezTo>
                  <a:pt x="3418779" y="32610"/>
                  <a:pt x="3174456" y="83656"/>
                  <a:pt x="2991730" y="27432"/>
                </a:cubicBezTo>
                <a:cubicBezTo>
                  <a:pt x="2801278" y="6667"/>
                  <a:pt x="2497351" y="22891"/>
                  <a:pt x="2227884" y="27432"/>
                </a:cubicBezTo>
                <a:cubicBezTo>
                  <a:pt x="1986101" y="16297"/>
                  <a:pt x="1767219" y="-7535"/>
                  <a:pt x="1591346" y="27432"/>
                </a:cubicBezTo>
                <a:cubicBezTo>
                  <a:pt x="1447183" y="73731"/>
                  <a:pt x="1315973" y="39477"/>
                  <a:pt x="1145769" y="27432"/>
                </a:cubicBezTo>
                <a:cubicBezTo>
                  <a:pt x="990245" y="8882"/>
                  <a:pt x="810845" y="16910"/>
                  <a:pt x="636538" y="27432"/>
                </a:cubicBezTo>
                <a:cubicBezTo>
                  <a:pt x="482916" y="17795"/>
                  <a:pt x="183027" y="-17710"/>
                  <a:pt x="0" y="27432"/>
                </a:cubicBezTo>
                <a:cubicBezTo>
                  <a:pt x="491" y="19542"/>
                  <a:pt x="-1038" y="8534"/>
                  <a:pt x="0" y="0"/>
                </a:cubicBezTo>
                <a:close/>
              </a:path>
              <a:path w="6365383" h="27432" fill="none" stroke="0" extrusionOk="0">
                <a:moveTo>
                  <a:pt x="0" y="0"/>
                </a:moveTo>
                <a:cubicBezTo>
                  <a:pt x="296223" y="15991"/>
                  <a:pt x="333462" y="-23795"/>
                  <a:pt x="636538" y="0"/>
                </a:cubicBezTo>
                <a:cubicBezTo>
                  <a:pt x="970197" y="30961"/>
                  <a:pt x="1039864" y="3183"/>
                  <a:pt x="1273077" y="0"/>
                </a:cubicBezTo>
                <a:cubicBezTo>
                  <a:pt x="1449809" y="24819"/>
                  <a:pt x="1735152" y="23060"/>
                  <a:pt x="1909615" y="0"/>
                </a:cubicBezTo>
                <a:cubicBezTo>
                  <a:pt x="2016351" y="-41665"/>
                  <a:pt x="2415001" y="34773"/>
                  <a:pt x="2673461" y="0"/>
                </a:cubicBezTo>
                <a:cubicBezTo>
                  <a:pt x="2996983" y="-13411"/>
                  <a:pt x="3130707" y="3741"/>
                  <a:pt x="3373653" y="0"/>
                </a:cubicBezTo>
                <a:cubicBezTo>
                  <a:pt x="3601951" y="-16140"/>
                  <a:pt x="3689909" y="23222"/>
                  <a:pt x="3819230" y="0"/>
                </a:cubicBezTo>
                <a:cubicBezTo>
                  <a:pt x="3931872" y="-29406"/>
                  <a:pt x="4119438" y="24094"/>
                  <a:pt x="4392114" y="0"/>
                </a:cubicBezTo>
                <a:cubicBezTo>
                  <a:pt x="4665359" y="21557"/>
                  <a:pt x="4978709" y="13267"/>
                  <a:pt x="5155960" y="0"/>
                </a:cubicBezTo>
                <a:cubicBezTo>
                  <a:pt x="5299518" y="-18386"/>
                  <a:pt x="5605020" y="-6762"/>
                  <a:pt x="5792499" y="0"/>
                </a:cubicBezTo>
                <a:cubicBezTo>
                  <a:pt x="6013281" y="43398"/>
                  <a:pt x="6167567" y="36727"/>
                  <a:pt x="6365383" y="0"/>
                </a:cubicBezTo>
                <a:cubicBezTo>
                  <a:pt x="6365697" y="8368"/>
                  <a:pt x="6365332" y="21050"/>
                  <a:pt x="6365383" y="27432"/>
                </a:cubicBezTo>
                <a:cubicBezTo>
                  <a:pt x="6154893" y="8454"/>
                  <a:pt x="6014206" y="-8372"/>
                  <a:pt x="5856152" y="27432"/>
                </a:cubicBezTo>
                <a:cubicBezTo>
                  <a:pt x="5659455" y="59503"/>
                  <a:pt x="5350806" y="-35991"/>
                  <a:pt x="5092306" y="27432"/>
                </a:cubicBezTo>
                <a:cubicBezTo>
                  <a:pt x="4756309" y="48260"/>
                  <a:pt x="4699746" y="-4780"/>
                  <a:pt x="4583076" y="27432"/>
                </a:cubicBezTo>
                <a:cubicBezTo>
                  <a:pt x="4462137" y="30142"/>
                  <a:pt x="4226168" y="50236"/>
                  <a:pt x="4137499" y="27432"/>
                </a:cubicBezTo>
                <a:cubicBezTo>
                  <a:pt x="4018570" y="42181"/>
                  <a:pt x="3887179" y="34623"/>
                  <a:pt x="3691922" y="27432"/>
                </a:cubicBezTo>
                <a:cubicBezTo>
                  <a:pt x="3499755" y="32935"/>
                  <a:pt x="3281056" y="-9158"/>
                  <a:pt x="2991730" y="27432"/>
                </a:cubicBezTo>
                <a:cubicBezTo>
                  <a:pt x="2716073" y="57462"/>
                  <a:pt x="2755481" y="34494"/>
                  <a:pt x="2546153" y="27432"/>
                </a:cubicBezTo>
                <a:cubicBezTo>
                  <a:pt x="2356479" y="62622"/>
                  <a:pt x="2079190" y="73729"/>
                  <a:pt x="1909615" y="27432"/>
                </a:cubicBezTo>
                <a:cubicBezTo>
                  <a:pt x="1715819" y="-26444"/>
                  <a:pt x="1631368" y="48131"/>
                  <a:pt x="1400384" y="27432"/>
                </a:cubicBezTo>
                <a:cubicBezTo>
                  <a:pt x="1177327" y="16190"/>
                  <a:pt x="1065236" y="24992"/>
                  <a:pt x="763846" y="27432"/>
                </a:cubicBezTo>
                <a:cubicBezTo>
                  <a:pt x="448643" y="60691"/>
                  <a:pt x="160833" y="2330"/>
                  <a:pt x="0" y="27432"/>
                </a:cubicBezTo>
                <a:cubicBezTo>
                  <a:pt x="1559" y="18666"/>
                  <a:pt x="-585" y="7580"/>
                  <a:pt x="0" y="0"/>
                </a:cubicBezTo>
                <a:close/>
              </a:path>
            </a:pathLst>
          </a:custGeom>
          <a:solidFill>
            <a:srgbClr val="FFFFFF"/>
          </a:solidFill>
          <a:ln w="41275" cap="rnd">
            <a:solidFill>
              <a:srgbClr val="FFFFFF"/>
            </a:solidFill>
            <a:round/>
            <a:extLst>
              <a:ext uri="{C807C97D-BFC1-408E-A445-0C87EB9F89A2}">
                <ask:lineSketchStyleProps xmlns:ask="http://schemas.microsoft.com/office/drawing/2018/sketchyshapes" sd="1219033472">
                  <a:custGeom>
                    <a:avLst/>
                    <a:gdLst>
                      <a:gd name="connsiteX0" fmla="*/ 0 w 6365383"/>
                      <a:gd name="connsiteY0" fmla="*/ 0 h 27432"/>
                      <a:gd name="connsiteX1" fmla="*/ 636538 w 6365383"/>
                      <a:gd name="connsiteY1" fmla="*/ 0 h 27432"/>
                      <a:gd name="connsiteX2" fmla="*/ 1273077 w 6365383"/>
                      <a:gd name="connsiteY2" fmla="*/ 0 h 27432"/>
                      <a:gd name="connsiteX3" fmla="*/ 1909615 w 6365383"/>
                      <a:gd name="connsiteY3" fmla="*/ 0 h 27432"/>
                      <a:gd name="connsiteX4" fmla="*/ 2673461 w 6365383"/>
                      <a:gd name="connsiteY4" fmla="*/ 0 h 27432"/>
                      <a:gd name="connsiteX5" fmla="*/ 3373653 w 6365383"/>
                      <a:gd name="connsiteY5" fmla="*/ 0 h 27432"/>
                      <a:gd name="connsiteX6" fmla="*/ 3819230 w 6365383"/>
                      <a:gd name="connsiteY6" fmla="*/ 0 h 27432"/>
                      <a:gd name="connsiteX7" fmla="*/ 4392114 w 6365383"/>
                      <a:gd name="connsiteY7" fmla="*/ 0 h 27432"/>
                      <a:gd name="connsiteX8" fmla="*/ 5155960 w 6365383"/>
                      <a:gd name="connsiteY8" fmla="*/ 0 h 27432"/>
                      <a:gd name="connsiteX9" fmla="*/ 5792499 w 6365383"/>
                      <a:gd name="connsiteY9" fmla="*/ 0 h 27432"/>
                      <a:gd name="connsiteX10" fmla="*/ 6365383 w 6365383"/>
                      <a:gd name="connsiteY10" fmla="*/ 0 h 27432"/>
                      <a:gd name="connsiteX11" fmla="*/ 6365383 w 6365383"/>
                      <a:gd name="connsiteY11" fmla="*/ 27432 h 27432"/>
                      <a:gd name="connsiteX12" fmla="*/ 5856152 w 6365383"/>
                      <a:gd name="connsiteY12" fmla="*/ 27432 h 27432"/>
                      <a:gd name="connsiteX13" fmla="*/ 5092306 w 6365383"/>
                      <a:gd name="connsiteY13" fmla="*/ 27432 h 27432"/>
                      <a:gd name="connsiteX14" fmla="*/ 4583076 w 6365383"/>
                      <a:gd name="connsiteY14" fmla="*/ 27432 h 27432"/>
                      <a:gd name="connsiteX15" fmla="*/ 4137499 w 6365383"/>
                      <a:gd name="connsiteY15" fmla="*/ 27432 h 27432"/>
                      <a:gd name="connsiteX16" fmla="*/ 3691922 w 6365383"/>
                      <a:gd name="connsiteY16" fmla="*/ 27432 h 27432"/>
                      <a:gd name="connsiteX17" fmla="*/ 2991730 w 6365383"/>
                      <a:gd name="connsiteY17" fmla="*/ 27432 h 27432"/>
                      <a:gd name="connsiteX18" fmla="*/ 2546153 w 6365383"/>
                      <a:gd name="connsiteY18" fmla="*/ 27432 h 27432"/>
                      <a:gd name="connsiteX19" fmla="*/ 1909615 w 6365383"/>
                      <a:gd name="connsiteY19" fmla="*/ 27432 h 27432"/>
                      <a:gd name="connsiteX20" fmla="*/ 1400384 w 6365383"/>
                      <a:gd name="connsiteY20" fmla="*/ 27432 h 27432"/>
                      <a:gd name="connsiteX21" fmla="*/ 763846 w 6365383"/>
                      <a:gd name="connsiteY21" fmla="*/ 27432 h 27432"/>
                      <a:gd name="connsiteX22" fmla="*/ 0 w 6365383"/>
                      <a:gd name="connsiteY22" fmla="*/ 27432 h 27432"/>
                      <a:gd name="connsiteX23" fmla="*/ 0 w 6365383"/>
                      <a:gd name="connsiteY23"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365383" h="27432" fill="none" extrusionOk="0">
                        <a:moveTo>
                          <a:pt x="0" y="0"/>
                        </a:moveTo>
                        <a:cubicBezTo>
                          <a:pt x="305169" y="21509"/>
                          <a:pt x="334704" y="-24261"/>
                          <a:pt x="636538" y="0"/>
                        </a:cubicBezTo>
                        <a:cubicBezTo>
                          <a:pt x="938372" y="24261"/>
                          <a:pt x="1068606" y="2269"/>
                          <a:pt x="1273077" y="0"/>
                        </a:cubicBezTo>
                        <a:cubicBezTo>
                          <a:pt x="1477548" y="-2269"/>
                          <a:pt x="1738189" y="6272"/>
                          <a:pt x="1909615" y="0"/>
                        </a:cubicBezTo>
                        <a:cubicBezTo>
                          <a:pt x="2081041" y="-6272"/>
                          <a:pt x="2377015" y="16623"/>
                          <a:pt x="2673461" y="0"/>
                        </a:cubicBezTo>
                        <a:cubicBezTo>
                          <a:pt x="2969907" y="-16623"/>
                          <a:pt x="3126114" y="13194"/>
                          <a:pt x="3373653" y="0"/>
                        </a:cubicBezTo>
                        <a:cubicBezTo>
                          <a:pt x="3621192" y="-13194"/>
                          <a:pt x="3704499" y="9486"/>
                          <a:pt x="3819230" y="0"/>
                        </a:cubicBezTo>
                        <a:cubicBezTo>
                          <a:pt x="3933961" y="-9486"/>
                          <a:pt x="4142691" y="-8221"/>
                          <a:pt x="4392114" y="0"/>
                        </a:cubicBezTo>
                        <a:cubicBezTo>
                          <a:pt x="4641537" y="8221"/>
                          <a:pt x="4974506" y="12257"/>
                          <a:pt x="5155960" y="0"/>
                        </a:cubicBezTo>
                        <a:cubicBezTo>
                          <a:pt x="5337414" y="-12257"/>
                          <a:pt x="5585731" y="-22537"/>
                          <a:pt x="5792499" y="0"/>
                        </a:cubicBezTo>
                        <a:cubicBezTo>
                          <a:pt x="5999267" y="22537"/>
                          <a:pt x="6164726" y="7303"/>
                          <a:pt x="6365383" y="0"/>
                        </a:cubicBezTo>
                        <a:cubicBezTo>
                          <a:pt x="6365125" y="7487"/>
                          <a:pt x="6364462" y="19984"/>
                          <a:pt x="6365383" y="27432"/>
                        </a:cubicBezTo>
                        <a:cubicBezTo>
                          <a:pt x="6132222" y="28304"/>
                          <a:pt x="6011986" y="2071"/>
                          <a:pt x="5856152" y="27432"/>
                        </a:cubicBezTo>
                        <a:cubicBezTo>
                          <a:pt x="5700318" y="52793"/>
                          <a:pt x="5410732" y="5357"/>
                          <a:pt x="5092306" y="27432"/>
                        </a:cubicBezTo>
                        <a:cubicBezTo>
                          <a:pt x="4773880" y="49507"/>
                          <a:pt x="4705351" y="6645"/>
                          <a:pt x="4583076" y="27432"/>
                        </a:cubicBezTo>
                        <a:cubicBezTo>
                          <a:pt x="4460801" y="48220"/>
                          <a:pt x="4239915" y="42209"/>
                          <a:pt x="4137499" y="27432"/>
                        </a:cubicBezTo>
                        <a:cubicBezTo>
                          <a:pt x="4035083" y="12655"/>
                          <a:pt x="3883665" y="32012"/>
                          <a:pt x="3691922" y="27432"/>
                        </a:cubicBezTo>
                        <a:cubicBezTo>
                          <a:pt x="3500179" y="22852"/>
                          <a:pt x="3265830" y="-126"/>
                          <a:pt x="2991730" y="27432"/>
                        </a:cubicBezTo>
                        <a:cubicBezTo>
                          <a:pt x="2717630" y="54990"/>
                          <a:pt x="2757122" y="34407"/>
                          <a:pt x="2546153" y="27432"/>
                        </a:cubicBezTo>
                        <a:cubicBezTo>
                          <a:pt x="2335184" y="20457"/>
                          <a:pt x="2107331" y="58889"/>
                          <a:pt x="1909615" y="27432"/>
                        </a:cubicBezTo>
                        <a:cubicBezTo>
                          <a:pt x="1711899" y="-4025"/>
                          <a:pt x="1634641" y="48316"/>
                          <a:pt x="1400384" y="27432"/>
                        </a:cubicBezTo>
                        <a:cubicBezTo>
                          <a:pt x="1166127" y="6548"/>
                          <a:pt x="1068288" y="15776"/>
                          <a:pt x="763846" y="27432"/>
                        </a:cubicBezTo>
                        <a:cubicBezTo>
                          <a:pt x="459404" y="39088"/>
                          <a:pt x="170017" y="14515"/>
                          <a:pt x="0" y="27432"/>
                        </a:cubicBezTo>
                        <a:cubicBezTo>
                          <a:pt x="-14" y="18173"/>
                          <a:pt x="-517" y="8990"/>
                          <a:pt x="0" y="0"/>
                        </a:cubicBezTo>
                        <a:close/>
                      </a:path>
                      <a:path w="6365383" h="27432" stroke="0" extrusionOk="0">
                        <a:moveTo>
                          <a:pt x="0" y="0"/>
                        </a:moveTo>
                        <a:cubicBezTo>
                          <a:pt x="114610" y="-2215"/>
                          <a:pt x="340315" y="12554"/>
                          <a:pt x="572884" y="0"/>
                        </a:cubicBezTo>
                        <a:cubicBezTo>
                          <a:pt x="805453" y="-12554"/>
                          <a:pt x="832891" y="-10424"/>
                          <a:pt x="1018461" y="0"/>
                        </a:cubicBezTo>
                        <a:cubicBezTo>
                          <a:pt x="1204031" y="10424"/>
                          <a:pt x="1590875" y="8682"/>
                          <a:pt x="1782307" y="0"/>
                        </a:cubicBezTo>
                        <a:cubicBezTo>
                          <a:pt x="1973739" y="-8682"/>
                          <a:pt x="2150876" y="5508"/>
                          <a:pt x="2355192" y="0"/>
                        </a:cubicBezTo>
                        <a:cubicBezTo>
                          <a:pt x="2559508" y="-5508"/>
                          <a:pt x="2790194" y="26965"/>
                          <a:pt x="2928076" y="0"/>
                        </a:cubicBezTo>
                        <a:cubicBezTo>
                          <a:pt x="3065958" y="-26965"/>
                          <a:pt x="3321537" y="819"/>
                          <a:pt x="3691922" y="0"/>
                        </a:cubicBezTo>
                        <a:cubicBezTo>
                          <a:pt x="4062307" y="-819"/>
                          <a:pt x="4072238" y="-15327"/>
                          <a:pt x="4201153" y="0"/>
                        </a:cubicBezTo>
                        <a:cubicBezTo>
                          <a:pt x="4330068" y="15327"/>
                          <a:pt x="4772079" y="-35646"/>
                          <a:pt x="4964999" y="0"/>
                        </a:cubicBezTo>
                        <a:cubicBezTo>
                          <a:pt x="5157919" y="35646"/>
                          <a:pt x="5543915" y="6802"/>
                          <a:pt x="5728845" y="0"/>
                        </a:cubicBezTo>
                        <a:cubicBezTo>
                          <a:pt x="5913775" y="-6802"/>
                          <a:pt x="6142952" y="-21408"/>
                          <a:pt x="6365383" y="0"/>
                        </a:cubicBezTo>
                        <a:cubicBezTo>
                          <a:pt x="6364552" y="6329"/>
                          <a:pt x="6365787" y="16858"/>
                          <a:pt x="6365383" y="27432"/>
                        </a:cubicBezTo>
                        <a:cubicBezTo>
                          <a:pt x="6176931" y="320"/>
                          <a:pt x="5998736" y="11244"/>
                          <a:pt x="5665191" y="27432"/>
                        </a:cubicBezTo>
                        <a:cubicBezTo>
                          <a:pt x="5331646" y="43620"/>
                          <a:pt x="5198011" y="28615"/>
                          <a:pt x="4901345" y="27432"/>
                        </a:cubicBezTo>
                        <a:cubicBezTo>
                          <a:pt x="4604679" y="26249"/>
                          <a:pt x="4422931" y="40617"/>
                          <a:pt x="4137499" y="27432"/>
                        </a:cubicBezTo>
                        <a:cubicBezTo>
                          <a:pt x="3852067" y="14247"/>
                          <a:pt x="3861939" y="26581"/>
                          <a:pt x="3628268" y="27432"/>
                        </a:cubicBezTo>
                        <a:cubicBezTo>
                          <a:pt x="3394597" y="28283"/>
                          <a:pt x="3171361" y="44132"/>
                          <a:pt x="2991730" y="27432"/>
                        </a:cubicBezTo>
                        <a:cubicBezTo>
                          <a:pt x="2812099" y="10732"/>
                          <a:pt x="2469344" y="24737"/>
                          <a:pt x="2227884" y="27432"/>
                        </a:cubicBezTo>
                        <a:cubicBezTo>
                          <a:pt x="1986424" y="30127"/>
                          <a:pt x="1748067" y="6359"/>
                          <a:pt x="1591346" y="27432"/>
                        </a:cubicBezTo>
                        <a:cubicBezTo>
                          <a:pt x="1434625" y="48505"/>
                          <a:pt x="1307456" y="39663"/>
                          <a:pt x="1145769" y="27432"/>
                        </a:cubicBezTo>
                        <a:cubicBezTo>
                          <a:pt x="984082" y="15201"/>
                          <a:pt x="800279" y="41647"/>
                          <a:pt x="636538" y="27432"/>
                        </a:cubicBezTo>
                        <a:cubicBezTo>
                          <a:pt x="472797" y="13217"/>
                          <a:pt x="160022" y="2213"/>
                          <a:pt x="0" y="27432"/>
                        </a:cubicBezTo>
                        <a:cubicBezTo>
                          <a:pt x="-177" y="19307"/>
                          <a:pt x="-1145" y="9170"/>
                          <a:pt x="0" y="0"/>
                        </a:cubicBezTo>
                        <a:close/>
                      </a:path>
                    </a:pathLst>
                  </a:cu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32496479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6"/>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marL="0" marR="0" lvl="0" indent="0" algn="ctr" defTabSz="914400" rtl="0" eaLnBrk="1" fontAlgn="auto" latinLnBrk="0" hangingPunct="1">
                <a:lnSpc>
                  <a:spcPts val="3919"/>
                </a:lnSpc>
                <a:spcBef>
                  <a:spcPct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OCR A Extended" panose="02010509020102010303" pitchFamily="50" charset="0"/>
                  <a:ea typeface="+mn-ea"/>
                  <a:cs typeface="+mn-cs"/>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4"/>
          <a:srcRect/>
          <a:stretch>
            <a:fillRect/>
          </a:stretch>
        </p:blipFill>
        <p:spPr>
          <a:xfrm>
            <a:off x="0" y="9421491"/>
            <a:ext cx="3569110" cy="865509"/>
          </a:xfrm>
          <a:prstGeom prst="rect">
            <a:avLst/>
          </a:prstGeom>
        </p:spPr>
      </p:pic>
      <p:grpSp>
        <p:nvGrpSpPr>
          <p:cNvPr id="3" name="Gruppo 2">
            <a:extLst>
              <a:ext uri="{FF2B5EF4-FFF2-40B4-BE49-F238E27FC236}">
                <a16:creationId xmlns:a16="http://schemas.microsoft.com/office/drawing/2014/main" id="{1C29CBCA-BE0A-4EF6-AC69-329941E1DCFD}"/>
              </a:ext>
            </a:extLst>
          </p:cNvPr>
          <p:cNvGrpSpPr/>
          <p:nvPr/>
        </p:nvGrpSpPr>
        <p:grpSpPr>
          <a:xfrm>
            <a:off x="-12" y="138554"/>
            <a:ext cx="18288002" cy="681138"/>
            <a:chOff x="-12" y="138554"/>
            <a:chExt cx="18288002" cy="681138"/>
          </a:xfrm>
        </p:grpSpPr>
        <p:grpSp>
          <p:nvGrpSpPr>
            <p:cNvPr id="2" name="Gruppo 1">
              <a:extLst>
                <a:ext uri="{FF2B5EF4-FFF2-40B4-BE49-F238E27FC236}">
                  <a16:creationId xmlns:a16="http://schemas.microsoft.com/office/drawing/2014/main" id="{24E9C7AF-0093-476F-826C-A2702AB72892}"/>
                </a:ext>
              </a:extLst>
            </p:cNvPr>
            <p:cNvGrpSpPr/>
            <p:nvPr/>
          </p:nvGrpSpPr>
          <p:grpSpPr>
            <a:xfrm>
              <a:off x="0" y="153125"/>
              <a:ext cx="17907000" cy="666567"/>
              <a:chOff x="0" y="153125"/>
              <a:chExt cx="17907000" cy="666567"/>
            </a:xfrm>
          </p:grpSpPr>
          <p:grpSp>
            <p:nvGrpSpPr>
              <p:cNvPr id="16" name="Gruppo 15">
                <a:extLst>
                  <a:ext uri="{FF2B5EF4-FFF2-40B4-BE49-F238E27FC236}">
                    <a16:creationId xmlns:a16="http://schemas.microsoft.com/office/drawing/2014/main" id="{DAC42A46-917D-41AB-8F07-E15E54D0F7D4}"/>
                  </a:ext>
                </a:extLst>
              </p:cNvPr>
              <p:cNvGrpSpPr/>
              <p:nvPr/>
            </p:nvGrpSpPr>
            <p:grpSpPr>
              <a:xfrm>
                <a:off x="0" y="153125"/>
                <a:ext cx="13958844" cy="666567"/>
                <a:chOff x="0" y="153125"/>
                <a:chExt cx="13958844" cy="666567"/>
              </a:xfrm>
            </p:grpSpPr>
            <p:pic>
              <p:nvPicPr>
                <p:cNvPr id="10" name="Picture 10"/>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1" name="TextBox 11"/>
                <p:cNvSpPr txBox="1"/>
                <p:nvPr/>
              </p:nvSpPr>
              <p:spPr>
                <a:xfrm>
                  <a:off x="228600" y="257980"/>
                  <a:ext cx="9296400" cy="456856"/>
                </a:xfrm>
                <a:prstGeom prst="rect">
                  <a:avLst/>
                </a:prstGeom>
              </p:spPr>
              <p:txBody>
                <a:bodyPr wrap="square" lIns="0" tIns="0" rIns="0" bIns="0" rtlCol="0" anchor="t">
                  <a:spAutoFit/>
                </a:bodyPr>
                <a:lstStyle/>
                <a:p>
                  <a:pPr marL="0" marR="0" lvl="0" indent="0" algn="l" defTabSz="914400" rtl="0" eaLnBrk="1" fontAlgn="auto" latinLnBrk="0" hangingPunct="1">
                    <a:lnSpc>
                      <a:spcPts val="3919"/>
                    </a:lnSpc>
                    <a:spcBef>
                      <a:spcPct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2" name="TextBox 11">
                <a:extLst>
                  <a:ext uri="{FF2B5EF4-FFF2-40B4-BE49-F238E27FC236}">
                    <a16:creationId xmlns:a16="http://schemas.microsoft.com/office/drawing/2014/main" id="{1BD9B5F4-614C-4EB6-8C5B-120A5420CE43}"/>
                  </a:ext>
                </a:extLst>
              </p:cNvPr>
              <p:cNvSpPr txBox="1"/>
              <p:nvPr/>
            </p:nvSpPr>
            <p:spPr>
              <a:xfrm>
                <a:off x="12154296" y="257980"/>
                <a:ext cx="5752704" cy="456856"/>
              </a:xfrm>
              <a:prstGeom prst="rect">
                <a:avLst/>
              </a:prstGeom>
            </p:spPr>
            <p:txBody>
              <a:bodyPr wrap="square" lIns="0" tIns="0" rIns="0" bIns="0" rtlCol="0" anchor="t">
                <a:spAutoFit/>
              </a:bodyPr>
              <a:lstStyle/>
              <a:p>
                <a:pPr marL="0" marR="0" lvl="0" indent="0" algn="r" defTabSz="914400" rtl="0" eaLnBrk="1" fontAlgn="auto" latinLnBrk="0" hangingPunct="1">
                  <a:lnSpc>
                    <a:spcPts val="3919"/>
                  </a:lnSpc>
                  <a:spcBef>
                    <a:spcPct val="0"/>
                  </a:spcBef>
                  <a:spcAft>
                    <a:spcPts val="0"/>
                  </a:spcAft>
                  <a:buClrTx/>
                  <a:buSzTx/>
                  <a:buFontTx/>
                  <a:buNone/>
                  <a:tabLst/>
                  <a:defRPr/>
                </a:pPr>
                <a:endParaRPr kumimoji="0" lang="en-US" sz="2800" b="0" i="0" u="none" strike="noStrike" kern="1200" cap="none" spc="0" normalizeH="0" baseline="0" noProof="0">
                  <a:ln>
                    <a:noFill/>
                  </a:ln>
                  <a:solidFill>
                    <a:srgbClr val="2F2F2F">
                      <a:lumMod val="75000"/>
                      <a:lumOff val="25000"/>
                    </a:srgbClr>
                  </a:solidFill>
                  <a:effectLst/>
                  <a:uLnTx/>
                  <a:uFillTx/>
                  <a:latin typeface="Arial" panose="020B0604020202020204" pitchFamily="34" charset="0"/>
                  <a:ea typeface="+mn-ea"/>
                  <a:cs typeface="Arial" panose="020B0604020202020204" pitchFamily="34" charset="0"/>
                </a:endParaRPr>
              </a:p>
            </p:txBody>
          </p:sp>
        </p:grpSp>
        <p:sp>
          <p:nvSpPr>
            <p:cNvPr id="14" name="Rettangolo 13">
              <a:extLst>
                <a:ext uri="{FF2B5EF4-FFF2-40B4-BE49-F238E27FC236}">
                  <a16:creationId xmlns:a16="http://schemas.microsoft.com/office/drawing/2014/main" id="{55199736-B8B6-4C9A-8BAF-233E07A0CA89}"/>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3" name="TextBox 13"/>
          <p:cNvSpPr txBox="1"/>
          <p:nvPr/>
        </p:nvSpPr>
        <p:spPr>
          <a:xfrm>
            <a:off x="1981200" y="1106375"/>
            <a:ext cx="15126929" cy="1052468"/>
          </a:xfrm>
          <a:prstGeom prst="rect">
            <a:avLst/>
          </a:prstGeom>
        </p:spPr>
        <p:txBody>
          <a:bodyPr wrap="square" lIns="0" tIns="0" rIns="0" bIns="0" rtlCol="0" anchor="t">
            <a:spAutoFit/>
          </a:bodyPr>
          <a:lstStyle/>
          <a:p>
            <a:pPr marL="0" marR="0" lvl="0" indent="0" algn="ctr" defTabSz="914400" rtl="0" eaLnBrk="1" fontAlgn="auto" latinLnBrk="0" hangingPunct="1">
              <a:lnSpc>
                <a:spcPts val="8960"/>
              </a:lnSpc>
              <a:spcBef>
                <a:spcPct val="0"/>
              </a:spcBef>
              <a:spcAft>
                <a:spcPts val="0"/>
              </a:spcAft>
              <a:buClrTx/>
              <a:buSzTx/>
              <a:buFontTx/>
              <a:buNone/>
              <a:tabLst/>
              <a:defRPr/>
            </a:pPr>
            <a:r>
              <a:rPr kumimoji="0" lang="en-US" sz="6400" b="1" i="0" u="none" strike="noStrike" kern="1200" cap="none" spc="0" normalizeH="0" baseline="0" noProof="0">
                <a:ln>
                  <a:noFill/>
                </a:ln>
                <a:solidFill>
                  <a:srgbClr val="CC0033"/>
                </a:solidFill>
                <a:effectLst/>
                <a:uLnTx/>
                <a:uFillTx/>
                <a:latin typeface="Arial"/>
                <a:ea typeface="+mn-ea"/>
                <a:cs typeface="Arial" panose="020B0604020202020204" pitchFamily="34" charset="0"/>
              </a:rPr>
              <a:t>RETROFEED- Digital Readiness Level</a:t>
            </a:r>
          </a:p>
        </p:txBody>
      </p:sp>
      <p:sp>
        <p:nvSpPr>
          <p:cNvPr id="22" name="TextBox 21">
            <a:extLst>
              <a:ext uri="{FF2B5EF4-FFF2-40B4-BE49-F238E27FC236}">
                <a16:creationId xmlns:a16="http://schemas.microsoft.com/office/drawing/2014/main" id="{F21DCD0B-B68A-4D7A-9F6C-6D71442D13F2}"/>
              </a:ext>
            </a:extLst>
          </p:cNvPr>
          <p:cNvSpPr txBox="1"/>
          <p:nvPr/>
        </p:nvSpPr>
        <p:spPr>
          <a:xfrm>
            <a:off x="228599" y="2550382"/>
            <a:ext cx="17807749" cy="6124754"/>
          </a:xfrm>
          <a:prstGeom prst="rect">
            <a:avLst/>
          </a:prstGeom>
        </p:spPr>
        <p:txBody>
          <a:bodyPr wrap="square" lIns="0" tIns="0" rIns="0" bIns="0" rtlCol="0" anchor="t">
            <a:spAutoFit/>
          </a:bodyPr>
          <a:lstStyle/>
          <a:p>
            <a:pPr marL="571500" marR="0" lvl="0" indent="-5715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It is an </a:t>
            </a:r>
            <a:r>
              <a:rPr kumimoji="0" lang="en-US" sz="3600" b="1" i="0" u="none" strike="noStrike" kern="1200" cap="none" spc="0" normalizeH="0" baseline="0" noProof="0">
                <a:ln>
                  <a:noFill/>
                </a:ln>
                <a:solidFill>
                  <a:srgbClr val="000000"/>
                </a:solidFill>
                <a:effectLst/>
                <a:uLnTx/>
                <a:uFillTx/>
                <a:latin typeface="Arial" panose="020B0604020202020204" pitchFamily="34" charset="0"/>
                <a:ea typeface="+mn-ea"/>
                <a:cs typeface="+mn-cs"/>
              </a:rPr>
              <a:t>assessment</a:t>
            </a:r>
            <a:r>
              <a:rPr kumimoji="0" lang="en-US" sz="3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done on the industrial plants where potential </a:t>
            </a:r>
            <a:r>
              <a:rPr kumimoji="0" lang="en-US" sz="3600" b="1" i="0" u="none" strike="noStrike" kern="1200" cap="none" spc="0" normalizeH="0" baseline="0" noProof="0">
                <a:ln>
                  <a:noFill/>
                </a:ln>
                <a:solidFill>
                  <a:srgbClr val="000000"/>
                </a:solidFill>
                <a:effectLst/>
                <a:uLnTx/>
                <a:uFillTx/>
                <a:latin typeface="Arial" panose="020B0604020202020204" pitchFamily="34" charset="0"/>
                <a:ea typeface="+mn-ea"/>
                <a:cs typeface="+mn-cs"/>
              </a:rPr>
              <a:t>gaps</a:t>
            </a:r>
            <a:r>
              <a:rPr kumimoji="0" lang="en-US" sz="3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between their current level and their requirements for implementing retrofitting solutions are </a:t>
            </a:r>
            <a:r>
              <a:rPr kumimoji="0" lang="en-US" sz="3600" b="1" i="0" u="none" strike="noStrike" kern="1200" cap="none" spc="0" normalizeH="0" baseline="0" noProof="0">
                <a:ln>
                  <a:noFill/>
                </a:ln>
                <a:solidFill>
                  <a:srgbClr val="000000"/>
                </a:solidFill>
                <a:effectLst/>
                <a:uLnTx/>
                <a:uFillTx/>
                <a:latin typeface="Arial" panose="020B0604020202020204" pitchFamily="34" charset="0"/>
                <a:ea typeface="+mn-ea"/>
                <a:cs typeface="+mn-cs"/>
              </a:rPr>
              <a:t>identified</a:t>
            </a:r>
            <a:r>
              <a:rPr kumimoji="0" lang="en-US" sz="3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This is done to </a:t>
            </a:r>
            <a:r>
              <a:rPr kumimoji="0" lang="en-US" sz="3600" b="1" i="0" u="none" strike="noStrike" kern="1200" cap="none" spc="0" normalizeH="0" baseline="0" noProof="0">
                <a:ln>
                  <a:noFill/>
                </a:ln>
                <a:solidFill>
                  <a:srgbClr val="000000"/>
                </a:solidFill>
                <a:effectLst/>
                <a:uLnTx/>
                <a:uFillTx/>
                <a:latin typeface="Arial" panose="020B0604020202020204" pitchFamily="34" charset="0"/>
                <a:ea typeface="+mn-ea"/>
                <a:cs typeface="+mn-cs"/>
              </a:rPr>
              <a:t>avoid </a:t>
            </a:r>
            <a:r>
              <a:rPr kumimoji="0" lang="en-US" sz="3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process</a:t>
            </a:r>
            <a:r>
              <a:rPr kumimoji="0" lang="en-US" sz="3600" b="1" i="0" u="none" strike="noStrike" kern="1200" cap="none" spc="0" normalizeH="0" baseline="0" noProof="0">
                <a:ln>
                  <a:noFill/>
                </a:ln>
                <a:solidFill>
                  <a:srgbClr val="000000"/>
                </a:solidFill>
                <a:effectLst/>
                <a:uLnTx/>
                <a:uFillTx/>
                <a:latin typeface="Arial" panose="020B0604020202020204" pitchFamily="34" charset="0"/>
                <a:ea typeface="+mn-ea"/>
                <a:cs typeface="+mn-cs"/>
              </a:rPr>
              <a:t> disruptions </a:t>
            </a:r>
            <a:r>
              <a:rPr kumimoji="0" lang="en-US" sz="3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or product </a:t>
            </a:r>
            <a:r>
              <a:rPr kumimoji="0" lang="en-US" sz="3600" b="1" i="0" u="none" strike="noStrike" kern="1200" cap="none" spc="0" normalizeH="0" baseline="0" noProof="0">
                <a:ln>
                  <a:noFill/>
                </a:ln>
                <a:solidFill>
                  <a:srgbClr val="000000"/>
                </a:solidFill>
                <a:effectLst/>
                <a:uLnTx/>
                <a:uFillTx/>
                <a:latin typeface="Arial" panose="020B0604020202020204" pitchFamily="34" charset="0"/>
                <a:ea typeface="+mn-ea"/>
                <a:cs typeface="+mn-cs"/>
              </a:rPr>
              <a:t>quality variations</a:t>
            </a:r>
            <a:r>
              <a:rPr kumimoji="0" lang="en-US" sz="3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US" sz="4400" b="0" i="1" u="none" strike="noStrike" kern="1200" cap="none" spc="0" normalizeH="0" baseline="0" noProof="0">
              <a:ln>
                <a:noFill/>
              </a:ln>
              <a:solidFill>
                <a:srgbClr val="CC0033"/>
              </a:solidFill>
              <a:effectLst/>
              <a:uLnTx/>
              <a:uFillTx/>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400" b="0" i="1" u="none" strike="noStrike" kern="1200" cap="none" spc="0" normalizeH="0" baseline="0" noProof="0">
              <a:ln>
                <a:noFill/>
              </a:ln>
              <a:solidFill>
                <a:srgbClr val="CC0033"/>
              </a:solidFill>
              <a:effectLst/>
              <a:uLnTx/>
              <a:uFillTx/>
              <a:latin typeface="Arial" panose="020B0604020202020204" pitchFamily="34" charset="0"/>
              <a:ea typeface="+mn-ea"/>
              <a:cs typeface="+mn-cs"/>
            </a:endParaRPr>
          </a:p>
          <a:p>
            <a:pPr marL="571500" marR="0" lvl="0" indent="-5715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It is the starting point to develop a </a:t>
            </a:r>
            <a:r>
              <a:rPr kumimoji="0" lang="en-US" sz="3600" b="1" i="0" u="none" strike="noStrike" kern="1200" cap="none" spc="0" normalizeH="0" baseline="0" noProof="0">
                <a:ln>
                  <a:noFill/>
                </a:ln>
                <a:solidFill>
                  <a:srgbClr val="000000"/>
                </a:solidFill>
                <a:effectLst/>
                <a:uLnTx/>
                <a:uFillTx/>
                <a:latin typeface="Arial" panose="020B0604020202020204" pitchFamily="34" charset="0"/>
                <a:ea typeface="+mn-ea"/>
                <a:cs typeface="+mn-cs"/>
              </a:rPr>
              <a:t>step-by-step digital retrofitting development plan </a:t>
            </a:r>
            <a:r>
              <a:rPr kumimoji="0" lang="en-US" sz="3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covering hardware, software as well as data management aspects. </a:t>
            </a:r>
            <a:r>
              <a:rPr kumimoji="0" lang="en-US" sz="3600" b="1" i="0" u="none" strike="noStrike" kern="1200" cap="none" spc="0" normalizeH="0" baseline="0" noProof="0">
                <a:ln>
                  <a:noFill/>
                </a:ln>
                <a:solidFill>
                  <a:srgbClr val="000000"/>
                </a:solidFill>
                <a:effectLst/>
                <a:uLnTx/>
                <a:uFillTx/>
                <a:latin typeface="Arial" panose="020B0604020202020204" pitchFamily="34" charset="0"/>
                <a:ea typeface="+mn-ea"/>
                <a:cs typeface="+mn-cs"/>
              </a:rPr>
              <a:t>Investment</a:t>
            </a:r>
            <a:r>
              <a:rPr kumimoji="0" lang="en-US" sz="3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and technical and organizational </a:t>
            </a:r>
            <a:r>
              <a:rPr kumimoji="0" lang="en-US" sz="3600" b="1" i="0" u="none" strike="noStrike" kern="1200" cap="none" spc="0" normalizeH="0" baseline="0" noProof="0">
                <a:ln>
                  <a:noFill/>
                </a:ln>
                <a:solidFill>
                  <a:srgbClr val="000000"/>
                </a:solidFill>
                <a:effectLst/>
                <a:uLnTx/>
                <a:uFillTx/>
                <a:latin typeface="Arial" panose="020B0604020202020204" pitchFamily="34" charset="0"/>
                <a:ea typeface="+mn-ea"/>
                <a:cs typeface="+mn-cs"/>
              </a:rPr>
              <a:t>risks</a:t>
            </a:r>
            <a:r>
              <a:rPr kumimoji="0" lang="en-US" sz="3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are also </a:t>
            </a:r>
            <a:r>
              <a:rPr kumimoji="0" lang="en-US" sz="3600" b="1" i="0" u="none" strike="noStrike" kern="1200" cap="none" spc="0" normalizeH="0" baseline="0" noProof="0">
                <a:ln>
                  <a:noFill/>
                </a:ln>
                <a:solidFill>
                  <a:srgbClr val="000000"/>
                </a:solidFill>
                <a:effectLst/>
                <a:uLnTx/>
                <a:uFillTx/>
                <a:latin typeface="Arial" panose="020B0604020202020204" pitchFamily="34" charset="0"/>
                <a:ea typeface="+mn-ea"/>
                <a:cs typeface="+mn-cs"/>
              </a:rPr>
              <a:t>estimated</a:t>
            </a:r>
            <a:r>
              <a:rPr kumimoji="0" lang="en-US" sz="3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as well as the </a:t>
            </a:r>
            <a:r>
              <a:rPr kumimoji="0" lang="en-US" sz="3600" b="1" i="0" u="none" strike="noStrike" kern="1200" cap="none" spc="0" normalizeH="0" baseline="0" noProof="0">
                <a:ln>
                  <a:noFill/>
                </a:ln>
                <a:solidFill>
                  <a:srgbClr val="000000"/>
                </a:solidFill>
                <a:effectLst/>
                <a:uLnTx/>
                <a:uFillTx/>
                <a:latin typeface="Arial" panose="020B0604020202020204" pitchFamily="34" charset="0"/>
                <a:ea typeface="+mn-ea"/>
                <a:cs typeface="+mn-cs"/>
              </a:rPr>
              <a:t>strategic fit</a:t>
            </a:r>
            <a:r>
              <a:rPr kumimoji="0" lang="en-US" sz="3600" b="0" i="0" u="none" strike="noStrike" kern="1200" cap="none" spc="0" normalizeH="0" baseline="0" noProof="0">
                <a:ln>
                  <a:noFill/>
                </a:ln>
                <a:solidFill>
                  <a:srgbClr val="000000"/>
                </a:solidFill>
                <a:effectLst/>
                <a:uLnTx/>
                <a:uFillTx/>
                <a:latin typeface="Arial" panose="020B0604020202020204" pitchFamily="34" charset="0"/>
                <a:ea typeface="+mn-ea"/>
                <a:cs typeface="+mn-cs"/>
              </a:rPr>
              <a:t> with broader industry 4.0 plans. </a:t>
            </a:r>
            <a:endParaRPr kumimoji="0" lang="sv-SE" sz="3600" b="0" i="0" u="none" strike="noStrike" kern="100" cap="none" spc="0" normalizeH="0" baseline="0" noProof="0">
              <a:ln>
                <a:noFill/>
              </a:ln>
              <a:solidFill>
                <a:srgbClr val="404040"/>
              </a:solidFill>
              <a:effectLst/>
              <a:uLnTx/>
              <a:uFillTx/>
              <a:latin typeface="Arial"/>
              <a:ea typeface="Noto Sans CJK SC"/>
              <a:cs typeface="Lohit Devanagari"/>
            </a:endParaRPr>
          </a:p>
          <a:p>
            <a:pPr marL="1028700" marR="0" lvl="1" indent="-5715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sv-SE" sz="3600" b="0" i="0" u="none" strike="noStrike" kern="100" cap="none" spc="0" normalizeH="0" baseline="0" noProof="0">
              <a:ln>
                <a:noFill/>
              </a:ln>
              <a:solidFill>
                <a:srgbClr val="404040"/>
              </a:solidFill>
              <a:effectLst/>
              <a:uLnTx/>
              <a:uFillTx/>
              <a:latin typeface="Arial"/>
              <a:ea typeface="Noto Sans CJK SC"/>
              <a:cs typeface="Lohit Devanagari"/>
            </a:endParaRPr>
          </a:p>
        </p:txBody>
      </p:sp>
      <p:sp>
        <p:nvSpPr>
          <p:cNvPr id="4" name="TextBox 3">
            <a:extLst>
              <a:ext uri="{FF2B5EF4-FFF2-40B4-BE49-F238E27FC236}">
                <a16:creationId xmlns:a16="http://schemas.microsoft.com/office/drawing/2014/main" id="{CCEEBDE3-1B0F-4AA5-A0A6-CD4BB2F34487}"/>
              </a:ext>
            </a:extLst>
          </p:cNvPr>
          <p:cNvSpPr txBox="1"/>
          <p:nvPr/>
        </p:nvSpPr>
        <p:spPr>
          <a:xfrm>
            <a:off x="5226598" y="4735937"/>
            <a:ext cx="11099868" cy="646331"/>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1" u="none" strike="noStrike" kern="1200" cap="none" spc="0" normalizeH="0" baseline="0" noProof="0">
                <a:ln>
                  <a:noFill/>
                </a:ln>
                <a:solidFill>
                  <a:srgbClr val="CC0033"/>
                </a:solidFill>
                <a:effectLst/>
                <a:uLnTx/>
                <a:uFillTx/>
                <a:latin typeface="Arial" panose="020B0604020202020204" pitchFamily="34" charset="0"/>
                <a:ea typeface="+mn-ea"/>
                <a:cs typeface="+mn-cs"/>
              </a:rPr>
              <a:t>How “RETROFEED-Ready” are the industrial plants?</a:t>
            </a:r>
            <a:endParaRPr kumimoji="0" lang="sv-SE" sz="3600" b="0" i="0" u="none" strike="noStrike" kern="1200" cap="none" spc="0" normalizeH="0" baseline="0" noProof="0">
              <a:ln>
                <a:noFill/>
              </a:ln>
              <a:solidFill>
                <a:srgbClr val="2F2F2F"/>
              </a:solidFill>
              <a:effectLst/>
              <a:uLnTx/>
              <a:uFillTx/>
              <a:latin typeface="Arial"/>
              <a:ea typeface="+mn-ea"/>
              <a:cs typeface="+mn-cs"/>
            </a:endParaRPr>
          </a:p>
        </p:txBody>
      </p:sp>
      <p:sp>
        <p:nvSpPr>
          <p:cNvPr id="5" name="Arrow: Bent 4">
            <a:extLst>
              <a:ext uri="{FF2B5EF4-FFF2-40B4-BE49-F238E27FC236}">
                <a16:creationId xmlns:a16="http://schemas.microsoft.com/office/drawing/2014/main" id="{946290AA-39A6-40E1-A217-1324AD5D00F9}"/>
              </a:ext>
            </a:extLst>
          </p:cNvPr>
          <p:cNvSpPr/>
          <p:nvPr/>
        </p:nvSpPr>
        <p:spPr>
          <a:xfrm flipV="1">
            <a:off x="3829665" y="4396620"/>
            <a:ext cx="1047135" cy="865509"/>
          </a:xfrm>
          <a:prstGeom prst="bentArrow">
            <a:avLst>
              <a:gd name="adj1" fmla="val 25000"/>
              <a:gd name="adj2" fmla="val 42040"/>
              <a:gd name="adj3" fmla="val 35224"/>
              <a:gd name="adj4" fmla="val 1648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F2F2F"/>
              </a:solidFill>
              <a:effectLst/>
              <a:uLnTx/>
              <a:uFillTx/>
              <a:latin typeface="Arial"/>
              <a:ea typeface="+mn-ea"/>
              <a:cs typeface="+mn-cs"/>
            </a:endParaRPr>
          </a:p>
        </p:txBody>
      </p:sp>
      <p:sp>
        <p:nvSpPr>
          <p:cNvPr id="21" name="TextBox 20">
            <a:extLst>
              <a:ext uri="{FF2B5EF4-FFF2-40B4-BE49-F238E27FC236}">
                <a16:creationId xmlns:a16="http://schemas.microsoft.com/office/drawing/2014/main" id="{EC66C9A9-AD76-44D3-A988-0B7337079C14}"/>
              </a:ext>
            </a:extLst>
          </p:cNvPr>
          <p:cNvSpPr txBox="1"/>
          <p:nvPr/>
        </p:nvSpPr>
        <p:spPr>
          <a:xfrm>
            <a:off x="6400799" y="8280176"/>
            <a:ext cx="9925667" cy="1200329"/>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1" u="none" strike="noStrike" kern="1200" cap="none" spc="0" normalizeH="0" baseline="0" noProof="0">
                <a:ln>
                  <a:noFill/>
                </a:ln>
                <a:solidFill>
                  <a:srgbClr val="CC0033"/>
                </a:solidFill>
                <a:effectLst/>
                <a:uLnTx/>
                <a:uFillTx/>
                <a:latin typeface="Arial" panose="020B0604020202020204" pitchFamily="34" charset="0"/>
                <a:ea typeface="+mn-ea"/>
                <a:cs typeface="+mn-cs"/>
              </a:rPr>
              <a:t>What steps are to be taken to make the industry ready to replicate RETROFEED solutions?</a:t>
            </a:r>
            <a:endParaRPr kumimoji="0" lang="sv-SE" sz="3600" b="0" i="0" u="none" strike="noStrike" kern="1200" cap="none" spc="0" normalizeH="0" baseline="0" noProof="0">
              <a:ln>
                <a:noFill/>
              </a:ln>
              <a:solidFill>
                <a:srgbClr val="2F2F2F"/>
              </a:solidFill>
              <a:effectLst/>
              <a:uLnTx/>
              <a:uFillTx/>
              <a:latin typeface="Arial"/>
              <a:ea typeface="+mn-ea"/>
              <a:cs typeface="+mn-cs"/>
            </a:endParaRPr>
          </a:p>
        </p:txBody>
      </p:sp>
      <p:sp>
        <p:nvSpPr>
          <p:cNvPr id="23" name="Arrow: Bent 22">
            <a:extLst>
              <a:ext uri="{FF2B5EF4-FFF2-40B4-BE49-F238E27FC236}">
                <a16:creationId xmlns:a16="http://schemas.microsoft.com/office/drawing/2014/main" id="{8DEC5F8B-B6D6-4415-89DC-287AA7F7FC5C}"/>
              </a:ext>
            </a:extLst>
          </p:cNvPr>
          <p:cNvSpPr/>
          <p:nvPr/>
        </p:nvSpPr>
        <p:spPr>
          <a:xfrm flipV="1">
            <a:off x="4876800" y="8206737"/>
            <a:ext cx="1047135" cy="865509"/>
          </a:xfrm>
          <a:prstGeom prst="bentArrow">
            <a:avLst>
              <a:gd name="adj1" fmla="val 25000"/>
              <a:gd name="adj2" fmla="val 42040"/>
              <a:gd name="adj3" fmla="val 35224"/>
              <a:gd name="adj4" fmla="val 1648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2F2F2F"/>
              </a:solidFill>
              <a:effectLst/>
              <a:uLnTx/>
              <a:uFillTx/>
              <a:latin typeface="Arial"/>
              <a:ea typeface="+mn-ea"/>
              <a:cs typeface="+mn-cs"/>
            </a:endParaRPr>
          </a:p>
        </p:txBody>
      </p:sp>
    </p:spTree>
    <p:extLst>
      <p:ext uri="{BB962C8B-B14F-4D97-AF65-F5344CB8AC3E}">
        <p14:creationId xmlns:p14="http://schemas.microsoft.com/office/powerpoint/2010/main" val="500468323"/>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a:extLst>
              <a:ext uri="{FF2B5EF4-FFF2-40B4-BE49-F238E27FC236}">
                <a16:creationId xmlns:a16="http://schemas.microsoft.com/office/drawing/2014/main" id="{98799FA6-242B-4FD5-B9E0-83122CE6C004}"/>
              </a:ext>
            </a:extLst>
          </p:cNvPr>
          <p:cNvGrpSpPr/>
          <p:nvPr/>
        </p:nvGrpSpPr>
        <p:grpSpPr>
          <a:xfrm>
            <a:off x="4329156" y="9790986"/>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marL="0" marR="0" lvl="0" indent="0" algn="ctr" defTabSz="914400" rtl="0" eaLnBrk="1" fontAlgn="auto" latinLnBrk="0" hangingPunct="1">
                <a:lnSpc>
                  <a:spcPts val="3919"/>
                </a:lnSpc>
                <a:spcBef>
                  <a:spcPct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OCR A Extended" panose="02010509020102010303" pitchFamily="50" charset="0"/>
                  <a:ea typeface="+mn-ea"/>
                  <a:cs typeface="+mn-cs"/>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4"/>
          <a:srcRect/>
          <a:stretch>
            <a:fillRect/>
          </a:stretch>
        </p:blipFill>
        <p:spPr>
          <a:xfrm>
            <a:off x="0" y="9421491"/>
            <a:ext cx="3569110" cy="865509"/>
          </a:xfrm>
          <a:prstGeom prst="rect">
            <a:avLst/>
          </a:prstGeom>
        </p:spPr>
      </p:pic>
      <p:grpSp>
        <p:nvGrpSpPr>
          <p:cNvPr id="3" name="Gruppo 2">
            <a:extLst>
              <a:ext uri="{FF2B5EF4-FFF2-40B4-BE49-F238E27FC236}">
                <a16:creationId xmlns:a16="http://schemas.microsoft.com/office/drawing/2014/main" id="{1C29CBCA-BE0A-4EF6-AC69-329941E1DCFD}"/>
              </a:ext>
            </a:extLst>
          </p:cNvPr>
          <p:cNvGrpSpPr/>
          <p:nvPr/>
        </p:nvGrpSpPr>
        <p:grpSpPr>
          <a:xfrm>
            <a:off x="-12" y="138554"/>
            <a:ext cx="18288002" cy="681138"/>
            <a:chOff x="-12" y="138554"/>
            <a:chExt cx="18288002" cy="681138"/>
          </a:xfrm>
        </p:grpSpPr>
        <p:grpSp>
          <p:nvGrpSpPr>
            <p:cNvPr id="2" name="Gruppo 1">
              <a:extLst>
                <a:ext uri="{FF2B5EF4-FFF2-40B4-BE49-F238E27FC236}">
                  <a16:creationId xmlns:a16="http://schemas.microsoft.com/office/drawing/2014/main" id="{24E9C7AF-0093-476F-826C-A2702AB72892}"/>
                </a:ext>
              </a:extLst>
            </p:cNvPr>
            <p:cNvGrpSpPr/>
            <p:nvPr/>
          </p:nvGrpSpPr>
          <p:grpSpPr>
            <a:xfrm>
              <a:off x="0" y="153125"/>
              <a:ext cx="17907000" cy="666567"/>
              <a:chOff x="0" y="153125"/>
              <a:chExt cx="17907000" cy="666567"/>
            </a:xfrm>
          </p:grpSpPr>
          <p:grpSp>
            <p:nvGrpSpPr>
              <p:cNvPr id="16" name="Gruppo 15">
                <a:extLst>
                  <a:ext uri="{FF2B5EF4-FFF2-40B4-BE49-F238E27FC236}">
                    <a16:creationId xmlns:a16="http://schemas.microsoft.com/office/drawing/2014/main" id="{DAC42A46-917D-41AB-8F07-E15E54D0F7D4}"/>
                  </a:ext>
                </a:extLst>
              </p:cNvPr>
              <p:cNvGrpSpPr/>
              <p:nvPr/>
            </p:nvGrpSpPr>
            <p:grpSpPr>
              <a:xfrm>
                <a:off x="0" y="153125"/>
                <a:ext cx="13958844" cy="666567"/>
                <a:chOff x="0" y="153125"/>
                <a:chExt cx="13958844" cy="666567"/>
              </a:xfrm>
            </p:grpSpPr>
            <p:pic>
              <p:nvPicPr>
                <p:cNvPr id="10" name="Picture 10"/>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1" name="TextBox 11"/>
                <p:cNvSpPr txBox="1"/>
                <p:nvPr/>
              </p:nvSpPr>
              <p:spPr>
                <a:xfrm>
                  <a:off x="228600" y="257980"/>
                  <a:ext cx="9296400" cy="456856"/>
                </a:xfrm>
                <a:prstGeom prst="rect">
                  <a:avLst/>
                </a:prstGeom>
              </p:spPr>
              <p:txBody>
                <a:bodyPr wrap="square" lIns="0" tIns="0" rIns="0" bIns="0" rtlCol="0" anchor="t">
                  <a:spAutoFit/>
                </a:bodyPr>
                <a:lstStyle/>
                <a:p>
                  <a:pPr marL="0" marR="0" lvl="0" indent="0" algn="l" defTabSz="914400" rtl="0" eaLnBrk="1" fontAlgn="auto" latinLnBrk="0" hangingPunct="1">
                    <a:lnSpc>
                      <a:spcPts val="3919"/>
                    </a:lnSpc>
                    <a:spcBef>
                      <a:spcPct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2" name="TextBox 11">
                <a:extLst>
                  <a:ext uri="{FF2B5EF4-FFF2-40B4-BE49-F238E27FC236}">
                    <a16:creationId xmlns:a16="http://schemas.microsoft.com/office/drawing/2014/main" id="{1BD9B5F4-614C-4EB6-8C5B-120A5420CE43}"/>
                  </a:ext>
                </a:extLst>
              </p:cNvPr>
              <p:cNvSpPr txBox="1"/>
              <p:nvPr/>
            </p:nvSpPr>
            <p:spPr>
              <a:xfrm>
                <a:off x="12154296" y="257980"/>
                <a:ext cx="5752704" cy="456856"/>
              </a:xfrm>
              <a:prstGeom prst="rect">
                <a:avLst/>
              </a:prstGeom>
            </p:spPr>
            <p:txBody>
              <a:bodyPr wrap="square" lIns="0" tIns="0" rIns="0" bIns="0" rtlCol="0" anchor="t">
                <a:spAutoFit/>
              </a:bodyPr>
              <a:lstStyle/>
              <a:p>
                <a:pPr marL="0" marR="0" lvl="0" indent="0" algn="r" defTabSz="914400" rtl="0" eaLnBrk="1" fontAlgn="auto" latinLnBrk="0" hangingPunct="1">
                  <a:lnSpc>
                    <a:spcPts val="3919"/>
                  </a:lnSpc>
                  <a:spcBef>
                    <a:spcPct val="0"/>
                  </a:spcBef>
                  <a:spcAft>
                    <a:spcPts val="0"/>
                  </a:spcAft>
                  <a:buClrTx/>
                  <a:buSzTx/>
                  <a:buFontTx/>
                  <a:buNone/>
                  <a:tabLst/>
                  <a:defRPr/>
                </a:pPr>
                <a:endParaRPr kumimoji="0" lang="en-US" sz="2800" b="0" i="0" u="none" strike="noStrike" kern="1200" cap="none" spc="0" normalizeH="0" baseline="0" noProof="0">
                  <a:ln>
                    <a:noFill/>
                  </a:ln>
                  <a:solidFill>
                    <a:srgbClr val="2F2F2F">
                      <a:lumMod val="75000"/>
                      <a:lumOff val="25000"/>
                    </a:srgbClr>
                  </a:solidFill>
                  <a:effectLst/>
                  <a:uLnTx/>
                  <a:uFillTx/>
                  <a:latin typeface="Arial" panose="020B0604020202020204" pitchFamily="34" charset="0"/>
                  <a:ea typeface="+mn-ea"/>
                  <a:cs typeface="Arial" panose="020B0604020202020204" pitchFamily="34" charset="0"/>
                </a:endParaRPr>
              </a:p>
            </p:txBody>
          </p:sp>
        </p:grpSp>
        <p:sp>
          <p:nvSpPr>
            <p:cNvPr id="14" name="Rettangolo 13">
              <a:extLst>
                <a:ext uri="{FF2B5EF4-FFF2-40B4-BE49-F238E27FC236}">
                  <a16:creationId xmlns:a16="http://schemas.microsoft.com/office/drawing/2014/main" id="{55199736-B8B6-4C9A-8BAF-233E07A0CA89}"/>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24" name="TextBox 13">
            <a:extLst>
              <a:ext uri="{FF2B5EF4-FFF2-40B4-BE49-F238E27FC236}">
                <a16:creationId xmlns:a16="http://schemas.microsoft.com/office/drawing/2014/main" id="{F665596E-9D66-4C46-8113-C9586C8456E9}"/>
              </a:ext>
            </a:extLst>
          </p:cNvPr>
          <p:cNvSpPr txBox="1"/>
          <p:nvPr/>
        </p:nvSpPr>
        <p:spPr>
          <a:xfrm>
            <a:off x="-514362" y="1089405"/>
            <a:ext cx="19316700" cy="1040798"/>
          </a:xfrm>
          <a:prstGeom prst="rect">
            <a:avLst/>
          </a:prstGeom>
        </p:spPr>
        <p:txBody>
          <a:bodyPr wrap="square" lIns="0" tIns="0" rIns="0" bIns="0" rtlCol="0" anchor="t">
            <a:spAutoFit/>
          </a:bodyPr>
          <a:lstStyle/>
          <a:p>
            <a:pPr marL="0" marR="0" lvl="0" indent="0" algn="ctr" defTabSz="914400" rtl="0" eaLnBrk="1" fontAlgn="auto" latinLnBrk="0" hangingPunct="1">
              <a:lnSpc>
                <a:spcPts val="8960"/>
              </a:lnSpc>
              <a:spcBef>
                <a:spcPct val="0"/>
              </a:spcBef>
              <a:spcAft>
                <a:spcPts val="0"/>
              </a:spcAft>
              <a:buClrTx/>
              <a:buSzTx/>
              <a:buFontTx/>
              <a:buNone/>
              <a:tabLst/>
              <a:defRPr/>
            </a:pPr>
            <a:r>
              <a:rPr kumimoji="0" lang="en-US" sz="5400" b="1" i="0" u="none" strike="noStrike" kern="1200" cap="none" spc="0" normalizeH="0" baseline="0" noProof="0">
                <a:ln>
                  <a:noFill/>
                </a:ln>
                <a:solidFill>
                  <a:srgbClr val="CC0033"/>
                </a:solidFill>
                <a:effectLst/>
                <a:uLnTx/>
                <a:uFillTx/>
                <a:latin typeface="Arial"/>
                <a:ea typeface="+mn-ea"/>
                <a:cs typeface="Arial" panose="020B0604020202020204" pitchFamily="34" charset="0"/>
              </a:rPr>
              <a:t>Overview of RETROFEED- Digital Readiness Levels</a:t>
            </a:r>
          </a:p>
        </p:txBody>
      </p:sp>
      <p:pic>
        <p:nvPicPr>
          <p:cNvPr id="25" name="Picture 24">
            <a:extLst>
              <a:ext uri="{FF2B5EF4-FFF2-40B4-BE49-F238E27FC236}">
                <a16:creationId xmlns:a16="http://schemas.microsoft.com/office/drawing/2014/main" id="{983E9C26-C326-4CE5-B233-5D25C75F47D2}"/>
              </a:ext>
            </a:extLst>
          </p:cNvPr>
          <p:cNvPicPr>
            <a:picLocks noChangeAspect="1"/>
          </p:cNvPicPr>
          <p:nvPr/>
        </p:nvPicPr>
        <p:blipFill rotWithShape="1">
          <a:blip r:embed="rId6"/>
          <a:srcRect l="627" t="11138" r="-627" b="-421"/>
          <a:stretch/>
        </p:blipFill>
        <p:spPr>
          <a:xfrm>
            <a:off x="1051663" y="2570869"/>
            <a:ext cx="16096941" cy="5814356"/>
          </a:xfrm>
          <a:prstGeom prst="rect">
            <a:avLst/>
          </a:prstGeom>
        </p:spPr>
      </p:pic>
      <p:sp>
        <p:nvSpPr>
          <p:cNvPr id="6" name="TextBox 5">
            <a:extLst>
              <a:ext uri="{FF2B5EF4-FFF2-40B4-BE49-F238E27FC236}">
                <a16:creationId xmlns:a16="http://schemas.microsoft.com/office/drawing/2014/main" id="{25E91127-4A55-4FEF-8F07-DCB484890CD6}"/>
              </a:ext>
            </a:extLst>
          </p:cNvPr>
          <p:cNvSpPr txBox="1"/>
          <p:nvPr/>
        </p:nvSpPr>
        <p:spPr>
          <a:xfrm>
            <a:off x="981371" y="8280369"/>
            <a:ext cx="8131277"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2000" b="1" i="0" u="none" strike="noStrike" kern="1200" cap="none" spc="0" normalizeH="0" baseline="0" noProof="0">
                <a:ln>
                  <a:noFill/>
                </a:ln>
                <a:solidFill>
                  <a:srgbClr val="2F2F2F"/>
                </a:solidFill>
                <a:effectLst/>
                <a:uLnTx/>
                <a:uFillTx/>
                <a:latin typeface="Arial"/>
                <a:ea typeface="+mn-ea"/>
                <a:cs typeface="+mn-cs"/>
              </a:rPr>
              <a:t>DRL:Digital Readiness leve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2000" b="1" i="0" u="none" strike="noStrike" kern="1200" cap="none" spc="0" normalizeH="0" baseline="0" noProof="0">
                <a:ln>
                  <a:noFill/>
                </a:ln>
                <a:solidFill>
                  <a:srgbClr val="2F2F2F"/>
                </a:solidFill>
                <a:effectLst/>
                <a:uLnTx/>
                <a:uFillTx/>
                <a:latin typeface="Arial"/>
                <a:ea typeface="+mn-ea"/>
                <a:cs typeface="+mn-cs"/>
              </a:rPr>
              <a:t>RF: Retrofeed</a:t>
            </a:r>
          </a:p>
        </p:txBody>
      </p:sp>
    </p:spTree>
    <p:extLst>
      <p:ext uri="{BB962C8B-B14F-4D97-AF65-F5344CB8AC3E}">
        <p14:creationId xmlns:p14="http://schemas.microsoft.com/office/powerpoint/2010/main" val="2266500735"/>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a:extLst>
              <a:ext uri="{FF2B5EF4-FFF2-40B4-BE49-F238E27FC236}">
                <a16:creationId xmlns:a16="http://schemas.microsoft.com/office/drawing/2014/main" id="{98799FA6-242B-4FD5-B9E0-83122CE6C004}"/>
              </a:ext>
            </a:extLst>
          </p:cNvPr>
          <p:cNvGrpSpPr/>
          <p:nvPr/>
        </p:nvGrpSpPr>
        <p:grpSpPr>
          <a:xfrm>
            <a:off x="4329156" y="9790986"/>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marL="0" marR="0" lvl="0" indent="0" algn="ctr" defTabSz="914400" rtl="0" eaLnBrk="1" fontAlgn="auto" latinLnBrk="0" hangingPunct="1">
                <a:lnSpc>
                  <a:spcPts val="3919"/>
                </a:lnSpc>
                <a:spcBef>
                  <a:spcPct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OCR A Extended" panose="02010509020102010303" pitchFamily="50" charset="0"/>
                  <a:ea typeface="+mn-ea"/>
                  <a:cs typeface="+mn-cs"/>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4"/>
          <a:srcRect/>
          <a:stretch>
            <a:fillRect/>
          </a:stretch>
        </p:blipFill>
        <p:spPr>
          <a:xfrm>
            <a:off x="0" y="9421491"/>
            <a:ext cx="3569110" cy="865509"/>
          </a:xfrm>
          <a:prstGeom prst="rect">
            <a:avLst/>
          </a:prstGeom>
        </p:spPr>
      </p:pic>
      <p:grpSp>
        <p:nvGrpSpPr>
          <p:cNvPr id="3" name="Gruppo 2">
            <a:extLst>
              <a:ext uri="{FF2B5EF4-FFF2-40B4-BE49-F238E27FC236}">
                <a16:creationId xmlns:a16="http://schemas.microsoft.com/office/drawing/2014/main" id="{1C29CBCA-BE0A-4EF6-AC69-329941E1DCFD}"/>
              </a:ext>
            </a:extLst>
          </p:cNvPr>
          <p:cNvGrpSpPr/>
          <p:nvPr/>
        </p:nvGrpSpPr>
        <p:grpSpPr>
          <a:xfrm>
            <a:off x="-12" y="138554"/>
            <a:ext cx="18288002" cy="681138"/>
            <a:chOff x="-12" y="138554"/>
            <a:chExt cx="18288002" cy="681138"/>
          </a:xfrm>
        </p:grpSpPr>
        <p:grpSp>
          <p:nvGrpSpPr>
            <p:cNvPr id="2" name="Gruppo 1">
              <a:extLst>
                <a:ext uri="{FF2B5EF4-FFF2-40B4-BE49-F238E27FC236}">
                  <a16:creationId xmlns:a16="http://schemas.microsoft.com/office/drawing/2014/main" id="{24E9C7AF-0093-476F-826C-A2702AB72892}"/>
                </a:ext>
              </a:extLst>
            </p:cNvPr>
            <p:cNvGrpSpPr/>
            <p:nvPr/>
          </p:nvGrpSpPr>
          <p:grpSpPr>
            <a:xfrm>
              <a:off x="0" y="153125"/>
              <a:ext cx="17907000" cy="666567"/>
              <a:chOff x="0" y="153125"/>
              <a:chExt cx="17907000" cy="666567"/>
            </a:xfrm>
          </p:grpSpPr>
          <p:grpSp>
            <p:nvGrpSpPr>
              <p:cNvPr id="16" name="Gruppo 15">
                <a:extLst>
                  <a:ext uri="{FF2B5EF4-FFF2-40B4-BE49-F238E27FC236}">
                    <a16:creationId xmlns:a16="http://schemas.microsoft.com/office/drawing/2014/main" id="{DAC42A46-917D-41AB-8F07-E15E54D0F7D4}"/>
                  </a:ext>
                </a:extLst>
              </p:cNvPr>
              <p:cNvGrpSpPr/>
              <p:nvPr/>
            </p:nvGrpSpPr>
            <p:grpSpPr>
              <a:xfrm>
                <a:off x="0" y="153125"/>
                <a:ext cx="13958844" cy="666567"/>
                <a:chOff x="0" y="153125"/>
                <a:chExt cx="13958844" cy="666567"/>
              </a:xfrm>
            </p:grpSpPr>
            <p:pic>
              <p:nvPicPr>
                <p:cNvPr id="10" name="Picture 10"/>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1" name="TextBox 11"/>
                <p:cNvSpPr txBox="1"/>
                <p:nvPr/>
              </p:nvSpPr>
              <p:spPr>
                <a:xfrm>
                  <a:off x="228600" y="257980"/>
                  <a:ext cx="9296400" cy="456856"/>
                </a:xfrm>
                <a:prstGeom prst="rect">
                  <a:avLst/>
                </a:prstGeom>
              </p:spPr>
              <p:txBody>
                <a:bodyPr wrap="square" lIns="0" tIns="0" rIns="0" bIns="0" rtlCol="0" anchor="t">
                  <a:spAutoFit/>
                </a:bodyPr>
                <a:lstStyle/>
                <a:p>
                  <a:pPr marL="0" marR="0" lvl="0" indent="0" algn="l" defTabSz="914400" rtl="0" eaLnBrk="1" fontAlgn="auto" latinLnBrk="0" hangingPunct="1">
                    <a:lnSpc>
                      <a:spcPts val="3919"/>
                    </a:lnSpc>
                    <a:spcBef>
                      <a:spcPct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2" name="TextBox 11">
                <a:extLst>
                  <a:ext uri="{FF2B5EF4-FFF2-40B4-BE49-F238E27FC236}">
                    <a16:creationId xmlns:a16="http://schemas.microsoft.com/office/drawing/2014/main" id="{1BD9B5F4-614C-4EB6-8C5B-120A5420CE43}"/>
                  </a:ext>
                </a:extLst>
              </p:cNvPr>
              <p:cNvSpPr txBox="1"/>
              <p:nvPr/>
            </p:nvSpPr>
            <p:spPr>
              <a:xfrm>
                <a:off x="12154296" y="257980"/>
                <a:ext cx="5752704" cy="456856"/>
              </a:xfrm>
              <a:prstGeom prst="rect">
                <a:avLst/>
              </a:prstGeom>
            </p:spPr>
            <p:txBody>
              <a:bodyPr wrap="square" lIns="0" tIns="0" rIns="0" bIns="0" rtlCol="0" anchor="t">
                <a:spAutoFit/>
              </a:bodyPr>
              <a:lstStyle/>
              <a:p>
                <a:pPr marL="0" marR="0" lvl="0" indent="0" algn="r" defTabSz="914400" rtl="0" eaLnBrk="1" fontAlgn="auto" latinLnBrk="0" hangingPunct="1">
                  <a:lnSpc>
                    <a:spcPts val="3919"/>
                  </a:lnSpc>
                  <a:spcBef>
                    <a:spcPct val="0"/>
                  </a:spcBef>
                  <a:spcAft>
                    <a:spcPts val="0"/>
                  </a:spcAft>
                  <a:buClrTx/>
                  <a:buSzTx/>
                  <a:buFontTx/>
                  <a:buNone/>
                  <a:tabLst/>
                  <a:defRPr/>
                </a:pPr>
                <a:endParaRPr kumimoji="0" lang="en-US" sz="2800" b="0" i="0" u="none" strike="noStrike" kern="1200" cap="none" spc="0" normalizeH="0" baseline="0" noProof="0">
                  <a:ln>
                    <a:noFill/>
                  </a:ln>
                  <a:solidFill>
                    <a:srgbClr val="2F2F2F">
                      <a:lumMod val="75000"/>
                      <a:lumOff val="25000"/>
                    </a:srgbClr>
                  </a:solidFill>
                  <a:effectLst/>
                  <a:uLnTx/>
                  <a:uFillTx/>
                  <a:latin typeface="Arial" panose="020B0604020202020204" pitchFamily="34" charset="0"/>
                  <a:ea typeface="+mn-ea"/>
                  <a:cs typeface="Arial" panose="020B0604020202020204" pitchFamily="34" charset="0"/>
                </a:endParaRPr>
              </a:p>
            </p:txBody>
          </p:sp>
        </p:grpSp>
        <p:sp>
          <p:nvSpPr>
            <p:cNvPr id="14" name="Rettangolo 13">
              <a:extLst>
                <a:ext uri="{FF2B5EF4-FFF2-40B4-BE49-F238E27FC236}">
                  <a16:creationId xmlns:a16="http://schemas.microsoft.com/office/drawing/2014/main" id="{55199736-B8B6-4C9A-8BAF-233E07A0CA89}"/>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24" name="TextBox 13">
            <a:extLst>
              <a:ext uri="{FF2B5EF4-FFF2-40B4-BE49-F238E27FC236}">
                <a16:creationId xmlns:a16="http://schemas.microsoft.com/office/drawing/2014/main" id="{F665596E-9D66-4C46-8113-C9586C8456E9}"/>
              </a:ext>
            </a:extLst>
          </p:cNvPr>
          <p:cNvSpPr txBox="1"/>
          <p:nvPr/>
        </p:nvSpPr>
        <p:spPr>
          <a:xfrm>
            <a:off x="-514350" y="763022"/>
            <a:ext cx="19316700" cy="1040798"/>
          </a:xfrm>
          <a:prstGeom prst="rect">
            <a:avLst/>
          </a:prstGeom>
        </p:spPr>
        <p:txBody>
          <a:bodyPr wrap="square" lIns="0" tIns="0" rIns="0" bIns="0" rtlCol="0" anchor="t">
            <a:spAutoFit/>
          </a:bodyPr>
          <a:lstStyle/>
          <a:p>
            <a:pPr marL="0" marR="0" lvl="0" indent="0" algn="ctr" defTabSz="914400" rtl="0" eaLnBrk="1" fontAlgn="auto" latinLnBrk="0" hangingPunct="1">
              <a:lnSpc>
                <a:spcPts val="8960"/>
              </a:lnSpc>
              <a:spcBef>
                <a:spcPct val="0"/>
              </a:spcBef>
              <a:spcAft>
                <a:spcPts val="0"/>
              </a:spcAft>
              <a:buClrTx/>
              <a:buSzTx/>
              <a:buFontTx/>
              <a:buNone/>
              <a:tabLst/>
              <a:defRPr/>
            </a:pPr>
            <a:r>
              <a:rPr kumimoji="0" lang="en-US" sz="5400" b="1" i="0" u="none" strike="noStrike" kern="1200" cap="none" spc="0" normalizeH="0" baseline="0" noProof="0">
                <a:ln>
                  <a:noFill/>
                </a:ln>
                <a:solidFill>
                  <a:srgbClr val="CC0033"/>
                </a:solidFill>
                <a:effectLst/>
                <a:uLnTx/>
                <a:uFillTx/>
                <a:latin typeface="Arial"/>
                <a:ea typeface="+mn-ea"/>
                <a:cs typeface="Arial" panose="020B0604020202020204" pitchFamily="34" charset="0"/>
              </a:rPr>
              <a:t>Detailed description of the RF-DRL</a:t>
            </a:r>
          </a:p>
        </p:txBody>
      </p:sp>
      <p:pic>
        <p:nvPicPr>
          <p:cNvPr id="21" name="Picture 20">
            <a:extLst>
              <a:ext uri="{FF2B5EF4-FFF2-40B4-BE49-F238E27FC236}">
                <a16:creationId xmlns:a16="http://schemas.microsoft.com/office/drawing/2014/main" id="{AF78394D-7958-4234-8CC6-D4119E9ECB72}"/>
              </a:ext>
            </a:extLst>
          </p:cNvPr>
          <p:cNvPicPr>
            <a:picLocks noChangeAspect="1"/>
          </p:cNvPicPr>
          <p:nvPr/>
        </p:nvPicPr>
        <p:blipFill rotWithShape="1">
          <a:blip r:embed="rId6"/>
          <a:srcRect t="10230"/>
          <a:stretch/>
        </p:blipFill>
        <p:spPr>
          <a:xfrm>
            <a:off x="2237873" y="2087222"/>
            <a:ext cx="13499432" cy="3657600"/>
          </a:xfrm>
          <a:prstGeom prst="rect">
            <a:avLst/>
          </a:prstGeom>
        </p:spPr>
      </p:pic>
      <p:pic>
        <p:nvPicPr>
          <p:cNvPr id="22" name="Picture 21">
            <a:extLst>
              <a:ext uri="{FF2B5EF4-FFF2-40B4-BE49-F238E27FC236}">
                <a16:creationId xmlns:a16="http://schemas.microsoft.com/office/drawing/2014/main" id="{67F4BFCB-4789-4E37-8F24-B05A97D56EB6}"/>
              </a:ext>
            </a:extLst>
          </p:cNvPr>
          <p:cNvPicPr>
            <a:picLocks noChangeAspect="1"/>
          </p:cNvPicPr>
          <p:nvPr/>
        </p:nvPicPr>
        <p:blipFill>
          <a:blip r:embed="rId7"/>
          <a:stretch>
            <a:fillRect/>
          </a:stretch>
        </p:blipFill>
        <p:spPr>
          <a:xfrm>
            <a:off x="2237874" y="5918257"/>
            <a:ext cx="13324994" cy="3657600"/>
          </a:xfrm>
          <a:prstGeom prst="rect">
            <a:avLst/>
          </a:prstGeom>
        </p:spPr>
      </p:pic>
    </p:spTree>
    <p:extLst>
      <p:ext uri="{BB962C8B-B14F-4D97-AF65-F5344CB8AC3E}">
        <p14:creationId xmlns:p14="http://schemas.microsoft.com/office/powerpoint/2010/main" val="1444869082"/>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a:extLst>
              <a:ext uri="{FF2B5EF4-FFF2-40B4-BE49-F238E27FC236}">
                <a16:creationId xmlns:a16="http://schemas.microsoft.com/office/drawing/2014/main" id="{98799FA6-242B-4FD5-B9E0-83122CE6C004}"/>
              </a:ext>
            </a:extLst>
          </p:cNvPr>
          <p:cNvGrpSpPr/>
          <p:nvPr/>
        </p:nvGrpSpPr>
        <p:grpSpPr>
          <a:xfrm>
            <a:off x="4329156" y="9790986"/>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marL="0" marR="0" lvl="0" indent="0" algn="ctr" defTabSz="914400" rtl="0" eaLnBrk="1" fontAlgn="auto" latinLnBrk="0" hangingPunct="1">
                <a:lnSpc>
                  <a:spcPts val="3919"/>
                </a:lnSpc>
                <a:spcBef>
                  <a:spcPct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OCR A Extended" panose="02010509020102010303" pitchFamily="50" charset="0"/>
                  <a:ea typeface="+mn-ea"/>
                  <a:cs typeface="+mn-cs"/>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4"/>
          <a:srcRect/>
          <a:stretch>
            <a:fillRect/>
          </a:stretch>
        </p:blipFill>
        <p:spPr>
          <a:xfrm>
            <a:off x="0" y="9421491"/>
            <a:ext cx="3569110" cy="865509"/>
          </a:xfrm>
          <a:prstGeom prst="rect">
            <a:avLst/>
          </a:prstGeom>
        </p:spPr>
      </p:pic>
      <p:grpSp>
        <p:nvGrpSpPr>
          <p:cNvPr id="3" name="Gruppo 2">
            <a:extLst>
              <a:ext uri="{FF2B5EF4-FFF2-40B4-BE49-F238E27FC236}">
                <a16:creationId xmlns:a16="http://schemas.microsoft.com/office/drawing/2014/main" id="{1C29CBCA-BE0A-4EF6-AC69-329941E1DCFD}"/>
              </a:ext>
            </a:extLst>
          </p:cNvPr>
          <p:cNvGrpSpPr/>
          <p:nvPr/>
        </p:nvGrpSpPr>
        <p:grpSpPr>
          <a:xfrm>
            <a:off x="-12" y="138554"/>
            <a:ext cx="18288002" cy="681138"/>
            <a:chOff x="-12" y="138554"/>
            <a:chExt cx="18288002" cy="681138"/>
          </a:xfrm>
        </p:grpSpPr>
        <p:grpSp>
          <p:nvGrpSpPr>
            <p:cNvPr id="2" name="Gruppo 1">
              <a:extLst>
                <a:ext uri="{FF2B5EF4-FFF2-40B4-BE49-F238E27FC236}">
                  <a16:creationId xmlns:a16="http://schemas.microsoft.com/office/drawing/2014/main" id="{24E9C7AF-0093-476F-826C-A2702AB72892}"/>
                </a:ext>
              </a:extLst>
            </p:cNvPr>
            <p:cNvGrpSpPr/>
            <p:nvPr/>
          </p:nvGrpSpPr>
          <p:grpSpPr>
            <a:xfrm>
              <a:off x="0" y="153125"/>
              <a:ext cx="17907000" cy="666567"/>
              <a:chOff x="0" y="153125"/>
              <a:chExt cx="17907000" cy="666567"/>
            </a:xfrm>
          </p:grpSpPr>
          <p:grpSp>
            <p:nvGrpSpPr>
              <p:cNvPr id="16" name="Gruppo 15">
                <a:extLst>
                  <a:ext uri="{FF2B5EF4-FFF2-40B4-BE49-F238E27FC236}">
                    <a16:creationId xmlns:a16="http://schemas.microsoft.com/office/drawing/2014/main" id="{DAC42A46-917D-41AB-8F07-E15E54D0F7D4}"/>
                  </a:ext>
                </a:extLst>
              </p:cNvPr>
              <p:cNvGrpSpPr/>
              <p:nvPr/>
            </p:nvGrpSpPr>
            <p:grpSpPr>
              <a:xfrm>
                <a:off x="0" y="153125"/>
                <a:ext cx="13958844" cy="666567"/>
                <a:chOff x="0" y="153125"/>
                <a:chExt cx="13958844" cy="666567"/>
              </a:xfrm>
            </p:grpSpPr>
            <p:pic>
              <p:nvPicPr>
                <p:cNvPr id="10" name="Picture 10"/>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1" name="TextBox 11"/>
                <p:cNvSpPr txBox="1"/>
                <p:nvPr/>
              </p:nvSpPr>
              <p:spPr>
                <a:xfrm>
                  <a:off x="228600" y="257980"/>
                  <a:ext cx="9296400" cy="456856"/>
                </a:xfrm>
                <a:prstGeom prst="rect">
                  <a:avLst/>
                </a:prstGeom>
              </p:spPr>
              <p:txBody>
                <a:bodyPr wrap="square" lIns="0" tIns="0" rIns="0" bIns="0" rtlCol="0" anchor="t">
                  <a:spAutoFit/>
                </a:bodyPr>
                <a:lstStyle/>
                <a:p>
                  <a:pPr marL="0" marR="0" lvl="0" indent="0" algn="l" defTabSz="914400" rtl="0" eaLnBrk="1" fontAlgn="auto" latinLnBrk="0" hangingPunct="1">
                    <a:lnSpc>
                      <a:spcPts val="3919"/>
                    </a:lnSpc>
                    <a:spcBef>
                      <a:spcPct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2" name="TextBox 11">
                <a:extLst>
                  <a:ext uri="{FF2B5EF4-FFF2-40B4-BE49-F238E27FC236}">
                    <a16:creationId xmlns:a16="http://schemas.microsoft.com/office/drawing/2014/main" id="{1BD9B5F4-614C-4EB6-8C5B-120A5420CE43}"/>
                  </a:ext>
                </a:extLst>
              </p:cNvPr>
              <p:cNvSpPr txBox="1"/>
              <p:nvPr/>
            </p:nvSpPr>
            <p:spPr>
              <a:xfrm>
                <a:off x="12154296" y="257980"/>
                <a:ext cx="5752704" cy="456856"/>
              </a:xfrm>
              <a:prstGeom prst="rect">
                <a:avLst/>
              </a:prstGeom>
            </p:spPr>
            <p:txBody>
              <a:bodyPr wrap="square" lIns="0" tIns="0" rIns="0" bIns="0" rtlCol="0" anchor="t">
                <a:spAutoFit/>
              </a:bodyPr>
              <a:lstStyle/>
              <a:p>
                <a:pPr marL="0" marR="0" lvl="0" indent="0" algn="r" defTabSz="914400" rtl="0" eaLnBrk="1" fontAlgn="auto" latinLnBrk="0" hangingPunct="1">
                  <a:lnSpc>
                    <a:spcPts val="3919"/>
                  </a:lnSpc>
                  <a:spcBef>
                    <a:spcPct val="0"/>
                  </a:spcBef>
                  <a:spcAft>
                    <a:spcPts val="0"/>
                  </a:spcAft>
                  <a:buClrTx/>
                  <a:buSzTx/>
                  <a:buFontTx/>
                  <a:buNone/>
                  <a:tabLst/>
                  <a:defRPr/>
                </a:pPr>
                <a:endParaRPr kumimoji="0" lang="en-US" sz="2800" b="0" i="0" u="none" strike="noStrike" kern="1200" cap="none" spc="0" normalizeH="0" baseline="0" noProof="0">
                  <a:ln>
                    <a:noFill/>
                  </a:ln>
                  <a:solidFill>
                    <a:srgbClr val="2F2F2F">
                      <a:lumMod val="75000"/>
                      <a:lumOff val="25000"/>
                    </a:srgbClr>
                  </a:solidFill>
                  <a:effectLst/>
                  <a:uLnTx/>
                  <a:uFillTx/>
                  <a:latin typeface="Arial" panose="020B0604020202020204" pitchFamily="34" charset="0"/>
                  <a:ea typeface="+mn-ea"/>
                  <a:cs typeface="Arial" panose="020B0604020202020204" pitchFamily="34" charset="0"/>
                </a:endParaRPr>
              </a:p>
            </p:txBody>
          </p:sp>
        </p:grpSp>
        <p:sp>
          <p:nvSpPr>
            <p:cNvPr id="14" name="Rettangolo 13">
              <a:extLst>
                <a:ext uri="{FF2B5EF4-FFF2-40B4-BE49-F238E27FC236}">
                  <a16:creationId xmlns:a16="http://schemas.microsoft.com/office/drawing/2014/main" id="{55199736-B8B6-4C9A-8BAF-233E07A0CA89}"/>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24" name="TextBox 13">
            <a:extLst>
              <a:ext uri="{FF2B5EF4-FFF2-40B4-BE49-F238E27FC236}">
                <a16:creationId xmlns:a16="http://schemas.microsoft.com/office/drawing/2014/main" id="{F665596E-9D66-4C46-8113-C9586C8456E9}"/>
              </a:ext>
            </a:extLst>
          </p:cNvPr>
          <p:cNvSpPr txBox="1"/>
          <p:nvPr/>
        </p:nvSpPr>
        <p:spPr>
          <a:xfrm>
            <a:off x="-514350" y="763022"/>
            <a:ext cx="19316700" cy="1040798"/>
          </a:xfrm>
          <a:prstGeom prst="rect">
            <a:avLst/>
          </a:prstGeom>
        </p:spPr>
        <p:txBody>
          <a:bodyPr wrap="square" lIns="0" tIns="0" rIns="0" bIns="0" rtlCol="0" anchor="t">
            <a:spAutoFit/>
          </a:bodyPr>
          <a:lstStyle/>
          <a:p>
            <a:pPr marL="0" marR="0" lvl="0" indent="0" algn="ctr" defTabSz="914400" rtl="0" eaLnBrk="1" fontAlgn="auto" latinLnBrk="0" hangingPunct="1">
              <a:lnSpc>
                <a:spcPts val="8960"/>
              </a:lnSpc>
              <a:spcBef>
                <a:spcPct val="0"/>
              </a:spcBef>
              <a:spcAft>
                <a:spcPts val="0"/>
              </a:spcAft>
              <a:buClrTx/>
              <a:buSzTx/>
              <a:buFontTx/>
              <a:buNone/>
              <a:tabLst/>
              <a:defRPr/>
            </a:pPr>
            <a:r>
              <a:rPr kumimoji="0" lang="en-US" sz="5400" b="1" i="0" u="none" strike="noStrike" kern="1200" cap="none" spc="0" normalizeH="0" baseline="0" noProof="0">
                <a:ln>
                  <a:noFill/>
                </a:ln>
                <a:solidFill>
                  <a:srgbClr val="CC0033"/>
                </a:solidFill>
                <a:effectLst/>
                <a:uLnTx/>
                <a:uFillTx/>
                <a:latin typeface="Arial"/>
                <a:ea typeface="+mn-ea"/>
                <a:cs typeface="Arial" panose="020B0604020202020204" pitchFamily="34" charset="0"/>
              </a:rPr>
              <a:t>Detailed description of the RF-DRL</a:t>
            </a:r>
          </a:p>
        </p:txBody>
      </p:sp>
      <p:pic>
        <p:nvPicPr>
          <p:cNvPr id="23" name="Picture 22">
            <a:extLst>
              <a:ext uri="{FF2B5EF4-FFF2-40B4-BE49-F238E27FC236}">
                <a16:creationId xmlns:a16="http://schemas.microsoft.com/office/drawing/2014/main" id="{CEB844F2-3441-4490-980A-FC0D926A7FA5}"/>
              </a:ext>
            </a:extLst>
          </p:cNvPr>
          <p:cNvPicPr>
            <a:picLocks noChangeAspect="1"/>
          </p:cNvPicPr>
          <p:nvPr/>
        </p:nvPicPr>
        <p:blipFill>
          <a:blip r:embed="rId6"/>
          <a:stretch>
            <a:fillRect/>
          </a:stretch>
        </p:blipFill>
        <p:spPr>
          <a:xfrm>
            <a:off x="2370118" y="2019840"/>
            <a:ext cx="12958114" cy="3558277"/>
          </a:xfrm>
          <a:prstGeom prst="rect">
            <a:avLst/>
          </a:prstGeom>
        </p:spPr>
      </p:pic>
      <p:pic>
        <p:nvPicPr>
          <p:cNvPr id="25" name="Picture 24">
            <a:extLst>
              <a:ext uri="{FF2B5EF4-FFF2-40B4-BE49-F238E27FC236}">
                <a16:creationId xmlns:a16="http://schemas.microsoft.com/office/drawing/2014/main" id="{ACCA52BA-73D4-4923-8C1D-AADC43E70538}"/>
              </a:ext>
            </a:extLst>
          </p:cNvPr>
          <p:cNvPicPr>
            <a:picLocks noChangeAspect="1"/>
          </p:cNvPicPr>
          <p:nvPr/>
        </p:nvPicPr>
        <p:blipFill>
          <a:blip r:embed="rId7"/>
          <a:stretch>
            <a:fillRect/>
          </a:stretch>
        </p:blipFill>
        <p:spPr>
          <a:xfrm>
            <a:off x="2346055" y="5709437"/>
            <a:ext cx="12958113" cy="3950228"/>
          </a:xfrm>
          <a:prstGeom prst="rect">
            <a:avLst/>
          </a:prstGeom>
        </p:spPr>
      </p:pic>
    </p:spTree>
    <p:extLst>
      <p:ext uri="{BB962C8B-B14F-4D97-AF65-F5344CB8AC3E}">
        <p14:creationId xmlns:p14="http://schemas.microsoft.com/office/powerpoint/2010/main" val="483847783"/>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4" name="Rectangle 13">
            <a:extLst>
              <a:ext uri="{FF2B5EF4-FFF2-40B4-BE49-F238E27FC236}">
                <a16:creationId xmlns:a16="http://schemas.microsoft.com/office/drawing/2014/main" id="{289ED1AA-8684-4D37-B208-8777E1A7780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8283428" cy="10287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6" name="Graphic 33">
            <a:extLst>
              <a:ext uri="{FF2B5EF4-FFF2-40B4-BE49-F238E27FC236}">
                <a16:creationId xmlns:a16="http://schemas.microsoft.com/office/drawing/2014/main" id="{4180E01B-B1F4-437C-807D-1C930718EE6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966176" y="0"/>
            <a:ext cx="14355646" cy="10287000"/>
          </a:xfrm>
          <a:custGeom>
            <a:avLst/>
            <a:gdLst>
              <a:gd name="connsiteX0" fmla="*/ 7178288 w 7187261"/>
              <a:gd name="connsiteY0" fmla="*/ 2604802 h 5150263"/>
              <a:gd name="connsiteX1" fmla="*/ 7169335 w 7187261"/>
              <a:gd name="connsiteY1" fmla="*/ 2328577 h 5150263"/>
              <a:gd name="connsiteX2" fmla="*/ 7060845 w 7187261"/>
              <a:gd name="connsiteY2" fmla="*/ 1661160 h 5150263"/>
              <a:gd name="connsiteX3" fmla="*/ 6212263 w 7187261"/>
              <a:gd name="connsiteY3" fmla="*/ 243840 h 5150263"/>
              <a:gd name="connsiteX4" fmla="*/ 5953564 w 7187261"/>
              <a:gd name="connsiteY4" fmla="*/ 0 h 5150263"/>
              <a:gd name="connsiteX5" fmla="*/ 1408615 w 7187261"/>
              <a:gd name="connsiteY5" fmla="*/ 0 h 5150263"/>
              <a:gd name="connsiteX6" fmla="*/ 805111 w 7187261"/>
              <a:gd name="connsiteY6" fmla="*/ 676275 h 5150263"/>
              <a:gd name="connsiteX7" fmla="*/ 104928 w 7187261"/>
              <a:gd name="connsiteY7" fmla="*/ 2183035 h 5150263"/>
              <a:gd name="connsiteX8" fmla="*/ 51588 w 7187261"/>
              <a:gd name="connsiteY8" fmla="*/ 2400014 h 5150263"/>
              <a:gd name="connsiteX9" fmla="*/ 41301 w 7187261"/>
              <a:gd name="connsiteY9" fmla="*/ 2424208 h 5150263"/>
              <a:gd name="connsiteX10" fmla="*/ 119692 w 7187261"/>
              <a:gd name="connsiteY10" fmla="*/ 1834801 h 5150263"/>
              <a:gd name="connsiteX11" fmla="*/ 870071 w 7187261"/>
              <a:gd name="connsiteY11" fmla="*/ 462248 h 5150263"/>
              <a:gd name="connsiteX12" fmla="*/ 1389279 w 7187261"/>
              <a:gd name="connsiteY12" fmla="*/ 476 h 5150263"/>
              <a:gd name="connsiteX13" fmla="*/ 1320223 w 7187261"/>
              <a:gd name="connsiteY13" fmla="*/ 476 h 5150263"/>
              <a:gd name="connsiteX14" fmla="*/ 423158 w 7187261"/>
              <a:gd name="connsiteY14" fmla="*/ 989743 h 5150263"/>
              <a:gd name="connsiteX15" fmla="*/ 25585 w 7187261"/>
              <a:gd name="connsiteY15" fmla="*/ 2113693 h 5150263"/>
              <a:gd name="connsiteX16" fmla="*/ 2344 w 7187261"/>
              <a:gd name="connsiteY16" fmla="*/ 2725865 h 5150263"/>
              <a:gd name="connsiteX17" fmla="*/ 447256 w 7187261"/>
              <a:gd name="connsiteY17" fmla="*/ 4210717 h 5150263"/>
              <a:gd name="connsiteX18" fmla="*/ 1138962 w 7187261"/>
              <a:gd name="connsiteY18" fmla="*/ 4988910 h 5150263"/>
              <a:gd name="connsiteX19" fmla="*/ 1348512 w 7187261"/>
              <a:gd name="connsiteY19" fmla="*/ 5146834 h 5150263"/>
              <a:gd name="connsiteX20" fmla="*/ 1422712 w 7187261"/>
              <a:gd name="connsiteY20" fmla="*/ 5146834 h 5150263"/>
              <a:gd name="connsiteX21" fmla="*/ 480594 w 7187261"/>
              <a:gd name="connsiteY21" fmla="*/ 4187952 h 5150263"/>
              <a:gd name="connsiteX22" fmla="*/ 398679 w 7187261"/>
              <a:gd name="connsiteY22" fmla="*/ 4046125 h 5150263"/>
              <a:gd name="connsiteX23" fmla="*/ 411823 w 7187261"/>
              <a:gd name="connsiteY23" fmla="*/ 4053078 h 5150263"/>
              <a:gd name="connsiteX24" fmla="*/ 1439380 w 7187261"/>
              <a:gd name="connsiteY24" fmla="*/ 5147405 h 5150263"/>
              <a:gd name="connsiteX25" fmla="*/ 5710010 w 7187261"/>
              <a:gd name="connsiteY25" fmla="*/ 5150263 h 5150263"/>
              <a:gd name="connsiteX26" fmla="*/ 5999665 w 7187261"/>
              <a:gd name="connsiteY26" fmla="*/ 4910900 h 5150263"/>
              <a:gd name="connsiteX27" fmla="*/ 6954165 w 7187261"/>
              <a:gd name="connsiteY27" fmla="*/ 3545777 h 5150263"/>
              <a:gd name="connsiteX28" fmla="*/ 7137712 w 7187261"/>
              <a:gd name="connsiteY28" fmla="*/ 2799207 h 5150263"/>
              <a:gd name="connsiteX29" fmla="*/ 7142951 w 7187261"/>
              <a:gd name="connsiteY29" fmla="*/ 2754535 h 5150263"/>
              <a:gd name="connsiteX30" fmla="*/ 7149428 w 7187261"/>
              <a:gd name="connsiteY30" fmla="*/ 2774823 h 5150263"/>
              <a:gd name="connsiteX31" fmla="*/ 7066465 w 7187261"/>
              <a:gd name="connsiteY31" fmla="*/ 3465672 h 5150263"/>
              <a:gd name="connsiteX32" fmla="*/ 6452578 w 7187261"/>
              <a:gd name="connsiteY32" fmla="*/ 4552760 h 5150263"/>
              <a:gd name="connsiteX33" fmla="*/ 5752110 w 7187261"/>
              <a:gd name="connsiteY33" fmla="*/ 5150263 h 5150263"/>
              <a:gd name="connsiteX34" fmla="*/ 5827643 w 7187261"/>
              <a:gd name="connsiteY34" fmla="*/ 5150263 h 5150263"/>
              <a:gd name="connsiteX35" fmla="*/ 6642793 w 7187261"/>
              <a:gd name="connsiteY35" fmla="*/ 4389406 h 5150263"/>
              <a:gd name="connsiteX36" fmla="*/ 7102469 w 7187261"/>
              <a:gd name="connsiteY36" fmla="*/ 3490817 h 5150263"/>
              <a:gd name="connsiteX37" fmla="*/ 7187242 w 7187261"/>
              <a:gd name="connsiteY37" fmla="*/ 2990183 h 5150263"/>
              <a:gd name="connsiteX38" fmla="*/ 7178288 w 7187261"/>
              <a:gd name="connsiteY38" fmla="*/ 2604802 h 5150263"/>
              <a:gd name="connsiteX39" fmla="*/ 6342565 w 7187261"/>
              <a:gd name="connsiteY39" fmla="*/ 441389 h 5150263"/>
              <a:gd name="connsiteX40" fmla="*/ 7126567 w 7187261"/>
              <a:gd name="connsiteY40" fmla="*/ 2355056 h 5150263"/>
              <a:gd name="connsiteX41" fmla="*/ 6342565 w 7187261"/>
              <a:gd name="connsiteY41" fmla="*/ 441389 h 5150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187261" h="5150263">
                <a:moveTo>
                  <a:pt x="7178288" y="2604802"/>
                </a:moveTo>
                <a:cubicBezTo>
                  <a:pt x="7168763" y="2513076"/>
                  <a:pt x="7174478" y="2420684"/>
                  <a:pt x="7169335" y="2328577"/>
                </a:cubicBezTo>
                <a:cubicBezTo>
                  <a:pt x="7156952" y="2102882"/>
                  <a:pt x="7120586" y="1879149"/>
                  <a:pt x="7060845" y="1661160"/>
                </a:cubicBezTo>
                <a:cubicBezTo>
                  <a:pt x="6910588" y="1121007"/>
                  <a:pt x="6617428" y="631374"/>
                  <a:pt x="6212263" y="243840"/>
                </a:cubicBezTo>
                <a:cubicBezTo>
                  <a:pt x="6126538" y="162496"/>
                  <a:pt x="6040813" y="80201"/>
                  <a:pt x="5953564" y="0"/>
                </a:cubicBezTo>
                <a:lnTo>
                  <a:pt x="1408615" y="0"/>
                </a:lnTo>
                <a:cubicBezTo>
                  <a:pt x="1180967" y="200316"/>
                  <a:pt x="978332" y="427387"/>
                  <a:pt x="805111" y="676275"/>
                </a:cubicBezTo>
                <a:cubicBezTo>
                  <a:pt x="481261" y="1136523"/>
                  <a:pt x="252089" y="1640872"/>
                  <a:pt x="104928" y="2183035"/>
                </a:cubicBezTo>
                <a:cubicBezTo>
                  <a:pt x="85878" y="2254853"/>
                  <a:pt x="69495" y="2327720"/>
                  <a:pt x="51588" y="2400014"/>
                </a:cubicBezTo>
                <a:cubicBezTo>
                  <a:pt x="49683" y="2407634"/>
                  <a:pt x="51588" y="2416969"/>
                  <a:pt x="41301" y="2424208"/>
                </a:cubicBezTo>
                <a:cubicBezTo>
                  <a:pt x="45900" y="2225469"/>
                  <a:pt x="72186" y="2027834"/>
                  <a:pt x="119692" y="1834801"/>
                </a:cubicBezTo>
                <a:cubicBezTo>
                  <a:pt x="247993" y="1310926"/>
                  <a:pt x="506121" y="857726"/>
                  <a:pt x="870071" y="462248"/>
                </a:cubicBezTo>
                <a:cubicBezTo>
                  <a:pt x="1027729" y="291823"/>
                  <a:pt x="1201617" y="137169"/>
                  <a:pt x="1389279" y="476"/>
                </a:cubicBezTo>
                <a:lnTo>
                  <a:pt x="1320223" y="476"/>
                </a:lnTo>
                <a:cubicBezTo>
                  <a:pt x="960844" y="274320"/>
                  <a:pt x="656330" y="599123"/>
                  <a:pt x="423158" y="989743"/>
                </a:cubicBezTo>
                <a:cubicBezTo>
                  <a:pt x="215608" y="1337596"/>
                  <a:pt x="80258" y="1711357"/>
                  <a:pt x="25585" y="2113693"/>
                </a:cubicBezTo>
                <a:cubicBezTo>
                  <a:pt x="-2705" y="2316480"/>
                  <a:pt x="-2228" y="2521077"/>
                  <a:pt x="2344" y="2725865"/>
                </a:cubicBezTo>
                <a:cubicBezTo>
                  <a:pt x="14155" y="3261932"/>
                  <a:pt x="170650" y="3754565"/>
                  <a:pt x="447256" y="4210717"/>
                </a:cubicBezTo>
                <a:cubicBezTo>
                  <a:pt x="629851" y="4511612"/>
                  <a:pt x="866356" y="4767167"/>
                  <a:pt x="1138962" y="4988910"/>
                </a:cubicBezTo>
                <a:cubicBezTo>
                  <a:pt x="1207161" y="5044345"/>
                  <a:pt x="1277008" y="5096990"/>
                  <a:pt x="1348512" y="5146834"/>
                </a:cubicBezTo>
                <a:lnTo>
                  <a:pt x="1422712" y="5146834"/>
                </a:lnTo>
                <a:cubicBezTo>
                  <a:pt x="1043426" y="4892802"/>
                  <a:pt x="724720" y="4577334"/>
                  <a:pt x="480594" y="4187952"/>
                </a:cubicBezTo>
                <a:cubicBezTo>
                  <a:pt x="452019" y="4141851"/>
                  <a:pt x="423444" y="4095179"/>
                  <a:pt x="398679" y="4046125"/>
                </a:cubicBezTo>
                <a:cubicBezTo>
                  <a:pt x="407442" y="4043267"/>
                  <a:pt x="409156" y="4048982"/>
                  <a:pt x="411823" y="4053078"/>
                </a:cubicBezTo>
                <a:cubicBezTo>
                  <a:pt x="683572" y="4484656"/>
                  <a:pt x="1033139" y="4842701"/>
                  <a:pt x="1439380" y="5147405"/>
                </a:cubicBezTo>
                <a:lnTo>
                  <a:pt x="5710010" y="5150263"/>
                </a:lnTo>
                <a:cubicBezTo>
                  <a:pt x="5810594" y="5075482"/>
                  <a:pt x="5907272" y="4995587"/>
                  <a:pt x="5999665" y="4910900"/>
                </a:cubicBezTo>
                <a:cubicBezTo>
                  <a:pt x="6418765" y="4526661"/>
                  <a:pt x="6746901" y="4078129"/>
                  <a:pt x="6954165" y="3545777"/>
                </a:cubicBezTo>
                <a:cubicBezTo>
                  <a:pt x="7048234" y="3306175"/>
                  <a:pt x="7109956" y="3055115"/>
                  <a:pt x="7137712" y="2799207"/>
                </a:cubicBezTo>
                <a:cubicBezTo>
                  <a:pt x="7139236" y="2784920"/>
                  <a:pt x="7141046" y="2770632"/>
                  <a:pt x="7142951" y="2754535"/>
                </a:cubicBezTo>
                <a:cubicBezTo>
                  <a:pt x="7151714" y="2760440"/>
                  <a:pt x="7149237" y="2768441"/>
                  <a:pt x="7149428" y="2774823"/>
                </a:cubicBezTo>
                <a:cubicBezTo>
                  <a:pt x="7156743" y="3007967"/>
                  <a:pt x="7128777" y="3240881"/>
                  <a:pt x="7066465" y="3465672"/>
                </a:cubicBezTo>
                <a:cubicBezTo>
                  <a:pt x="6952165" y="3878580"/>
                  <a:pt x="6737948" y="4235863"/>
                  <a:pt x="6452578" y="4552760"/>
                </a:cubicBezTo>
                <a:cubicBezTo>
                  <a:pt x="6244553" y="4783836"/>
                  <a:pt x="6008809" y="4980242"/>
                  <a:pt x="5752110" y="5150263"/>
                </a:cubicBezTo>
                <a:lnTo>
                  <a:pt x="5827643" y="5150263"/>
                </a:lnTo>
                <a:cubicBezTo>
                  <a:pt x="6136539" y="4938904"/>
                  <a:pt x="6412192" y="4689348"/>
                  <a:pt x="6642793" y="4389406"/>
                </a:cubicBezTo>
                <a:cubicBezTo>
                  <a:pt x="6851295" y="4118324"/>
                  <a:pt x="7009125" y="3820859"/>
                  <a:pt x="7102469" y="3490817"/>
                </a:cubicBezTo>
                <a:cubicBezTo>
                  <a:pt x="7148646" y="3327473"/>
                  <a:pt x="7177069" y="3159624"/>
                  <a:pt x="7187242" y="2990183"/>
                </a:cubicBezTo>
                <a:cubicBezTo>
                  <a:pt x="7187623" y="2984087"/>
                  <a:pt x="7182384" y="2642330"/>
                  <a:pt x="7178288" y="2604802"/>
                </a:cubicBezTo>
                <a:close/>
                <a:moveTo>
                  <a:pt x="6342565" y="441389"/>
                </a:moveTo>
                <a:cubicBezTo>
                  <a:pt x="6829797" y="986533"/>
                  <a:pt x="7091135" y="1624422"/>
                  <a:pt x="7126567" y="2355056"/>
                </a:cubicBezTo>
                <a:cubicBezTo>
                  <a:pt x="7001123" y="1661827"/>
                  <a:pt x="6756426" y="1017365"/>
                  <a:pt x="6342565" y="441389"/>
                </a:cubicBez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Arial"/>
              <a:ea typeface="+mn-ea"/>
              <a:cs typeface="+mn-cs"/>
            </a:endParaRPr>
          </a:p>
        </p:txBody>
      </p:sp>
      <p:sp>
        <p:nvSpPr>
          <p:cNvPr id="9" name="Title 3">
            <a:extLst>
              <a:ext uri="{FF2B5EF4-FFF2-40B4-BE49-F238E27FC236}">
                <a16:creationId xmlns:a16="http://schemas.microsoft.com/office/drawing/2014/main" id="{4E84962A-B870-4CD9-A3DA-1FE228038F42}"/>
              </a:ext>
            </a:extLst>
          </p:cNvPr>
          <p:cNvSpPr>
            <a:spLocks noGrp="1"/>
          </p:cNvSpPr>
          <p:nvPr>
            <p:ph type="title"/>
          </p:nvPr>
        </p:nvSpPr>
        <p:spPr>
          <a:xfrm>
            <a:off x="3298742" y="1495308"/>
            <a:ext cx="11685944" cy="4348463"/>
          </a:xfrm>
        </p:spPr>
        <p:txBody>
          <a:bodyPr vert="horz" lIns="91440" tIns="45720" rIns="91440" bIns="45720" rtlCol="0" anchor="b">
            <a:normAutofit/>
          </a:bodyPr>
          <a:lstStyle/>
          <a:p>
            <a:pPr indent="457200">
              <a:lnSpc>
                <a:spcPct val="90000"/>
              </a:lnSpc>
              <a:spcAft>
                <a:spcPts val="600"/>
              </a:spcAft>
            </a:pPr>
            <a:r>
              <a:rPr lang="en-GB" sz="6000" b="1" kern="1200" noProof="0" dirty="0">
                <a:solidFill>
                  <a:srgbClr val="FFFFFF"/>
                </a:solidFill>
                <a:latin typeface="+mj-lt"/>
                <a:ea typeface="+mj-ea"/>
                <a:cs typeface="+mj-cs"/>
              </a:rPr>
              <a:t>Chapter </a:t>
            </a:r>
            <a:r>
              <a:rPr lang="en-GB" sz="6000" b="1" noProof="0" dirty="0">
                <a:solidFill>
                  <a:srgbClr val="FFFFFF"/>
                </a:solidFill>
              </a:rPr>
              <a:t>4</a:t>
            </a:r>
            <a:r>
              <a:rPr lang="en-GB" sz="6000" b="1" kern="1200" noProof="0" dirty="0">
                <a:solidFill>
                  <a:srgbClr val="FFFFFF"/>
                </a:solidFill>
                <a:latin typeface="+mj-lt"/>
                <a:ea typeface="+mj-ea"/>
                <a:cs typeface="+mj-cs"/>
              </a:rPr>
              <a:t>.2 </a:t>
            </a:r>
            <a:br>
              <a:rPr lang="en-GB" sz="6000" b="1" kern="1200" noProof="0" dirty="0">
                <a:solidFill>
                  <a:srgbClr val="FFFFFF"/>
                </a:solidFill>
                <a:latin typeface="+mj-lt"/>
                <a:ea typeface="+mj-ea"/>
                <a:cs typeface="+mj-cs"/>
              </a:rPr>
            </a:br>
            <a:r>
              <a:rPr lang="en-GB" sz="6000" b="1" kern="1200" noProof="0" dirty="0">
                <a:solidFill>
                  <a:srgbClr val="FFFFFF"/>
                </a:solidFill>
                <a:latin typeface="+mj-lt"/>
                <a:ea typeface="+mj-ea"/>
                <a:cs typeface="+mj-cs"/>
              </a:rPr>
              <a:t>Digital Twins in Industrial </a:t>
            </a:r>
            <a:r>
              <a:rPr lang="en-GB" sz="6000" b="1" noProof="0" dirty="0">
                <a:solidFill>
                  <a:srgbClr val="FFFFFF"/>
                </a:solidFill>
              </a:rPr>
              <a:t>R</a:t>
            </a:r>
            <a:r>
              <a:rPr lang="en-GB" sz="6000" b="1" kern="1200" noProof="0" dirty="0">
                <a:solidFill>
                  <a:srgbClr val="FFFFFF"/>
                </a:solidFill>
                <a:latin typeface="+mj-lt"/>
                <a:ea typeface="+mj-ea"/>
                <a:cs typeface="+mj-cs"/>
              </a:rPr>
              <a:t>etrofitting</a:t>
            </a:r>
          </a:p>
        </p:txBody>
      </p:sp>
      <p:sp>
        <p:nvSpPr>
          <p:cNvPr id="18" name="sketch line">
            <a:extLst>
              <a:ext uri="{FF2B5EF4-FFF2-40B4-BE49-F238E27FC236}">
                <a16:creationId xmlns:a16="http://schemas.microsoft.com/office/drawing/2014/main" id="{41F77738-2AF0-4750-A0C7-F97C2C17590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961309" y="6260247"/>
            <a:ext cx="6365383" cy="27432"/>
          </a:xfrm>
          <a:custGeom>
            <a:avLst/>
            <a:gdLst>
              <a:gd name="connsiteX0" fmla="*/ 0 w 6365383"/>
              <a:gd name="connsiteY0" fmla="*/ 0 h 27432"/>
              <a:gd name="connsiteX1" fmla="*/ 636538 w 6365383"/>
              <a:gd name="connsiteY1" fmla="*/ 0 h 27432"/>
              <a:gd name="connsiteX2" fmla="*/ 1273077 w 6365383"/>
              <a:gd name="connsiteY2" fmla="*/ 0 h 27432"/>
              <a:gd name="connsiteX3" fmla="*/ 1909615 w 6365383"/>
              <a:gd name="connsiteY3" fmla="*/ 0 h 27432"/>
              <a:gd name="connsiteX4" fmla="*/ 2673461 w 6365383"/>
              <a:gd name="connsiteY4" fmla="*/ 0 h 27432"/>
              <a:gd name="connsiteX5" fmla="*/ 3373653 w 6365383"/>
              <a:gd name="connsiteY5" fmla="*/ 0 h 27432"/>
              <a:gd name="connsiteX6" fmla="*/ 3819230 w 6365383"/>
              <a:gd name="connsiteY6" fmla="*/ 0 h 27432"/>
              <a:gd name="connsiteX7" fmla="*/ 4392114 w 6365383"/>
              <a:gd name="connsiteY7" fmla="*/ 0 h 27432"/>
              <a:gd name="connsiteX8" fmla="*/ 5155960 w 6365383"/>
              <a:gd name="connsiteY8" fmla="*/ 0 h 27432"/>
              <a:gd name="connsiteX9" fmla="*/ 5792499 w 6365383"/>
              <a:gd name="connsiteY9" fmla="*/ 0 h 27432"/>
              <a:gd name="connsiteX10" fmla="*/ 6365383 w 6365383"/>
              <a:gd name="connsiteY10" fmla="*/ 0 h 27432"/>
              <a:gd name="connsiteX11" fmla="*/ 6365383 w 6365383"/>
              <a:gd name="connsiteY11" fmla="*/ 27432 h 27432"/>
              <a:gd name="connsiteX12" fmla="*/ 5856152 w 6365383"/>
              <a:gd name="connsiteY12" fmla="*/ 27432 h 27432"/>
              <a:gd name="connsiteX13" fmla="*/ 5092306 w 6365383"/>
              <a:gd name="connsiteY13" fmla="*/ 27432 h 27432"/>
              <a:gd name="connsiteX14" fmla="*/ 4583076 w 6365383"/>
              <a:gd name="connsiteY14" fmla="*/ 27432 h 27432"/>
              <a:gd name="connsiteX15" fmla="*/ 4137499 w 6365383"/>
              <a:gd name="connsiteY15" fmla="*/ 27432 h 27432"/>
              <a:gd name="connsiteX16" fmla="*/ 3691922 w 6365383"/>
              <a:gd name="connsiteY16" fmla="*/ 27432 h 27432"/>
              <a:gd name="connsiteX17" fmla="*/ 2991730 w 6365383"/>
              <a:gd name="connsiteY17" fmla="*/ 27432 h 27432"/>
              <a:gd name="connsiteX18" fmla="*/ 2546153 w 6365383"/>
              <a:gd name="connsiteY18" fmla="*/ 27432 h 27432"/>
              <a:gd name="connsiteX19" fmla="*/ 1909615 w 6365383"/>
              <a:gd name="connsiteY19" fmla="*/ 27432 h 27432"/>
              <a:gd name="connsiteX20" fmla="*/ 1400384 w 6365383"/>
              <a:gd name="connsiteY20" fmla="*/ 27432 h 27432"/>
              <a:gd name="connsiteX21" fmla="*/ 763846 w 6365383"/>
              <a:gd name="connsiteY21" fmla="*/ 27432 h 27432"/>
              <a:gd name="connsiteX22" fmla="*/ 0 w 6365383"/>
              <a:gd name="connsiteY22" fmla="*/ 27432 h 27432"/>
              <a:gd name="connsiteX23" fmla="*/ 0 w 6365383"/>
              <a:gd name="connsiteY23" fmla="*/ 0 h 27432"/>
              <a:gd name="connsiteX0" fmla="*/ 0 w 6365383"/>
              <a:gd name="connsiteY0" fmla="*/ 0 h 27432"/>
              <a:gd name="connsiteX1" fmla="*/ 572884 w 6365383"/>
              <a:gd name="connsiteY1" fmla="*/ 0 h 27432"/>
              <a:gd name="connsiteX2" fmla="*/ 1018461 w 6365383"/>
              <a:gd name="connsiteY2" fmla="*/ 0 h 27432"/>
              <a:gd name="connsiteX3" fmla="*/ 1782307 w 6365383"/>
              <a:gd name="connsiteY3" fmla="*/ 0 h 27432"/>
              <a:gd name="connsiteX4" fmla="*/ 2355192 w 6365383"/>
              <a:gd name="connsiteY4" fmla="*/ 0 h 27432"/>
              <a:gd name="connsiteX5" fmla="*/ 2928076 w 6365383"/>
              <a:gd name="connsiteY5" fmla="*/ 0 h 27432"/>
              <a:gd name="connsiteX6" fmla="*/ 3691922 w 6365383"/>
              <a:gd name="connsiteY6" fmla="*/ 0 h 27432"/>
              <a:gd name="connsiteX7" fmla="*/ 4201153 w 6365383"/>
              <a:gd name="connsiteY7" fmla="*/ 0 h 27432"/>
              <a:gd name="connsiteX8" fmla="*/ 4964999 w 6365383"/>
              <a:gd name="connsiteY8" fmla="*/ 0 h 27432"/>
              <a:gd name="connsiteX9" fmla="*/ 5728845 w 6365383"/>
              <a:gd name="connsiteY9" fmla="*/ 0 h 27432"/>
              <a:gd name="connsiteX10" fmla="*/ 6365383 w 6365383"/>
              <a:gd name="connsiteY10" fmla="*/ 0 h 27432"/>
              <a:gd name="connsiteX11" fmla="*/ 6365383 w 6365383"/>
              <a:gd name="connsiteY11" fmla="*/ 27432 h 27432"/>
              <a:gd name="connsiteX12" fmla="*/ 5665191 w 6365383"/>
              <a:gd name="connsiteY12" fmla="*/ 27432 h 27432"/>
              <a:gd name="connsiteX13" fmla="*/ 4901345 w 6365383"/>
              <a:gd name="connsiteY13" fmla="*/ 27432 h 27432"/>
              <a:gd name="connsiteX14" fmla="*/ 4137499 w 6365383"/>
              <a:gd name="connsiteY14" fmla="*/ 27432 h 27432"/>
              <a:gd name="connsiteX15" fmla="*/ 3628268 w 6365383"/>
              <a:gd name="connsiteY15" fmla="*/ 27432 h 27432"/>
              <a:gd name="connsiteX16" fmla="*/ 2991730 w 6365383"/>
              <a:gd name="connsiteY16" fmla="*/ 27432 h 27432"/>
              <a:gd name="connsiteX17" fmla="*/ 2227884 w 6365383"/>
              <a:gd name="connsiteY17" fmla="*/ 27432 h 27432"/>
              <a:gd name="connsiteX18" fmla="*/ 1591346 w 6365383"/>
              <a:gd name="connsiteY18" fmla="*/ 27432 h 27432"/>
              <a:gd name="connsiteX19" fmla="*/ 1145769 w 6365383"/>
              <a:gd name="connsiteY19" fmla="*/ 27432 h 27432"/>
              <a:gd name="connsiteX20" fmla="*/ 636538 w 6365383"/>
              <a:gd name="connsiteY20" fmla="*/ 27432 h 27432"/>
              <a:gd name="connsiteX21" fmla="*/ 0 w 6365383"/>
              <a:gd name="connsiteY21" fmla="*/ 27432 h 27432"/>
              <a:gd name="connsiteX22" fmla="*/ 0 w 6365383"/>
              <a:gd name="connsiteY22"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365383" h="27432" fill="none" extrusionOk="0">
                <a:moveTo>
                  <a:pt x="0" y="0"/>
                </a:moveTo>
                <a:cubicBezTo>
                  <a:pt x="311910" y="25756"/>
                  <a:pt x="328854" y="-22977"/>
                  <a:pt x="636538" y="0"/>
                </a:cubicBezTo>
                <a:cubicBezTo>
                  <a:pt x="929901" y="50670"/>
                  <a:pt x="1067253" y="-1993"/>
                  <a:pt x="1273077" y="0"/>
                </a:cubicBezTo>
                <a:cubicBezTo>
                  <a:pt x="1507620" y="-24857"/>
                  <a:pt x="1747799" y="-10413"/>
                  <a:pt x="1909615" y="0"/>
                </a:cubicBezTo>
                <a:cubicBezTo>
                  <a:pt x="2041097" y="-21585"/>
                  <a:pt x="2422417" y="-28022"/>
                  <a:pt x="2673461" y="0"/>
                </a:cubicBezTo>
                <a:cubicBezTo>
                  <a:pt x="2948394" y="-4560"/>
                  <a:pt x="3134893" y="36981"/>
                  <a:pt x="3373653" y="0"/>
                </a:cubicBezTo>
                <a:cubicBezTo>
                  <a:pt x="3634761" y="-15887"/>
                  <a:pt x="3700843" y="23167"/>
                  <a:pt x="3819230" y="0"/>
                </a:cubicBezTo>
                <a:cubicBezTo>
                  <a:pt x="3977295" y="2943"/>
                  <a:pt x="4128910" y="-53150"/>
                  <a:pt x="4392114" y="0"/>
                </a:cubicBezTo>
                <a:cubicBezTo>
                  <a:pt x="4672763" y="9214"/>
                  <a:pt x="4999833" y="38501"/>
                  <a:pt x="5155960" y="0"/>
                </a:cubicBezTo>
                <a:cubicBezTo>
                  <a:pt x="5343367" y="-6557"/>
                  <a:pt x="5597661" y="6622"/>
                  <a:pt x="5792499" y="0"/>
                </a:cubicBezTo>
                <a:cubicBezTo>
                  <a:pt x="6020774" y="43813"/>
                  <a:pt x="6148830" y="-13954"/>
                  <a:pt x="6365383" y="0"/>
                </a:cubicBezTo>
                <a:cubicBezTo>
                  <a:pt x="6364517" y="8091"/>
                  <a:pt x="6365728" y="20268"/>
                  <a:pt x="6365383" y="27432"/>
                </a:cubicBezTo>
                <a:cubicBezTo>
                  <a:pt x="6144545" y="15144"/>
                  <a:pt x="6006673" y="-7419"/>
                  <a:pt x="5856152" y="27432"/>
                </a:cubicBezTo>
                <a:cubicBezTo>
                  <a:pt x="5638446" y="81548"/>
                  <a:pt x="5413846" y="52067"/>
                  <a:pt x="5092306" y="27432"/>
                </a:cubicBezTo>
                <a:cubicBezTo>
                  <a:pt x="4768499" y="43350"/>
                  <a:pt x="4708569" y="3163"/>
                  <a:pt x="4583076" y="27432"/>
                </a:cubicBezTo>
                <a:cubicBezTo>
                  <a:pt x="4475482" y="66269"/>
                  <a:pt x="4242792" y="42702"/>
                  <a:pt x="4137499" y="27432"/>
                </a:cubicBezTo>
                <a:cubicBezTo>
                  <a:pt x="4003968" y="24039"/>
                  <a:pt x="3882646" y="-3026"/>
                  <a:pt x="3691922" y="27432"/>
                </a:cubicBezTo>
                <a:cubicBezTo>
                  <a:pt x="3501639" y="8096"/>
                  <a:pt x="3270842" y="-14942"/>
                  <a:pt x="2991730" y="27432"/>
                </a:cubicBezTo>
                <a:cubicBezTo>
                  <a:pt x="2712135" y="55419"/>
                  <a:pt x="2758697" y="31955"/>
                  <a:pt x="2546153" y="27432"/>
                </a:cubicBezTo>
                <a:cubicBezTo>
                  <a:pt x="2362220" y="-818"/>
                  <a:pt x="2130397" y="57099"/>
                  <a:pt x="1909615" y="27432"/>
                </a:cubicBezTo>
                <a:cubicBezTo>
                  <a:pt x="1714835" y="-15389"/>
                  <a:pt x="1636770" y="40318"/>
                  <a:pt x="1400384" y="27432"/>
                </a:cubicBezTo>
                <a:cubicBezTo>
                  <a:pt x="1161504" y="29515"/>
                  <a:pt x="1060819" y="7773"/>
                  <a:pt x="763846" y="27432"/>
                </a:cubicBezTo>
                <a:cubicBezTo>
                  <a:pt x="465096" y="43671"/>
                  <a:pt x="165309" y="15831"/>
                  <a:pt x="0" y="27432"/>
                </a:cubicBezTo>
                <a:cubicBezTo>
                  <a:pt x="-2013" y="18874"/>
                  <a:pt x="-525" y="8614"/>
                  <a:pt x="0" y="0"/>
                </a:cubicBezTo>
                <a:close/>
              </a:path>
              <a:path w="6365383" h="27432" stroke="0" extrusionOk="0">
                <a:moveTo>
                  <a:pt x="0" y="0"/>
                </a:moveTo>
                <a:cubicBezTo>
                  <a:pt x="84020" y="9133"/>
                  <a:pt x="339524" y="24523"/>
                  <a:pt x="572884" y="0"/>
                </a:cubicBezTo>
                <a:cubicBezTo>
                  <a:pt x="803790" y="-14011"/>
                  <a:pt x="837492" y="-10007"/>
                  <a:pt x="1018461" y="0"/>
                </a:cubicBezTo>
                <a:cubicBezTo>
                  <a:pt x="1188530" y="8943"/>
                  <a:pt x="1571061" y="17361"/>
                  <a:pt x="1782307" y="0"/>
                </a:cubicBezTo>
                <a:cubicBezTo>
                  <a:pt x="1967448" y="-16010"/>
                  <a:pt x="2153334" y="-25629"/>
                  <a:pt x="2355192" y="0"/>
                </a:cubicBezTo>
                <a:cubicBezTo>
                  <a:pt x="2541804" y="20205"/>
                  <a:pt x="2779440" y="53811"/>
                  <a:pt x="2928076" y="0"/>
                </a:cubicBezTo>
                <a:cubicBezTo>
                  <a:pt x="3024078" y="-16903"/>
                  <a:pt x="3337092" y="43483"/>
                  <a:pt x="3691922" y="0"/>
                </a:cubicBezTo>
                <a:cubicBezTo>
                  <a:pt x="4060895" y="-1064"/>
                  <a:pt x="4072166" y="-17195"/>
                  <a:pt x="4201153" y="0"/>
                </a:cubicBezTo>
                <a:cubicBezTo>
                  <a:pt x="4349835" y="-22516"/>
                  <a:pt x="4800106" y="-64797"/>
                  <a:pt x="4964999" y="0"/>
                </a:cubicBezTo>
                <a:cubicBezTo>
                  <a:pt x="5186764" y="15779"/>
                  <a:pt x="5564421" y="-10544"/>
                  <a:pt x="5728845" y="0"/>
                </a:cubicBezTo>
                <a:cubicBezTo>
                  <a:pt x="5915953" y="5493"/>
                  <a:pt x="6171384" y="-48026"/>
                  <a:pt x="6365383" y="0"/>
                </a:cubicBezTo>
                <a:cubicBezTo>
                  <a:pt x="6366596" y="6455"/>
                  <a:pt x="6365588" y="14391"/>
                  <a:pt x="6365383" y="27432"/>
                </a:cubicBezTo>
                <a:cubicBezTo>
                  <a:pt x="6172514" y="805"/>
                  <a:pt x="6006523" y="20734"/>
                  <a:pt x="5665191" y="27432"/>
                </a:cubicBezTo>
                <a:cubicBezTo>
                  <a:pt x="5322179" y="66687"/>
                  <a:pt x="5219376" y="21111"/>
                  <a:pt x="4901345" y="27432"/>
                </a:cubicBezTo>
                <a:cubicBezTo>
                  <a:pt x="4621310" y="-13654"/>
                  <a:pt x="4455192" y="54857"/>
                  <a:pt x="4137499" y="27432"/>
                </a:cubicBezTo>
                <a:cubicBezTo>
                  <a:pt x="3853317" y="12285"/>
                  <a:pt x="3862894" y="26263"/>
                  <a:pt x="3628268" y="27432"/>
                </a:cubicBezTo>
                <a:cubicBezTo>
                  <a:pt x="3418779" y="32610"/>
                  <a:pt x="3174456" y="83656"/>
                  <a:pt x="2991730" y="27432"/>
                </a:cubicBezTo>
                <a:cubicBezTo>
                  <a:pt x="2801278" y="6667"/>
                  <a:pt x="2497351" y="22891"/>
                  <a:pt x="2227884" y="27432"/>
                </a:cubicBezTo>
                <a:cubicBezTo>
                  <a:pt x="1986101" y="16297"/>
                  <a:pt x="1767219" y="-7535"/>
                  <a:pt x="1591346" y="27432"/>
                </a:cubicBezTo>
                <a:cubicBezTo>
                  <a:pt x="1447183" y="73731"/>
                  <a:pt x="1315973" y="39477"/>
                  <a:pt x="1145769" y="27432"/>
                </a:cubicBezTo>
                <a:cubicBezTo>
                  <a:pt x="990245" y="8882"/>
                  <a:pt x="810845" y="16910"/>
                  <a:pt x="636538" y="27432"/>
                </a:cubicBezTo>
                <a:cubicBezTo>
                  <a:pt x="482916" y="17795"/>
                  <a:pt x="183027" y="-17710"/>
                  <a:pt x="0" y="27432"/>
                </a:cubicBezTo>
                <a:cubicBezTo>
                  <a:pt x="491" y="19542"/>
                  <a:pt x="-1038" y="8534"/>
                  <a:pt x="0" y="0"/>
                </a:cubicBezTo>
                <a:close/>
              </a:path>
              <a:path w="6365383" h="27432" fill="none" stroke="0" extrusionOk="0">
                <a:moveTo>
                  <a:pt x="0" y="0"/>
                </a:moveTo>
                <a:cubicBezTo>
                  <a:pt x="296223" y="15991"/>
                  <a:pt x="333462" y="-23795"/>
                  <a:pt x="636538" y="0"/>
                </a:cubicBezTo>
                <a:cubicBezTo>
                  <a:pt x="970197" y="30961"/>
                  <a:pt x="1039864" y="3183"/>
                  <a:pt x="1273077" y="0"/>
                </a:cubicBezTo>
                <a:cubicBezTo>
                  <a:pt x="1449809" y="24819"/>
                  <a:pt x="1735152" y="23060"/>
                  <a:pt x="1909615" y="0"/>
                </a:cubicBezTo>
                <a:cubicBezTo>
                  <a:pt x="2016351" y="-41665"/>
                  <a:pt x="2415001" y="34773"/>
                  <a:pt x="2673461" y="0"/>
                </a:cubicBezTo>
                <a:cubicBezTo>
                  <a:pt x="2996983" y="-13411"/>
                  <a:pt x="3130707" y="3741"/>
                  <a:pt x="3373653" y="0"/>
                </a:cubicBezTo>
                <a:cubicBezTo>
                  <a:pt x="3601951" y="-16140"/>
                  <a:pt x="3689909" y="23222"/>
                  <a:pt x="3819230" y="0"/>
                </a:cubicBezTo>
                <a:cubicBezTo>
                  <a:pt x="3931872" y="-29406"/>
                  <a:pt x="4119438" y="24094"/>
                  <a:pt x="4392114" y="0"/>
                </a:cubicBezTo>
                <a:cubicBezTo>
                  <a:pt x="4665359" y="21557"/>
                  <a:pt x="4978709" y="13267"/>
                  <a:pt x="5155960" y="0"/>
                </a:cubicBezTo>
                <a:cubicBezTo>
                  <a:pt x="5299518" y="-18386"/>
                  <a:pt x="5605020" y="-6762"/>
                  <a:pt x="5792499" y="0"/>
                </a:cubicBezTo>
                <a:cubicBezTo>
                  <a:pt x="6013281" y="43398"/>
                  <a:pt x="6167567" y="36727"/>
                  <a:pt x="6365383" y="0"/>
                </a:cubicBezTo>
                <a:cubicBezTo>
                  <a:pt x="6365697" y="8368"/>
                  <a:pt x="6365332" y="21050"/>
                  <a:pt x="6365383" y="27432"/>
                </a:cubicBezTo>
                <a:cubicBezTo>
                  <a:pt x="6154893" y="8454"/>
                  <a:pt x="6014206" y="-8372"/>
                  <a:pt x="5856152" y="27432"/>
                </a:cubicBezTo>
                <a:cubicBezTo>
                  <a:pt x="5659455" y="59503"/>
                  <a:pt x="5350806" y="-35991"/>
                  <a:pt x="5092306" y="27432"/>
                </a:cubicBezTo>
                <a:cubicBezTo>
                  <a:pt x="4756309" y="48260"/>
                  <a:pt x="4699746" y="-4780"/>
                  <a:pt x="4583076" y="27432"/>
                </a:cubicBezTo>
                <a:cubicBezTo>
                  <a:pt x="4462137" y="30142"/>
                  <a:pt x="4226168" y="50236"/>
                  <a:pt x="4137499" y="27432"/>
                </a:cubicBezTo>
                <a:cubicBezTo>
                  <a:pt x="4018570" y="42181"/>
                  <a:pt x="3887179" y="34623"/>
                  <a:pt x="3691922" y="27432"/>
                </a:cubicBezTo>
                <a:cubicBezTo>
                  <a:pt x="3499755" y="32935"/>
                  <a:pt x="3281056" y="-9158"/>
                  <a:pt x="2991730" y="27432"/>
                </a:cubicBezTo>
                <a:cubicBezTo>
                  <a:pt x="2716073" y="57462"/>
                  <a:pt x="2755481" y="34494"/>
                  <a:pt x="2546153" y="27432"/>
                </a:cubicBezTo>
                <a:cubicBezTo>
                  <a:pt x="2356479" y="62622"/>
                  <a:pt x="2079190" y="73729"/>
                  <a:pt x="1909615" y="27432"/>
                </a:cubicBezTo>
                <a:cubicBezTo>
                  <a:pt x="1715819" y="-26444"/>
                  <a:pt x="1631368" y="48131"/>
                  <a:pt x="1400384" y="27432"/>
                </a:cubicBezTo>
                <a:cubicBezTo>
                  <a:pt x="1177327" y="16190"/>
                  <a:pt x="1065236" y="24992"/>
                  <a:pt x="763846" y="27432"/>
                </a:cubicBezTo>
                <a:cubicBezTo>
                  <a:pt x="448643" y="60691"/>
                  <a:pt x="160833" y="2330"/>
                  <a:pt x="0" y="27432"/>
                </a:cubicBezTo>
                <a:cubicBezTo>
                  <a:pt x="1559" y="18666"/>
                  <a:pt x="-585" y="7580"/>
                  <a:pt x="0" y="0"/>
                </a:cubicBezTo>
                <a:close/>
              </a:path>
            </a:pathLst>
          </a:custGeom>
          <a:solidFill>
            <a:srgbClr val="FFFFFF"/>
          </a:solidFill>
          <a:ln w="41275" cap="rnd">
            <a:solidFill>
              <a:srgbClr val="FFFFFF"/>
            </a:solidFill>
            <a:round/>
            <a:extLst>
              <a:ext uri="{C807C97D-BFC1-408E-A445-0C87EB9F89A2}">
                <ask:lineSketchStyleProps xmlns:ask="http://schemas.microsoft.com/office/drawing/2018/sketchyshapes" sd="1219033472">
                  <a:custGeom>
                    <a:avLst/>
                    <a:gdLst>
                      <a:gd name="connsiteX0" fmla="*/ 0 w 6365383"/>
                      <a:gd name="connsiteY0" fmla="*/ 0 h 27432"/>
                      <a:gd name="connsiteX1" fmla="*/ 636538 w 6365383"/>
                      <a:gd name="connsiteY1" fmla="*/ 0 h 27432"/>
                      <a:gd name="connsiteX2" fmla="*/ 1273077 w 6365383"/>
                      <a:gd name="connsiteY2" fmla="*/ 0 h 27432"/>
                      <a:gd name="connsiteX3" fmla="*/ 1909615 w 6365383"/>
                      <a:gd name="connsiteY3" fmla="*/ 0 h 27432"/>
                      <a:gd name="connsiteX4" fmla="*/ 2673461 w 6365383"/>
                      <a:gd name="connsiteY4" fmla="*/ 0 h 27432"/>
                      <a:gd name="connsiteX5" fmla="*/ 3373653 w 6365383"/>
                      <a:gd name="connsiteY5" fmla="*/ 0 h 27432"/>
                      <a:gd name="connsiteX6" fmla="*/ 3819230 w 6365383"/>
                      <a:gd name="connsiteY6" fmla="*/ 0 h 27432"/>
                      <a:gd name="connsiteX7" fmla="*/ 4392114 w 6365383"/>
                      <a:gd name="connsiteY7" fmla="*/ 0 h 27432"/>
                      <a:gd name="connsiteX8" fmla="*/ 5155960 w 6365383"/>
                      <a:gd name="connsiteY8" fmla="*/ 0 h 27432"/>
                      <a:gd name="connsiteX9" fmla="*/ 5792499 w 6365383"/>
                      <a:gd name="connsiteY9" fmla="*/ 0 h 27432"/>
                      <a:gd name="connsiteX10" fmla="*/ 6365383 w 6365383"/>
                      <a:gd name="connsiteY10" fmla="*/ 0 h 27432"/>
                      <a:gd name="connsiteX11" fmla="*/ 6365383 w 6365383"/>
                      <a:gd name="connsiteY11" fmla="*/ 27432 h 27432"/>
                      <a:gd name="connsiteX12" fmla="*/ 5856152 w 6365383"/>
                      <a:gd name="connsiteY12" fmla="*/ 27432 h 27432"/>
                      <a:gd name="connsiteX13" fmla="*/ 5092306 w 6365383"/>
                      <a:gd name="connsiteY13" fmla="*/ 27432 h 27432"/>
                      <a:gd name="connsiteX14" fmla="*/ 4583076 w 6365383"/>
                      <a:gd name="connsiteY14" fmla="*/ 27432 h 27432"/>
                      <a:gd name="connsiteX15" fmla="*/ 4137499 w 6365383"/>
                      <a:gd name="connsiteY15" fmla="*/ 27432 h 27432"/>
                      <a:gd name="connsiteX16" fmla="*/ 3691922 w 6365383"/>
                      <a:gd name="connsiteY16" fmla="*/ 27432 h 27432"/>
                      <a:gd name="connsiteX17" fmla="*/ 2991730 w 6365383"/>
                      <a:gd name="connsiteY17" fmla="*/ 27432 h 27432"/>
                      <a:gd name="connsiteX18" fmla="*/ 2546153 w 6365383"/>
                      <a:gd name="connsiteY18" fmla="*/ 27432 h 27432"/>
                      <a:gd name="connsiteX19" fmla="*/ 1909615 w 6365383"/>
                      <a:gd name="connsiteY19" fmla="*/ 27432 h 27432"/>
                      <a:gd name="connsiteX20" fmla="*/ 1400384 w 6365383"/>
                      <a:gd name="connsiteY20" fmla="*/ 27432 h 27432"/>
                      <a:gd name="connsiteX21" fmla="*/ 763846 w 6365383"/>
                      <a:gd name="connsiteY21" fmla="*/ 27432 h 27432"/>
                      <a:gd name="connsiteX22" fmla="*/ 0 w 6365383"/>
                      <a:gd name="connsiteY22" fmla="*/ 27432 h 27432"/>
                      <a:gd name="connsiteX23" fmla="*/ 0 w 6365383"/>
                      <a:gd name="connsiteY23"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365383" h="27432" fill="none" extrusionOk="0">
                        <a:moveTo>
                          <a:pt x="0" y="0"/>
                        </a:moveTo>
                        <a:cubicBezTo>
                          <a:pt x="305169" y="21509"/>
                          <a:pt x="334704" y="-24261"/>
                          <a:pt x="636538" y="0"/>
                        </a:cubicBezTo>
                        <a:cubicBezTo>
                          <a:pt x="938372" y="24261"/>
                          <a:pt x="1068606" y="2269"/>
                          <a:pt x="1273077" y="0"/>
                        </a:cubicBezTo>
                        <a:cubicBezTo>
                          <a:pt x="1477548" y="-2269"/>
                          <a:pt x="1738189" y="6272"/>
                          <a:pt x="1909615" y="0"/>
                        </a:cubicBezTo>
                        <a:cubicBezTo>
                          <a:pt x="2081041" y="-6272"/>
                          <a:pt x="2377015" y="16623"/>
                          <a:pt x="2673461" y="0"/>
                        </a:cubicBezTo>
                        <a:cubicBezTo>
                          <a:pt x="2969907" y="-16623"/>
                          <a:pt x="3126114" y="13194"/>
                          <a:pt x="3373653" y="0"/>
                        </a:cubicBezTo>
                        <a:cubicBezTo>
                          <a:pt x="3621192" y="-13194"/>
                          <a:pt x="3704499" y="9486"/>
                          <a:pt x="3819230" y="0"/>
                        </a:cubicBezTo>
                        <a:cubicBezTo>
                          <a:pt x="3933961" y="-9486"/>
                          <a:pt x="4142691" y="-8221"/>
                          <a:pt x="4392114" y="0"/>
                        </a:cubicBezTo>
                        <a:cubicBezTo>
                          <a:pt x="4641537" y="8221"/>
                          <a:pt x="4974506" y="12257"/>
                          <a:pt x="5155960" y="0"/>
                        </a:cubicBezTo>
                        <a:cubicBezTo>
                          <a:pt x="5337414" y="-12257"/>
                          <a:pt x="5585731" y="-22537"/>
                          <a:pt x="5792499" y="0"/>
                        </a:cubicBezTo>
                        <a:cubicBezTo>
                          <a:pt x="5999267" y="22537"/>
                          <a:pt x="6164726" y="7303"/>
                          <a:pt x="6365383" y="0"/>
                        </a:cubicBezTo>
                        <a:cubicBezTo>
                          <a:pt x="6365125" y="7487"/>
                          <a:pt x="6364462" y="19984"/>
                          <a:pt x="6365383" y="27432"/>
                        </a:cubicBezTo>
                        <a:cubicBezTo>
                          <a:pt x="6132222" y="28304"/>
                          <a:pt x="6011986" y="2071"/>
                          <a:pt x="5856152" y="27432"/>
                        </a:cubicBezTo>
                        <a:cubicBezTo>
                          <a:pt x="5700318" y="52793"/>
                          <a:pt x="5410732" y="5357"/>
                          <a:pt x="5092306" y="27432"/>
                        </a:cubicBezTo>
                        <a:cubicBezTo>
                          <a:pt x="4773880" y="49507"/>
                          <a:pt x="4705351" y="6645"/>
                          <a:pt x="4583076" y="27432"/>
                        </a:cubicBezTo>
                        <a:cubicBezTo>
                          <a:pt x="4460801" y="48220"/>
                          <a:pt x="4239915" y="42209"/>
                          <a:pt x="4137499" y="27432"/>
                        </a:cubicBezTo>
                        <a:cubicBezTo>
                          <a:pt x="4035083" y="12655"/>
                          <a:pt x="3883665" y="32012"/>
                          <a:pt x="3691922" y="27432"/>
                        </a:cubicBezTo>
                        <a:cubicBezTo>
                          <a:pt x="3500179" y="22852"/>
                          <a:pt x="3265830" y="-126"/>
                          <a:pt x="2991730" y="27432"/>
                        </a:cubicBezTo>
                        <a:cubicBezTo>
                          <a:pt x="2717630" y="54990"/>
                          <a:pt x="2757122" y="34407"/>
                          <a:pt x="2546153" y="27432"/>
                        </a:cubicBezTo>
                        <a:cubicBezTo>
                          <a:pt x="2335184" y="20457"/>
                          <a:pt x="2107331" y="58889"/>
                          <a:pt x="1909615" y="27432"/>
                        </a:cubicBezTo>
                        <a:cubicBezTo>
                          <a:pt x="1711899" y="-4025"/>
                          <a:pt x="1634641" y="48316"/>
                          <a:pt x="1400384" y="27432"/>
                        </a:cubicBezTo>
                        <a:cubicBezTo>
                          <a:pt x="1166127" y="6548"/>
                          <a:pt x="1068288" y="15776"/>
                          <a:pt x="763846" y="27432"/>
                        </a:cubicBezTo>
                        <a:cubicBezTo>
                          <a:pt x="459404" y="39088"/>
                          <a:pt x="170017" y="14515"/>
                          <a:pt x="0" y="27432"/>
                        </a:cubicBezTo>
                        <a:cubicBezTo>
                          <a:pt x="-14" y="18173"/>
                          <a:pt x="-517" y="8990"/>
                          <a:pt x="0" y="0"/>
                        </a:cubicBezTo>
                        <a:close/>
                      </a:path>
                      <a:path w="6365383" h="27432" stroke="0" extrusionOk="0">
                        <a:moveTo>
                          <a:pt x="0" y="0"/>
                        </a:moveTo>
                        <a:cubicBezTo>
                          <a:pt x="114610" y="-2215"/>
                          <a:pt x="340315" y="12554"/>
                          <a:pt x="572884" y="0"/>
                        </a:cubicBezTo>
                        <a:cubicBezTo>
                          <a:pt x="805453" y="-12554"/>
                          <a:pt x="832891" y="-10424"/>
                          <a:pt x="1018461" y="0"/>
                        </a:cubicBezTo>
                        <a:cubicBezTo>
                          <a:pt x="1204031" y="10424"/>
                          <a:pt x="1590875" y="8682"/>
                          <a:pt x="1782307" y="0"/>
                        </a:cubicBezTo>
                        <a:cubicBezTo>
                          <a:pt x="1973739" y="-8682"/>
                          <a:pt x="2150876" y="5508"/>
                          <a:pt x="2355192" y="0"/>
                        </a:cubicBezTo>
                        <a:cubicBezTo>
                          <a:pt x="2559508" y="-5508"/>
                          <a:pt x="2790194" y="26965"/>
                          <a:pt x="2928076" y="0"/>
                        </a:cubicBezTo>
                        <a:cubicBezTo>
                          <a:pt x="3065958" y="-26965"/>
                          <a:pt x="3321537" y="819"/>
                          <a:pt x="3691922" y="0"/>
                        </a:cubicBezTo>
                        <a:cubicBezTo>
                          <a:pt x="4062307" y="-819"/>
                          <a:pt x="4072238" y="-15327"/>
                          <a:pt x="4201153" y="0"/>
                        </a:cubicBezTo>
                        <a:cubicBezTo>
                          <a:pt x="4330068" y="15327"/>
                          <a:pt x="4772079" y="-35646"/>
                          <a:pt x="4964999" y="0"/>
                        </a:cubicBezTo>
                        <a:cubicBezTo>
                          <a:pt x="5157919" y="35646"/>
                          <a:pt x="5543915" y="6802"/>
                          <a:pt x="5728845" y="0"/>
                        </a:cubicBezTo>
                        <a:cubicBezTo>
                          <a:pt x="5913775" y="-6802"/>
                          <a:pt x="6142952" y="-21408"/>
                          <a:pt x="6365383" y="0"/>
                        </a:cubicBezTo>
                        <a:cubicBezTo>
                          <a:pt x="6364552" y="6329"/>
                          <a:pt x="6365787" y="16858"/>
                          <a:pt x="6365383" y="27432"/>
                        </a:cubicBezTo>
                        <a:cubicBezTo>
                          <a:pt x="6176931" y="320"/>
                          <a:pt x="5998736" y="11244"/>
                          <a:pt x="5665191" y="27432"/>
                        </a:cubicBezTo>
                        <a:cubicBezTo>
                          <a:pt x="5331646" y="43620"/>
                          <a:pt x="5198011" y="28615"/>
                          <a:pt x="4901345" y="27432"/>
                        </a:cubicBezTo>
                        <a:cubicBezTo>
                          <a:pt x="4604679" y="26249"/>
                          <a:pt x="4422931" y="40617"/>
                          <a:pt x="4137499" y="27432"/>
                        </a:cubicBezTo>
                        <a:cubicBezTo>
                          <a:pt x="3852067" y="14247"/>
                          <a:pt x="3861939" y="26581"/>
                          <a:pt x="3628268" y="27432"/>
                        </a:cubicBezTo>
                        <a:cubicBezTo>
                          <a:pt x="3394597" y="28283"/>
                          <a:pt x="3171361" y="44132"/>
                          <a:pt x="2991730" y="27432"/>
                        </a:cubicBezTo>
                        <a:cubicBezTo>
                          <a:pt x="2812099" y="10732"/>
                          <a:pt x="2469344" y="24737"/>
                          <a:pt x="2227884" y="27432"/>
                        </a:cubicBezTo>
                        <a:cubicBezTo>
                          <a:pt x="1986424" y="30127"/>
                          <a:pt x="1748067" y="6359"/>
                          <a:pt x="1591346" y="27432"/>
                        </a:cubicBezTo>
                        <a:cubicBezTo>
                          <a:pt x="1434625" y="48505"/>
                          <a:pt x="1307456" y="39663"/>
                          <a:pt x="1145769" y="27432"/>
                        </a:cubicBezTo>
                        <a:cubicBezTo>
                          <a:pt x="984082" y="15201"/>
                          <a:pt x="800279" y="41647"/>
                          <a:pt x="636538" y="27432"/>
                        </a:cubicBezTo>
                        <a:cubicBezTo>
                          <a:pt x="472797" y="13217"/>
                          <a:pt x="160022" y="2213"/>
                          <a:pt x="0" y="27432"/>
                        </a:cubicBezTo>
                        <a:cubicBezTo>
                          <a:pt x="-177" y="19307"/>
                          <a:pt x="-1145" y="9170"/>
                          <a:pt x="0" y="0"/>
                        </a:cubicBezTo>
                        <a:close/>
                      </a:path>
                    </a:pathLst>
                  </a:cu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310160717"/>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6"/>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4"/>
          <a:srcRect/>
          <a:stretch>
            <a:fillRect/>
          </a:stretch>
        </p:blipFill>
        <p:spPr>
          <a:xfrm>
            <a:off x="0" y="9499590"/>
            <a:ext cx="3247053" cy="787410"/>
          </a:xfrm>
          <a:prstGeom prst="rect">
            <a:avLst/>
          </a:prstGeom>
        </p:spPr>
      </p:pic>
      <p:grpSp>
        <p:nvGrpSpPr>
          <p:cNvPr id="3" name="Gruppo 2">
            <a:extLst>
              <a:ext uri="{FF2B5EF4-FFF2-40B4-BE49-F238E27FC236}">
                <a16:creationId xmlns:a16="http://schemas.microsoft.com/office/drawing/2014/main" id="{D0B44AFC-EABA-48CF-A7A8-348076F88921}"/>
              </a:ext>
            </a:extLst>
          </p:cNvPr>
          <p:cNvGrpSpPr/>
          <p:nvPr/>
        </p:nvGrpSpPr>
        <p:grpSpPr>
          <a:xfrm>
            <a:off x="-12" y="138554"/>
            <a:ext cx="18288002" cy="681138"/>
            <a:chOff x="-12" y="138554"/>
            <a:chExt cx="18288002" cy="681138"/>
          </a:xfrm>
        </p:grpSpPr>
        <p:grpSp>
          <p:nvGrpSpPr>
            <p:cNvPr id="16" name="Gruppo 15">
              <a:extLst>
                <a:ext uri="{FF2B5EF4-FFF2-40B4-BE49-F238E27FC236}">
                  <a16:creationId xmlns:a16="http://schemas.microsoft.com/office/drawing/2014/main" id="{DAC42A46-917D-41AB-8F07-E15E54D0F7D4}"/>
                </a:ext>
              </a:extLst>
            </p:cNvPr>
            <p:cNvGrpSpPr/>
            <p:nvPr/>
          </p:nvGrpSpPr>
          <p:grpSpPr>
            <a:xfrm>
              <a:off x="0" y="153125"/>
              <a:ext cx="13958844" cy="666567"/>
              <a:chOff x="0" y="153125"/>
              <a:chExt cx="13958844" cy="666567"/>
            </a:xfrm>
          </p:grpSpPr>
          <p:pic>
            <p:nvPicPr>
              <p:cNvPr id="10" name="Picture 10"/>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1" name="TextBox 11"/>
              <p:cNvSpPr txBox="1"/>
              <p:nvPr/>
            </p:nvSpPr>
            <p:spPr>
              <a:xfrm>
                <a:off x="228600" y="257980"/>
                <a:ext cx="5752704" cy="456856"/>
              </a:xfrm>
              <a:prstGeom prst="rect">
                <a:avLst/>
              </a:prstGeom>
            </p:spPr>
            <p:txBody>
              <a:bodyPr wrap="square" lIns="0" tIns="0" rIns="0" bIns="0" rtlCol="0" anchor="t">
                <a:spAutoFit/>
              </a:bodyPr>
              <a:lstStyle/>
              <a:p>
                <a:pPr>
                  <a:lnSpc>
                    <a:spcPts val="3919"/>
                  </a:lnSpc>
                  <a:spcBef>
                    <a:spcPct val="0"/>
                  </a:spcBef>
                </a:pPr>
                <a:endParaRPr lang="en-US" sz="2800" b="1">
                  <a:solidFill>
                    <a:srgbClr val="FFFFFF"/>
                  </a:solidFill>
                  <a:latin typeface="Arial" panose="020B0604020202020204" pitchFamily="34" charset="0"/>
                  <a:cs typeface="Arial" panose="020B0604020202020204" pitchFamily="34" charset="0"/>
                </a:endParaRPr>
              </a:p>
            </p:txBody>
          </p:sp>
        </p:grpSp>
        <p:sp>
          <p:nvSpPr>
            <p:cNvPr id="15" name="Rettangolo 14">
              <a:extLst>
                <a:ext uri="{FF2B5EF4-FFF2-40B4-BE49-F238E27FC236}">
                  <a16:creationId xmlns:a16="http://schemas.microsoft.com/office/drawing/2014/main" id="{AFFDA913-633F-49C2-9D71-573FB327981F}"/>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7" name="TextBox 13">
            <a:extLst>
              <a:ext uri="{FF2B5EF4-FFF2-40B4-BE49-F238E27FC236}">
                <a16:creationId xmlns:a16="http://schemas.microsoft.com/office/drawing/2014/main" id="{C7197FAA-9C82-4C25-B208-2BF8170DA3D1}"/>
              </a:ext>
            </a:extLst>
          </p:cNvPr>
          <p:cNvSpPr txBox="1"/>
          <p:nvPr/>
        </p:nvSpPr>
        <p:spPr>
          <a:xfrm>
            <a:off x="0" y="850387"/>
            <a:ext cx="18288000" cy="1052468"/>
          </a:xfrm>
          <a:prstGeom prst="rect">
            <a:avLst/>
          </a:prstGeom>
        </p:spPr>
        <p:txBody>
          <a:bodyPr wrap="square" lIns="0" tIns="0" rIns="0" bIns="0" rtlCol="0" anchor="t">
            <a:spAutoFit/>
          </a:bodyPr>
          <a:lstStyle/>
          <a:p>
            <a:pPr algn="ctr">
              <a:lnSpc>
                <a:spcPts val="8960"/>
              </a:lnSpc>
              <a:spcBef>
                <a:spcPct val="0"/>
              </a:spcBef>
            </a:pPr>
            <a:r>
              <a:rPr lang="en-US" sz="6400" b="1">
                <a:solidFill>
                  <a:srgbClr val="CC0033"/>
                </a:solidFill>
                <a:latin typeface="+mj-lt"/>
                <a:cs typeface="Arial" panose="020B0604020202020204" pitchFamily="34" charset="0"/>
              </a:rPr>
              <a:t>What is a Digital Twin?</a:t>
            </a:r>
          </a:p>
        </p:txBody>
      </p:sp>
      <p:sp>
        <p:nvSpPr>
          <p:cNvPr id="13" name="TextBox 14">
            <a:extLst>
              <a:ext uri="{FF2B5EF4-FFF2-40B4-BE49-F238E27FC236}">
                <a16:creationId xmlns:a16="http://schemas.microsoft.com/office/drawing/2014/main" id="{A1488B97-33A5-4E7F-BE73-058AD77EDB3A}"/>
              </a:ext>
            </a:extLst>
          </p:cNvPr>
          <p:cNvSpPr txBox="1"/>
          <p:nvPr/>
        </p:nvSpPr>
        <p:spPr>
          <a:xfrm>
            <a:off x="838200" y="2085985"/>
            <a:ext cx="16611600" cy="7676140"/>
          </a:xfrm>
          <a:prstGeom prst="rect">
            <a:avLst/>
          </a:prstGeom>
        </p:spPr>
        <p:txBody>
          <a:bodyPr wrap="square" lIns="0" tIns="0" rIns="0" bIns="0" rtlCol="0" anchor="t">
            <a:spAutoFit/>
          </a:bodyPr>
          <a:lstStyle/>
          <a:p>
            <a:pPr>
              <a:lnSpc>
                <a:spcPct val="150000"/>
              </a:lnSpc>
            </a:pPr>
            <a:r>
              <a:rPr lang="en-US" sz="2800">
                <a:cs typeface="Arial" panose="020B0604020202020204" pitchFamily="34" charset="0"/>
              </a:rPr>
              <a:t>A Digital Twin (DT) is a model in the form of computer program that uses real world data to create simulations that can predict how a product or process will perform. </a:t>
            </a:r>
          </a:p>
          <a:p>
            <a:pPr>
              <a:lnSpc>
                <a:spcPct val="150000"/>
              </a:lnSpc>
            </a:pPr>
            <a:r>
              <a:rPr lang="en-US" sz="2800">
                <a:cs typeface="Arial" panose="020B0604020202020204" pitchFamily="34" charset="0"/>
              </a:rPr>
              <a:t>In the RETROFEED project DT corresponds to computational model of the core processes, whose retrofitting is the main focus.</a:t>
            </a:r>
          </a:p>
          <a:p>
            <a:pPr>
              <a:lnSpc>
                <a:spcPct val="150000"/>
              </a:lnSpc>
            </a:pPr>
            <a:r>
              <a:rPr lang="en-US" sz="2800">
                <a:cs typeface="Arial" panose="020B0604020202020204" pitchFamily="34" charset="0"/>
              </a:rPr>
              <a:t>Examples of techniques utilized in development of digital twins: </a:t>
            </a:r>
          </a:p>
          <a:p>
            <a:pPr marL="914400" lvl="1" indent="-457200">
              <a:lnSpc>
                <a:spcPct val="150000"/>
              </a:lnSpc>
              <a:buFont typeface="Courier New" panose="02070309020205020404" pitchFamily="49" charset="0"/>
              <a:buChar char="o"/>
            </a:pPr>
            <a:r>
              <a:rPr lang="en-US" sz="2800">
                <a:cs typeface="Arial" panose="020B0604020202020204" pitchFamily="34" charset="0"/>
              </a:rPr>
              <a:t>Machine Learning</a:t>
            </a:r>
          </a:p>
          <a:p>
            <a:pPr marL="1371600" lvl="2" indent="-457200">
              <a:lnSpc>
                <a:spcPct val="150000"/>
              </a:lnSpc>
              <a:buFont typeface="Wingdings" panose="05000000000000000000" pitchFamily="2" charset="2"/>
              <a:buChar char="§"/>
            </a:pPr>
            <a:r>
              <a:rPr lang="en-US" sz="2800">
                <a:cs typeface="Arial" panose="020B0604020202020204" pitchFamily="34" charset="0"/>
              </a:rPr>
              <a:t>Capture the system behavior with data history</a:t>
            </a:r>
          </a:p>
          <a:p>
            <a:pPr marL="1371600" lvl="2" indent="-457200">
              <a:lnSpc>
                <a:spcPct val="150000"/>
              </a:lnSpc>
              <a:buFont typeface="Wingdings" panose="05000000000000000000" pitchFamily="2" charset="2"/>
              <a:buChar char="§"/>
            </a:pPr>
            <a:r>
              <a:rPr lang="en-US" sz="2800">
                <a:cs typeface="Arial" panose="020B0604020202020204" pitchFamily="34" charset="0"/>
              </a:rPr>
              <a:t>Identify new patterns of data and predict the behavior of systems more quickly and effectively</a:t>
            </a:r>
          </a:p>
          <a:p>
            <a:pPr marL="914400" lvl="1" indent="-457200">
              <a:lnSpc>
                <a:spcPct val="150000"/>
              </a:lnSpc>
              <a:buFont typeface="Courier New" panose="02070309020205020404" pitchFamily="49" charset="0"/>
              <a:buChar char="o"/>
            </a:pPr>
            <a:r>
              <a:rPr lang="en-US" sz="2800">
                <a:cs typeface="Arial" panose="020B0604020202020204" pitchFamily="34" charset="0"/>
              </a:rPr>
              <a:t>Computational Fluid Dynamics (CFD) model</a:t>
            </a:r>
          </a:p>
          <a:p>
            <a:pPr marL="1371600" lvl="2" indent="-457200">
              <a:lnSpc>
                <a:spcPct val="150000"/>
              </a:lnSpc>
              <a:buFont typeface="Wingdings" panose="05000000000000000000" pitchFamily="2" charset="2"/>
              <a:buChar char="§"/>
            </a:pPr>
            <a:r>
              <a:rPr lang="en-US" sz="2800">
                <a:cs typeface="Arial" panose="020B0604020202020204" pitchFamily="34" charset="0"/>
              </a:rPr>
              <a:t>Useful in smelters, combustion chambers, boilers</a:t>
            </a:r>
          </a:p>
          <a:p>
            <a:pPr marL="1371600" lvl="2" indent="-457200">
              <a:lnSpc>
                <a:spcPct val="150000"/>
              </a:lnSpc>
              <a:buFont typeface="Wingdings" panose="05000000000000000000" pitchFamily="2" charset="2"/>
              <a:buChar char="§"/>
            </a:pPr>
            <a:r>
              <a:rPr lang="en-US" sz="2800">
                <a:cs typeface="Arial" panose="020B0604020202020204" pitchFamily="34" charset="0"/>
              </a:rPr>
              <a:t>Predicts the thermal profile, chemical composition and </a:t>
            </a:r>
          </a:p>
          <a:p>
            <a:pPr lvl="2">
              <a:lnSpc>
                <a:spcPct val="150000"/>
              </a:lnSpc>
            </a:pPr>
            <a:r>
              <a:rPr lang="en-US" sz="2800">
                <a:cs typeface="Arial" panose="020B0604020202020204" pitchFamily="34" charset="0"/>
              </a:rPr>
              <a:t>melting conditions</a:t>
            </a:r>
          </a:p>
        </p:txBody>
      </p:sp>
      <p:pic>
        <p:nvPicPr>
          <p:cNvPr id="4" name="Picture 3">
            <a:extLst>
              <a:ext uri="{FF2B5EF4-FFF2-40B4-BE49-F238E27FC236}">
                <a16:creationId xmlns:a16="http://schemas.microsoft.com/office/drawing/2014/main" id="{79162037-3474-7BEA-A987-EA3224AFC49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3558440" y="7421868"/>
            <a:ext cx="4029490" cy="2014745"/>
          </a:xfrm>
          <a:prstGeom prst="rect">
            <a:avLst/>
          </a:prstGeom>
        </p:spPr>
      </p:pic>
    </p:spTree>
    <p:extLst>
      <p:ext uri="{BB962C8B-B14F-4D97-AF65-F5344CB8AC3E}">
        <p14:creationId xmlns:p14="http://schemas.microsoft.com/office/powerpoint/2010/main" val="4233441078"/>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6"/>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marL="0" marR="0" lvl="0" indent="0" algn="ctr" defTabSz="914400" rtl="0" eaLnBrk="1" fontAlgn="auto" latinLnBrk="0" hangingPunct="1">
                <a:lnSpc>
                  <a:spcPts val="3919"/>
                </a:lnSpc>
                <a:spcBef>
                  <a:spcPct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OCR A Extended" panose="02010509020102010303" pitchFamily="50" charset="0"/>
                  <a:ea typeface="+mn-ea"/>
                  <a:cs typeface="+mn-cs"/>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4"/>
          <a:srcRect/>
          <a:stretch>
            <a:fillRect/>
          </a:stretch>
        </p:blipFill>
        <p:spPr>
          <a:xfrm>
            <a:off x="0" y="9499590"/>
            <a:ext cx="3247053" cy="787410"/>
          </a:xfrm>
          <a:prstGeom prst="rect">
            <a:avLst/>
          </a:prstGeom>
        </p:spPr>
      </p:pic>
      <p:grpSp>
        <p:nvGrpSpPr>
          <p:cNvPr id="3" name="Gruppo 2">
            <a:extLst>
              <a:ext uri="{FF2B5EF4-FFF2-40B4-BE49-F238E27FC236}">
                <a16:creationId xmlns:a16="http://schemas.microsoft.com/office/drawing/2014/main" id="{D0B44AFC-EABA-48CF-A7A8-348076F88921}"/>
              </a:ext>
            </a:extLst>
          </p:cNvPr>
          <p:cNvGrpSpPr/>
          <p:nvPr/>
        </p:nvGrpSpPr>
        <p:grpSpPr>
          <a:xfrm>
            <a:off x="-12" y="138554"/>
            <a:ext cx="18288002" cy="681138"/>
            <a:chOff x="-12" y="138554"/>
            <a:chExt cx="18288002" cy="681138"/>
          </a:xfrm>
        </p:grpSpPr>
        <p:grpSp>
          <p:nvGrpSpPr>
            <p:cNvPr id="16" name="Gruppo 15">
              <a:extLst>
                <a:ext uri="{FF2B5EF4-FFF2-40B4-BE49-F238E27FC236}">
                  <a16:creationId xmlns:a16="http://schemas.microsoft.com/office/drawing/2014/main" id="{DAC42A46-917D-41AB-8F07-E15E54D0F7D4}"/>
                </a:ext>
              </a:extLst>
            </p:cNvPr>
            <p:cNvGrpSpPr/>
            <p:nvPr/>
          </p:nvGrpSpPr>
          <p:grpSpPr>
            <a:xfrm>
              <a:off x="0" y="153125"/>
              <a:ext cx="13958844" cy="666567"/>
              <a:chOff x="0" y="153125"/>
              <a:chExt cx="13958844" cy="666567"/>
            </a:xfrm>
          </p:grpSpPr>
          <p:pic>
            <p:nvPicPr>
              <p:cNvPr id="10" name="Picture 10"/>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1" name="TextBox 11"/>
              <p:cNvSpPr txBox="1"/>
              <p:nvPr/>
            </p:nvSpPr>
            <p:spPr>
              <a:xfrm>
                <a:off x="228600" y="257980"/>
                <a:ext cx="5752704" cy="456856"/>
              </a:xfrm>
              <a:prstGeom prst="rect">
                <a:avLst/>
              </a:prstGeom>
            </p:spPr>
            <p:txBody>
              <a:bodyPr wrap="square" lIns="0" tIns="0" rIns="0" bIns="0" rtlCol="0" anchor="t">
                <a:spAutoFit/>
              </a:bodyPr>
              <a:lstStyle/>
              <a:p>
                <a:pPr marL="0" marR="0" lvl="0" indent="0" algn="l" defTabSz="914400" rtl="0" eaLnBrk="1" fontAlgn="auto" latinLnBrk="0" hangingPunct="1">
                  <a:lnSpc>
                    <a:spcPts val="3919"/>
                  </a:lnSpc>
                  <a:spcBef>
                    <a:spcPct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5" name="Rettangolo 14">
              <a:extLst>
                <a:ext uri="{FF2B5EF4-FFF2-40B4-BE49-F238E27FC236}">
                  <a16:creationId xmlns:a16="http://schemas.microsoft.com/office/drawing/2014/main" id="{AFFDA913-633F-49C2-9D71-573FB327981F}"/>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3" name="TextBox 12">
            <a:extLst>
              <a:ext uri="{FF2B5EF4-FFF2-40B4-BE49-F238E27FC236}">
                <a16:creationId xmlns:a16="http://schemas.microsoft.com/office/drawing/2014/main" id="{40F653FC-8BB6-4A38-B816-63E71BFC7FBE}"/>
              </a:ext>
            </a:extLst>
          </p:cNvPr>
          <p:cNvSpPr txBox="1"/>
          <p:nvPr/>
        </p:nvSpPr>
        <p:spPr>
          <a:xfrm>
            <a:off x="765314" y="2454224"/>
            <a:ext cx="9648912" cy="6891310"/>
          </a:xfrm>
          <a:prstGeom prst="rect">
            <a:avLst/>
          </a:prstGeom>
          <a:noFill/>
        </p:spPr>
        <p:txBody>
          <a:bodyPr wrap="square" rtlCol="0">
            <a:spAutoFit/>
          </a:bodyPr>
          <a:lstStyle/>
          <a:p>
            <a:pPr>
              <a:lnSpc>
                <a:spcPct val="150000"/>
              </a:lnSpc>
              <a:defRPr/>
            </a:pPr>
            <a:r>
              <a:rPr lang="en-US" sz="3000" dirty="0">
                <a:solidFill>
                  <a:srgbClr val="2F2F2F"/>
                </a:solidFill>
                <a:latin typeface="Arial" panose="020B0604020202020204" pitchFamily="34" charset="0"/>
                <a:cs typeface="Arial" panose="020B0604020202020204" pitchFamily="34" charset="0"/>
              </a:rPr>
              <a:t>DT are meant to be integrated in the software infrastructure of the </a:t>
            </a:r>
            <a:r>
              <a:rPr kumimoji="0" lang="sv-SE" sz="3000" b="0" i="0" u="none" strike="noStrike" kern="1200" cap="none" spc="0" normalizeH="0" baseline="0" noProof="0" dirty="0">
                <a:ln>
                  <a:noFill/>
                </a:ln>
                <a:solidFill>
                  <a:srgbClr val="2F2F2F"/>
                </a:solidFill>
                <a:effectLst/>
                <a:uLnTx/>
                <a:uFillTx/>
                <a:latin typeface="Arial" panose="020B0604020202020204" pitchFamily="34" charset="0"/>
                <a:ea typeface="+mn-ea"/>
                <a:cs typeface="Arial" panose="020B0604020202020204" pitchFamily="34" charset="0"/>
              </a:rPr>
              <a:t>Decision Support System (</a:t>
            </a:r>
            <a:r>
              <a:rPr lang="en-US" sz="3000" dirty="0">
                <a:solidFill>
                  <a:srgbClr val="2F2F2F"/>
                </a:solidFill>
                <a:latin typeface="Arial" panose="020B0604020202020204" pitchFamily="34" charset="0"/>
                <a:cs typeface="Arial" panose="020B0604020202020204" pitchFamily="34" charset="0"/>
              </a:rPr>
              <a:t>DSS), to provide it with information on the functioning of the relevant processes in the respective demo-site. </a:t>
            </a:r>
          </a:p>
          <a:p>
            <a:pPr>
              <a:lnSpc>
                <a:spcPct val="150000"/>
              </a:lnSpc>
              <a:defRPr/>
            </a:pPr>
            <a:endParaRPr kumimoji="0" lang="en-US" sz="3000" b="0" i="0" u="none" strike="noStrike" kern="1200" cap="none" spc="0" normalizeH="0" baseline="0" noProof="0" dirty="0">
              <a:ln>
                <a:noFill/>
              </a:ln>
              <a:solidFill>
                <a:srgbClr val="2F2F2F"/>
              </a:solidFill>
              <a:effectLst/>
              <a:uLnTx/>
              <a:uFillTx/>
              <a:latin typeface="Arial" panose="020B0604020202020204" pitchFamily="34" charset="0"/>
              <a:ea typeface="+mn-ea"/>
              <a:cs typeface="Arial" panose="020B0604020202020204" pitchFamily="34" charset="0"/>
            </a:endParaRPr>
          </a:p>
          <a:p>
            <a:pPr>
              <a:lnSpc>
                <a:spcPct val="150000"/>
              </a:lnSpc>
              <a:defRPr/>
            </a:pPr>
            <a:r>
              <a:rPr kumimoji="0" lang="sv-SE" sz="3000" b="0" i="0" u="none" strike="noStrike" kern="1200" cap="none" spc="0" normalizeH="0" baseline="0" noProof="0" dirty="0">
                <a:ln>
                  <a:noFill/>
                </a:ln>
                <a:solidFill>
                  <a:srgbClr val="2F2F2F"/>
                </a:solidFill>
                <a:effectLst/>
                <a:uLnTx/>
                <a:uFillTx/>
                <a:latin typeface="Arial" panose="020B0604020202020204" pitchFamily="34" charset="0"/>
                <a:ea typeface="+mn-ea"/>
                <a:cs typeface="Arial" panose="020B0604020202020204" pitchFamily="34" charset="0"/>
              </a:rPr>
              <a:t>A DSS is an information system </a:t>
            </a:r>
            <a:r>
              <a:rPr kumimoji="0" lang="en-GB" sz="3000" b="0" i="0" u="none" strike="noStrike" kern="1200" cap="none" spc="0" normalizeH="0" baseline="0" noProof="0" dirty="0">
                <a:ln>
                  <a:noFill/>
                </a:ln>
                <a:solidFill>
                  <a:srgbClr val="2F2F2F"/>
                </a:solidFill>
                <a:effectLst/>
                <a:uLnTx/>
                <a:uFillTx/>
                <a:latin typeface="Arial" panose="020B0604020202020204" pitchFamily="34" charset="0"/>
                <a:ea typeface="+mn-ea"/>
                <a:cs typeface="Arial" panose="020B0604020202020204" pitchFamily="34" charset="0"/>
              </a:rPr>
              <a:t>that helps the operators and engineers in a plant to </a:t>
            </a:r>
            <a:r>
              <a:rPr lang="en-GB" sz="3000" dirty="0">
                <a:solidFill>
                  <a:srgbClr val="2F2F2F"/>
                </a:solidFill>
                <a:latin typeface="Arial" panose="020B0604020202020204" pitchFamily="34" charset="0"/>
                <a:cs typeface="Arial" panose="020B0604020202020204" pitchFamily="34" charset="0"/>
              </a:rPr>
              <a:t>make changes and take decisions in the process with more certainty</a:t>
            </a:r>
            <a:r>
              <a:rPr lang="sv-SE" sz="3000" dirty="0">
                <a:solidFill>
                  <a:srgbClr val="2F2F2F"/>
                </a:solidFill>
                <a:latin typeface="Arial" panose="020B0604020202020204" pitchFamily="34" charset="0"/>
                <a:cs typeface="Arial" panose="020B0604020202020204" pitchFamily="34" charset="0"/>
              </a:rPr>
              <a:t>.</a:t>
            </a:r>
            <a:r>
              <a:rPr lang="en-US" sz="3000" dirty="0">
                <a:solidFill>
                  <a:srgbClr val="2F2F2F"/>
                </a:solidFill>
                <a:latin typeface="Arial" panose="020B0604020202020204" pitchFamily="34" charset="0"/>
                <a:cs typeface="Arial" panose="020B0604020202020204" pitchFamily="34" charset="0"/>
              </a:rPr>
              <a:t> </a:t>
            </a:r>
          </a:p>
          <a:p>
            <a:pPr marL="0" marR="0" lvl="0" indent="0" algn="l" defTabSz="914400" rtl="0" eaLnBrk="1" fontAlgn="auto" latinLnBrk="0" hangingPunct="1">
              <a:lnSpc>
                <a:spcPct val="150000"/>
              </a:lnSpc>
              <a:spcBef>
                <a:spcPts val="0"/>
              </a:spcBef>
              <a:spcAft>
                <a:spcPts val="0"/>
              </a:spcAft>
              <a:buClrTx/>
              <a:buSzTx/>
              <a:buFontTx/>
              <a:buNone/>
              <a:tabLst/>
              <a:defRPr/>
            </a:pPr>
            <a:r>
              <a:rPr lang="en-GB" sz="3000" dirty="0">
                <a:solidFill>
                  <a:srgbClr val="2F2F2F"/>
                </a:solidFill>
                <a:latin typeface="Arial" panose="020B0604020202020204" pitchFamily="34" charset="0"/>
                <a:cs typeface="Arial" panose="020B0604020202020204" pitchFamily="34" charset="0"/>
              </a:rPr>
              <a:t>This means that </a:t>
            </a:r>
            <a:r>
              <a:rPr lang="sv-SE" sz="3000" dirty="0">
                <a:solidFill>
                  <a:srgbClr val="2F2F2F"/>
                </a:solidFill>
                <a:latin typeface="Arial" panose="020B0604020202020204" pitchFamily="34" charset="0"/>
                <a:cs typeface="Arial" panose="020B0604020202020204" pitchFamily="34" charset="0"/>
              </a:rPr>
              <a:t>the </a:t>
            </a:r>
            <a:r>
              <a:rPr lang="en-GB" sz="3000" dirty="0">
                <a:solidFill>
                  <a:srgbClr val="2F2F2F"/>
                </a:solidFill>
                <a:latin typeface="Arial" panose="020B0604020202020204" pitchFamily="34" charset="0"/>
                <a:cs typeface="Arial" panose="020B0604020202020204" pitchFamily="34" charset="0"/>
              </a:rPr>
              <a:t>DSS </a:t>
            </a:r>
            <a:r>
              <a:rPr lang="en-US" sz="3000" dirty="0">
                <a:solidFill>
                  <a:srgbClr val="2F2F2F"/>
                </a:solidFill>
                <a:latin typeface="Arial" panose="020B0604020202020204" pitchFamily="34" charset="0"/>
                <a:cs typeface="Arial" panose="020B0604020202020204" pitchFamily="34" charset="0"/>
              </a:rPr>
              <a:t>includes also other processes at plant level, in addition to the core processes.</a:t>
            </a:r>
          </a:p>
        </p:txBody>
      </p:sp>
      <p:pic>
        <p:nvPicPr>
          <p:cNvPr id="4" name="Picture 3">
            <a:extLst>
              <a:ext uri="{FF2B5EF4-FFF2-40B4-BE49-F238E27FC236}">
                <a16:creationId xmlns:a16="http://schemas.microsoft.com/office/drawing/2014/main" id="{268045C6-05C0-0FA8-4ED6-DA872944043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665877" y="3646186"/>
            <a:ext cx="6585933" cy="4393758"/>
          </a:xfrm>
          <a:prstGeom prst="rect">
            <a:avLst/>
          </a:prstGeom>
        </p:spPr>
      </p:pic>
      <p:sp>
        <p:nvSpPr>
          <p:cNvPr id="2" name="TextBox 13">
            <a:extLst>
              <a:ext uri="{FF2B5EF4-FFF2-40B4-BE49-F238E27FC236}">
                <a16:creationId xmlns:a16="http://schemas.microsoft.com/office/drawing/2014/main" id="{74D9F050-B732-815F-4C11-D3188CA87E72}"/>
              </a:ext>
            </a:extLst>
          </p:cNvPr>
          <p:cNvSpPr txBox="1"/>
          <p:nvPr/>
        </p:nvSpPr>
        <p:spPr>
          <a:xfrm>
            <a:off x="0" y="850387"/>
            <a:ext cx="18288000" cy="1052468"/>
          </a:xfrm>
          <a:prstGeom prst="rect">
            <a:avLst/>
          </a:prstGeom>
        </p:spPr>
        <p:txBody>
          <a:bodyPr wrap="square" lIns="0" tIns="0" rIns="0" bIns="0" rtlCol="0" anchor="t">
            <a:spAutoFit/>
          </a:bodyPr>
          <a:lstStyle/>
          <a:p>
            <a:pPr algn="ctr">
              <a:lnSpc>
                <a:spcPts val="8960"/>
              </a:lnSpc>
              <a:spcBef>
                <a:spcPct val="0"/>
              </a:spcBef>
            </a:pPr>
            <a:r>
              <a:rPr lang="en-US" sz="6400" b="1">
                <a:solidFill>
                  <a:srgbClr val="CC0033"/>
                </a:solidFill>
                <a:latin typeface="+mj-lt"/>
                <a:cs typeface="Arial" panose="020B0604020202020204" pitchFamily="34" charset="0"/>
              </a:rPr>
              <a:t>Where is a Digital Twin used?</a:t>
            </a:r>
          </a:p>
        </p:txBody>
      </p:sp>
    </p:spTree>
    <p:extLst>
      <p:ext uri="{BB962C8B-B14F-4D97-AF65-F5344CB8AC3E}">
        <p14:creationId xmlns:p14="http://schemas.microsoft.com/office/powerpoint/2010/main" val="604879812"/>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4" name="Rectangle 13">
            <a:extLst>
              <a:ext uri="{FF2B5EF4-FFF2-40B4-BE49-F238E27FC236}">
                <a16:creationId xmlns:a16="http://schemas.microsoft.com/office/drawing/2014/main" id="{289ED1AA-8684-4D37-B208-8777E1A7780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8283428" cy="10287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6" name="Graphic 33">
            <a:extLst>
              <a:ext uri="{FF2B5EF4-FFF2-40B4-BE49-F238E27FC236}">
                <a16:creationId xmlns:a16="http://schemas.microsoft.com/office/drawing/2014/main" id="{4180E01B-B1F4-437C-807D-1C930718EE6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966176" y="0"/>
            <a:ext cx="14355646" cy="10287000"/>
          </a:xfrm>
          <a:custGeom>
            <a:avLst/>
            <a:gdLst>
              <a:gd name="connsiteX0" fmla="*/ 7178288 w 7187261"/>
              <a:gd name="connsiteY0" fmla="*/ 2604802 h 5150263"/>
              <a:gd name="connsiteX1" fmla="*/ 7169335 w 7187261"/>
              <a:gd name="connsiteY1" fmla="*/ 2328577 h 5150263"/>
              <a:gd name="connsiteX2" fmla="*/ 7060845 w 7187261"/>
              <a:gd name="connsiteY2" fmla="*/ 1661160 h 5150263"/>
              <a:gd name="connsiteX3" fmla="*/ 6212263 w 7187261"/>
              <a:gd name="connsiteY3" fmla="*/ 243840 h 5150263"/>
              <a:gd name="connsiteX4" fmla="*/ 5953564 w 7187261"/>
              <a:gd name="connsiteY4" fmla="*/ 0 h 5150263"/>
              <a:gd name="connsiteX5" fmla="*/ 1408615 w 7187261"/>
              <a:gd name="connsiteY5" fmla="*/ 0 h 5150263"/>
              <a:gd name="connsiteX6" fmla="*/ 805111 w 7187261"/>
              <a:gd name="connsiteY6" fmla="*/ 676275 h 5150263"/>
              <a:gd name="connsiteX7" fmla="*/ 104928 w 7187261"/>
              <a:gd name="connsiteY7" fmla="*/ 2183035 h 5150263"/>
              <a:gd name="connsiteX8" fmla="*/ 51588 w 7187261"/>
              <a:gd name="connsiteY8" fmla="*/ 2400014 h 5150263"/>
              <a:gd name="connsiteX9" fmla="*/ 41301 w 7187261"/>
              <a:gd name="connsiteY9" fmla="*/ 2424208 h 5150263"/>
              <a:gd name="connsiteX10" fmla="*/ 119692 w 7187261"/>
              <a:gd name="connsiteY10" fmla="*/ 1834801 h 5150263"/>
              <a:gd name="connsiteX11" fmla="*/ 870071 w 7187261"/>
              <a:gd name="connsiteY11" fmla="*/ 462248 h 5150263"/>
              <a:gd name="connsiteX12" fmla="*/ 1389279 w 7187261"/>
              <a:gd name="connsiteY12" fmla="*/ 476 h 5150263"/>
              <a:gd name="connsiteX13" fmla="*/ 1320223 w 7187261"/>
              <a:gd name="connsiteY13" fmla="*/ 476 h 5150263"/>
              <a:gd name="connsiteX14" fmla="*/ 423158 w 7187261"/>
              <a:gd name="connsiteY14" fmla="*/ 989743 h 5150263"/>
              <a:gd name="connsiteX15" fmla="*/ 25585 w 7187261"/>
              <a:gd name="connsiteY15" fmla="*/ 2113693 h 5150263"/>
              <a:gd name="connsiteX16" fmla="*/ 2344 w 7187261"/>
              <a:gd name="connsiteY16" fmla="*/ 2725865 h 5150263"/>
              <a:gd name="connsiteX17" fmla="*/ 447256 w 7187261"/>
              <a:gd name="connsiteY17" fmla="*/ 4210717 h 5150263"/>
              <a:gd name="connsiteX18" fmla="*/ 1138962 w 7187261"/>
              <a:gd name="connsiteY18" fmla="*/ 4988910 h 5150263"/>
              <a:gd name="connsiteX19" fmla="*/ 1348512 w 7187261"/>
              <a:gd name="connsiteY19" fmla="*/ 5146834 h 5150263"/>
              <a:gd name="connsiteX20" fmla="*/ 1422712 w 7187261"/>
              <a:gd name="connsiteY20" fmla="*/ 5146834 h 5150263"/>
              <a:gd name="connsiteX21" fmla="*/ 480594 w 7187261"/>
              <a:gd name="connsiteY21" fmla="*/ 4187952 h 5150263"/>
              <a:gd name="connsiteX22" fmla="*/ 398679 w 7187261"/>
              <a:gd name="connsiteY22" fmla="*/ 4046125 h 5150263"/>
              <a:gd name="connsiteX23" fmla="*/ 411823 w 7187261"/>
              <a:gd name="connsiteY23" fmla="*/ 4053078 h 5150263"/>
              <a:gd name="connsiteX24" fmla="*/ 1439380 w 7187261"/>
              <a:gd name="connsiteY24" fmla="*/ 5147405 h 5150263"/>
              <a:gd name="connsiteX25" fmla="*/ 5710010 w 7187261"/>
              <a:gd name="connsiteY25" fmla="*/ 5150263 h 5150263"/>
              <a:gd name="connsiteX26" fmla="*/ 5999665 w 7187261"/>
              <a:gd name="connsiteY26" fmla="*/ 4910900 h 5150263"/>
              <a:gd name="connsiteX27" fmla="*/ 6954165 w 7187261"/>
              <a:gd name="connsiteY27" fmla="*/ 3545777 h 5150263"/>
              <a:gd name="connsiteX28" fmla="*/ 7137712 w 7187261"/>
              <a:gd name="connsiteY28" fmla="*/ 2799207 h 5150263"/>
              <a:gd name="connsiteX29" fmla="*/ 7142951 w 7187261"/>
              <a:gd name="connsiteY29" fmla="*/ 2754535 h 5150263"/>
              <a:gd name="connsiteX30" fmla="*/ 7149428 w 7187261"/>
              <a:gd name="connsiteY30" fmla="*/ 2774823 h 5150263"/>
              <a:gd name="connsiteX31" fmla="*/ 7066465 w 7187261"/>
              <a:gd name="connsiteY31" fmla="*/ 3465672 h 5150263"/>
              <a:gd name="connsiteX32" fmla="*/ 6452578 w 7187261"/>
              <a:gd name="connsiteY32" fmla="*/ 4552760 h 5150263"/>
              <a:gd name="connsiteX33" fmla="*/ 5752110 w 7187261"/>
              <a:gd name="connsiteY33" fmla="*/ 5150263 h 5150263"/>
              <a:gd name="connsiteX34" fmla="*/ 5827643 w 7187261"/>
              <a:gd name="connsiteY34" fmla="*/ 5150263 h 5150263"/>
              <a:gd name="connsiteX35" fmla="*/ 6642793 w 7187261"/>
              <a:gd name="connsiteY35" fmla="*/ 4389406 h 5150263"/>
              <a:gd name="connsiteX36" fmla="*/ 7102469 w 7187261"/>
              <a:gd name="connsiteY36" fmla="*/ 3490817 h 5150263"/>
              <a:gd name="connsiteX37" fmla="*/ 7187242 w 7187261"/>
              <a:gd name="connsiteY37" fmla="*/ 2990183 h 5150263"/>
              <a:gd name="connsiteX38" fmla="*/ 7178288 w 7187261"/>
              <a:gd name="connsiteY38" fmla="*/ 2604802 h 5150263"/>
              <a:gd name="connsiteX39" fmla="*/ 6342565 w 7187261"/>
              <a:gd name="connsiteY39" fmla="*/ 441389 h 5150263"/>
              <a:gd name="connsiteX40" fmla="*/ 7126567 w 7187261"/>
              <a:gd name="connsiteY40" fmla="*/ 2355056 h 5150263"/>
              <a:gd name="connsiteX41" fmla="*/ 6342565 w 7187261"/>
              <a:gd name="connsiteY41" fmla="*/ 441389 h 5150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187261" h="5150263">
                <a:moveTo>
                  <a:pt x="7178288" y="2604802"/>
                </a:moveTo>
                <a:cubicBezTo>
                  <a:pt x="7168763" y="2513076"/>
                  <a:pt x="7174478" y="2420684"/>
                  <a:pt x="7169335" y="2328577"/>
                </a:cubicBezTo>
                <a:cubicBezTo>
                  <a:pt x="7156952" y="2102882"/>
                  <a:pt x="7120586" y="1879149"/>
                  <a:pt x="7060845" y="1661160"/>
                </a:cubicBezTo>
                <a:cubicBezTo>
                  <a:pt x="6910588" y="1121007"/>
                  <a:pt x="6617428" y="631374"/>
                  <a:pt x="6212263" y="243840"/>
                </a:cubicBezTo>
                <a:cubicBezTo>
                  <a:pt x="6126538" y="162496"/>
                  <a:pt x="6040813" y="80201"/>
                  <a:pt x="5953564" y="0"/>
                </a:cubicBezTo>
                <a:lnTo>
                  <a:pt x="1408615" y="0"/>
                </a:lnTo>
                <a:cubicBezTo>
                  <a:pt x="1180967" y="200316"/>
                  <a:pt x="978332" y="427387"/>
                  <a:pt x="805111" y="676275"/>
                </a:cubicBezTo>
                <a:cubicBezTo>
                  <a:pt x="481261" y="1136523"/>
                  <a:pt x="252089" y="1640872"/>
                  <a:pt x="104928" y="2183035"/>
                </a:cubicBezTo>
                <a:cubicBezTo>
                  <a:pt x="85878" y="2254853"/>
                  <a:pt x="69495" y="2327720"/>
                  <a:pt x="51588" y="2400014"/>
                </a:cubicBezTo>
                <a:cubicBezTo>
                  <a:pt x="49683" y="2407634"/>
                  <a:pt x="51588" y="2416969"/>
                  <a:pt x="41301" y="2424208"/>
                </a:cubicBezTo>
                <a:cubicBezTo>
                  <a:pt x="45900" y="2225469"/>
                  <a:pt x="72186" y="2027834"/>
                  <a:pt x="119692" y="1834801"/>
                </a:cubicBezTo>
                <a:cubicBezTo>
                  <a:pt x="247993" y="1310926"/>
                  <a:pt x="506121" y="857726"/>
                  <a:pt x="870071" y="462248"/>
                </a:cubicBezTo>
                <a:cubicBezTo>
                  <a:pt x="1027729" y="291823"/>
                  <a:pt x="1201617" y="137169"/>
                  <a:pt x="1389279" y="476"/>
                </a:cubicBezTo>
                <a:lnTo>
                  <a:pt x="1320223" y="476"/>
                </a:lnTo>
                <a:cubicBezTo>
                  <a:pt x="960844" y="274320"/>
                  <a:pt x="656330" y="599123"/>
                  <a:pt x="423158" y="989743"/>
                </a:cubicBezTo>
                <a:cubicBezTo>
                  <a:pt x="215608" y="1337596"/>
                  <a:pt x="80258" y="1711357"/>
                  <a:pt x="25585" y="2113693"/>
                </a:cubicBezTo>
                <a:cubicBezTo>
                  <a:pt x="-2705" y="2316480"/>
                  <a:pt x="-2228" y="2521077"/>
                  <a:pt x="2344" y="2725865"/>
                </a:cubicBezTo>
                <a:cubicBezTo>
                  <a:pt x="14155" y="3261932"/>
                  <a:pt x="170650" y="3754565"/>
                  <a:pt x="447256" y="4210717"/>
                </a:cubicBezTo>
                <a:cubicBezTo>
                  <a:pt x="629851" y="4511612"/>
                  <a:pt x="866356" y="4767167"/>
                  <a:pt x="1138962" y="4988910"/>
                </a:cubicBezTo>
                <a:cubicBezTo>
                  <a:pt x="1207161" y="5044345"/>
                  <a:pt x="1277008" y="5096990"/>
                  <a:pt x="1348512" y="5146834"/>
                </a:cubicBezTo>
                <a:lnTo>
                  <a:pt x="1422712" y="5146834"/>
                </a:lnTo>
                <a:cubicBezTo>
                  <a:pt x="1043426" y="4892802"/>
                  <a:pt x="724720" y="4577334"/>
                  <a:pt x="480594" y="4187952"/>
                </a:cubicBezTo>
                <a:cubicBezTo>
                  <a:pt x="452019" y="4141851"/>
                  <a:pt x="423444" y="4095179"/>
                  <a:pt x="398679" y="4046125"/>
                </a:cubicBezTo>
                <a:cubicBezTo>
                  <a:pt x="407442" y="4043267"/>
                  <a:pt x="409156" y="4048982"/>
                  <a:pt x="411823" y="4053078"/>
                </a:cubicBezTo>
                <a:cubicBezTo>
                  <a:pt x="683572" y="4484656"/>
                  <a:pt x="1033139" y="4842701"/>
                  <a:pt x="1439380" y="5147405"/>
                </a:cubicBezTo>
                <a:lnTo>
                  <a:pt x="5710010" y="5150263"/>
                </a:lnTo>
                <a:cubicBezTo>
                  <a:pt x="5810594" y="5075482"/>
                  <a:pt x="5907272" y="4995587"/>
                  <a:pt x="5999665" y="4910900"/>
                </a:cubicBezTo>
                <a:cubicBezTo>
                  <a:pt x="6418765" y="4526661"/>
                  <a:pt x="6746901" y="4078129"/>
                  <a:pt x="6954165" y="3545777"/>
                </a:cubicBezTo>
                <a:cubicBezTo>
                  <a:pt x="7048234" y="3306175"/>
                  <a:pt x="7109956" y="3055115"/>
                  <a:pt x="7137712" y="2799207"/>
                </a:cubicBezTo>
                <a:cubicBezTo>
                  <a:pt x="7139236" y="2784920"/>
                  <a:pt x="7141046" y="2770632"/>
                  <a:pt x="7142951" y="2754535"/>
                </a:cubicBezTo>
                <a:cubicBezTo>
                  <a:pt x="7151714" y="2760440"/>
                  <a:pt x="7149237" y="2768441"/>
                  <a:pt x="7149428" y="2774823"/>
                </a:cubicBezTo>
                <a:cubicBezTo>
                  <a:pt x="7156743" y="3007967"/>
                  <a:pt x="7128777" y="3240881"/>
                  <a:pt x="7066465" y="3465672"/>
                </a:cubicBezTo>
                <a:cubicBezTo>
                  <a:pt x="6952165" y="3878580"/>
                  <a:pt x="6737948" y="4235863"/>
                  <a:pt x="6452578" y="4552760"/>
                </a:cubicBezTo>
                <a:cubicBezTo>
                  <a:pt x="6244553" y="4783836"/>
                  <a:pt x="6008809" y="4980242"/>
                  <a:pt x="5752110" y="5150263"/>
                </a:cubicBezTo>
                <a:lnTo>
                  <a:pt x="5827643" y="5150263"/>
                </a:lnTo>
                <a:cubicBezTo>
                  <a:pt x="6136539" y="4938904"/>
                  <a:pt x="6412192" y="4689348"/>
                  <a:pt x="6642793" y="4389406"/>
                </a:cubicBezTo>
                <a:cubicBezTo>
                  <a:pt x="6851295" y="4118324"/>
                  <a:pt x="7009125" y="3820859"/>
                  <a:pt x="7102469" y="3490817"/>
                </a:cubicBezTo>
                <a:cubicBezTo>
                  <a:pt x="7148646" y="3327473"/>
                  <a:pt x="7177069" y="3159624"/>
                  <a:pt x="7187242" y="2990183"/>
                </a:cubicBezTo>
                <a:cubicBezTo>
                  <a:pt x="7187623" y="2984087"/>
                  <a:pt x="7182384" y="2642330"/>
                  <a:pt x="7178288" y="2604802"/>
                </a:cubicBezTo>
                <a:close/>
                <a:moveTo>
                  <a:pt x="6342565" y="441389"/>
                </a:moveTo>
                <a:cubicBezTo>
                  <a:pt x="6829797" y="986533"/>
                  <a:pt x="7091135" y="1624422"/>
                  <a:pt x="7126567" y="2355056"/>
                </a:cubicBezTo>
                <a:cubicBezTo>
                  <a:pt x="7001123" y="1661827"/>
                  <a:pt x="6756426" y="1017365"/>
                  <a:pt x="6342565" y="441389"/>
                </a:cubicBez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Arial"/>
              <a:ea typeface="+mn-ea"/>
              <a:cs typeface="+mn-cs"/>
            </a:endParaRPr>
          </a:p>
        </p:txBody>
      </p:sp>
      <p:sp>
        <p:nvSpPr>
          <p:cNvPr id="9" name="Title 3">
            <a:extLst>
              <a:ext uri="{FF2B5EF4-FFF2-40B4-BE49-F238E27FC236}">
                <a16:creationId xmlns:a16="http://schemas.microsoft.com/office/drawing/2014/main" id="{4E84962A-B870-4CD9-A3DA-1FE228038F42}"/>
              </a:ext>
            </a:extLst>
          </p:cNvPr>
          <p:cNvSpPr>
            <a:spLocks noGrp="1"/>
          </p:cNvSpPr>
          <p:nvPr>
            <p:ph type="title"/>
          </p:nvPr>
        </p:nvSpPr>
        <p:spPr>
          <a:xfrm>
            <a:off x="3298742" y="1495308"/>
            <a:ext cx="11685944" cy="4348463"/>
          </a:xfrm>
        </p:spPr>
        <p:txBody>
          <a:bodyPr vert="horz" lIns="91440" tIns="45720" rIns="91440" bIns="45720" rtlCol="0" anchor="b">
            <a:normAutofit/>
          </a:bodyPr>
          <a:lstStyle/>
          <a:p>
            <a:pPr indent="457200">
              <a:lnSpc>
                <a:spcPct val="90000"/>
              </a:lnSpc>
              <a:spcAft>
                <a:spcPts val="600"/>
              </a:spcAft>
            </a:pPr>
            <a:r>
              <a:rPr lang="en-GB" sz="9900" b="1" noProof="0" dirty="0">
                <a:solidFill>
                  <a:srgbClr val="FFFFFF"/>
                </a:solidFill>
              </a:rPr>
              <a:t>How to create a Digital Twin</a:t>
            </a:r>
            <a:endParaRPr lang="en-GB" sz="9900" b="1" kern="1200" noProof="0" dirty="0">
              <a:solidFill>
                <a:srgbClr val="FFFFFF"/>
              </a:solidFill>
              <a:latin typeface="+mj-lt"/>
              <a:ea typeface="+mj-ea"/>
              <a:cs typeface="+mj-cs"/>
            </a:endParaRPr>
          </a:p>
        </p:txBody>
      </p:sp>
      <p:sp>
        <p:nvSpPr>
          <p:cNvPr id="18" name="sketch line">
            <a:extLst>
              <a:ext uri="{FF2B5EF4-FFF2-40B4-BE49-F238E27FC236}">
                <a16:creationId xmlns:a16="http://schemas.microsoft.com/office/drawing/2014/main" id="{41F77738-2AF0-4750-A0C7-F97C2C17590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961309" y="6260247"/>
            <a:ext cx="6365383" cy="27432"/>
          </a:xfrm>
          <a:custGeom>
            <a:avLst/>
            <a:gdLst>
              <a:gd name="connsiteX0" fmla="*/ 0 w 6365383"/>
              <a:gd name="connsiteY0" fmla="*/ 0 h 27432"/>
              <a:gd name="connsiteX1" fmla="*/ 636538 w 6365383"/>
              <a:gd name="connsiteY1" fmla="*/ 0 h 27432"/>
              <a:gd name="connsiteX2" fmla="*/ 1273077 w 6365383"/>
              <a:gd name="connsiteY2" fmla="*/ 0 h 27432"/>
              <a:gd name="connsiteX3" fmla="*/ 1909615 w 6365383"/>
              <a:gd name="connsiteY3" fmla="*/ 0 h 27432"/>
              <a:gd name="connsiteX4" fmla="*/ 2673461 w 6365383"/>
              <a:gd name="connsiteY4" fmla="*/ 0 h 27432"/>
              <a:gd name="connsiteX5" fmla="*/ 3373653 w 6365383"/>
              <a:gd name="connsiteY5" fmla="*/ 0 h 27432"/>
              <a:gd name="connsiteX6" fmla="*/ 3819230 w 6365383"/>
              <a:gd name="connsiteY6" fmla="*/ 0 h 27432"/>
              <a:gd name="connsiteX7" fmla="*/ 4392114 w 6365383"/>
              <a:gd name="connsiteY7" fmla="*/ 0 h 27432"/>
              <a:gd name="connsiteX8" fmla="*/ 5155960 w 6365383"/>
              <a:gd name="connsiteY8" fmla="*/ 0 h 27432"/>
              <a:gd name="connsiteX9" fmla="*/ 5792499 w 6365383"/>
              <a:gd name="connsiteY9" fmla="*/ 0 h 27432"/>
              <a:gd name="connsiteX10" fmla="*/ 6365383 w 6365383"/>
              <a:gd name="connsiteY10" fmla="*/ 0 h 27432"/>
              <a:gd name="connsiteX11" fmla="*/ 6365383 w 6365383"/>
              <a:gd name="connsiteY11" fmla="*/ 27432 h 27432"/>
              <a:gd name="connsiteX12" fmla="*/ 5856152 w 6365383"/>
              <a:gd name="connsiteY12" fmla="*/ 27432 h 27432"/>
              <a:gd name="connsiteX13" fmla="*/ 5092306 w 6365383"/>
              <a:gd name="connsiteY13" fmla="*/ 27432 h 27432"/>
              <a:gd name="connsiteX14" fmla="*/ 4583076 w 6365383"/>
              <a:gd name="connsiteY14" fmla="*/ 27432 h 27432"/>
              <a:gd name="connsiteX15" fmla="*/ 4137499 w 6365383"/>
              <a:gd name="connsiteY15" fmla="*/ 27432 h 27432"/>
              <a:gd name="connsiteX16" fmla="*/ 3691922 w 6365383"/>
              <a:gd name="connsiteY16" fmla="*/ 27432 h 27432"/>
              <a:gd name="connsiteX17" fmla="*/ 2991730 w 6365383"/>
              <a:gd name="connsiteY17" fmla="*/ 27432 h 27432"/>
              <a:gd name="connsiteX18" fmla="*/ 2546153 w 6365383"/>
              <a:gd name="connsiteY18" fmla="*/ 27432 h 27432"/>
              <a:gd name="connsiteX19" fmla="*/ 1909615 w 6365383"/>
              <a:gd name="connsiteY19" fmla="*/ 27432 h 27432"/>
              <a:gd name="connsiteX20" fmla="*/ 1400384 w 6365383"/>
              <a:gd name="connsiteY20" fmla="*/ 27432 h 27432"/>
              <a:gd name="connsiteX21" fmla="*/ 763846 w 6365383"/>
              <a:gd name="connsiteY21" fmla="*/ 27432 h 27432"/>
              <a:gd name="connsiteX22" fmla="*/ 0 w 6365383"/>
              <a:gd name="connsiteY22" fmla="*/ 27432 h 27432"/>
              <a:gd name="connsiteX23" fmla="*/ 0 w 6365383"/>
              <a:gd name="connsiteY23" fmla="*/ 0 h 27432"/>
              <a:gd name="connsiteX0" fmla="*/ 0 w 6365383"/>
              <a:gd name="connsiteY0" fmla="*/ 0 h 27432"/>
              <a:gd name="connsiteX1" fmla="*/ 572884 w 6365383"/>
              <a:gd name="connsiteY1" fmla="*/ 0 h 27432"/>
              <a:gd name="connsiteX2" fmla="*/ 1018461 w 6365383"/>
              <a:gd name="connsiteY2" fmla="*/ 0 h 27432"/>
              <a:gd name="connsiteX3" fmla="*/ 1782307 w 6365383"/>
              <a:gd name="connsiteY3" fmla="*/ 0 h 27432"/>
              <a:gd name="connsiteX4" fmla="*/ 2355192 w 6365383"/>
              <a:gd name="connsiteY4" fmla="*/ 0 h 27432"/>
              <a:gd name="connsiteX5" fmla="*/ 2928076 w 6365383"/>
              <a:gd name="connsiteY5" fmla="*/ 0 h 27432"/>
              <a:gd name="connsiteX6" fmla="*/ 3691922 w 6365383"/>
              <a:gd name="connsiteY6" fmla="*/ 0 h 27432"/>
              <a:gd name="connsiteX7" fmla="*/ 4201153 w 6365383"/>
              <a:gd name="connsiteY7" fmla="*/ 0 h 27432"/>
              <a:gd name="connsiteX8" fmla="*/ 4964999 w 6365383"/>
              <a:gd name="connsiteY8" fmla="*/ 0 h 27432"/>
              <a:gd name="connsiteX9" fmla="*/ 5728845 w 6365383"/>
              <a:gd name="connsiteY9" fmla="*/ 0 h 27432"/>
              <a:gd name="connsiteX10" fmla="*/ 6365383 w 6365383"/>
              <a:gd name="connsiteY10" fmla="*/ 0 h 27432"/>
              <a:gd name="connsiteX11" fmla="*/ 6365383 w 6365383"/>
              <a:gd name="connsiteY11" fmla="*/ 27432 h 27432"/>
              <a:gd name="connsiteX12" fmla="*/ 5665191 w 6365383"/>
              <a:gd name="connsiteY12" fmla="*/ 27432 h 27432"/>
              <a:gd name="connsiteX13" fmla="*/ 4901345 w 6365383"/>
              <a:gd name="connsiteY13" fmla="*/ 27432 h 27432"/>
              <a:gd name="connsiteX14" fmla="*/ 4137499 w 6365383"/>
              <a:gd name="connsiteY14" fmla="*/ 27432 h 27432"/>
              <a:gd name="connsiteX15" fmla="*/ 3628268 w 6365383"/>
              <a:gd name="connsiteY15" fmla="*/ 27432 h 27432"/>
              <a:gd name="connsiteX16" fmla="*/ 2991730 w 6365383"/>
              <a:gd name="connsiteY16" fmla="*/ 27432 h 27432"/>
              <a:gd name="connsiteX17" fmla="*/ 2227884 w 6365383"/>
              <a:gd name="connsiteY17" fmla="*/ 27432 h 27432"/>
              <a:gd name="connsiteX18" fmla="*/ 1591346 w 6365383"/>
              <a:gd name="connsiteY18" fmla="*/ 27432 h 27432"/>
              <a:gd name="connsiteX19" fmla="*/ 1145769 w 6365383"/>
              <a:gd name="connsiteY19" fmla="*/ 27432 h 27432"/>
              <a:gd name="connsiteX20" fmla="*/ 636538 w 6365383"/>
              <a:gd name="connsiteY20" fmla="*/ 27432 h 27432"/>
              <a:gd name="connsiteX21" fmla="*/ 0 w 6365383"/>
              <a:gd name="connsiteY21" fmla="*/ 27432 h 27432"/>
              <a:gd name="connsiteX22" fmla="*/ 0 w 6365383"/>
              <a:gd name="connsiteY22"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365383" h="27432" fill="none" extrusionOk="0">
                <a:moveTo>
                  <a:pt x="0" y="0"/>
                </a:moveTo>
                <a:cubicBezTo>
                  <a:pt x="311910" y="25756"/>
                  <a:pt x="328854" y="-22977"/>
                  <a:pt x="636538" y="0"/>
                </a:cubicBezTo>
                <a:cubicBezTo>
                  <a:pt x="929901" y="50670"/>
                  <a:pt x="1067253" y="-1993"/>
                  <a:pt x="1273077" y="0"/>
                </a:cubicBezTo>
                <a:cubicBezTo>
                  <a:pt x="1507620" y="-24857"/>
                  <a:pt x="1747799" y="-10413"/>
                  <a:pt x="1909615" y="0"/>
                </a:cubicBezTo>
                <a:cubicBezTo>
                  <a:pt x="2041097" y="-21585"/>
                  <a:pt x="2422417" y="-28022"/>
                  <a:pt x="2673461" y="0"/>
                </a:cubicBezTo>
                <a:cubicBezTo>
                  <a:pt x="2948394" y="-4560"/>
                  <a:pt x="3134893" y="36981"/>
                  <a:pt x="3373653" y="0"/>
                </a:cubicBezTo>
                <a:cubicBezTo>
                  <a:pt x="3634761" y="-15887"/>
                  <a:pt x="3700843" y="23167"/>
                  <a:pt x="3819230" y="0"/>
                </a:cubicBezTo>
                <a:cubicBezTo>
                  <a:pt x="3977295" y="2943"/>
                  <a:pt x="4128910" y="-53150"/>
                  <a:pt x="4392114" y="0"/>
                </a:cubicBezTo>
                <a:cubicBezTo>
                  <a:pt x="4672763" y="9214"/>
                  <a:pt x="4999833" y="38501"/>
                  <a:pt x="5155960" y="0"/>
                </a:cubicBezTo>
                <a:cubicBezTo>
                  <a:pt x="5343367" y="-6557"/>
                  <a:pt x="5597661" y="6622"/>
                  <a:pt x="5792499" y="0"/>
                </a:cubicBezTo>
                <a:cubicBezTo>
                  <a:pt x="6020774" y="43813"/>
                  <a:pt x="6148830" y="-13954"/>
                  <a:pt x="6365383" y="0"/>
                </a:cubicBezTo>
                <a:cubicBezTo>
                  <a:pt x="6364517" y="8091"/>
                  <a:pt x="6365728" y="20268"/>
                  <a:pt x="6365383" y="27432"/>
                </a:cubicBezTo>
                <a:cubicBezTo>
                  <a:pt x="6144545" y="15144"/>
                  <a:pt x="6006673" y="-7419"/>
                  <a:pt x="5856152" y="27432"/>
                </a:cubicBezTo>
                <a:cubicBezTo>
                  <a:pt x="5638446" y="81548"/>
                  <a:pt x="5413846" y="52067"/>
                  <a:pt x="5092306" y="27432"/>
                </a:cubicBezTo>
                <a:cubicBezTo>
                  <a:pt x="4768499" y="43350"/>
                  <a:pt x="4708569" y="3163"/>
                  <a:pt x="4583076" y="27432"/>
                </a:cubicBezTo>
                <a:cubicBezTo>
                  <a:pt x="4475482" y="66269"/>
                  <a:pt x="4242792" y="42702"/>
                  <a:pt x="4137499" y="27432"/>
                </a:cubicBezTo>
                <a:cubicBezTo>
                  <a:pt x="4003968" y="24039"/>
                  <a:pt x="3882646" y="-3026"/>
                  <a:pt x="3691922" y="27432"/>
                </a:cubicBezTo>
                <a:cubicBezTo>
                  <a:pt x="3501639" y="8096"/>
                  <a:pt x="3270842" y="-14942"/>
                  <a:pt x="2991730" y="27432"/>
                </a:cubicBezTo>
                <a:cubicBezTo>
                  <a:pt x="2712135" y="55419"/>
                  <a:pt x="2758697" y="31955"/>
                  <a:pt x="2546153" y="27432"/>
                </a:cubicBezTo>
                <a:cubicBezTo>
                  <a:pt x="2362220" y="-818"/>
                  <a:pt x="2130397" y="57099"/>
                  <a:pt x="1909615" y="27432"/>
                </a:cubicBezTo>
                <a:cubicBezTo>
                  <a:pt x="1714835" y="-15389"/>
                  <a:pt x="1636770" y="40318"/>
                  <a:pt x="1400384" y="27432"/>
                </a:cubicBezTo>
                <a:cubicBezTo>
                  <a:pt x="1161504" y="29515"/>
                  <a:pt x="1060819" y="7773"/>
                  <a:pt x="763846" y="27432"/>
                </a:cubicBezTo>
                <a:cubicBezTo>
                  <a:pt x="465096" y="43671"/>
                  <a:pt x="165309" y="15831"/>
                  <a:pt x="0" y="27432"/>
                </a:cubicBezTo>
                <a:cubicBezTo>
                  <a:pt x="-2013" y="18874"/>
                  <a:pt x="-525" y="8614"/>
                  <a:pt x="0" y="0"/>
                </a:cubicBezTo>
                <a:close/>
              </a:path>
              <a:path w="6365383" h="27432" stroke="0" extrusionOk="0">
                <a:moveTo>
                  <a:pt x="0" y="0"/>
                </a:moveTo>
                <a:cubicBezTo>
                  <a:pt x="84020" y="9133"/>
                  <a:pt x="339524" y="24523"/>
                  <a:pt x="572884" y="0"/>
                </a:cubicBezTo>
                <a:cubicBezTo>
                  <a:pt x="803790" y="-14011"/>
                  <a:pt x="837492" y="-10007"/>
                  <a:pt x="1018461" y="0"/>
                </a:cubicBezTo>
                <a:cubicBezTo>
                  <a:pt x="1188530" y="8943"/>
                  <a:pt x="1571061" y="17361"/>
                  <a:pt x="1782307" y="0"/>
                </a:cubicBezTo>
                <a:cubicBezTo>
                  <a:pt x="1967448" y="-16010"/>
                  <a:pt x="2153334" y="-25629"/>
                  <a:pt x="2355192" y="0"/>
                </a:cubicBezTo>
                <a:cubicBezTo>
                  <a:pt x="2541804" y="20205"/>
                  <a:pt x="2779440" y="53811"/>
                  <a:pt x="2928076" y="0"/>
                </a:cubicBezTo>
                <a:cubicBezTo>
                  <a:pt x="3024078" y="-16903"/>
                  <a:pt x="3337092" y="43483"/>
                  <a:pt x="3691922" y="0"/>
                </a:cubicBezTo>
                <a:cubicBezTo>
                  <a:pt x="4060895" y="-1064"/>
                  <a:pt x="4072166" y="-17195"/>
                  <a:pt x="4201153" y="0"/>
                </a:cubicBezTo>
                <a:cubicBezTo>
                  <a:pt x="4349835" y="-22516"/>
                  <a:pt x="4800106" y="-64797"/>
                  <a:pt x="4964999" y="0"/>
                </a:cubicBezTo>
                <a:cubicBezTo>
                  <a:pt x="5186764" y="15779"/>
                  <a:pt x="5564421" y="-10544"/>
                  <a:pt x="5728845" y="0"/>
                </a:cubicBezTo>
                <a:cubicBezTo>
                  <a:pt x="5915953" y="5493"/>
                  <a:pt x="6171384" y="-48026"/>
                  <a:pt x="6365383" y="0"/>
                </a:cubicBezTo>
                <a:cubicBezTo>
                  <a:pt x="6366596" y="6455"/>
                  <a:pt x="6365588" y="14391"/>
                  <a:pt x="6365383" y="27432"/>
                </a:cubicBezTo>
                <a:cubicBezTo>
                  <a:pt x="6172514" y="805"/>
                  <a:pt x="6006523" y="20734"/>
                  <a:pt x="5665191" y="27432"/>
                </a:cubicBezTo>
                <a:cubicBezTo>
                  <a:pt x="5322179" y="66687"/>
                  <a:pt x="5219376" y="21111"/>
                  <a:pt x="4901345" y="27432"/>
                </a:cubicBezTo>
                <a:cubicBezTo>
                  <a:pt x="4621310" y="-13654"/>
                  <a:pt x="4455192" y="54857"/>
                  <a:pt x="4137499" y="27432"/>
                </a:cubicBezTo>
                <a:cubicBezTo>
                  <a:pt x="3853317" y="12285"/>
                  <a:pt x="3862894" y="26263"/>
                  <a:pt x="3628268" y="27432"/>
                </a:cubicBezTo>
                <a:cubicBezTo>
                  <a:pt x="3418779" y="32610"/>
                  <a:pt x="3174456" y="83656"/>
                  <a:pt x="2991730" y="27432"/>
                </a:cubicBezTo>
                <a:cubicBezTo>
                  <a:pt x="2801278" y="6667"/>
                  <a:pt x="2497351" y="22891"/>
                  <a:pt x="2227884" y="27432"/>
                </a:cubicBezTo>
                <a:cubicBezTo>
                  <a:pt x="1986101" y="16297"/>
                  <a:pt x="1767219" y="-7535"/>
                  <a:pt x="1591346" y="27432"/>
                </a:cubicBezTo>
                <a:cubicBezTo>
                  <a:pt x="1447183" y="73731"/>
                  <a:pt x="1315973" y="39477"/>
                  <a:pt x="1145769" y="27432"/>
                </a:cubicBezTo>
                <a:cubicBezTo>
                  <a:pt x="990245" y="8882"/>
                  <a:pt x="810845" y="16910"/>
                  <a:pt x="636538" y="27432"/>
                </a:cubicBezTo>
                <a:cubicBezTo>
                  <a:pt x="482916" y="17795"/>
                  <a:pt x="183027" y="-17710"/>
                  <a:pt x="0" y="27432"/>
                </a:cubicBezTo>
                <a:cubicBezTo>
                  <a:pt x="491" y="19542"/>
                  <a:pt x="-1038" y="8534"/>
                  <a:pt x="0" y="0"/>
                </a:cubicBezTo>
                <a:close/>
              </a:path>
              <a:path w="6365383" h="27432" fill="none" stroke="0" extrusionOk="0">
                <a:moveTo>
                  <a:pt x="0" y="0"/>
                </a:moveTo>
                <a:cubicBezTo>
                  <a:pt x="296223" y="15991"/>
                  <a:pt x="333462" y="-23795"/>
                  <a:pt x="636538" y="0"/>
                </a:cubicBezTo>
                <a:cubicBezTo>
                  <a:pt x="970197" y="30961"/>
                  <a:pt x="1039864" y="3183"/>
                  <a:pt x="1273077" y="0"/>
                </a:cubicBezTo>
                <a:cubicBezTo>
                  <a:pt x="1449809" y="24819"/>
                  <a:pt x="1735152" y="23060"/>
                  <a:pt x="1909615" y="0"/>
                </a:cubicBezTo>
                <a:cubicBezTo>
                  <a:pt x="2016351" y="-41665"/>
                  <a:pt x="2415001" y="34773"/>
                  <a:pt x="2673461" y="0"/>
                </a:cubicBezTo>
                <a:cubicBezTo>
                  <a:pt x="2996983" y="-13411"/>
                  <a:pt x="3130707" y="3741"/>
                  <a:pt x="3373653" y="0"/>
                </a:cubicBezTo>
                <a:cubicBezTo>
                  <a:pt x="3601951" y="-16140"/>
                  <a:pt x="3689909" y="23222"/>
                  <a:pt x="3819230" y="0"/>
                </a:cubicBezTo>
                <a:cubicBezTo>
                  <a:pt x="3931872" y="-29406"/>
                  <a:pt x="4119438" y="24094"/>
                  <a:pt x="4392114" y="0"/>
                </a:cubicBezTo>
                <a:cubicBezTo>
                  <a:pt x="4665359" y="21557"/>
                  <a:pt x="4978709" y="13267"/>
                  <a:pt x="5155960" y="0"/>
                </a:cubicBezTo>
                <a:cubicBezTo>
                  <a:pt x="5299518" y="-18386"/>
                  <a:pt x="5605020" y="-6762"/>
                  <a:pt x="5792499" y="0"/>
                </a:cubicBezTo>
                <a:cubicBezTo>
                  <a:pt x="6013281" y="43398"/>
                  <a:pt x="6167567" y="36727"/>
                  <a:pt x="6365383" y="0"/>
                </a:cubicBezTo>
                <a:cubicBezTo>
                  <a:pt x="6365697" y="8368"/>
                  <a:pt x="6365332" y="21050"/>
                  <a:pt x="6365383" y="27432"/>
                </a:cubicBezTo>
                <a:cubicBezTo>
                  <a:pt x="6154893" y="8454"/>
                  <a:pt x="6014206" y="-8372"/>
                  <a:pt x="5856152" y="27432"/>
                </a:cubicBezTo>
                <a:cubicBezTo>
                  <a:pt x="5659455" y="59503"/>
                  <a:pt x="5350806" y="-35991"/>
                  <a:pt x="5092306" y="27432"/>
                </a:cubicBezTo>
                <a:cubicBezTo>
                  <a:pt x="4756309" y="48260"/>
                  <a:pt x="4699746" y="-4780"/>
                  <a:pt x="4583076" y="27432"/>
                </a:cubicBezTo>
                <a:cubicBezTo>
                  <a:pt x="4462137" y="30142"/>
                  <a:pt x="4226168" y="50236"/>
                  <a:pt x="4137499" y="27432"/>
                </a:cubicBezTo>
                <a:cubicBezTo>
                  <a:pt x="4018570" y="42181"/>
                  <a:pt x="3887179" y="34623"/>
                  <a:pt x="3691922" y="27432"/>
                </a:cubicBezTo>
                <a:cubicBezTo>
                  <a:pt x="3499755" y="32935"/>
                  <a:pt x="3281056" y="-9158"/>
                  <a:pt x="2991730" y="27432"/>
                </a:cubicBezTo>
                <a:cubicBezTo>
                  <a:pt x="2716073" y="57462"/>
                  <a:pt x="2755481" y="34494"/>
                  <a:pt x="2546153" y="27432"/>
                </a:cubicBezTo>
                <a:cubicBezTo>
                  <a:pt x="2356479" y="62622"/>
                  <a:pt x="2079190" y="73729"/>
                  <a:pt x="1909615" y="27432"/>
                </a:cubicBezTo>
                <a:cubicBezTo>
                  <a:pt x="1715819" y="-26444"/>
                  <a:pt x="1631368" y="48131"/>
                  <a:pt x="1400384" y="27432"/>
                </a:cubicBezTo>
                <a:cubicBezTo>
                  <a:pt x="1177327" y="16190"/>
                  <a:pt x="1065236" y="24992"/>
                  <a:pt x="763846" y="27432"/>
                </a:cubicBezTo>
                <a:cubicBezTo>
                  <a:pt x="448643" y="60691"/>
                  <a:pt x="160833" y="2330"/>
                  <a:pt x="0" y="27432"/>
                </a:cubicBezTo>
                <a:cubicBezTo>
                  <a:pt x="1559" y="18666"/>
                  <a:pt x="-585" y="7580"/>
                  <a:pt x="0" y="0"/>
                </a:cubicBezTo>
                <a:close/>
              </a:path>
            </a:pathLst>
          </a:custGeom>
          <a:solidFill>
            <a:srgbClr val="FFFFFF"/>
          </a:solidFill>
          <a:ln w="41275" cap="rnd">
            <a:solidFill>
              <a:srgbClr val="FFFFFF"/>
            </a:solidFill>
            <a:round/>
            <a:extLst>
              <a:ext uri="{C807C97D-BFC1-408E-A445-0C87EB9F89A2}">
                <ask:lineSketchStyleProps xmlns:ask="http://schemas.microsoft.com/office/drawing/2018/sketchyshapes" sd="1219033472">
                  <a:custGeom>
                    <a:avLst/>
                    <a:gdLst>
                      <a:gd name="connsiteX0" fmla="*/ 0 w 6365383"/>
                      <a:gd name="connsiteY0" fmla="*/ 0 h 27432"/>
                      <a:gd name="connsiteX1" fmla="*/ 636538 w 6365383"/>
                      <a:gd name="connsiteY1" fmla="*/ 0 h 27432"/>
                      <a:gd name="connsiteX2" fmla="*/ 1273077 w 6365383"/>
                      <a:gd name="connsiteY2" fmla="*/ 0 h 27432"/>
                      <a:gd name="connsiteX3" fmla="*/ 1909615 w 6365383"/>
                      <a:gd name="connsiteY3" fmla="*/ 0 h 27432"/>
                      <a:gd name="connsiteX4" fmla="*/ 2673461 w 6365383"/>
                      <a:gd name="connsiteY4" fmla="*/ 0 h 27432"/>
                      <a:gd name="connsiteX5" fmla="*/ 3373653 w 6365383"/>
                      <a:gd name="connsiteY5" fmla="*/ 0 h 27432"/>
                      <a:gd name="connsiteX6" fmla="*/ 3819230 w 6365383"/>
                      <a:gd name="connsiteY6" fmla="*/ 0 h 27432"/>
                      <a:gd name="connsiteX7" fmla="*/ 4392114 w 6365383"/>
                      <a:gd name="connsiteY7" fmla="*/ 0 h 27432"/>
                      <a:gd name="connsiteX8" fmla="*/ 5155960 w 6365383"/>
                      <a:gd name="connsiteY8" fmla="*/ 0 h 27432"/>
                      <a:gd name="connsiteX9" fmla="*/ 5792499 w 6365383"/>
                      <a:gd name="connsiteY9" fmla="*/ 0 h 27432"/>
                      <a:gd name="connsiteX10" fmla="*/ 6365383 w 6365383"/>
                      <a:gd name="connsiteY10" fmla="*/ 0 h 27432"/>
                      <a:gd name="connsiteX11" fmla="*/ 6365383 w 6365383"/>
                      <a:gd name="connsiteY11" fmla="*/ 27432 h 27432"/>
                      <a:gd name="connsiteX12" fmla="*/ 5856152 w 6365383"/>
                      <a:gd name="connsiteY12" fmla="*/ 27432 h 27432"/>
                      <a:gd name="connsiteX13" fmla="*/ 5092306 w 6365383"/>
                      <a:gd name="connsiteY13" fmla="*/ 27432 h 27432"/>
                      <a:gd name="connsiteX14" fmla="*/ 4583076 w 6365383"/>
                      <a:gd name="connsiteY14" fmla="*/ 27432 h 27432"/>
                      <a:gd name="connsiteX15" fmla="*/ 4137499 w 6365383"/>
                      <a:gd name="connsiteY15" fmla="*/ 27432 h 27432"/>
                      <a:gd name="connsiteX16" fmla="*/ 3691922 w 6365383"/>
                      <a:gd name="connsiteY16" fmla="*/ 27432 h 27432"/>
                      <a:gd name="connsiteX17" fmla="*/ 2991730 w 6365383"/>
                      <a:gd name="connsiteY17" fmla="*/ 27432 h 27432"/>
                      <a:gd name="connsiteX18" fmla="*/ 2546153 w 6365383"/>
                      <a:gd name="connsiteY18" fmla="*/ 27432 h 27432"/>
                      <a:gd name="connsiteX19" fmla="*/ 1909615 w 6365383"/>
                      <a:gd name="connsiteY19" fmla="*/ 27432 h 27432"/>
                      <a:gd name="connsiteX20" fmla="*/ 1400384 w 6365383"/>
                      <a:gd name="connsiteY20" fmla="*/ 27432 h 27432"/>
                      <a:gd name="connsiteX21" fmla="*/ 763846 w 6365383"/>
                      <a:gd name="connsiteY21" fmla="*/ 27432 h 27432"/>
                      <a:gd name="connsiteX22" fmla="*/ 0 w 6365383"/>
                      <a:gd name="connsiteY22" fmla="*/ 27432 h 27432"/>
                      <a:gd name="connsiteX23" fmla="*/ 0 w 6365383"/>
                      <a:gd name="connsiteY23"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365383" h="27432" fill="none" extrusionOk="0">
                        <a:moveTo>
                          <a:pt x="0" y="0"/>
                        </a:moveTo>
                        <a:cubicBezTo>
                          <a:pt x="305169" y="21509"/>
                          <a:pt x="334704" y="-24261"/>
                          <a:pt x="636538" y="0"/>
                        </a:cubicBezTo>
                        <a:cubicBezTo>
                          <a:pt x="938372" y="24261"/>
                          <a:pt x="1068606" y="2269"/>
                          <a:pt x="1273077" y="0"/>
                        </a:cubicBezTo>
                        <a:cubicBezTo>
                          <a:pt x="1477548" y="-2269"/>
                          <a:pt x="1738189" y="6272"/>
                          <a:pt x="1909615" y="0"/>
                        </a:cubicBezTo>
                        <a:cubicBezTo>
                          <a:pt x="2081041" y="-6272"/>
                          <a:pt x="2377015" y="16623"/>
                          <a:pt x="2673461" y="0"/>
                        </a:cubicBezTo>
                        <a:cubicBezTo>
                          <a:pt x="2969907" y="-16623"/>
                          <a:pt x="3126114" y="13194"/>
                          <a:pt x="3373653" y="0"/>
                        </a:cubicBezTo>
                        <a:cubicBezTo>
                          <a:pt x="3621192" y="-13194"/>
                          <a:pt x="3704499" y="9486"/>
                          <a:pt x="3819230" y="0"/>
                        </a:cubicBezTo>
                        <a:cubicBezTo>
                          <a:pt x="3933961" y="-9486"/>
                          <a:pt x="4142691" y="-8221"/>
                          <a:pt x="4392114" y="0"/>
                        </a:cubicBezTo>
                        <a:cubicBezTo>
                          <a:pt x="4641537" y="8221"/>
                          <a:pt x="4974506" y="12257"/>
                          <a:pt x="5155960" y="0"/>
                        </a:cubicBezTo>
                        <a:cubicBezTo>
                          <a:pt x="5337414" y="-12257"/>
                          <a:pt x="5585731" y="-22537"/>
                          <a:pt x="5792499" y="0"/>
                        </a:cubicBezTo>
                        <a:cubicBezTo>
                          <a:pt x="5999267" y="22537"/>
                          <a:pt x="6164726" y="7303"/>
                          <a:pt x="6365383" y="0"/>
                        </a:cubicBezTo>
                        <a:cubicBezTo>
                          <a:pt x="6365125" y="7487"/>
                          <a:pt x="6364462" y="19984"/>
                          <a:pt x="6365383" y="27432"/>
                        </a:cubicBezTo>
                        <a:cubicBezTo>
                          <a:pt x="6132222" y="28304"/>
                          <a:pt x="6011986" y="2071"/>
                          <a:pt x="5856152" y="27432"/>
                        </a:cubicBezTo>
                        <a:cubicBezTo>
                          <a:pt x="5700318" y="52793"/>
                          <a:pt x="5410732" y="5357"/>
                          <a:pt x="5092306" y="27432"/>
                        </a:cubicBezTo>
                        <a:cubicBezTo>
                          <a:pt x="4773880" y="49507"/>
                          <a:pt x="4705351" y="6645"/>
                          <a:pt x="4583076" y="27432"/>
                        </a:cubicBezTo>
                        <a:cubicBezTo>
                          <a:pt x="4460801" y="48220"/>
                          <a:pt x="4239915" y="42209"/>
                          <a:pt x="4137499" y="27432"/>
                        </a:cubicBezTo>
                        <a:cubicBezTo>
                          <a:pt x="4035083" y="12655"/>
                          <a:pt x="3883665" y="32012"/>
                          <a:pt x="3691922" y="27432"/>
                        </a:cubicBezTo>
                        <a:cubicBezTo>
                          <a:pt x="3500179" y="22852"/>
                          <a:pt x="3265830" y="-126"/>
                          <a:pt x="2991730" y="27432"/>
                        </a:cubicBezTo>
                        <a:cubicBezTo>
                          <a:pt x="2717630" y="54990"/>
                          <a:pt x="2757122" y="34407"/>
                          <a:pt x="2546153" y="27432"/>
                        </a:cubicBezTo>
                        <a:cubicBezTo>
                          <a:pt x="2335184" y="20457"/>
                          <a:pt x="2107331" y="58889"/>
                          <a:pt x="1909615" y="27432"/>
                        </a:cubicBezTo>
                        <a:cubicBezTo>
                          <a:pt x="1711899" y="-4025"/>
                          <a:pt x="1634641" y="48316"/>
                          <a:pt x="1400384" y="27432"/>
                        </a:cubicBezTo>
                        <a:cubicBezTo>
                          <a:pt x="1166127" y="6548"/>
                          <a:pt x="1068288" y="15776"/>
                          <a:pt x="763846" y="27432"/>
                        </a:cubicBezTo>
                        <a:cubicBezTo>
                          <a:pt x="459404" y="39088"/>
                          <a:pt x="170017" y="14515"/>
                          <a:pt x="0" y="27432"/>
                        </a:cubicBezTo>
                        <a:cubicBezTo>
                          <a:pt x="-14" y="18173"/>
                          <a:pt x="-517" y="8990"/>
                          <a:pt x="0" y="0"/>
                        </a:cubicBezTo>
                        <a:close/>
                      </a:path>
                      <a:path w="6365383" h="27432" stroke="0" extrusionOk="0">
                        <a:moveTo>
                          <a:pt x="0" y="0"/>
                        </a:moveTo>
                        <a:cubicBezTo>
                          <a:pt x="114610" y="-2215"/>
                          <a:pt x="340315" y="12554"/>
                          <a:pt x="572884" y="0"/>
                        </a:cubicBezTo>
                        <a:cubicBezTo>
                          <a:pt x="805453" y="-12554"/>
                          <a:pt x="832891" y="-10424"/>
                          <a:pt x="1018461" y="0"/>
                        </a:cubicBezTo>
                        <a:cubicBezTo>
                          <a:pt x="1204031" y="10424"/>
                          <a:pt x="1590875" y="8682"/>
                          <a:pt x="1782307" y="0"/>
                        </a:cubicBezTo>
                        <a:cubicBezTo>
                          <a:pt x="1973739" y="-8682"/>
                          <a:pt x="2150876" y="5508"/>
                          <a:pt x="2355192" y="0"/>
                        </a:cubicBezTo>
                        <a:cubicBezTo>
                          <a:pt x="2559508" y="-5508"/>
                          <a:pt x="2790194" y="26965"/>
                          <a:pt x="2928076" y="0"/>
                        </a:cubicBezTo>
                        <a:cubicBezTo>
                          <a:pt x="3065958" y="-26965"/>
                          <a:pt x="3321537" y="819"/>
                          <a:pt x="3691922" y="0"/>
                        </a:cubicBezTo>
                        <a:cubicBezTo>
                          <a:pt x="4062307" y="-819"/>
                          <a:pt x="4072238" y="-15327"/>
                          <a:pt x="4201153" y="0"/>
                        </a:cubicBezTo>
                        <a:cubicBezTo>
                          <a:pt x="4330068" y="15327"/>
                          <a:pt x="4772079" y="-35646"/>
                          <a:pt x="4964999" y="0"/>
                        </a:cubicBezTo>
                        <a:cubicBezTo>
                          <a:pt x="5157919" y="35646"/>
                          <a:pt x="5543915" y="6802"/>
                          <a:pt x="5728845" y="0"/>
                        </a:cubicBezTo>
                        <a:cubicBezTo>
                          <a:pt x="5913775" y="-6802"/>
                          <a:pt x="6142952" y="-21408"/>
                          <a:pt x="6365383" y="0"/>
                        </a:cubicBezTo>
                        <a:cubicBezTo>
                          <a:pt x="6364552" y="6329"/>
                          <a:pt x="6365787" y="16858"/>
                          <a:pt x="6365383" y="27432"/>
                        </a:cubicBezTo>
                        <a:cubicBezTo>
                          <a:pt x="6176931" y="320"/>
                          <a:pt x="5998736" y="11244"/>
                          <a:pt x="5665191" y="27432"/>
                        </a:cubicBezTo>
                        <a:cubicBezTo>
                          <a:pt x="5331646" y="43620"/>
                          <a:pt x="5198011" y="28615"/>
                          <a:pt x="4901345" y="27432"/>
                        </a:cubicBezTo>
                        <a:cubicBezTo>
                          <a:pt x="4604679" y="26249"/>
                          <a:pt x="4422931" y="40617"/>
                          <a:pt x="4137499" y="27432"/>
                        </a:cubicBezTo>
                        <a:cubicBezTo>
                          <a:pt x="3852067" y="14247"/>
                          <a:pt x="3861939" y="26581"/>
                          <a:pt x="3628268" y="27432"/>
                        </a:cubicBezTo>
                        <a:cubicBezTo>
                          <a:pt x="3394597" y="28283"/>
                          <a:pt x="3171361" y="44132"/>
                          <a:pt x="2991730" y="27432"/>
                        </a:cubicBezTo>
                        <a:cubicBezTo>
                          <a:pt x="2812099" y="10732"/>
                          <a:pt x="2469344" y="24737"/>
                          <a:pt x="2227884" y="27432"/>
                        </a:cubicBezTo>
                        <a:cubicBezTo>
                          <a:pt x="1986424" y="30127"/>
                          <a:pt x="1748067" y="6359"/>
                          <a:pt x="1591346" y="27432"/>
                        </a:cubicBezTo>
                        <a:cubicBezTo>
                          <a:pt x="1434625" y="48505"/>
                          <a:pt x="1307456" y="39663"/>
                          <a:pt x="1145769" y="27432"/>
                        </a:cubicBezTo>
                        <a:cubicBezTo>
                          <a:pt x="984082" y="15201"/>
                          <a:pt x="800279" y="41647"/>
                          <a:pt x="636538" y="27432"/>
                        </a:cubicBezTo>
                        <a:cubicBezTo>
                          <a:pt x="472797" y="13217"/>
                          <a:pt x="160022" y="2213"/>
                          <a:pt x="0" y="27432"/>
                        </a:cubicBezTo>
                        <a:cubicBezTo>
                          <a:pt x="-177" y="19307"/>
                          <a:pt x="-1145" y="9170"/>
                          <a:pt x="0" y="0"/>
                        </a:cubicBezTo>
                        <a:close/>
                      </a:path>
                    </a:pathLst>
                  </a:cu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080811318"/>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6"/>
            <a:ext cx="13958844" cy="666567"/>
            <a:chOff x="4329156" y="9649198"/>
            <a:chExt cx="13958844" cy="666567"/>
          </a:xfrm>
        </p:grpSpPr>
        <p:pic>
          <p:nvPicPr>
            <p:cNvPr id="18" name="Picture 12" descr="Background pattern&#10;&#10;Description automatically generated">
              <a:extLst>
                <a:ext uri="{FF2B5EF4-FFF2-40B4-BE49-F238E27FC236}">
                  <a16:creationId xmlns:a16="http://schemas.microsoft.com/office/drawing/2014/main" id="{656E1DC6-816C-4843-B17E-566C3C339AB5}"/>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marL="0" marR="0" lvl="0" indent="0" algn="ctr" defTabSz="914400" rtl="0" eaLnBrk="1" fontAlgn="auto" latinLnBrk="0" hangingPunct="1">
                <a:lnSpc>
                  <a:spcPts val="3919"/>
                </a:lnSpc>
                <a:spcBef>
                  <a:spcPct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OCR A Extended" panose="02010509020102010303" pitchFamily="50" charset="0"/>
                  <a:ea typeface="+mn-ea"/>
                  <a:cs typeface="+mn-cs"/>
                </a:rPr>
                <a:t>www.retrofeed.eu</a:t>
              </a:r>
            </a:p>
          </p:txBody>
        </p:sp>
      </p:grpSp>
      <p:pic>
        <p:nvPicPr>
          <p:cNvPr id="20" name="Picture 12" descr="Logo&#10;&#10;Description automatically generated">
            <a:extLst>
              <a:ext uri="{FF2B5EF4-FFF2-40B4-BE49-F238E27FC236}">
                <a16:creationId xmlns:a16="http://schemas.microsoft.com/office/drawing/2014/main" id="{FF4E0145-0EE4-4FAB-85AC-C3A9A6BF4D25}"/>
              </a:ext>
            </a:extLst>
          </p:cNvPr>
          <p:cNvPicPr>
            <a:picLocks noChangeAspect="1"/>
          </p:cNvPicPr>
          <p:nvPr/>
        </p:nvPicPr>
        <p:blipFill>
          <a:blip r:embed="rId4"/>
          <a:srcRect/>
          <a:stretch>
            <a:fillRect/>
          </a:stretch>
        </p:blipFill>
        <p:spPr>
          <a:xfrm>
            <a:off x="0" y="9499590"/>
            <a:ext cx="3247053" cy="787410"/>
          </a:xfrm>
          <a:prstGeom prst="rect">
            <a:avLst/>
          </a:prstGeom>
        </p:spPr>
      </p:pic>
      <p:grpSp>
        <p:nvGrpSpPr>
          <p:cNvPr id="3" name="Gruppo 2">
            <a:extLst>
              <a:ext uri="{FF2B5EF4-FFF2-40B4-BE49-F238E27FC236}">
                <a16:creationId xmlns:a16="http://schemas.microsoft.com/office/drawing/2014/main" id="{D0B44AFC-EABA-48CF-A7A8-348076F88921}"/>
              </a:ext>
            </a:extLst>
          </p:cNvPr>
          <p:cNvGrpSpPr/>
          <p:nvPr/>
        </p:nvGrpSpPr>
        <p:grpSpPr>
          <a:xfrm>
            <a:off x="-12" y="138554"/>
            <a:ext cx="18288002" cy="681138"/>
            <a:chOff x="-12" y="138554"/>
            <a:chExt cx="18288002" cy="681138"/>
          </a:xfrm>
        </p:grpSpPr>
        <p:grpSp>
          <p:nvGrpSpPr>
            <p:cNvPr id="16" name="Gruppo 15">
              <a:extLst>
                <a:ext uri="{FF2B5EF4-FFF2-40B4-BE49-F238E27FC236}">
                  <a16:creationId xmlns:a16="http://schemas.microsoft.com/office/drawing/2014/main" id="{DAC42A46-917D-41AB-8F07-E15E54D0F7D4}"/>
                </a:ext>
              </a:extLst>
            </p:cNvPr>
            <p:cNvGrpSpPr/>
            <p:nvPr/>
          </p:nvGrpSpPr>
          <p:grpSpPr>
            <a:xfrm>
              <a:off x="0" y="153125"/>
              <a:ext cx="13958844" cy="666567"/>
              <a:chOff x="0" y="153125"/>
              <a:chExt cx="13958844" cy="666567"/>
            </a:xfrm>
          </p:grpSpPr>
          <p:pic>
            <p:nvPicPr>
              <p:cNvPr id="10" name="Picture 10" descr="Background pattern&#10;&#10;Description automatically generated"/>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1" name="TextBox 11"/>
              <p:cNvSpPr txBox="1"/>
              <p:nvPr/>
            </p:nvSpPr>
            <p:spPr>
              <a:xfrm>
                <a:off x="228600" y="257980"/>
                <a:ext cx="5752704" cy="456856"/>
              </a:xfrm>
              <a:prstGeom prst="rect">
                <a:avLst/>
              </a:prstGeom>
            </p:spPr>
            <p:txBody>
              <a:bodyPr wrap="square" lIns="0" tIns="0" rIns="0" bIns="0" rtlCol="0" anchor="t">
                <a:spAutoFit/>
              </a:bodyPr>
              <a:lstStyle/>
              <a:p>
                <a:pPr marL="0" marR="0" lvl="0" indent="0" algn="l" defTabSz="914400" rtl="0" eaLnBrk="1" fontAlgn="auto" latinLnBrk="0" hangingPunct="1">
                  <a:lnSpc>
                    <a:spcPts val="3919"/>
                  </a:lnSpc>
                  <a:spcBef>
                    <a:spcPct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5" name="Rettangolo 14">
              <a:extLst>
                <a:ext uri="{FF2B5EF4-FFF2-40B4-BE49-F238E27FC236}">
                  <a16:creationId xmlns:a16="http://schemas.microsoft.com/office/drawing/2014/main" id="{AFFDA913-633F-49C2-9D71-573FB327981F}"/>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27" name="TextBox 13">
            <a:extLst>
              <a:ext uri="{FF2B5EF4-FFF2-40B4-BE49-F238E27FC236}">
                <a16:creationId xmlns:a16="http://schemas.microsoft.com/office/drawing/2014/main" id="{C7197FAA-9C82-4C25-B208-2BF8170DA3D1}"/>
              </a:ext>
            </a:extLst>
          </p:cNvPr>
          <p:cNvSpPr txBox="1"/>
          <p:nvPr/>
        </p:nvSpPr>
        <p:spPr>
          <a:xfrm>
            <a:off x="0" y="902785"/>
            <a:ext cx="18288000" cy="1052468"/>
          </a:xfrm>
          <a:prstGeom prst="rect">
            <a:avLst/>
          </a:prstGeom>
        </p:spPr>
        <p:txBody>
          <a:bodyPr wrap="square" lIns="0" tIns="0" rIns="0" bIns="0" rtlCol="0" anchor="t">
            <a:spAutoFit/>
          </a:bodyPr>
          <a:lstStyle/>
          <a:p>
            <a:pPr marL="0" marR="0" lvl="0" indent="0" algn="ctr" defTabSz="914400" rtl="0" eaLnBrk="1" fontAlgn="auto" latinLnBrk="0" hangingPunct="1">
              <a:lnSpc>
                <a:spcPts val="8960"/>
              </a:lnSpc>
              <a:spcBef>
                <a:spcPct val="0"/>
              </a:spcBef>
              <a:spcAft>
                <a:spcPts val="0"/>
              </a:spcAft>
              <a:buClrTx/>
              <a:buSzTx/>
              <a:buFontTx/>
              <a:buNone/>
              <a:tabLst/>
              <a:defRPr/>
            </a:pPr>
            <a:r>
              <a:rPr kumimoji="0" lang="en-US" sz="6000" b="1" i="0" u="none" strike="noStrike" kern="1200" cap="none" spc="0" normalizeH="0" baseline="0" noProof="0">
                <a:ln>
                  <a:noFill/>
                </a:ln>
                <a:solidFill>
                  <a:srgbClr val="CC0033"/>
                </a:solidFill>
                <a:effectLst/>
                <a:uLnTx/>
                <a:uFillTx/>
                <a:latin typeface="Arial"/>
                <a:ea typeface="+mn-ea"/>
                <a:cs typeface="Arial" panose="020B0604020202020204" pitchFamily="34" charset="0"/>
              </a:rPr>
              <a:t>MODELLING SPECIFICATIONS </a:t>
            </a:r>
          </a:p>
        </p:txBody>
      </p:sp>
      <p:sp>
        <p:nvSpPr>
          <p:cNvPr id="7" name="TextBox 6">
            <a:extLst>
              <a:ext uri="{FF2B5EF4-FFF2-40B4-BE49-F238E27FC236}">
                <a16:creationId xmlns:a16="http://schemas.microsoft.com/office/drawing/2014/main" id="{C8A16648-46C8-ACA2-DAD6-DE49270006B6}"/>
              </a:ext>
            </a:extLst>
          </p:cNvPr>
          <p:cNvSpPr txBox="1"/>
          <p:nvPr/>
        </p:nvSpPr>
        <p:spPr>
          <a:xfrm>
            <a:off x="1286348" y="5133078"/>
            <a:ext cx="17001642" cy="3539430"/>
          </a:xfrm>
          <a:prstGeom prst="rect">
            <a:avLst/>
          </a:prstGeom>
          <a:noFill/>
        </p:spPr>
        <p:txBody>
          <a:bodyPr wrap="square">
            <a:spAutoFit/>
          </a:bodyPr>
          <a:lstStyle/>
          <a:p>
            <a:r>
              <a:rPr lang="en-US" sz="3200">
                <a:effectLst/>
                <a:latin typeface="Arial MT"/>
                <a:ea typeface="Arial MT"/>
                <a:cs typeface="Arial MT"/>
              </a:rPr>
              <a:t>A simulation model is intended as a </a:t>
            </a:r>
            <a:r>
              <a:rPr lang="en-US" sz="3200" b="1">
                <a:effectLst/>
                <a:latin typeface="Arial MT"/>
                <a:ea typeface="Arial MT"/>
                <a:cs typeface="Arial MT"/>
              </a:rPr>
              <a:t>digital representation </a:t>
            </a:r>
            <a:r>
              <a:rPr lang="en-US" sz="3200">
                <a:effectLst/>
                <a:latin typeface="Arial MT"/>
                <a:ea typeface="Arial MT"/>
                <a:cs typeface="Arial MT"/>
              </a:rPr>
              <a:t>of a real system by means</a:t>
            </a:r>
            <a:r>
              <a:rPr lang="en-US" sz="3200" spc="-295">
                <a:effectLst/>
                <a:latin typeface="Arial MT"/>
                <a:ea typeface="Arial MT"/>
                <a:cs typeface="Arial MT"/>
              </a:rPr>
              <a:t> </a:t>
            </a:r>
            <a:r>
              <a:rPr lang="en-US" sz="3200">
                <a:effectLst/>
                <a:latin typeface="Arial MT"/>
                <a:ea typeface="Arial MT"/>
                <a:cs typeface="Arial MT"/>
              </a:rPr>
              <a:t>of</a:t>
            </a:r>
            <a:r>
              <a:rPr lang="en-US" sz="3200" spc="5">
                <a:effectLst/>
                <a:latin typeface="Arial MT"/>
                <a:ea typeface="Arial MT"/>
                <a:cs typeface="Arial MT"/>
              </a:rPr>
              <a:t> </a:t>
            </a:r>
            <a:r>
              <a:rPr lang="en-US" sz="3200">
                <a:effectLst/>
                <a:latin typeface="Arial MT"/>
                <a:ea typeface="Arial MT"/>
                <a:cs typeface="Arial MT"/>
              </a:rPr>
              <a:t>appropriate</a:t>
            </a:r>
            <a:r>
              <a:rPr lang="en-US" sz="3200" spc="5">
                <a:effectLst/>
                <a:latin typeface="Arial MT"/>
                <a:ea typeface="Arial MT"/>
                <a:cs typeface="Arial MT"/>
              </a:rPr>
              <a:t> </a:t>
            </a:r>
            <a:r>
              <a:rPr lang="en-US" sz="3200">
                <a:effectLst/>
                <a:latin typeface="Arial MT"/>
                <a:ea typeface="Arial MT"/>
                <a:cs typeface="Arial MT"/>
              </a:rPr>
              <a:t>algorithms</a:t>
            </a:r>
            <a:r>
              <a:rPr lang="en-US" sz="3200" spc="5">
                <a:effectLst/>
                <a:latin typeface="Arial MT"/>
                <a:ea typeface="Arial MT"/>
                <a:cs typeface="Arial MT"/>
              </a:rPr>
              <a:t> </a:t>
            </a:r>
            <a:r>
              <a:rPr lang="en-US" sz="3200">
                <a:effectLst/>
                <a:latin typeface="Arial MT"/>
                <a:ea typeface="Arial MT"/>
                <a:cs typeface="Arial MT"/>
              </a:rPr>
              <a:t>or</a:t>
            </a:r>
            <a:r>
              <a:rPr lang="en-US" sz="3200" spc="5">
                <a:effectLst/>
                <a:latin typeface="Arial MT"/>
                <a:ea typeface="Arial MT"/>
                <a:cs typeface="Arial MT"/>
              </a:rPr>
              <a:t> </a:t>
            </a:r>
            <a:r>
              <a:rPr lang="en-US" sz="3200">
                <a:effectLst/>
                <a:latin typeface="Arial MT"/>
                <a:ea typeface="Arial MT"/>
                <a:cs typeface="Arial MT"/>
              </a:rPr>
              <a:t>equations</a:t>
            </a:r>
            <a:r>
              <a:rPr lang="en-US" sz="3200" spc="5">
                <a:effectLst/>
                <a:latin typeface="Arial MT"/>
                <a:ea typeface="Arial MT"/>
                <a:cs typeface="Arial MT"/>
              </a:rPr>
              <a:t> </a:t>
            </a:r>
            <a:r>
              <a:rPr lang="en-US" sz="3200">
                <a:effectLst/>
                <a:latin typeface="Arial MT"/>
                <a:ea typeface="Arial MT"/>
                <a:cs typeface="Arial MT"/>
              </a:rPr>
              <a:t>aimed</a:t>
            </a:r>
            <a:r>
              <a:rPr lang="en-US" sz="3200" spc="5">
                <a:effectLst/>
                <a:latin typeface="Arial MT"/>
                <a:ea typeface="Arial MT"/>
                <a:cs typeface="Arial MT"/>
              </a:rPr>
              <a:t> </a:t>
            </a:r>
            <a:r>
              <a:rPr lang="en-US" sz="3200">
                <a:effectLst/>
                <a:latin typeface="Arial MT"/>
                <a:ea typeface="Arial MT"/>
                <a:cs typeface="Arial MT"/>
              </a:rPr>
              <a:t>at</a:t>
            </a:r>
            <a:r>
              <a:rPr lang="en-US" sz="3200" spc="5">
                <a:effectLst/>
                <a:latin typeface="Arial MT"/>
                <a:ea typeface="Arial MT"/>
                <a:cs typeface="Arial MT"/>
              </a:rPr>
              <a:t> </a:t>
            </a:r>
            <a:r>
              <a:rPr lang="en-US" sz="3200">
                <a:effectLst/>
                <a:latin typeface="Arial MT"/>
                <a:ea typeface="Arial MT"/>
                <a:cs typeface="Arial MT"/>
              </a:rPr>
              <a:t>characterizing</a:t>
            </a:r>
            <a:r>
              <a:rPr lang="en-US" sz="3200" spc="5">
                <a:effectLst/>
                <a:latin typeface="Arial MT"/>
                <a:ea typeface="Arial MT"/>
                <a:cs typeface="Arial MT"/>
              </a:rPr>
              <a:t> </a:t>
            </a:r>
            <a:r>
              <a:rPr lang="en-US" sz="3200">
                <a:effectLst/>
                <a:latin typeface="Arial MT"/>
                <a:ea typeface="Arial MT"/>
                <a:cs typeface="Arial MT"/>
              </a:rPr>
              <a:t>some</a:t>
            </a:r>
            <a:r>
              <a:rPr lang="en-US" sz="3200" spc="5">
                <a:effectLst/>
                <a:latin typeface="Arial MT"/>
                <a:ea typeface="Arial MT"/>
                <a:cs typeface="Arial MT"/>
              </a:rPr>
              <a:t> </a:t>
            </a:r>
            <a:r>
              <a:rPr lang="en-US" sz="3200">
                <a:effectLst/>
                <a:latin typeface="Arial MT"/>
                <a:ea typeface="Arial MT"/>
                <a:cs typeface="Arial MT"/>
              </a:rPr>
              <a:t>specific</a:t>
            </a:r>
            <a:r>
              <a:rPr lang="en-US" sz="3200" spc="5">
                <a:effectLst/>
                <a:latin typeface="Arial MT"/>
                <a:ea typeface="Arial MT"/>
                <a:cs typeface="Arial MT"/>
              </a:rPr>
              <a:t> </a:t>
            </a:r>
            <a:r>
              <a:rPr lang="en-US" sz="3200">
                <a:effectLst/>
                <a:latin typeface="Arial MT"/>
                <a:ea typeface="Arial MT"/>
                <a:cs typeface="Arial MT"/>
              </a:rPr>
              <a:t>features</a:t>
            </a:r>
            <a:r>
              <a:rPr lang="en-US" sz="3200" spc="5">
                <a:effectLst/>
                <a:latin typeface="Arial MT"/>
                <a:ea typeface="Arial MT"/>
                <a:cs typeface="Arial MT"/>
              </a:rPr>
              <a:t> </a:t>
            </a:r>
            <a:r>
              <a:rPr lang="en-US" sz="3200">
                <a:effectLst/>
                <a:latin typeface="Arial MT"/>
                <a:ea typeface="Arial MT"/>
                <a:cs typeface="Arial MT"/>
              </a:rPr>
              <a:t>of</a:t>
            </a:r>
            <a:r>
              <a:rPr lang="en-US" sz="3200" spc="5">
                <a:effectLst/>
                <a:latin typeface="Arial MT"/>
                <a:ea typeface="Arial MT"/>
                <a:cs typeface="Arial MT"/>
              </a:rPr>
              <a:t> </a:t>
            </a:r>
            <a:r>
              <a:rPr lang="en-US" sz="3200">
                <a:effectLst/>
                <a:latin typeface="Arial MT"/>
                <a:ea typeface="Arial MT"/>
                <a:cs typeface="Arial MT"/>
              </a:rPr>
              <a:t>its</a:t>
            </a:r>
            <a:r>
              <a:rPr lang="en-US" sz="3200" spc="5">
                <a:effectLst/>
                <a:latin typeface="Arial MT"/>
                <a:ea typeface="Arial MT"/>
                <a:cs typeface="Arial MT"/>
              </a:rPr>
              <a:t> </a:t>
            </a:r>
            <a:r>
              <a:rPr lang="en-US" sz="3200">
                <a:effectLst/>
                <a:latin typeface="Arial MT"/>
                <a:ea typeface="Arial MT"/>
                <a:cs typeface="Arial MT"/>
              </a:rPr>
              <a:t>functioning.</a:t>
            </a:r>
            <a:r>
              <a:rPr lang="en-US" sz="3200" spc="-20">
                <a:effectLst/>
                <a:latin typeface="Arial MT"/>
                <a:ea typeface="Arial MT"/>
                <a:cs typeface="Arial MT"/>
              </a:rPr>
              <a:t> </a:t>
            </a:r>
            <a:r>
              <a:rPr lang="en-US" sz="3200">
                <a:effectLst/>
                <a:latin typeface="Arial MT"/>
                <a:ea typeface="Arial MT"/>
                <a:cs typeface="Arial MT"/>
              </a:rPr>
              <a:t>Specifically,</a:t>
            </a:r>
            <a:r>
              <a:rPr lang="en-US" sz="3200" spc="-25">
                <a:effectLst/>
                <a:latin typeface="Arial MT"/>
                <a:ea typeface="Arial MT"/>
                <a:cs typeface="Arial MT"/>
              </a:rPr>
              <a:t> </a:t>
            </a:r>
            <a:r>
              <a:rPr lang="en-US" sz="3200">
                <a:effectLst/>
                <a:latin typeface="Arial MT"/>
                <a:ea typeface="Arial MT"/>
                <a:cs typeface="Arial MT"/>
              </a:rPr>
              <a:t>a</a:t>
            </a:r>
            <a:r>
              <a:rPr lang="en-US" sz="3200" spc="-40">
                <a:effectLst/>
                <a:latin typeface="Arial MT"/>
                <a:ea typeface="Arial MT"/>
                <a:cs typeface="Arial MT"/>
              </a:rPr>
              <a:t> </a:t>
            </a:r>
            <a:r>
              <a:rPr lang="en-US" sz="3200">
                <a:effectLst/>
                <a:latin typeface="Arial MT"/>
                <a:ea typeface="Arial MT"/>
                <a:cs typeface="Arial MT"/>
              </a:rPr>
              <a:t>model</a:t>
            </a:r>
            <a:r>
              <a:rPr lang="en-US" sz="3200" spc="-30">
                <a:effectLst/>
                <a:latin typeface="Arial MT"/>
                <a:ea typeface="Arial MT"/>
                <a:cs typeface="Arial MT"/>
              </a:rPr>
              <a:t> </a:t>
            </a:r>
            <a:r>
              <a:rPr lang="en-US" sz="3200">
                <a:effectLst/>
                <a:latin typeface="Arial MT"/>
                <a:ea typeface="Arial MT"/>
                <a:cs typeface="Arial MT"/>
              </a:rPr>
              <a:t>is</a:t>
            </a:r>
            <a:r>
              <a:rPr lang="en-US" sz="3200" spc="-55">
                <a:effectLst/>
                <a:latin typeface="Arial MT"/>
                <a:ea typeface="Arial MT"/>
                <a:cs typeface="Arial MT"/>
              </a:rPr>
              <a:t> </a:t>
            </a:r>
            <a:r>
              <a:rPr lang="en-US" sz="3200">
                <a:effectLst/>
                <a:latin typeface="Arial MT"/>
                <a:ea typeface="Arial MT"/>
                <a:cs typeface="Arial MT"/>
              </a:rPr>
              <a:t>meant</a:t>
            </a:r>
            <a:r>
              <a:rPr lang="en-US" sz="3200" spc="-20">
                <a:effectLst/>
                <a:latin typeface="Arial MT"/>
                <a:ea typeface="Arial MT"/>
                <a:cs typeface="Arial MT"/>
              </a:rPr>
              <a:t> </a:t>
            </a:r>
            <a:r>
              <a:rPr lang="en-US" sz="3200">
                <a:effectLst/>
                <a:latin typeface="Arial MT"/>
                <a:ea typeface="Arial MT"/>
                <a:cs typeface="Arial MT"/>
              </a:rPr>
              <a:t>to</a:t>
            </a:r>
            <a:r>
              <a:rPr lang="en-US" sz="3200" spc="-45">
                <a:effectLst/>
                <a:latin typeface="Arial MT"/>
                <a:ea typeface="Arial MT"/>
                <a:cs typeface="Arial MT"/>
              </a:rPr>
              <a:t> </a:t>
            </a:r>
            <a:r>
              <a:rPr lang="en-US" sz="3200">
                <a:effectLst/>
                <a:latin typeface="Arial MT"/>
                <a:ea typeface="Arial MT"/>
                <a:cs typeface="Arial MT"/>
              </a:rPr>
              <a:t>establish</a:t>
            </a:r>
            <a:r>
              <a:rPr lang="en-US" sz="3200" spc="-15">
                <a:effectLst/>
                <a:latin typeface="Arial MT"/>
                <a:ea typeface="Arial MT"/>
                <a:cs typeface="Arial MT"/>
              </a:rPr>
              <a:t> </a:t>
            </a:r>
            <a:r>
              <a:rPr lang="en-US" sz="3200">
                <a:effectLst/>
                <a:latin typeface="Arial MT"/>
                <a:ea typeface="Arial MT"/>
                <a:cs typeface="Arial MT"/>
              </a:rPr>
              <a:t>a</a:t>
            </a:r>
            <a:r>
              <a:rPr lang="en-US" sz="3200" spc="-40">
                <a:effectLst/>
                <a:latin typeface="Arial MT"/>
                <a:ea typeface="Arial MT"/>
                <a:cs typeface="Arial MT"/>
              </a:rPr>
              <a:t> </a:t>
            </a:r>
            <a:r>
              <a:rPr lang="en-US" sz="3200" b="1">
                <a:effectLst/>
                <a:latin typeface="Arial MT"/>
                <a:ea typeface="Arial MT"/>
                <a:cs typeface="Arial MT"/>
              </a:rPr>
              <a:t>meaningful</a:t>
            </a:r>
            <a:r>
              <a:rPr lang="en-US" sz="3200" b="1" spc="-35">
                <a:effectLst/>
                <a:latin typeface="Arial MT"/>
                <a:ea typeface="Arial MT"/>
                <a:cs typeface="Arial MT"/>
              </a:rPr>
              <a:t> </a:t>
            </a:r>
            <a:r>
              <a:rPr lang="en-US" sz="3200" b="1">
                <a:effectLst/>
                <a:latin typeface="Arial MT"/>
                <a:ea typeface="Arial MT"/>
                <a:cs typeface="Arial MT"/>
              </a:rPr>
              <a:t>relation</a:t>
            </a:r>
            <a:r>
              <a:rPr lang="en-US" sz="3200" b="1" spc="-40">
                <a:effectLst/>
                <a:latin typeface="Arial MT"/>
                <a:ea typeface="Arial MT"/>
                <a:cs typeface="Arial MT"/>
              </a:rPr>
              <a:t> </a:t>
            </a:r>
            <a:r>
              <a:rPr lang="en-US" sz="3200" b="1">
                <a:effectLst/>
                <a:latin typeface="Arial MT"/>
                <a:ea typeface="Arial MT"/>
                <a:cs typeface="Arial MT"/>
              </a:rPr>
              <a:t>between</a:t>
            </a:r>
            <a:r>
              <a:rPr lang="en-US" sz="3200" b="1" spc="-20">
                <a:effectLst/>
                <a:latin typeface="Arial MT"/>
                <a:ea typeface="Arial MT"/>
                <a:cs typeface="Arial MT"/>
              </a:rPr>
              <a:t> </a:t>
            </a:r>
            <a:r>
              <a:rPr lang="en-US" sz="3200" b="1">
                <a:effectLst/>
                <a:latin typeface="Arial MT"/>
                <a:ea typeface="Arial MT"/>
                <a:cs typeface="Arial MT"/>
              </a:rPr>
              <a:t>a</a:t>
            </a:r>
            <a:r>
              <a:rPr lang="en-US" sz="3200" b="1" spc="-40">
                <a:effectLst/>
                <a:latin typeface="Arial MT"/>
                <a:ea typeface="Arial MT"/>
                <a:cs typeface="Arial MT"/>
              </a:rPr>
              <a:t> </a:t>
            </a:r>
            <a:r>
              <a:rPr lang="en-US" sz="3200" b="1">
                <a:effectLst/>
                <a:latin typeface="Arial MT"/>
                <a:ea typeface="Arial MT"/>
                <a:cs typeface="Arial MT"/>
              </a:rPr>
              <a:t>given</a:t>
            </a:r>
            <a:r>
              <a:rPr lang="en-US" sz="3200" b="1" spc="-15">
                <a:effectLst/>
                <a:latin typeface="Arial MT"/>
                <a:ea typeface="Arial MT"/>
                <a:cs typeface="Arial MT"/>
              </a:rPr>
              <a:t> </a:t>
            </a:r>
            <a:r>
              <a:rPr lang="en-US" sz="3200" b="1">
                <a:effectLst/>
                <a:latin typeface="Arial MT"/>
                <a:ea typeface="Arial MT"/>
                <a:cs typeface="Arial MT"/>
              </a:rPr>
              <a:t>set</a:t>
            </a:r>
            <a:r>
              <a:rPr lang="en-US" sz="3200" b="1" spc="5">
                <a:effectLst/>
                <a:latin typeface="Arial MT"/>
                <a:ea typeface="Arial MT"/>
                <a:cs typeface="Arial MT"/>
              </a:rPr>
              <a:t> </a:t>
            </a:r>
            <a:r>
              <a:rPr lang="en-US" sz="3200" b="1">
                <a:effectLst/>
                <a:latin typeface="Arial MT"/>
                <a:ea typeface="Arial MT"/>
                <a:cs typeface="Arial MT"/>
              </a:rPr>
              <a:t>of</a:t>
            </a:r>
            <a:r>
              <a:rPr lang="en-US" sz="3200" b="1" spc="45">
                <a:effectLst/>
                <a:latin typeface="Arial MT"/>
                <a:ea typeface="Arial MT"/>
                <a:cs typeface="Arial MT"/>
              </a:rPr>
              <a:t> </a:t>
            </a:r>
            <a:r>
              <a:rPr lang="en-US" sz="3200" b="1">
                <a:effectLst/>
                <a:latin typeface="Arial MT"/>
                <a:ea typeface="Arial MT"/>
                <a:cs typeface="Arial MT"/>
              </a:rPr>
              <a:t>input</a:t>
            </a:r>
            <a:r>
              <a:rPr lang="en-US" sz="3200" b="1" spc="30">
                <a:effectLst/>
                <a:latin typeface="Arial MT"/>
                <a:ea typeface="Arial MT"/>
                <a:cs typeface="Arial MT"/>
              </a:rPr>
              <a:t> </a:t>
            </a:r>
            <a:r>
              <a:rPr lang="en-US" sz="3200" b="1">
                <a:effectLst/>
                <a:latin typeface="Arial MT"/>
                <a:ea typeface="Arial MT"/>
                <a:cs typeface="Arial MT"/>
              </a:rPr>
              <a:t>and</a:t>
            </a:r>
            <a:r>
              <a:rPr lang="en-US" sz="3200" b="1" spc="35">
                <a:effectLst/>
                <a:latin typeface="Arial MT"/>
                <a:ea typeface="Arial MT"/>
                <a:cs typeface="Arial MT"/>
              </a:rPr>
              <a:t> </a:t>
            </a:r>
            <a:r>
              <a:rPr lang="en-US" sz="3200" b="1">
                <a:effectLst/>
                <a:latin typeface="Arial MT"/>
                <a:ea typeface="Arial MT"/>
                <a:cs typeface="Arial MT"/>
              </a:rPr>
              <a:t>output</a:t>
            </a:r>
            <a:r>
              <a:rPr lang="en-US" sz="3200" b="1" spc="25">
                <a:effectLst/>
                <a:latin typeface="Arial MT"/>
                <a:ea typeface="Arial MT"/>
                <a:cs typeface="Arial MT"/>
              </a:rPr>
              <a:t> </a:t>
            </a:r>
            <a:r>
              <a:rPr lang="en-US" sz="3200" b="1">
                <a:effectLst/>
                <a:latin typeface="Arial MT"/>
                <a:ea typeface="Arial MT"/>
                <a:cs typeface="Arial MT"/>
              </a:rPr>
              <a:t>signals</a:t>
            </a:r>
            <a:r>
              <a:rPr lang="en-US" sz="3200">
                <a:effectLst/>
                <a:latin typeface="Arial MT"/>
                <a:ea typeface="Arial MT"/>
                <a:cs typeface="Arial MT"/>
              </a:rPr>
              <a:t>. </a:t>
            </a:r>
            <a:r>
              <a:rPr lang="en-US" sz="3200">
                <a:latin typeface="Arial MT"/>
                <a:ea typeface="Arial MT"/>
                <a:cs typeface="Arial MT"/>
              </a:rPr>
              <a:t>G</a:t>
            </a:r>
            <a:r>
              <a:rPr lang="en-US" sz="3200">
                <a:effectLst/>
                <a:latin typeface="Arial MT"/>
                <a:ea typeface="Arial MT"/>
                <a:cs typeface="Arial MT"/>
              </a:rPr>
              <a:t>iven</a:t>
            </a:r>
            <a:r>
              <a:rPr lang="en-US" sz="3200" spc="35">
                <a:effectLst/>
                <a:latin typeface="Arial MT"/>
                <a:ea typeface="Arial MT"/>
                <a:cs typeface="Arial MT"/>
              </a:rPr>
              <a:t> </a:t>
            </a:r>
            <a:r>
              <a:rPr lang="en-US" sz="3200">
                <a:effectLst/>
                <a:latin typeface="Arial MT"/>
                <a:ea typeface="Arial MT"/>
                <a:cs typeface="Arial MT"/>
              </a:rPr>
              <a:t>a</a:t>
            </a:r>
            <a:r>
              <a:rPr lang="en-US" sz="3200" spc="30">
                <a:effectLst/>
                <a:latin typeface="Arial MT"/>
                <a:ea typeface="Arial MT"/>
                <a:cs typeface="Arial MT"/>
              </a:rPr>
              <a:t> </a:t>
            </a:r>
            <a:r>
              <a:rPr lang="en-US" sz="3200">
                <a:effectLst/>
                <a:latin typeface="Arial MT"/>
                <a:ea typeface="Arial MT"/>
                <a:cs typeface="Arial MT"/>
              </a:rPr>
              <a:t>set</a:t>
            </a:r>
            <a:r>
              <a:rPr lang="en-US" sz="3200" spc="5">
                <a:effectLst/>
                <a:latin typeface="Arial MT"/>
                <a:ea typeface="Arial MT"/>
                <a:cs typeface="Arial MT"/>
              </a:rPr>
              <a:t> </a:t>
            </a:r>
            <a:r>
              <a:rPr lang="en-US" sz="3200">
                <a:effectLst/>
                <a:latin typeface="Arial MT"/>
                <a:ea typeface="Arial MT"/>
                <a:cs typeface="Arial MT"/>
              </a:rPr>
              <a:t>of</a:t>
            </a:r>
            <a:r>
              <a:rPr lang="en-US" sz="3200" spc="50">
                <a:effectLst/>
                <a:latin typeface="Arial MT"/>
                <a:ea typeface="Arial MT"/>
                <a:cs typeface="Arial MT"/>
              </a:rPr>
              <a:t> </a:t>
            </a:r>
            <a:r>
              <a:rPr lang="en-US" sz="3200">
                <a:effectLst/>
                <a:latin typeface="Arial MT"/>
                <a:ea typeface="Arial MT"/>
                <a:cs typeface="Arial MT"/>
              </a:rPr>
              <a:t>input</a:t>
            </a:r>
            <a:r>
              <a:rPr lang="en-US" sz="3200" spc="30">
                <a:effectLst/>
                <a:latin typeface="Arial MT"/>
                <a:ea typeface="Arial MT"/>
                <a:cs typeface="Arial MT"/>
              </a:rPr>
              <a:t> </a:t>
            </a:r>
            <a:r>
              <a:rPr lang="en-US" sz="3200">
                <a:effectLst/>
                <a:latin typeface="Arial MT"/>
                <a:ea typeface="Arial MT"/>
                <a:cs typeface="Arial MT"/>
              </a:rPr>
              <a:t>data</a:t>
            </a:r>
            <a:r>
              <a:rPr lang="en-US" sz="3200" spc="10">
                <a:effectLst/>
                <a:latin typeface="Arial MT"/>
                <a:ea typeface="Arial MT"/>
                <a:cs typeface="Arial MT"/>
              </a:rPr>
              <a:t> </a:t>
            </a:r>
            <a:r>
              <a:rPr lang="en-US" sz="3200">
                <a:effectLst/>
                <a:latin typeface="Cambria Math" panose="02040503050406030204" pitchFamily="18" charset="0"/>
                <a:ea typeface="Cambria Math" panose="02040503050406030204" pitchFamily="18" charset="0"/>
                <a:cs typeface="Arial MT"/>
              </a:rPr>
              <a:t>𝑢</a:t>
            </a:r>
            <a:r>
              <a:rPr lang="en-US" sz="3200" spc="125">
                <a:effectLst/>
                <a:latin typeface="Cambria Math" panose="02040503050406030204" pitchFamily="18" charset="0"/>
                <a:ea typeface="Cambria Math" panose="02040503050406030204" pitchFamily="18" charset="0"/>
                <a:cs typeface="Arial MT"/>
              </a:rPr>
              <a:t> </a:t>
            </a:r>
            <a:r>
              <a:rPr lang="en-US" sz="3200">
                <a:effectLst/>
                <a:latin typeface="Arial MT"/>
                <a:ea typeface="Arial MT"/>
                <a:cs typeface="Arial MT"/>
              </a:rPr>
              <a:t>and</a:t>
            </a:r>
            <a:r>
              <a:rPr lang="en-US" sz="3200" spc="30">
                <a:effectLst/>
                <a:latin typeface="Arial MT"/>
                <a:ea typeface="Arial MT"/>
                <a:cs typeface="Arial MT"/>
              </a:rPr>
              <a:t> </a:t>
            </a:r>
            <a:r>
              <a:rPr lang="en-US" sz="3200">
                <a:effectLst/>
                <a:latin typeface="Arial MT"/>
                <a:ea typeface="Arial MT"/>
                <a:cs typeface="Arial MT"/>
              </a:rPr>
              <a:t>parameters </a:t>
            </a:r>
            <a:r>
              <a:rPr lang="en-US" sz="3200">
                <a:effectLst/>
                <a:latin typeface="Cambria Math" panose="02040503050406030204" pitchFamily="18" charset="0"/>
                <a:ea typeface="Cambria Math" panose="02040503050406030204" pitchFamily="18" charset="0"/>
                <a:cs typeface="Arial MT"/>
              </a:rPr>
              <a:t>𝑝</a:t>
            </a:r>
            <a:r>
              <a:rPr lang="en-US" sz="3200">
                <a:effectLst/>
                <a:latin typeface="Arial MT"/>
                <a:ea typeface="Arial MT"/>
                <a:cs typeface="Arial MT"/>
              </a:rPr>
              <a:t>, a model outputs a set of data </a:t>
            </a:r>
            <a:r>
              <a:rPr lang="en-US" sz="3200">
                <a:effectLst/>
                <a:latin typeface="Cambria Math" panose="02040503050406030204" pitchFamily="18" charset="0"/>
                <a:ea typeface="Cambria Math" panose="02040503050406030204" pitchFamily="18" charset="0"/>
                <a:cs typeface="Arial MT"/>
              </a:rPr>
              <a:t>𝑦. </a:t>
            </a:r>
            <a:r>
              <a:rPr lang="en-US" sz="3200">
                <a:effectLst/>
                <a:latin typeface="Arial MT"/>
                <a:ea typeface="Arial MT"/>
                <a:cs typeface="Arial MT"/>
              </a:rPr>
              <a:t>The development of a digital model consists therefore in implementing computationally a set of</a:t>
            </a:r>
            <a:r>
              <a:rPr lang="en-US" sz="3200" spc="5">
                <a:effectLst/>
                <a:latin typeface="Arial MT"/>
                <a:ea typeface="Arial MT"/>
                <a:cs typeface="Arial MT"/>
              </a:rPr>
              <a:t> </a:t>
            </a:r>
            <a:r>
              <a:rPr lang="en-US" sz="3200">
                <a:effectLst/>
                <a:latin typeface="Arial MT"/>
                <a:ea typeface="Arial MT"/>
                <a:cs typeface="Arial MT"/>
              </a:rPr>
              <a:t>equations of the form </a:t>
            </a:r>
            <a:r>
              <a:rPr lang="en-US" sz="3200">
                <a:effectLst/>
                <a:latin typeface="Cambria Math" panose="02040503050406030204" pitchFamily="18" charset="0"/>
                <a:ea typeface="Cambria Math" panose="02040503050406030204" pitchFamily="18" charset="0"/>
                <a:cs typeface="Arial MT"/>
              </a:rPr>
              <a:t>𝑦 = 𝑓(𝑢, 𝑝) </a:t>
            </a:r>
            <a:r>
              <a:rPr lang="en-US" sz="3200">
                <a:effectLst/>
                <a:latin typeface="Arial MT"/>
                <a:ea typeface="Arial MT"/>
                <a:cs typeface="Arial MT"/>
              </a:rPr>
              <a:t>that </a:t>
            </a:r>
            <a:r>
              <a:rPr lang="en-US" sz="3200" b="1">
                <a:effectLst/>
                <a:latin typeface="Arial MT"/>
                <a:ea typeface="Arial MT"/>
                <a:cs typeface="Arial MT"/>
              </a:rPr>
              <a:t>mimic the behavior of the real system. </a:t>
            </a:r>
            <a:r>
              <a:rPr lang="en-US" sz="3200" b="1">
                <a:effectLst/>
                <a:latin typeface="Cambria Math" panose="02040503050406030204" pitchFamily="18" charset="0"/>
                <a:ea typeface="Cambria Math" panose="02040503050406030204" pitchFamily="18" charset="0"/>
                <a:cs typeface="Arial MT"/>
              </a:rPr>
              <a:t> </a:t>
            </a:r>
            <a:endParaRPr lang="sv-SE" sz="3200" b="1"/>
          </a:p>
        </p:txBody>
      </p:sp>
      <p:sp>
        <p:nvSpPr>
          <p:cNvPr id="2" name="Rectangle 1">
            <a:extLst>
              <a:ext uri="{FF2B5EF4-FFF2-40B4-BE49-F238E27FC236}">
                <a16:creationId xmlns:a16="http://schemas.microsoft.com/office/drawing/2014/main" id="{5A1BF16A-E498-4B49-A8F9-D93A516993DB}"/>
              </a:ext>
            </a:extLst>
          </p:cNvPr>
          <p:cNvSpPr/>
          <p:nvPr/>
        </p:nvSpPr>
        <p:spPr>
          <a:xfrm>
            <a:off x="6705600" y="2648244"/>
            <a:ext cx="3785937" cy="1812758"/>
          </a:xfrm>
          <a:prstGeom prst="rect">
            <a:avLst/>
          </a:prstGeom>
          <a:solidFill>
            <a:schemeClr val="accent2"/>
          </a:solidFill>
          <a:ln w="571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4400" err="1"/>
              <a:t>Model</a:t>
            </a:r>
            <a:endParaRPr lang="en-GB" sz="4400"/>
          </a:p>
        </p:txBody>
      </p:sp>
      <p:cxnSp>
        <p:nvCxnSpPr>
          <p:cNvPr id="6" name="Straight Arrow Connector 5">
            <a:extLst>
              <a:ext uri="{FF2B5EF4-FFF2-40B4-BE49-F238E27FC236}">
                <a16:creationId xmlns:a16="http://schemas.microsoft.com/office/drawing/2014/main" id="{A7907DEA-5229-4AE1-B7C1-3961F0FFB131}"/>
              </a:ext>
            </a:extLst>
          </p:cNvPr>
          <p:cNvCxnSpPr>
            <a:cxnSpLocks/>
          </p:cNvCxnSpPr>
          <p:nvPr/>
        </p:nvCxnSpPr>
        <p:spPr>
          <a:xfrm>
            <a:off x="4135354" y="3088855"/>
            <a:ext cx="2534654" cy="0"/>
          </a:xfrm>
          <a:prstGeom prst="straightConnector1">
            <a:avLst/>
          </a:prstGeom>
          <a:ln w="57150">
            <a:solidFill>
              <a:srgbClr val="950023"/>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226C451F-1C68-459D-B9A3-5ACE8DC7D7AA}"/>
              </a:ext>
            </a:extLst>
          </p:cNvPr>
          <p:cNvCxnSpPr>
            <a:cxnSpLocks/>
          </p:cNvCxnSpPr>
          <p:nvPr/>
        </p:nvCxnSpPr>
        <p:spPr>
          <a:xfrm>
            <a:off x="4135354" y="3963150"/>
            <a:ext cx="2534654" cy="0"/>
          </a:xfrm>
          <a:prstGeom prst="straightConnector1">
            <a:avLst/>
          </a:prstGeom>
          <a:ln w="57150">
            <a:solidFill>
              <a:srgbClr val="950023"/>
            </a:solidFill>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35CF35B0-F6E1-4955-8827-4E7F3E9821EA}"/>
              </a:ext>
            </a:extLst>
          </p:cNvPr>
          <p:cNvSpPr txBox="1"/>
          <p:nvPr/>
        </p:nvSpPr>
        <p:spPr>
          <a:xfrm>
            <a:off x="4400595" y="2549032"/>
            <a:ext cx="2039560" cy="523220"/>
          </a:xfrm>
          <a:prstGeom prst="rect">
            <a:avLst/>
          </a:prstGeom>
          <a:noFill/>
        </p:spPr>
        <p:txBody>
          <a:bodyPr wrap="square" rtlCol="0">
            <a:spAutoFit/>
          </a:bodyPr>
          <a:lstStyle/>
          <a:p>
            <a:r>
              <a:rPr lang="sv-SE" sz="2800" b="1"/>
              <a:t>Inputs </a:t>
            </a:r>
            <a:r>
              <a:rPr lang="en-US" sz="2800" b="1">
                <a:effectLst/>
                <a:latin typeface="Cambria Math" panose="02040503050406030204" pitchFamily="18" charset="0"/>
                <a:ea typeface="Cambria Math" panose="02040503050406030204" pitchFamily="18" charset="0"/>
                <a:cs typeface="Arial MT"/>
              </a:rPr>
              <a:t>𝑢</a:t>
            </a:r>
            <a:endParaRPr lang="en-GB" sz="2800" b="1" i="1"/>
          </a:p>
        </p:txBody>
      </p:sp>
      <p:sp>
        <p:nvSpPr>
          <p:cNvPr id="22" name="TextBox 21">
            <a:extLst>
              <a:ext uri="{FF2B5EF4-FFF2-40B4-BE49-F238E27FC236}">
                <a16:creationId xmlns:a16="http://schemas.microsoft.com/office/drawing/2014/main" id="{158C3358-22E3-4B37-8E14-C51BBFA60504}"/>
              </a:ext>
            </a:extLst>
          </p:cNvPr>
          <p:cNvSpPr txBox="1"/>
          <p:nvPr/>
        </p:nvSpPr>
        <p:spPr>
          <a:xfrm>
            <a:off x="4178217" y="3387619"/>
            <a:ext cx="2486527" cy="523220"/>
          </a:xfrm>
          <a:prstGeom prst="rect">
            <a:avLst/>
          </a:prstGeom>
          <a:noFill/>
        </p:spPr>
        <p:txBody>
          <a:bodyPr wrap="square" rtlCol="0">
            <a:spAutoFit/>
          </a:bodyPr>
          <a:lstStyle/>
          <a:p>
            <a:r>
              <a:rPr lang="sv-SE" sz="2800" b="1"/>
              <a:t>Parameters</a:t>
            </a:r>
            <a:r>
              <a:rPr lang="sv-SE" sz="2800" b="1" i="1"/>
              <a:t> </a:t>
            </a:r>
            <a:r>
              <a:rPr lang="en-US" sz="2800" b="1">
                <a:effectLst/>
                <a:latin typeface="Cambria Math" panose="02040503050406030204" pitchFamily="18" charset="0"/>
                <a:ea typeface="Cambria Math" panose="02040503050406030204" pitchFamily="18" charset="0"/>
                <a:cs typeface="Arial MT"/>
              </a:rPr>
              <a:t>𝑝</a:t>
            </a:r>
            <a:endParaRPr lang="en-GB" sz="2800" b="1" i="1"/>
          </a:p>
        </p:txBody>
      </p:sp>
      <p:cxnSp>
        <p:nvCxnSpPr>
          <p:cNvPr id="23" name="Straight Arrow Connector 22">
            <a:extLst>
              <a:ext uri="{FF2B5EF4-FFF2-40B4-BE49-F238E27FC236}">
                <a16:creationId xmlns:a16="http://schemas.microsoft.com/office/drawing/2014/main" id="{1E377459-0D65-465B-ABF7-00FD6E882D9B}"/>
              </a:ext>
            </a:extLst>
          </p:cNvPr>
          <p:cNvCxnSpPr>
            <a:cxnSpLocks/>
          </p:cNvCxnSpPr>
          <p:nvPr/>
        </p:nvCxnSpPr>
        <p:spPr>
          <a:xfrm>
            <a:off x="10520113" y="3554623"/>
            <a:ext cx="2534654" cy="0"/>
          </a:xfrm>
          <a:prstGeom prst="straightConnector1">
            <a:avLst/>
          </a:prstGeom>
          <a:ln w="57150">
            <a:solidFill>
              <a:srgbClr val="950023"/>
            </a:solidFill>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2C768516-06F5-40FF-9509-B1D472170685}"/>
              </a:ext>
            </a:extLst>
          </p:cNvPr>
          <p:cNvSpPr txBox="1"/>
          <p:nvPr/>
        </p:nvSpPr>
        <p:spPr>
          <a:xfrm>
            <a:off x="10828421" y="2898685"/>
            <a:ext cx="2039560" cy="523220"/>
          </a:xfrm>
          <a:prstGeom prst="rect">
            <a:avLst/>
          </a:prstGeom>
          <a:noFill/>
        </p:spPr>
        <p:txBody>
          <a:bodyPr wrap="square" rtlCol="0">
            <a:spAutoFit/>
          </a:bodyPr>
          <a:lstStyle/>
          <a:p>
            <a:r>
              <a:rPr lang="sv-SE" sz="2800" b="1"/>
              <a:t>Outputs </a:t>
            </a:r>
            <a:r>
              <a:rPr lang="en-US" sz="2800" b="1">
                <a:effectLst/>
                <a:latin typeface="Cambria Math" panose="02040503050406030204" pitchFamily="18" charset="0"/>
                <a:ea typeface="Cambria Math" panose="02040503050406030204" pitchFamily="18" charset="0"/>
                <a:cs typeface="Arial MT"/>
              </a:rPr>
              <a:t>𝑦</a:t>
            </a:r>
            <a:endParaRPr lang="en-GB" sz="2800" b="1" i="1"/>
          </a:p>
        </p:txBody>
      </p:sp>
    </p:spTree>
    <p:extLst>
      <p:ext uri="{BB962C8B-B14F-4D97-AF65-F5344CB8AC3E}">
        <p14:creationId xmlns:p14="http://schemas.microsoft.com/office/powerpoint/2010/main" val="3360706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6"/>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marL="0" marR="0" lvl="0" indent="0" algn="ctr" defTabSz="914400" rtl="0" eaLnBrk="1" fontAlgn="auto" latinLnBrk="0" hangingPunct="1">
                <a:lnSpc>
                  <a:spcPts val="3919"/>
                </a:lnSpc>
                <a:spcBef>
                  <a:spcPct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OCR A Extended" panose="02010509020102010303" pitchFamily="50" charset="0"/>
                  <a:ea typeface="+mn-ea"/>
                  <a:cs typeface="+mn-cs"/>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4"/>
          <a:srcRect/>
          <a:stretch>
            <a:fillRect/>
          </a:stretch>
        </p:blipFill>
        <p:spPr>
          <a:xfrm>
            <a:off x="0" y="9406025"/>
            <a:ext cx="3632886" cy="880975"/>
          </a:xfrm>
          <a:prstGeom prst="rect">
            <a:avLst/>
          </a:prstGeom>
        </p:spPr>
      </p:pic>
      <p:grpSp>
        <p:nvGrpSpPr>
          <p:cNvPr id="3" name="Gruppo 2">
            <a:extLst>
              <a:ext uri="{FF2B5EF4-FFF2-40B4-BE49-F238E27FC236}">
                <a16:creationId xmlns:a16="http://schemas.microsoft.com/office/drawing/2014/main" id="{1C29CBCA-BE0A-4EF6-AC69-329941E1DCFD}"/>
              </a:ext>
            </a:extLst>
          </p:cNvPr>
          <p:cNvGrpSpPr/>
          <p:nvPr/>
        </p:nvGrpSpPr>
        <p:grpSpPr>
          <a:xfrm>
            <a:off x="-12" y="138554"/>
            <a:ext cx="18288002" cy="681138"/>
            <a:chOff x="-12" y="138554"/>
            <a:chExt cx="18288002" cy="681138"/>
          </a:xfrm>
        </p:grpSpPr>
        <p:grpSp>
          <p:nvGrpSpPr>
            <p:cNvPr id="2" name="Gruppo 1">
              <a:extLst>
                <a:ext uri="{FF2B5EF4-FFF2-40B4-BE49-F238E27FC236}">
                  <a16:creationId xmlns:a16="http://schemas.microsoft.com/office/drawing/2014/main" id="{24E9C7AF-0093-476F-826C-A2702AB72892}"/>
                </a:ext>
              </a:extLst>
            </p:cNvPr>
            <p:cNvGrpSpPr/>
            <p:nvPr/>
          </p:nvGrpSpPr>
          <p:grpSpPr>
            <a:xfrm>
              <a:off x="0" y="153125"/>
              <a:ext cx="17907000" cy="666567"/>
              <a:chOff x="0" y="153125"/>
              <a:chExt cx="17907000" cy="666567"/>
            </a:xfrm>
          </p:grpSpPr>
          <p:grpSp>
            <p:nvGrpSpPr>
              <p:cNvPr id="16" name="Gruppo 15">
                <a:extLst>
                  <a:ext uri="{FF2B5EF4-FFF2-40B4-BE49-F238E27FC236}">
                    <a16:creationId xmlns:a16="http://schemas.microsoft.com/office/drawing/2014/main" id="{DAC42A46-917D-41AB-8F07-E15E54D0F7D4}"/>
                  </a:ext>
                </a:extLst>
              </p:cNvPr>
              <p:cNvGrpSpPr/>
              <p:nvPr/>
            </p:nvGrpSpPr>
            <p:grpSpPr>
              <a:xfrm>
                <a:off x="0" y="153125"/>
                <a:ext cx="13958844" cy="666567"/>
                <a:chOff x="0" y="153125"/>
                <a:chExt cx="13958844" cy="666567"/>
              </a:xfrm>
            </p:grpSpPr>
            <p:pic>
              <p:nvPicPr>
                <p:cNvPr id="10" name="Picture 10"/>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1" name="TextBox 11"/>
                <p:cNvSpPr txBox="1"/>
                <p:nvPr/>
              </p:nvSpPr>
              <p:spPr>
                <a:xfrm>
                  <a:off x="228600" y="257980"/>
                  <a:ext cx="9296400" cy="456856"/>
                </a:xfrm>
                <a:prstGeom prst="rect">
                  <a:avLst/>
                </a:prstGeom>
              </p:spPr>
              <p:txBody>
                <a:bodyPr wrap="square" lIns="0" tIns="0" rIns="0" bIns="0" rtlCol="0" anchor="t">
                  <a:spAutoFit/>
                </a:bodyPr>
                <a:lstStyle/>
                <a:p>
                  <a:pPr marL="0" marR="0" lvl="0" indent="0" algn="l" defTabSz="914400" rtl="0" eaLnBrk="1" fontAlgn="auto" latinLnBrk="0" hangingPunct="1">
                    <a:lnSpc>
                      <a:spcPts val="3919"/>
                    </a:lnSpc>
                    <a:spcBef>
                      <a:spcPct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2" name="TextBox 11">
                <a:extLst>
                  <a:ext uri="{FF2B5EF4-FFF2-40B4-BE49-F238E27FC236}">
                    <a16:creationId xmlns:a16="http://schemas.microsoft.com/office/drawing/2014/main" id="{1BD9B5F4-614C-4EB6-8C5B-120A5420CE43}"/>
                  </a:ext>
                </a:extLst>
              </p:cNvPr>
              <p:cNvSpPr txBox="1"/>
              <p:nvPr/>
            </p:nvSpPr>
            <p:spPr>
              <a:xfrm>
                <a:off x="12154296" y="257980"/>
                <a:ext cx="5752704" cy="456856"/>
              </a:xfrm>
              <a:prstGeom prst="rect">
                <a:avLst/>
              </a:prstGeom>
            </p:spPr>
            <p:txBody>
              <a:bodyPr wrap="square" lIns="0" tIns="0" rIns="0" bIns="0" rtlCol="0" anchor="t">
                <a:spAutoFit/>
              </a:bodyPr>
              <a:lstStyle/>
              <a:p>
                <a:pPr marL="0" marR="0" lvl="0" indent="0" algn="r" defTabSz="914400" rtl="0" eaLnBrk="1" fontAlgn="auto" latinLnBrk="0" hangingPunct="1">
                  <a:lnSpc>
                    <a:spcPts val="3919"/>
                  </a:lnSpc>
                  <a:spcBef>
                    <a:spcPct val="0"/>
                  </a:spcBef>
                  <a:spcAft>
                    <a:spcPts val="0"/>
                  </a:spcAft>
                  <a:buClrTx/>
                  <a:buSzTx/>
                  <a:buFontTx/>
                  <a:buNone/>
                  <a:tabLst/>
                  <a:defRPr/>
                </a:pPr>
                <a:endParaRPr kumimoji="0" lang="en-US" sz="2800" b="0" i="0" u="none" strike="noStrike" kern="1200" cap="none" spc="0" normalizeH="0" baseline="0" noProof="0">
                  <a:ln>
                    <a:noFill/>
                  </a:ln>
                  <a:solidFill>
                    <a:srgbClr val="2F2F2F">
                      <a:lumMod val="75000"/>
                      <a:lumOff val="25000"/>
                    </a:srgbClr>
                  </a:solidFill>
                  <a:effectLst/>
                  <a:uLnTx/>
                  <a:uFillTx/>
                  <a:latin typeface="Arial" panose="020B0604020202020204" pitchFamily="34" charset="0"/>
                  <a:ea typeface="+mn-ea"/>
                  <a:cs typeface="Arial" panose="020B0604020202020204" pitchFamily="34" charset="0"/>
                </a:endParaRPr>
              </a:p>
            </p:txBody>
          </p:sp>
        </p:grpSp>
        <p:sp>
          <p:nvSpPr>
            <p:cNvPr id="14" name="Rettangolo 13">
              <a:extLst>
                <a:ext uri="{FF2B5EF4-FFF2-40B4-BE49-F238E27FC236}">
                  <a16:creationId xmlns:a16="http://schemas.microsoft.com/office/drawing/2014/main" id="{55199736-B8B6-4C9A-8BAF-233E07A0CA89}"/>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22" name="TextBox 21">
            <a:extLst>
              <a:ext uri="{FF2B5EF4-FFF2-40B4-BE49-F238E27FC236}">
                <a16:creationId xmlns:a16="http://schemas.microsoft.com/office/drawing/2014/main" id="{F21DCD0B-B68A-4D7A-9F6C-6D71442D13F2}"/>
              </a:ext>
            </a:extLst>
          </p:cNvPr>
          <p:cNvSpPr txBox="1"/>
          <p:nvPr/>
        </p:nvSpPr>
        <p:spPr>
          <a:xfrm>
            <a:off x="983343" y="2493437"/>
            <a:ext cx="14479814" cy="7745647"/>
          </a:xfrm>
          <a:prstGeom prst="rect">
            <a:avLst/>
          </a:prstGeom>
        </p:spPr>
        <p:txBody>
          <a:bodyPr wrap="square" lIns="0" tIns="0" rIns="0" bIns="0" rtlCol="0" anchor="t">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sv-SE" sz="3600" b="0" i="0" u="sng" strike="noStrike" kern="100" cap="none" spc="0" normalizeH="0" baseline="0" noProof="0">
                <a:ln>
                  <a:noFill/>
                </a:ln>
                <a:solidFill>
                  <a:srgbClr val="404040"/>
                </a:solidFill>
                <a:effectLst/>
                <a:uLnTx/>
                <a:uFillTx/>
                <a:latin typeface="Arial"/>
                <a:ea typeface="Noto Sans CJK SC"/>
                <a:cs typeface="Lohit Devanagari"/>
              </a:rPr>
              <a:t>1.2 Energy </a:t>
            </a:r>
            <a:r>
              <a:rPr kumimoji="0" lang="sv-SE" sz="3600" b="0" i="0" u="sng" strike="noStrike" kern="100" cap="none" spc="0" normalizeH="0" baseline="0" noProof="0" err="1">
                <a:ln>
                  <a:noFill/>
                </a:ln>
                <a:solidFill>
                  <a:srgbClr val="404040"/>
                </a:solidFill>
                <a:effectLst/>
                <a:uLnTx/>
                <a:uFillTx/>
                <a:latin typeface="Arial"/>
                <a:ea typeface="Noto Sans CJK SC"/>
                <a:cs typeface="Lohit Devanagari"/>
              </a:rPr>
              <a:t>Efficiency</a:t>
            </a:r>
            <a:r>
              <a:rPr kumimoji="0" lang="sv-SE" sz="3600" b="0" i="0" u="sng" strike="noStrike" kern="100" cap="none" spc="0" normalizeH="0" baseline="0" noProof="0">
                <a:ln>
                  <a:noFill/>
                </a:ln>
                <a:solidFill>
                  <a:srgbClr val="404040"/>
                </a:solidFill>
                <a:effectLst/>
                <a:uLnTx/>
                <a:uFillTx/>
                <a:latin typeface="Arial"/>
                <a:ea typeface="Noto Sans CJK SC"/>
                <a:cs typeface="Lohit Devanagari"/>
              </a:rPr>
              <a:t> </a:t>
            </a:r>
            <a:r>
              <a:rPr kumimoji="0" lang="sv-SE" sz="3600" b="0" i="0" u="sng" strike="noStrike" kern="100" cap="none" spc="0" normalizeH="0" baseline="0" noProof="0" err="1">
                <a:ln>
                  <a:noFill/>
                </a:ln>
                <a:solidFill>
                  <a:srgbClr val="404040"/>
                </a:solidFill>
                <a:effectLst/>
                <a:uLnTx/>
                <a:uFillTx/>
                <a:latin typeface="Arial"/>
                <a:ea typeface="Noto Sans CJK SC"/>
                <a:cs typeface="Lohit Devanagari"/>
              </a:rPr>
              <a:t>Directive</a:t>
            </a:r>
            <a:r>
              <a:rPr kumimoji="0" lang="sv-SE" sz="3600" b="0" i="0" u="sng" strike="noStrike" kern="100" cap="none" spc="0" normalizeH="0" baseline="0" noProof="0">
                <a:ln>
                  <a:noFill/>
                </a:ln>
                <a:solidFill>
                  <a:srgbClr val="404040"/>
                </a:solidFill>
                <a:effectLst/>
                <a:uLnTx/>
                <a:uFillTx/>
                <a:latin typeface="Arial"/>
                <a:ea typeface="Noto Sans CJK SC"/>
                <a:cs typeface="Lohit Devanagari"/>
              </a:rPr>
              <a:t> (EED)</a:t>
            </a:r>
          </a:p>
          <a:p>
            <a:pPr marL="1028700" marR="0" lvl="1" indent="-571500" algn="l" defTabSz="914400" rtl="0" eaLnBrk="1" fontAlgn="auto" latinLnBrk="0" hangingPunct="1">
              <a:lnSpc>
                <a:spcPct val="150000"/>
              </a:lnSpc>
              <a:spcBef>
                <a:spcPts val="0"/>
              </a:spcBef>
              <a:spcAft>
                <a:spcPts val="0"/>
              </a:spcAft>
              <a:buClrTx/>
              <a:buSzTx/>
              <a:buFont typeface="Courier New" panose="02070309020205020404" pitchFamily="49" charset="0"/>
              <a:buChar char="o"/>
              <a:tabLst/>
              <a:defRPr/>
            </a:pPr>
            <a:r>
              <a:rPr kumimoji="0" lang="sv-SE" sz="2800" b="0" i="0" u="none" strike="noStrike" kern="100" cap="none" spc="0" normalizeH="0" baseline="0" noProof="0" err="1">
                <a:ln>
                  <a:noFill/>
                </a:ln>
                <a:solidFill>
                  <a:srgbClr val="404040"/>
                </a:solidFill>
                <a:effectLst/>
                <a:uLnTx/>
                <a:uFillTx/>
                <a:latin typeface="Arial"/>
                <a:ea typeface="Noto Sans CJK SC"/>
                <a:cs typeface="Lohit Devanagari"/>
              </a:rPr>
              <a:t>Mandatory</a:t>
            </a:r>
            <a:r>
              <a:rPr kumimoji="0" lang="sv-SE" sz="2800" b="0" i="0" u="none" strike="noStrike" kern="100" cap="none" spc="0" normalizeH="0" baseline="0" noProof="0">
                <a:ln>
                  <a:noFill/>
                </a:ln>
                <a:solidFill>
                  <a:srgbClr val="404040"/>
                </a:solidFill>
                <a:effectLst/>
                <a:uLnTx/>
                <a:uFillTx/>
                <a:latin typeface="Arial"/>
                <a:ea typeface="Noto Sans CJK SC"/>
                <a:cs typeface="Lohit Devanagari"/>
              </a:rPr>
              <a:t> </a:t>
            </a:r>
            <a:r>
              <a:rPr kumimoji="0" lang="sv-SE" sz="2800" b="0" i="0" u="none" strike="noStrike" kern="100" cap="none" spc="0" normalizeH="0" baseline="0" noProof="0" err="1">
                <a:ln>
                  <a:noFill/>
                </a:ln>
                <a:solidFill>
                  <a:srgbClr val="404040"/>
                </a:solidFill>
                <a:effectLst/>
                <a:uLnTx/>
                <a:uFillTx/>
                <a:latin typeface="Arial"/>
                <a:ea typeface="Noto Sans CJK SC"/>
                <a:cs typeface="Lohit Devanagari"/>
              </a:rPr>
              <a:t>Audits</a:t>
            </a:r>
            <a:r>
              <a:rPr kumimoji="0" lang="sv-SE" sz="2800" b="0" i="0" u="none" strike="noStrike" kern="100" cap="none" spc="0" normalizeH="0" baseline="0" noProof="0">
                <a:ln>
                  <a:noFill/>
                </a:ln>
                <a:solidFill>
                  <a:srgbClr val="404040"/>
                </a:solidFill>
                <a:effectLst/>
                <a:uLnTx/>
                <a:uFillTx/>
                <a:latin typeface="Arial"/>
                <a:ea typeface="Noto Sans CJK SC"/>
                <a:cs typeface="Lohit Devanagari"/>
              </a:rPr>
              <a:t> at </a:t>
            </a:r>
            <a:r>
              <a:rPr kumimoji="0" lang="sv-SE" sz="2800" b="0" i="0" u="none" strike="noStrike" kern="100" cap="none" spc="0" normalizeH="0" baseline="0" noProof="0" err="1">
                <a:ln>
                  <a:noFill/>
                </a:ln>
                <a:solidFill>
                  <a:srgbClr val="404040"/>
                </a:solidFill>
                <a:effectLst/>
                <a:uLnTx/>
                <a:uFillTx/>
                <a:latin typeface="Arial"/>
                <a:ea typeface="Noto Sans CJK SC"/>
                <a:cs typeface="Lohit Devanagari"/>
              </a:rPr>
              <a:t>least</a:t>
            </a:r>
            <a:r>
              <a:rPr kumimoji="0" lang="sv-SE" sz="2800" b="0" i="0" u="none" strike="noStrike" kern="100" cap="none" spc="0" normalizeH="0" baseline="0" noProof="0">
                <a:ln>
                  <a:noFill/>
                </a:ln>
                <a:solidFill>
                  <a:srgbClr val="404040"/>
                </a:solidFill>
                <a:effectLst/>
                <a:uLnTx/>
                <a:uFillTx/>
                <a:latin typeface="Arial"/>
                <a:ea typeface="Noto Sans CJK SC"/>
                <a:cs typeface="Lohit Devanagari"/>
              </a:rPr>
              <a:t> </a:t>
            </a:r>
            <a:r>
              <a:rPr kumimoji="0" lang="sv-SE" sz="2800" b="0" i="0" u="none" strike="noStrike" kern="100" cap="none" spc="0" normalizeH="0" baseline="0" noProof="0" err="1">
                <a:ln>
                  <a:noFill/>
                </a:ln>
                <a:solidFill>
                  <a:srgbClr val="404040"/>
                </a:solidFill>
                <a:effectLst/>
                <a:uLnTx/>
                <a:uFillTx/>
                <a:latin typeface="Arial"/>
                <a:ea typeface="Noto Sans CJK SC"/>
                <a:cs typeface="Lohit Devanagari"/>
              </a:rPr>
              <a:t>every</a:t>
            </a:r>
            <a:r>
              <a:rPr kumimoji="0" lang="sv-SE" sz="2800" b="0" i="0" u="none" strike="noStrike" kern="100" cap="none" spc="0" normalizeH="0" baseline="0" noProof="0">
                <a:ln>
                  <a:noFill/>
                </a:ln>
                <a:solidFill>
                  <a:srgbClr val="404040"/>
                </a:solidFill>
                <a:effectLst/>
                <a:uLnTx/>
                <a:uFillTx/>
                <a:latin typeface="Arial"/>
                <a:ea typeface="Noto Sans CJK SC"/>
                <a:cs typeface="Lohit Devanagari"/>
              </a:rPr>
              <a:t> </a:t>
            </a:r>
            <a:r>
              <a:rPr kumimoji="0" lang="sv-SE" sz="2800" b="0" i="0" u="none" strike="noStrike" kern="100" cap="none" spc="0" normalizeH="0" baseline="0" noProof="0" err="1">
                <a:ln>
                  <a:noFill/>
                </a:ln>
                <a:solidFill>
                  <a:srgbClr val="404040"/>
                </a:solidFill>
                <a:effectLst/>
                <a:uLnTx/>
                <a:uFillTx/>
                <a:latin typeface="Arial"/>
                <a:ea typeface="Noto Sans CJK SC"/>
                <a:cs typeface="Lohit Devanagari"/>
              </a:rPr>
              <a:t>four</a:t>
            </a:r>
            <a:r>
              <a:rPr kumimoji="0" lang="sv-SE" sz="2800" b="0" i="0" u="none" strike="noStrike" kern="100" cap="none" spc="0" normalizeH="0" baseline="0" noProof="0">
                <a:ln>
                  <a:noFill/>
                </a:ln>
                <a:solidFill>
                  <a:srgbClr val="404040"/>
                </a:solidFill>
                <a:effectLst/>
                <a:uLnTx/>
                <a:uFillTx/>
                <a:latin typeface="Arial"/>
                <a:ea typeface="Noto Sans CJK SC"/>
                <a:cs typeface="Lohit Devanagari"/>
              </a:rPr>
              <a:t> </a:t>
            </a:r>
            <a:r>
              <a:rPr kumimoji="0" lang="sv-SE" sz="2800" b="0" i="0" u="none" strike="noStrike" kern="100" cap="none" spc="0" normalizeH="0" baseline="0" noProof="0" err="1">
                <a:ln>
                  <a:noFill/>
                </a:ln>
                <a:solidFill>
                  <a:srgbClr val="404040"/>
                </a:solidFill>
                <a:effectLst/>
                <a:uLnTx/>
                <a:uFillTx/>
                <a:latin typeface="Arial"/>
                <a:ea typeface="Noto Sans CJK SC"/>
                <a:cs typeface="Lohit Devanagari"/>
              </a:rPr>
              <a:t>years</a:t>
            </a:r>
            <a:r>
              <a:rPr kumimoji="0" lang="sv-SE" sz="2800" b="0" i="0" u="none" strike="noStrike" kern="100" cap="none" spc="0" normalizeH="0" baseline="0" noProof="0">
                <a:ln>
                  <a:noFill/>
                </a:ln>
                <a:solidFill>
                  <a:srgbClr val="404040"/>
                </a:solidFill>
                <a:effectLst/>
                <a:uLnTx/>
                <a:uFillTx/>
                <a:latin typeface="Arial"/>
                <a:ea typeface="Noto Sans CJK SC"/>
                <a:cs typeface="Lohit Devanagari"/>
              </a:rPr>
              <a:t> for </a:t>
            </a:r>
            <a:r>
              <a:rPr kumimoji="0" lang="sv-SE" sz="2800" b="0" i="0" u="none" strike="noStrike" kern="100" cap="none" spc="0" normalizeH="0" baseline="0" noProof="0" err="1">
                <a:ln>
                  <a:noFill/>
                </a:ln>
                <a:solidFill>
                  <a:srgbClr val="404040"/>
                </a:solidFill>
                <a:effectLst/>
                <a:uLnTx/>
                <a:uFillTx/>
                <a:latin typeface="Arial"/>
                <a:ea typeface="Noto Sans CJK SC"/>
                <a:cs typeface="Lohit Devanagari"/>
              </a:rPr>
              <a:t>industries</a:t>
            </a:r>
            <a:endParaRPr kumimoji="0" lang="sv-SE" sz="2800" b="0" i="0" u="none" strike="noStrike" kern="100" cap="none" spc="0" normalizeH="0" baseline="0" noProof="0">
              <a:ln>
                <a:noFill/>
              </a:ln>
              <a:solidFill>
                <a:srgbClr val="404040"/>
              </a:solidFill>
              <a:effectLst/>
              <a:uLnTx/>
              <a:uFillTx/>
              <a:latin typeface="Arial"/>
              <a:ea typeface="Noto Sans CJK SC"/>
              <a:cs typeface="Lohit Devanagari"/>
            </a:endParaRPr>
          </a:p>
          <a:p>
            <a:pPr marL="1028700" marR="0" lvl="1" indent="-571500" algn="l" defTabSz="914400" rtl="0" eaLnBrk="1" fontAlgn="auto" latinLnBrk="0" hangingPunct="1">
              <a:lnSpc>
                <a:spcPct val="150000"/>
              </a:lnSpc>
              <a:spcBef>
                <a:spcPts val="0"/>
              </a:spcBef>
              <a:spcAft>
                <a:spcPts val="0"/>
              </a:spcAft>
              <a:buClrTx/>
              <a:buSzTx/>
              <a:buFont typeface="Courier New" panose="02070309020205020404" pitchFamily="49" charset="0"/>
              <a:buChar char="o"/>
              <a:tabLst/>
              <a:defRPr/>
            </a:pPr>
            <a:r>
              <a:rPr kumimoji="0" lang="sv-SE" sz="2800" b="0" i="0" u="none" strike="noStrike" kern="100" cap="none" spc="0" normalizeH="0" baseline="0" noProof="0">
                <a:ln>
                  <a:noFill/>
                </a:ln>
                <a:solidFill>
                  <a:srgbClr val="404040"/>
                </a:solidFill>
                <a:effectLst/>
                <a:uLnTx/>
                <a:uFillTx/>
                <a:latin typeface="Arial"/>
                <a:ea typeface="+mn-ea"/>
                <a:cs typeface="+mn-cs"/>
              </a:rPr>
              <a:t>EU </a:t>
            </a:r>
            <a:r>
              <a:rPr kumimoji="0" lang="sv-SE" sz="2800" b="0" i="0" u="none" strike="noStrike" kern="100" cap="none" spc="0" normalizeH="0" baseline="0" noProof="0" err="1">
                <a:ln>
                  <a:noFill/>
                </a:ln>
                <a:solidFill>
                  <a:srgbClr val="404040"/>
                </a:solidFill>
                <a:effectLst/>
                <a:uLnTx/>
                <a:uFillTx/>
                <a:latin typeface="Arial"/>
                <a:ea typeface="+mn-ea"/>
                <a:cs typeface="+mn-cs"/>
              </a:rPr>
              <a:t>countries</a:t>
            </a:r>
            <a:r>
              <a:rPr kumimoji="0" lang="sv-SE" sz="2800" b="0" i="0" u="none" strike="noStrike" kern="100" cap="none" spc="0" normalizeH="0" baseline="0" noProof="0">
                <a:ln>
                  <a:noFill/>
                </a:ln>
                <a:solidFill>
                  <a:srgbClr val="404040"/>
                </a:solidFill>
                <a:effectLst/>
                <a:uLnTx/>
                <a:uFillTx/>
                <a:latin typeface="Arial"/>
                <a:ea typeface="+mn-ea"/>
                <a:cs typeface="+mn-cs"/>
              </a:rPr>
              <a:t> must save </a:t>
            </a:r>
            <a:r>
              <a:rPr kumimoji="0" lang="sv-SE" sz="2800" b="0" i="0" u="none" strike="noStrike" kern="100" cap="none" spc="0" normalizeH="0" baseline="0" noProof="0" err="1">
                <a:ln>
                  <a:noFill/>
                </a:ln>
                <a:solidFill>
                  <a:srgbClr val="404040"/>
                </a:solidFill>
                <a:effectLst/>
                <a:uLnTx/>
                <a:uFillTx/>
                <a:latin typeface="Arial"/>
                <a:ea typeface="+mn-ea"/>
                <a:cs typeface="+mn-cs"/>
              </a:rPr>
              <a:t>annually</a:t>
            </a:r>
            <a:r>
              <a:rPr kumimoji="0" lang="sv-SE" sz="2800" b="0" i="0" u="none" strike="noStrike" kern="100" cap="none" spc="0" normalizeH="0" baseline="0" noProof="0">
                <a:ln>
                  <a:noFill/>
                </a:ln>
                <a:solidFill>
                  <a:srgbClr val="404040"/>
                </a:solidFill>
                <a:effectLst/>
                <a:uLnTx/>
                <a:uFillTx/>
                <a:latin typeface="Arial"/>
                <a:ea typeface="+mn-ea"/>
                <a:cs typeface="+mn-cs"/>
              </a:rPr>
              <a:t> </a:t>
            </a:r>
            <a:r>
              <a:rPr kumimoji="0" lang="sv-SE" sz="2800" b="1" i="0" u="none" strike="noStrike" kern="100" cap="none" spc="0" normalizeH="0" baseline="0" noProof="0">
                <a:ln>
                  <a:noFill/>
                </a:ln>
                <a:solidFill>
                  <a:srgbClr val="404040"/>
                </a:solidFill>
                <a:effectLst/>
                <a:uLnTx/>
                <a:uFillTx/>
                <a:latin typeface="Arial"/>
                <a:ea typeface="+mn-ea"/>
                <a:cs typeface="+mn-cs"/>
              </a:rPr>
              <a:t>1.5%</a:t>
            </a:r>
            <a:r>
              <a:rPr kumimoji="0" lang="sv-SE" sz="2800" b="0" i="0" u="none" strike="noStrike" kern="100" cap="none" spc="0" normalizeH="0" baseline="0" noProof="0">
                <a:ln>
                  <a:noFill/>
                </a:ln>
                <a:solidFill>
                  <a:srgbClr val="404040"/>
                </a:solidFill>
                <a:effectLst/>
                <a:uLnTx/>
                <a:uFillTx/>
                <a:latin typeface="Arial"/>
                <a:ea typeface="+mn-ea"/>
                <a:cs typeface="+mn-cs"/>
              </a:rPr>
              <a:t> </a:t>
            </a:r>
            <a:r>
              <a:rPr kumimoji="0" lang="sv-SE" sz="2800" b="0" i="0" u="none" strike="noStrike" kern="100" cap="none" spc="0" normalizeH="0" baseline="0" noProof="0" err="1">
                <a:ln>
                  <a:noFill/>
                </a:ln>
                <a:solidFill>
                  <a:srgbClr val="404040"/>
                </a:solidFill>
                <a:effectLst/>
                <a:uLnTx/>
                <a:uFillTx/>
                <a:latin typeface="Arial"/>
                <a:ea typeface="+mn-ea"/>
                <a:cs typeface="+mn-cs"/>
              </a:rPr>
              <a:t>of</a:t>
            </a:r>
            <a:r>
              <a:rPr kumimoji="0" lang="sv-SE" sz="2800" b="0" i="0" u="none" strike="noStrike" kern="100" cap="none" spc="0" normalizeH="0" baseline="0" noProof="0">
                <a:ln>
                  <a:noFill/>
                </a:ln>
                <a:solidFill>
                  <a:srgbClr val="404040"/>
                </a:solidFill>
                <a:effectLst/>
                <a:uLnTx/>
                <a:uFillTx/>
                <a:latin typeface="Arial"/>
                <a:ea typeface="+mn-ea"/>
                <a:cs typeface="+mn-cs"/>
              </a:rPr>
              <a:t> final </a:t>
            </a:r>
            <a:r>
              <a:rPr kumimoji="0" lang="sv-SE" sz="2800" b="0" i="0" u="none" strike="noStrike" kern="100" cap="none" spc="0" normalizeH="0" baseline="0" noProof="0" err="1">
                <a:ln>
                  <a:noFill/>
                </a:ln>
                <a:solidFill>
                  <a:srgbClr val="404040"/>
                </a:solidFill>
                <a:effectLst/>
                <a:uLnTx/>
                <a:uFillTx/>
                <a:latin typeface="Arial"/>
                <a:ea typeface="+mn-ea"/>
                <a:cs typeface="+mn-cs"/>
              </a:rPr>
              <a:t>energy</a:t>
            </a:r>
            <a:r>
              <a:rPr kumimoji="0" lang="sv-SE" sz="2800" b="0" i="0" u="none" strike="noStrike" kern="100" cap="none" spc="0" normalizeH="0" baseline="0" noProof="0">
                <a:ln>
                  <a:noFill/>
                </a:ln>
                <a:solidFill>
                  <a:srgbClr val="404040"/>
                </a:solidFill>
                <a:effectLst/>
                <a:uLnTx/>
                <a:uFillTx/>
                <a:latin typeface="Arial"/>
                <a:ea typeface="+mn-ea"/>
                <a:cs typeface="+mn-cs"/>
              </a:rPr>
              <a:t> </a:t>
            </a:r>
            <a:r>
              <a:rPr kumimoji="0" lang="sv-SE" sz="2800" b="0" i="0" u="none" strike="noStrike" kern="100" cap="none" spc="0" normalizeH="0" baseline="0" noProof="0" err="1">
                <a:ln>
                  <a:noFill/>
                </a:ln>
                <a:solidFill>
                  <a:srgbClr val="404040"/>
                </a:solidFill>
                <a:effectLst/>
                <a:uLnTx/>
                <a:uFillTx/>
                <a:latin typeface="Arial"/>
                <a:ea typeface="+mn-ea"/>
                <a:cs typeface="+mn-cs"/>
              </a:rPr>
              <a:t>consumption</a:t>
            </a:r>
            <a:r>
              <a:rPr kumimoji="0" lang="sv-SE" sz="2800" b="0" i="0" u="none" strike="noStrike" kern="100" cap="none" spc="0" normalizeH="0" baseline="0" noProof="0">
                <a:ln>
                  <a:noFill/>
                </a:ln>
                <a:solidFill>
                  <a:srgbClr val="404040"/>
                </a:solidFill>
                <a:effectLst/>
                <a:uLnTx/>
                <a:uFillTx/>
                <a:latin typeface="Arial"/>
                <a:ea typeface="+mn-ea"/>
                <a:cs typeface="+mn-cs"/>
              </a:rPr>
              <a:t> (</a:t>
            </a:r>
            <a:r>
              <a:rPr kumimoji="0" lang="sv-SE" sz="2800" b="0" i="0" u="none" strike="noStrike" kern="100" cap="none" spc="0" normalizeH="0" baseline="0" noProof="0" err="1">
                <a:ln>
                  <a:noFill/>
                </a:ln>
                <a:solidFill>
                  <a:srgbClr val="404040"/>
                </a:solidFill>
                <a:effectLst/>
                <a:uLnTx/>
                <a:uFillTx/>
                <a:latin typeface="Arial"/>
                <a:ea typeface="+mn-ea"/>
                <a:cs typeface="+mn-cs"/>
              </a:rPr>
              <a:t>currrently</a:t>
            </a:r>
            <a:r>
              <a:rPr kumimoji="0" lang="sv-SE" sz="2800" b="0" i="0" u="none" strike="noStrike" kern="100" cap="none" spc="0" normalizeH="0" baseline="0" noProof="0">
                <a:ln>
                  <a:noFill/>
                </a:ln>
                <a:solidFill>
                  <a:srgbClr val="404040"/>
                </a:solidFill>
                <a:effectLst/>
                <a:uLnTx/>
                <a:uFillTx/>
                <a:latin typeface="Arial"/>
                <a:ea typeface="+mn-ea"/>
                <a:cs typeface="+mn-cs"/>
              </a:rPr>
              <a:t> 0.8%) from 2024 to 2030 (</a:t>
            </a:r>
            <a:r>
              <a:rPr kumimoji="0" lang="sv-SE" sz="2800" b="0" i="0" u="none" strike="noStrike" kern="100" cap="none" spc="0" normalizeH="0" baseline="0" noProof="0" err="1">
                <a:ln>
                  <a:noFill/>
                </a:ln>
                <a:solidFill>
                  <a:srgbClr val="404040"/>
                </a:solidFill>
                <a:effectLst/>
                <a:uLnTx/>
                <a:uFillTx/>
                <a:latin typeface="Arial"/>
                <a:ea typeface="+mn-ea"/>
                <a:cs typeface="+mn-cs"/>
              </a:rPr>
              <a:t>concerns</a:t>
            </a:r>
            <a:r>
              <a:rPr kumimoji="0" lang="sv-SE" sz="2800" b="0" i="0" u="none" strike="noStrike" kern="100" cap="none" spc="0" normalizeH="0" baseline="0" noProof="0">
                <a:ln>
                  <a:noFill/>
                </a:ln>
                <a:solidFill>
                  <a:srgbClr val="404040"/>
                </a:solidFill>
                <a:effectLst/>
                <a:uLnTx/>
                <a:uFillTx/>
                <a:latin typeface="Arial"/>
                <a:ea typeface="+mn-ea"/>
                <a:cs typeface="+mn-cs"/>
              </a:rPr>
              <a:t> end-</a:t>
            </a:r>
            <a:r>
              <a:rPr kumimoji="0" lang="sv-SE" sz="2800" b="0" i="0" u="none" strike="noStrike" kern="100" cap="none" spc="0" normalizeH="0" baseline="0" noProof="0" err="1">
                <a:ln>
                  <a:noFill/>
                </a:ln>
                <a:solidFill>
                  <a:srgbClr val="404040"/>
                </a:solidFill>
                <a:effectLst/>
                <a:uLnTx/>
                <a:uFillTx/>
                <a:latin typeface="Arial"/>
                <a:ea typeface="+mn-ea"/>
                <a:cs typeface="+mn-cs"/>
              </a:rPr>
              <a:t>use</a:t>
            </a:r>
            <a:r>
              <a:rPr kumimoji="0" lang="sv-SE" sz="2800" b="0" i="0" u="none" strike="noStrike" kern="100" cap="none" spc="0" normalizeH="0" baseline="0" noProof="0">
                <a:ln>
                  <a:noFill/>
                </a:ln>
                <a:solidFill>
                  <a:srgbClr val="404040"/>
                </a:solidFill>
                <a:effectLst/>
                <a:uLnTx/>
                <a:uFillTx/>
                <a:latin typeface="Arial"/>
                <a:ea typeface="+mn-ea"/>
                <a:cs typeface="+mn-cs"/>
              </a:rPr>
              <a:t> </a:t>
            </a:r>
            <a:r>
              <a:rPr kumimoji="0" lang="sv-SE" sz="2800" b="0" i="0" u="none" strike="noStrike" kern="100" cap="none" spc="0" normalizeH="0" baseline="0" noProof="0" err="1">
                <a:ln>
                  <a:noFill/>
                </a:ln>
                <a:solidFill>
                  <a:srgbClr val="404040"/>
                </a:solidFill>
                <a:effectLst/>
                <a:uLnTx/>
                <a:uFillTx/>
                <a:latin typeface="Arial"/>
                <a:ea typeface="+mn-ea"/>
                <a:cs typeface="+mn-cs"/>
              </a:rPr>
              <a:t>sectors</a:t>
            </a:r>
            <a:r>
              <a:rPr kumimoji="0" lang="sv-SE" sz="2800" b="0" i="0" u="none" strike="noStrike" kern="100" cap="none" spc="0" normalizeH="0" baseline="0" noProof="0">
                <a:ln>
                  <a:noFill/>
                </a:ln>
                <a:solidFill>
                  <a:srgbClr val="404040"/>
                </a:solidFill>
                <a:effectLst/>
                <a:uLnTx/>
                <a:uFillTx/>
                <a:latin typeface="Arial"/>
                <a:ea typeface="+mn-ea"/>
                <a:cs typeface="+mn-cs"/>
              </a:rPr>
              <a:t> </a:t>
            </a:r>
            <a:r>
              <a:rPr kumimoji="0" lang="sv-SE" sz="2800" b="0" i="0" u="none" strike="noStrike" kern="100" cap="none" spc="0" normalizeH="0" baseline="0" noProof="0" err="1">
                <a:ln>
                  <a:noFill/>
                </a:ln>
                <a:solidFill>
                  <a:srgbClr val="404040"/>
                </a:solidFill>
                <a:effectLst/>
                <a:uLnTx/>
                <a:uFillTx/>
                <a:latin typeface="Arial"/>
                <a:ea typeface="+mn-ea"/>
                <a:cs typeface="+mn-cs"/>
              </a:rPr>
              <a:t>such</a:t>
            </a:r>
            <a:r>
              <a:rPr kumimoji="0" lang="sv-SE" sz="2800" b="0" i="0" u="none" strike="noStrike" kern="100" cap="none" spc="0" normalizeH="0" baseline="0" noProof="0">
                <a:ln>
                  <a:noFill/>
                </a:ln>
                <a:solidFill>
                  <a:srgbClr val="404040"/>
                </a:solidFill>
                <a:effectLst/>
                <a:uLnTx/>
                <a:uFillTx/>
                <a:latin typeface="Arial"/>
                <a:ea typeface="+mn-ea"/>
                <a:cs typeface="+mn-cs"/>
              </a:rPr>
              <a:t> as </a:t>
            </a:r>
            <a:r>
              <a:rPr kumimoji="0" lang="sv-SE" sz="2800" b="0" i="0" u="none" strike="noStrike" kern="100" cap="none" spc="0" normalizeH="0" baseline="0" noProof="0" err="1">
                <a:ln>
                  <a:noFill/>
                </a:ln>
                <a:solidFill>
                  <a:srgbClr val="404040"/>
                </a:solidFill>
                <a:effectLst/>
                <a:uLnTx/>
                <a:uFillTx/>
                <a:latin typeface="Arial"/>
                <a:ea typeface="+mn-ea"/>
                <a:cs typeface="+mn-cs"/>
              </a:rPr>
              <a:t>buildings</a:t>
            </a:r>
            <a:r>
              <a:rPr kumimoji="0" lang="sv-SE" sz="2800" b="0" i="0" u="none" strike="noStrike" kern="100" cap="none" spc="0" normalizeH="0" baseline="0" noProof="0">
                <a:ln>
                  <a:noFill/>
                </a:ln>
                <a:solidFill>
                  <a:srgbClr val="404040"/>
                </a:solidFill>
                <a:effectLst/>
                <a:uLnTx/>
                <a:uFillTx/>
                <a:latin typeface="Arial"/>
                <a:ea typeface="+mn-ea"/>
                <a:cs typeface="+mn-cs"/>
              </a:rPr>
              <a:t> and </a:t>
            </a:r>
            <a:r>
              <a:rPr kumimoji="0" lang="sv-SE" sz="2800" b="1" i="0" u="none" strike="noStrike" kern="100" cap="none" spc="0" normalizeH="0" baseline="0" noProof="0" err="1">
                <a:ln>
                  <a:noFill/>
                </a:ln>
                <a:solidFill>
                  <a:srgbClr val="404040"/>
                </a:solidFill>
                <a:effectLst/>
                <a:uLnTx/>
                <a:uFillTx/>
                <a:latin typeface="Arial"/>
                <a:ea typeface="+mn-ea"/>
                <a:cs typeface="+mn-cs"/>
              </a:rPr>
              <a:t>industry</a:t>
            </a:r>
            <a:r>
              <a:rPr kumimoji="0" lang="sv-SE" sz="2800" b="0" i="0" u="none" strike="noStrike" kern="100" cap="none" spc="0" normalizeH="0" baseline="0" noProof="0">
                <a:ln>
                  <a:noFill/>
                </a:ln>
                <a:solidFill>
                  <a:srgbClr val="404040"/>
                </a:solidFill>
                <a:effectLst/>
                <a:uLnTx/>
                <a:uFillTx/>
                <a:latin typeface="Arial"/>
                <a:ea typeface="+mn-ea"/>
                <a:cs typeface="+mn-cs"/>
              </a:rPr>
              <a:t>)</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sv-SE" sz="3600" b="0" i="0" u="sng" strike="noStrike" kern="100" cap="none" spc="0" normalizeH="0" baseline="0" noProof="0">
                <a:ln>
                  <a:noFill/>
                </a:ln>
                <a:solidFill>
                  <a:srgbClr val="404040"/>
                </a:solidFill>
                <a:effectLst/>
                <a:uLnTx/>
                <a:uFillTx/>
                <a:latin typeface="Arial"/>
                <a:ea typeface="+mn-ea"/>
                <a:cs typeface="+mn-cs"/>
              </a:rPr>
              <a:t>1.3 The </a:t>
            </a:r>
            <a:r>
              <a:rPr kumimoji="0" lang="sv-SE" sz="3600" b="0" i="0" u="sng" strike="noStrike" kern="100" cap="none" spc="0" normalizeH="0" baseline="0" noProof="0" err="1">
                <a:ln>
                  <a:noFill/>
                </a:ln>
                <a:solidFill>
                  <a:srgbClr val="404040"/>
                </a:solidFill>
                <a:effectLst/>
                <a:uLnTx/>
                <a:uFillTx/>
                <a:latin typeface="Arial"/>
                <a:ea typeface="+mn-ea"/>
                <a:cs typeface="+mn-cs"/>
              </a:rPr>
              <a:t>European</a:t>
            </a:r>
            <a:r>
              <a:rPr kumimoji="0" lang="sv-SE" sz="3600" b="0" i="0" u="sng" strike="noStrike" kern="100" cap="none" spc="0" normalizeH="0" baseline="0" noProof="0">
                <a:ln>
                  <a:noFill/>
                </a:ln>
                <a:solidFill>
                  <a:srgbClr val="404040"/>
                </a:solidFill>
                <a:effectLst/>
                <a:uLnTx/>
                <a:uFillTx/>
                <a:latin typeface="Arial"/>
                <a:ea typeface="+mn-ea"/>
                <a:cs typeface="+mn-cs"/>
              </a:rPr>
              <a:t> Green Deal</a:t>
            </a:r>
          </a:p>
          <a:p>
            <a:pPr marL="1028700" marR="0" lvl="1" indent="-571500" algn="l" defTabSz="914400" rtl="0" eaLnBrk="1" fontAlgn="auto" latinLnBrk="0" hangingPunct="1">
              <a:lnSpc>
                <a:spcPct val="150000"/>
              </a:lnSpc>
              <a:spcBef>
                <a:spcPts val="0"/>
              </a:spcBef>
              <a:spcAft>
                <a:spcPts val="0"/>
              </a:spcAft>
              <a:buClrTx/>
              <a:buSzTx/>
              <a:buFont typeface="Courier New" panose="02070309020205020404" pitchFamily="49" charset="0"/>
              <a:buChar char="o"/>
              <a:tabLst/>
              <a:defRPr/>
            </a:pPr>
            <a:r>
              <a:rPr kumimoji="0" lang="sv-SE" sz="2800" b="0" i="0" u="none" strike="noStrike" kern="100" cap="none" spc="0" normalizeH="0" baseline="0" noProof="0">
                <a:ln>
                  <a:noFill/>
                </a:ln>
                <a:solidFill>
                  <a:srgbClr val="404040"/>
                </a:solidFill>
                <a:effectLst/>
                <a:uLnTx/>
                <a:uFillTx/>
                <a:latin typeface="Arial"/>
                <a:ea typeface="+mn-ea"/>
                <a:cs typeface="+mn-cs"/>
              </a:rPr>
              <a:t>The </a:t>
            </a:r>
            <a:r>
              <a:rPr kumimoji="0" lang="sv-SE" sz="2800" b="0" i="0" u="none" strike="noStrike" kern="100" cap="none" spc="0" normalizeH="0" baseline="0" noProof="0" err="1">
                <a:ln>
                  <a:noFill/>
                </a:ln>
                <a:solidFill>
                  <a:srgbClr val="404040"/>
                </a:solidFill>
                <a:effectLst/>
                <a:uLnTx/>
                <a:uFillTx/>
                <a:latin typeface="Arial"/>
                <a:ea typeface="+mn-ea"/>
                <a:cs typeface="+mn-cs"/>
              </a:rPr>
              <a:t>Circular</a:t>
            </a:r>
            <a:r>
              <a:rPr kumimoji="0" lang="sv-SE" sz="2800" b="0" i="0" u="none" strike="noStrike" kern="100" cap="none" spc="0" normalizeH="0" baseline="0" noProof="0">
                <a:ln>
                  <a:noFill/>
                </a:ln>
                <a:solidFill>
                  <a:srgbClr val="404040"/>
                </a:solidFill>
                <a:effectLst/>
                <a:uLnTx/>
                <a:uFillTx/>
                <a:latin typeface="Arial"/>
                <a:ea typeface="+mn-ea"/>
                <a:cs typeface="+mn-cs"/>
              </a:rPr>
              <a:t> </a:t>
            </a:r>
            <a:r>
              <a:rPr kumimoji="0" lang="sv-SE" sz="2800" b="0" i="0" u="none" strike="noStrike" kern="100" cap="none" spc="0" normalizeH="0" baseline="0" noProof="0" err="1">
                <a:ln>
                  <a:noFill/>
                </a:ln>
                <a:solidFill>
                  <a:srgbClr val="404040"/>
                </a:solidFill>
                <a:effectLst/>
                <a:uLnTx/>
                <a:uFillTx/>
                <a:latin typeface="Arial"/>
                <a:ea typeface="+mn-ea"/>
                <a:cs typeface="+mn-cs"/>
              </a:rPr>
              <a:t>Economy</a:t>
            </a:r>
            <a:r>
              <a:rPr kumimoji="0" lang="sv-SE" sz="2800" b="0" i="0" u="none" strike="noStrike" kern="100" cap="none" spc="0" normalizeH="0" baseline="0" noProof="0">
                <a:ln>
                  <a:noFill/>
                </a:ln>
                <a:solidFill>
                  <a:srgbClr val="404040"/>
                </a:solidFill>
                <a:effectLst/>
                <a:uLnTx/>
                <a:uFillTx/>
                <a:latin typeface="Arial"/>
                <a:ea typeface="+mn-ea"/>
                <a:cs typeface="+mn-cs"/>
              </a:rPr>
              <a:t> Action Plan</a:t>
            </a:r>
          </a:p>
          <a:p>
            <a:pPr marL="1028700" marR="0" lvl="1" indent="-571500" algn="l" defTabSz="914400" rtl="0" eaLnBrk="1" fontAlgn="auto" latinLnBrk="0" hangingPunct="1">
              <a:lnSpc>
                <a:spcPct val="150000"/>
              </a:lnSpc>
              <a:spcBef>
                <a:spcPts val="0"/>
              </a:spcBef>
              <a:spcAft>
                <a:spcPts val="0"/>
              </a:spcAft>
              <a:buClrTx/>
              <a:buSzTx/>
              <a:buFont typeface="Courier New" panose="02070309020205020404" pitchFamily="49" charset="0"/>
              <a:buChar char="o"/>
              <a:tabLst/>
              <a:defRPr/>
            </a:pPr>
            <a:r>
              <a:rPr kumimoji="0" lang="sv-SE" sz="2800" b="0" i="0" u="none" strike="noStrike" kern="100" cap="none" spc="0" normalizeH="0" baseline="0" noProof="0">
                <a:ln>
                  <a:noFill/>
                </a:ln>
                <a:solidFill>
                  <a:srgbClr val="404040"/>
                </a:solidFill>
                <a:effectLst/>
                <a:uLnTx/>
                <a:uFillTx/>
                <a:latin typeface="Arial"/>
                <a:ea typeface="+mn-ea"/>
                <a:cs typeface="+mn-cs"/>
              </a:rPr>
              <a:t>Green and digital transitions </a:t>
            </a:r>
            <a:r>
              <a:rPr kumimoji="0" lang="sv-SE" sz="2800" b="0" i="0" u="none" strike="noStrike" kern="100" cap="none" spc="0" normalizeH="0" baseline="0" noProof="0" err="1">
                <a:ln>
                  <a:noFill/>
                </a:ln>
                <a:solidFill>
                  <a:srgbClr val="404040"/>
                </a:solidFill>
                <a:effectLst/>
                <a:uLnTx/>
                <a:uFillTx/>
                <a:latin typeface="Arial"/>
                <a:ea typeface="+mn-ea"/>
                <a:cs typeface="+mn-cs"/>
              </a:rPr>
              <a:t>of</a:t>
            </a:r>
            <a:r>
              <a:rPr kumimoji="0" lang="sv-SE" sz="2800" b="0" i="0" u="none" strike="noStrike" kern="100" cap="none" spc="0" normalizeH="0" baseline="0" noProof="0">
                <a:ln>
                  <a:noFill/>
                </a:ln>
                <a:solidFill>
                  <a:srgbClr val="404040"/>
                </a:solidFill>
                <a:effectLst/>
                <a:uLnTx/>
                <a:uFillTx/>
                <a:latin typeface="Arial"/>
                <a:ea typeface="+mn-ea"/>
                <a:cs typeface="+mn-cs"/>
              </a:rPr>
              <a:t> EU </a:t>
            </a:r>
            <a:r>
              <a:rPr kumimoji="0" lang="sv-SE" sz="2800" b="0" i="0" u="none" strike="noStrike" kern="100" cap="none" spc="0" normalizeH="0" baseline="0" noProof="0" err="1">
                <a:ln>
                  <a:noFill/>
                </a:ln>
                <a:solidFill>
                  <a:srgbClr val="404040"/>
                </a:solidFill>
                <a:effectLst/>
                <a:uLnTx/>
                <a:uFillTx/>
                <a:latin typeface="Arial"/>
                <a:ea typeface="+mn-ea"/>
                <a:cs typeface="+mn-cs"/>
              </a:rPr>
              <a:t>industry</a:t>
            </a:r>
            <a:endParaRPr kumimoji="0" lang="sv-SE" sz="2800" b="0" i="0" u="none" strike="noStrike" kern="100" cap="none" spc="0" normalizeH="0" baseline="0" noProof="0">
              <a:ln>
                <a:noFill/>
              </a:ln>
              <a:solidFill>
                <a:srgbClr val="404040"/>
              </a:solidFill>
              <a:effectLst/>
              <a:uLnTx/>
              <a:uFillTx/>
              <a:latin typeface="Arial"/>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sv-SE" sz="3600" b="0" i="0" u="sng" strike="noStrike" kern="100" cap="none" spc="0" normalizeH="0" baseline="0" noProof="0">
                <a:ln>
                  <a:noFill/>
                </a:ln>
                <a:solidFill>
                  <a:srgbClr val="404040"/>
                </a:solidFill>
                <a:effectLst/>
                <a:uLnTx/>
                <a:uFillTx/>
                <a:latin typeface="Arial"/>
                <a:ea typeface="+mn-ea"/>
                <a:cs typeface="+mn-cs"/>
              </a:rPr>
              <a:t>1.4 </a:t>
            </a:r>
            <a:r>
              <a:rPr kumimoji="0" lang="en-US" sz="3600" b="0" i="0" u="sng" strike="noStrike" kern="100" cap="none" spc="0" normalizeH="0" baseline="0" noProof="0">
                <a:ln>
                  <a:noFill/>
                </a:ln>
                <a:solidFill>
                  <a:srgbClr val="404040"/>
                </a:solidFill>
                <a:effectLst/>
                <a:uLnTx/>
                <a:uFillTx/>
                <a:latin typeface="Arial"/>
                <a:ea typeface="+mn-ea"/>
                <a:cs typeface="+mn-cs"/>
              </a:rPr>
              <a:t>The EU Resource Efficiency Roadmap</a:t>
            </a:r>
          </a:p>
          <a:p>
            <a:pPr marL="1028700" marR="0" lvl="1" indent="-571500" algn="l" defTabSz="914400" rtl="0" eaLnBrk="1" fontAlgn="auto" latinLnBrk="0" hangingPunct="1">
              <a:lnSpc>
                <a:spcPct val="150000"/>
              </a:lnSpc>
              <a:spcBef>
                <a:spcPts val="0"/>
              </a:spcBef>
              <a:spcAft>
                <a:spcPts val="0"/>
              </a:spcAft>
              <a:buClrTx/>
              <a:buSzTx/>
              <a:buFont typeface="Courier New" panose="02070309020205020404" pitchFamily="49" charset="0"/>
              <a:buChar char="o"/>
              <a:tabLst/>
              <a:defRPr/>
            </a:pPr>
            <a:r>
              <a:rPr kumimoji="0" lang="en-US" sz="2800" b="0" i="0" u="none" strike="noStrike" kern="100" cap="none" spc="0" normalizeH="0" baseline="0" noProof="0">
                <a:ln>
                  <a:noFill/>
                </a:ln>
                <a:solidFill>
                  <a:srgbClr val="404040"/>
                </a:solidFill>
                <a:effectLst/>
                <a:uLnTx/>
                <a:uFillTx/>
                <a:latin typeface="Arial"/>
                <a:ea typeface="+mn-ea"/>
                <a:cs typeface="+mn-cs"/>
              </a:rPr>
              <a:t>Use of life-cycle assessment methodologies</a:t>
            </a:r>
          </a:p>
          <a:p>
            <a:pPr marL="1028700" marR="0" lvl="1" indent="-571500" algn="l" defTabSz="914400" rtl="0" eaLnBrk="1" fontAlgn="auto" latinLnBrk="0" hangingPunct="1">
              <a:lnSpc>
                <a:spcPct val="150000"/>
              </a:lnSpc>
              <a:spcBef>
                <a:spcPts val="0"/>
              </a:spcBef>
              <a:spcAft>
                <a:spcPts val="0"/>
              </a:spcAft>
              <a:buClrTx/>
              <a:buSzTx/>
              <a:buFont typeface="Courier New" panose="02070309020205020404" pitchFamily="49" charset="0"/>
              <a:buChar char="o"/>
              <a:tabLst/>
              <a:defRPr/>
            </a:pPr>
            <a:r>
              <a:rPr kumimoji="0" lang="en-US" sz="2800" b="0" i="0" u="none" strike="noStrike" kern="100" cap="none" spc="0" normalizeH="0" baseline="0" noProof="0">
                <a:ln>
                  <a:noFill/>
                </a:ln>
                <a:solidFill>
                  <a:srgbClr val="404040"/>
                </a:solidFill>
                <a:effectLst/>
                <a:uLnTx/>
                <a:uFillTx/>
                <a:latin typeface="Arial"/>
                <a:ea typeface="+mn-ea"/>
                <a:cs typeface="+mn-cs"/>
              </a:rPr>
              <a:t>Use of a harmonized environmental footprint of products </a:t>
            </a:r>
            <a:endParaRPr kumimoji="0" lang="sv-SE" sz="2800" b="0" i="0" u="none" strike="noStrike" kern="100" cap="none" spc="0" normalizeH="0" baseline="0" noProof="0">
              <a:ln>
                <a:noFill/>
              </a:ln>
              <a:solidFill>
                <a:srgbClr val="404040"/>
              </a:solidFill>
              <a:effectLst/>
              <a:uLnTx/>
              <a:uFillTx/>
              <a:latin typeface="Arial"/>
              <a:ea typeface="+mn-ea"/>
              <a:cs typeface="+mn-cs"/>
            </a:endParaRPr>
          </a:p>
          <a:p>
            <a:pPr marL="1028700" marR="0" lvl="1" indent="-57150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kumimoji="0" lang="sv-SE" sz="3600" b="0" i="0" u="none" strike="noStrike" kern="100" cap="none" spc="0" normalizeH="0" baseline="0" noProof="0">
              <a:ln>
                <a:noFill/>
              </a:ln>
              <a:solidFill>
                <a:srgbClr val="404040"/>
              </a:solidFill>
              <a:effectLst/>
              <a:uLnTx/>
              <a:uFillTx/>
              <a:latin typeface="Arial"/>
              <a:ea typeface="Noto Sans CJK SC"/>
              <a:cs typeface="Lohit Devanagari"/>
            </a:endParaRPr>
          </a:p>
        </p:txBody>
      </p:sp>
      <p:sp>
        <p:nvSpPr>
          <p:cNvPr id="15" name="TextBox 13">
            <a:extLst>
              <a:ext uri="{FF2B5EF4-FFF2-40B4-BE49-F238E27FC236}">
                <a16:creationId xmlns:a16="http://schemas.microsoft.com/office/drawing/2014/main" id="{23CC023F-E19A-4597-A1BA-3FD27E1B3CC2}"/>
              </a:ext>
            </a:extLst>
          </p:cNvPr>
          <p:cNvSpPr txBox="1"/>
          <p:nvPr/>
        </p:nvSpPr>
        <p:spPr>
          <a:xfrm>
            <a:off x="522514" y="1004417"/>
            <a:ext cx="16729529" cy="1052468"/>
          </a:xfrm>
          <a:prstGeom prst="rect">
            <a:avLst/>
          </a:prstGeom>
        </p:spPr>
        <p:txBody>
          <a:bodyPr wrap="square" lIns="0" tIns="0" rIns="0" bIns="0" rtlCol="0" anchor="t">
            <a:spAutoFit/>
          </a:bodyPr>
          <a:lstStyle/>
          <a:p>
            <a:pPr marL="0" marR="0" lvl="0" indent="0" algn="ctr" defTabSz="914400" rtl="0" eaLnBrk="1" fontAlgn="auto" latinLnBrk="0" hangingPunct="1">
              <a:lnSpc>
                <a:spcPts val="8960"/>
              </a:lnSpc>
              <a:spcBef>
                <a:spcPct val="0"/>
              </a:spcBef>
              <a:spcAft>
                <a:spcPts val="0"/>
              </a:spcAft>
              <a:buClrTx/>
              <a:buSzTx/>
              <a:buFontTx/>
              <a:buNone/>
              <a:tabLst/>
              <a:defRPr/>
            </a:pPr>
            <a:r>
              <a:rPr kumimoji="0" lang="en-US" sz="6400" b="1" i="0" u="none" strike="noStrike" kern="1200" cap="none" spc="0" normalizeH="0" baseline="0" noProof="0">
                <a:ln>
                  <a:noFill/>
                </a:ln>
                <a:solidFill>
                  <a:srgbClr val="CC0033"/>
                </a:solidFill>
                <a:effectLst/>
                <a:uLnTx/>
                <a:uFillTx/>
                <a:latin typeface="Arial"/>
                <a:ea typeface="+mn-ea"/>
                <a:cs typeface="Arial" panose="020B0604020202020204" pitchFamily="34" charset="0"/>
              </a:rPr>
              <a:t>Other relevant EU policies for industries</a:t>
            </a:r>
          </a:p>
        </p:txBody>
      </p:sp>
      <p:sp>
        <p:nvSpPr>
          <p:cNvPr id="4" name="Scroll: Vertical 3">
            <a:extLst>
              <a:ext uri="{FF2B5EF4-FFF2-40B4-BE49-F238E27FC236}">
                <a16:creationId xmlns:a16="http://schemas.microsoft.com/office/drawing/2014/main" id="{7064BA3B-C372-4533-A369-CE958B941DED}"/>
              </a:ext>
            </a:extLst>
          </p:cNvPr>
          <p:cNvSpPr/>
          <p:nvPr/>
        </p:nvSpPr>
        <p:spPr>
          <a:xfrm>
            <a:off x="15214496" y="2493437"/>
            <a:ext cx="2550990" cy="6052078"/>
          </a:xfrm>
          <a:prstGeom prst="verticalScroll">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br>
              <a:rPr kumimoji="0" lang="en-US" sz="1800" b="0" i="0" u="none" strike="noStrike" kern="1200" cap="none" spc="0" normalizeH="0" baseline="0" noProof="0">
                <a:ln>
                  <a:noFill/>
                </a:ln>
                <a:solidFill>
                  <a:srgbClr val="FFFFFF"/>
                </a:solidFill>
                <a:effectLst/>
                <a:uLnTx/>
                <a:uFillTx/>
                <a:latin typeface="Arial"/>
                <a:ea typeface="+mn-ea"/>
                <a:cs typeface="+mn-cs"/>
              </a:rPr>
            </a:br>
            <a:r>
              <a:rPr kumimoji="0" lang="en-US" sz="2000" b="1" i="1" u="none" strike="noStrike" kern="1200" cap="none" spc="0" normalizeH="0" baseline="0" noProof="0">
                <a:ln>
                  <a:noFill/>
                </a:ln>
                <a:solidFill>
                  <a:srgbClr val="FFFFFF"/>
                </a:solidFill>
                <a:effectLst/>
                <a:uLnTx/>
                <a:uFillTx/>
                <a:latin typeface="Arial"/>
                <a:ea typeface="+mn-ea"/>
                <a:cs typeface="+mn-cs"/>
              </a:rPr>
              <a:t>Final energy consumption: </a:t>
            </a:r>
            <a:r>
              <a:rPr kumimoji="0" lang="en-US" sz="1800" b="0" i="0" u="none" strike="noStrike" kern="1200" cap="none" spc="0" normalizeH="0" baseline="0" noProof="0">
                <a:ln>
                  <a:noFill/>
                </a:ln>
                <a:solidFill>
                  <a:srgbClr val="FFFFFF"/>
                </a:solidFill>
                <a:effectLst/>
                <a:uLnTx/>
                <a:uFillTx/>
                <a:latin typeface="Arial"/>
                <a:ea typeface="+mn-ea"/>
                <a:cs typeface="+mn-cs"/>
              </a:rPr>
              <a:t>All energy </a:t>
            </a:r>
            <a:r>
              <a:rPr kumimoji="0" lang="en-US" sz="1800" b="1" i="0" u="none" strike="noStrike" kern="1200" cap="none" spc="0" normalizeH="0" baseline="0" noProof="0">
                <a:ln>
                  <a:noFill/>
                </a:ln>
                <a:solidFill>
                  <a:srgbClr val="FFFFFF"/>
                </a:solidFill>
                <a:effectLst/>
                <a:uLnTx/>
                <a:uFillTx/>
                <a:latin typeface="Arial"/>
                <a:ea typeface="+mn-ea"/>
                <a:cs typeface="+mn-cs"/>
              </a:rPr>
              <a:t>supplied</a:t>
            </a:r>
            <a:r>
              <a:rPr kumimoji="0" lang="en-US" sz="1800" b="0" i="0" u="none" strike="noStrike" kern="1200" cap="none" spc="0" normalizeH="0" baseline="0" noProof="0">
                <a:ln>
                  <a:noFill/>
                </a:ln>
                <a:solidFill>
                  <a:srgbClr val="FFFFFF"/>
                </a:solidFill>
                <a:effectLst/>
                <a:uLnTx/>
                <a:uFillTx/>
                <a:latin typeface="Arial"/>
                <a:ea typeface="+mn-ea"/>
                <a:cs typeface="+mn-cs"/>
              </a:rPr>
              <a:t> to industry, transport, households, services and agriculture. It excludes deliveries to the energy transformation sector and the energy industries themselve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746907287"/>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6"/>
            <a:ext cx="13958844" cy="666567"/>
            <a:chOff x="4329156" y="9649198"/>
            <a:chExt cx="13958844" cy="666567"/>
          </a:xfrm>
        </p:grpSpPr>
        <p:pic>
          <p:nvPicPr>
            <p:cNvPr id="18" name="Picture 12" descr="Background pattern&#10;&#10;Description automatically generated">
              <a:extLst>
                <a:ext uri="{FF2B5EF4-FFF2-40B4-BE49-F238E27FC236}">
                  <a16:creationId xmlns:a16="http://schemas.microsoft.com/office/drawing/2014/main" id="{656E1DC6-816C-4843-B17E-566C3C339AB5}"/>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marL="0" marR="0" lvl="0" indent="0" algn="ctr" defTabSz="914400" rtl="0" eaLnBrk="1" fontAlgn="auto" latinLnBrk="0" hangingPunct="1">
                <a:lnSpc>
                  <a:spcPts val="3919"/>
                </a:lnSpc>
                <a:spcBef>
                  <a:spcPct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OCR A Extended" panose="02010509020102010303" pitchFamily="50" charset="0"/>
                  <a:ea typeface="+mn-ea"/>
                  <a:cs typeface="+mn-cs"/>
                </a:rPr>
                <a:t>www.retrofeed.eu</a:t>
              </a:r>
            </a:p>
          </p:txBody>
        </p:sp>
      </p:grpSp>
      <p:pic>
        <p:nvPicPr>
          <p:cNvPr id="20" name="Picture 12" descr="Logo&#10;&#10;Description automatically generated">
            <a:extLst>
              <a:ext uri="{FF2B5EF4-FFF2-40B4-BE49-F238E27FC236}">
                <a16:creationId xmlns:a16="http://schemas.microsoft.com/office/drawing/2014/main" id="{FF4E0145-0EE4-4FAB-85AC-C3A9A6BF4D25}"/>
              </a:ext>
            </a:extLst>
          </p:cNvPr>
          <p:cNvPicPr>
            <a:picLocks noChangeAspect="1"/>
          </p:cNvPicPr>
          <p:nvPr/>
        </p:nvPicPr>
        <p:blipFill>
          <a:blip r:embed="rId4"/>
          <a:srcRect/>
          <a:stretch>
            <a:fillRect/>
          </a:stretch>
        </p:blipFill>
        <p:spPr>
          <a:xfrm>
            <a:off x="0" y="9499590"/>
            <a:ext cx="3247053" cy="787410"/>
          </a:xfrm>
          <a:prstGeom prst="rect">
            <a:avLst/>
          </a:prstGeom>
        </p:spPr>
      </p:pic>
      <p:grpSp>
        <p:nvGrpSpPr>
          <p:cNvPr id="3" name="Gruppo 2">
            <a:extLst>
              <a:ext uri="{FF2B5EF4-FFF2-40B4-BE49-F238E27FC236}">
                <a16:creationId xmlns:a16="http://schemas.microsoft.com/office/drawing/2014/main" id="{D0B44AFC-EABA-48CF-A7A8-348076F88921}"/>
              </a:ext>
            </a:extLst>
          </p:cNvPr>
          <p:cNvGrpSpPr/>
          <p:nvPr/>
        </p:nvGrpSpPr>
        <p:grpSpPr>
          <a:xfrm>
            <a:off x="-12" y="138554"/>
            <a:ext cx="18288002" cy="681138"/>
            <a:chOff x="-12" y="138554"/>
            <a:chExt cx="18288002" cy="681138"/>
          </a:xfrm>
        </p:grpSpPr>
        <p:grpSp>
          <p:nvGrpSpPr>
            <p:cNvPr id="16" name="Gruppo 15">
              <a:extLst>
                <a:ext uri="{FF2B5EF4-FFF2-40B4-BE49-F238E27FC236}">
                  <a16:creationId xmlns:a16="http://schemas.microsoft.com/office/drawing/2014/main" id="{DAC42A46-917D-41AB-8F07-E15E54D0F7D4}"/>
                </a:ext>
              </a:extLst>
            </p:cNvPr>
            <p:cNvGrpSpPr/>
            <p:nvPr/>
          </p:nvGrpSpPr>
          <p:grpSpPr>
            <a:xfrm>
              <a:off x="0" y="153125"/>
              <a:ext cx="13958844" cy="666567"/>
              <a:chOff x="0" y="153125"/>
              <a:chExt cx="13958844" cy="666567"/>
            </a:xfrm>
          </p:grpSpPr>
          <p:pic>
            <p:nvPicPr>
              <p:cNvPr id="10" name="Picture 10" descr="Background pattern&#10;&#10;Description automatically generated"/>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1" name="TextBox 11"/>
              <p:cNvSpPr txBox="1"/>
              <p:nvPr/>
            </p:nvSpPr>
            <p:spPr>
              <a:xfrm>
                <a:off x="228600" y="257980"/>
                <a:ext cx="5752704" cy="456856"/>
              </a:xfrm>
              <a:prstGeom prst="rect">
                <a:avLst/>
              </a:prstGeom>
            </p:spPr>
            <p:txBody>
              <a:bodyPr wrap="square" lIns="0" tIns="0" rIns="0" bIns="0" rtlCol="0" anchor="t">
                <a:spAutoFit/>
              </a:bodyPr>
              <a:lstStyle/>
              <a:p>
                <a:pPr marL="0" marR="0" lvl="0" indent="0" algn="l" defTabSz="914400" rtl="0" eaLnBrk="1" fontAlgn="auto" latinLnBrk="0" hangingPunct="1">
                  <a:lnSpc>
                    <a:spcPts val="3919"/>
                  </a:lnSpc>
                  <a:spcBef>
                    <a:spcPct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5" name="Rettangolo 14">
              <a:extLst>
                <a:ext uri="{FF2B5EF4-FFF2-40B4-BE49-F238E27FC236}">
                  <a16:creationId xmlns:a16="http://schemas.microsoft.com/office/drawing/2014/main" id="{AFFDA913-633F-49C2-9D71-573FB327981F}"/>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27" name="TextBox 13">
            <a:extLst>
              <a:ext uri="{FF2B5EF4-FFF2-40B4-BE49-F238E27FC236}">
                <a16:creationId xmlns:a16="http://schemas.microsoft.com/office/drawing/2014/main" id="{C7197FAA-9C82-4C25-B208-2BF8170DA3D1}"/>
              </a:ext>
            </a:extLst>
          </p:cNvPr>
          <p:cNvSpPr txBox="1"/>
          <p:nvPr/>
        </p:nvSpPr>
        <p:spPr>
          <a:xfrm>
            <a:off x="0" y="902785"/>
            <a:ext cx="18288000" cy="1040798"/>
          </a:xfrm>
          <a:prstGeom prst="rect">
            <a:avLst/>
          </a:prstGeom>
        </p:spPr>
        <p:txBody>
          <a:bodyPr wrap="square" lIns="0" tIns="0" rIns="0" bIns="0" rtlCol="0" anchor="t">
            <a:spAutoFit/>
          </a:bodyPr>
          <a:lstStyle/>
          <a:p>
            <a:pPr marL="0" marR="0" lvl="0" indent="0" algn="ctr" defTabSz="914400" rtl="0" eaLnBrk="1" fontAlgn="auto" latinLnBrk="0" hangingPunct="1">
              <a:lnSpc>
                <a:spcPts val="8960"/>
              </a:lnSpc>
              <a:spcBef>
                <a:spcPct val="0"/>
              </a:spcBef>
              <a:spcAft>
                <a:spcPts val="0"/>
              </a:spcAft>
              <a:buClrTx/>
              <a:buSzTx/>
              <a:buFontTx/>
              <a:buNone/>
              <a:tabLst/>
              <a:defRPr/>
            </a:pPr>
            <a:r>
              <a:rPr kumimoji="0" lang="en-US" sz="6000" b="1" i="0" u="none" strike="noStrike" kern="1200" cap="none" spc="0" normalizeH="0" baseline="0" noProof="0">
                <a:ln>
                  <a:noFill/>
                </a:ln>
                <a:solidFill>
                  <a:srgbClr val="CC0033"/>
                </a:solidFill>
                <a:effectLst/>
                <a:uLnTx/>
                <a:uFillTx/>
                <a:latin typeface="Arial"/>
                <a:ea typeface="+mn-ea"/>
                <a:cs typeface="Arial" panose="020B0604020202020204" pitchFamily="34" charset="0"/>
              </a:rPr>
              <a:t>Getting started with modelling of a Digital Twin</a:t>
            </a:r>
          </a:p>
        </p:txBody>
      </p:sp>
      <p:sp>
        <p:nvSpPr>
          <p:cNvPr id="5" name="TextBox 4">
            <a:extLst>
              <a:ext uri="{FF2B5EF4-FFF2-40B4-BE49-F238E27FC236}">
                <a16:creationId xmlns:a16="http://schemas.microsoft.com/office/drawing/2014/main" id="{376721AF-34DB-2779-C09F-203C5FD56946}"/>
              </a:ext>
            </a:extLst>
          </p:cNvPr>
          <p:cNvSpPr txBox="1"/>
          <p:nvPr/>
        </p:nvSpPr>
        <p:spPr>
          <a:xfrm>
            <a:off x="778475" y="3839028"/>
            <a:ext cx="16669265" cy="3631763"/>
          </a:xfrm>
          <a:prstGeom prst="rect">
            <a:avLst/>
          </a:prstGeom>
          <a:noFill/>
        </p:spPr>
        <p:txBody>
          <a:bodyPr wrap="square">
            <a:spAutoFit/>
          </a:bodyPr>
          <a:lstStyle/>
          <a:p>
            <a:pPr marL="342900" marR="0" lvl="0" indent="-342900" algn="l" defTabSz="914400" rtl="0" eaLnBrk="1" fontAlgn="auto" latinLnBrk="0" hangingPunct="1">
              <a:lnSpc>
                <a:spcPct val="100000"/>
              </a:lnSpc>
              <a:spcBef>
                <a:spcPts val="5"/>
              </a:spcBef>
              <a:spcAft>
                <a:spcPts val="0"/>
              </a:spcAft>
              <a:buClrTx/>
              <a:buSzPts val="1100"/>
              <a:buFont typeface="Symbol" panose="05050102010706020507" pitchFamily="18" charset="2"/>
              <a:buChar char=""/>
              <a:tabLst>
                <a:tab pos="1176020" algn="l"/>
                <a:tab pos="1176655" algn="l"/>
              </a:tabLst>
              <a:defRPr/>
            </a:pPr>
            <a:r>
              <a:rPr kumimoji="0" lang="en-US" sz="4400" b="0" i="0" u="none" strike="noStrike" kern="1200" cap="none" spc="0" normalizeH="0" baseline="0" noProof="0">
                <a:ln>
                  <a:noFill/>
                </a:ln>
                <a:solidFill>
                  <a:srgbClr val="2F2F2F"/>
                </a:solidFill>
                <a:effectLst/>
                <a:uLnTx/>
                <a:uFillTx/>
                <a:latin typeface="Arial MT"/>
                <a:ea typeface="Symbol" panose="05050102010706020507" pitchFamily="18" charset="2"/>
                <a:cs typeface="Symbol" panose="05050102010706020507" pitchFamily="18" charset="2"/>
              </a:rPr>
              <a:t>Step 1: Identify</a:t>
            </a:r>
            <a:r>
              <a:rPr kumimoji="0" lang="en-US" sz="4400" b="0" i="0" u="none" strike="noStrike" kern="1200" cap="none" spc="-20" normalizeH="0" baseline="0" noProof="0">
                <a:ln>
                  <a:noFill/>
                </a:ln>
                <a:solidFill>
                  <a:srgbClr val="2F2F2F"/>
                </a:solidFill>
                <a:effectLst/>
                <a:uLnTx/>
                <a:uFillTx/>
                <a:latin typeface="Arial MT"/>
                <a:ea typeface="Symbol" panose="05050102010706020507" pitchFamily="18" charset="2"/>
                <a:cs typeface="Symbol" panose="05050102010706020507" pitchFamily="18" charset="2"/>
              </a:rPr>
              <a:t> </a:t>
            </a:r>
            <a:r>
              <a:rPr kumimoji="0" lang="en-US" sz="4400" b="0" i="0" u="none" strike="noStrike" kern="1200" cap="none" spc="0" normalizeH="0" baseline="0" noProof="0">
                <a:ln>
                  <a:noFill/>
                </a:ln>
                <a:solidFill>
                  <a:srgbClr val="2F2F2F"/>
                </a:solidFill>
                <a:effectLst/>
                <a:uLnTx/>
                <a:uFillTx/>
                <a:latin typeface="Arial MT"/>
                <a:ea typeface="Symbol" panose="05050102010706020507" pitchFamily="18" charset="2"/>
                <a:cs typeface="Symbol" panose="05050102010706020507" pitchFamily="18" charset="2"/>
              </a:rPr>
              <a:t>the</a:t>
            </a:r>
            <a:r>
              <a:rPr kumimoji="0" lang="en-US" sz="4400" b="0" i="0" u="none" strike="noStrike" kern="1200" cap="none" spc="-5" normalizeH="0" baseline="0" noProof="0">
                <a:ln>
                  <a:noFill/>
                </a:ln>
                <a:solidFill>
                  <a:srgbClr val="2F2F2F"/>
                </a:solidFill>
                <a:effectLst/>
                <a:uLnTx/>
                <a:uFillTx/>
                <a:latin typeface="Arial MT"/>
                <a:ea typeface="Symbol" panose="05050102010706020507" pitchFamily="18" charset="2"/>
                <a:cs typeface="Symbol" panose="05050102010706020507" pitchFamily="18" charset="2"/>
              </a:rPr>
              <a:t> </a:t>
            </a:r>
            <a:r>
              <a:rPr kumimoji="0" lang="en-US" sz="4400" b="0" i="0" u="none" strike="noStrike" kern="1200" cap="none" spc="0" normalizeH="0" baseline="0" noProof="0">
                <a:ln>
                  <a:noFill/>
                </a:ln>
                <a:solidFill>
                  <a:srgbClr val="2F2F2F"/>
                </a:solidFill>
                <a:effectLst/>
                <a:uLnTx/>
                <a:uFillTx/>
                <a:latin typeface="Arial MT"/>
                <a:ea typeface="Symbol" panose="05050102010706020507" pitchFamily="18" charset="2"/>
                <a:cs typeface="Symbol" panose="05050102010706020507" pitchFamily="18" charset="2"/>
              </a:rPr>
              <a:t>boundaries</a:t>
            </a:r>
            <a:r>
              <a:rPr kumimoji="0" lang="en-US" sz="4400" b="0" i="0" u="none" strike="noStrike" kern="1200" cap="none" spc="-20" normalizeH="0" baseline="0" noProof="0">
                <a:ln>
                  <a:noFill/>
                </a:ln>
                <a:solidFill>
                  <a:srgbClr val="2F2F2F"/>
                </a:solidFill>
                <a:effectLst/>
                <a:uLnTx/>
                <a:uFillTx/>
                <a:latin typeface="Arial MT"/>
                <a:ea typeface="Symbol" panose="05050102010706020507" pitchFamily="18" charset="2"/>
                <a:cs typeface="Symbol" panose="05050102010706020507" pitchFamily="18" charset="2"/>
              </a:rPr>
              <a:t> </a:t>
            </a:r>
            <a:r>
              <a:rPr kumimoji="0" lang="en-US" sz="4400" b="0" i="0" u="none" strike="noStrike" kern="1200" cap="none" spc="0" normalizeH="0" baseline="0" noProof="0">
                <a:ln>
                  <a:noFill/>
                </a:ln>
                <a:solidFill>
                  <a:srgbClr val="2F2F2F"/>
                </a:solidFill>
                <a:effectLst/>
                <a:uLnTx/>
                <a:uFillTx/>
                <a:latin typeface="Arial MT"/>
                <a:ea typeface="Symbol" panose="05050102010706020507" pitchFamily="18" charset="2"/>
                <a:cs typeface="Symbol" panose="05050102010706020507" pitchFamily="18" charset="2"/>
              </a:rPr>
              <a:t>of</a:t>
            </a:r>
            <a:r>
              <a:rPr kumimoji="0" lang="en-US" sz="4400" b="0" i="0" u="none" strike="noStrike" kern="1200" cap="none" spc="-10" normalizeH="0" baseline="0" noProof="0">
                <a:ln>
                  <a:noFill/>
                </a:ln>
                <a:solidFill>
                  <a:srgbClr val="2F2F2F"/>
                </a:solidFill>
                <a:effectLst/>
                <a:uLnTx/>
                <a:uFillTx/>
                <a:latin typeface="Arial MT"/>
                <a:ea typeface="Symbol" panose="05050102010706020507" pitchFamily="18" charset="2"/>
                <a:cs typeface="Symbol" panose="05050102010706020507" pitchFamily="18" charset="2"/>
              </a:rPr>
              <a:t> </a:t>
            </a:r>
            <a:r>
              <a:rPr kumimoji="0" lang="en-US" sz="4400" b="0" i="0" u="none" strike="noStrike" kern="1200" cap="none" spc="0" normalizeH="0" baseline="0" noProof="0">
                <a:ln>
                  <a:noFill/>
                </a:ln>
                <a:solidFill>
                  <a:srgbClr val="2F2F2F"/>
                </a:solidFill>
                <a:effectLst/>
                <a:uLnTx/>
                <a:uFillTx/>
                <a:latin typeface="Arial MT"/>
                <a:ea typeface="Symbol" panose="05050102010706020507" pitchFamily="18" charset="2"/>
                <a:cs typeface="Symbol" panose="05050102010706020507" pitchFamily="18" charset="2"/>
              </a:rPr>
              <a:t>the</a:t>
            </a:r>
            <a:r>
              <a:rPr kumimoji="0" lang="en-US" sz="4400" b="0" i="0" u="none" strike="noStrike" kern="1200" cap="none" spc="15" normalizeH="0" baseline="0" noProof="0">
                <a:ln>
                  <a:noFill/>
                </a:ln>
                <a:solidFill>
                  <a:srgbClr val="2F2F2F"/>
                </a:solidFill>
                <a:effectLst/>
                <a:uLnTx/>
                <a:uFillTx/>
                <a:latin typeface="Arial MT"/>
                <a:ea typeface="Symbol" panose="05050102010706020507" pitchFamily="18" charset="2"/>
                <a:cs typeface="Symbol" panose="05050102010706020507" pitchFamily="18" charset="2"/>
              </a:rPr>
              <a:t> </a:t>
            </a:r>
            <a:r>
              <a:rPr kumimoji="0" lang="en-US" sz="4400" b="0" i="0" u="none" strike="noStrike" kern="1200" cap="none" spc="0" normalizeH="0" baseline="0" noProof="0">
                <a:ln>
                  <a:noFill/>
                </a:ln>
                <a:solidFill>
                  <a:srgbClr val="2F2F2F"/>
                </a:solidFill>
                <a:effectLst/>
                <a:uLnTx/>
                <a:uFillTx/>
                <a:latin typeface="Arial MT"/>
                <a:ea typeface="Symbol" panose="05050102010706020507" pitchFamily="18" charset="2"/>
                <a:cs typeface="Symbol" panose="05050102010706020507" pitchFamily="18" charset="2"/>
              </a:rPr>
              <a:t>system to</a:t>
            </a:r>
            <a:r>
              <a:rPr kumimoji="0" lang="en-US" sz="4400" b="0" i="0" u="none" strike="noStrike" kern="1200" cap="none" spc="-10" normalizeH="0" baseline="0" noProof="0">
                <a:ln>
                  <a:noFill/>
                </a:ln>
                <a:solidFill>
                  <a:srgbClr val="2F2F2F"/>
                </a:solidFill>
                <a:effectLst/>
                <a:uLnTx/>
                <a:uFillTx/>
                <a:latin typeface="Arial MT"/>
                <a:ea typeface="Symbol" panose="05050102010706020507" pitchFamily="18" charset="2"/>
                <a:cs typeface="Symbol" panose="05050102010706020507" pitchFamily="18" charset="2"/>
              </a:rPr>
              <a:t> </a:t>
            </a:r>
            <a:r>
              <a:rPr kumimoji="0" lang="en-US" sz="4400" b="0" i="0" u="none" strike="noStrike" kern="1200" cap="none" spc="0" normalizeH="0" baseline="0" noProof="0">
                <a:ln>
                  <a:noFill/>
                </a:ln>
                <a:solidFill>
                  <a:srgbClr val="2F2F2F"/>
                </a:solidFill>
                <a:effectLst/>
                <a:uLnTx/>
                <a:uFillTx/>
                <a:latin typeface="Arial MT"/>
                <a:ea typeface="Symbol" panose="05050102010706020507" pitchFamily="18" charset="2"/>
                <a:cs typeface="Symbol" panose="05050102010706020507" pitchFamily="18" charset="2"/>
              </a:rPr>
              <a:t>be</a:t>
            </a:r>
            <a:r>
              <a:rPr kumimoji="0" lang="en-US" sz="4400" b="0" i="0" u="none" strike="noStrike" kern="1200" cap="none" spc="-5" normalizeH="0" baseline="0" noProof="0">
                <a:ln>
                  <a:noFill/>
                </a:ln>
                <a:solidFill>
                  <a:srgbClr val="2F2F2F"/>
                </a:solidFill>
                <a:effectLst/>
                <a:uLnTx/>
                <a:uFillTx/>
                <a:latin typeface="Arial MT"/>
                <a:ea typeface="Symbol" panose="05050102010706020507" pitchFamily="18" charset="2"/>
                <a:cs typeface="Symbol" panose="05050102010706020507" pitchFamily="18" charset="2"/>
              </a:rPr>
              <a:t> </a:t>
            </a:r>
            <a:r>
              <a:rPr kumimoji="0" lang="en-US" sz="4400" b="0" i="0" u="none" strike="noStrike" kern="1200" cap="none" spc="0" normalizeH="0" baseline="0" noProof="0">
                <a:ln>
                  <a:noFill/>
                </a:ln>
                <a:solidFill>
                  <a:srgbClr val="2F2F2F"/>
                </a:solidFill>
                <a:effectLst/>
                <a:uLnTx/>
                <a:uFillTx/>
                <a:latin typeface="Arial MT"/>
                <a:ea typeface="Symbol" panose="05050102010706020507" pitchFamily="18" charset="2"/>
                <a:cs typeface="Symbol" panose="05050102010706020507" pitchFamily="18" charset="2"/>
              </a:rPr>
              <a:t>described</a:t>
            </a:r>
            <a:r>
              <a:rPr kumimoji="0" lang="en-US" sz="4400" b="0" i="0" u="none" strike="noStrike" kern="1200" cap="none" spc="15" normalizeH="0" baseline="0" noProof="0">
                <a:ln>
                  <a:noFill/>
                </a:ln>
                <a:solidFill>
                  <a:srgbClr val="2F2F2F"/>
                </a:solidFill>
                <a:effectLst/>
                <a:uLnTx/>
                <a:uFillTx/>
                <a:latin typeface="Arial MT"/>
                <a:ea typeface="Symbol" panose="05050102010706020507" pitchFamily="18" charset="2"/>
                <a:cs typeface="Symbol" panose="05050102010706020507" pitchFamily="18" charset="2"/>
              </a:rPr>
              <a:t> </a:t>
            </a:r>
            <a:r>
              <a:rPr kumimoji="0" lang="en-US" sz="4400" b="0" i="0" u="none" strike="noStrike" kern="1200" cap="none" spc="0" normalizeH="0" baseline="0" noProof="0">
                <a:ln>
                  <a:noFill/>
                </a:ln>
                <a:solidFill>
                  <a:srgbClr val="2F2F2F"/>
                </a:solidFill>
                <a:effectLst/>
                <a:uLnTx/>
                <a:uFillTx/>
                <a:latin typeface="Arial MT"/>
                <a:ea typeface="Symbol" panose="05050102010706020507" pitchFamily="18" charset="2"/>
                <a:cs typeface="Symbol" panose="05050102010706020507" pitchFamily="18" charset="2"/>
              </a:rPr>
              <a:t>by</a:t>
            </a:r>
            <a:r>
              <a:rPr kumimoji="0" lang="en-US" sz="4400" b="0" i="0" u="none" strike="noStrike" kern="1200" cap="none" spc="-40" normalizeH="0" baseline="0" noProof="0">
                <a:ln>
                  <a:noFill/>
                </a:ln>
                <a:solidFill>
                  <a:srgbClr val="2F2F2F"/>
                </a:solidFill>
                <a:effectLst/>
                <a:uLnTx/>
                <a:uFillTx/>
                <a:latin typeface="Arial MT"/>
                <a:ea typeface="Symbol" panose="05050102010706020507" pitchFamily="18" charset="2"/>
                <a:cs typeface="Symbol" panose="05050102010706020507" pitchFamily="18" charset="2"/>
              </a:rPr>
              <a:t> </a:t>
            </a:r>
            <a:r>
              <a:rPr kumimoji="0" lang="en-US" sz="4400" b="0" i="0" u="none" strike="noStrike" kern="1200" cap="none" spc="0" normalizeH="0" baseline="0" noProof="0">
                <a:ln>
                  <a:noFill/>
                </a:ln>
                <a:solidFill>
                  <a:srgbClr val="2F2F2F"/>
                </a:solidFill>
                <a:effectLst/>
                <a:uLnTx/>
                <a:uFillTx/>
                <a:latin typeface="Arial MT"/>
                <a:ea typeface="Symbol" panose="05050102010706020507" pitchFamily="18" charset="2"/>
                <a:cs typeface="Symbol" panose="05050102010706020507" pitchFamily="18" charset="2"/>
              </a:rPr>
              <a:t>means</a:t>
            </a:r>
            <a:r>
              <a:rPr kumimoji="0" lang="en-US" sz="4400" b="0" i="0" u="none" strike="noStrike" kern="1200" cap="none" spc="-20" normalizeH="0" baseline="0" noProof="0">
                <a:ln>
                  <a:noFill/>
                </a:ln>
                <a:solidFill>
                  <a:srgbClr val="2F2F2F"/>
                </a:solidFill>
                <a:effectLst/>
                <a:uLnTx/>
                <a:uFillTx/>
                <a:latin typeface="Arial MT"/>
                <a:ea typeface="Symbol" panose="05050102010706020507" pitchFamily="18" charset="2"/>
                <a:cs typeface="Symbol" panose="05050102010706020507" pitchFamily="18" charset="2"/>
              </a:rPr>
              <a:t> </a:t>
            </a:r>
            <a:r>
              <a:rPr kumimoji="0" lang="en-US" sz="4400" b="0" i="0" u="none" strike="noStrike" kern="1200" cap="none" spc="0" normalizeH="0" baseline="0" noProof="0">
                <a:ln>
                  <a:noFill/>
                </a:ln>
                <a:solidFill>
                  <a:srgbClr val="2F2F2F"/>
                </a:solidFill>
                <a:effectLst/>
                <a:uLnTx/>
                <a:uFillTx/>
                <a:latin typeface="Arial MT"/>
                <a:ea typeface="Symbol" panose="05050102010706020507" pitchFamily="18" charset="2"/>
                <a:cs typeface="Symbol" panose="05050102010706020507" pitchFamily="18" charset="2"/>
              </a:rPr>
              <a:t>of</a:t>
            </a:r>
            <a:r>
              <a:rPr kumimoji="0" lang="en-US" sz="4400" b="0" i="0" u="none" strike="noStrike" kern="1200" cap="none" spc="-10" normalizeH="0" baseline="0" noProof="0">
                <a:ln>
                  <a:noFill/>
                </a:ln>
                <a:solidFill>
                  <a:srgbClr val="2F2F2F"/>
                </a:solidFill>
                <a:effectLst/>
                <a:uLnTx/>
                <a:uFillTx/>
                <a:latin typeface="Arial MT"/>
                <a:ea typeface="Symbol" panose="05050102010706020507" pitchFamily="18" charset="2"/>
                <a:cs typeface="Symbol" panose="05050102010706020507" pitchFamily="18" charset="2"/>
              </a:rPr>
              <a:t> </a:t>
            </a:r>
            <a:r>
              <a:rPr kumimoji="0" lang="en-US" sz="4400" b="0" i="0" u="none" strike="noStrike" kern="1200" cap="none" spc="0" normalizeH="0" baseline="0" noProof="0">
                <a:ln>
                  <a:noFill/>
                </a:ln>
                <a:solidFill>
                  <a:srgbClr val="2F2F2F"/>
                </a:solidFill>
                <a:effectLst/>
                <a:uLnTx/>
                <a:uFillTx/>
                <a:latin typeface="Arial MT"/>
                <a:ea typeface="Symbol" panose="05050102010706020507" pitchFamily="18" charset="2"/>
                <a:cs typeface="Symbol" panose="05050102010706020507" pitchFamily="18" charset="2"/>
              </a:rPr>
              <a:t>the</a:t>
            </a:r>
            <a:r>
              <a:rPr kumimoji="0" lang="en-US" sz="4400" b="0" i="0" u="none" strike="noStrike" kern="1200" cap="none" spc="-10" normalizeH="0" baseline="0" noProof="0">
                <a:ln>
                  <a:noFill/>
                </a:ln>
                <a:solidFill>
                  <a:srgbClr val="2F2F2F"/>
                </a:solidFill>
                <a:effectLst/>
                <a:uLnTx/>
                <a:uFillTx/>
                <a:latin typeface="Arial MT"/>
                <a:ea typeface="Symbol" panose="05050102010706020507" pitchFamily="18" charset="2"/>
                <a:cs typeface="Symbol" panose="05050102010706020507" pitchFamily="18" charset="2"/>
              </a:rPr>
              <a:t> </a:t>
            </a:r>
            <a:r>
              <a:rPr kumimoji="0" lang="en-US" sz="4400" b="0" i="0" u="none" strike="noStrike" kern="1200" cap="none" spc="0" normalizeH="0" baseline="0" noProof="0">
                <a:ln>
                  <a:noFill/>
                </a:ln>
                <a:solidFill>
                  <a:srgbClr val="2F2F2F"/>
                </a:solidFill>
                <a:effectLst/>
                <a:uLnTx/>
                <a:uFillTx/>
                <a:latin typeface="Arial MT"/>
                <a:ea typeface="Symbol" panose="05050102010706020507" pitchFamily="18" charset="2"/>
                <a:cs typeface="Symbol" panose="05050102010706020507" pitchFamily="18" charset="2"/>
              </a:rPr>
              <a:t>model</a:t>
            </a:r>
            <a:endParaRPr kumimoji="0" lang="sv-SE" sz="4400" b="0" i="0" u="none" strike="noStrike" kern="1200" cap="none" spc="0" normalizeH="0" baseline="0" noProof="0">
              <a:ln>
                <a:noFill/>
              </a:ln>
              <a:solidFill>
                <a:srgbClr val="2F2F2F"/>
              </a:solidFill>
              <a:effectLst/>
              <a:uLnTx/>
              <a:uFillTx/>
              <a:latin typeface="Arial MT"/>
              <a:ea typeface="Symbol" panose="05050102010706020507" pitchFamily="18" charset="2"/>
              <a:cs typeface="Symbol" panose="05050102010706020507" pitchFamily="18" charset="2"/>
            </a:endParaRPr>
          </a:p>
          <a:p>
            <a:pPr marL="0" marR="0" lvl="0" indent="0" algn="l" defTabSz="914400" rtl="0" eaLnBrk="1" fontAlgn="auto" latinLnBrk="0" hangingPunct="1">
              <a:lnSpc>
                <a:spcPct val="100000"/>
              </a:lnSpc>
              <a:spcBef>
                <a:spcPts val="45"/>
              </a:spcBef>
              <a:spcAft>
                <a:spcPts val="0"/>
              </a:spcAft>
              <a:buClrTx/>
              <a:buSzTx/>
              <a:buFontTx/>
              <a:buNone/>
              <a:tabLst/>
              <a:defRPr/>
            </a:pPr>
            <a:r>
              <a:rPr kumimoji="0" lang="en-US" sz="5400" b="0" i="0" u="none" strike="noStrike" kern="1200" cap="none" spc="0" normalizeH="0" baseline="0" noProof="0">
                <a:ln>
                  <a:noFill/>
                </a:ln>
                <a:solidFill>
                  <a:srgbClr val="2F2F2F"/>
                </a:solidFill>
                <a:effectLst/>
                <a:uLnTx/>
                <a:uFillTx/>
                <a:latin typeface="Arial MT"/>
                <a:ea typeface="Arial MT"/>
                <a:cs typeface="Arial MT"/>
              </a:rPr>
              <a:t> </a:t>
            </a:r>
            <a:endParaRPr kumimoji="0" lang="sv-SE" sz="4400" b="0" i="0" u="none" strike="noStrike" kern="1200" cap="none" spc="0" normalizeH="0" baseline="0" noProof="0">
              <a:ln>
                <a:noFill/>
              </a:ln>
              <a:solidFill>
                <a:srgbClr val="2F2F2F"/>
              </a:solidFill>
              <a:effectLst/>
              <a:uLnTx/>
              <a:uFillTx/>
              <a:latin typeface="Arial MT"/>
              <a:ea typeface="Arial MT"/>
              <a:cs typeface="Arial MT"/>
            </a:endParaRPr>
          </a:p>
          <a:p>
            <a:pPr marL="342900" marR="0" lvl="0" indent="-342900" algn="l" defTabSz="914400" rtl="0" eaLnBrk="1" fontAlgn="auto" latinLnBrk="0" hangingPunct="1">
              <a:lnSpc>
                <a:spcPct val="100000"/>
              </a:lnSpc>
              <a:spcBef>
                <a:spcPts val="0"/>
              </a:spcBef>
              <a:spcAft>
                <a:spcPts val="0"/>
              </a:spcAft>
              <a:buClrTx/>
              <a:buSzPts val="1100"/>
              <a:buFont typeface="Symbol" panose="05050102010706020507" pitchFamily="18" charset="2"/>
              <a:buChar char=""/>
              <a:tabLst>
                <a:tab pos="1176020" algn="l"/>
                <a:tab pos="1176655" algn="l"/>
              </a:tabLst>
              <a:defRPr/>
            </a:pPr>
            <a:r>
              <a:rPr kumimoji="0" lang="en-US" sz="4400" b="0" i="0" u="none" strike="noStrike" kern="1200" cap="none" spc="0" normalizeH="0" baseline="0" noProof="0">
                <a:ln>
                  <a:noFill/>
                </a:ln>
                <a:solidFill>
                  <a:srgbClr val="2F2F2F"/>
                </a:solidFill>
                <a:effectLst/>
                <a:uLnTx/>
                <a:uFillTx/>
                <a:latin typeface="Arial MT"/>
                <a:ea typeface="Symbol" panose="05050102010706020507" pitchFamily="18" charset="2"/>
                <a:cs typeface="Symbol" panose="05050102010706020507" pitchFamily="18" charset="2"/>
              </a:rPr>
              <a:t>Step 2: Verify</a:t>
            </a:r>
            <a:r>
              <a:rPr kumimoji="0" lang="en-US" sz="4400" b="0" i="0" u="none" strike="noStrike" kern="1200" cap="none" spc="-5" normalizeH="0" baseline="0" noProof="0">
                <a:ln>
                  <a:noFill/>
                </a:ln>
                <a:solidFill>
                  <a:srgbClr val="2F2F2F"/>
                </a:solidFill>
                <a:effectLst/>
                <a:uLnTx/>
                <a:uFillTx/>
                <a:latin typeface="Arial MT"/>
                <a:ea typeface="Symbol" panose="05050102010706020507" pitchFamily="18" charset="2"/>
                <a:cs typeface="Symbol" panose="05050102010706020507" pitchFamily="18" charset="2"/>
              </a:rPr>
              <a:t> </a:t>
            </a:r>
            <a:r>
              <a:rPr kumimoji="0" lang="en-US" sz="4400" b="0" i="0" u="none" strike="noStrike" kern="1200" cap="none" spc="0" normalizeH="0" baseline="0" noProof="0">
                <a:ln>
                  <a:noFill/>
                </a:ln>
                <a:solidFill>
                  <a:srgbClr val="2F2F2F"/>
                </a:solidFill>
                <a:effectLst/>
                <a:uLnTx/>
                <a:uFillTx/>
                <a:latin typeface="Arial MT"/>
                <a:ea typeface="Symbol" panose="05050102010706020507" pitchFamily="18" charset="2"/>
                <a:cs typeface="Symbol" panose="05050102010706020507" pitchFamily="18" charset="2"/>
              </a:rPr>
              <a:t>that</a:t>
            </a:r>
            <a:r>
              <a:rPr kumimoji="0" lang="en-US" sz="4400" b="0" i="0" u="none" strike="noStrike" kern="1200" cap="none" spc="-5" normalizeH="0" baseline="0" noProof="0">
                <a:ln>
                  <a:noFill/>
                </a:ln>
                <a:solidFill>
                  <a:srgbClr val="2F2F2F"/>
                </a:solidFill>
                <a:effectLst/>
                <a:uLnTx/>
                <a:uFillTx/>
                <a:latin typeface="Arial MT"/>
                <a:ea typeface="Symbol" panose="05050102010706020507" pitchFamily="18" charset="2"/>
                <a:cs typeface="Symbol" panose="05050102010706020507" pitchFamily="18" charset="2"/>
              </a:rPr>
              <a:t> </a:t>
            </a:r>
            <a:r>
              <a:rPr kumimoji="0" lang="en-US" sz="4400" b="0" i="0" u="none" strike="noStrike" kern="1200" cap="none" spc="0" normalizeH="0" baseline="0" noProof="0">
                <a:ln>
                  <a:noFill/>
                </a:ln>
                <a:solidFill>
                  <a:srgbClr val="2F2F2F"/>
                </a:solidFill>
                <a:effectLst/>
                <a:uLnTx/>
                <a:uFillTx/>
                <a:latin typeface="Arial MT"/>
                <a:ea typeface="Symbol" panose="05050102010706020507" pitchFamily="18" charset="2"/>
                <a:cs typeface="Symbol" panose="05050102010706020507" pitchFamily="18" charset="2"/>
              </a:rPr>
              <a:t>enough</a:t>
            </a:r>
            <a:r>
              <a:rPr kumimoji="0" lang="en-US" sz="4400" b="0" i="0" u="none" strike="noStrike" kern="1200" cap="none" spc="-15" normalizeH="0" baseline="0" noProof="0">
                <a:ln>
                  <a:noFill/>
                </a:ln>
                <a:solidFill>
                  <a:srgbClr val="2F2F2F"/>
                </a:solidFill>
                <a:effectLst/>
                <a:uLnTx/>
                <a:uFillTx/>
                <a:latin typeface="Arial MT"/>
                <a:ea typeface="Symbol" panose="05050102010706020507" pitchFamily="18" charset="2"/>
                <a:cs typeface="Symbol" panose="05050102010706020507" pitchFamily="18" charset="2"/>
              </a:rPr>
              <a:t> </a:t>
            </a:r>
            <a:r>
              <a:rPr kumimoji="0" lang="en-US" sz="4400" b="0" i="0" u="none" strike="noStrike" kern="1200" cap="none" spc="0" normalizeH="0" baseline="0" noProof="0">
                <a:ln>
                  <a:noFill/>
                </a:ln>
                <a:solidFill>
                  <a:srgbClr val="2F2F2F"/>
                </a:solidFill>
                <a:effectLst/>
                <a:uLnTx/>
                <a:uFillTx/>
                <a:latin typeface="Arial MT"/>
                <a:ea typeface="Symbol" panose="05050102010706020507" pitchFamily="18" charset="2"/>
                <a:cs typeface="Symbol" panose="05050102010706020507" pitchFamily="18" charset="2"/>
              </a:rPr>
              <a:t>data</a:t>
            </a:r>
            <a:r>
              <a:rPr kumimoji="0" lang="en-US" sz="4400" b="0" i="0" u="none" strike="noStrike" kern="1200" cap="none" spc="5" normalizeH="0" baseline="0" noProof="0">
                <a:ln>
                  <a:noFill/>
                </a:ln>
                <a:solidFill>
                  <a:srgbClr val="2F2F2F"/>
                </a:solidFill>
                <a:effectLst/>
                <a:uLnTx/>
                <a:uFillTx/>
                <a:latin typeface="Arial MT"/>
                <a:ea typeface="Symbol" panose="05050102010706020507" pitchFamily="18" charset="2"/>
                <a:cs typeface="Symbol" panose="05050102010706020507" pitchFamily="18" charset="2"/>
              </a:rPr>
              <a:t> </a:t>
            </a:r>
            <a:r>
              <a:rPr kumimoji="0" lang="en-US" sz="4400" b="0" i="0" u="none" strike="noStrike" kern="1200" cap="none" spc="0" normalizeH="0" baseline="0" noProof="0">
                <a:ln>
                  <a:noFill/>
                </a:ln>
                <a:solidFill>
                  <a:srgbClr val="2F2F2F"/>
                </a:solidFill>
                <a:effectLst/>
                <a:uLnTx/>
                <a:uFillTx/>
                <a:latin typeface="Arial MT"/>
                <a:ea typeface="Symbol" panose="05050102010706020507" pitchFamily="18" charset="2"/>
                <a:cs typeface="Symbol" panose="05050102010706020507" pitchFamily="18" charset="2"/>
              </a:rPr>
              <a:t>is</a:t>
            </a:r>
            <a:r>
              <a:rPr kumimoji="0" lang="en-US" sz="4400" b="0" i="0" u="none" strike="noStrike" kern="1200" cap="none" spc="-30" normalizeH="0" baseline="0" noProof="0">
                <a:ln>
                  <a:noFill/>
                </a:ln>
                <a:solidFill>
                  <a:srgbClr val="2F2F2F"/>
                </a:solidFill>
                <a:effectLst/>
                <a:uLnTx/>
                <a:uFillTx/>
                <a:latin typeface="Arial MT"/>
                <a:ea typeface="Symbol" panose="05050102010706020507" pitchFamily="18" charset="2"/>
                <a:cs typeface="Symbol" panose="05050102010706020507" pitchFamily="18" charset="2"/>
              </a:rPr>
              <a:t> </a:t>
            </a:r>
            <a:r>
              <a:rPr kumimoji="0" lang="en-US" sz="4400" b="0" i="0" u="none" strike="noStrike" kern="1200" cap="none" spc="0" normalizeH="0" baseline="0" noProof="0">
                <a:ln>
                  <a:noFill/>
                </a:ln>
                <a:solidFill>
                  <a:srgbClr val="2F2F2F"/>
                </a:solidFill>
                <a:effectLst/>
                <a:uLnTx/>
                <a:uFillTx/>
                <a:latin typeface="Arial MT"/>
                <a:ea typeface="Symbol" panose="05050102010706020507" pitchFamily="18" charset="2"/>
                <a:cs typeface="Symbol" panose="05050102010706020507" pitchFamily="18" charset="2"/>
              </a:rPr>
              <a:t>available</a:t>
            </a:r>
            <a:r>
              <a:rPr kumimoji="0" lang="en-US" sz="4400" b="0" i="0" u="none" strike="noStrike" kern="1200" cap="none" spc="5" normalizeH="0" baseline="0" noProof="0">
                <a:ln>
                  <a:noFill/>
                </a:ln>
                <a:solidFill>
                  <a:srgbClr val="2F2F2F"/>
                </a:solidFill>
                <a:effectLst/>
                <a:uLnTx/>
                <a:uFillTx/>
                <a:latin typeface="Arial MT"/>
                <a:ea typeface="Symbol" panose="05050102010706020507" pitchFamily="18" charset="2"/>
                <a:cs typeface="Symbol" panose="05050102010706020507" pitchFamily="18" charset="2"/>
              </a:rPr>
              <a:t> </a:t>
            </a:r>
            <a:r>
              <a:rPr kumimoji="0" lang="en-US" sz="4400" b="0" i="0" u="none" strike="noStrike" kern="1200" cap="none" spc="0" normalizeH="0" baseline="0" noProof="0">
                <a:ln>
                  <a:noFill/>
                </a:ln>
                <a:solidFill>
                  <a:srgbClr val="2F2F2F"/>
                </a:solidFill>
                <a:effectLst/>
                <a:uLnTx/>
                <a:uFillTx/>
                <a:latin typeface="Arial MT"/>
                <a:ea typeface="Symbol" panose="05050102010706020507" pitchFamily="18" charset="2"/>
                <a:cs typeface="Symbol" panose="05050102010706020507" pitchFamily="18" charset="2"/>
              </a:rPr>
              <a:t>for</a:t>
            </a:r>
            <a:r>
              <a:rPr kumimoji="0" lang="en-US" sz="4400" b="0" i="0" u="none" strike="noStrike" kern="1200" cap="none" spc="-15" normalizeH="0" baseline="0" noProof="0">
                <a:ln>
                  <a:noFill/>
                </a:ln>
                <a:solidFill>
                  <a:srgbClr val="2F2F2F"/>
                </a:solidFill>
                <a:effectLst/>
                <a:uLnTx/>
                <a:uFillTx/>
                <a:latin typeface="Arial MT"/>
                <a:ea typeface="Symbol" panose="05050102010706020507" pitchFamily="18" charset="2"/>
                <a:cs typeface="Symbol" panose="05050102010706020507" pitchFamily="18" charset="2"/>
              </a:rPr>
              <a:t> </a:t>
            </a:r>
            <a:r>
              <a:rPr kumimoji="0" lang="en-US" sz="4400" b="0" i="0" u="none" strike="noStrike" kern="1200" cap="none" spc="0" normalizeH="0" baseline="0" noProof="0">
                <a:ln>
                  <a:noFill/>
                </a:ln>
                <a:solidFill>
                  <a:srgbClr val="2F2F2F"/>
                </a:solidFill>
                <a:effectLst/>
                <a:uLnTx/>
                <a:uFillTx/>
                <a:latin typeface="Arial MT"/>
                <a:ea typeface="Symbol" panose="05050102010706020507" pitchFamily="18" charset="2"/>
                <a:cs typeface="Symbol" panose="05050102010706020507" pitchFamily="18" charset="2"/>
              </a:rPr>
              <a:t>the</a:t>
            </a:r>
            <a:r>
              <a:rPr kumimoji="0" lang="en-US" sz="4400" b="0" i="0" u="none" strike="noStrike" kern="1200" cap="none" spc="-20" normalizeH="0" baseline="0" noProof="0">
                <a:ln>
                  <a:noFill/>
                </a:ln>
                <a:solidFill>
                  <a:srgbClr val="2F2F2F"/>
                </a:solidFill>
                <a:effectLst/>
                <a:uLnTx/>
                <a:uFillTx/>
                <a:latin typeface="Arial MT"/>
                <a:ea typeface="Symbol" panose="05050102010706020507" pitchFamily="18" charset="2"/>
                <a:cs typeface="Symbol" panose="05050102010706020507" pitchFamily="18" charset="2"/>
              </a:rPr>
              <a:t> </a:t>
            </a:r>
            <a:r>
              <a:rPr kumimoji="0" lang="en-US" sz="4400" b="0" i="0" u="none" strike="noStrike" kern="1200" cap="none" spc="0" normalizeH="0" baseline="0" noProof="0">
                <a:ln>
                  <a:noFill/>
                </a:ln>
                <a:solidFill>
                  <a:srgbClr val="2F2F2F"/>
                </a:solidFill>
                <a:effectLst/>
                <a:uLnTx/>
                <a:uFillTx/>
                <a:latin typeface="Arial MT"/>
                <a:ea typeface="Symbol" panose="05050102010706020507" pitchFamily="18" charset="2"/>
                <a:cs typeface="Symbol" panose="05050102010706020507" pitchFamily="18" charset="2"/>
              </a:rPr>
              <a:t>development and</a:t>
            </a:r>
            <a:r>
              <a:rPr kumimoji="0" lang="en-US" sz="4400" b="0" i="0" u="none" strike="noStrike" kern="1200" cap="none" spc="-20" normalizeH="0" baseline="0" noProof="0">
                <a:ln>
                  <a:noFill/>
                </a:ln>
                <a:solidFill>
                  <a:srgbClr val="2F2F2F"/>
                </a:solidFill>
                <a:effectLst/>
                <a:uLnTx/>
                <a:uFillTx/>
                <a:latin typeface="Arial MT"/>
                <a:ea typeface="Symbol" panose="05050102010706020507" pitchFamily="18" charset="2"/>
                <a:cs typeface="Symbol" panose="05050102010706020507" pitchFamily="18" charset="2"/>
              </a:rPr>
              <a:t> </a:t>
            </a:r>
            <a:r>
              <a:rPr kumimoji="0" lang="en-US" sz="4400" b="0" i="0" u="none" strike="noStrike" kern="1200" cap="none" spc="0" normalizeH="0" baseline="0" noProof="0">
                <a:ln>
                  <a:noFill/>
                </a:ln>
                <a:solidFill>
                  <a:srgbClr val="2F2F2F"/>
                </a:solidFill>
                <a:effectLst/>
                <a:uLnTx/>
                <a:uFillTx/>
                <a:latin typeface="Arial MT"/>
                <a:ea typeface="Symbol" panose="05050102010706020507" pitchFamily="18" charset="2"/>
                <a:cs typeface="Symbol" panose="05050102010706020507" pitchFamily="18" charset="2"/>
              </a:rPr>
              <a:t>validation</a:t>
            </a:r>
            <a:r>
              <a:rPr kumimoji="0" lang="en-US" sz="4400" b="0" i="0" u="none" strike="noStrike" kern="1200" cap="none" spc="-20" normalizeH="0" baseline="0" noProof="0">
                <a:ln>
                  <a:noFill/>
                </a:ln>
                <a:solidFill>
                  <a:srgbClr val="2F2F2F"/>
                </a:solidFill>
                <a:effectLst/>
                <a:uLnTx/>
                <a:uFillTx/>
                <a:latin typeface="Arial MT"/>
                <a:ea typeface="Symbol" panose="05050102010706020507" pitchFamily="18" charset="2"/>
                <a:cs typeface="Symbol" panose="05050102010706020507" pitchFamily="18" charset="2"/>
              </a:rPr>
              <a:t> </a:t>
            </a:r>
            <a:r>
              <a:rPr kumimoji="0" lang="en-US" sz="4400" b="0" i="0" u="none" strike="noStrike" kern="1200" cap="none" spc="0" normalizeH="0" baseline="0" noProof="0">
                <a:ln>
                  <a:noFill/>
                </a:ln>
                <a:solidFill>
                  <a:srgbClr val="2F2F2F"/>
                </a:solidFill>
                <a:effectLst/>
                <a:uLnTx/>
                <a:uFillTx/>
                <a:latin typeface="Arial MT"/>
                <a:ea typeface="Symbol" panose="05050102010706020507" pitchFamily="18" charset="2"/>
                <a:cs typeface="Symbol" panose="05050102010706020507" pitchFamily="18" charset="2"/>
              </a:rPr>
              <a:t>of</a:t>
            </a:r>
            <a:r>
              <a:rPr kumimoji="0" lang="en-US" sz="4400" b="0" i="0" u="none" strike="noStrike" kern="1200" cap="none" spc="-25" normalizeH="0" baseline="0" noProof="0">
                <a:ln>
                  <a:noFill/>
                </a:ln>
                <a:solidFill>
                  <a:srgbClr val="2F2F2F"/>
                </a:solidFill>
                <a:effectLst/>
                <a:uLnTx/>
                <a:uFillTx/>
                <a:latin typeface="Arial MT"/>
                <a:ea typeface="Symbol" panose="05050102010706020507" pitchFamily="18" charset="2"/>
                <a:cs typeface="Symbol" panose="05050102010706020507" pitchFamily="18" charset="2"/>
              </a:rPr>
              <a:t> </a:t>
            </a:r>
            <a:r>
              <a:rPr kumimoji="0" lang="en-US" sz="4400" b="0" i="0" u="none" strike="noStrike" kern="1200" cap="none" spc="0" normalizeH="0" baseline="0" noProof="0">
                <a:ln>
                  <a:noFill/>
                </a:ln>
                <a:solidFill>
                  <a:srgbClr val="2F2F2F"/>
                </a:solidFill>
                <a:effectLst/>
                <a:uLnTx/>
                <a:uFillTx/>
                <a:latin typeface="Arial MT"/>
                <a:ea typeface="Symbol" panose="05050102010706020507" pitchFamily="18" charset="2"/>
                <a:cs typeface="Symbol" panose="05050102010706020507" pitchFamily="18" charset="2"/>
              </a:rPr>
              <a:t>the</a:t>
            </a:r>
            <a:r>
              <a:rPr kumimoji="0" lang="en-US" sz="4400" b="0" i="0" u="none" strike="noStrike" kern="1200" cap="none" spc="-20" normalizeH="0" baseline="0" noProof="0">
                <a:ln>
                  <a:noFill/>
                </a:ln>
                <a:solidFill>
                  <a:srgbClr val="2F2F2F"/>
                </a:solidFill>
                <a:effectLst/>
                <a:uLnTx/>
                <a:uFillTx/>
                <a:latin typeface="Arial MT"/>
                <a:ea typeface="Symbol" panose="05050102010706020507" pitchFamily="18" charset="2"/>
                <a:cs typeface="Symbol" panose="05050102010706020507" pitchFamily="18" charset="2"/>
              </a:rPr>
              <a:t> </a:t>
            </a:r>
            <a:r>
              <a:rPr kumimoji="0" lang="en-US" sz="4400" b="0" i="0" u="none" strike="noStrike" kern="1200" cap="none" spc="0" normalizeH="0" baseline="0" noProof="0">
                <a:ln>
                  <a:noFill/>
                </a:ln>
                <a:solidFill>
                  <a:srgbClr val="2F2F2F"/>
                </a:solidFill>
                <a:effectLst/>
                <a:uLnTx/>
                <a:uFillTx/>
                <a:latin typeface="Arial MT"/>
                <a:ea typeface="Symbol" panose="05050102010706020507" pitchFamily="18" charset="2"/>
                <a:cs typeface="Symbol" panose="05050102010706020507" pitchFamily="18" charset="2"/>
              </a:rPr>
              <a:t>model</a:t>
            </a:r>
            <a:endParaRPr kumimoji="0" lang="sv-SE" sz="4400" b="0" i="0" u="none" strike="noStrike" kern="1200" cap="none" spc="0" normalizeH="0" baseline="0" noProof="0">
              <a:ln>
                <a:noFill/>
              </a:ln>
              <a:solidFill>
                <a:srgbClr val="2F2F2F"/>
              </a:solidFill>
              <a:effectLst/>
              <a:uLnTx/>
              <a:uFillTx/>
              <a:latin typeface="Arial MT"/>
              <a:ea typeface="Symbol" panose="05050102010706020507" pitchFamily="18" charset="2"/>
              <a:cs typeface="Symbol" panose="05050102010706020507" pitchFamily="18" charset="2"/>
            </a:endParaRPr>
          </a:p>
        </p:txBody>
      </p:sp>
    </p:spTree>
    <p:extLst>
      <p:ext uri="{BB962C8B-B14F-4D97-AF65-F5344CB8AC3E}">
        <p14:creationId xmlns:p14="http://schemas.microsoft.com/office/powerpoint/2010/main" val="2832278405"/>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6"/>
            <a:ext cx="13958844" cy="666567"/>
            <a:chOff x="4329156" y="9649198"/>
            <a:chExt cx="13958844" cy="666567"/>
          </a:xfrm>
        </p:grpSpPr>
        <p:pic>
          <p:nvPicPr>
            <p:cNvPr id="18" name="Picture 12" descr="Background pattern&#10;&#10;Description automatically generated">
              <a:extLst>
                <a:ext uri="{FF2B5EF4-FFF2-40B4-BE49-F238E27FC236}">
                  <a16:creationId xmlns:a16="http://schemas.microsoft.com/office/drawing/2014/main" id="{656E1DC6-816C-4843-B17E-566C3C339AB5}"/>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marL="0" marR="0" lvl="0" indent="0" algn="ctr" defTabSz="914400" rtl="0" eaLnBrk="1" fontAlgn="auto" latinLnBrk="0" hangingPunct="1">
                <a:lnSpc>
                  <a:spcPts val="3919"/>
                </a:lnSpc>
                <a:spcBef>
                  <a:spcPct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OCR A Extended" panose="02010509020102010303" pitchFamily="50" charset="0"/>
                  <a:ea typeface="+mn-ea"/>
                  <a:cs typeface="+mn-cs"/>
                </a:rPr>
                <a:t>www.retrofeed.eu</a:t>
              </a:r>
            </a:p>
          </p:txBody>
        </p:sp>
      </p:grpSp>
      <p:pic>
        <p:nvPicPr>
          <p:cNvPr id="20" name="Picture 12" descr="Logo&#10;&#10;Description automatically generated">
            <a:extLst>
              <a:ext uri="{FF2B5EF4-FFF2-40B4-BE49-F238E27FC236}">
                <a16:creationId xmlns:a16="http://schemas.microsoft.com/office/drawing/2014/main" id="{FF4E0145-0EE4-4FAB-85AC-C3A9A6BF4D25}"/>
              </a:ext>
            </a:extLst>
          </p:cNvPr>
          <p:cNvPicPr>
            <a:picLocks noChangeAspect="1"/>
          </p:cNvPicPr>
          <p:nvPr/>
        </p:nvPicPr>
        <p:blipFill>
          <a:blip r:embed="rId4"/>
          <a:srcRect/>
          <a:stretch>
            <a:fillRect/>
          </a:stretch>
        </p:blipFill>
        <p:spPr>
          <a:xfrm>
            <a:off x="0" y="9499590"/>
            <a:ext cx="3247053" cy="787410"/>
          </a:xfrm>
          <a:prstGeom prst="rect">
            <a:avLst/>
          </a:prstGeom>
        </p:spPr>
      </p:pic>
      <p:grpSp>
        <p:nvGrpSpPr>
          <p:cNvPr id="3" name="Gruppo 2">
            <a:extLst>
              <a:ext uri="{FF2B5EF4-FFF2-40B4-BE49-F238E27FC236}">
                <a16:creationId xmlns:a16="http://schemas.microsoft.com/office/drawing/2014/main" id="{D0B44AFC-EABA-48CF-A7A8-348076F88921}"/>
              </a:ext>
            </a:extLst>
          </p:cNvPr>
          <p:cNvGrpSpPr/>
          <p:nvPr/>
        </p:nvGrpSpPr>
        <p:grpSpPr>
          <a:xfrm>
            <a:off x="-12" y="138554"/>
            <a:ext cx="18288002" cy="681138"/>
            <a:chOff x="-12" y="138554"/>
            <a:chExt cx="18288002" cy="681138"/>
          </a:xfrm>
        </p:grpSpPr>
        <p:grpSp>
          <p:nvGrpSpPr>
            <p:cNvPr id="16" name="Gruppo 15">
              <a:extLst>
                <a:ext uri="{FF2B5EF4-FFF2-40B4-BE49-F238E27FC236}">
                  <a16:creationId xmlns:a16="http://schemas.microsoft.com/office/drawing/2014/main" id="{DAC42A46-917D-41AB-8F07-E15E54D0F7D4}"/>
                </a:ext>
              </a:extLst>
            </p:cNvPr>
            <p:cNvGrpSpPr/>
            <p:nvPr/>
          </p:nvGrpSpPr>
          <p:grpSpPr>
            <a:xfrm>
              <a:off x="0" y="153125"/>
              <a:ext cx="13958844" cy="666567"/>
              <a:chOff x="0" y="153125"/>
              <a:chExt cx="13958844" cy="666567"/>
            </a:xfrm>
          </p:grpSpPr>
          <p:pic>
            <p:nvPicPr>
              <p:cNvPr id="10" name="Picture 10" descr="Background pattern&#10;&#10;Description automatically generated"/>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1" name="TextBox 11"/>
              <p:cNvSpPr txBox="1"/>
              <p:nvPr/>
            </p:nvSpPr>
            <p:spPr>
              <a:xfrm>
                <a:off x="228600" y="257980"/>
                <a:ext cx="5752704" cy="456856"/>
              </a:xfrm>
              <a:prstGeom prst="rect">
                <a:avLst/>
              </a:prstGeom>
            </p:spPr>
            <p:txBody>
              <a:bodyPr wrap="square" lIns="0" tIns="0" rIns="0" bIns="0" rtlCol="0" anchor="t">
                <a:spAutoFit/>
              </a:bodyPr>
              <a:lstStyle/>
              <a:p>
                <a:pPr marL="0" marR="0" lvl="0" indent="0" algn="l" defTabSz="914400" rtl="0" eaLnBrk="1" fontAlgn="auto" latinLnBrk="0" hangingPunct="1">
                  <a:lnSpc>
                    <a:spcPts val="3919"/>
                  </a:lnSpc>
                  <a:spcBef>
                    <a:spcPct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5" name="Rettangolo 14">
              <a:extLst>
                <a:ext uri="{FF2B5EF4-FFF2-40B4-BE49-F238E27FC236}">
                  <a16:creationId xmlns:a16="http://schemas.microsoft.com/office/drawing/2014/main" id="{AFFDA913-633F-49C2-9D71-573FB327981F}"/>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27" name="TextBox 13">
            <a:extLst>
              <a:ext uri="{FF2B5EF4-FFF2-40B4-BE49-F238E27FC236}">
                <a16:creationId xmlns:a16="http://schemas.microsoft.com/office/drawing/2014/main" id="{C7197FAA-9C82-4C25-B208-2BF8170DA3D1}"/>
              </a:ext>
            </a:extLst>
          </p:cNvPr>
          <p:cNvSpPr txBox="1"/>
          <p:nvPr/>
        </p:nvSpPr>
        <p:spPr>
          <a:xfrm>
            <a:off x="0" y="902785"/>
            <a:ext cx="18288000" cy="1040798"/>
          </a:xfrm>
          <a:prstGeom prst="rect">
            <a:avLst/>
          </a:prstGeom>
        </p:spPr>
        <p:txBody>
          <a:bodyPr wrap="square" lIns="0" tIns="0" rIns="0" bIns="0" rtlCol="0" anchor="t">
            <a:spAutoFit/>
          </a:bodyPr>
          <a:lstStyle/>
          <a:p>
            <a:pPr marL="0" marR="0" lvl="0" indent="0" algn="ctr" defTabSz="914400" rtl="0" eaLnBrk="1" fontAlgn="auto" latinLnBrk="0" hangingPunct="1">
              <a:lnSpc>
                <a:spcPts val="8960"/>
              </a:lnSpc>
              <a:spcBef>
                <a:spcPct val="0"/>
              </a:spcBef>
              <a:spcAft>
                <a:spcPts val="0"/>
              </a:spcAft>
              <a:buClrTx/>
              <a:buSzTx/>
              <a:buFontTx/>
              <a:buNone/>
              <a:tabLst/>
              <a:defRPr/>
            </a:pPr>
            <a:r>
              <a:rPr kumimoji="0" lang="en-US" sz="5400" b="1" i="0" u="none" strike="noStrike" kern="1200" cap="none" spc="0" normalizeH="0" baseline="0" noProof="0">
                <a:ln>
                  <a:noFill/>
                </a:ln>
                <a:solidFill>
                  <a:srgbClr val="CC0033"/>
                </a:solidFill>
                <a:effectLst/>
                <a:uLnTx/>
                <a:uFillTx/>
                <a:latin typeface="Arial"/>
                <a:ea typeface="+mn-ea"/>
                <a:cs typeface="Arial" panose="020B0604020202020204" pitchFamily="34" charset="0"/>
              </a:rPr>
              <a:t>CRITERIA FOR IDENTIFICATION OF BOUNDARIES</a:t>
            </a:r>
          </a:p>
        </p:txBody>
      </p:sp>
      <p:sp>
        <p:nvSpPr>
          <p:cNvPr id="5" name="TextBox 4">
            <a:extLst>
              <a:ext uri="{FF2B5EF4-FFF2-40B4-BE49-F238E27FC236}">
                <a16:creationId xmlns:a16="http://schemas.microsoft.com/office/drawing/2014/main" id="{376721AF-34DB-2779-C09F-203C5FD56946}"/>
              </a:ext>
            </a:extLst>
          </p:cNvPr>
          <p:cNvSpPr txBox="1"/>
          <p:nvPr/>
        </p:nvSpPr>
        <p:spPr>
          <a:xfrm>
            <a:off x="778475" y="3839028"/>
            <a:ext cx="16669265" cy="3170099"/>
          </a:xfrm>
          <a:prstGeom prst="rect">
            <a:avLst/>
          </a:prstGeom>
          <a:noFill/>
        </p:spPr>
        <p:txBody>
          <a:bodyPr wrap="square">
            <a:spAutoFit/>
          </a:bodyPr>
          <a:lstStyle/>
          <a:p>
            <a:pPr marL="0" marR="0" lvl="0" indent="0" algn="l" defTabSz="914400" rtl="0" eaLnBrk="1" fontAlgn="auto" latinLnBrk="0" hangingPunct="1">
              <a:lnSpc>
                <a:spcPct val="100000"/>
              </a:lnSpc>
              <a:spcBef>
                <a:spcPts val="5"/>
              </a:spcBef>
              <a:spcAft>
                <a:spcPts val="0"/>
              </a:spcAft>
              <a:buClrTx/>
              <a:buSzPts val="1100"/>
              <a:buFontTx/>
              <a:buNone/>
              <a:tabLst>
                <a:tab pos="1176020" algn="l"/>
                <a:tab pos="1176655" algn="l"/>
              </a:tabLst>
              <a:defRPr/>
            </a:pPr>
            <a:r>
              <a:rPr kumimoji="0" lang="en-US" sz="4000" b="0" i="0" u="none" strike="noStrike" kern="1200" cap="none" spc="0" normalizeH="0" baseline="0" noProof="0">
                <a:ln>
                  <a:noFill/>
                </a:ln>
                <a:solidFill>
                  <a:srgbClr val="2F2F2F"/>
                </a:solidFill>
                <a:effectLst/>
                <a:uLnTx/>
                <a:uFillTx/>
                <a:latin typeface="Arial MT"/>
                <a:ea typeface="Arial MT"/>
                <a:cs typeface="Arial MT"/>
              </a:rPr>
              <a:t>The</a:t>
            </a:r>
            <a:r>
              <a:rPr kumimoji="0" lang="en-US" sz="4000" b="0" i="0" u="none" strike="noStrike" kern="1200" cap="none" spc="-70" normalizeH="0" baseline="0" noProof="0">
                <a:ln>
                  <a:noFill/>
                </a:ln>
                <a:solidFill>
                  <a:srgbClr val="2F2F2F"/>
                </a:solidFill>
                <a:effectLst/>
                <a:uLnTx/>
                <a:uFillTx/>
                <a:latin typeface="Arial MT"/>
                <a:ea typeface="Arial MT"/>
                <a:cs typeface="Arial MT"/>
              </a:rPr>
              <a:t> </a:t>
            </a:r>
            <a:r>
              <a:rPr kumimoji="0" lang="en-US" sz="4000" b="0" i="0" u="none" strike="noStrike" kern="1200" cap="none" spc="0" normalizeH="0" baseline="0" noProof="0">
                <a:ln>
                  <a:noFill/>
                </a:ln>
                <a:solidFill>
                  <a:srgbClr val="2F2F2F"/>
                </a:solidFill>
                <a:effectLst/>
                <a:uLnTx/>
                <a:uFillTx/>
                <a:latin typeface="Arial MT"/>
                <a:ea typeface="Arial MT"/>
                <a:cs typeface="Arial MT"/>
              </a:rPr>
              <a:t>processes</a:t>
            </a:r>
            <a:r>
              <a:rPr kumimoji="0" lang="en-US" sz="4000" b="0" i="0" u="none" strike="noStrike" kern="1200" cap="none" spc="-295" normalizeH="0" baseline="0" noProof="0">
                <a:ln>
                  <a:noFill/>
                </a:ln>
                <a:solidFill>
                  <a:srgbClr val="2F2F2F"/>
                </a:solidFill>
                <a:effectLst/>
                <a:uLnTx/>
                <a:uFillTx/>
                <a:latin typeface="Arial MT"/>
                <a:ea typeface="Arial MT"/>
                <a:cs typeface="Arial MT"/>
              </a:rPr>
              <a:t> </a:t>
            </a:r>
            <a:r>
              <a:rPr kumimoji="0" lang="en-US" sz="4000" b="0" i="0" u="none" strike="noStrike" kern="1200" cap="none" spc="0" normalizeH="0" baseline="0" noProof="0">
                <a:ln>
                  <a:noFill/>
                </a:ln>
                <a:solidFill>
                  <a:srgbClr val="2F2F2F"/>
                </a:solidFill>
                <a:effectLst/>
                <a:uLnTx/>
                <a:uFillTx/>
                <a:latin typeface="Arial MT"/>
                <a:ea typeface="Arial MT"/>
                <a:cs typeface="Arial MT"/>
              </a:rPr>
              <a:t>that need to be modelled are those that have an impact:</a:t>
            </a:r>
          </a:p>
          <a:p>
            <a:pPr marL="0" marR="0" lvl="0" indent="0" algn="l" defTabSz="914400" rtl="0" eaLnBrk="1" fontAlgn="auto" latinLnBrk="0" hangingPunct="1">
              <a:lnSpc>
                <a:spcPct val="100000"/>
              </a:lnSpc>
              <a:spcBef>
                <a:spcPts val="5"/>
              </a:spcBef>
              <a:spcAft>
                <a:spcPts val="0"/>
              </a:spcAft>
              <a:buClrTx/>
              <a:buSzPts val="1100"/>
              <a:buFontTx/>
              <a:buNone/>
              <a:tabLst>
                <a:tab pos="1176020" algn="l"/>
                <a:tab pos="1176655" algn="l"/>
              </a:tabLst>
              <a:defRPr/>
            </a:pPr>
            <a:endParaRPr kumimoji="0" lang="en-US" sz="4000" b="0" i="0" u="none" strike="noStrike" kern="1200" cap="none" spc="0" normalizeH="0" baseline="0" noProof="0">
              <a:ln>
                <a:noFill/>
              </a:ln>
              <a:solidFill>
                <a:srgbClr val="2F2F2F"/>
              </a:solidFill>
              <a:effectLst/>
              <a:uLnTx/>
              <a:uFillTx/>
              <a:latin typeface="Arial MT"/>
              <a:ea typeface="Arial MT"/>
              <a:cs typeface="Arial MT"/>
            </a:endParaRPr>
          </a:p>
          <a:p>
            <a:pPr marL="571500" marR="0" lvl="0" indent="-571500" algn="l" defTabSz="914400" rtl="0" eaLnBrk="1" fontAlgn="auto" latinLnBrk="0" hangingPunct="1">
              <a:lnSpc>
                <a:spcPct val="100000"/>
              </a:lnSpc>
              <a:spcBef>
                <a:spcPts val="5"/>
              </a:spcBef>
              <a:spcAft>
                <a:spcPts val="0"/>
              </a:spcAft>
              <a:buClrTx/>
              <a:buSzPct val="100000"/>
              <a:buFont typeface="Arial" panose="020B0604020202020204" pitchFamily="34" charset="0"/>
              <a:buChar char="•"/>
              <a:tabLst>
                <a:tab pos="1176020" algn="l"/>
                <a:tab pos="1176655" algn="l"/>
              </a:tabLst>
              <a:defRPr/>
            </a:pPr>
            <a:r>
              <a:rPr kumimoji="0" lang="en-US" sz="4000" b="0" i="0" u="none" strike="noStrike" kern="1200" cap="none" spc="0" normalizeH="0" baseline="0" noProof="0">
                <a:ln>
                  <a:noFill/>
                </a:ln>
                <a:solidFill>
                  <a:srgbClr val="2F2F2F"/>
                </a:solidFill>
                <a:effectLst/>
                <a:uLnTx/>
                <a:uFillTx/>
                <a:latin typeface="Arial MT"/>
                <a:ea typeface="Arial MT"/>
                <a:cs typeface="Arial MT"/>
              </a:rPr>
              <a:t>on the key resource indicators (KRI) </a:t>
            </a:r>
          </a:p>
          <a:p>
            <a:pPr marL="571500" marR="0" lvl="0" indent="-571500" algn="l" defTabSz="914400" rtl="0" eaLnBrk="1" fontAlgn="auto" latinLnBrk="0" hangingPunct="1">
              <a:lnSpc>
                <a:spcPct val="100000"/>
              </a:lnSpc>
              <a:spcBef>
                <a:spcPts val="5"/>
              </a:spcBef>
              <a:spcAft>
                <a:spcPts val="0"/>
              </a:spcAft>
              <a:buClrTx/>
              <a:buSzPct val="100000"/>
              <a:buFont typeface="Arial" panose="020B0604020202020204" pitchFamily="34" charset="0"/>
              <a:buChar char="•"/>
              <a:tabLst>
                <a:tab pos="1176020" algn="l"/>
                <a:tab pos="1176655" algn="l"/>
              </a:tabLst>
              <a:defRPr/>
            </a:pPr>
            <a:endParaRPr kumimoji="0" lang="en-US" sz="4000" b="0" i="0" u="none" strike="noStrike" kern="1200" cap="none" spc="0" normalizeH="0" baseline="0" noProof="0">
              <a:ln>
                <a:noFill/>
              </a:ln>
              <a:solidFill>
                <a:srgbClr val="2F2F2F"/>
              </a:solidFill>
              <a:effectLst/>
              <a:uLnTx/>
              <a:uFillTx/>
              <a:latin typeface="Arial MT"/>
              <a:ea typeface="Arial MT"/>
              <a:cs typeface="Arial MT"/>
            </a:endParaRPr>
          </a:p>
          <a:p>
            <a:pPr marL="571500" marR="0" lvl="0" indent="-571500" algn="l" defTabSz="914400" rtl="0" eaLnBrk="1" fontAlgn="auto" latinLnBrk="0" hangingPunct="1">
              <a:lnSpc>
                <a:spcPct val="100000"/>
              </a:lnSpc>
              <a:spcBef>
                <a:spcPts val="5"/>
              </a:spcBef>
              <a:spcAft>
                <a:spcPts val="0"/>
              </a:spcAft>
              <a:buClrTx/>
              <a:buSzPct val="100000"/>
              <a:buFont typeface="Arial" panose="020B0604020202020204" pitchFamily="34" charset="0"/>
              <a:buChar char="•"/>
              <a:tabLst>
                <a:tab pos="1176020" algn="l"/>
                <a:tab pos="1176655" algn="l"/>
              </a:tabLst>
              <a:defRPr/>
            </a:pPr>
            <a:r>
              <a:rPr kumimoji="0" lang="en-US" sz="4000" b="0" i="0" u="none" strike="noStrike" kern="1200" cap="none" spc="0" normalizeH="0" baseline="0" noProof="0">
                <a:ln>
                  <a:noFill/>
                </a:ln>
                <a:solidFill>
                  <a:srgbClr val="2F2F2F"/>
                </a:solidFill>
                <a:effectLst/>
                <a:uLnTx/>
                <a:uFillTx/>
                <a:latin typeface="Arial MT"/>
                <a:ea typeface="Arial MT"/>
                <a:cs typeface="Arial MT"/>
              </a:rPr>
              <a:t>on the key performance attributes (KPA)</a:t>
            </a:r>
            <a:endParaRPr kumimoji="0" lang="sv-SE" sz="8000" b="0" i="0" u="none" strike="noStrike" kern="1200" cap="none" spc="0" normalizeH="0" baseline="0" noProof="0">
              <a:ln>
                <a:noFill/>
              </a:ln>
              <a:solidFill>
                <a:srgbClr val="2F2F2F"/>
              </a:solidFill>
              <a:effectLst/>
              <a:uLnTx/>
              <a:uFillTx/>
              <a:latin typeface="Arial MT"/>
              <a:ea typeface="Symbol" panose="05050102010706020507" pitchFamily="18" charset="2"/>
              <a:cs typeface="Symbol" panose="05050102010706020507" pitchFamily="18" charset="2"/>
            </a:endParaRPr>
          </a:p>
        </p:txBody>
      </p:sp>
    </p:spTree>
    <p:extLst>
      <p:ext uri="{BB962C8B-B14F-4D97-AF65-F5344CB8AC3E}">
        <p14:creationId xmlns:p14="http://schemas.microsoft.com/office/powerpoint/2010/main" val="3092570646"/>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o 16">
            <a:extLst>
              <a:ext uri="{FF2B5EF4-FFF2-40B4-BE49-F238E27FC236}">
                <a16:creationId xmlns:a16="http://schemas.microsoft.com/office/drawing/2014/main" id="{98799FA6-242B-4FD5-B9E0-83122CE6C004}"/>
              </a:ext>
            </a:extLst>
          </p:cNvPr>
          <p:cNvGrpSpPr/>
          <p:nvPr/>
        </p:nvGrpSpPr>
        <p:grpSpPr>
          <a:xfrm>
            <a:off x="4329156" y="9695736"/>
            <a:ext cx="13958844" cy="666567"/>
            <a:chOff x="4329156" y="9649198"/>
            <a:chExt cx="13958844" cy="666567"/>
          </a:xfrm>
        </p:grpSpPr>
        <p:pic>
          <p:nvPicPr>
            <p:cNvPr id="18" name="Picture 12">
              <a:extLst>
                <a:ext uri="{FF2B5EF4-FFF2-40B4-BE49-F238E27FC236}">
                  <a16:creationId xmlns:a16="http://schemas.microsoft.com/office/drawing/2014/main" id="{656E1DC6-816C-4843-B17E-566C3C339AB5}"/>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19" name="TextBox 16">
              <a:extLst>
                <a:ext uri="{FF2B5EF4-FFF2-40B4-BE49-F238E27FC236}">
                  <a16:creationId xmlns:a16="http://schemas.microsoft.com/office/drawing/2014/main" id="{8AAA0F65-B2A9-4D79-A316-FD7523215088}"/>
                </a:ext>
              </a:extLst>
            </p:cNvPr>
            <p:cNvSpPr txBox="1"/>
            <p:nvPr/>
          </p:nvSpPr>
          <p:spPr>
            <a:xfrm>
              <a:off x="14400029" y="9732291"/>
              <a:ext cx="3636320" cy="448713"/>
            </a:xfrm>
            <a:prstGeom prst="rect">
              <a:avLst/>
            </a:prstGeom>
          </p:spPr>
          <p:txBody>
            <a:bodyPr wrap="square" lIns="0" tIns="0" rIns="0" bIns="0" rtlCol="0" anchor="t">
              <a:spAutoFit/>
            </a:bodyPr>
            <a:lstStyle/>
            <a:p>
              <a:pPr algn="ctr">
                <a:lnSpc>
                  <a:spcPts val="3919"/>
                </a:lnSpc>
                <a:spcBef>
                  <a:spcPct val="0"/>
                </a:spcBef>
              </a:pPr>
              <a:r>
                <a:rPr lang="en-US" sz="2800" b="1">
                  <a:solidFill>
                    <a:srgbClr val="FFFFFF"/>
                  </a:solidFill>
                  <a:latin typeface="OCR A Extended" panose="02010509020102010303" pitchFamily="50" charset="0"/>
                </a:rPr>
                <a:t>www.retrofeed.eu</a:t>
              </a:r>
            </a:p>
          </p:txBody>
        </p:sp>
      </p:grpSp>
      <p:pic>
        <p:nvPicPr>
          <p:cNvPr id="20" name="Picture 12">
            <a:extLst>
              <a:ext uri="{FF2B5EF4-FFF2-40B4-BE49-F238E27FC236}">
                <a16:creationId xmlns:a16="http://schemas.microsoft.com/office/drawing/2014/main" id="{FF4E0145-0EE4-4FAB-85AC-C3A9A6BF4D25}"/>
              </a:ext>
            </a:extLst>
          </p:cNvPr>
          <p:cNvPicPr>
            <a:picLocks noChangeAspect="1"/>
          </p:cNvPicPr>
          <p:nvPr/>
        </p:nvPicPr>
        <p:blipFill>
          <a:blip r:embed="rId4"/>
          <a:srcRect/>
          <a:stretch>
            <a:fillRect/>
          </a:stretch>
        </p:blipFill>
        <p:spPr>
          <a:xfrm>
            <a:off x="0" y="9625294"/>
            <a:ext cx="2728686" cy="661706"/>
          </a:xfrm>
          <a:prstGeom prst="rect">
            <a:avLst/>
          </a:prstGeom>
        </p:spPr>
      </p:pic>
      <p:grpSp>
        <p:nvGrpSpPr>
          <p:cNvPr id="3" name="Gruppo 2">
            <a:extLst>
              <a:ext uri="{FF2B5EF4-FFF2-40B4-BE49-F238E27FC236}">
                <a16:creationId xmlns:a16="http://schemas.microsoft.com/office/drawing/2014/main" id="{1C29CBCA-BE0A-4EF6-AC69-329941E1DCFD}"/>
              </a:ext>
            </a:extLst>
          </p:cNvPr>
          <p:cNvGrpSpPr/>
          <p:nvPr/>
        </p:nvGrpSpPr>
        <p:grpSpPr>
          <a:xfrm>
            <a:off x="-12" y="138554"/>
            <a:ext cx="18288002" cy="681138"/>
            <a:chOff x="-12" y="138554"/>
            <a:chExt cx="18288002" cy="681138"/>
          </a:xfrm>
        </p:grpSpPr>
        <p:grpSp>
          <p:nvGrpSpPr>
            <p:cNvPr id="2" name="Gruppo 1">
              <a:extLst>
                <a:ext uri="{FF2B5EF4-FFF2-40B4-BE49-F238E27FC236}">
                  <a16:creationId xmlns:a16="http://schemas.microsoft.com/office/drawing/2014/main" id="{24E9C7AF-0093-476F-826C-A2702AB72892}"/>
                </a:ext>
              </a:extLst>
            </p:cNvPr>
            <p:cNvGrpSpPr/>
            <p:nvPr/>
          </p:nvGrpSpPr>
          <p:grpSpPr>
            <a:xfrm>
              <a:off x="0" y="153125"/>
              <a:ext cx="17907000" cy="666567"/>
              <a:chOff x="0" y="153125"/>
              <a:chExt cx="17907000" cy="666567"/>
            </a:xfrm>
          </p:grpSpPr>
          <p:grpSp>
            <p:nvGrpSpPr>
              <p:cNvPr id="16" name="Gruppo 15">
                <a:extLst>
                  <a:ext uri="{FF2B5EF4-FFF2-40B4-BE49-F238E27FC236}">
                    <a16:creationId xmlns:a16="http://schemas.microsoft.com/office/drawing/2014/main" id="{DAC42A46-917D-41AB-8F07-E15E54D0F7D4}"/>
                  </a:ext>
                </a:extLst>
              </p:cNvPr>
              <p:cNvGrpSpPr/>
              <p:nvPr/>
            </p:nvGrpSpPr>
            <p:grpSpPr>
              <a:xfrm>
                <a:off x="0" y="153125"/>
                <a:ext cx="13958844" cy="666567"/>
                <a:chOff x="0" y="153125"/>
                <a:chExt cx="13958844" cy="666567"/>
              </a:xfrm>
            </p:grpSpPr>
            <p:pic>
              <p:nvPicPr>
                <p:cNvPr id="10" name="Picture 10"/>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1" name="TextBox 11"/>
                <p:cNvSpPr txBox="1"/>
                <p:nvPr/>
              </p:nvSpPr>
              <p:spPr>
                <a:xfrm>
                  <a:off x="228600" y="257980"/>
                  <a:ext cx="9296400" cy="456856"/>
                </a:xfrm>
                <a:prstGeom prst="rect">
                  <a:avLst/>
                </a:prstGeom>
              </p:spPr>
              <p:txBody>
                <a:bodyPr wrap="square" lIns="0" tIns="0" rIns="0" bIns="0" rtlCol="0" anchor="t">
                  <a:spAutoFit/>
                </a:bodyPr>
                <a:lstStyle/>
                <a:p>
                  <a:pPr>
                    <a:lnSpc>
                      <a:spcPts val="3919"/>
                    </a:lnSpc>
                    <a:spcBef>
                      <a:spcPct val="0"/>
                    </a:spcBef>
                  </a:pPr>
                  <a:endParaRPr lang="en-US" sz="2800" b="1">
                    <a:solidFill>
                      <a:srgbClr val="FFFFFF"/>
                    </a:solidFill>
                    <a:latin typeface="Arial" panose="020B0604020202020204" pitchFamily="34" charset="0"/>
                    <a:cs typeface="Arial" panose="020B0604020202020204" pitchFamily="34" charset="0"/>
                  </a:endParaRPr>
                </a:p>
              </p:txBody>
            </p:sp>
          </p:grpSp>
          <p:sp>
            <p:nvSpPr>
              <p:cNvPr id="12" name="TextBox 11">
                <a:extLst>
                  <a:ext uri="{FF2B5EF4-FFF2-40B4-BE49-F238E27FC236}">
                    <a16:creationId xmlns:a16="http://schemas.microsoft.com/office/drawing/2014/main" id="{1BD9B5F4-614C-4EB6-8C5B-120A5420CE43}"/>
                  </a:ext>
                </a:extLst>
              </p:cNvPr>
              <p:cNvSpPr txBox="1"/>
              <p:nvPr/>
            </p:nvSpPr>
            <p:spPr>
              <a:xfrm>
                <a:off x="12154296" y="257980"/>
                <a:ext cx="5752704" cy="456856"/>
              </a:xfrm>
              <a:prstGeom prst="rect">
                <a:avLst/>
              </a:prstGeom>
            </p:spPr>
            <p:txBody>
              <a:bodyPr wrap="square" lIns="0" tIns="0" rIns="0" bIns="0" rtlCol="0" anchor="t">
                <a:spAutoFit/>
              </a:bodyPr>
              <a:lstStyle/>
              <a:p>
                <a:pPr algn="r">
                  <a:lnSpc>
                    <a:spcPts val="3919"/>
                  </a:lnSpc>
                  <a:spcBef>
                    <a:spcPct val="0"/>
                  </a:spcBef>
                </a:pPr>
                <a:endParaRPr lang="en-US" sz="2800">
                  <a:solidFill>
                    <a:schemeClr val="tx1">
                      <a:lumMod val="75000"/>
                      <a:lumOff val="25000"/>
                    </a:schemeClr>
                  </a:solidFill>
                  <a:latin typeface="Arial" panose="020B0604020202020204" pitchFamily="34" charset="0"/>
                  <a:cs typeface="Arial" panose="020B0604020202020204" pitchFamily="34" charset="0"/>
                </a:endParaRPr>
              </a:p>
            </p:txBody>
          </p:sp>
        </p:grpSp>
        <p:sp>
          <p:nvSpPr>
            <p:cNvPr id="14" name="Rettangolo 13">
              <a:extLst>
                <a:ext uri="{FF2B5EF4-FFF2-40B4-BE49-F238E27FC236}">
                  <a16:creationId xmlns:a16="http://schemas.microsoft.com/office/drawing/2014/main" id="{55199736-B8B6-4C9A-8BAF-233E07A0CA89}"/>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3" name="TextBox 13"/>
          <p:cNvSpPr txBox="1"/>
          <p:nvPr/>
        </p:nvSpPr>
        <p:spPr>
          <a:xfrm>
            <a:off x="0" y="1004417"/>
            <a:ext cx="18288000" cy="1058238"/>
          </a:xfrm>
          <a:prstGeom prst="rect">
            <a:avLst/>
          </a:prstGeom>
        </p:spPr>
        <p:txBody>
          <a:bodyPr wrap="square" lIns="0" tIns="0" rIns="0" bIns="0" rtlCol="0" anchor="t">
            <a:spAutoFit/>
          </a:bodyPr>
          <a:lstStyle/>
          <a:p>
            <a:pPr algn="ctr">
              <a:lnSpc>
                <a:spcPts val="8960"/>
              </a:lnSpc>
              <a:spcBef>
                <a:spcPct val="0"/>
              </a:spcBef>
            </a:pPr>
            <a:r>
              <a:rPr kumimoji="0" lang="en-US" sz="6600" b="1" i="0" u="none" strike="noStrike" kern="1200" cap="none" spc="0" normalizeH="0" baseline="0" noProof="0">
                <a:ln>
                  <a:noFill/>
                </a:ln>
                <a:solidFill>
                  <a:srgbClr val="CC0033"/>
                </a:solidFill>
                <a:effectLst/>
                <a:uLnTx/>
                <a:uFillTx/>
                <a:latin typeface="Arial"/>
                <a:ea typeface="+mn-ea"/>
                <a:cs typeface="Arial" panose="020B0604020202020204" pitchFamily="34" charset="0"/>
              </a:rPr>
              <a:t>Step 1: Boundaries identification</a:t>
            </a:r>
            <a:endParaRPr lang="en-US" sz="6600" b="1">
              <a:solidFill>
                <a:srgbClr val="CC0033"/>
              </a:solidFill>
              <a:latin typeface="+mj-lt"/>
              <a:cs typeface="Arial" panose="020B0604020202020204" pitchFamily="34" charset="0"/>
            </a:endParaRPr>
          </a:p>
        </p:txBody>
      </p:sp>
      <p:sp>
        <p:nvSpPr>
          <p:cNvPr id="22" name="TextBox 21">
            <a:extLst>
              <a:ext uri="{FF2B5EF4-FFF2-40B4-BE49-F238E27FC236}">
                <a16:creationId xmlns:a16="http://schemas.microsoft.com/office/drawing/2014/main" id="{F21DCD0B-B68A-4D7A-9F6C-6D71442D13F2}"/>
              </a:ext>
            </a:extLst>
          </p:cNvPr>
          <p:cNvSpPr txBox="1"/>
          <p:nvPr/>
        </p:nvSpPr>
        <p:spPr>
          <a:xfrm>
            <a:off x="514542" y="2259671"/>
            <a:ext cx="17286515" cy="728341"/>
          </a:xfrm>
          <a:prstGeom prst="rect">
            <a:avLst/>
          </a:prstGeom>
        </p:spPr>
        <p:txBody>
          <a:bodyPr wrap="square" lIns="0" tIns="0" rIns="0" bIns="0" rtlCol="0" anchor="t">
            <a:spAutoFit/>
          </a:bodyPr>
          <a:lstStyle/>
          <a:p>
            <a:pPr>
              <a:lnSpc>
                <a:spcPct val="150000"/>
              </a:lnSpc>
            </a:pPr>
            <a:r>
              <a:rPr lang="en-US" sz="3600" kern="100">
                <a:solidFill>
                  <a:srgbClr val="404040"/>
                </a:solidFill>
                <a:latin typeface="+mj-lt"/>
              </a:rPr>
              <a:t>Boundaries identification f</a:t>
            </a:r>
            <a:r>
              <a:rPr lang="sv-SE" sz="3600" kern="100">
                <a:solidFill>
                  <a:srgbClr val="404040"/>
                </a:solidFill>
                <a:latin typeface="+mj-lt"/>
              </a:rPr>
              <a:t>or the sites. </a:t>
            </a:r>
          </a:p>
        </p:txBody>
      </p:sp>
      <p:grpSp>
        <p:nvGrpSpPr>
          <p:cNvPr id="4" name="Group 3">
            <a:extLst>
              <a:ext uri="{FF2B5EF4-FFF2-40B4-BE49-F238E27FC236}">
                <a16:creationId xmlns:a16="http://schemas.microsoft.com/office/drawing/2014/main" id="{A5EE261D-EF9D-4194-AA66-6DFF1D15DF71}"/>
              </a:ext>
            </a:extLst>
          </p:cNvPr>
          <p:cNvGrpSpPr/>
          <p:nvPr/>
        </p:nvGrpSpPr>
        <p:grpSpPr>
          <a:xfrm>
            <a:off x="6134034" y="3999172"/>
            <a:ext cx="11299024" cy="5626122"/>
            <a:chOff x="669471" y="2139840"/>
            <a:chExt cx="15090544" cy="7005859"/>
          </a:xfrm>
        </p:grpSpPr>
        <p:pic>
          <p:nvPicPr>
            <p:cNvPr id="23" name="Picture 20">
              <a:extLst>
                <a:ext uri="{FF2B5EF4-FFF2-40B4-BE49-F238E27FC236}">
                  <a16:creationId xmlns:a16="http://schemas.microsoft.com/office/drawing/2014/main" id="{99DF4058-CDED-4867-B2B8-C15C951FFFB8}"/>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47101"/>
            <a:stretch/>
          </p:blipFill>
          <p:spPr bwMode="auto">
            <a:xfrm>
              <a:off x="2181496" y="2139840"/>
              <a:ext cx="12956904" cy="7005859"/>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8" descr="RETROFEED FERTIBERIA">
              <a:hlinkClick r:id="rId7" action="ppaction://hlinksldjump"/>
              <a:extLst>
                <a:ext uri="{FF2B5EF4-FFF2-40B4-BE49-F238E27FC236}">
                  <a16:creationId xmlns:a16="http://schemas.microsoft.com/office/drawing/2014/main" id="{1002CEBE-D433-4FFA-9AE3-984242D3224C}"/>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665679" y="7946283"/>
              <a:ext cx="1823468" cy="671036"/>
            </a:xfrm>
            <a:prstGeom prst="rect">
              <a:avLst/>
            </a:prstGeom>
            <a:noFill/>
            <a:extLst>
              <a:ext uri="{909E8E84-426E-40DD-AFC4-6F175D3DCCD1}">
                <a14:hiddenFill xmlns:a14="http://schemas.microsoft.com/office/drawing/2010/main">
                  <a:solidFill>
                    <a:srgbClr val="FFFFFF"/>
                  </a:solidFill>
                </a14:hiddenFill>
              </a:ext>
            </a:extLst>
          </p:spPr>
        </p:pic>
        <p:sp>
          <p:nvSpPr>
            <p:cNvPr id="25" name="TextBox 24">
              <a:extLst>
                <a:ext uri="{FF2B5EF4-FFF2-40B4-BE49-F238E27FC236}">
                  <a16:creationId xmlns:a16="http://schemas.microsoft.com/office/drawing/2014/main" id="{7F561E58-2A64-49D8-9A05-CB002FDA8078}"/>
                </a:ext>
              </a:extLst>
            </p:cNvPr>
            <p:cNvSpPr txBox="1"/>
            <p:nvPr/>
          </p:nvSpPr>
          <p:spPr>
            <a:xfrm>
              <a:off x="1559879" y="8618148"/>
              <a:ext cx="3129587" cy="402417"/>
            </a:xfrm>
            <a:prstGeom prst="rect">
              <a:avLst/>
            </a:prstGeom>
            <a:noFill/>
          </p:spPr>
          <p:txBody>
            <a:bodyPr wrap="square" rtlCol="0">
              <a:spAutoFit/>
            </a:bodyPr>
            <a:lstStyle/>
            <a:p>
              <a:r>
                <a:rPr lang="sv-SE" sz="1500" b="1" err="1">
                  <a:solidFill>
                    <a:srgbClr val="CC0033"/>
                  </a:solidFill>
                  <a:latin typeface="+mj-lt"/>
                  <a:cs typeface="Arial" panose="020B0604020202020204" pitchFamily="34" charset="0"/>
                </a:rPr>
                <a:t>Agrochemical</a:t>
              </a:r>
              <a:r>
                <a:rPr lang="sv-SE" sz="1500"/>
                <a:t> </a:t>
              </a:r>
              <a:r>
                <a:rPr lang="sv-SE" sz="1500" b="1" err="1">
                  <a:solidFill>
                    <a:srgbClr val="CC0033"/>
                  </a:solidFill>
                  <a:latin typeface="+mj-lt"/>
                  <a:cs typeface="Arial" panose="020B0604020202020204" pitchFamily="34" charset="0"/>
                </a:rPr>
                <a:t>sector</a:t>
              </a:r>
              <a:endParaRPr lang="sv-SE" sz="1500" b="1">
                <a:solidFill>
                  <a:srgbClr val="CC0033"/>
                </a:solidFill>
                <a:latin typeface="+mj-lt"/>
                <a:cs typeface="Arial" panose="020B0604020202020204" pitchFamily="34" charset="0"/>
              </a:endParaRPr>
            </a:p>
          </p:txBody>
        </p:sp>
        <p:pic>
          <p:nvPicPr>
            <p:cNvPr id="26" name="Picture 10" descr="RETROFEED ASAS">
              <a:hlinkClick r:id="rId9" action="ppaction://hlinksldjump"/>
              <a:extLst>
                <a:ext uri="{FF2B5EF4-FFF2-40B4-BE49-F238E27FC236}">
                  <a16:creationId xmlns:a16="http://schemas.microsoft.com/office/drawing/2014/main" id="{12ABBCAC-8BEE-4C94-9297-E02C78835024}"/>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2727716" y="6536299"/>
              <a:ext cx="1672313" cy="433756"/>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12" descr="RETROFEED SECIL">
              <a:hlinkClick r:id="rId11" action="ppaction://hlinksldjump"/>
              <a:extLst>
                <a:ext uri="{FF2B5EF4-FFF2-40B4-BE49-F238E27FC236}">
                  <a16:creationId xmlns:a16="http://schemas.microsoft.com/office/drawing/2014/main" id="{91F755C4-012B-4A31-9DA4-976985A15B36}"/>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559880" y="5685605"/>
              <a:ext cx="1230687" cy="1181462"/>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16" descr="RETROFEED PITTINI">
              <a:hlinkClick r:id="rId13" action="ppaction://hlinksldjump"/>
              <a:extLst>
                <a:ext uri="{FF2B5EF4-FFF2-40B4-BE49-F238E27FC236}">
                  <a16:creationId xmlns:a16="http://schemas.microsoft.com/office/drawing/2014/main" id="{E381EDA1-9AD8-4DA9-8693-31C9F6D7DD53}"/>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6226629" y="5318034"/>
              <a:ext cx="2195285" cy="390484"/>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18">
              <a:hlinkClick r:id="rId15" action="ppaction://hlinksldjump"/>
              <a:extLst>
                <a:ext uri="{FF2B5EF4-FFF2-40B4-BE49-F238E27FC236}">
                  <a16:creationId xmlns:a16="http://schemas.microsoft.com/office/drawing/2014/main" id="{630079F5-D793-4F4D-8513-85478AC69298}"/>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11892448" y="4572108"/>
              <a:ext cx="3342848" cy="457029"/>
            </a:xfrm>
            <a:prstGeom prst="rect">
              <a:avLst/>
            </a:prstGeom>
            <a:noFill/>
            <a:extLst>
              <a:ext uri="{909E8E84-426E-40DD-AFC4-6F175D3DCCD1}">
                <a14:hiddenFill xmlns:a14="http://schemas.microsoft.com/office/drawing/2010/main">
                  <a:solidFill>
                    <a:srgbClr val="FFFFFF"/>
                  </a:solidFill>
                </a14:hiddenFill>
              </a:ext>
            </a:extLst>
          </p:spPr>
        </p:pic>
        <p:sp>
          <p:nvSpPr>
            <p:cNvPr id="31" name="TextBox 30">
              <a:extLst>
                <a:ext uri="{FF2B5EF4-FFF2-40B4-BE49-F238E27FC236}">
                  <a16:creationId xmlns:a16="http://schemas.microsoft.com/office/drawing/2014/main" id="{CAB8FA64-B6B6-4947-8940-438BC43FC41D}"/>
                </a:ext>
              </a:extLst>
            </p:cNvPr>
            <p:cNvSpPr txBox="1"/>
            <p:nvPr/>
          </p:nvSpPr>
          <p:spPr>
            <a:xfrm>
              <a:off x="669471" y="6826867"/>
              <a:ext cx="2188029" cy="323165"/>
            </a:xfrm>
            <a:prstGeom prst="rect">
              <a:avLst/>
            </a:prstGeom>
            <a:noFill/>
          </p:spPr>
          <p:txBody>
            <a:bodyPr wrap="square" rtlCol="0">
              <a:spAutoFit/>
            </a:bodyPr>
            <a:lstStyle/>
            <a:p>
              <a:r>
                <a:rPr lang="sv-SE" sz="1500" b="1">
                  <a:solidFill>
                    <a:srgbClr val="CC0033"/>
                  </a:solidFill>
                  <a:latin typeface="+mj-lt"/>
                  <a:cs typeface="Arial" panose="020B0604020202020204" pitchFamily="34" charset="0"/>
                </a:rPr>
                <a:t>Cement</a:t>
              </a:r>
              <a:r>
                <a:rPr lang="sv-SE" sz="1500"/>
                <a:t> </a:t>
              </a:r>
              <a:r>
                <a:rPr lang="sv-SE" sz="1500" b="1" err="1">
                  <a:solidFill>
                    <a:srgbClr val="CC0033"/>
                  </a:solidFill>
                  <a:latin typeface="+mj-lt"/>
                  <a:cs typeface="Arial" panose="020B0604020202020204" pitchFamily="34" charset="0"/>
                </a:rPr>
                <a:t>sector</a:t>
              </a:r>
              <a:endParaRPr lang="sv-SE" sz="1500" b="1">
                <a:solidFill>
                  <a:srgbClr val="CC0033"/>
                </a:solidFill>
                <a:latin typeface="+mj-lt"/>
                <a:cs typeface="Arial" panose="020B0604020202020204" pitchFamily="34" charset="0"/>
              </a:endParaRPr>
            </a:p>
          </p:txBody>
        </p:sp>
        <p:sp>
          <p:nvSpPr>
            <p:cNvPr id="32" name="TextBox 31">
              <a:extLst>
                <a:ext uri="{FF2B5EF4-FFF2-40B4-BE49-F238E27FC236}">
                  <a16:creationId xmlns:a16="http://schemas.microsoft.com/office/drawing/2014/main" id="{20352F41-7233-44F9-9D52-C71B4F491FA7}"/>
                </a:ext>
              </a:extLst>
            </p:cNvPr>
            <p:cNvSpPr txBox="1"/>
            <p:nvPr/>
          </p:nvSpPr>
          <p:spPr>
            <a:xfrm>
              <a:off x="6955961" y="5719220"/>
              <a:ext cx="2188030" cy="323165"/>
            </a:xfrm>
            <a:prstGeom prst="rect">
              <a:avLst/>
            </a:prstGeom>
            <a:noFill/>
          </p:spPr>
          <p:txBody>
            <a:bodyPr wrap="square" rtlCol="0">
              <a:spAutoFit/>
            </a:bodyPr>
            <a:lstStyle/>
            <a:p>
              <a:r>
                <a:rPr lang="sv-SE" sz="1500" b="1">
                  <a:solidFill>
                    <a:srgbClr val="CC0033"/>
                  </a:solidFill>
                  <a:latin typeface="+mj-lt"/>
                  <a:cs typeface="Arial" panose="020B0604020202020204" pitchFamily="34" charset="0"/>
                </a:rPr>
                <a:t>Steel</a:t>
              </a:r>
              <a:r>
                <a:rPr lang="sv-SE" sz="1500"/>
                <a:t> </a:t>
              </a:r>
              <a:r>
                <a:rPr lang="sv-SE" sz="1500" b="1" err="1">
                  <a:solidFill>
                    <a:srgbClr val="CC0033"/>
                  </a:solidFill>
                  <a:latin typeface="+mj-lt"/>
                  <a:cs typeface="Arial" panose="020B0604020202020204" pitchFamily="34" charset="0"/>
                </a:rPr>
                <a:t>sector</a:t>
              </a:r>
              <a:endParaRPr lang="sv-SE" sz="1500" b="1">
                <a:solidFill>
                  <a:srgbClr val="CC0033"/>
                </a:solidFill>
                <a:latin typeface="+mj-lt"/>
                <a:cs typeface="Arial" panose="020B0604020202020204" pitchFamily="34" charset="0"/>
              </a:endParaRPr>
            </a:p>
          </p:txBody>
        </p:sp>
        <p:sp>
          <p:nvSpPr>
            <p:cNvPr id="34" name="TextBox 33">
              <a:extLst>
                <a:ext uri="{FF2B5EF4-FFF2-40B4-BE49-F238E27FC236}">
                  <a16:creationId xmlns:a16="http://schemas.microsoft.com/office/drawing/2014/main" id="{EA228525-4A28-4DE7-990C-044569157B07}"/>
                </a:ext>
              </a:extLst>
            </p:cNvPr>
            <p:cNvSpPr txBox="1"/>
            <p:nvPr/>
          </p:nvSpPr>
          <p:spPr>
            <a:xfrm>
              <a:off x="12353109" y="5086190"/>
              <a:ext cx="2188029" cy="323165"/>
            </a:xfrm>
            <a:prstGeom prst="rect">
              <a:avLst/>
            </a:prstGeom>
            <a:noFill/>
          </p:spPr>
          <p:txBody>
            <a:bodyPr wrap="square" rtlCol="0">
              <a:spAutoFit/>
            </a:bodyPr>
            <a:lstStyle/>
            <a:p>
              <a:r>
                <a:rPr lang="sv-SE" sz="1500" b="1">
                  <a:solidFill>
                    <a:srgbClr val="CC0033"/>
                  </a:solidFill>
                  <a:latin typeface="+mj-lt"/>
                  <a:cs typeface="Arial" panose="020B0604020202020204" pitchFamily="34" charset="0"/>
                </a:rPr>
                <a:t>Steel</a:t>
              </a:r>
              <a:r>
                <a:rPr lang="sv-SE" sz="1500"/>
                <a:t> </a:t>
              </a:r>
              <a:r>
                <a:rPr lang="sv-SE" sz="1500" b="1" err="1">
                  <a:solidFill>
                    <a:srgbClr val="CC0033"/>
                  </a:solidFill>
                  <a:latin typeface="+mj-lt"/>
                  <a:cs typeface="Arial" panose="020B0604020202020204" pitchFamily="34" charset="0"/>
                </a:rPr>
                <a:t>sector</a:t>
              </a:r>
              <a:endParaRPr lang="sv-SE" sz="1500" b="1">
                <a:solidFill>
                  <a:srgbClr val="CC0033"/>
                </a:solidFill>
                <a:latin typeface="+mj-lt"/>
                <a:cs typeface="Arial" panose="020B0604020202020204" pitchFamily="34" charset="0"/>
              </a:endParaRPr>
            </a:p>
          </p:txBody>
        </p:sp>
        <p:sp>
          <p:nvSpPr>
            <p:cNvPr id="35" name="TextBox 34">
              <a:extLst>
                <a:ext uri="{FF2B5EF4-FFF2-40B4-BE49-F238E27FC236}">
                  <a16:creationId xmlns:a16="http://schemas.microsoft.com/office/drawing/2014/main" id="{AF1EDC7C-13CA-4699-9F59-81F8BA64179D}"/>
                </a:ext>
              </a:extLst>
            </p:cNvPr>
            <p:cNvSpPr txBox="1"/>
            <p:nvPr/>
          </p:nvSpPr>
          <p:spPr>
            <a:xfrm>
              <a:off x="12950371" y="7016817"/>
              <a:ext cx="2809644" cy="402417"/>
            </a:xfrm>
            <a:prstGeom prst="rect">
              <a:avLst/>
            </a:prstGeom>
            <a:noFill/>
          </p:spPr>
          <p:txBody>
            <a:bodyPr wrap="square" rtlCol="0">
              <a:spAutoFit/>
            </a:bodyPr>
            <a:lstStyle/>
            <a:p>
              <a:r>
                <a:rPr lang="sv-SE" sz="1500" b="1">
                  <a:solidFill>
                    <a:srgbClr val="CC0033"/>
                  </a:solidFill>
                  <a:latin typeface="+mj-lt"/>
                  <a:cs typeface="Arial" panose="020B0604020202020204" pitchFamily="34" charset="0"/>
                  <a:hlinkClick r:id="rId17" action="ppaction://hlinksldjump"/>
                </a:rPr>
                <a:t>Aluminium</a:t>
              </a:r>
              <a:r>
                <a:rPr lang="sv-SE" sz="1500">
                  <a:hlinkClick r:id="rId17" action="ppaction://hlinksldjump"/>
                </a:rPr>
                <a:t> </a:t>
              </a:r>
              <a:r>
                <a:rPr lang="sv-SE" sz="1500" b="1" err="1">
                  <a:solidFill>
                    <a:srgbClr val="CC0033"/>
                  </a:solidFill>
                  <a:latin typeface="+mj-lt"/>
                  <a:cs typeface="Arial" panose="020B0604020202020204" pitchFamily="34" charset="0"/>
                  <a:hlinkClick r:id="rId17" action="ppaction://hlinksldjump"/>
                </a:rPr>
                <a:t>sect</a:t>
              </a:r>
              <a:r>
                <a:rPr lang="sv-SE" sz="1500" b="1" err="1">
                  <a:solidFill>
                    <a:srgbClr val="CC0033"/>
                  </a:solidFill>
                  <a:latin typeface="+mj-lt"/>
                  <a:cs typeface="Arial" panose="020B0604020202020204" pitchFamily="34" charset="0"/>
                </a:rPr>
                <a:t>or</a:t>
              </a:r>
              <a:endParaRPr lang="sv-SE" sz="1500" b="1">
                <a:solidFill>
                  <a:srgbClr val="CC0033"/>
                </a:solidFill>
                <a:latin typeface="+mj-lt"/>
                <a:cs typeface="Arial" panose="020B0604020202020204" pitchFamily="34" charset="0"/>
              </a:endParaRPr>
            </a:p>
          </p:txBody>
        </p:sp>
      </p:grpSp>
      <p:pic>
        <p:nvPicPr>
          <p:cNvPr id="5" name="Picture 2">
            <a:hlinkClick r:id="rId18"/>
            <a:extLst>
              <a:ext uri="{FF2B5EF4-FFF2-40B4-BE49-F238E27FC236}">
                <a16:creationId xmlns:a16="http://schemas.microsoft.com/office/drawing/2014/main" id="{6D9275E4-9712-3BA1-06A4-E86EC72E7F1E}"/>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9136729" y="7353606"/>
            <a:ext cx="1489914" cy="533983"/>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A8938B7A-466E-1762-8D44-B01698519B6E}"/>
              </a:ext>
            </a:extLst>
          </p:cNvPr>
          <p:cNvSpPr txBox="1"/>
          <p:nvPr/>
        </p:nvSpPr>
        <p:spPr>
          <a:xfrm>
            <a:off x="9578624" y="7669828"/>
            <a:ext cx="1638284" cy="259521"/>
          </a:xfrm>
          <a:prstGeom prst="rect">
            <a:avLst/>
          </a:prstGeom>
          <a:noFill/>
        </p:spPr>
        <p:txBody>
          <a:bodyPr wrap="square" rtlCol="0">
            <a:spAutoFit/>
          </a:bodyPr>
          <a:lstStyle/>
          <a:p>
            <a:r>
              <a:rPr lang="sv-SE" sz="1500" b="1" err="1">
                <a:solidFill>
                  <a:srgbClr val="CC0033"/>
                </a:solidFill>
                <a:latin typeface="+mj-lt"/>
                <a:cs typeface="Arial" panose="020B0604020202020204" pitchFamily="34" charset="0"/>
              </a:rPr>
              <a:t>Ceramic</a:t>
            </a:r>
            <a:r>
              <a:rPr lang="sv-SE" sz="1500"/>
              <a:t> </a:t>
            </a:r>
            <a:r>
              <a:rPr lang="sv-SE" sz="1500" b="1" err="1">
                <a:solidFill>
                  <a:srgbClr val="CC0033"/>
                </a:solidFill>
                <a:latin typeface="+mj-lt"/>
                <a:cs typeface="Arial" panose="020B0604020202020204" pitchFamily="34" charset="0"/>
              </a:rPr>
              <a:t>sector</a:t>
            </a:r>
            <a:endParaRPr lang="sv-SE" sz="1500" b="1">
              <a:solidFill>
                <a:srgbClr val="CC0033"/>
              </a:solidFill>
              <a:latin typeface="+mj-lt"/>
              <a:cs typeface="Arial" panose="020B0604020202020204" pitchFamily="34" charset="0"/>
            </a:endParaRPr>
          </a:p>
        </p:txBody>
      </p:sp>
    </p:spTree>
    <p:extLst>
      <p:ext uri="{BB962C8B-B14F-4D97-AF65-F5344CB8AC3E}">
        <p14:creationId xmlns:p14="http://schemas.microsoft.com/office/powerpoint/2010/main" val="1781434693"/>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uppo 16">
            <a:extLst>
              <a:ext uri="{FF2B5EF4-FFF2-40B4-BE49-F238E27FC236}">
                <a16:creationId xmlns:a16="http://schemas.microsoft.com/office/drawing/2014/main" id="{7F05FA2D-BA17-4C4E-9DAE-36CC81DE9BAA}"/>
              </a:ext>
            </a:extLst>
          </p:cNvPr>
          <p:cNvGrpSpPr/>
          <p:nvPr/>
        </p:nvGrpSpPr>
        <p:grpSpPr>
          <a:xfrm>
            <a:off x="4329156" y="9695736"/>
            <a:ext cx="13958844" cy="666567"/>
            <a:chOff x="4329156" y="9649198"/>
            <a:chExt cx="13958844" cy="666567"/>
          </a:xfrm>
        </p:grpSpPr>
        <p:pic>
          <p:nvPicPr>
            <p:cNvPr id="5" name="Picture 12">
              <a:extLst>
                <a:ext uri="{FF2B5EF4-FFF2-40B4-BE49-F238E27FC236}">
                  <a16:creationId xmlns:a16="http://schemas.microsoft.com/office/drawing/2014/main" id="{00810EF5-3949-4698-A5DE-428CD380175F}"/>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6" name="TextBox 16">
              <a:extLst>
                <a:ext uri="{FF2B5EF4-FFF2-40B4-BE49-F238E27FC236}">
                  <a16:creationId xmlns:a16="http://schemas.microsoft.com/office/drawing/2014/main" id="{EDDD1531-1BDA-4725-B6A3-364F4B7CF76A}"/>
                </a:ext>
              </a:extLst>
            </p:cNvPr>
            <p:cNvSpPr txBox="1"/>
            <p:nvPr/>
          </p:nvSpPr>
          <p:spPr>
            <a:xfrm>
              <a:off x="14400029" y="9732291"/>
              <a:ext cx="3636320" cy="448713"/>
            </a:xfrm>
            <a:prstGeom prst="rect">
              <a:avLst/>
            </a:prstGeom>
          </p:spPr>
          <p:txBody>
            <a:bodyPr wrap="square" lIns="0" tIns="0" rIns="0" bIns="0" rtlCol="0" anchor="t">
              <a:spAutoFit/>
            </a:bodyPr>
            <a:lstStyle/>
            <a:p>
              <a:pPr marL="0" marR="0" lvl="0" indent="0" algn="ctr" defTabSz="914400" rtl="0" eaLnBrk="1" fontAlgn="auto" latinLnBrk="0" hangingPunct="1">
                <a:lnSpc>
                  <a:spcPts val="3919"/>
                </a:lnSpc>
                <a:spcBef>
                  <a:spcPct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OCR A Extended" panose="02010509020102010303" pitchFamily="50" charset="0"/>
                  <a:ea typeface="+mn-ea"/>
                  <a:cs typeface="+mn-cs"/>
                </a:rPr>
                <a:t>www.retrofeed.eu</a:t>
              </a:r>
            </a:p>
          </p:txBody>
        </p:sp>
      </p:grpSp>
      <p:pic>
        <p:nvPicPr>
          <p:cNvPr id="7" name="Picture 12">
            <a:extLst>
              <a:ext uri="{FF2B5EF4-FFF2-40B4-BE49-F238E27FC236}">
                <a16:creationId xmlns:a16="http://schemas.microsoft.com/office/drawing/2014/main" id="{52C35A30-8BA0-4714-8363-E6CE748BA2C3}"/>
              </a:ext>
            </a:extLst>
          </p:cNvPr>
          <p:cNvPicPr>
            <a:picLocks noChangeAspect="1"/>
          </p:cNvPicPr>
          <p:nvPr/>
        </p:nvPicPr>
        <p:blipFill>
          <a:blip r:embed="rId4"/>
          <a:srcRect/>
          <a:stretch>
            <a:fillRect/>
          </a:stretch>
        </p:blipFill>
        <p:spPr>
          <a:xfrm>
            <a:off x="0" y="8901113"/>
            <a:ext cx="5715000" cy="1385887"/>
          </a:xfrm>
          <a:prstGeom prst="rect">
            <a:avLst/>
          </a:prstGeom>
        </p:spPr>
      </p:pic>
      <p:grpSp>
        <p:nvGrpSpPr>
          <p:cNvPr id="8" name="Gruppo 2">
            <a:extLst>
              <a:ext uri="{FF2B5EF4-FFF2-40B4-BE49-F238E27FC236}">
                <a16:creationId xmlns:a16="http://schemas.microsoft.com/office/drawing/2014/main" id="{C9C93A65-4067-4ACC-B2C9-8C15277024E4}"/>
              </a:ext>
            </a:extLst>
          </p:cNvPr>
          <p:cNvGrpSpPr/>
          <p:nvPr/>
        </p:nvGrpSpPr>
        <p:grpSpPr>
          <a:xfrm>
            <a:off x="-12" y="138554"/>
            <a:ext cx="18288002" cy="681138"/>
            <a:chOff x="-12" y="138554"/>
            <a:chExt cx="18288002" cy="681138"/>
          </a:xfrm>
        </p:grpSpPr>
        <p:grpSp>
          <p:nvGrpSpPr>
            <p:cNvPr id="9" name="Gruppo 1">
              <a:extLst>
                <a:ext uri="{FF2B5EF4-FFF2-40B4-BE49-F238E27FC236}">
                  <a16:creationId xmlns:a16="http://schemas.microsoft.com/office/drawing/2014/main" id="{A943E672-738C-4FE3-BD35-ACD7A4E4D95E}"/>
                </a:ext>
              </a:extLst>
            </p:cNvPr>
            <p:cNvGrpSpPr/>
            <p:nvPr/>
          </p:nvGrpSpPr>
          <p:grpSpPr>
            <a:xfrm>
              <a:off x="0" y="153125"/>
              <a:ext cx="17907000" cy="666567"/>
              <a:chOff x="0" y="153125"/>
              <a:chExt cx="17907000" cy="666567"/>
            </a:xfrm>
          </p:grpSpPr>
          <p:grpSp>
            <p:nvGrpSpPr>
              <p:cNvPr id="11" name="Gruppo 15">
                <a:extLst>
                  <a:ext uri="{FF2B5EF4-FFF2-40B4-BE49-F238E27FC236}">
                    <a16:creationId xmlns:a16="http://schemas.microsoft.com/office/drawing/2014/main" id="{10037738-5D9A-4755-B52F-99B1FA543ED3}"/>
                  </a:ext>
                </a:extLst>
              </p:cNvPr>
              <p:cNvGrpSpPr/>
              <p:nvPr/>
            </p:nvGrpSpPr>
            <p:grpSpPr>
              <a:xfrm>
                <a:off x="0" y="153125"/>
                <a:ext cx="13958844" cy="666567"/>
                <a:chOff x="0" y="153125"/>
                <a:chExt cx="13958844" cy="666567"/>
              </a:xfrm>
            </p:grpSpPr>
            <p:pic>
              <p:nvPicPr>
                <p:cNvPr id="13" name="Picture 10">
                  <a:extLst>
                    <a:ext uri="{FF2B5EF4-FFF2-40B4-BE49-F238E27FC236}">
                      <a16:creationId xmlns:a16="http://schemas.microsoft.com/office/drawing/2014/main" id="{30234B5E-6FF9-499F-817A-9B69F1CC9911}"/>
                    </a:ext>
                  </a:extLst>
                </p:cNvPr>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4" name="TextBox 11">
                  <a:extLst>
                    <a:ext uri="{FF2B5EF4-FFF2-40B4-BE49-F238E27FC236}">
                      <a16:creationId xmlns:a16="http://schemas.microsoft.com/office/drawing/2014/main" id="{E5F3FE84-033A-4279-AF93-ABD80EC40550}"/>
                    </a:ext>
                  </a:extLst>
                </p:cNvPr>
                <p:cNvSpPr txBox="1"/>
                <p:nvPr/>
              </p:nvSpPr>
              <p:spPr>
                <a:xfrm>
                  <a:off x="228600" y="257980"/>
                  <a:ext cx="9296400" cy="456856"/>
                </a:xfrm>
                <a:prstGeom prst="rect">
                  <a:avLst/>
                </a:prstGeom>
              </p:spPr>
              <p:txBody>
                <a:bodyPr wrap="square" lIns="0" tIns="0" rIns="0" bIns="0" rtlCol="0" anchor="t">
                  <a:spAutoFit/>
                </a:bodyPr>
                <a:lstStyle/>
                <a:p>
                  <a:pPr marL="0" marR="0" lvl="0" indent="0" algn="l" defTabSz="914400" rtl="0" eaLnBrk="1" fontAlgn="auto" latinLnBrk="0" hangingPunct="1">
                    <a:lnSpc>
                      <a:spcPts val="3919"/>
                    </a:lnSpc>
                    <a:spcBef>
                      <a:spcPct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2" name="TextBox 11">
                <a:extLst>
                  <a:ext uri="{FF2B5EF4-FFF2-40B4-BE49-F238E27FC236}">
                    <a16:creationId xmlns:a16="http://schemas.microsoft.com/office/drawing/2014/main" id="{7B4365DB-7AB3-494A-91B9-B5781D39B67B}"/>
                  </a:ext>
                </a:extLst>
              </p:cNvPr>
              <p:cNvSpPr txBox="1"/>
              <p:nvPr/>
            </p:nvSpPr>
            <p:spPr>
              <a:xfrm>
                <a:off x="12154296" y="257980"/>
                <a:ext cx="5752704" cy="456856"/>
              </a:xfrm>
              <a:prstGeom prst="rect">
                <a:avLst/>
              </a:prstGeom>
            </p:spPr>
            <p:txBody>
              <a:bodyPr wrap="square" lIns="0" tIns="0" rIns="0" bIns="0" rtlCol="0" anchor="t">
                <a:spAutoFit/>
              </a:bodyPr>
              <a:lstStyle/>
              <a:p>
                <a:pPr marL="0" marR="0" lvl="0" indent="0" algn="r" defTabSz="914400" rtl="0" eaLnBrk="1" fontAlgn="auto" latinLnBrk="0" hangingPunct="1">
                  <a:lnSpc>
                    <a:spcPts val="3919"/>
                  </a:lnSpc>
                  <a:spcBef>
                    <a:spcPct val="0"/>
                  </a:spcBef>
                  <a:spcAft>
                    <a:spcPts val="0"/>
                  </a:spcAft>
                  <a:buClrTx/>
                  <a:buSzTx/>
                  <a:buFontTx/>
                  <a:buNone/>
                  <a:tabLst/>
                  <a:defRPr/>
                </a:pPr>
                <a:endParaRPr kumimoji="0" lang="en-US" sz="2800" b="0" i="0" u="none" strike="noStrike" kern="1200" cap="none" spc="0" normalizeH="0" baseline="0" noProof="0">
                  <a:ln>
                    <a:noFill/>
                  </a:ln>
                  <a:solidFill>
                    <a:srgbClr val="2F2F2F">
                      <a:lumMod val="75000"/>
                      <a:lumOff val="25000"/>
                    </a:srgbClr>
                  </a:solidFill>
                  <a:effectLst/>
                  <a:uLnTx/>
                  <a:uFillTx/>
                  <a:latin typeface="Arial" panose="020B0604020202020204" pitchFamily="34" charset="0"/>
                  <a:ea typeface="+mn-ea"/>
                  <a:cs typeface="Arial" panose="020B0604020202020204" pitchFamily="34" charset="0"/>
                </a:endParaRPr>
              </a:p>
            </p:txBody>
          </p:sp>
        </p:grpSp>
        <p:sp>
          <p:nvSpPr>
            <p:cNvPr id="10" name="Rettangolo 13">
              <a:extLst>
                <a:ext uri="{FF2B5EF4-FFF2-40B4-BE49-F238E27FC236}">
                  <a16:creationId xmlns:a16="http://schemas.microsoft.com/office/drawing/2014/main" id="{BC76EB51-B4AB-4BAB-AAF6-1883074EEF50}"/>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20" name="TextBox 19">
            <a:extLst>
              <a:ext uri="{FF2B5EF4-FFF2-40B4-BE49-F238E27FC236}">
                <a16:creationId xmlns:a16="http://schemas.microsoft.com/office/drawing/2014/main" id="{B4D68CAB-2F99-49CF-9331-08151EAABA39}"/>
              </a:ext>
            </a:extLst>
          </p:cNvPr>
          <p:cNvSpPr txBox="1"/>
          <p:nvPr/>
        </p:nvSpPr>
        <p:spPr>
          <a:xfrm>
            <a:off x="433056" y="1177317"/>
            <a:ext cx="17421865" cy="76944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a:ln>
                  <a:noFill/>
                </a:ln>
                <a:solidFill>
                  <a:srgbClr val="CC0033"/>
                </a:solidFill>
                <a:effectLst/>
                <a:uLnTx/>
                <a:uFillTx/>
                <a:latin typeface="Arial"/>
                <a:ea typeface="+mn-ea"/>
                <a:cs typeface="Arial" panose="020B0604020202020204" pitchFamily="34" charset="0"/>
              </a:rPr>
              <a:t>CRITERIA FOR BOUNDARIES IDENTIFICATION </a:t>
            </a:r>
            <a:r>
              <a:rPr kumimoji="0" lang="sv-SE" sz="4400" b="1" i="0" u="none" strike="noStrike" kern="1200" cap="none" spc="0" normalizeH="0" baseline="0" noProof="0">
                <a:ln>
                  <a:noFill/>
                </a:ln>
                <a:solidFill>
                  <a:srgbClr val="CC0033"/>
                </a:solidFill>
                <a:effectLst/>
                <a:uLnTx/>
                <a:uFillTx/>
                <a:latin typeface="Arial"/>
                <a:ea typeface="+mn-ea"/>
                <a:cs typeface="Arial" panose="020B0604020202020204" pitchFamily="34" charset="0"/>
              </a:rPr>
              <a:t>AT</a:t>
            </a:r>
          </a:p>
        </p:txBody>
      </p:sp>
      <p:pic>
        <p:nvPicPr>
          <p:cNvPr id="2" name="Imagen 93">
            <a:extLst>
              <a:ext uri="{FF2B5EF4-FFF2-40B4-BE49-F238E27FC236}">
                <a16:creationId xmlns:a16="http://schemas.microsoft.com/office/drawing/2014/main" id="{DBC8C72D-E4BD-51EF-57BC-0C5B0937A593}"/>
              </a:ext>
            </a:extLst>
          </p:cNvPr>
          <p:cNvPicPr>
            <a:picLocks noChangeAspect="1"/>
          </p:cNvPicPr>
          <p:nvPr/>
        </p:nvPicPr>
        <p:blipFill rotWithShape="1">
          <a:blip r:embed="rId6"/>
          <a:srcRect l="23084" t="14316" r="9046" b="7091"/>
          <a:stretch/>
        </p:blipFill>
        <p:spPr>
          <a:xfrm>
            <a:off x="14088970" y="659364"/>
            <a:ext cx="2369044" cy="1936268"/>
          </a:xfrm>
          <a:prstGeom prst="rect">
            <a:avLst/>
          </a:prstGeom>
        </p:spPr>
      </p:pic>
      <p:pic>
        <p:nvPicPr>
          <p:cNvPr id="16" name="image7.png">
            <a:extLst>
              <a:ext uri="{FF2B5EF4-FFF2-40B4-BE49-F238E27FC236}">
                <a16:creationId xmlns:a16="http://schemas.microsoft.com/office/drawing/2014/main" id="{62C5F4C2-BCA7-632A-648B-9A65931C65A1}"/>
              </a:ext>
            </a:extLst>
          </p:cNvPr>
          <p:cNvPicPr>
            <a:picLocks noChangeAspect="1"/>
          </p:cNvPicPr>
          <p:nvPr/>
        </p:nvPicPr>
        <p:blipFill>
          <a:blip r:embed="rId7" cstate="print"/>
          <a:stretch>
            <a:fillRect/>
          </a:stretch>
        </p:blipFill>
        <p:spPr>
          <a:xfrm>
            <a:off x="673432" y="2239334"/>
            <a:ext cx="10670071" cy="5665487"/>
          </a:xfrm>
          <a:prstGeom prst="rect">
            <a:avLst/>
          </a:prstGeom>
        </p:spPr>
      </p:pic>
      <p:sp>
        <p:nvSpPr>
          <p:cNvPr id="18" name="TextBox 17">
            <a:extLst>
              <a:ext uri="{FF2B5EF4-FFF2-40B4-BE49-F238E27FC236}">
                <a16:creationId xmlns:a16="http://schemas.microsoft.com/office/drawing/2014/main" id="{2352F9B5-119B-83ED-7DBE-55825134AC88}"/>
              </a:ext>
            </a:extLst>
          </p:cNvPr>
          <p:cNvSpPr txBox="1"/>
          <p:nvPr/>
        </p:nvSpPr>
        <p:spPr>
          <a:xfrm>
            <a:off x="929834" y="8134499"/>
            <a:ext cx="10157266"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3E3E3E"/>
                </a:solidFill>
                <a:effectLst/>
                <a:uLnTx/>
                <a:uFillTx/>
                <a:latin typeface="Arial MT"/>
                <a:ea typeface="Arial MT"/>
                <a:cs typeface="Arial MT"/>
              </a:rPr>
              <a:t>The main processes and variables to be considered in the DSS (in</a:t>
            </a:r>
            <a:r>
              <a:rPr kumimoji="0" lang="en-US" sz="2400" b="0" i="0" u="none" strike="noStrike" kern="1200" cap="none" spc="-15" normalizeH="0" baseline="0" noProof="0">
                <a:ln>
                  <a:noFill/>
                </a:ln>
                <a:solidFill>
                  <a:srgbClr val="3E3E3E"/>
                </a:solidFill>
                <a:effectLst/>
                <a:uLnTx/>
                <a:uFillTx/>
                <a:latin typeface="Arial MT"/>
                <a:ea typeface="Arial MT"/>
                <a:cs typeface="Arial MT"/>
              </a:rPr>
              <a:t> </a:t>
            </a:r>
            <a:r>
              <a:rPr kumimoji="0" lang="en-US" sz="2400" b="0" i="0" u="none" strike="noStrike" kern="1200" cap="none" spc="0" normalizeH="0" baseline="0" noProof="0">
                <a:ln>
                  <a:noFill/>
                </a:ln>
                <a:solidFill>
                  <a:srgbClr val="3E3E3E"/>
                </a:solidFill>
                <a:effectLst/>
                <a:uLnTx/>
                <a:uFillTx/>
                <a:latin typeface="Arial MT"/>
                <a:ea typeface="Arial MT"/>
                <a:cs typeface="Arial MT"/>
              </a:rPr>
              <a:t>red)</a:t>
            </a:r>
            <a:endParaRPr kumimoji="0" lang="sv-SE" sz="2400" b="0" i="0" u="none" strike="noStrike" kern="1200" cap="none" spc="0" normalizeH="0" baseline="0" noProof="0">
              <a:ln>
                <a:noFill/>
              </a:ln>
              <a:solidFill>
                <a:srgbClr val="2F2F2F"/>
              </a:solidFill>
              <a:effectLst/>
              <a:uLnTx/>
              <a:uFillTx/>
              <a:latin typeface="Arial"/>
              <a:ea typeface="+mn-ea"/>
              <a:cs typeface="+mn-cs"/>
            </a:endParaRPr>
          </a:p>
        </p:txBody>
      </p:sp>
      <p:graphicFrame>
        <p:nvGraphicFramePr>
          <p:cNvPr id="19" name="Table 18">
            <a:extLst>
              <a:ext uri="{FF2B5EF4-FFF2-40B4-BE49-F238E27FC236}">
                <a16:creationId xmlns:a16="http://schemas.microsoft.com/office/drawing/2014/main" id="{3196E5C5-4A0B-54FB-A563-368E2A57863E}"/>
              </a:ext>
            </a:extLst>
          </p:cNvPr>
          <p:cNvGraphicFramePr>
            <a:graphicFrameLocks noGrp="1"/>
          </p:cNvGraphicFramePr>
          <p:nvPr/>
        </p:nvGraphicFramePr>
        <p:xfrm>
          <a:off x="11945288" y="3377373"/>
          <a:ext cx="5669280" cy="4754880"/>
        </p:xfrm>
        <a:graphic>
          <a:graphicData uri="http://schemas.openxmlformats.org/drawingml/2006/table">
            <a:tbl>
              <a:tblPr firstRow="1" firstCol="1" lastRow="1" lastCol="1" bandRow="1" bandCol="1">
                <a:tableStyleId>{72833802-FEF1-4C79-8D5D-14CF1EAF98D9}</a:tableStyleId>
              </a:tblPr>
              <a:tblGrid>
                <a:gridCol w="2834640">
                  <a:extLst>
                    <a:ext uri="{9D8B030D-6E8A-4147-A177-3AD203B41FA5}">
                      <a16:colId xmlns:a16="http://schemas.microsoft.com/office/drawing/2014/main" val="1321764432"/>
                    </a:ext>
                  </a:extLst>
                </a:gridCol>
                <a:gridCol w="2834640">
                  <a:extLst>
                    <a:ext uri="{9D8B030D-6E8A-4147-A177-3AD203B41FA5}">
                      <a16:colId xmlns:a16="http://schemas.microsoft.com/office/drawing/2014/main" val="2291591628"/>
                    </a:ext>
                  </a:extLst>
                </a:gridCol>
              </a:tblGrid>
              <a:tr h="237490">
                <a:tc>
                  <a:txBody>
                    <a:bodyPr/>
                    <a:lstStyle/>
                    <a:p>
                      <a:pPr marL="72390" marR="64135" algn="ctr">
                        <a:spcBef>
                          <a:spcPts val="285"/>
                        </a:spcBef>
                        <a:spcAft>
                          <a:spcPts val="0"/>
                        </a:spcAft>
                      </a:pPr>
                      <a:r>
                        <a:rPr lang="en-US" sz="2400">
                          <a:effectLst/>
                        </a:rPr>
                        <a:t>PC</a:t>
                      </a:r>
                      <a:r>
                        <a:rPr lang="en-US" sz="2400" spc="-5">
                          <a:effectLst/>
                        </a:rPr>
                        <a:t> </a:t>
                      </a:r>
                      <a:r>
                        <a:rPr lang="en-US" sz="2400">
                          <a:effectLst/>
                        </a:rPr>
                        <a:t>model</a:t>
                      </a:r>
                      <a:endParaRPr lang="sv-SE" sz="2400">
                        <a:effectLst/>
                        <a:latin typeface="Arial MT"/>
                        <a:ea typeface="Arial MT"/>
                        <a:cs typeface="Arial MT"/>
                      </a:endParaRPr>
                    </a:p>
                  </a:txBody>
                  <a:tcPr marL="0" marR="0" marT="0" marB="0"/>
                </a:tc>
                <a:tc>
                  <a:txBody>
                    <a:bodyPr/>
                    <a:lstStyle/>
                    <a:p>
                      <a:pPr marL="72390" marR="72390" algn="ctr">
                        <a:spcBef>
                          <a:spcPts val="285"/>
                        </a:spcBef>
                        <a:spcAft>
                          <a:spcPts val="0"/>
                        </a:spcAft>
                      </a:pPr>
                      <a:r>
                        <a:rPr lang="en-US" sz="2400">
                          <a:effectLst/>
                        </a:rPr>
                        <a:t>Purpose</a:t>
                      </a:r>
                      <a:endParaRPr lang="sv-SE" sz="2400">
                        <a:effectLst/>
                        <a:latin typeface="Arial MT"/>
                        <a:ea typeface="Arial MT"/>
                        <a:cs typeface="Arial MT"/>
                      </a:endParaRPr>
                    </a:p>
                  </a:txBody>
                  <a:tcPr marL="0" marR="0" marT="0" marB="0"/>
                </a:tc>
                <a:extLst>
                  <a:ext uri="{0D108BD9-81ED-4DB2-BD59-A6C34878D82A}">
                    <a16:rowId xmlns:a16="http://schemas.microsoft.com/office/drawing/2014/main" val="2700208023"/>
                  </a:ext>
                </a:extLst>
              </a:tr>
              <a:tr h="392430">
                <a:tc>
                  <a:txBody>
                    <a:bodyPr/>
                    <a:lstStyle/>
                    <a:p>
                      <a:pPr marL="72390" marR="64770" algn="ctr">
                        <a:spcBef>
                          <a:spcPts val="260"/>
                        </a:spcBef>
                        <a:spcAft>
                          <a:spcPts val="0"/>
                        </a:spcAft>
                      </a:pPr>
                      <a:r>
                        <a:rPr lang="en-US" sz="2400">
                          <a:effectLst/>
                        </a:rPr>
                        <a:t>Fuel</a:t>
                      </a:r>
                      <a:r>
                        <a:rPr lang="en-US" sz="2400" spc="-10">
                          <a:effectLst/>
                        </a:rPr>
                        <a:t> </a:t>
                      </a:r>
                      <a:r>
                        <a:rPr lang="en-US" sz="2400">
                          <a:effectLst/>
                        </a:rPr>
                        <a:t>mix</a:t>
                      </a:r>
                      <a:r>
                        <a:rPr lang="en-US" sz="2400" spc="-25">
                          <a:effectLst/>
                        </a:rPr>
                        <a:t> </a:t>
                      </a:r>
                      <a:r>
                        <a:rPr lang="en-US" sz="2400">
                          <a:effectLst/>
                        </a:rPr>
                        <a:t>optimization</a:t>
                      </a:r>
                      <a:r>
                        <a:rPr lang="en-US" sz="2400" spc="5">
                          <a:effectLst/>
                        </a:rPr>
                        <a:t> </a:t>
                      </a:r>
                      <a:r>
                        <a:rPr lang="en-US" sz="2400">
                          <a:effectLst/>
                        </a:rPr>
                        <a:t>model</a:t>
                      </a:r>
                      <a:endParaRPr lang="sv-SE" sz="2400">
                        <a:effectLst/>
                        <a:latin typeface="Arial MT"/>
                        <a:ea typeface="Arial MT"/>
                        <a:cs typeface="Arial MT"/>
                      </a:endParaRPr>
                    </a:p>
                  </a:txBody>
                  <a:tcPr marL="0" marR="0" marT="0" marB="0"/>
                </a:tc>
                <a:tc>
                  <a:txBody>
                    <a:bodyPr/>
                    <a:lstStyle/>
                    <a:p>
                      <a:pPr marL="271145" marR="95250" indent="24130" algn="l">
                        <a:spcBef>
                          <a:spcPts val="260"/>
                        </a:spcBef>
                        <a:spcAft>
                          <a:spcPts val="0"/>
                        </a:spcAft>
                      </a:pPr>
                      <a:r>
                        <a:rPr lang="en-US" sz="2400">
                          <a:effectLst/>
                        </a:rPr>
                        <a:t>Select the best fuel mix, considering</a:t>
                      </a:r>
                      <a:r>
                        <a:rPr lang="en-US" sz="2400" spc="-295">
                          <a:effectLst/>
                        </a:rPr>
                        <a:t> </a:t>
                      </a:r>
                      <a:r>
                        <a:rPr lang="en-US" sz="2400">
                          <a:effectLst/>
                        </a:rPr>
                        <a:t>availability</a:t>
                      </a:r>
                      <a:r>
                        <a:rPr lang="en-US" sz="2400" spc="-15">
                          <a:effectLst/>
                        </a:rPr>
                        <a:t> </a:t>
                      </a:r>
                      <a:r>
                        <a:rPr lang="en-US" sz="2400">
                          <a:effectLst/>
                        </a:rPr>
                        <a:t>and</a:t>
                      </a:r>
                      <a:r>
                        <a:rPr lang="en-US" sz="2400" spc="-25">
                          <a:effectLst/>
                        </a:rPr>
                        <a:t> </a:t>
                      </a:r>
                      <a:r>
                        <a:rPr lang="en-US" sz="2400">
                          <a:effectLst/>
                        </a:rPr>
                        <a:t>price</a:t>
                      </a:r>
                      <a:r>
                        <a:rPr lang="en-US" sz="2400" spc="-25">
                          <a:effectLst/>
                        </a:rPr>
                        <a:t> </a:t>
                      </a:r>
                      <a:r>
                        <a:rPr lang="en-US" sz="2400">
                          <a:effectLst/>
                        </a:rPr>
                        <a:t>of</a:t>
                      </a:r>
                      <a:r>
                        <a:rPr lang="en-US" sz="2400" spc="-30">
                          <a:effectLst/>
                        </a:rPr>
                        <a:t> </a:t>
                      </a:r>
                      <a:r>
                        <a:rPr lang="en-US" sz="2400">
                          <a:effectLst/>
                        </a:rPr>
                        <a:t>different</a:t>
                      </a:r>
                      <a:r>
                        <a:rPr lang="en-US" sz="2400" spc="-10">
                          <a:effectLst/>
                        </a:rPr>
                        <a:t> </a:t>
                      </a:r>
                      <a:r>
                        <a:rPr lang="en-US" sz="2400">
                          <a:effectLst/>
                        </a:rPr>
                        <a:t>fuels</a:t>
                      </a:r>
                      <a:endParaRPr lang="sv-SE" sz="2400">
                        <a:effectLst/>
                        <a:latin typeface="Arial MT"/>
                        <a:ea typeface="Arial MT"/>
                        <a:cs typeface="Arial MT"/>
                      </a:endParaRPr>
                    </a:p>
                  </a:txBody>
                  <a:tcPr marL="0" marR="0" marT="0" marB="0"/>
                </a:tc>
                <a:extLst>
                  <a:ext uri="{0D108BD9-81ED-4DB2-BD59-A6C34878D82A}">
                    <a16:rowId xmlns:a16="http://schemas.microsoft.com/office/drawing/2014/main" val="3982669204"/>
                  </a:ext>
                </a:extLst>
              </a:tr>
              <a:tr h="246380">
                <a:tc>
                  <a:txBody>
                    <a:bodyPr/>
                    <a:lstStyle/>
                    <a:p>
                      <a:pPr marL="72390" marR="61595" algn="ctr">
                        <a:spcBef>
                          <a:spcPts val="260"/>
                        </a:spcBef>
                        <a:spcAft>
                          <a:spcPts val="0"/>
                        </a:spcAft>
                      </a:pPr>
                      <a:r>
                        <a:rPr lang="en-US" sz="2400">
                          <a:effectLst/>
                        </a:rPr>
                        <a:t>Cooling and</a:t>
                      </a:r>
                      <a:r>
                        <a:rPr lang="en-US" sz="2400" spc="-25">
                          <a:effectLst/>
                        </a:rPr>
                        <a:t> </a:t>
                      </a:r>
                      <a:r>
                        <a:rPr lang="en-US" sz="2400">
                          <a:effectLst/>
                        </a:rPr>
                        <a:t>quality</a:t>
                      </a:r>
                      <a:r>
                        <a:rPr lang="en-US" sz="2400" spc="-10">
                          <a:effectLst/>
                        </a:rPr>
                        <a:t> </a:t>
                      </a:r>
                      <a:r>
                        <a:rPr lang="en-US" sz="2400">
                          <a:effectLst/>
                        </a:rPr>
                        <a:t>model</a:t>
                      </a:r>
                      <a:endParaRPr lang="sv-SE" sz="2400">
                        <a:effectLst/>
                        <a:latin typeface="Arial MT"/>
                        <a:ea typeface="Arial MT"/>
                        <a:cs typeface="Arial MT"/>
                      </a:endParaRPr>
                    </a:p>
                  </a:txBody>
                  <a:tcPr marL="0" marR="0" marT="0" marB="0"/>
                </a:tc>
                <a:tc>
                  <a:txBody>
                    <a:bodyPr/>
                    <a:lstStyle/>
                    <a:p>
                      <a:pPr marL="0" marR="69850" algn="l">
                        <a:spcBef>
                          <a:spcPts val="260"/>
                        </a:spcBef>
                        <a:spcAft>
                          <a:spcPts val="0"/>
                        </a:spcAft>
                      </a:pPr>
                      <a:r>
                        <a:rPr lang="en-US" sz="2400">
                          <a:effectLst/>
                        </a:rPr>
                        <a:t>Predict</a:t>
                      </a:r>
                      <a:r>
                        <a:rPr lang="en-US" sz="2400" spc="-20">
                          <a:effectLst/>
                        </a:rPr>
                        <a:t> </a:t>
                      </a:r>
                      <a:r>
                        <a:rPr lang="en-US" sz="2400">
                          <a:effectLst/>
                        </a:rPr>
                        <a:t>the</a:t>
                      </a:r>
                      <a:r>
                        <a:rPr lang="en-US" sz="2400" spc="-10">
                          <a:effectLst/>
                        </a:rPr>
                        <a:t> </a:t>
                      </a:r>
                      <a:r>
                        <a:rPr lang="en-US" sz="2400">
                          <a:effectLst/>
                        </a:rPr>
                        <a:t>quality</a:t>
                      </a:r>
                      <a:r>
                        <a:rPr lang="en-US" sz="2400" spc="-25">
                          <a:effectLst/>
                        </a:rPr>
                        <a:t> </a:t>
                      </a:r>
                      <a:r>
                        <a:rPr lang="en-US" sz="2400">
                          <a:effectLst/>
                        </a:rPr>
                        <a:t>of</a:t>
                      </a:r>
                      <a:r>
                        <a:rPr lang="en-US" sz="2400" spc="10">
                          <a:effectLst/>
                        </a:rPr>
                        <a:t> </a:t>
                      </a:r>
                      <a:r>
                        <a:rPr lang="en-US" sz="2400">
                          <a:effectLst/>
                        </a:rPr>
                        <a:t>the</a:t>
                      </a:r>
                      <a:r>
                        <a:rPr lang="en-US" sz="2400" spc="-15">
                          <a:effectLst/>
                        </a:rPr>
                        <a:t> </a:t>
                      </a:r>
                      <a:r>
                        <a:rPr lang="en-US" sz="2400">
                          <a:effectLst/>
                        </a:rPr>
                        <a:t>clinker</a:t>
                      </a:r>
                      <a:r>
                        <a:rPr lang="en-US" sz="2400" spc="-30">
                          <a:effectLst/>
                        </a:rPr>
                        <a:t> </a:t>
                      </a:r>
                      <a:r>
                        <a:rPr lang="en-US" sz="2400">
                          <a:effectLst/>
                        </a:rPr>
                        <a:t>produced</a:t>
                      </a:r>
                      <a:endParaRPr lang="sv-SE" sz="2400">
                        <a:effectLst/>
                        <a:latin typeface="Arial MT"/>
                        <a:ea typeface="Arial MT"/>
                        <a:cs typeface="Arial MT"/>
                      </a:endParaRPr>
                    </a:p>
                  </a:txBody>
                  <a:tcPr marL="0" marR="0" marT="0" marB="0"/>
                </a:tc>
                <a:extLst>
                  <a:ext uri="{0D108BD9-81ED-4DB2-BD59-A6C34878D82A}">
                    <a16:rowId xmlns:a16="http://schemas.microsoft.com/office/drawing/2014/main" val="2356806248"/>
                  </a:ext>
                </a:extLst>
              </a:tr>
              <a:tr h="264795">
                <a:tc>
                  <a:txBody>
                    <a:bodyPr/>
                    <a:lstStyle/>
                    <a:p>
                      <a:pPr marL="72390" marR="64770" algn="ctr">
                        <a:spcBef>
                          <a:spcPts val="285"/>
                        </a:spcBef>
                        <a:spcAft>
                          <a:spcPts val="0"/>
                        </a:spcAft>
                      </a:pPr>
                      <a:r>
                        <a:rPr lang="en-US" sz="2400">
                          <a:effectLst/>
                        </a:rPr>
                        <a:t>Emissions</a:t>
                      </a:r>
                      <a:r>
                        <a:rPr lang="en-US" sz="2400" spc="-10">
                          <a:effectLst/>
                        </a:rPr>
                        <a:t> </a:t>
                      </a:r>
                      <a:r>
                        <a:rPr lang="en-US" sz="2400">
                          <a:effectLst/>
                        </a:rPr>
                        <a:t>model</a:t>
                      </a:r>
                      <a:endParaRPr lang="sv-SE" sz="2400">
                        <a:effectLst/>
                        <a:latin typeface="Arial MT"/>
                        <a:ea typeface="Arial MT"/>
                        <a:cs typeface="Arial MT"/>
                      </a:endParaRPr>
                    </a:p>
                  </a:txBody>
                  <a:tcPr marL="0" marR="0" marT="0" marB="0"/>
                </a:tc>
                <a:tc>
                  <a:txBody>
                    <a:bodyPr/>
                    <a:lstStyle/>
                    <a:p>
                      <a:pPr marL="0" marR="72390" algn="l">
                        <a:spcBef>
                          <a:spcPts val="285"/>
                        </a:spcBef>
                        <a:spcAft>
                          <a:spcPts val="0"/>
                        </a:spcAft>
                      </a:pPr>
                      <a:r>
                        <a:rPr lang="en-US" sz="2400">
                          <a:effectLst/>
                        </a:rPr>
                        <a:t>Predict</a:t>
                      </a:r>
                      <a:r>
                        <a:rPr lang="en-US" sz="2400" spc="-25">
                          <a:effectLst/>
                        </a:rPr>
                        <a:t> </a:t>
                      </a:r>
                      <a:r>
                        <a:rPr lang="en-US" sz="2400">
                          <a:effectLst/>
                        </a:rPr>
                        <a:t>the</a:t>
                      </a:r>
                      <a:r>
                        <a:rPr lang="en-US" sz="2400" spc="-20">
                          <a:effectLst/>
                        </a:rPr>
                        <a:t> </a:t>
                      </a:r>
                      <a:r>
                        <a:rPr lang="en-US" sz="2400">
                          <a:effectLst/>
                        </a:rPr>
                        <a:t>overall</a:t>
                      </a:r>
                      <a:r>
                        <a:rPr lang="en-US" sz="2400" spc="-10">
                          <a:effectLst/>
                        </a:rPr>
                        <a:t> </a:t>
                      </a:r>
                      <a:r>
                        <a:rPr lang="en-US" sz="2400">
                          <a:effectLst/>
                        </a:rPr>
                        <a:t>amount</a:t>
                      </a:r>
                      <a:r>
                        <a:rPr lang="en-US" sz="2400" spc="5">
                          <a:effectLst/>
                        </a:rPr>
                        <a:t> </a:t>
                      </a:r>
                      <a:r>
                        <a:rPr lang="en-US" sz="2400">
                          <a:effectLst/>
                        </a:rPr>
                        <a:t>of pollutants</a:t>
                      </a:r>
                      <a:endParaRPr lang="sv-SE" sz="2400">
                        <a:effectLst/>
                        <a:latin typeface="Arial MT"/>
                        <a:ea typeface="Arial MT"/>
                        <a:cs typeface="Arial MT"/>
                      </a:endParaRPr>
                    </a:p>
                  </a:txBody>
                  <a:tcPr marL="0" marR="0" marT="0" marB="0"/>
                </a:tc>
                <a:extLst>
                  <a:ext uri="{0D108BD9-81ED-4DB2-BD59-A6C34878D82A}">
                    <a16:rowId xmlns:a16="http://schemas.microsoft.com/office/drawing/2014/main" val="3436457231"/>
                  </a:ext>
                </a:extLst>
              </a:tr>
            </a:tbl>
          </a:graphicData>
        </a:graphic>
      </p:graphicFrame>
      <p:sp>
        <p:nvSpPr>
          <p:cNvPr id="27" name="textruta 26">
            <a:extLst>
              <a:ext uri="{FF2B5EF4-FFF2-40B4-BE49-F238E27FC236}">
                <a16:creationId xmlns:a16="http://schemas.microsoft.com/office/drawing/2014/main" id="{9156E77D-2332-B0F0-9949-67EDF61F9A5A}"/>
              </a:ext>
            </a:extLst>
          </p:cNvPr>
          <p:cNvSpPr txBox="1"/>
          <p:nvPr/>
        </p:nvSpPr>
        <p:spPr>
          <a:xfrm>
            <a:off x="4591050" y="5379647"/>
            <a:ext cx="342900" cy="646331"/>
          </a:xfrm>
          <a:prstGeom prst="rect">
            <a:avLst/>
          </a:prstGeom>
          <a:noFill/>
        </p:spPr>
        <p:txBody>
          <a:bodyPr wrap="square" rtlCol="0">
            <a:spAutoFit/>
          </a:bodyPr>
          <a:lstStyle/>
          <a:p>
            <a:r>
              <a:rPr lang="sv-SE"/>
              <a:t>1, </a:t>
            </a:r>
          </a:p>
        </p:txBody>
      </p:sp>
      <p:sp>
        <p:nvSpPr>
          <p:cNvPr id="30" name="textruta 29">
            <a:extLst>
              <a:ext uri="{FF2B5EF4-FFF2-40B4-BE49-F238E27FC236}">
                <a16:creationId xmlns:a16="http://schemas.microsoft.com/office/drawing/2014/main" id="{9332C4EE-4F35-8F9A-A0BD-03238CD7E8B8}"/>
              </a:ext>
            </a:extLst>
          </p:cNvPr>
          <p:cNvSpPr txBox="1"/>
          <p:nvPr/>
        </p:nvSpPr>
        <p:spPr>
          <a:xfrm>
            <a:off x="7738676" y="5385481"/>
            <a:ext cx="167074" cy="369332"/>
          </a:xfrm>
          <a:prstGeom prst="rect">
            <a:avLst/>
          </a:prstGeom>
          <a:noFill/>
        </p:spPr>
        <p:txBody>
          <a:bodyPr wrap="square" rtlCol="0">
            <a:spAutoFit/>
          </a:bodyPr>
          <a:lstStyle/>
          <a:p>
            <a:r>
              <a:rPr lang="sv-SE"/>
              <a:t>2</a:t>
            </a:r>
          </a:p>
        </p:txBody>
      </p:sp>
      <p:sp>
        <p:nvSpPr>
          <p:cNvPr id="31" name="textruta 30">
            <a:extLst>
              <a:ext uri="{FF2B5EF4-FFF2-40B4-BE49-F238E27FC236}">
                <a16:creationId xmlns:a16="http://schemas.microsoft.com/office/drawing/2014/main" id="{312FFDC2-3D30-1FDE-9889-B697470056B2}"/>
              </a:ext>
            </a:extLst>
          </p:cNvPr>
          <p:cNvSpPr txBox="1"/>
          <p:nvPr/>
        </p:nvSpPr>
        <p:spPr>
          <a:xfrm>
            <a:off x="10481876" y="7331633"/>
            <a:ext cx="342900" cy="646331"/>
          </a:xfrm>
          <a:prstGeom prst="rect">
            <a:avLst/>
          </a:prstGeom>
          <a:noFill/>
        </p:spPr>
        <p:txBody>
          <a:bodyPr wrap="square" rtlCol="0">
            <a:spAutoFit/>
          </a:bodyPr>
          <a:lstStyle/>
          <a:p>
            <a:r>
              <a:rPr lang="sv-SE"/>
              <a:t>3, </a:t>
            </a:r>
          </a:p>
        </p:txBody>
      </p:sp>
    </p:spTree>
    <p:extLst>
      <p:ext uri="{BB962C8B-B14F-4D97-AF65-F5344CB8AC3E}">
        <p14:creationId xmlns:p14="http://schemas.microsoft.com/office/powerpoint/2010/main" val="1145886159"/>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uppo 16">
            <a:extLst>
              <a:ext uri="{FF2B5EF4-FFF2-40B4-BE49-F238E27FC236}">
                <a16:creationId xmlns:a16="http://schemas.microsoft.com/office/drawing/2014/main" id="{7F05FA2D-BA17-4C4E-9DAE-36CC81DE9BAA}"/>
              </a:ext>
            </a:extLst>
          </p:cNvPr>
          <p:cNvGrpSpPr/>
          <p:nvPr/>
        </p:nvGrpSpPr>
        <p:grpSpPr>
          <a:xfrm>
            <a:off x="4329156" y="9695736"/>
            <a:ext cx="13958844" cy="666567"/>
            <a:chOff x="4329156" y="9649198"/>
            <a:chExt cx="13958844" cy="666567"/>
          </a:xfrm>
        </p:grpSpPr>
        <p:pic>
          <p:nvPicPr>
            <p:cNvPr id="5" name="Picture 12">
              <a:extLst>
                <a:ext uri="{FF2B5EF4-FFF2-40B4-BE49-F238E27FC236}">
                  <a16:creationId xmlns:a16="http://schemas.microsoft.com/office/drawing/2014/main" id="{00810EF5-3949-4698-A5DE-428CD380175F}"/>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6" name="TextBox 16">
              <a:extLst>
                <a:ext uri="{FF2B5EF4-FFF2-40B4-BE49-F238E27FC236}">
                  <a16:creationId xmlns:a16="http://schemas.microsoft.com/office/drawing/2014/main" id="{EDDD1531-1BDA-4725-B6A3-364F4B7CF76A}"/>
                </a:ext>
              </a:extLst>
            </p:cNvPr>
            <p:cNvSpPr txBox="1"/>
            <p:nvPr/>
          </p:nvSpPr>
          <p:spPr>
            <a:xfrm>
              <a:off x="14400029" y="9732291"/>
              <a:ext cx="3636320" cy="448713"/>
            </a:xfrm>
            <a:prstGeom prst="rect">
              <a:avLst/>
            </a:prstGeom>
          </p:spPr>
          <p:txBody>
            <a:bodyPr wrap="square" lIns="0" tIns="0" rIns="0" bIns="0" rtlCol="0" anchor="t">
              <a:spAutoFit/>
            </a:bodyPr>
            <a:lstStyle/>
            <a:p>
              <a:pPr marL="0" marR="0" lvl="0" indent="0" algn="ctr" defTabSz="914400" rtl="0" eaLnBrk="1" fontAlgn="auto" latinLnBrk="0" hangingPunct="1">
                <a:lnSpc>
                  <a:spcPts val="3919"/>
                </a:lnSpc>
                <a:spcBef>
                  <a:spcPct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OCR A Extended" panose="02010509020102010303" pitchFamily="50" charset="0"/>
                  <a:ea typeface="+mn-ea"/>
                  <a:cs typeface="+mn-cs"/>
                </a:rPr>
                <a:t>www.retrofeed.eu</a:t>
              </a:r>
            </a:p>
          </p:txBody>
        </p:sp>
      </p:grpSp>
      <p:pic>
        <p:nvPicPr>
          <p:cNvPr id="7" name="Picture 12">
            <a:extLst>
              <a:ext uri="{FF2B5EF4-FFF2-40B4-BE49-F238E27FC236}">
                <a16:creationId xmlns:a16="http://schemas.microsoft.com/office/drawing/2014/main" id="{52C35A30-8BA0-4714-8363-E6CE748BA2C3}"/>
              </a:ext>
            </a:extLst>
          </p:cNvPr>
          <p:cNvPicPr>
            <a:picLocks noChangeAspect="1"/>
          </p:cNvPicPr>
          <p:nvPr/>
        </p:nvPicPr>
        <p:blipFill>
          <a:blip r:embed="rId4"/>
          <a:srcRect/>
          <a:stretch>
            <a:fillRect/>
          </a:stretch>
        </p:blipFill>
        <p:spPr>
          <a:xfrm>
            <a:off x="0" y="8901113"/>
            <a:ext cx="5715000" cy="1385887"/>
          </a:xfrm>
          <a:prstGeom prst="rect">
            <a:avLst/>
          </a:prstGeom>
        </p:spPr>
      </p:pic>
      <p:grpSp>
        <p:nvGrpSpPr>
          <p:cNvPr id="8" name="Gruppo 2">
            <a:extLst>
              <a:ext uri="{FF2B5EF4-FFF2-40B4-BE49-F238E27FC236}">
                <a16:creationId xmlns:a16="http://schemas.microsoft.com/office/drawing/2014/main" id="{C9C93A65-4067-4ACC-B2C9-8C15277024E4}"/>
              </a:ext>
            </a:extLst>
          </p:cNvPr>
          <p:cNvGrpSpPr/>
          <p:nvPr/>
        </p:nvGrpSpPr>
        <p:grpSpPr>
          <a:xfrm>
            <a:off x="-12" y="138554"/>
            <a:ext cx="18288002" cy="681138"/>
            <a:chOff x="-12" y="138554"/>
            <a:chExt cx="18288002" cy="681138"/>
          </a:xfrm>
        </p:grpSpPr>
        <p:grpSp>
          <p:nvGrpSpPr>
            <p:cNvPr id="9" name="Gruppo 1">
              <a:extLst>
                <a:ext uri="{FF2B5EF4-FFF2-40B4-BE49-F238E27FC236}">
                  <a16:creationId xmlns:a16="http://schemas.microsoft.com/office/drawing/2014/main" id="{A943E672-738C-4FE3-BD35-ACD7A4E4D95E}"/>
                </a:ext>
              </a:extLst>
            </p:cNvPr>
            <p:cNvGrpSpPr/>
            <p:nvPr/>
          </p:nvGrpSpPr>
          <p:grpSpPr>
            <a:xfrm>
              <a:off x="0" y="153125"/>
              <a:ext cx="17907000" cy="666567"/>
              <a:chOff x="0" y="153125"/>
              <a:chExt cx="17907000" cy="666567"/>
            </a:xfrm>
          </p:grpSpPr>
          <p:grpSp>
            <p:nvGrpSpPr>
              <p:cNvPr id="11" name="Gruppo 15">
                <a:extLst>
                  <a:ext uri="{FF2B5EF4-FFF2-40B4-BE49-F238E27FC236}">
                    <a16:creationId xmlns:a16="http://schemas.microsoft.com/office/drawing/2014/main" id="{10037738-5D9A-4755-B52F-99B1FA543ED3}"/>
                  </a:ext>
                </a:extLst>
              </p:cNvPr>
              <p:cNvGrpSpPr/>
              <p:nvPr/>
            </p:nvGrpSpPr>
            <p:grpSpPr>
              <a:xfrm>
                <a:off x="0" y="153125"/>
                <a:ext cx="13958844" cy="666567"/>
                <a:chOff x="0" y="153125"/>
                <a:chExt cx="13958844" cy="666567"/>
              </a:xfrm>
            </p:grpSpPr>
            <p:pic>
              <p:nvPicPr>
                <p:cNvPr id="13" name="Picture 10">
                  <a:extLst>
                    <a:ext uri="{FF2B5EF4-FFF2-40B4-BE49-F238E27FC236}">
                      <a16:creationId xmlns:a16="http://schemas.microsoft.com/office/drawing/2014/main" id="{30234B5E-6FF9-499F-817A-9B69F1CC9911}"/>
                    </a:ext>
                  </a:extLst>
                </p:cNvPr>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4" name="TextBox 11">
                  <a:extLst>
                    <a:ext uri="{FF2B5EF4-FFF2-40B4-BE49-F238E27FC236}">
                      <a16:creationId xmlns:a16="http://schemas.microsoft.com/office/drawing/2014/main" id="{E5F3FE84-033A-4279-AF93-ABD80EC40550}"/>
                    </a:ext>
                  </a:extLst>
                </p:cNvPr>
                <p:cNvSpPr txBox="1"/>
                <p:nvPr/>
              </p:nvSpPr>
              <p:spPr>
                <a:xfrm>
                  <a:off x="228600" y="257980"/>
                  <a:ext cx="9296400" cy="456856"/>
                </a:xfrm>
                <a:prstGeom prst="rect">
                  <a:avLst/>
                </a:prstGeom>
              </p:spPr>
              <p:txBody>
                <a:bodyPr wrap="square" lIns="0" tIns="0" rIns="0" bIns="0" rtlCol="0" anchor="t">
                  <a:spAutoFit/>
                </a:bodyPr>
                <a:lstStyle/>
                <a:p>
                  <a:pPr marL="0" marR="0" lvl="0" indent="0" algn="l" defTabSz="914400" rtl="0" eaLnBrk="1" fontAlgn="auto" latinLnBrk="0" hangingPunct="1">
                    <a:lnSpc>
                      <a:spcPts val="3919"/>
                    </a:lnSpc>
                    <a:spcBef>
                      <a:spcPct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2" name="TextBox 11">
                <a:extLst>
                  <a:ext uri="{FF2B5EF4-FFF2-40B4-BE49-F238E27FC236}">
                    <a16:creationId xmlns:a16="http://schemas.microsoft.com/office/drawing/2014/main" id="{7B4365DB-7AB3-494A-91B9-B5781D39B67B}"/>
                  </a:ext>
                </a:extLst>
              </p:cNvPr>
              <p:cNvSpPr txBox="1"/>
              <p:nvPr/>
            </p:nvSpPr>
            <p:spPr>
              <a:xfrm>
                <a:off x="12154296" y="257980"/>
                <a:ext cx="5752704" cy="456856"/>
              </a:xfrm>
              <a:prstGeom prst="rect">
                <a:avLst/>
              </a:prstGeom>
            </p:spPr>
            <p:txBody>
              <a:bodyPr wrap="square" lIns="0" tIns="0" rIns="0" bIns="0" rtlCol="0" anchor="t">
                <a:spAutoFit/>
              </a:bodyPr>
              <a:lstStyle/>
              <a:p>
                <a:pPr marL="0" marR="0" lvl="0" indent="0" algn="r" defTabSz="914400" rtl="0" eaLnBrk="1" fontAlgn="auto" latinLnBrk="0" hangingPunct="1">
                  <a:lnSpc>
                    <a:spcPts val="3919"/>
                  </a:lnSpc>
                  <a:spcBef>
                    <a:spcPct val="0"/>
                  </a:spcBef>
                  <a:spcAft>
                    <a:spcPts val="0"/>
                  </a:spcAft>
                  <a:buClrTx/>
                  <a:buSzTx/>
                  <a:buFontTx/>
                  <a:buNone/>
                  <a:tabLst/>
                  <a:defRPr/>
                </a:pPr>
                <a:endParaRPr kumimoji="0" lang="en-US" sz="2800" b="0" i="0" u="none" strike="noStrike" kern="1200" cap="none" spc="0" normalizeH="0" baseline="0" noProof="0">
                  <a:ln>
                    <a:noFill/>
                  </a:ln>
                  <a:solidFill>
                    <a:srgbClr val="2F2F2F">
                      <a:lumMod val="75000"/>
                      <a:lumOff val="25000"/>
                    </a:srgbClr>
                  </a:solidFill>
                  <a:effectLst/>
                  <a:uLnTx/>
                  <a:uFillTx/>
                  <a:latin typeface="Arial" panose="020B0604020202020204" pitchFamily="34" charset="0"/>
                  <a:ea typeface="+mn-ea"/>
                  <a:cs typeface="Arial" panose="020B0604020202020204" pitchFamily="34" charset="0"/>
                </a:endParaRPr>
              </a:p>
            </p:txBody>
          </p:sp>
        </p:grpSp>
        <p:sp>
          <p:nvSpPr>
            <p:cNvPr id="10" name="Rettangolo 13">
              <a:extLst>
                <a:ext uri="{FF2B5EF4-FFF2-40B4-BE49-F238E27FC236}">
                  <a16:creationId xmlns:a16="http://schemas.microsoft.com/office/drawing/2014/main" id="{BC76EB51-B4AB-4BAB-AAF6-1883074EEF50}"/>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20" name="TextBox 19">
            <a:extLst>
              <a:ext uri="{FF2B5EF4-FFF2-40B4-BE49-F238E27FC236}">
                <a16:creationId xmlns:a16="http://schemas.microsoft.com/office/drawing/2014/main" id="{B4D68CAB-2F99-49CF-9331-08151EAABA39}"/>
              </a:ext>
            </a:extLst>
          </p:cNvPr>
          <p:cNvSpPr txBox="1"/>
          <p:nvPr/>
        </p:nvSpPr>
        <p:spPr>
          <a:xfrm>
            <a:off x="433056" y="1177317"/>
            <a:ext cx="17421865" cy="76944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a:ln>
                  <a:noFill/>
                </a:ln>
                <a:solidFill>
                  <a:srgbClr val="CC0033"/>
                </a:solidFill>
                <a:effectLst/>
                <a:uLnTx/>
                <a:uFillTx/>
                <a:latin typeface="Arial"/>
                <a:ea typeface="+mn-ea"/>
                <a:cs typeface="Arial" panose="020B0604020202020204" pitchFamily="34" charset="0"/>
              </a:rPr>
              <a:t>CRITERIA FOR BOUNDARIES IDENTIFICATION </a:t>
            </a:r>
            <a:r>
              <a:rPr kumimoji="0" lang="sv-SE" sz="4400" b="1" i="0" u="none" strike="noStrike" kern="1200" cap="none" spc="0" normalizeH="0" baseline="0" noProof="0">
                <a:ln>
                  <a:noFill/>
                </a:ln>
                <a:solidFill>
                  <a:srgbClr val="CC0033"/>
                </a:solidFill>
                <a:effectLst/>
                <a:uLnTx/>
                <a:uFillTx/>
                <a:latin typeface="Arial"/>
                <a:ea typeface="+mn-ea"/>
                <a:cs typeface="Arial" panose="020B0604020202020204" pitchFamily="34" charset="0"/>
              </a:rPr>
              <a:t>AT</a:t>
            </a:r>
          </a:p>
        </p:txBody>
      </p:sp>
      <p:sp>
        <p:nvSpPr>
          <p:cNvPr id="18" name="TextBox 17">
            <a:extLst>
              <a:ext uri="{FF2B5EF4-FFF2-40B4-BE49-F238E27FC236}">
                <a16:creationId xmlns:a16="http://schemas.microsoft.com/office/drawing/2014/main" id="{2352F9B5-119B-83ED-7DBE-55825134AC88}"/>
              </a:ext>
            </a:extLst>
          </p:cNvPr>
          <p:cNvSpPr txBox="1"/>
          <p:nvPr/>
        </p:nvSpPr>
        <p:spPr>
          <a:xfrm>
            <a:off x="929834" y="8134499"/>
            <a:ext cx="10157266"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3E3E3E"/>
                </a:solidFill>
                <a:effectLst/>
                <a:uLnTx/>
                <a:uFillTx/>
                <a:latin typeface="Arial MT"/>
                <a:ea typeface="Arial MT"/>
                <a:cs typeface="Arial MT"/>
              </a:rPr>
              <a:t>The main processes and variables to be considered in the DSS (in</a:t>
            </a:r>
            <a:r>
              <a:rPr kumimoji="0" lang="en-US" sz="2400" b="0" i="0" u="none" strike="noStrike" kern="1200" cap="none" spc="-15" normalizeH="0" baseline="0" noProof="0">
                <a:ln>
                  <a:noFill/>
                </a:ln>
                <a:solidFill>
                  <a:srgbClr val="3E3E3E"/>
                </a:solidFill>
                <a:effectLst/>
                <a:uLnTx/>
                <a:uFillTx/>
                <a:latin typeface="Arial MT"/>
                <a:ea typeface="Arial MT"/>
                <a:cs typeface="Arial MT"/>
              </a:rPr>
              <a:t> </a:t>
            </a:r>
            <a:r>
              <a:rPr kumimoji="0" lang="en-US" sz="2400" b="0" i="0" u="none" strike="noStrike" kern="1200" cap="none" spc="0" normalizeH="0" baseline="0" noProof="0">
                <a:ln>
                  <a:noFill/>
                </a:ln>
                <a:solidFill>
                  <a:srgbClr val="3E3E3E"/>
                </a:solidFill>
                <a:effectLst/>
                <a:uLnTx/>
                <a:uFillTx/>
                <a:latin typeface="Arial MT"/>
                <a:ea typeface="Arial MT"/>
                <a:cs typeface="Arial MT"/>
              </a:rPr>
              <a:t>red)</a:t>
            </a:r>
            <a:endParaRPr kumimoji="0" lang="sv-SE" sz="2400" b="0" i="0" u="none" strike="noStrike" kern="1200" cap="none" spc="0" normalizeH="0" baseline="0" noProof="0">
              <a:ln>
                <a:noFill/>
              </a:ln>
              <a:solidFill>
                <a:srgbClr val="2F2F2F"/>
              </a:solidFill>
              <a:effectLst/>
              <a:uLnTx/>
              <a:uFillTx/>
              <a:latin typeface="Arial"/>
              <a:ea typeface="+mn-ea"/>
              <a:cs typeface="+mn-cs"/>
            </a:endParaRPr>
          </a:p>
        </p:txBody>
      </p:sp>
      <p:pic>
        <p:nvPicPr>
          <p:cNvPr id="3" name="Imagen 113">
            <a:extLst>
              <a:ext uri="{FF2B5EF4-FFF2-40B4-BE49-F238E27FC236}">
                <a16:creationId xmlns:a16="http://schemas.microsoft.com/office/drawing/2014/main" id="{9D826115-6B1C-8280-2361-6787D3D3A2F4}"/>
              </a:ext>
            </a:extLst>
          </p:cNvPr>
          <p:cNvPicPr>
            <a:picLocks noChangeAspect="1"/>
          </p:cNvPicPr>
          <p:nvPr/>
        </p:nvPicPr>
        <p:blipFill rotWithShape="1">
          <a:blip r:embed="rId6"/>
          <a:srcRect r="7132" b="12033"/>
          <a:stretch/>
        </p:blipFill>
        <p:spPr>
          <a:xfrm>
            <a:off x="14157386" y="1004417"/>
            <a:ext cx="2739964" cy="1036941"/>
          </a:xfrm>
          <a:prstGeom prst="rect">
            <a:avLst/>
          </a:prstGeom>
        </p:spPr>
      </p:pic>
      <p:pic>
        <p:nvPicPr>
          <p:cNvPr id="15" name="image8.png">
            <a:extLst>
              <a:ext uri="{FF2B5EF4-FFF2-40B4-BE49-F238E27FC236}">
                <a16:creationId xmlns:a16="http://schemas.microsoft.com/office/drawing/2014/main" id="{32158DEE-41D6-BF97-E963-E696C11EB724}"/>
              </a:ext>
            </a:extLst>
          </p:cNvPr>
          <p:cNvPicPr>
            <a:picLocks noChangeAspect="1"/>
          </p:cNvPicPr>
          <p:nvPr/>
        </p:nvPicPr>
        <p:blipFill>
          <a:blip r:embed="rId7" cstate="print"/>
          <a:stretch>
            <a:fillRect/>
          </a:stretch>
        </p:blipFill>
        <p:spPr>
          <a:xfrm>
            <a:off x="1886584" y="2099856"/>
            <a:ext cx="7152669" cy="5729693"/>
          </a:xfrm>
          <a:prstGeom prst="rect">
            <a:avLst/>
          </a:prstGeom>
        </p:spPr>
      </p:pic>
      <p:graphicFrame>
        <p:nvGraphicFramePr>
          <p:cNvPr id="17" name="Table 16">
            <a:extLst>
              <a:ext uri="{FF2B5EF4-FFF2-40B4-BE49-F238E27FC236}">
                <a16:creationId xmlns:a16="http://schemas.microsoft.com/office/drawing/2014/main" id="{CD5D1174-B863-2573-6F5C-AD3F454A4736}"/>
              </a:ext>
            </a:extLst>
          </p:cNvPr>
          <p:cNvGraphicFramePr>
            <a:graphicFrameLocks noGrp="1"/>
          </p:cNvGraphicFramePr>
          <p:nvPr/>
        </p:nvGraphicFramePr>
        <p:xfrm>
          <a:off x="11087100" y="2480308"/>
          <a:ext cx="6546344" cy="4754880"/>
        </p:xfrm>
        <a:graphic>
          <a:graphicData uri="http://schemas.openxmlformats.org/drawingml/2006/table">
            <a:tbl>
              <a:tblPr firstRow="1" firstCol="1" lastRow="1" lastCol="1" bandRow="1" bandCol="1">
                <a:tableStyleId>{72833802-FEF1-4C79-8D5D-14CF1EAF98D9}</a:tableStyleId>
              </a:tblPr>
              <a:tblGrid>
                <a:gridCol w="3273172">
                  <a:extLst>
                    <a:ext uri="{9D8B030D-6E8A-4147-A177-3AD203B41FA5}">
                      <a16:colId xmlns:a16="http://schemas.microsoft.com/office/drawing/2014/main" val="1098272545"/>
                    </a:ext>
                  </a:extLst>
                </a:gridCol>
                <a:gridCol w="3273172">
                  <a:extLst>
                    <a:ext uri="{9D8B030D-6E8A-4147-A177-3AD203B41FA5}">
                      <a16:colId xmlns:a16="http://schemas.microsoft.com/office/drawing/2014/main" val="816106034"/>
                    </a:ext>
                  </a:extLst>
                </a:gridCol>
              </a:tblGrid>
              <a:tr h="228470">
                <a:tc>
                  <a:txBody>
                    <a:bodyPr/>
                    <a:lstStyle/>
                    <a:p>
                      <a:pPr marL="72390" marR="64135" algn="ctr">
                        <a:spcBef>
                          <a:spcPts val="285"/>
                        </a:spcBef>
                        <a:spcAft>
                          <a:spcPts val="0"/>
                        </a:spcAft>
                      </a:pPr>
                      <a:r>
                        <a:rPr lang="en-US" sz="2400">
                          <a:effectLst/>
                        </a:rPr>
                        <a:t>PC</a:t>
                      </a:r>
                      <a:r>
                        <a:rPr lang="en-US" sz="2400" spc="-5">
                          <a:effectLst/>
                        </a:rPr>
                        <a:t> </a:t>
                      </a:r>
                      <a:r>
                        <a:rPr lang="en-US" sz="2400">
                          <a:effectLst/>
                        </a:rPr>
                        <a:t>model</a:t>
                      </a:r>
                      <a:endParaRPr lang="sv-SE" sz="2400">
                        <a:effectLst/>
                        <a:latin typeface="Arial MT"/>
                        <a:ea typeface="Arial MT"/>
                        <a:cs typeface="Arial MT"/>
                      </a:endParaRPr>
                    </a:p>
                  </a:txBody>
                  <a:tcPr marL="0" marR="0" marT="0" marB="0"/>
                </a:tc>
                <a:tc>
                  <a:txBody>
                    <a:bodyPr/>
                    <a:lstStyle/>
                    <a:p>
                      <a:pPr marL="72390" marR="71120" algn="ctr">
                        <a:spcBef>
                          <a:spcPts val="285"/>
                        </a:spcBef>
                        <a:spcAft>
                          <a:spcPts val="0"/>
                        </a:spcAft>
                      </a:pPr>
                      <a:r>
                        <a:rPr lang="en-US" sz="2400">
                          <a:effectLst/>
                        </a:rPr>
                        <a:t>Purpose</a:t>
                      </a:r>
                      <a:endParaRPr lang="sv-SE" sz="2400">
                        <a:effectLst/>
                        <a:latin typeface="Arial MT"/>
                        <a:ea typeface="Arial MT"/>
                        <a:cs typeface="Arial MT"/>
                      </a:endParaRPr>
                    </a:p>
                  </a:txBody>
                  <a:tcPr marL="0" marR="0" marT="0" marB="0"/>
                </a:tc>
                <a:extLst>
                  <a:ext uri="{0D108BD9-81ED-4DB2-BD59-A6C34878D82A}">
                    <a16:rowId xmlns:a16="http://schemas.microsoft.com/office/drawing/2014/main" val="1249099396"/>
                  </a:ext>
                </a:extLst>
              </a:tr>
              <a:tr h="530247">
                <a:tc>
                  <a:txBody>
                    <a:bodyPr/>
                    <a:lstStyle/>
                    <a:p>
                      <a:pPr marL="72390" marR="61595" indent="0" algn="ctr">
                        <a:spcBef>
                          <a:spcPts val="0"/>
                        </a:spcBef>
                        <a:spcAft>
                          <a:spcPts val="0"/>
                        </a:spcAft>
                      </a:pPr>
                      <a:r>
                        <a:rPr lang="en-US" sz="2400">
                          <a:effectLst/>
                        </a:rPr>
                        <a:t>Feeding</a:t>
                      </a:r>
                      <a:r>
                        <a:rPr lang="en-US" sz="2400" spc="-15">
                          <a:effectLst/>
                        </a:rPr>
                        <a:t> </a:t>
                      </a:r>
                      <a:r>
                        <a:rPr lang="en-US" sz="2400">
                          <a:effectLst/>
                        </a:rPr>
                        <a:t>model</a:t>
                      </a:r>
                      <a:endParaRPr lang="sv-SE" sz="2400">
                        <a:effectLst/>
                        <a:latin typeface="Arial MT"/>
                        <a:ea typeface="Arial MT"/>
                        <a:cs typeface="Arial MT"/>
                      </a:endParaRPr>
                    </a:p>
                  </a:txBody>
                  <a:tcPr marL="0" marR="0" marT="0" marB="0"/>
                </a:tc>
                <a:tc>
                  <a:txBody>
                    <a:bodyPr/>
                    <a:lstStyle/>
                    <a:p>
                      <a:pPr marL="0" marR="260985" indent="0" algn="l">
                        <a:spcBef>
                          <a:spcPts val="0"/>
                        </a:spcBef>
                        <a:spcAft>
                          <a:spcPts val="0"/>
                        </a:spcAft>
                      </a:pPr>
                      <a:r>
                        <a:rPr lang="en-US" sz="2400">
                          <a:effectLst/>
                        </a:rPr>
                        <a:t>Select the best mix of raw material,</a:t>
                      </a:r>
                      <a:r>
                        <a:rPr lang="en-US" sz="2400" spc="5">
                          <a:effectLst/>
                        </a:rPr>
                        <a:t> </a:t>
                      </a:r>
                      <a:r>
                        <a:rPr lang="en-US" sz="2400">
                          <a:effectLst/>
                        </a:rPr>
                        <a:t>considering availability and economic</a:t>
                      </a:r>
                      <a:r>
                        <a:rPr lang="en-US" sz="2400" spc="-295">
                          <a:effectLst/>
                        </a:rPr>
                        <a:t> </a:t>
                      </a:r>
                      <a:r>
                        <a:rPr lang="en-US" sz="2400">
                          <a:effectLst/>
                        </a:rPr>
                        <a:t>aspects</a:t>
                      </a:r>
                      <a:endParaRPr lang="sv-SE" sz="2400">
                        <a:effectLst/>
                        <a:latin typeface="Arial MT"/>
                        <a:ea typeface="Arial MT"/>
                        <a:cs typeface="Arial MT"/>
                      </a:endParaRPr>
                    </a:p>
                  </a:txBody>
                  <a:tcPr marL="0" marR="0" marT="0" marB="0"/>
                </a:tc>
                <a:extLst>
                  <a:ext uri="{0D108BD9-81ED-4DB2-BD59-A6C34878D82A}">
                    <a16:rowId xmlns:a16="http://schemas.microsoft.com/office/drawing/2014/main" val="3823021762"/>
                  </a:ext>
                </a:extLst>
              </a:tr>
              <a:tr h="483820">
                <a:tc>
                  <a:txBody>
                    <a:bodyPr/>
                    <a:lstStyle/>
                    <a:p>
                      <a:pPr marL="72390" marR="67945" indent="0" algn="ctr">
                        <a:spcBef>
                          <a:spcPts val="0"/>
                        </a:spcBef>
                        <a:spcAft>
                          <a:spcPts val="0"/>
                        </a:spcAft>
                      </a:pPr>
                      <a:r>
                        <a:rPr lang="en-US" sz="2400" err="1">
                          <a:effectLst/>
                        </a:rPr>
                        <a:t>Delacquering</a:t>
                      </a:r>
                      <a:r>
                        <a:rPr lang="en-US" sz="2400" spc="-10">
                          <a:effectLst/>
                        </a:rPr>
                        <a:t> </a:t>
                      </a:r>
                      <a:r>
                        <a:rPr lang="en-US" sz="2400">
                          <a:effectLst/>
                        </a:rPr>
                        <a:t>model</a:t>
                      </a:r>
                      <a:endParaRPr lang="sv-SE" sz="2400">
                        <a:effectLst/>
                        <a:latin typeface="Arial MT"/>
                        <a:ea typeface="Arial MT"/>
                        <a:cs typeface="Arial MT"/>
                      </a:endParaRPr>
                    </a:p>
                  </a:txBody>
                  <a:tcPr marL="0" marR="0" marT="0" marB="0"/>
                </a:tc>
                <a:tc>
                  <a:txBody>
                    <a:bodyPr/>
                    <a:lstStyle/>
                    <a:p>
                      <a:pPr marL="149225" marR="95250" indent="0" algn="l">
                        <a:spcBef>
                          <a:spcPts val="0"/>
                        </a:spcBef>
                        <a:spcAft>
                          <a:spcPts val="0"/>
                        </a:spcAft>
                      </a:pPr>
                      <a:r>
                        <a:rPr lang="en-US" sz="2400">
                          <a:effectLst/>
                        </a:rPr>
                        <a:t>Predict energy consumption and level of</a:t>
                      </a:r>
                      <a:r>
                        <a:rPr lang="en-US" sz="2400" spc="-295">
                          <a:effectLst/>
                        </a:rPr>
                        <a:t> </a:t>
                      </a:r>
                      <a:r>
                        <a:rPr lang="en-US" sz="2400">
                          <a:effectLst/>
                        </a:rPr>
                        <a:t>contamination</a:t>
                      </a:r>
                      <a:r>
                        <a:rPr lang="en-US" sz="2400" spc="-5">
                          <a:effectLst/>
                        </a:rPr>
                        <a:t> </a:t>
                      </a:r>
                      <a:r>
                        <a:rPr lang="en-US" sz="2400">
                          <a:effectLst/>
                        </a:rPr>
                        <a:t>of</a:t>
                      </a:r>
                      <a:r>
                        <a:rPr lang="en-US" sz="2400" spc="-5">
                          <a:effectLst/>
                        </a:rPr>
                        <a:t> </a:t>
                      </a:r>
                      <a:r>
                        <a:rPr lang="en-US" sz="2400">
                          <a:effectLst/>
                        </a:rPr>
                        <a:t>the</a:t>
                      </a:r>
                      <a:r>
                        <a:rPr lang="en-US" sz="2400" spc="-25">
                          <a:effectLst/>
                        </a:rPr>
                        <a:t> </a:t>
                      </a:r>
                      <a:r>
                        <a:rPr lang="en-US" sz="2400">
                          <a:effectLst/>
                        </a:rPr>
                        <a:t>treated raw</a:t>
                      </a:r>
                      <a:r>
                        <a:rPr lang="en-US" sz="2400" spc="-40">
                          <a:effectLst/>
                        </a:rPr>
                        <a:t> </a:t>
                      </a:r>
                      <a:r>
                        <a:rPr lang="en-US" sz="2400">
                          <a:effectLst/>
                        </a:rPr>
                        <a:t>material</a:t>
                      </a:r>
                      <a:endParaRPr lang="sv-SE" sz="2400">
                        <a:effectLst/>
                        <a:latin typeface="Arial MT"/>
                        <a:ea typeface="Arial MT"/>
                        <a:cs typeface="Arial MT"/>
                      </a:endParaRPr>
                    </a:p>
                  </a:txBody>
                  <a:tcPr marL="0" marR="0" marT="0" marB="0"/>
                </a:tc>
                <a:extLst>
                  <a:ext uri="{0D108BD9-81ED-4DB2-BD59-A6C34878D82A}">
                    <a16:rowId xmlns:a16="http://schemas.microsoft.com/office/drawing/2014/main" val="301963873"/>
                  </a:ext>
                </a:extLst>
              </a:tr>
              <a:tr h="322547">
                <a:tc>
                  <a:txBody>
                    <a:bodyPr/>
                    <a:lstStyle/>
                    <a:p>
                      <a:pPr marL="72390" marR="64770" indent="0" algn="ctr">
                        <a:spcBef>
                          <a:spcPts val="0"/>
                        </a:spcBef>
                        <a:spcAft>
                          <a:spcPts val="0"/>
                        </a:spcAft>
                      </a:pPr>
                      <a:r>
                        <a:rPr lang="en-US" sz="2400">
                          <a:effectLst/>
                        </a:rPr>
                        <a:t>Quality</a:t>
                      </a:r>
                      <a:r>
                        <a:rPr lang="en-US" sz="2400" spc="-15">
                          <a:effectLst/>
                        </a:rPr>
                        <a:t> </a:t>
                      </a:r>
                      <a:r>
                        <a:rPr lang="en-US" sz="2400">
                          <a:effectLst/>
                        </a:rPr>
                        <a:t>model</a:t>
                      </a:r>
                      <a:endParaRPr lang="sv-SE" sz="2400">
                        <a:effectLst/>
                        <a:latin typeface="Arial MT"/>
                        <a:ea typeface="Arial MT"/>
                        <a:cs typeface="Arial MT"/>
                      </a:endParaRPr>
                    </a:p>
                  </a:txBody>
                  <a:tcPr marL="0" marR="0" marT="0" marB="0"/>
                </a:tc>
                <a:tc>
                  <a:txBody>
                    <a:bodyPr/>
                    <a:lstStyle/>
                    <a:p>
                      <a:pPr marL="72390" marR="67945" indent="0" algn="ctr">
                        <a:spcBef>
                          <a:spcPts val="0"/>
                        </a:spcBef>
                        <a:spcAft>
                          <a:spcPts val="0"/>
                        </a:spcAft>
                      </a:pPr>
                      <a:r>
                        <a:rPr lang="en-US" sz="2400">
                          <a:effectLst/>
                        </a:rPr>
                        <a:t>Predict</a:t>
                      </a:r>
                      <a:r>
                        <a:rPr lang="en-US" sz="2400" spc="-20">
                          <a:effectLst/>
                        </a:rPr>
                        <a:t> </a:t>
                      </a:r>
                      <a:r>
                        <a:rPr lang="en-US" sz="2400">
                          <a:effectLst/>
                        </a:rPr>
                        <a:t>the</a:t>
                      </a:r>
                      <a:r>
                        <a:rPr lang="en-US" sz="2400" spc="-15">
                          <a:effectLst/>
                        </a:rPr>
                        <a:t> </a:t>
                      </a:r>
                      <a:r>
                        <a:rPr lang="en-US" sz="2400">
                          <a:effectLst/>
                        </a:rPr>
                        <a:t>quality</a:t>
                      </a:r>
                      <a:r>
                        <a:rPr lang="en-US" sz="2400" spc="-25">
                          <a:effectLst/>
                        </a:rPr>
                        <a:t> </a:t>
                      </a:r>
                      <a:r>
                        <a:rPr lang="en-US" sz="2400">
                          <a:effectLst/>
                        </a:rPr>
                        <a:t>of</a:t>
                      </a:r>
                      <a:r>
                        <a:rPr lang="en-US" sz="2400" spc="5">
                          <a:effectLst/>
                        </a:rPr>
                        <a:t> </a:t>
                      </a:r>
                      <a:r>
                        <a:rPr lang="en-US" sz="2400">
                          <a:effectLst/>
                        </a:rPr>
                        <a:t>the</a:t>
                      </a:r>
                      <a:r>
                        <a:rPr lang="en-US" sz="2400" spc="-15">
                          <a:effectLst/>
                        </a:rPr>
                        <a:t> </a:t>
                      </a:r>
                      <a:r>
                        <a:rPr lang="en-US" sz="2400">
                          <a:effectLst/>
                        </a:rPr>
                        <a:t>molten</a:t>
                      </a:r>
                      <a:r>
                        <a:rPr lang="en-US" sz="2400" spc="-15">
                          <a:effectLst/>
                        </a:rPr>
                        <a:t> </a:t>
                      </a:r>
                      <a:r>
                        <a:rPr lang="en-US" sz="2400">
                          <a:effectLst/>
                        </a:rPr>
                        <a:t>aluminum</a:t>
                      </a:r>
                      <a:endParaRPr lang="sv-SE" sz="2400">
                        <a:effectLst/>
                        <a:latin typeface="Arial MT"/>
                        <a:ea typeface="Arial MT"/>
                        <a:cs typeface="Arial MT"/>
                      </a:endParaRPr>
                    </a:p>
                  </a:txBody>
                  <a:tcPr marL="0" marR="0" marT="0" marB="0"/>
                </a:tc>
                <a:extLst>
                  <a:ext uri="{0D108BD9-81ED-4DB2-BD59-A6C34878D82A}">
                    <a16:rowId xmlns:a16="http://schemas.microsoft.com/office/drawing/2014/main" val="1559040261"/>
                  </a:ext>
                </a:extLst>
              </a:tr>
            </a:tbl>
          </a:graphicData>
        </a:graphic>
      </p:graphicFrame>
      <p:sp>
        <p:nvSpPr>
          <p:cNvPr id="2" name="textruta 1">
            <a:extLst>
              <a:ext uri="{FF2B5EF4-FFF2-40B4-BE49-F238E27FC236}">
                <a16:creationId xmlns:a16="http://schemas.microsoft.com/office/drawing/2014/main" id="{9F2BDE9A-84EA-48A4-95E2-1E21C2EEE172}"/>
              </a:ext>
            </a:extLst>
          </p:cNvPr>
          <p:cNvSpPr txBox="1"/>
          <p:nvPr/>
        </p:nvSpPr>
        <p:spPr>
          <a:xfrm>
            <a:off x="6210300" y="5808354"/>
            <a:ext cx="342900" cy="646331"/>
          </a:xfrm>
          <a:prstGeom prst="rect">
            <a:avLst/>
          </a:prstGeom>
          <a:noFill/>
        </p:spPr>
        <p:txBody>
          <a:bodyPr wrap="square" rtlCol="0">
            <a:spAutoFit/>
          </a:bodyPr>
          <a:lstStyle/>
          <a:p>
            <a:r>
              <a:rPr lang="sv-SE"/>
              <a:t>1, </a:t>
            </a:r>
          </a:p>
        </p:txBody>
      </p:sp>
      <p:sp>
        <p:nvSpPr>
          <p:cNvPr id="16" name="textruta 15">
            <a:extLst>
              <a:ext uri="{FF2B5EF4-FFF2-40B4-BE49-F238E27FC236}">
                <a16:creationId xmlns:a16="http://schemas.microsoft.com/office/drawing/2014/main" id="{38A165F4-6CBA-1086-68A4-A8701EF9AA00}"/>
              </a:ext>
            </a:extLst>
          </p:cNvPr>
          <p:cNvSpPr txBox="1"/>
          <p:nvPr/>
        </p:nvSpPr>
        <p:spPr>
          <a:xfrm>
            <a:off x="3357176" y="3706074"/>
            <a:ext cx="167074" cy="369332"/>
          </a:xfrm>
          <a:prstGeom prst="rect">
            <a:avLst/>
          </a:prstGeom>
          <a:noFill/>
        </p:spPr>
        <p:txBody>
          <a:bodyPr wrap="square" rtlCol="0">
            <a:spAutoFit/>
          </a:bodyPr>
          <a:lstStyle/>
          <a:p>
            <a:r>
              <a:rPr lang="sv-SE"/>
              <a:t>2</a:t>
            </a:r>
          </a:p>
        </p:txBody>
      </p:sp>
      <p:sp>
        <p:nvSpPr>
          <p:cNvPr id="19" name="textruta 18">
            <a:extLst>
              <a:ext uri="{FF2B5EF4-FFF2-40B4-BE49-F238E27FC236}">
                <a16:creationId xmlns:a16="http://schemas.microsoft.com/office/drawing/2014/main" id="{BC261260-4FB6-1EC4-3880-DCE9F6FF239D}"/>
              </a:ext>
            </a:extLst>
          </p:cNvPr>
          <p:cNvSpPr txBox="1"/>
          <p:nvPr/>
        </p:nvSpPr>
        <p:spPr>
          <a:xfrm>
            <a:off x="8310176" y="7414022"/>
            <a:ext cx="342900" cy="646331"/>
          </a:xfrm>
          <a:prstGeom prst="rect">
            <a:avLst/>
          </a:prstGeom>
          <a:noFill/>
        </p:spPr>
        <p:txBody>
          <a:bodyPr wrap="square" rtlCol="0">
            <a:spAutoFit/>
          </a:bodyPr>
          <a:lstStyle/>
          <a:p>
            <a:r>
              <a:rPr lang="sv-SE"/>
              <a:t>3, </a:t>
            </a:r>
          </a:p>
        </p:txBody>
      </p:sp>
    </p:spTree>
    <p:extLst>
      <p:ext uri="{BB962C8B-B14F-4D97-AF65-F5344CB8AC3E}">
        <p14:creationId xmlns:p14="http://schemas.microsoft.com/office/powerpoint/2010/main" val="3690565469"/>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uppo 16">
            <a:extLst>
              <a:ext uri="{FF2B5EF4-FFF2-40B4-BE49-F238E27FC236}">
                <a16:creationId xmlns:a16="http://schemas.microsoft.com/office/drawing/2014/main" id="{7F05FA2D-BA17-4C4E-9DAE-36CC81DE9BAA}"/>
              </a:ext>
            </a:extLst>
          </p:cNvPr>
          <p:cNvGrpSpPr/>
          <p:nvPr/>
        </p:nvGrpSpPr>
        <p:grpSpPr>
          <a:xfrm>
            <a:off x="4329156" y="9695736"/>
            <a:ext cx="13958844" cy="666567"/>
            <a:chOff x="4329156" y="9649198"/>
            <a:chExt cx="13958844" cy="666567"/>
          </a:xfrm>
        </p:grpSpPr>
        <p:pic>
          <p:nvPicPr>
            <p:cNvPr id="5" name="Picture 12">
              <a:extLst>
                <a:ext uri="{FF2B5EF4-FFF2-40B4-BE49-F238E27FC236}">
                  <a16:creationId xmlns:a16="http://schemas.microsoft.com/office/drawing/2014/main" id="{00810EF5-3949-4698-A5DE-428CD380175F}"/>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6" name="TextBox 16">
              <a:extLst>
                <a:ext uri="{FF2B5EF4-FFF2-40B4-BE49-F238E27FC236}">
                  <a16:creationId xmlns:a16="http://schemas.microsoft.com/office/drawing/2014/main" id="{EDDD1531-1BDA-4725-B6A3-364F4B7CF76A}"/>
                </a:ext>
              </a:extLst>
            </p:cNvPr>
            <p:cNvSpPr txBox="1"/>
            <p:nvPr/>
          </p:nvSpPr>
          <p:spPr>
            <a:xfrm>
              <a:off x="14400029" y="9732291"/>
              <a:ext cx="3636320" cy="448713"/>
            </a:xfrm>
            <a:prstGeom prst="rect">
              <a:avLst/>
            </a:prstGeom>
          </p:spPr>
          <p:txBody>
            <a:bodyPr wrap="square" lIns="0" tIns="0" rIns="0" bIns="0" rtlCol="0" anchor="t">
              <a:spAutoFit/>
            </a:bodyPr>
            <a:lstStyle/>
            <a:p>
              <a:pPr marL="0" marR="0" lvl="0" indent="0" algn="ctr" defTabSz="914400" rtl="0" eaLnBrk="1" fontAlgn="auto" latinLnBrk="0" hangingPunct="1">
                <a:lnSpc>
                  <a:spcPts val="3919"/>
                </a:lnSpc>
                <a:spcBef>
                  <a:spcPct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OCR A Extended" panose="02010509020102010303" pitchFamily="50" charset="0"/>
                  <a:ea typeface="+mn-ea"/>
                  <a:cs typeface="+mn-cs"/>
                </a:rPr>
                <a:t>www.retrofeed.eu</a:t>
              </a:r>
            </a:p>
          </p:txBody>
        </p:sp>
      </p:grpSp>
      <p:pic>
        <p:nvPicPr>
          <p:cNvPr id="7" name="Picture 12">
            <a:extLst>
              <a:ext uri="{FF2B5EF4-FFF2-40B4-BE49-F238E27FC236}">
                <a16:creationId xmlns:a16="http://schemas.microsoft.com/office/drawing/2014/main" id="{52C35A30-8BA0-4714-8363-E6CE748BA2C3}"/>
              </a:ext>
            </a:extLst>
          </p:cNvPr>
          <p:cNvPicPr>
            <a:picLocks noChangeAspect="1"/>
          </p:cNvPicPr>
          <p:nvPr/>
        </p:nvPicPr>
        <p:blipFill>
          <a:blip r:embed="rId4"/>
          <a:srcRect/>
          <a:stretch>
            <a:fillRect/>
          </a:stretch>
        </p:blipFill>
        <p:spPr>
          <a:xfrm>
            <a:off x="0" y="8901113"/>
            <a:ext cx="5715000" cy="1385887"/>
          </a:xfrm>
          <a:prstGeom prst="rect">
            <a:avLst/>
          </a:prstGeom>
        </p:spPr>
      </p:pic>
      <p:grpSp>
        <p:nvGrpSpPr>
          <p:cNvPr id="8" name="Gruppo 2">
            <a:extLst>
              <a:ext uri="{FF2B5EF4-FFF2-40B4-BE49-F238E27FC236}">
                <a16:creationId xmlns:a16="http://schemas.microsoft.com/office/drawing/2014/main" id="{C9C93A65-4067-4ACC-B2C9-8C15277024E4}"/>
              </a:ext>
            </a:extLst>
          </p:cNvPr>
          <p:cNvGrpSpPr/>
          <p:nvPr/>
        </p:nvGrpSpPr>
        <p:grpSpPr>
          <a:xfrm>
            <a:off x="-12" y="138554"/>
            <a:ext cx="18288002" cy="681138"/>
            <a:chOff x="-12" y="138554"/>
            <a:chExt cx="18288002" cy="681138"/>
          </a:xfrm>
        </p:grpSpPr>
        <p:grpSp>
          <p:nvGrpSpPr>
            <p:cNvPr id="9" name="Gruppo 1">
              <a:extLst>
                <a:ext uri="{FF2B5EF4-FFF2-40B4-BE49-F238E27FC236}">
                  <a16:creationId xmlns:a16="http://schemas.microsoft.com/office/drawing/2014/main" id="{A943E672-738C-4FE3-BD35-ACD7A4E4D95E}"/>
                </a:ext>
              </a:extLst>
            </p:cNvPr>
            <p:cNvGrpSpPr/>
            <p:nvPr/>
          </p:nvGrpSpPr>
          <p:grpSpPr>
            <a:xfrm>
              <a:off x="0" y="153125"/>
              <a:ext cx="17907000" cy="666567"/>
              <a:chOff x="0" y="153125"/>
              <a:chExt cx="17907000" cy="666567"/>
            </a:xfrm>
          </p:grpSpPr>
          <p:grpSp>
            <p:nvGrpSpPr>
              <p:cNvPr id="11" name="Gruppo 15">
                <a:extLst>
                  <a:ext uri="{FF2B5EF4-FFF2-40B4-BE49-F238E27FC236}">
                    <a16:creationId xmlns:a16="http://schemas.microsoft.com/office/drawing/2014/main" id="{10037738-5D9A-4755-B52F-99B1FA543ED3}"/>
                  </a:ext>
                </a:extLst>
              </p:cNvPr>
              <p:cNvGrpSpPr/>
              <p:nvPr/>
            </p:nvGrpSpPr>
            <p:grpSpPr>
              <a:xfrm>
                <a:off x="0" y="153125"/>
                <a:ext cx="13958844" cy="666567"/>
                <a:chOff x="0" y="153125"/>
                <a:chExt cx="13958844" cy="666567"/>
              </a:xfrm>
            </p:grpSpPr>
            <p:pic>
              <p:nvPicPr>
                <p:cNvPr id="13" name="Picture 10">
                  <a:extLst>
                    <a:ext uri="{FF2B5EF4-FFF2-40B4-BE49-F238E27FC236}">
                      <a16:creationId xmlns:a16="http://schemas.microsoft.com/office/drawing/2014/main" id="{30234B5E-6FF9-499F-817A-9B69F1CC9911}"/>
                    </a:ext>
                  </a:extLst>
                </p:cNvPr>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4" name="TextBox 11">
                  <a:extLst>
                    <a:ext uri="{FF2B5EF4-FFF2-40B4-BE49-F238E27FC236}">
                      <a16:creationId xmlns:a16="http://schemas.microsoft.com/office/drawing/2014/main" id="{E5F3FE84-033A-4279-AF93-ABD80EC40550}"/>
                    </a:ext>
                  </a:extLst>
                </p:cNvPr>
                <p:cNvSpPr txBox="1"/>
                <p:nvPr/>
              </p:nvSpPr>
              <p:spPr>
                <a:xfrm>
                  <a:off x="228600" y="257980"/>
                  <a:ext cx="9296400" cy="456856"/>
                </a:xfrm>
                <a:prstGeom prst="rect">
                  <a:avLst/>
                </a:prstGeom>
              </p:spPr>
              <p:txBody>
                <a:bodyPr wrap="square" lIns="0" tIns="0" rIns="0" bIns="0" rtlCol="0" anchor="t">
                  <a:spAutoFit/>
                </a:bodyPr>
                <a:lstStyle/>
                <a:p>
                  <a:pPr marL="0" marR="0" lvl="0" indent="0" algn="l" defTabSz="914400" rtl="0" eaLnBrk="1" fontAlgn="auto" latinLnBrk="0" hangingPunct="1">
                    <a:lnSpc>
                      <a:spcPts val="3919"/>
                    </a:lnSpc>
                    <a:spcBef>
                      <a:spcPct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2" name="TextBox 11">
                <a:extLst>
                  <a:ext uri="{FF2B5EF4-FFF2-40B4-BE49-F238E27FC236}">
                    <a16:creationId xmlns:a16="http://schemas.microsoft.com/office/drawing/2014/main" id="{7B4365DB-7AB3-494A-91B9-B5781D39B67B}"/>
                  </a:ext>
                </a:extLst>
              </p:cNvPr>
              <p:cNvSpPr txBox="1"/>
              <p:nvPr/>
            </p:nvSpPr>
            <p:spPr>
              <a:xfrm>
                <a:off x="12154296" y="257980"/>
                <a:ext cx="5752704" cy="456856"/>
              </a:xfrm>
              <a:prstGeom prst="rect">
                <a:avLst/>
              </a:prstGeom>
            </p:spPr>
            <p:txBody>
              <a:bodyPr wrap="square" lIns="0" tIns="0" rIns="0" bIns="0" rtlCol="0" anchor="t">
                <a:spAutoFit/>
              </a:bodyPr>
              <a:lstStyle/>
              <a:p>
                <a:pPr marL="0" marR="0" lvl="0" indent="0" algn="r" defTabSz="914400" rtl="0" eaLnBrk="1" fontAlgn="auto" latinLnBrk="0" hangingPunct="1">
                  <a:lnSpc>
                    <a:spcPts val="3919"/>
                  </a:lnSpc>
                  <a:spcBef>
                    <a:spcPct val="0"/>
                  </a:spcBef>
                  <a:spcAft>
                    <a:spcPts val="0"/>
                  </a:spcAft>
                  <a:buClrTx/>
                  <a:buSzTx/>
                  <a:buFontTx/>
                  <a:buNone/>
                  <a:tabLst/>
                  <a:defRPr/>
                </a:pPr>
                <a:endParaRPr kumimoji="0" lang="en-US" sz="2800" b="0" i="0" u="none" strike="noStrike" kern="1200" cap="none" spc="0" normalizeH="0" baseline="0" noProof="0">
                  <a:ln>
                    <a:noFill/>
                  </a:ln>
                  <a:solidFill>
                    <a:srgbClr val="2F2F2F">
                      <a:lumMod val="75000"/>
                      <a:lumOff val="25000"/>
                    </a:srgbClr>
                  </a:solidFill>
                  <a:effectLst/>
                  <a:uLnTx/>
                  <a:uFillTx/>
                  <a:latin typeface="Arial" panose="020B0604020202020204" pitchFamily="34" charset="0"/>
                  <a:ea typeface="+mn-ea"/>
                  <a:cs typeface="Arial" panose="020B0604020202020204" pitchFamily="34" charset="0"/>
                </a:endParaRPr>
              </a:p>
            </p:txBody>
          </p:sp>
        </p:grpSp>
        <p:sp>
          <p:nvSpPr>
            <p:cNvPr id="10" name="Rettangolo 13">
              <a:extLst>
                <a:ext uri="{FF2B5EF4-FFF2-40B4-BE49-F238E27FC236}">
                  <a16:creationId xmlns:a16="http://schemas.microsoft.com/office/drawing/2014/main" id="{BC76EB51-B4AB-4BAB-AAF6-1883074EEF50}"/>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20" name="TextBox 19">
            <a:extLst>
              <a:ext uri="{FF2B5EF4-FFF2-40B4-BE49-F238E27FC236}">
                <a16:creationId xmlns:a16="http://schemas.microsoft.com/office/drawing/2014/main" id="{B4D68CAB-2F99-49CF-9331-08151EAABA39}"/>
              </a:ext>
            </a:extLst>
          </p:cNvPr>
          <p:cNvSpPr txBox="1"/>
          <p:nvPr/>
        </p:nvSpPr>
        <p:spPr>
          <a:xfrm>
            <a:off x="433056" y="1177317"/>
            <a:ext cx="17421865" cy="76944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a:ln>
                  <a:noFill/>
                </a:ln>
                <a:solidFill>
                  <a:srgbClr val="CC0033"/>
                </a:solidFill>
                <a:effectLst/>
                <a:uLnTx/>
                <a:uFillTx/>
                <a:latin typeface="Arial"/>
                <a:ea typeface="+mn-ea"/>
                <a:cs typeface="Arial" panose="020B0604020202020204" pitchFamily="34" charset="0"/>
              </a:rPr>
              <a:t>CRITERIA FOR BOUNDARIES IDENTIFICATION </a:t>
            </a:r>
            <a:r>
              <a:rPr kumimoji="0" lang="sv-SE" sz="4400" b="1" i="0" u="none" strike="noStrike" kern="1200" cap="none" spc="0" normalizeH="0" baseline="0" noProof="0">
                <a:ln>
                  <a:noFill/>
                </a:ln>
                <a:solidFill>
                  <a:srgbClr val="CC0033"/>
                </a:solidFill>
                <a:effectLst/>
                <a:uLnTx/>
                <a:uFillTx/>
                <a:latin typeface="Arial"/>
                <a:ea typeface="+mn-ea"/>
                <a:cs typeface="Arial" panose="020B0604020202020204" pitchFamily="34" charset="0"/>
              </a:rPr>
              <a:t>AT FENO</a:t>
            </a:r>
          </a:p>
        </p:txBody>
      </p:sp>
      <p:sp>
        <p:nvSpPr>
          <p:cNvPr id="18" name="TextBox 17">
            <a:extLst>
              <a:ext uri="{FF2B5EF4-FFF2-40B4-BE49-F238E27FC236}">
                <a16:creationId xmlns:a16="http://schemas.microsoft.com/office/drawing/2014/main" id="{2352F9B5-119B-83ED-7DBE-55825134AC88}"/>
              </a:ext>
            </a:extLst>
          </p:cNvPr>
          <p:cNvSpPr txBox="1"/>
          <p:nvPr/>
        </p:nvSpPr>
        <p:spPr>
          <a:xfrm>
            <a:off x="929834" y="8134499"/>
            <a:ext cx="10157266"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3E3E3E"/>
                </a:solidFill>
                <a:effectLst/>
                <a:uLnTx/>
                <a:uFillTx/>
                <a:latin typeface="Arial MT"/>
                <a:ea typeface="Arial MT"/>
                <a:cs typeface="Arial MT"/>
              </a:rPr>
              <a:t>The main processes and variables to be considered in the DSS (in</a:t>
            </a:r>
            <a:r>
              <a:rPr kumimoji="0" lang="en-US" sz="2400" b="0" i="0" u="none" strike="noStrike" kern="1200" cap="none" spc="-15" normalizeH="0" baseline="0" noProof="0">
                <a:ln>
                  <a:noFill/>
                </a:ln>
                <a:solidFill>
                  <a:srgbClr val="3E3E3E"/>
                </a:solidFill>
                <a:effectLst/>
                <a:uLnTx/>
                <a:uFillTx/>
                <a:latin typeface="Arial MT"/>
                <a:ea typeface="Arial MT"/>
                <a:cs typeface="Arial MT"/>
              </a:rPr>
              <a:t> </a:t>
            </a:r>
            <a:r>
              <a:rPr kumimoji="0" lang="en-US" sz="2400" b="0" i="0" u="none" strike="noStrike" kern="1200" cap="none" spc="0" normalizeH="0" baseline="0" noProof="0">
                <a:ln>
                  <a:noFill/>
                </a:ln>
                <a:solidFill>
                  <a:srgbClr val="3E3E3E"/>
                </a:solidFill>
                <a:effectLst/>
                <a:uLnTx/>
                <a:uFillTx/>
                <a:latin typeface="Arial MT"/>
                <a:ea typeface="Arial MT"/>
                <a:cs typeface="Arial MT"/>
              </a:rPr>
              <a:t>red)</a:t>
            </a:r>
            <a:endParaRPr kumimoji="0" lang="sv-SE" sz="2400" b="0" i="0" u="none" strike="noStrike" kern="1200" cap="none" spc="0" normalizeH="0" baseline="0" noProof="0">
              <a:ln>
                <a:noFill/>
              </a:ln>
              <a:solidFill>
                <a:srgbClr val="2F2F2F"/>
              </a:solidFill>
              <a:effectLst/>
              <a:uLnTx/>
              <a:uFillTx/>
              <a:latin typeface="Arial"/>
              <a:ea typeface="+mn-ea"/>
              <a:cs typeface="+mn-cs"/>
            </a:endParaRPr>
          </a:p>
        </p:txBody>
      </p:sp>
      <p:pic>
        <p:nvPicPr>
          <p:cNvPr id="2" name="Imagen 115">
            <a:extLst>
              <a:ext uri="{FF2B5EF4-FFF2-40B4-BE49-F238E27FC236}">
                <a16:creationId xmlns:a16="http://schemas.microsoft.com/office/drawing/2014/main" id="{9D95BDCC-8217-2E23-CF92-FF79AABD1787}"/>
              </a:ext>
            </a:extLst>
          </p:cNvPr>
          <p:cNvPicPr>
            <a:picLocks noChangeAspect="1"/>
          </p:cNvPicPr>
          <p:nvPr/>
        </p:nvPicPr>
        <p:blipFill>
          <a:blip r:embed="rId6"/>
          <a:stretch>
            <a:fillRect/>
          </a:stretch>
        </p:blipFill>
        <p:spPr>
          <a:xfrm>
            <a:off x="16428111" y="963158"/>
            <a:ext cx="1426810" cy="1197757"/>
          </a:xfrm>
          <a:prstGeom prst="rect">
            <a:avLst/>
          </a:prstGeom>
        </p:spPr>
      </p:pic>
      <p:pic>
        <p:nvPicPr>
          <p:cNvPr id="16" name="image10.png">
            <a:extLst>
              <a:ext uri="{FF2B5EF4-FFF2-40B4-BE49-F238E27FC236}">
                <a16:creationId xmlns:a16="http://schemas.microsoft.com/office/drawing/2014/main" id="{B84185A6-A64F-07E5-6687-FCC259015C1C}"/>
              </a:ext>
            </a:extLst>
          </p:cNvPr>
          <p:cNvPicPr>
            <a:picLocks noChangeAspect="1"/>
          </p:cNvPicPr>
          <p:nvPr/>
        </p:nvPicPr>
        <p:blipFill>
          <a:blip r:embed="rId7" cstate="print"/>
          <a:stretch>
            <a:fillRect/>
          </a:stretch>
        </p:blipFill>
        <p:spPr>
          <a:xfrm>
            <a:off x="1496189" y="2574584"/>
            <a:ext cx="8437621" cy="4589565"/>
          </a:xfrm>
          <a:prstGeom prst="rect">
            <a:avLst/>
          </a:prstGeom>
        </p:spPr>
      </p:pic>
      <p:graphicFrame>
        <p:nvGraphicFramePr>
          <p:cNvPr id="19" name="Table 18">
            <a:extLst>
              <a:ext uri="{FF2B5EF4-FFF2-40B4-BE49-F238E27FC236}">
                <a16:creationId xmlns:a16="http://schemas.microsoft.com/office/drawing/2014/main" id="{36155CCD-BD3A-F6ED-AE20-C3D2F3A76396}"/>
              </a:ext>
            </a:extLst>
          </p:cNvPr>
          <p:cNvGraphicFramePr>
            <a:graphicFrameLocks noGrp="1"/>
          </p:cNvGraphicFramePr>
          <p:nvPr/>
        </p:nvGraphicFramePr>
        <p:xfrm>
          <a:off x="11472236" y="2546168"/>
          <a:ext cx="5669280" cy="5486400"/>
        </p:xfrm>
        <a:graphic>
          <a:graphicData uri="http://schemas.openxmlformats.org/drawingml/2006/table">
            <a:tbl>
              <a:tblPr firstRow="1" firstCol="1" lastRow="1" lastCol="1" bandRow="1" bandCol="1">
                <a:tableStyleId>{72833802-FEF1-4C79-8D5D-14CF1EAF98D9}</a:tableStyleId>
              </a:tblPr>
              <a:tblGrid>
                <a:gridCol w="2834640">
                  <a:extLst>
                    <a:ext uri="{9D8B030D-6E8A-4147-A177-3AD203B41FA5}">
                      <a16:colId xmlns:a16="http://schemas.microsoft.com/office/drawing/2014/main" val="3249430985"/>
                    </a:ext>
                  </a:extLst>
                </a:gridCol>
                <a:gridCol w="2834640">
                  <a:extLst>
                    <a:ext uri="{9D8B030D-6E8A-4147-A177-3AD203B41FA5}">
                      <a16:colId xmlns:a16="http://schemas.microsoft.com/office/drawing/2014/main" val="3766198294"/>
                    </a:ext>
                  </a:extLst>
                </a:gridCol>
              </a:tblGrid>
              <a:tr h="240030">
                <a:tc>
                  <a:txBody>
                    <a:bodyPr/>
                    <a:lstStyle/>
                    <a:p>
                      <a:pPr marL="72390" marR="64135" algn="ctr">
                        <a:spcBef>
                          <a:spcPts val="310"/>
                        </a:spcBef>
                        <a:spcAft>
                          <a:spcPts val="0"/>
                        </a:spcAft>
                      </a:pPr>
                      <a:r>
                        <a:rPr lang="en-US" sz="2400">
                          <a:effectLst/>
                        </a:rPr>
                        <a:t>PC</a:t>
                      </a:r>
                      <a:r>
                        <a:rPr lang="en-US" sz="2400" spc="-5">
                          <a:effectLst/>
                        </a:rPr>
                        <a:t> </a:t>
                      </a:r>
                      <a:r>
                        <a:rPr lang="en-US" sz="2400">
                          <a:effectLst/>
                        </a:rPr>
                        <a:t>model</a:t>
                      </a:r>
                      <a:endParaRPr lang="sv-SE" sz="2400">
                        <a:effectLst/>
                        <a:latin typeface="Arial MT"/>
                        <a:ea typeface="Arial MT"/>
                        <a:cs typeface="Arial MT"/>
                      </a:endParaRPr>
                    </a:p>
                  </a:txBody>
                  <a:tcPr marL="0" marR="0" marT="0" marB="0"/>
                </a:tc>
                <a:tc>
                  <a:txBody>
                    <a:bodyPr/>
                    <a:lstStyle/>
                    <a:p>
                      <a:pPr marL="72390" marR="71120" algn="ctr">
                        <a:spcBef>
                          <a:spcPts val="310"/>
                        </a:spcBef>
                        <a:spcAft>
                          <a:spcPts val="0"/>
                        </a:spcAft>
                      </a:pPr>
                      <a:r>
                        <a:rPr lang="en-US" sz="2400">
                          <a:effectLst/>
                        </a:rPr>
                        <a:t>Purpose</a:t>
                      </a:r>
                      <a:endParaRPr lang="sv-SE" sz="2400">
                        <a:effectLst/>
                        <a:latin typeface="Arial MT"/>
                        <a:ea typeface="Arial MT"/>
                        <a:cs typeface="Arial MT"/>
                      </a:endParaRPr>
                    </a:p>
                  </a:txBody>
                  <a:tcPr marL="0" marR="0" marT="0" marB="0"/>
                </a:tc>
                <a:extLst>
                  <a:ext uri="{0D108BD9-81ED-4DB2-BD59-A6C34878D82A}">
                    <a16:rowId xmlns:a16="http://schemas.microsoft.com/office/drawing/2014/main" val="1694104117"/>
                  </a:ext>
                </a:extLst>
              </a:tr>
              <a:tr h="389255">
                <a:tc>
                  <a:txBody>
                    <a:bodyPr/>
                    <a:lstStyle/>
                    <a:p>
                      <a:pPr marL="72390" marR="61595" indent="0" algn="l">
                        <a:lnSpc>
                          <a:spcPct val="100000"/>
                        </a:lnSpc>
                        <a:spcBef>
                          <a:spcPts val="260"/>
                        </a:spcBef>
                        <a:spcAft>
                          <a:spcPts val="0"/>
                        </a:spcAft>
                      </a:pPr>
                      <a:r>
                        <a:rPr lang="en-US" sz="2400">
                          <a:effectLst/>
                        </a:rPr>
                        <a:t>Feeding</a:t>
                      </a:r>
                      <a:r>
                        <a:rPr lang="en-US" sz="2400" spc="-15">
                          <a:effectLst/>
                        </a:rPr>
                        <a:t> </a:t>
                      </a:r>
                      <a:r>
                        <a:rPr lang="en-US" sz="2400">
                          <a:effectLst/>
                        </a:rPr>
                        <a:t>model</a:t>
                      </a:r>
                      <a:endParaRPr lang="sv-SE" sz="2400">
                        <a:effectLst/>
                        <a:latin typeface="Arial MT"/>
                        <a:ea typeface="Arial MT"/>
                        <a:cs typeface="Arial MT"/>
                      </a:endParaRPr>
                    </a:p>
                  </a:txBody>
                  <a:tcPr marL="0" marR="0" marT="0" marB="0"/>
                </a:tc>
                <a:tc>
                  <a:txBody>
                    <a:bodyPr/>
                    <a:lstStyle/>
                    <a:p>
                      <a:pPr marL="163830" marR="106680" indent="0" algn="l">
                        <a:lnSpc>
                          <a:spcPct val="100000"/>
                        </a:lnSpc>
                        <a:spcBef>
                          <a:spcPts val="270"/>
                        </a:spcBef>
                        <a:spcAft>
                          <a:spcPts val="0"/>
                        </a:spcAft>
                      </a:pPr>
                      <a:r>
                        <a:rPr lang="en-US" sz="2400">
                          <a:effectLst/>
                        </a:rPr>
                        <a:t>Select the best mix of raw material, based</a:t>
                      </a:r>
                      <a:r>
                        <a:rPr lang="en-US" sz="2400" spc="-295">
                          <a:effectLst/>
                        </a:rPr>
                        <a:t> </a:t>
                      </a:r>
                      <a:r>
                        <a:rPr lang="en-US" sz="2400">
                          <a:effectLst/>
                        </a:rPr>
                        <a:t>on</a:t>
                      </a:r>
                      <a:r>
                        <a:rPr lang="en-US" sz="2400" spc="-25">
                          <a:effectLst/>
                        </a:rPr>
                        <a:t> </a:t>
                      </a:r>
                      <a:r>
                        <a:rPr lang="en-US" sz="2400">
                          <a:effectLst/>
                        </a:rPr>
                        <a:t>desired recipe</a:t>
                      </a:r>
                      <a:r>
                        <a:rPr lang="en-US" sz="2400" spc="-20">
                          <a:effectLst/>
                        </a:rPr>
                        <a:t> </a:t>
                      </a:r>
                      <a:r>
                        <a:rPr lang="en-US" sz="2400">
                          <a:effectLst/>
                        </a:rPr>
                        <a:t>and</a:t>
                      </a:r>
                      <a:r>
                        <a:rPr lang="en-US" sz="2400" spc="-20">
                          <a:effectLst/>
                        </a:rPr>
                        <a:t> </a:t>
                      </a:r>
                      <a:r>
                        <a:rPr lang="en-US" sz="2400">
                          <a:effectLst/>
                        </a:rPr>
                        <a:t>economic</a:t>
                      </a:r>
                      <a:r>
                        <a:rPr lang="en-US" sz="2400" spc="-10">
                          <a:effectLst/>
                        </a:rPr>
                        <a:t> </a:t>
                      </a:r>
                      <a:r>
                        <a:rPr lang="en-US" sz="2400">
                          <a:effectLst/>
                        </a:rPr>
                        <a:t>aspects</a:t>
                      </a:r>
                      <a:endParaRPr lang="sv-SE" sz="2400">
                        <a:effectLst/>
                        <a:latin typeface="Arial MT"/>
                        <a:ea typeface="Arial MT"/>
                        <a:cs typeface="Arial MT"/>
                      </a:endParaRPr>
                    </a:p>
                  </a:txBody>
                  <a:tcPr marL="0" marR="0" marT="0" marB="0"/>
                </a:tc>
                <a:extLst>
                  <a:ext uri="{0D108BD9-81ED-4DB2-BD59-A6C34878D82A}">
                    <a16:rowId xmlns:a16="http://schemas.microsoft.com/office/drawing/2014/main" val="3671626634"/>
                  </a:ext>
                </a:extLst>
              </a:tr>
              <a:tr h="234315">
                <a:tc>
                  <a:txBody>
                    <a:bodyPr/>
                    <a:lstStyle/>
                    <a:p>
                      <a:pPr marL="72390" marR="64770" indent="0" algn="l">
                        <a:lnSpc>
                          <a:spcPct val="100000"/>
                        </a:lnSpc>
                        <a:spcBef>
                          <a:spcPts val="260"/>
                        </a:spcBef>
                        <a:spcAft>
                          <a:spcPts val="0"/>
                        </a:spcAft>
                      </a:pPr>
                      <a:r>
                        <a:rPr lang="en-US" sz="2400">
                          <a:effectLst/>
                        </a:rPr>
                        <a:t>Fuel</a:t>
                      </a:r>
                      <a:r>
                        <a:rPr lang="en-US" sz="2400" spc="-10">
                          <a:effectLst/>
                        </a:rPr>
                        <a:t> </a:t>
                      </a:r>
                      <a:r>
                        <a:rPr lang="en-US" sz="2400">
                          <a:effectLst/>
                        </a:rPr>
                        <a:t>mix</a:t>
                      </a:r>
                      <a:r>
                        <a:rPr lang="en-US" sz="2400" spc="-5">
                          <a:effectLst/>
                        </a:rPr>
                        <a:t> </a:t>
                      </a:r>
                      <a:r>
                        <a:rPr lang="en-US" sz="2400">
                          <a:effectLst/>
                        </a:rPr>
                        <a:t>selection</a:t>
                      </a:r>
                      <a:r>
                        <a:rPr lang="en-US" sz="2400" spc="-15">
                          <a:effectLst/>
                        </a:rPr>
                        <a:t> </a:t>
                      </a:r>
                      <a:r>
                        <a:rPr lang="en-US" sz="2400">
                          <a:effectLst/>
                        </a:rPr>
                        <a:t>model</a:t>
                      </a:r>
                      <a:endParaRPr lang="sv-SE" sz="2400">
                        <a:effectLst/>
                        <a:latin typeface="Arial MT"/>
                        <a:ea typeface="Arial MT"/>
                        <a:cs typeface="Arial MT"/>
                      </a:endParaRPr>
                    </a:p>
                  </a:txBody>
                  <a:tcPr marL="0" marR="0" marT="0" marB="0"/>
                </a:tc>
                <a:tc>
                  <a:txBody>
                    <a:bodyPr/>
                    <a:lstStyle/>
                    <a:p>
                      <a:pPr marL="72390" marR="72390" indent="0" algn="l">
                        <a:lnSpc>
                          <a:spcPct val="100000"/>
                        </a:lnSpc>
                        <a:spcBef>
                          <a:spcPts val="260"/>
                        </a:spcBef>
                        <a:spcAft>
                          <a:spcPts val="0"/>
                        </a:spcAft>
                      </a:pPr>
                      <a:r>
                        <a:rPr lang="en-US" sz="2400">
                          <a:effectLst/>
                        </a:rPr>
                        <a:t>Select</a:t>
                      </a:r>
                      <a:r>
                        <a:rPr lang="en-US" sz="2400" spc="-5">
                          <a:effectLst/>
                        </a:rPr>
                        <a:t> </a:t>
                      </a:r>
                      <a:r>
                        <a:rPr lang="en-US" sz="2400">
                          <a:effectLst/>
                        </a:rPr>
                        <a:t>the</a:t>
                      </a:r>
                      <a:r>
                        <a:rPr lang="en-US" sz="2400" spc="-15">
                          <a:effectLst/>
                        </a:rPr>
                        <a:t> </a:t>
                      </a:r>
                      <a:r>
                        <a:rPr lang="en-US" sz="2400">
                          <a:effectLst/>
                        </a:rPr>
                        <a:t>best</a:t>
                      </a:r>
                      <a:r>
                        <a:rPr lang="en-US" sz="2400" spc="-5">
                          <a:effectLst/>
                        </a:rPr>
                        <a:t> </a:t>
                      </a:r>
                      <a:r>
                        <a:rPr lang="en-US" sz="2400">
                          <a:effectLst/>
                        </a:rPr>
                        <a:t>mix</a:t>
                      </a:r>
                      <a:r>
                        <a:rPr lang="en-US" sz="2400" spc="-25">
                          <a:effectLst/>
                        </a:rPr>
                        <a:t> </a:t>
                      </a:r>
                      <a:r>
                        <a:rPr lang="en-US" sz="2400">
                          <a:effectLst/>
                        </a:rPr>
                        <a:t>of</a:t>
                      </a:r>
                      <a:r>
                        <a:rPr lang="en-US" sz="2400" spc="-25">
                          <a:effectLst/>
                        </a:rPr>
                        <a:t> </a:t>
                      </a:r>
                      <a:r>
                        <a:rPr lang="en-US" sz="2400">
                          <a:effectLst/>
                        </a:rPr>
                        <a:t>alternative</a:t>
                      </a:r>
                      <a:r>
                        <a:rPr lang="en-US" sz="2400" spc="5">
                          <a:effectLst/>
                        </a:rPr>
                        <a:t> </a:t>
                      </a:r>
                      <a:r>
                        <a:rPr lang="en-US" sz="2400">
                          <a:effectLst/>
                        </a:rPr>
                        <a:t>fuels</a:t>
                      </a:r>
                      <a:endParaRPr lang="sv-SE" sz="2400">
                        <a:effectLst/>
                        <a:latin typeface="Arial MT"/>
                        <a:ea typeface="Arial MT"/>
                        <a:cs typeface="Arial MT"/>
                      </a:endParaRPr>
                    </a:p>
                  </a:txBody>
                  <a:tcPr marL="0" marR="0" marT="0" marB="0"/>
                </a:tc>
                <a:extLst>
                  <a:ext uri="{0D108BD9-81ED-4DB2-BD59-A6C34878D82A}">
                    <a16:rowId xmlns:a16="http://schemas.microsoft.com/office/drawing/2014/main" val="439549865"/>
                  </a:ext>
                </a:extLst>
              </a:tr>
              <a:tr h="392430">
                <a:tc>
                  <a:txBody>
                    <a:bodyPr/>
                    <a:lstStyle/>
                    <a:p>
                      <a:pPr marL="72390" marR="64770" indent="0" algn="l">
                        <a:lnSpc>
                          <a:spcPct val="100000"/>
                        </a:lnSpc>
                        <a:spcBef>
                          <a:spcPts val="260"/>
                        </a:spcBef>
                        <a:spcAft>
                          <a:spcPts val="0"/>
                        </a:spcAft>
                      </a:pPr>
                      <a:r>
                        <a:rPr lang="en-US" sz="2400">
                          <a:effectLst/>
                        </a:rPr>
                        <a:t>Quality</a:t>
                      </a:r>
                      <a:r>
                        <a:rPr lang="en-US" sz="2400" spc="-15">
                          <a:effectLst/>
                        </a:rPr>
                        <a:t> </a:t>
                      </a:r>
                      <a:r>
                        <a:rPr lang="en-US" sz="2400">
                          <a:effectLst/>
                        </a:rPr>
                        <a:t>model</a:t>
                      </a:r>
                      <a:endParaRPr lang="sv-SE" sz="2400">
                        <a:effectLst/>
                        <a:latin typeface="Arial MT"/>
                        <a:ea typeface="Arial MT"/>
                        <a:cs typeface="Arial MT"/>
                      </a:endParaRPr>
                    </a:p>
                  </a:txBody>
                  <a:tcPr marL="0" marR="0" marT="0" marB="0"/>
                </a:tc>
                <a:tc>
                  <a:txBody>
                    <a:bodyPr/>
                    <a:lstStyle/>
                    <a:p>
                      <a:pPr marL="0" marR="30480" indent="0" algn="l">
                        <a:lnSpc>
                          <a:spcPct val="100000"/>
                        </a:lnSpc>
                        <a:spcBef>
                          <a:spcPts val="0"/>
                        </a:spcBef>
                        <a:spcAft>
                          <a:spcPts val="0"/>
                        </a:spcAft>
                      </a:pPr>
                      <a:r>
                        <a:rPr lang="en-US" sz="2400">
                          <a:effectLst/>
                        </a:rPr>
                        <a:t>Correlate the quality of the produced steel to</a:t>
                      </a:r>
                      <a:r>
                        <a:rPr lang="en-US" sz="2400" spc="-295">
                          <a:effectLst/>
                        </a:rPr>
                        <a:t> </a:t>
                      </a:r>
                      <a:r>
                        <a:rPr lang="en-US" sz="2400">
                          <a:effectLst/>
                        </a:rPr>
                        <a:t>the</a:t>
                      </a:r>
                      <a:r>
                        <a:rPr lang="en-US" sz="2400" spc="-15">
                          <a:effectLst/>
                        </a:rPr>
                        <a:t> </a:t>
                      </a:r>
                      <a:r>
                        <a:rPr lang="en-US" sz="2400">
                          <a:effectLst/>
                        </a:rPr>
                        <a:t>mixture</a:t>
                      </a:r>
                      <a:r>
                        <a:rPr lang="en-US" sz="2400" spc="-10">
                          <a:effectLst/>
                        </a:rPr>
                        <a:t> </a:t>
                      </a:r>
                      <a:r>
                        <a:rPr lang="en-US" sz="2400">
                          <a:effectLst/>
                        </a:rPr>
                        <a:t>of</a:t>
                      </a:r>
                      <a:r>
                        <a:rPr lang="en-US" sz="2400" spc="-20">
                          <a:effectLst/>
                        </a:rPr>
                        <a:t> </a:t>
                      </a:r>
                      <a:r>
                        <a:rPr lang="en-US" sz="2400">
                          <a:effectLst/>
                        </a:rPr>
                        <a:t>scrap</a:t>
                      </a:r>
                      <a:r>
                        <a:rPr lang="en-US" sz="2400" spc="15">
                          <a:effectLst/>
                        </a:rPr>
                        <a:t> </a:t>
                      </a:r>
                      <a:r>
                        <a:rPr lang="en-US" sz="2400">
                          <a:effectLst/>
                        </a:rPr>
                        <a:t>employed</a:t>
                      </a:r>
                      <a:endParaRPr lang="sv-SE" sz="2400">
                        <a:effectLst/>
                        <a:latin typeface="Arial MT"/>
                        <a:ea typeface="Arial MT"/>
                        <a:cs typeface="Arial MT"/>
                      </a:endParaRPr>
                    </a:p>
                  </a:txBody>
                  <a:tcPr marL="0" marR="0" marT="0" marB="0"/>
                </a:tc>
                <a:extLst>
                  <a:ext uri="{0D108BD9-81ED-4DB2-BD59-A6C34878D82A}">
                    <a16:rowId xmlns:a16="http://schemas.microsoft.com/office/drawing/2014/main" val="2331675790"/>
                  </a:ext>
                </a:extLst>
              </a:tr>
            </a:tbl>
          </a:graphicData>
        </a:graphic>
      </p:graphicFrame>
      <p:sp>
        <p:nvSpPr>
          <p:cNvPr id="3" name="textruta 2">
            <a:extLst>
              <a:ext uri="{FF2B5EF4-FFF2-40B4-BE49-F238E27FC236}">
                <a16:creationId xmlns:a16="http://schemas.microsoft.com/office/drawing/2014/main" id="{3AE4044A-5E4E-D4A1-4699-947A66AEC671}"/>
              </a:ext>
            </a:extLst>
          </p:cNvPr>
          <p:cNvSpPr txBox="1"/>
          <p:nvPr/>
        </p:nvSpPr>
        <p:spPr>
          <a:xfrm>
            <a:off x="4705350" y="4380293"/>
            <a:ext cx="342900" cy="646331"/>
          </a:xfrm>
          <a:prstGeom prst="rect">
            <a:avLst/>
          </a:prstGeom>
          <a:noFill/>
        </p:spPr>
        <p:txBody>
          <a:bodyPr wrap="square" rtlCol="0">
            <a:spAutoFit/>
          </a:bodyPr>
          <a:lstStyle/>
          <a:p>
            <a:r>
              <a:rPr lang="sv-SE"/>
              <a:t>1, </a:t>
            </a:r>
          </a:p>
        </p:txBody>
      </p:sp>
      <p:sp>
        <p:nvSpPr>
          <p:cNvPr id="15" name="textruta 14">
            <a:extLst>
              <a:ext uri="{FF2B5EF4-FFF2-40B4-BE49-F238E27FC236}">
                <a16:creationId xmlns:a16="http://schemas.microsoft.com/office/drawing/2014/main" id="{566197CA-0EA8-4F7C-141C-105DE1FC07D3}"/>
              </a:ext>
            </a:extLst>
          </p:cNvPr>
          <p:cNvSpPr txBox="1"/>
          <p:nvPr/>
        </p:nvSpPr>
        <p:spPr>
          <a:xfrm>
            <a:off x="3986256" y="2437306"/>
            <a:ext cx="342900" cy="646331"/>
          </a:xfrm>
          <a:prstGeom prst="rect">
            <a:avLst/>
          </a:prstGeom>
          <a:noFill/>
        </p:spPr>
        <p:txBody>
          <a:bodyPr wrap="square" rtlCol="0">
            <a:spAutoFit/>
          </a:bodyPr>
          <a:lstStyle/>
          <a:p>
            <a:r>
              <a:rPr lang="sv-SE"/>
              <a:t>2, </a:t>
            </a:r>
          </a:p>
        </p:txBody>
      </p:sp>
    </p:spTree>
    <p:extLst>
      <p:ext uri="{BB962C8B-B14F-4D97-AF65-F5344CB8AC3E}">
        <p14:creationId xmlns:p14="http://schemas.microsoft.com/office/powerpoint/2010/main" val="3089473920"/>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uppo 16">
            <a:extLst>
              <a:ext uri="{FF2B5EF4-FFF2-40B4-BE49-F238E27FC236}">
                <a16:creationId xmlns:a16="http://schemas.microsoft.com/office/drawing/2014/main" id="{7F05FA2D-BA17-4C4E-9DAE-36CC81DE9BAA}"/>
              </a:ext>
            </a:extLst>
          </p:cNvPr>
          <p:cNvGrpSpPr/>
          <p:nvPr/>
        </p:nvGrpSpPr>
        <p:grpSpPr>
          <a:xfrm>
            <a:off x="4329156" y="9695736"/>
            <a:ext cx="13958844" cy="666567"/>
            <a:chOff x="4329156" y="9649198"/>
            <a:chExt cx="13958844" cy="666567"/>
          </a:xfrm>
        </p:grpSpPr>
        <p:pic>
          <p:nvPicPr>
            <p:cNvPr id="5" name="Picture 12">
              <a:extLst>
                <a:ext uri="{FF2B5EF4-FFF2-40B4-BE49-F238E27FC236}">
                  <a16:creationId xmlns:a16="http://schemas.microsoft.com/office/drawing/2014/main" id="{00810EF5-3949-4698-A5DE-428CD380175F}"/>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6" name="TextBox 16">
              <a:extLst>
                <a:ext uri="{FF2B5EF4-FFF2-40B4-BE49-F238E27FC236}">
                  <a16:creationId xmlns:a16="http://schemas.microsoft.com/office/drawing/2014/main" id="{EDDD1531-1BDA-4725-B6A3-364F4B7CF76A}"/>
                </a:ext>
              </a:extLst>
            </p:cNvPr>
            <p:cNvSpPr txBox="1"/>
            <p:nvPr/>
          </p:nvSpPr>
          <p:spPr>
            <a:xfrm>
              <a:off x="14400029" y="9732291"/>
              <a:ext cx="3636320" cy="448713"/>
            </a:xfrm>
            <a:prstGeom prst="rect">
              <a:avLst/>
            </a:prstGeom>
          </p:spPr>
          <p:txBody>
            <a:bodyPr wrap="square" lIns="0" tIns="0" rIns="0" bIns="0" rtlCol="0" anchor="t">
              <a:spAutoFit/>
            </a:bodyPr>
            <a:lstStyle/>
            <a:p>
              <a:pPr marL="0" marR="0" lvl="0" indent="0" algn="ctr" defTabSz="914400" rtl="0" eaLnBrk="1" fontAlgn="auto" latinLnBrk="0" hangingPunct="1">
                <a:lnSpc>
                  <a:spcPts val="3919"/>
                </a:lnSpc>
                <a:spcBef>
                  <a:spcPct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OCR A Extended" panose="02010509020102010303" pitchFamily="50" charset="0"/>
                  <a:ea typeface="+mn-ea"/>
                  <a:cs typeface="+mn-cs"/>
                </a:rPr>
                <a:t>www.retrofeed.eu</a:t>
              </a:r>
            </a:p>
          </p:txBody>
        </p:sp>
      </p:grpSp>
      <p:pic>
        <p:nvPicPr>
          <p:cNvPr id="7" name="Picture 12">
            <a:extLst>
              <a:ext uri="{FF2B5EF4-FFF2-40B4-BE49-F238E27FC236}">
                <a16:creationId xmlns:a16="http://schemas.microsoft.com/office/drawing/2014/main" id="{52C35A30-8BA0-4714-8363-E6CE748BA2C3}"/>
              </a:ext>
            </a:extLst>
          </p:cNvPr>
          <p:cNvPicPr>
            <a:picLocks noChangeAspect="1"/>
          </p:cNvPicPr>
          <p:nvPr/>
        </p:nvPicPr>
        <p:blipFill>
          <a:blip r:embed="rId4"/>
          <a:srcRect/>
          <a:stretch>
            <a:fillRect/>
          </a:stretch>
        </p:blipFill>
        <p:spPr>
          <a:xfrm>
            <a:off x="0" y="8901113"/>
            <a:ext cx="5715000" cy="1385887"/>
          </a:xfrm>
          <a:prstGeom prst="rect">
            <a:avLst/>
          </a:prstGeom>
        </p:spPr>
      </p:pic>
      <p:grpSp>
        <p:nvGrpSpPr>
          <p:cNvPr id="8" name="Gruppo 2">
            <a:extLst>
              <a:ext uri="{FF2B5EF4-FFF2-40B4-BE49-F238E27FC236}">
                <a16:creationId xmlns:a16="http://schemas.microsoft.com/office/drawing/2014/main" id="{C9C93A65-4067-4ACC-B2C9-8C15277024E4}"/>
              </a:ext>
            </a:extLst>
          </p:cNvPr>
          <p:cNvGrpSpPr/>
          <p:nvPr/>
        </p:nvGrpSpPr>
        <p:grpSpPr>
          <a:xfrm>
            <a:off x="-12" y="138554"/>
            <a:ext cx="18288002" cy="681138"/>
            <a:chOff x="-12" y="138554"/>
            <a:chExt cx="18288002" cy="681138"/>
          </a:xfrm>
        </p:grpSpPr>
        <p:grpSp>
          <p:nvGrpSpPr>
            <p:cNvPr id="9" name="Gruppo 1">
              <a:extLst>
                <a:ext uri="{FF2B5EF4-FFF2-40B4-BE49-F238E27FC236}">
                  <a16:creationId xmlns:a16="http://schemas.microsoft.com/office/drawing/2014/main" id="{A943E672-738C-4FE3-BD35-ACD7A4E4D95E}"/>
                </a:ext>
              </a:extLst>
            </p:cNvPr>
            <p:cNvGrpSpPr/>
            <p:nvPr/>
          </p:nvGrpSpPr>
          <p:grpSpPr>
            <a:xfrm>
              <a:off x="0" y="153125"/>
              <a:ext cx="17907000" cy="666567"/>
              <a:chOff x="0" y="153125"/>
              <a:chExt cx="17907000" cy="666567"/>
            </a:xfrm>
          </p:grpSpPr>
          <p:grpSp>
            <p:nvGrpSpPr>
              <p:cNvPr id="11" name="Gruppo 15">
                <a:extLst>
                  <a:ext uri="{FF2B5EF4-FFF2-40B4-BE49-F238E27FC236}">
                    <a16:creationId xmlns:a16="http://schemas.microsoft.com/office/drawing/2014/main" id="{10037738-5D9A-4755-B52F-99B1FA543ED3}"/>
                  </a:ext>
                </a:extLst>
              </p:cNvPr>
              <p:cNvGrpSpPr/>
              <p:nvPr/>
            </p:nvGrpSpPr>
            <p:grpSpPr>
              <a:xfrm>
                <a:off x="0" y="153125"/>
                <a:ext cx="13958844" cy="666567"/>
                <a:chOff x="0" y="153125"/>
                <a:chExt cx="13958844" cy="666567"/>
              </a:xfrm>
            </p:grpSpPr>
            <p:pic>
              <p:nvPicPr>
                <p:cNvPr id="13" name="Picture 10">
                  <a:extLst>
                    <a:ext uri="{FF2B5EF4-FFF2-40B4-BE49-F238E27FC236}">
                      <a16:creationId xmlns:a16="http://schemas.microsoft.com/office/drawing/2014/main" id="{30234B5E-6FF9-499F-817A-9B69F1CC9911}"/>
                    </a:ext>
                  </a:extLst>
                </p:cNvPr>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4" name="TextBox 11">
                  <a:extLst>
                    <a:ext uri="{FF2B5EF4-FFF2-40B4-BE49-F238E27FC236}">
                      <a16:creationId xmlns:a16="http://schemas.microsoft.com/office/drawing/2014/main" id="{E5F3FE84-033A-4279-AF93-ABD80EC40550}"/>
                    </a:ext>
                  </a:extLst>
                </p:cNvPr>
                <p:cNvSpPr txBox="1"/>
                <p:nvPr/>
              </p:nvSpPr>
              <p:spPr>
                <a:xfrm>
                  <a:off x="228600" y="257980"/>
                  <a:ext cx="9296400" cy="456856"/>
                </a:xfrm>
                <a:prstGeom prst="rect">
                  <a:avLst/>
                </a:prstGeom>
              </p:spPr>
              <p:txBody>
                <a:bodyPr wrap="square" lIns="0" tIns="0" rIns="0" bIns="0" rtlCol="0" anchor="t">
                  <a:spAutoFit/>
                </a:bodyPr>
                <a:lstStyle/>
                <a:p>
                  <a:pPr marL="0" marR="0" lvl="0" indent="0" algn="l" defTabSz="914400" rtl="0" eaLnBrk="1" fontAlgn="auto" latinLnBrk="0" hangingPunct="1">
                    <a:lnSpc>
                      <a:spcPts val="3919"/>
                    </a:lnSpc>
                    <a:spcBef>
                      <a:spcPct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2" name="TextBox 11">
                <a:extLst>
                  <a:ext uri="{FF2B5EF4-FFF2-40B4-BE49-F238E27FC236}">
                    <a16:creationId xmlns:a16="http://schemas.microsoft.com/office/drawing/2014/main" id="{7B4365DB-7AB3-494A-91B9-B5781D39B67B}"/>
                  </a:ext>
                </a:extLst>
              </p:cNvPr>
              <p:cNvSpPr txBox="1"/>
              <p:nvPr/>
            </p:nvSpPr>
            <p:spPr>
              <a:xfrm>
                <a:off x="12154296" y="257980"/>
                <a:ext cx="5752704" cy="456856"/>
              </a:xfrm>
              <a:prstGeom prst="rect">
                <a:avLst/>
              </a:prstGeom>
            </p:spPr>
            <p:txBody>
              <a:bodyPr wrap="square" lIns="0" tIns="0" rIns="0" bIns="0" rtlCol="0" anchor="t">
                <a:spAutoFit/>
              </a:bodyPr>
              <a:lstStyle/>
              <a:p>
                <a:pPr marL="0" marR="0" lvl="0" indent="0" algn="r" defTabSz="914400" rtl="0" eaLnBrk="1" fontAlgn="auto" latinLnBrk="0" hangingPunct="1">
                  <a:lnSpc>
                    <a:spcPts val="3919"/>
                  </a:lnSpc>
                  <a:spcBef>
                    <a:spcPct val="0"/>
                  </a:spcBef>
                  <a:spcAft>
                    <a:spcPts val="0"/>
                  </a:spcAft>
                  <a:buClrTx/>
                  <a:buSzTx/>
                  <a:buFontTx/>
                  <a:buNone/>
                  <a:tabLst/>
                  <a:defRPr/>
                </a:pPr>
                <a:endParaRPr kumimoji="0" lang="en-US" sz="2800" b="0" i="0" u="none" strike="noStrike" kern="1200" cap="none" spc="0" normalizeH="0" baseline="0" noProof="0">
                  <a:ln>
                    <a:noFill/>
                  </a:ln>
                  <a:solidFill>
                    <a:srgbClr val="2F2F2F">
                      <a:lumMod val="75000"/>
                      <a:lumOff val="25000"/>
                    </a:srgbClr>
                  </a:solidFill>
                  <a:effectLst/>
                  <a:uLnTx/>
                  <a:uFillTx/>
                  <a:latin typeface="Arial" panose="020B0604020202020204" pitchFamily="34" charset="0"/>
                  <a:ea typeface="+mn-ea"/>
                  <a:cs typeface="Arial" panose="020B0604020202020204" pitchFamily="34" charset="0"/>
                </a:endParaRPr>
              </a:p>
            </p:txBody>
          </p:sp>
        </p:grpSp>
        <p:sp>
          <p:nvSpPr>
            <p:cNvPr id="10" name="Rettangolo 13">
              <a:extLst>
                <a:ext uri="{FF2B5EF4-FFF2-40B4-BE49-F238E27FC236}">
                  <a16:creationId xmlns:a16="http://schemas.microsoft.com/office/drawing/2014/main" id="{BC76EB51-B4AB-4BAB-AAF6-1883074EEF50}"/>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20" name="TextBox 19">
            <a:extLst>
              <a:ext uri="{FF2B5EF4-FFF2-40B4-BE49-F238E27FC236}">
                <a16:creationId xmlns:a16="http://schemas.microsoft.com/office/drawing/2014/main" id="{B4D68CAB-2F99-49CF-9331-08151EAABA39}"/>
              </a:ext>
            </a:extLst>
          </p:cNvPr>
          <p:cNvSpPr txBox="1"/>
          <p:nvPr/>
        </p:nvSpPr>
        <p:spPr>
          <a:xfrm>
            <a:off x="485135" y="1164722"/>
            <a:ext cx="17421865"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a:ln>
                  <a:noFill/>
                </a:ln>
                <a:solidFill>
                  <a:srgbClr val="CC0033"/>
                </a:solidFill>
                <a:effectLst/>
                <a:uLnTx/>
                <a:uFillTx/>
                <a:latin typeface="Arial"/>
                <a:ea typeface="+mn-ea"/>
                <a:cs typeface="Arial" panose="020B0604020202020204" pitchFamily="34" charset="0"/>
              </a:rPr>
              <a:t>CRITERIA FOR BOUNDARIES IDENTIFICATION </a:t>
            </a:r>
            <a:r>
              <a:rPr kumimoji="0" lang="sv-SE" sz="4000" b="1" i="0" u="none" strike="noStrike" kern="1200" cap="none" spc="0" normalizeH="0" baseline="0" noProof="0">
                <a:ln>
                  <a:noFill/>
                </a:ln>
                <a:solidFill>
                  <a:srgbClr val="CC0033"/>
                </a:solidFill>
                <a:effectLst/>
                <a:uLnTx/>
                <a:uFillTx/>
                <a:latin typeface="Arial"/>
                <a:ea typeface="+mn-ea"/>
                <a:cs typeface="Arial" panose="020B0604020202020204" pitchFamily="34" charset="0"/>
              </a:rPr>
              <a:t>AT</a:t>
            </a:r>
          </a:p>
        </p:txBody>
      </p:sp>
      <p:sp>
        <p:nvSpPr>
          <p:cNvPr id="18" name="TextBox 17">
            <a:extLst>
              <a:ext uri="{FF2B5EF4-FFF2-40B4-BE49-F238E27FC236}">
                <a16:creationId xmlns:a16="http://schemas.microsoft.com/office/drawing/2014/main" id="{2352F9B5-119B-83ED-7DBE-55825134AC88}"/>
              </a:ext>
            </a:extLst>
          </p:cNvPr>
          <p:cNvSpPr txBox="1"/>
          <p:nvPr/>
        </p:nvSpPr>
        <p:spPr>
          <a:xfrm>
            <a:off x="929834" y="8134499"/>
            <a:ext cx="10157266"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3E3E3E"/>
                </a:solidFill>
                <a:effectLst/>
                <a:uLnTx/>
                <a:uFillTx/>
                <a:latin typeface="Arial MT"/>
                <a:ea typeface="Arial MT"/>
                <a:cs typeface="Arial MT"/>
              </a:rPr>
              <a:t>The main processes and variables to be considered in the DSS (in</a:t>
            </a:r>
            <a:r>
              <a:rPr kumimoji="0" lang="en-US" sz="2400" b="0" i="0" u="none" strike="noStrike" kern="1200" cap="none" spc="-15" normalizeH="0" baseline="0" noProof="0">
                <a:ln>
                  <a:noFill/>
                </a:ln>
                <a:solidFill>
                  <a:srgbClr val="3E3E3E"/>
                </a:solidFill>
                <a:effectLst/>
                <a:uLnTx/>
                <a:uFillTx/>
                <a:latin typeface="Arial MT"/>
                <a:ea typeface="Arial MT"/>
                <a:cs typeface="Arial MT"/>
              </a:rPr>
              <a:t> </a:t>
            </a:r>
            <a:r>
              <a:rPr kumimoji="0" lang="en-US" sz="2400" b="0" i="0" u="none" strike="noStrike" kern="1200" cap="none" spc="0" normalizeH="0" baseline="0" noProof="0">
                <a:ln>
                  <a:noFill/>
                </a:ln>
                <a:solidFill>
                  <a:srgbClr val="3E3E3E"/>
                </a:solidFill>
                <a:effectLst/>
                <a:uLnTx/>
                <a:uFillTx/>
                <a:latin typeface="Arial MT"/>
                <a:ea typeface="Arial MT"/>
                <a:cs typeface="Arial MT"/>
              </a:rPr>
              <a:t>red)</a:t>
            </a:r>
            <a:endParaRPr kumimoji="0" lang="sv-SE" sz="2400" b="0" i="0" u="none" strike="noStrike" kern="1200" cap="none" spc="0" normalizeH="0" baseline="0" noProof="0">
              <a:ln>
                <a:noFill/>
              </a:ln>
              <a:solidFill>
                <a:srgbClr val="2F2F2F"/>
              </a:solidFill>
              <a:effectLst/>
              <a:uLnTx/>
              <a:uFillTx/>
              <a:latin typeface="Arial"/>
              <a:ea typeface="+mn-ea"/>
              <a:cs typeface="+mn-cs"/>
            </a:endParaRPr>
          </a:p>
        </p:txBody>
      </p:sp>
      <p:pic>
        <p:nvPicPr>
          <p:cNvPr id="3" name="Picture 2" descr="t_T_SB">
            <a:extLst>
              <a:ext uri="{FF2B5EF4-FFF2-40B4-BE49-F238E27FC236}">
                <a16:creationId xmlns:a16="http://schemas.microsoft.com/office/drawing/2014/main" id="{4CF1438E-1981-9867-2581-B27DF6AE0EC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2708625" y="1008263"/>
            <a:ext cx="4649541" cy="637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image12.png">
            <a:extLst>
              <a:ext uri="{FF2B5EF4-FFF2-40B4-BE49-F238E27FC236}">
                <a16:creationId xmlns:a16="http://schemas.microsoft.com/office/drawing/2014/main" id="{42651331-BE12-0D6A-B227-EC291862BF0D}"/>
              </a:ext>
            </a:extLst>
          </p:cNvPr>
          <p:cNvPicPr>
            <a:picLocks noChangeAspect="1"/>
          </p:cNvPicPr>
          <p:nvPr/>
        </p:nvPicPr>
        <p:blipFill>
          <a:blip r:embed="rId7" cstate="print"/>
          <a:stretch>
            <a:fillRect/>
          </a:stretch>
        </p:blipFill>
        <p:spPr>
          <a:xfrm>
            <a:off x="2023747" y="2379025"/>
            <a:ext cx="6687185" cy="5515115"/>
          </a:xfrm>
          <a:prstGeom prst="rect">
            <a:avLst/>
          </a:prstGeom>
        </p:spPr>
      </p:pic>
      <p:graphicFrame>
        <p:nvGraphicFramePr>
          <p:cNvPr id="17" name="Table 16">
            <a:extLst>
              <a:ext uri="{FF2B5EF4-FFF2-40B4-BE49-F238E27FC236}">
                <a16:creationId xmlns:a16="http://schemas.microsoft.com/office/drawing/2014/main" id="{64815F21-AA0F-458C-F392-B9EF24BFAD32}"/>
              </a:ext>
            </a:extLst>
          </p:cNvPr>
          <p:cNvGraphicFramePr>
            <a:graphicFrameLocks noGrp="1"/>
          </p:cNvGraphicFramePr>
          <p:nvPr/>
        </p:nvGraphicFramePr>
        <p:xfrm>
          <a:off x="11688886" y="2093380"/>
          <a:ext cx="5669280" cy="6583680"/>
        </p:xfrm>
        <a:graphic>
          <a:graphicData uri="http://schemas.openxmlformats.org/drawingml/2006/table">
            <a:tbl>
              <a:tblPr firstRow="1" firstCol="1" lastRow="1" lastCol="1" bandRow="1" bandCol="1">
                <a:tableStyleId>{72833802-FEF1-4C79-8D5D-14CF1EAF98D9}</a:tableStyleId>
              </a:tblPr>
              <a:tblGrid>
                <a:gridCol w="2834640">
                  <a:extLst>
                    <a:ext uri="{9D8B030D-6E8A-4147-A177-3AD203B41FA5}">
                      <a16:colId xmlns:a16="http://schemas.microsoft.com/office/drawing/2014/main" val="1618013686"/>
                    </a:ext>
                  </a:extLst>
                </a:gridCol>
                <a:gridCol w="2834640">
                  <a:extLst>
                    <a:ext uri="{9D8B030D-6E8A-4147-A177-3AD203B41FA5}">
                      <a16:colId xmlns:a16="http://schemas.microsoft.com/office/drawing/2014/main" val="2685403866"/>
                    </a:ext>
                  </a:extLst>
                </a:gridCol>
              </a:tblGrid>
              <a:tr h="237490">
                <a:tc>
                  <a:txBody>
                    <a:bodyPr/>
                    <a:lstStyle/>
                    <a:p>
                      <a:pPr marL="72390" marR="64135" algn="ctr">
                        <a:spcBef>
                          <a:spcPts val="285"/>
                        </a:spcBef>
                        <a:spcAft>
                          <a:spcPts val="0"/>
                        </a:spcAft>
                      </a:pPr>
                      <a:r>
                        <a:rPr lang="en-US" sz="2400">
                          <a:effectLst/>
                        </a:rPr>
                        <a:t>PC</a:t>
                      </a:r>
                      <a:r>
                        <a:rPr lang="en-US" sz="2400" spc="-5">
                          <a:effectLst/>
                        </a:rPr>
                        <a:t> </a:t>
                      </a:r>
                      <a:r>
                        <a:rPr lang="en-US" sz="2400">
                          <a:effectLst/>
                        </a:rPr>
                        <a:t>model</a:t>
                      </a:r>
                      <a:endParaRPr lang="sv-SE" sz="2400">
                        <a:effectLst/>
                        <a:latin typeface="Arial MT"/>
                        <a:ea typeface="Arial MT"/>
                        <a:cs typeface="Arial MT"/>
                      </a:endParaRPr>
                    </a:p>
                  </a:txBody>
                  <a:tcPr marL="0" marR="0" marT="0" marB="0"/>
                </a:tc>
                <a:tc>
                  <a:txBody>
                    <a:bodyPr/>
                    <a:lstStyle/>
                    <a:p>
                      <a:pPr marL="72390" marR="71120" algn="ctr">
                        <a:spcBef>
                          <a:spcPts val="285"/>
                        </a:spcBef>
                        <a:spcAft>
                          <a:spcPts val="0"/>
                        </a:spcAft>
                      </a:pPr>
                      <a:r>
                        <a:rPr lang="en-US" sz="2400">
                          <a:effectLst/>
                        </a:rPr>
                        <a:t>Purpose</a:t>
                      </a:r>
                      <a:endParaRPr lang="sv-SE" sz="2400">
                        <a:effectLst/>
                        <a:latin typeface="Arial MT"/>
                        <a:ea typeface="Arial MT"/>
                        <a:cs typeface="Arial MT"/>
                      </a:endParaRPr>
                    </a:p>
                  </a:txBody>
                  <a:tcPr marL="0" marR="0" marT="0" marB="0"/>
                </a:tc>
                <a:extLst>
                  <a:ext uri="{0D108BD9-81ED-4DB2-BD59-A6C34878D82A}">
                    <a16:rowId xmlns:a16="http://schemas.microsoft.com/office/drawing/2014/main" val="2951359779"/>
                  </a:ext>
                </a:extLst>
              </a:tr>
              <a:tr h="551180">
                <a:tc>
                  <a:txBody>
                    <a:bodyPr/>
                    <a:lstStyle/>
                    <a:p>
                      <a:pPr marL="72390" marR="61595" algn="ctr">
                        <a:spcBef>
                          <a:spcPts val="260"/>
                        </a:spcBef>
                        <a:spcAft>
                          <a:spcPts val="0"/>
                        </a:spcAft>
                      </a:pPr>
                      <a:r>
                        <a:rPr lang="en-US" sz="2400">
                          <a:effectLst/>
                        </a:rPr>
                        <a:t>Feeding</a:t>
                      </a:r>
                      <a:r>
                        <a:rPr lang="en-US" sz="2400" spc="-15">
                          <a:effectLst/>
                        </a:rPr>
                        <a:t> </a:t>
                      </a:r>
                      <a:r>
                        <a:rPr lang="en-US" sz="2400">
                          <a:effectLst/>
                        </a:rPr>
                        <a:t>model</a:t>
                      </a:r>
                      <a:endParaRPr lang="sv-SE" sz="2400">
                        <a:effectLst/>
                        <a:latin typeface="Arial MT"/>
                        <a:ea typeface="Arial MT"/>
                        <a:cs typeface="Arial MT"/>
                      </a:endParaRPr>
                    </a:p>
                  </a:txBody>
                  <a:tcPr marL="0" marR="0" marT="0" marB="0"/>
                </a:tc>
                <a:tc>
                  <a:txBody>
                    <a:bodyPr/>
                    <a:lstStyle/>
                    <a:p>
                      <a:pPr marL="72390" marR="68580" algn="ctr">
                        <a:spcBef>
                          <a:spcPts val="260"/>
                        </a:spcBef>
                        <a:spcAft>
                          <a:spcPts val="0"/>
                        </a:spcAft>
                      </a:pPr>
                      <a:r>
                        <a:rPr lang="en-US" sz="2400">
                          <a:effectLst/>
                        </a:rPr>
                        <a:t>Select the best mix of raw material, based</a:t>
                      </a:r>
                      <a:r>
                        <a:rPr lang="en-US" sz="2400" spc="-295">
                          <a:effectLst/>
                        </a:rPr>
                        <a:t> </a:t>
                      </a:r>
                      <a:r>
                        <a:rPr lang="en-US" sz="2400">
                          <a:effectLst/>
                        </a:rPr>
                        <a:t>on desired recipe, volumetric constraints,</a:t>
                      </a:r>
                      <a:r>
                        <a:rPr lang="en-US" sz="2400" spc="5">
                          <a:effectLst/>
                        </a:rPr>
                        <a:t> </a:t>
                      </a:r>
                      <a:r>
                        <a:rPr lang="en-US" sz="2400">
                          <a:effectLst/>
                        </a:rPr>
                        <a:t>economic</a:t>
                      </a:r>
                      <a:r>
                        <a:rPr lang="en-US" sz="2400" spc="-20">
                          <a:effectLst/>
                        </a:rPr>
                        <a:t> </a:t>
                      </a:r>
                      <a:r>
                        <a:rPr lang="en-US" sz="2400">
                          <a:effectLst/>
                        </a:rPr>
                        <a:t>aspects</a:t>
                      </a:r>
                      <a:endParaRPr lang="sv-SE" sz="2400">
                        <a:effectLst/>
                        <a:latin typeface="Arial MT"/>
                        <a:ea typeface="Arial MT"/>
                        <a:cs typeface="Arial MT"/>
                      </a:endParaRPr>
                    </a:p>
                  </a:txBody>
                  <a:tcPr marL="0" marR="0" marT="0" marB="0"/>
                </a:tc>
                <a:extLst>
                  <a:ext uri="{0D108BD9-81ED-4DB2-BD59-A6C34878D82A}">
                    <a16:rowId xmlns:a16="http://schemas.microsoft.com/office/drawing/2014/main" val="3754371386"/>
                  </a:ext>
                </a:extLst>
              </a:tr>
              <a:tr h="551180">
                <a:tc>
                  <a:txBody>
                    <a:bodyPr/>
                    <a:lstStyle/>
                    <a:p>
                      <a:pPr marL="72390" marR="62865" algn="ctr">
                        <a:spcBef>
                          <a:spcPts val="260"/>
                        </a:spcBef>
                        <a:spcAft>
                          <a:spcPts val="0"/>
                        </a:spcAft>
                      </a:pPr>
                      <a:r>
                        <a:rPr lang="en-US" sz="2400">
                          <a:effectLst/>
                        </a:rPr>
                        <a:t>Energy/fuel</a:t>
                      </a:r>
                      <a:r>
                        <a:rPr lang="en-US" sz="2400" spc="-15">
                          <a:effectLst/>
                        </a:rPr>
                        <a:t> </a:t>
                      </a:r>
                      <a:r>
                        <a:rPr lang="en-US" sz="2400">
                          <a:effectLst/>
                        </a:rPr>
                        <a:t>model</a:t>
                      </a:r>
                      <a:endParaRPr lang="sv-SE" sz="2400">
                        <a:effectLst/>
                        <a:latin typeface="Arial MT"/>
                        <a:ea typeface="Arial MT"/>
                        <a:cs typeface="Arial MT"/>
                      </a:endParaRPr>
                    </a:p>
                  </a:txBody>
                  <a:tcPr marL="0" marR="0" marT="0" marB="0"/>
                </a:tc>
                <a:tc>
                  <a:txBody>
                    <a:bodyPr/>
                    <a:lstStyle/>
                    <a:p>
                      <a:pPr marL="72390" marR="74930" algn="ctr">
                        <a:spcBef>
                          <a:spcPts val="260"/>
                        </a:spcBef>
                        <a:spcAft>
                          <a:spcPts val="0"/>
                        </a:spcAft>
                      </a:pPr>
                      <a:r>
                        <a:rPr lang="en-US" sz="2400">
                          <a:effectLst/>
                        </a:rPr>
                        <a:t>Select the best mix of energy sources to be</a:t>
                      </a:r>
                      <a:r>
                        <a:rPr lang="en-US" sz="2400" spc="-295">
                          <a:effectLst/>
                        </a:rPr>
                        <a:t> </a:t>
                      </a:r>
                      <a:r>
                        <a:rPr lang="en-US" sz="2400">
                          <a:effectLst/>
                        </a:rPr>
                        <a:t>fed to the EAF, considering also economic</a:t>
                      </a:r>
                      <a:r>
                        <a:rPr lang="en-US" sz="2400" spc="5">
                          <a:effectLst/>
                        </a:rPr>
                        <a:t> </a:t>
                      </a:r>
                      <a:r>
                        <a:rPr lang="en-US" sz="2400">
                          <a:effectLst/>
                        </a:rPr>
                        <a:t>aspects</a:t>
                      </a:r>
                      <a:endParaRPr lang="sv-SE" sz="2400">
                        <a:effectLst/>
                        <a:latin typeface="Arial MT"/>
                        <a:ea typeface="Arial MT"/>
                        <a:cs typeface="Arial MT"/>
                      </a:endParaRPr>
                    </a:p>
                  </a:txBody>
                  <a:tcPr marL="0" marR="0" marT="0" marB="0"/>
                </a:tc>
                <a:extLst>
                  <a:ext uri="{0D108BD9-81ED-4DB2-BD59-A6C34878D82A}">
                    <a16:rowId xmlns:a16="http://schemas.microsoft.com/office/drawing/2014/main" val="1130442746"/>
                  </a:ext>
                </a:extLst>
              </a:tr>
              <a:tr h="231140">
                <a:tc>
                  <a:txBody>
                    <a:bodyPr/>
                    <a:lstStyle/>
                    <a:p>
                      <a:pPr marL="72390" marR="67945" algn="ctr">
                        <a:spcBef>
                          <a:spcPts val="285"/>
                        </a:spcBef>
                        <a:spcAft>
                          <a:spcPts val="0"/>
                        </a:spcAft>
                      </a:pPr>
                      <a:r>
                        <a:rPr lang="en-US" sz="2400">
                          <a:effectLst/>
                        </a:rPr>
                        <a:t>EAF</a:t>
                      </a:r>
                      <a:r>
                        <a:rPr lang="en-US" sz="2400" spc="-15">
                          <a:effectLst/>
                        </a:rPr>
                        <a:t> </a:t>
                      </a:r>
                      <a:r>
                        <a:rPr lang="en-US" sz="2400">
                          <a:effectLst/>
                        </a:rPr>
                        <a:t>emissions</a:t>
                      </a:r>
                      <a:r>
                        <a:rPr lang="en-US" sz="2400" spc="-10">
                          <a:effectLst/>
                        </a:rPr>
                        <a:t> </a:t>
                      </a:r>
                      <a:r>
                        <a:rPr lang="en-US" sz="2400">
                          <a:effectLst/>
                        </a:rPr>
                        <a:t>model</a:t>
                      </a:r>
                      <a:endParaRPr lang="sv-SE" sz="2400">
                        <a:effectLst/>
                        <a:latin typeface="Arial MT"/>
                        <a:ea typeface="Arial MT"/>
                        <a:cs typeface="Arial MT"/>
                      </a:endParaRPr>
                    </a:p>
                  </a:txBody>
                  <a:tcPr marL="0" marR="0" marT="0" marB="0"/>
                </a:tc>
                <a:tc>
                  <a:txBody>
                    <a:bodyPr/>
                    <a:lstStyle/>
                    <a:p>
                      <a:pPr marL="72390" marR="68580" algn="ctr">
                        <a:spcBef>
                          <a:spcPts val="285"/>
                        </a:spcBef>
                        <a:spcAft>
                          <a:spcPts val="0"/>
                        </a:spcAft>
                      </a:pPr>
                      <a:r>
                        <a:rPr lang="en-US" sz="2400">
                          <a:effectLst/>
                        </a:rPr>
                        <a:t>Predict</a:t>
                      </a:r>
                      <a:r>
                        <a:rPr lang="en-US" sz="2400" spc="-20">
                          <a:effectLst/>
                        </a:rPr>
                        <a:t> </a:t>
                      </a:r>
                      <a:r>
                        <a:rPr lang="en-US" sz="2400">
                          <a:effectLst/>
                        </a:rPr>
                        <a:t>composition</a:t>
                      </a:r>
                      <a:r>
                        <a:rPr lang="en-US" sz="2400" spc="-10">
                          <a:effectLst/>
                        </a:rPr>
                        <a:t> </a:t>
                      </a:r>
                      <a:r>
                        <a:rPr lang="en-US" sz="2400">
                          <a:effectLst/>
                        </a:rPr>
                        <a:t>of</a:t>
                      </a:r>
                      <a:r>
                        <a:rPr lang="en-US" sz="2400" spc="-15">
                          <a:effectLst/>
                        </a:rPr>
                        <a:t> </a:t>
                      </a:r>
                      <a:r>
                        <a:rPr lang="en-US" sz="2400">
                          <a:effectLst/>
                        </a:rPr>
                        <a:t>EAF</a:t>
                      </a:r>
                      <a:r>
                        <a:rPr lang="en-US" sz="2400" spc="-20">
                          <a:effectLst/>
                        </a:rPr>
                        <a:t> </a:t>
                      </a:r>
                      <a:r>
                        <a:rPr lang="en-US" sz="2400">
                          <a:effectLst/>
                        </a:rPr>
                        <a:t>exhaust</a:t>
                      </a:r>
                      <a:r>
                        <a:rPr lang="en-US" sz="2400" spc="-15">
                          <a:effectLst/>
                        </a:rPr>
                        <a:t> </a:t>
                      </a:r>
                      <a:r>
                        <a:rPr lang="en-US" sz="2400">
                          <a:effectLst/>
                        </a:rPr>
                        <a:t>gases</a:t>
                      </a:r>
                      <a:endParaRPr lang="sv-SE" sz="2400">
                        <a:effectLst/>
                        <a:latin typeface="Arial MT"/>
                        <a:ea typeface="Arial MT"/>
                        <a:cs typeface="Arial MT"/>
                      </a:endParaRPr>
                    </a:p>
                  </a:txBody>
                  <a:tcPr marL="0" marR="0" marT="0" marB="0"/>
                </a:tc>
                <a:extLst>
                  <a:ext uri="{0D108BD9-81ED-4DB2-BD59-A6C34878D82A}">
                    <a16:rowId xmlns:a16="http://schemas.microsoft.com/office/drawing/2014/main" val="1471895903"/>
                  </a:ext>
                </a:extLst>
              </a:tr>
            </a:tbl>
          </a:graphicData>
        </a:graphic>
      </p:graphicFrame>
      <p:sp>
        <p:nvSpPr>
          <p:cNvPr id="2" name="textruta 1">
            <a:extLst>
              <a:ext uri="{FF2B5EF4-FFF2-40B4-BE49-F238E27FC236}">
                <a16:creationId xmlns:a16="http://schemas.microsoft.com/office/drawing/2014/main" id="{5EB5DA71-D49F-301C-5805-E8D33348B95A}"/>
              </a:ext>
            </a:extLst>
          </p:cNvPr>
          <p:cNvSpPr txBox="1"/>
          <p:nvPr/>
        </p:nvSpPr>
        <p:spPr>
          <a:xfrm>
            <a:off x="5715000" y="4558955"/>
            <a:ext cx="342900" cy="646331"/>
          </a:xfrm>
          <a:prstGeom prst="rect">
            <a:avLst/>
          </a:prstGeom>
          <a:noFill/>
        </p:spPr>
        <p:txBody>
          <a:bodyPr wrap="square" rtlCol="0">
            <a:spAutoFit/>
          </a:bodyPr>
          <a:lstStyle/>
          <a:p>
            <a:r>
              <a:rPr lang="sv-SE"/>
              <a:t>1, </a:t>
            </a:r>
          </a:p>
        </p:txBody>
      </p:sp>
    </p:spTree>
    <p:extLst>
      <p:ext uri="{BB962C8B-B14F-4D97-AF65-F5344CB8AC3E}">
        <p14:creationId xmlns:p14="http://schemas.microsoft.com/office/powerpoint/2010/main" val="1082880764"/>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uppo 16">
            <a:extLst>
              <a:ext uri="{FF2B5EF4-FFF2-40B4-BE49-F238E27FC236}">
                <a16:creationId xmlns:a16="http://schemas.microsoft.com/office/drawing/2014/main" id="{7F05FA2D-BA17-4C4E-9DAE-36CC81DE9BAA}"/>
              </a:ext>
            </a:extLst>
          </p:cNvPr>
          <p:cNvGrpSpPr/>
          <p:nvPr/>
        </p:nvGrpSpPr>
        <p:grpSpPr>
          <a:xfrm>
            <a:off x="4329156" y="9695736"/>
            <a:ext cx="13958844" cy="666567"/>
            <a:chOff x="4329156" y="9649198"/>
            <a:chExt cx="13958844" cy="666567"/>
          </a:xfrm>
        </p:grpSpPr>
        <p:pic>
          <p:nvPicPr>
            <p:cNvPr id="5" name="Picture 12">
              <a:extLst>
                <a:ext uri="{FF2B5EF4-FFF2-40B4-BE49-F238E27FC236}">
                  <a16:creationId xmlns:a16="http://schemas.microsoft.com/office/drawing/2014/main" id="{00810EF5-3949-4698-A5DE-428CD380175F}"/>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6" name="TextBox 16">
              <a:extLst>
                <a:ext uri="{FF2B5EF4-FFF2-40B4-BE49-F238E27FC236}">
                  <a16:creationId xmlns:a16="http://schemas.microsoft.com/office/drawing/2014/main" id="{EDDD1531-1BDA-4725-B6A3-364F4B7CF76A}"/>
                </a:ext>
              </a:extLst>
            </p:cNvPr>
            <p:cNvSpPr txBox="1"/>
            <p:nvPr/>
          </p:nvSpPr>
          <p:spPr>
            <a:xfrm>
              <a:off x="14400029" y="9732291"/>
              <a:ext cx="3636320" cy="448713"/>
            </a:xfrm>
            <a:prstGeom prst="rect">
              <a:avLst/>
            </a:prstGeom>
          </p:spPr>
          <p:txBody>
            <a:bodyPr wrap="square" lIns="0" tIns="0" rIns="0" bIns="0" rtlCol="0" anchor="t">
              <a:spAutoFit/>
            </a:bodyPr>
            <a:lstStyle/>
            <a:p>
              <a:pPr marL="0" marR="0" lvl="0" indent="0" algn="ctr" defTabSz="914400" rtl="0" eaLnBrk="1" fontAlgn="auto" latinLnBrk="0" hangingPunct="1">
                <a:lnSpc>
                  <a:spcPts val="3919"/>
                </a:lnSpc>
                <a:spcBef>
                  <a:spcPct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OCR A Extended" panose="02010509020102010303" pitchFamily="50" charset="0"/>
                  <a:ea typeface="+mn-ea"/>
                  <a:cs typeface="+mn-cs"/>
                </a:rPr>
                <a:t>www.retrofeed.eu</a:t>
              </a:r>
            </a:p>
          </p:txBody>
        </p:sp>
      </p:grpSp>
      <p:pic>
        <p:nvPicPr>
          <p:cNvPr id="7" name="Picture 12">
            <a:extLst>
              <a:ext uri="{FF2B5EF4-FFF2-40B4-BE49-F238E27FC236}">
                <a16:creationId xmlns:a16="http://schemas.microsoft.com/office/drawing/2014/main" id="{52C35A30-8BA0-4714-8363-E6CE748BA2C3}"/>
              </a:ext>
            </a:extLst>
          </p:cNvPr>
          <p:cNvPicPr>
            <a:picLocks noChangeAspect="1"/>
          </p:cNvPicPr>
          <p:nvPr/>
        </p:nvPicPr>
        <p:blipFill>
          <a:blip r:embed="rId4"/>
          <a:srcRect/>
          <a:stretch>
            <a:fillRect/>
          </a:stretch>
        </p:blipFill>
        <p:spPr>
          <a:xfrm>
            <a:off x="0" y="8901113"/>
            <a:ext cx="5715000" cy="1385887"/>
          </a:xfrm>
          <a:prstGeom prst="rect">
            <a:avLst/>
          </a:prstGeom>
        </p:spPr>
      </p:pic>
      <p:grpSp>
        <p:nvGrpSpPr>
          <p:cNvPr id="8" name="Gruppo 2">
            <a:extLst>
              <a:ext uri="{FF2B5EF4-FFF2-40B4-BE49-F238E27FC236}">
                <a16:creationId xmlns:a16="http://schemas.microsoft.com/office/drawing/2014/main" id="{C9C93A65-4067-4ACC-B2C9-8C15277024E4}"/>
              </a:ext>
            </a:extLst>
          </p:cNvPr>
          <p:cNvGrpSpPr/>
          <p:nvPr/>
        </p:nvGrpSpPr>
        <p:grpSpPr>
          <a:xfrm>
            <a:off x="-12" y="138554"/>
            <a:ext cx="18288002" cy="681138"/>
            <a:chOff x="-12" y="138554"/>
            <a:chExt cx="18288002" cy="681138"/>
          </a:xfrm>
        </p:grpSpPr>
        <p:grpSp>
          <p:nvGrpSpPr>
            <p:cNvPr id="9" name="Gruppo 1">
              <a:extLst>
                <a:ext uri="{FF2B5EF4-FFF2-40B4-BE49-F238E27FC236}">
                  <a16:creationId xmlns:a16="http://schemas.microsoft.com/office/drawing/2014/main" id="{A943E672-738C-4FE3-BD35-ACD7A4E4D95E}"/>
                </a:ext>
              </a:extLst>
            </p:cNvPr>
            <p:cNvGrpSpPr/>
            <p:nvPr/>
          </p:nvGrpSpPr>
          <p:grpSpPr>
            <a:xfrm>
              <a:off x="0" y="153125"/>
              <a:ext cx="17907000" cy="666567"/>
              <a:chOff x="0" y="153125"/>
              <a:chExt cx="17907000" cy="666567"/>
            </a:xfrm>
          </p:grpSpPr>
          <p:grpSp>
            <p:nvGrpSpPr>
              <p:cNvPr id="11" name="Gruppo 15">
                <a:extLst>
                  <a:ext uri="{FF2B5EF4-FFF2-40B4-BE49-F238E27FC236}">
                    <a16:creationId xmlns:a16="http://schemas.microsoft.com/office/drawing/2014/main" id="{10037738-5D9A-4755-B52F-99B1FA543ED3}"/>
                  </a:ext>
                </a:extLst>
              </p:cNvPr>
              <p:cNvGrpSpPr/>
              <p:nvPr/>
            </p:nvGrpSpPr>
            <p:grpSpPr>
              <a:xfrm>
                <a:off x="0" y="153125"/>
                <a:ext cx="13958844" cy="666567"/>
                <a:chOff x="0" y="153125"/>
                <a:chExt cx="13958844" cy="666567"/>
              </a:xfrm>
            </p:grpSpPr>
            <p:pic>
              <p:nvPicPr>
                <p:cNvPr id="13" name="Picture 10">
                  <a:extLst>
                    <a:ext uri="{FF2B5EF4-FFF2-40B4-BE49-F238E27FC236}">
                      <a16:creationId xmlns:a16="http://schemas.microsoft.com/office/drawing/2014/main" id="{30234B5E-6FF9-499F-817A-9B69F1CC9911}"/>
                    </a:ext>
                  </a:extLst>
                </p:cNvPr>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4" name="TextBox 11">
                  <a:extLst>
                    <a:ext uri="{FF2B5EF4-FFF2-40B4-BE49-F238E27FC236}">
                      <a16:creationId xmlns:a16="http://schemas.microsoft.com/office/drawing/2014/main" id="{E5F3FE84-033A-4279-AF93-ABD80EC40550}"/>
                    </a:ext>
                  </a:extLst>
                </p:cNvPr>
                <p:cNvSpPr txBox="1"/>
                <p:nvPr/>
              </p:nvSpPr>
              <p:spPr>
                <a:xfrm>
                  <a:off x="228600" y="257980"/>
                  <a:ext cx="9296400" cy="456856"/>
                </a:xfrm>
                <a:prstGeom prst="rect">
                  <a:avLst/>
                </a:prstGeom>
              </p:spPr>
              <p:txBody>
                <a:bodyPr wrap="square" lIns="0" tIns="0" rIns="0" bIns="0" rtlCol="0" anchor="t">
                  <a:spAutoFit/>
                </a:bodyPr>
                <a:lstStyle/>
                <a:p>
                  <a:pPr marL="0" marR="0" lvl="0" indent="0" algn="l" defTabSz="914400" rtl="0" eaLnBrk="1" fontAlgn="auto" latinLnBrk="0" hangingPunct="1">
                    <a:lnSpc>
                      <a:spcPts val="3919"/>
                    </a:lnSpc>
                    <a:spcBef>
                      <a:spcPct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2" name="TextBox 11">
                <a:extLst>
                  <a:ext uri="{FF2B5EF4-FFF2-40B4-BE49-F238E27FC236}">
                    <a16:creationId xmlns:a16="http://schemas.microsoft.com/office/drawing/2014/main" id="{7B4365DB-7AB3-494A-91B9-B5781D39B67B}"/>
                  </a:ext>
                </a:extLst>
              </p:cNvPr>
              <p:cNvSpPr txBox="1"/>
              <p:nvPr/>
            </p:nvSpPr>
            <p:spPr>
              <a:xfrm>
                <a:off x="12154296" y="257980"/>
                <a:ext cx="5752704" cy="456856"/>
              </a:xfrm>
              <a:prstGeom prst="rect">
                <a:avLst/>
              </a:prstGeom>
            </p:spPr>
            <p:txBody>
              <a:bodyPr wrap="square" lIns="0" tIns="0" rIns="0" bIns="0" rtlCol="0" anchor="t">
                <a:spAutoFit/>
              </a:bodyPr>
              <a:lstStyle/>
              <a:p>
                <a:pPr marL="0" marR="0" lvl="0" indent="0" algn="r" defTabSz="914400" rtl="0" eaLnBrk="1" fontAlgn="auto" latinLnBrk="0" hangingPunct="1">
                  <a:lnSpc>
                    <a:spcPts val="3919"/>
                  </a:lnSpc>
                  <a:spcBef>
                    <a:spcPct val="0"/>
                  </a:spcBef>
                  <a:spcAft>
                    <a:spcPts val="0"/>
                  </a:spcAft>
                  <a:buClrTx/>
                  <a:buSzTx/>
                  <a:buFontTx/>
                  <a:buNone/>
                  <a:tabLst/>
                  <a:defRPr/>
                </a:pPr>
                <a:endParaRPr kumimoji="0" lang="en-US" sz="2800" b="0" i="0" u="none" strike="noStrike" kern="1200" cap="none" spc="0" normalizeH="0" baseline="0" noProof="0">
                  <a:ln>
                    <a:noFill/>
                  </a:ln>
                  <a:solidFill>
                    <a:srgbClr val="2F2F2F">
                      <a:lumMod val="75000"/>
                      <a:lumOff val="25000"/>
                    </a:srgbClr>
                  </a:solidFill>
                  <a:effectLst/>
                  <a:uLnTx/>
                  <a:uFillTx/>
                  <a:latin typeface="Arial" panose="020B0604020202020204" pitchFamily="34" charset="0"/>
                  <a:ea typeface="+mn-ea"/>
                  <a:cs typeface="Arial" panose="020B0604020202020204" pitchFamily="34" charset="0"/>
                </a:endParaRPr>
              </a:p>
            </p:txBody>
          </p:sp>
        </p:grpSp>
        <p:sp>
          <p:nvSpPr>
            <p:cNvPr id="10" name="Rettangolo 13">
              <a:extLst>
                <a:ext uri="{FF2B5EF4-FFF2-40B4-BE49-F238E27FC236}">
                  <a16:creationId xmlns:a16="http://schemas.microsoft.com/office/drawing/2014/main" id="{BC76EB51-B4AB-4BAB-AAF6-1883074EEF50}"/>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20" name="TextBox 19">
            <a:extLst>
              <a:ext uri="{FF2B5EF4-FFF2-40B4-BE49-F238E27FC236}">
                <a16:creationId xmlns:a16="http://schemas.microsoft.com/office/drawing/2014/main" id="{B4D68CAB-2F99-49CF-9331-08151EAABA39}"/>
              </a:ext>
            </a:extLst>
          </p:cNvPr>
          <p:cNvSpPr txBox="1"/>
          <p:nvPr/>
        </p:nvSpPr>
        <p:spPr>
          <a:xfrm>
            <a:off x="1201271" y="1306115"/>
            <a:ext cx="17421865" cy="76944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a:ln>
                  <a:noFill/>
                </a:ln>
                <a:solidFill>
                  <a:srgbClr val="CC0033"/>
                </a:solidFill>
                <a:effectLst/>
                <a:uLnTx/>
                <a:uFillTx/>
                <a:latin typeface="Arial"/>
                <a:ea typeface="+mn-ea"/>
                <a:cs typeface="Arial" panose="020B0604020202020204" pitchFamily="34" charset="0"/>
              </a:rPr>
              <a:t>CRITERIA FOR BOUNDARIES IDENTIFICATION </a:t>
            </a:r>
            <a:r>
              <a:rPr kumimoji="0" lang="sv-SE" sz="4400" b="1" i="0" u="none" strike="noStrike" kern="1200" cap="none" spc="0" normalizeH="0" baseline="0" noProof="0">
                <a:ln>
                  <a:noFill/>
                </a:ln>
                <a:solidFill>
                  <a:srgbClr val="CC0033"/>
                </a:solidFill>
                <a:effectLst/>
                <a:uLnTx/>
                <a:uFillTx/>
                <a:latin typeface="Arial"/>
                <a:ea typeface="+mn-ea"/>
                <a:cs typeface="Arial" panose="020B0604020202020204" pitchFamily="34" charset="0"/>
              </a:rPr>
              <a:t>AT</a:t>
            </a:r>
          </a:p>
        </p:txBody>
      </p:sp>
      <p:sp>
        <p:nvSpPr>
          <p:cNvPr id="18" name="TextBox 17">
            <a:extLst>
              <a:ext uri="{FF2B5EF4-FFF2-40B4-BE49-F238E27FC236}">
                <a16:creationId xmlns:a16="http://schemas.microsoft.com/office/drawing/2014/main" id="{2352F9B5-119B-83ED-7DBE-55825134AC88}"/>
              </a:ext>
            </a:extLst>
          </p:cNvPr>
          <p:cNvSpPr txBox="1"/>
          <p:nvPr/>
        </p:nvSpPr>
        <p:spPr>
          <a:xfrm>
            <a:off x="1782475" y="8605927"/>
            <a:ext cx="6797742"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3E3E3E"/>
                </a:solidFill>
                <a:effectLst/>
                <a:uLnTx/>
                <a:uFillTx/>
                <a:latin typeface="Arial MT"/>
                <a:ea typeface="+mn-ea"/>
                <a:cs typeface="+mn-cs"/>
              </a:rPr>
              <a:t>Diagram of the NPK fertilizers production line</a:t>
            </a:r>
          </a:p>
        </p:txBody>
      </p:sp>
      <p:pic>
        <p:nvPicPr>
          <p:cNvPr id="2" name="Picture 8" descr="RETROFEED FERTIBERIA">
            <a:extLst>
              <a:ext uri="{FF2B5EF4-FFF2-40B4-BE49-F238E27FC236}">
                <a16:creationId xmlns:a16="http://schemas.microsoft.com/office/drawing/2014/main" id="{F3F71C82-542B-A9B6-FD4A-A25F58CBA53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030648" y="1004417"/>
            <a:ext cx="2287452" cy="841782"/>
          </a:xfrm>
          <a:prstGeom prst="rect">
            <a:avLst/>
          </a:prstGeom>
          <a:noFill/>
          <a:extLst>
            <a:ext uri="{909E8E84-426E-40DD-AFC4-6F175D3DCCD1}">
              <a14:hiddenFill xmlns:a14="http://schemas.microsoft.com/office/drawing/2010/main">
                <a:solidFill>
                  <a:srgbClr val="FFFFFF"/>
                </a:solidFill>
              </a14:hiddenFill>
            </a:ext>
          </a:extLst>
        </p:spPr>
      </p:pic>
      <p:pic>
        <p:nvPicPr>
          <p:cNvPr id="16" name="image13.png">
            <a:extLst>
              <a:ext uri="{FF2B5EF4-FFF2-40B4-BE49-F238E27FC236}">
                <a16:creationId xmlns:a16="http://schemas.microsoft.com/office/drawing/2014/main" id="{1FE8E362-6625-C59B-58E0-5B6873301E6B}"/>
              </a:ext>
            </a:extLst>
          </p:cNvPr>
          <p:cNvPicPr>
            <a:picLocks noChangeAspect="1"/>
          </p:cNvPicPr>
          <p:nvPr/>
        </p:nvPicPr>
        <p:blipFill>
          <a:blip r:embed="rId7" cstate="print"/>
          <a:stretch>
            <a:fillRect/>
          </a:stretch>
        </p:blipFill>
        <p:spPr>
          <a:xfrm>
            <a:off x="674548" y="2075555"/>
            <a:ext cx="10569189" cy="6530371"/>
          </a:xfrm>
          <a:prstGeom prst="rect">
            <a:avLst/>
          </a:prstGeom>
        </p:spPr>
      </p:pic>
      <p:graphicFrame>
        <p:nvGraphicFramePr>
          <p:cNvPr id="19" name="Table 18">
            <a:extLst>
              <a:ext uri="{FF2B5EF4-FFF2-40B4-BE49-F238E27FC236}">
                <a16:creationId xmlns:a16="http://schemas.microsoft.com/office/drawing/2014/main" id="{E225FD60-0B93-96C5-D3C9-F0F784AC7D67}"/>
              </a:ext>
            </a:extLst>
          </p:cNvPr>
          <p:cNvGraphicFramePr>
            <a:graphicFrameLocks noGrp="1"/>
          </p:cNvGraphicFramePr>
          <p:nvPr/>
        </p:nvGraphicFramePr>
        <p:xfrm>
          <a:off x="11648820" y="3598890"/>
          <a:ext cx="5669280" cy="2560320"/>
        </p:xfrm>
        <a:graphic>
          <a:graphicData uri="http://schemas.openxmlformats.org/drawingml/2006/table">
            <a:tbl>
              <a:tblPr firstRow="1" firstCol="1" lastRow="1" lastCol="1" bandRow="1" bandCol="1">
                <a:tableStyleId>{72833802-FEF1-4C79-8D5D-14CF1EAF98D9}</a:tableStyleId>
              </a:tblPr>
              <a:tblGrid>
                <a:gridCol w="2834640">
                  <a:extLst>
                    <a:ext uri="{9D8B030D-6E8A-4147-A177-3AD203B41FA5}">
                      <a16:colId xmlns:a16="http://schemas.microsoft.com/office/drawing/2014/main" val="904181623"/>
                    </a:ext>
                  </a:extLst>
                </a:gridCol>
                <a:gridCol w="2834640">
                  <a:extLst>
                    <a:ext uri="{9D8B030D-6E8A-4147-A177-3AD203B41FA5}">
                      <a16:colId xmlns:a16="http://schemas.microsoft.com/office/drawing/2014/main" val="4254935588"/>
                    </a:ext>
                  </a:extLst>
                </a:gridCol>
              </a:tblGrid>
              <a:tr h="237490">
                <a:tc>
                  <a:txBody>
                    <a:bodyPr/>
                    <a:lstStyle/>
                    <a:p>
                      <a:pPr marL="72390" marR="64135" algn="ctr">
                        <a:spcBef>
                          <a:spcPts val="285"/>
                        </a:spcBef>
                        <a:spcAft>
                          <a:spcPts val="0"/>
                        </a:spcAft>
                      </a:pPr>
                      <a:r>
                        <a:rPr lang="en-US" sz="2400">
                          <a:effectLst/>
                        </a:rPr>
                        <a:t>PC</a:t>
                      </a:r>
                      <a:r>
                        <a:rPr lang="en-US" sz="2400" spc="-5">
                          <a:effectLst/>
                        </a:rPr>
                        <a:t> </a:t>
                      </a:r>
                      <a:r>
                        <a:rPr lang="en-US" sz="2400">
                          <a:effectLst/>
                        </a:rPr>
                        <a:t>model</a:t>
                      </a:r>
                      <a:endParaRPr lang="sv-SE" sz="2400">
                        <a:effectLst/>
                        <a:latin typeface="Arial MT"/>
                        <a:ea typeface="Arial MT"/>
                        <a:cs typeface="Arial MT"/>
                      </a:endParaRPr>
                    </a:p>
                  </a:txBody>
                  <a:tcPr marL="0" marR="0" marT="0" marB="0"/>
                </a:tc>
                <a:tc>
                  <a:txBody>
                    <a:bodyPr/>
                    <a:lstStyle/>
                    <a:p>
                      <a:pPr marL="72390" marR="71120" algn="ctr">
                        <a:spcBef>
                          <a:spcPts val="285"/>
                        </a:spcBef>
                        <a:spcAft>
                          <a:spcPts val="0"/>
                        </a:spcAft>
                      </a:pPr>
                      <a:r>
                        <a:rPr lang="en-US" sz="2400">
                          <a:effectLst/>
                        </a:rPr>
                        <a:t>Purpose</a:t>
                      </a:r>
                      <a:endParaRPr lang="sv-SE" sz="2400">
                        <a:effectLst/>
                        <a:latin typeface="Arial MT"/>
                        <a:ea typeface="Arial MT"/>
                        <a:cs typeface="Arial MT"/>
                      </a:endParaRPr>
                    </a:p>
                  </a:txBody>
                  <a:tcPr marL="0" marR="0" marT="0" marB="0"/>
                </a:tc>
                <a:extLst>
                  <a:ext uri="{0D108BD9-81ED-4DB2-BD59-A6C34878D82A}">
                    <a16:rowId xmlns:a16="http://schemas.microsoft.com/office/drawing/2014/main" val="594932851"/>
                  </a:ext>
                </a:extLst>
              </a:tr>
              <a:tr h="551180">
                <a:tc>
                  <a:txBody>
                    <a:bodyPr/>
                    <a:lstStyle/>
                    <a:p>
                      <a:pPr marL="72390" marR="64770" algn="ctr">
                        <a:spcBef>
                          <a:spcPts val="260"/>
                        </a:spcBef>
                        <a:spcAft>
                          <a:spcPts val="0"/>
                        </a:spcAft>
                      </a:pPr>
                      <a:r>
                        <a:rPr lang="en-US" sz="2400">
                          <a:effectLst/>
                        </a:rPr>
                        <a:t>Process</a:t>
                      </a:r>
                      <a:r>
                        <a:rPr lang="en-US" sz="2400" spc="-20">
                          <a:effectLst/>
                        </a:rPr>
                        <a:t> </a:t>
                      </a:r>
                      <a:r>
                        <a:rPr lang="en-US" sz="2400">
                          <a:effectLst/>
                        </a:rPr>
                        <a:t>deviations</a:t>
                      </a:r>
                      <a:r>
                        <a:rPr lang="en-US" sz="2400" spc="-20">
                          <a:effectLst/>
                        </a:rPr>
                        <a:t> </a:t>
                      </a:r>
                      <a:r>
                        <a:rPr lang="en-US" sz="2400">
                          <a:effectLst/>
                        </a:rPr>
                        <a:t>model</a:t>
                      </a:r>
                      <a:endParaRPr lang="sv-SE" sz="2400">
                        <a:effectLst/>
                        <a:latin typeface="Arial MT"/>
                        <a:ea typeface="Arial MT"/>
                        <a:cs typeface="Arial MT"/>
                      </a:endParaRPr>
                    </a:p>
                  </a:txBody>
                  <a:tcPr marL="0" marR="0" marT="0" marB="0"/>
                </a:tc>
                <a:tc>
                  <a:txBody>
                    <a:bodyPr/>
                    <a:lstStyle/>
                    <a:p>
                      <a:pPr marL="63500" marR="60960" indent="-635" algn="ctr">
                        <a:spcBef>
                          <a:spcPts val="260"/>
                        </a:spcBef>
                        <a:spcAft>
                          <a:spcPts val="0"/>
                        </a:spcAft>
                      </a:pPr>
                      <a:r>
                        <a:rPr lang="en-US" sz="2400">
                          <a:effectLst/>
                        </a:rPr>
                        <a:t>Predict process deviations from nominal</a:t>
                      </a:r>
                      <a:r>
                        <a:rPr lang="en-US" sz="2400" spc="5">
                          <a:effectLst/>
                        </a:rPr>
                        <a:t> </a:t>
                      </a:r>
                      <a:r>
                        <a:rPr lang="en-US" sz="2400">
                          <a:effectLst/>
                        </a:rPr>
                        <a:t>operating conditions, based on raw material</a:t>
                      </a:r>
                      <a:r>
                        <a:rPr lang="en-US" sz="2400" spc="-295">
                          <a:effectLst/>
                        </a:rPr>
                        <a:t> </a:t>
                      </a:r>
                      <a:r>
                        <a:rPr lang="en-US" sz="2400">
                          <a:effectLst/>
                        </a:rPr>
                        <a:t>mix</a:t>
                      </a:r>
                      <a:endParaRPr lang="sv-SE" sz="2400">
                        <a:effectLst/>
                        <a:latin typeface="Arial MT"/>
                        <a:ea typeface="Arial MT"/>
                        <a:cs typeface="Arial MT"/>
                      </a:endParaRPr>
                    </a:p>
                  </a:txBody>
                  <a:tcPr marL="0" marR="0" marT="0" marB="0"/>
                </a:tc>
                <a:extLst>
                  <a:ext uri="{0D108BD9-81ED-4DB2-BD59-A6C34878D82A}">
                    <a16:rowId xmlns:a16="http://schemas.microsoft.com/office/drawing/2014/main" val="1108087562"/>
                  </a:ext>
                </a:extLst>
              </a:tr>
            </a:tbl>
          </a:graphicData>
        </a:graphic>
      </p:graphicFrame>
      <p:sp>
        <p:nvSpPr>
          <p:cNvPr id="3" name="Rectangle 14">
            <a:extLst>
              <a:ext uri="{FF2B5EF4-FFF2-40B4-BE49-F238E27FC236}">
                <a16:creationId xmlns:a16="http://schemas.microsoft.com/office/drawing/2014/main" id="{4A4DE912-7B9C-7B65-0082-5F3EB8C0FE9C}"/>
              </a:ext>
            </a:extLst>
          </p:cNvPr>
          <p:cNvSpPr/>
          <p:nvPr/>
        </p:nvSpPr>
        <p:spPr>
          <a:xfrm>
            <a:off x="4329156" y="3560521"/>
            <a:ext cx="2141220" cy="1879330"/>
          </a:xfrm>
          <a:prstGeom prst="rect">
            <a:avLst/>
          </a:prstGeom>
          <a:noFill/>
          <a:ln w="57150">
            <a:solidFill>
              <a:schemeClr val="accent1"/>
            </a:solidFill>
          </a:ln>
        </p:spPr>
        <p:style>
          <a:lnRef idx="0">
            <a:scrgbClr r="0" g="0" b="0"/>
          </a:lnRef>
          <a:fillRef idx="0">
            <a:scrgbClr r="0" g="0" b="0"/>
          </a:fillRef>
          <a:effectRef idx="0">
            <a:scrgbClr r="0" g="0" b="0"/>
          </a:effectRef>
          <a:fontRef idx="minor">
            <a:schemeClr val="lt1"/>
          </a:fontRef>
        </p:style>
        <p:txBody>
          <a:bodyPr rtlCol="0" anchor="ctr"/>
          <a:lstStyle/>
          <a:p>
            <a:pPr algn="ctr"/>
            <a:r>
              <a:rPr lang="sv-SE"/>
              <a:t>UNIT 1</a:t>
            </a:r>
          </a:p>
        </p:txBody>
      </p:sp>
    </p:spTree>
    <p:extLst>
      <p:ext uri="{BB962C8B-B14F-4D97-AF65-F5344CB8AC3E}">
        <p14:creationId xmlns:p14="http://schemas.microsoft.com/office/powerpoint/2010/main" val="1324735694"/>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uppo 16">
            <a:extLst>
              <a:ext uri="{FF2B5EF4-FFF2-40B4-BE49-F238E27FC236}">
                <a16:creationId xmlns:a16="http://schemas.microsoft.com/office/drawing/2014/main" id="{7F05FA2D-BA17-4C4E-9DAE-36CC81DE9BAA}"/>
              </a:ext>
            </a:extLst>
          </p:cNvPr>
          <p:cNvGrpSpPr/>
          <p:nvPr/>
        </p:nvGrpSpPr>
        <p:grpSpPr>
          <a:xfrm>
            <a:off x="4329156" y="9695736"/>
            <a:ext cx="13958844" cy="666567"/>
            <a:chOff x="4329156" y="9649198"/>
            <a:chExt cx="13958844" cy="666567"/>
          </a:xfrm>
        </p:grpSpPr>
        <p:pic>
          <p:nvPicPr>
            <p:cNvPr id="5" name="Picture 12">
              <a:extLst>
                <a:ext uri="{FF2B5EF4-FFF2-40B4-BE49-F238E27FC236}">
                  <a16:creationId xmlns:a16="http://schemas.microsoft.com/office/drawing/2014/main" id="{00810EF5-3949-4698-A5DE-428CD380175F}"/>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6" name="TextBox 16">
              <a:extLst>
                <a:ext uri="{FF2B5EF4-FFF2-40B4-BE49-F238E27FC236}">
                  <a16:creationId xmlns:a16="http://schemas.microsoft.com/office/drawing/2014/main" id="{EDDD1531-1BDA-4725-B6A3-364F4B7CF76A}"/>
                </a:ext>
              </a:extLst>
            </p:cNvPr>
            <p:cNvSpPr txBox="1"/>
            <p:nvPr/>
          </p:nvSpPr>
          <p:spPr>
            <a:xfrm>
              <a:off x="14400029" y="9732291"/>
              <a:ext cx="3636320" cy="448713"/>
            </a:xfrm>
            <a:prstGeom prst="rect">
              <a:avLst/>
            </a:prstGeom>
          </p:spPr>
          <p:txBody>
            <a:bodyPr wrap="square" lIns="0" tIns="0" rIns="0" bIns="0" rtlCol="0" anchor="t">
              <a:spAutoFit/>
            </a:bodyPr>
            <a:lstStyle/>
            <a:p>
              <a:pPr marL="0" marR="0" lvl="0" indent="0" algn="ctr" defTabSz="914400" rtl="0" eaLnBrk="1" fontAlgn="auto" latinLnBrk="0" hangingPunct="1">
                <a:lnSpc>
                  <a:spcPts val="3919"/>
                </a:lnSpc>
                <a:spcBef>
                  <a:spcPct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OCR A Extended" panose="02010509020102010303" pitchFamily="50" charset="0"/>
                  <a:ea typeface="+mn-ea"/>
                  <a:cs typeface="+mn-cs"/>
                </a:rPr>
                <a:t>www.retrofeed.eu</a:t>
              </a:r>
            </a:p>
          </p:txBody>
        </p:sp>
      </p:grpSp>
      <p:pic>
        <p:nvPicPr>
          <p:cNvPr id="7" name="Picture 12">
            <a:extLst>
              <a:ext uri="{FF2B5EF4-FFF2-40B4-BE49-F238E27FC236}">
                <a16:creationId xmlns:a16="http://schemas.microsoft.com/office/drawing/2014/main" id="{52C35A30-8BA0-4714-8363-E6CE748BA2C3}"/>
              </a:ext>
            </a:extLst>
          </p:cNvPr>
          <p:cNvPicPr>
            <a:picLocks noChangeAspect="1"/>
          </p:cNvPicPr>
          <p:nvPr/>
        </p:nvPicPr>
        <p:blipFill>
          <a:blip r:embed="rId4"/>
          <a:srcRect/>
          <a:stretch>
            <a:fillRect/>
          </a:stretch>
        </p:blipFill>
        <p:spPr>
          <a:xfrm>
            <a:off x="0" y="8901113"/>
            <a:ext cx="5715000" cy="1385887"/>
          </a:xfrm>
          <a:prstGeom prst="rect">
            <a:avLst/>
          </a:prstGeom>
        </p:spPr>
      </p:pic>
      <p:grpSp>
        <p:nvGrpSpPr>
          <p:cNvPr id="8" name="Gruppo 2">
            <a:extLst>
              <a:ext uri="{FF2B5EF4-FFF2-40B4-BE49-F238E27FC236}">
                <a16:creationId xmlns:a16="http://schemas.microsoft.com/office/drawing/2014/main" id="{C9C93A65-4067-4ACC-B2C9-8C15277024E4}"/>
              </a:ext>
            </a:extLst>
          </p:cNvPr>
          <p:cNvGrpSpPr/>
          <p:nvPr/>
        </p:nvGrpSpPr>
        <p:grpSpPr>
          <a:xfrm>
            <a:off x="-12" y="138554"/>
            <a:ext cx="18288002" cy="681138"/>
            <a:chOff x="-12" y="138554"/>
            <a:chExt cx="18288002" cy="681138"/>
          </a:xfrm>
        </p:grpSpPr>
        <p:grpSp>
          <p:nvGrpSpPr>
            <p:cNvPr id="9" name="Gruppo 1">
              <a:extLst>
                <a:ext uri="{FF2B5EF4-FFF2-40B4-BE49-F238E27FC236}">
                  <a16:creationId xmlns:a16="http://schemas.microsoft.com/office/drawing/2014/main" id="{A943E672-738C-4FE3-BD35-ACD7A4E4D95E}"/>
                </a:ext>
              </a:extLst>
            </p:cNvPr>
            <p:cNvGrpSpPr/>
            <p:nvPr/>
          </p:nvGrpSpPr>
          <p:grpSpPr>
            <a:xfrm>
              <a:off x="0" y="153125"/>
              <a:ext cx="17907000" cy="666567"/>
              <a:chOff x="0" y="153125"/>
              <a:chExt cx="17907000" cy="666567"/>
            </a:xfrm>
          </p:grpSpPr>
          <p:grpSp>
            <p:nvGrpSpPr>
              <p:cNvPr id="11" name="Gruppo 15">
                <a:extLst>
                  <a:ext uri="{FF2B5EF4-FFF2-40B4-BE49-F238E27FC236}">
                    <a16:creationId xmlns:a16="http://schemas.microsoft.com/office/drawing/2014/main" id="{10037738-5D9A-4755-B52F-99B1FA543ED3}"/>
                  </a:ext>
                </a:extLst>
              </p:cNvPr>
              <p:cNvGrpSpPr/>
              <p:nvPr/>
            </p:nvGrpSpPr>
            <p:grpSpPr>
              <a:xfrm>
                <a:off x="0" y="153125"/>
                <a:ext cx="13958844" cy="666567"/>
                <a:chOff x="0" y="153125"/>
                <a:chExt cx="13958844" cy="666567"/>
              </a:xfrm>
            </p:grpSpPr>
            <p:pic>
              <p:nvPicPr>
                <p:cNvPr id="13" name="Picture 10">
                  <a:extLst>
                    <a:ext uri="{FF2B5EF4-FFF2-40B4-BE49-F238E27FC236}">
                      <a16:creationId xmlns:a16="http://schemas.microsoft.com/office/drawing/2014/main" id="{30234B5E-6FF9-499F-817A-9B69F1CC9911}"/>
                    </a:ext>
                  </a:extLst>
                </p:cNvPr>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4" name="TextBox 11">
                  <a:extLst>
                    <a:ext uri="{FF2B5EF4-FFF2-40B4-BE49-F238E27FC236}">
                      <a16:creationId xmlns:a16="http://schemas.microsoft.com/office/drawing/2014/main" id="{E5F3FE84-033A-4279-AF93-ABD80EC40550}"/>
                    </a:ext>
                  </a:extLst>
                </p:cNvPr>
                <p:cNvSpPr txBox="1"/>
                <p:nvPr/>
              </p:nvSpPr>
              <p:spPr>
                <a:xfrm>
                  <a:off x="228600" y="257980"/>
                  <a:ext cx="9296400" cy="456856"/>
                </a:xfrm>
                <a:prstGeom prst="rect">
                  <a:avLst/>
                </a:prstGeom>
              </p:spPr>
              <p:txBody>
                <a:bodyPr wrap="square" lIns="0" tIns="0" rIns="0" bIns="0" rtlCol="0" anchor="t">
                  <a:spAutoFit/>
                </a:bodyPr>
                <a:lstStyle/>
                <a:p>
                  <a:pPr marL="0" marR="0" lvl="0" indent="0" algn="l" defTabSz="914400" rtl="0" eaLnBrk="1" fontAlgn="auto" latinLnBrk="0" hangingPunct="1">
                    <a:lnSpc>
                      <a:spcPts val="3919"/>
                    </a:lnSpc>
                    <a:spcBef>
                      <a:spcPct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2" name="TextBox 11">
                <a:extLst>
                  <a:ext uri="{FF2B5EF4-FFF2-40B4-BE49-F238E27FC236}">
                    <a16:creationId xmlns:a16="http://schemas.microsoft.com/office/drawing/2014/main" id="{7B4365DB-7AB3-494A-91B9-B5781D39B67B}"/>
                  </a:ext>
                </a:extLst>
              </p:cNvPr>
              <p:cNvSpPr txBox="1"/>
              <p:nvPr/>
            </p:nvSpPr>
            <p:spPr>
              <a:xfrm>
                <a:off x="12154296" y="257980"/>
                <a:ext cx="5752704" cy="456856"/>
              </a:xfrm>
              <a:prstGeom prst="rect">
                <a:avLst/>
              </a:prstGeom>
            </p:spPr>
            <p:txBody>
              <a:bodyPr wrap="square" lIns="0" tIns="0" rIns="0" bIns="0" rtlCol="0" anchor="t">
                <a:spAutoFit/>
              </a:bodyPr>
              <a:lstStyle/>
              <a:p>
                <a:pPr marL="0" marR="0" lvl="0" indent="0" algn="r" defTabSz="914400" rtl="0" eaLnBrk="1" fontAlgn="auto" latinLnBrk="0" hangingPunct="1">
                  <a:lnSpc>
                    <a:spcPts val="3919"/>
                  </a:lnSpc>
                  <a:spcBef>
                    <a:spcPct val="0"/>
                  </a:spcBef>
                  <a:spcAft>
                    <a:spcPts val="0"/>
                  </a:spcAft>
                  <a:buClrTx/>
                  <a:buSzTx/>
                  <a:buFontTx/>
                  <a:buNone/>
                  <a:tabLst/>
                  <a:defRPr/>
                </a:pPr>
                <a:endParaRPr kumimoji="0" lang="en-US" sz="2800" b="0" i="0" u="none" strike="noStrike" kern="1200" cap="none" spc="0" normalizeH="0" baseline="0" noProof="0">
                  <a:ln>
                    <a:noFill/>
                  </a:ln>
                  <a:solidFill>
                    <a:srgbClr val="2F2F2F">
                      <a:lumMod val="75000"/>
                      <a:lumOff val="25000"/>
                    </a:srgbClr>
                  </a:solidFill>
                  <a:effectLst/>
                  <a:uLnTx/>
                  <a:uFillTx/>
                  <a:latin typeface="Arial" panose="020B0604020202020204" pitchFamily="34" charset="0"/>
                  <a:ea typeface="+mn-ea"/>
                  <a:cs typeface="Arial" panose="020B0604020202020204" pitchFamily="34" charset="0"/>
                </a:endParaRPr>
              </a:p>
            </p:txBody>
          </p:sp>
        </p:grpSp>
        <p:sp>
          <p:nvSpPr>
            <p:cNvPr id="10" name="Rettangolo 13">
              <a:extLst>
                <a:ext uri="{FF2B5EF4-FFF2-40B4-BE49-F238E27FC236}">
                  <a16:creationId xmlns:a16="http://schemas.microsoft.com/office/drawing/2014/main" id="{BC76EB51-B4AB-4BAB-AAF6-1883074EEF50}"/>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20" name="TextBox 19">
            <a:extLst>
              <a:ext uri="{FF2B5EF4-FFF2-40B4-BE49-F238E27FC236}">
                <a16:creationId xmlns:a16="http://schemas.microsoft.com/office/drawing/2014/main" id="{B4D68CAB-2F99-49CF-9331-08151EAABA39}"/>
              </a:ext>
            </a:extLst>
          </p:cNvPr>
          <p:cNvSpPr txBox="1"/>
          <p:nvPr/>
        </p:nvSpPr>
        <p:spPr>
          <a:xfrm>
            <a:off x="2195881" y="1004417"/>
            <a:ext cx="14343529" cy="76944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a:ln>
                  <a:noFill/>
                </a:ln>
                <a:solidFill>
                  <a:srgbClr val="CC0033"/>
                </a:solidFill>
                <a:effectLst/>
                <a:uLnTx/>
                <a:uFillTx/>
                <a:latin typeface="Arial"/>
                <a:ea typeface="+mn-ea"/>
                <a:cs typeface="Arial" panose="020B0604020202020204" pitchFamily="34" charset="0"/>
              </a:rPr>
              <a:t>Step 2: </a:t>
            </a:r>
            <a:r>
              <a:rPr lang="en-US" sz="4400" b="1">
                <a:solidFill>
                  <a:srgbClr val="CC0033"/>
                </a:solidFill>
                <a:latin typeface="Arial"/>
                <a:cs typeface="Arial" panose="020B0604020202020204" pitchFamily="34" charset="0"/>
              </a:rPr>
              <a:t>Data verification and model validation</a:t>
            </a:r>
            <a:endParaRPr lang="sv-SE" sz="4400" b="1">
              <a:solidFill>
                <a:srgbClr val="CC0033"/>
              </a:solidFill>
              <a:latin typeface="Arial"/>
              <a:cs typeface="Arial" panose="020B0604020202020204" pitchFamily="34" charset="0"/>
            </a:endParaRPr>
          </a:p>
        </p:txBody>
      </p:sp>
      <p:sp>
        <p:nvSpPr>
          <p:cNvPr id="15" name="TextBox 14">
            <a:extLst>
              <a:ext uri="{FF2B5EF4-FFF2-40B4-BE49-F238E27FC236}">
                <a16:creationId xmlns:a16="http://schemas.microsoft.com/office/drawing/2014/main" id="{6935F13A-66BE-1467-58FC-64EA10C48E22}"/>
              </a:ext>
            </a:extLst>
          </p:cNvPr>
          <p:cNvSpPr txBox="1"/>
          <p:nvPr/>
        </p:nvSpPr>
        <p:spPr>
          <a:xfrm>
            <a:off x="1234287" y="2142629"/>
            <a:ext cx="15819404" cy="6494085"/>
          </a:xfrm>
          <a:prstGeom prst="rect">
            <a:avLst/>
          </a:prstGeom>
          <a:noFill/>
        </p:spPr>
        <p:txBody>
          <a:bodyPr wrap="square">
            <a:spAutoFit/>
          </a:bodyPr>
          <a:lstStyle/>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3200" b="0" i="0" u="none" strike="noStrike" kern="1200" cap="none" spc="0" normalizeH="0" baseline="0" noProof="0">
                <a:ln>
                  <a:noFill/>
                </a:ln>
                <a:solidFill>
                  <a:srgbClr val="2F2F2F"/>
                </a:solidFill>
                <a:effectLst/>
                <a:uLnTx/>
                <a:uFillTx/>
                <a:latin typeface="Arial MT"/>
                <a:ea typeface="Arial MT"/>
                <a:cs typeface="Arial MT"/>
              </a:rPr>
              <a:t>Once the model is developed, its effectiveness in predicting the behavior of</a:t>
            </a:r>
            <a:r>
              <a:rPr kumimoji="0" lang="en-US" sz="3200" b="0" i="0" u="none" strike="noStrike" kern="1200" cap="none" spc="5" normalizeH="0" baseline="0" noProof="0">
                <a:ln>
                  <a:noFill/>
                </a:ln>
                <a:solidFill>
                  <a:srgbClr val="2F2F2F"/>
                </a:solidFill>
                <a:effectLst/>
                <a:uLnTx/>
                <a:uFillTx/>
                <a:latin typeface="Arial MT"/>
                <a:ea typeface="Arial MT"/>
                <a:cs typeface="Arial MT"/>
              </a:rPr>
              <a:t> </a:t>
            </a:r>
            <a:r>
              <a:rPr kumimoji="0" lang="en-US" sz="3200" b="0" i="0" u="none" strike="noStrike" kern="1200" cap="none" spc="0" normalizeH="0" baseline="0" noProof="0">
                <a:ln>
                  <a:noFill/>
                </a:ln>
                <a:solidFill>
                  <a:srgbClr val="2F2F2F"/>
                </a:solidFill>
                <a:effectLst/>
                <a:uLnTx/>
                <a:uFillTx/>
                <a:latin typeface="Arial MT"/>
                <a:ea typeface="Arial MT"/>
                <a:cs typeface="Arial MT"/>
              </a:rPr>
              <a:t>the real system needs to be verified, by comparing the results of the simulated system to the</a:t>
            </a:r>
            <a:r>
              <a:rPr kumimoji="0" lang="en-US" sz="3200" b="0" i="0" u="none" strike="noStrike" kern="1200" cap="none" spc="5" normalizeH="0" baseline="0" noProof="0">
                <a:ln>
                  <a:noFill/>
                </a:ln>
                <a:solidFill>
                  <a:srgbClr val="2F2F2F"/>
                </a:solidFill>
                <a:effectLst/>
                <a:uLnTx/>
                <a:uFillTx/>
                <a:latin typeface="Arial MT"/>
                <a:ea typeface="Arial MT"/>
                <a:cs typeface="Arial MT"/>
              </a:rPr>
              <a:t> </a:t>
            </a:r>
            <a:r>
              <a:rPr kumimoji="0" lang="en-US" sz="3200" b="0" i="0" u="none" strike="noStrike" kern="1200" cap="none" spc="0" normalizeH="0" baseline="0" noProof="0">
                <a:ln>
                  <a:noFill/>
                </a:ln>
                <a:solidFill>
                  <a:srgbClr val="2F2F2F"/>
                </a:solidFill>
                <a:effectLst/>
                <a:uLnTx/>
                <a:uFillTx/>
                <a:latin typeface="Arial MT"/>
                <a:ea typeface="Arial MT"/>
                <a:cs typeface="Arial MT"/>
              </a:rPr>
              <a:t>measurements collected from the real system. </a:t>
            </a:r>
          </a:p>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n-US" sz="3200" b="0" i="0" u="none" strike="noStrike" kern="1200" cap="none" spc="0" normalizeH="0" baseline="0" noProof="0">
              <a:ln>
                <a:noFill/>
              </a:ln>
              <a:solidFill>
                <a:srgbClr val="2F2F2F"/>
              </a:solidFill>
              <a:effectLst/>
              <a:uLnTx/>
              <a:uFillTx/>
              <a:latin typeface="Arial MT"/>
              <a:ea typeface="Arial MT"/>
              <a:cs typeface="Arial MT"/>
            </a:endParaRPr>
          </a:p>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3200" b="0" i="0" u="none" strike="noStrike" kern="1200" cap="none" spc="0" normalizeH="0" baseline="0" noProof="0">
                <a:ln>
                  <a:noFill/>
                </a:ln>
                <a:solidFill>
                  <a:srgbClr val="2F2F2F"/>
                </a:solidFill>
                <a:effectLst/>
                <a:uLnTx/>
                <a:uFillTx/>
                <a:latin typeface="Arial MT"/>
                <a:ea typeface="Arial MT"/>
                <a:cs typeface="Arial MT"/>
              </a:rPr>
              <a:t>A validation dataset needs to be</a:t>
            </a:r>
            <a:r>
              <a:rPr kumimoji="0" lang="en-US" sz="3200" b="0" i="0" u="none" strike="noStrike" kern="1200" cap="none" spc="5" normalizeH="0" baseline="0" noProof="0">
                <a:ln>
                  <a:noFill/>
                </a:ln>
                <a:solidFill>
                  <a:srgbClr val="2F2F2F"/>
                </a:solidFill>
                <a:effectLst/>
                <a:uLnTx/>
                <a:uFillTx/>
                <a:latin typeface="Arial MT"/>
                <a:ea typeface="Arial MT"/>
                <a:cs typeface="Arial MT"/>
              </a:rPr>
              <a:t> </a:t>
            </a:r>
            <a:r>
              <a:rPr kumimoji="0" lang="en-US" sz="3200" b="0" i="0" u="none" strike="noStrike" kern="1200" cap="none" spc="0" normalizeH="0" baseline="0" noProof="0">
                <a:ln>
                  <a:noFill/>
                </a:ln>
                <a:solidFill>
                  <a:srgbClr val="2F2F2F"/>
                </a:solidFill>
                <a:effectLst/>
                <a:uLnTx/>
                <a:uFillTx/>
                <a:latin typeface="Arial MT"/>
                <a:ea typeface="Arial MT"/>
                <a:cs typeface="Arial MT"/>
              </a:rPr>
              <a:t>available,</a:t>
            </a:r>
            <a:r>
              <a:rPr kumimoji="0" lang="en-US" sz="3200" b="0" i="0" u="none" strike="noStrike" kern="1200" cap="none" spc="-30" normalizeH="0" baseline="0" noProof="0">
                <a:ln>
                  <a:noFill/>
                </a:ln>
                <a:solidFill>
                  <a:srgbClr val="2F2F2F"/>
                </a:solidFill>
                <a:effectLst/>
                <a:uLnTx/>
                <a:uFillTx/>
                <a:latin typeface="Arial MT"/>
                <a:ea typeface="Arial MT"/>
                <a:cs typeface="Arial MT"/>
              </a:rPr>
              <a:t> </a:t>
            </a:r>
            <a:r>
              <a:rPr kumimoji="0" lang="en-US" sz="3200" b="0" i="0" u="none" strike="noStrike" kern="1200" cap="none" spc="0" normalizeH="0" baseline="0" noProof="0">
                <a:ln>
                  <a:noFill/>
                </a:ln>
                <a:solidFill>
                  <a:srgbClr val="2F2F2F"/>
                </a:solidFill>
                <a:effectLst/>
                <a:uLnTx/>
                <a:uFillTx/>
                <a:latin typeface="Arial MT"/>
                <a:ea typeface="Arial MT"/>
                <a:cs typeface="Arial MT"/>
              </a:rPr>
              <a:t>including</a:t>
            </a:r>
            <a:r>
              <a:rPr kumimoji="0" lang="en-US" sz="3200" b="0" i="0" u="none" strike="noStrike" kern="1200" cap="none" spc="-20" normalizeH="0" baseline="0" noProof="0">
                <a:ln>
                  <a:noFill/>
                </a:ln>
                <a:solidFill>
                  <a:srgbClr val="2F2F2F"/>
                </a:solidFill>
                <a:effectLst/>
                <a:uLnTx/>
                <a:uFillTx/>
                <a:latin typeface="Arial MT"/>
                <a:ea typeface="Arial MT"/>
                <a:cs typeface="Arial MT"/>
              </a:rPr>
              <a:t> </a:t>
            </a:r>
            <a:r>
              <a:rPr kumimoji="0" lang="en-US" sz="3200" b="0" i="0" u="none" strike="noStrike" kern="1200" cap="none" spc="0" normalizeH="0" baseline="0" noProof="0">
                <a:ln>
                  <a:noFill/>
                </a:ln>
                <a:solidFill>
                  <a:srgbClr val="2F2F2F"/>
                </a:solidFill>
                <a:effectLst/>
                <a:uLnTx/>
                <a:uFillTx/>
                <a:latin typeface="Arial MT"/>
                <a:ea typeface="Arial MT"/>
                <a:cs typeface="Arial MT"/>
              </a:rPr>
              <a:t>input</a:t>
            </a:r>
            <a:r>
              <a:rPr kumimoji="0" lang="en-US" sz="3200" b="0" i="0" u="none" strike="noStrike" kern="1200" cap="none" spc="-30" normalizeH="0" baseline="0" noProof="0">
                <a:ln>
                  <a:noFill/>
                </a:ln>
                <a:solidFill>
                  <a:srgbClr val="2F2F2F"/>
                </a:solidFill>
                <a:effectLst/>
                <a:uLnTx/>
                <a:uFillTx/>
                <a:latin typeface="Arial MT"/>
                <a:ea typeface="Arial MT"/>
                <a:cs typeface="Arial MT"/>
              </a:rPr>
              <a:t> </a:t>
            </a:r>
            <a:r>
              <a:rPr kumimoji="0" lang="en-US" sz="3200" b="0" i="0" u="none" strike="noStrike" kern="1200" cap="none" spc="0" normalizeH="0" baseline="0" noProof="0">
                <a:ln>
                  <a:noFill/>
                </a:ln>
                <a:solidFill>
                  <a:srgbClr val="2F2F2F"/>
                </a:solidFill>
                <a:effectLst/>
                <a:uLnTx/>
                <a:uFillTx/>
                <a:latin typeface="Arial MT"/>
                <a:ea typeface="Arial MT"/>
                <a:cs typeface="Arial MT"/>
              </a:rPr>
              <a:t>and</a:t>
            </a:r>
            <a:r>
              <a:rPr kumimoji="0" lang="en-US" sz="3200" b="0" i="0" u="none" strike="noStrike" kern="1200" cap="none" spc="-45" normalizeH="0" baseline="0" noProof="0">
                <a:ln>
                  <a:noFill/>
                </a:ln>
                <a:solidFill>
                  <a:srgbClr val="2F2F2F"/>
                </a:solidFill>
                <a:effectLst/>
                <a:uLnTx/>
                <a:uFillTx/>
                <a:latin typeface="Arial MT"/>
                <a:ea typeface="Arial MT"/>
                <a:cs typeface="Arial MT"/>
              </a:rPr>
              <a:t> </a:t>
            </a:r>
            <a:r>
              <a:rPr kumimoji="0" lang="en-US" sz="3200" b="0" i="0" u="none" strike="noStrike" kern="1200" cap="none" spc="0" normalizeH="0" baseline="0" noProof="0">
                <a:ln>
                  <a:noFill/>
                </a:ln>
                <a:solidFill>
                  <a:srgbClr val="2F2F2F"/>
                </a:solidFill>
                <a:effectLst/>
                <a:uLnTx/>
                <a:uFillTx/>
                <a:latin typeface="Arial MT"/>
                <a:ea typeface="Arial MT"/>
                <a:cs typeface="Arial MT"/>
              </a:rPr>
              <a:t>output</a:t>
            </a:r>
            <a:r>
              <a:rPr kumimoji="0" lang="en-US" sz="3200" b="0" i="0" u="none" strike="noStrike" kern="1200" cap="none" spc="-30" normalizeH="0" baseline="0" noProof="0">
                <a:ln>
                  <a:noFill/>
                </a:ln>
                <a:solidFill>
                  <a:srgbClr val="2F2F2F"/>
                </a:solidFill>
                <a:effectLst/>
                <a:uLnTx/>
                <a:uFillTx/>
                <a:latin typeface="Arial MT"/>
                <a:ea typeface="Arial MT"/>
                <a:cs typeface="Arial MT"/>
              </a:rPr>
              <a:t> </a:t>
            </a:r>
            <a:r>
              <a:rPr kumimoji="0" lang="en-US" sz="3200" b="0" i="0" u="none" strike="noStrike" kern="1200" cap="none" spc="0" normalizeH="0" baseline="0" noProof="0">
                <a:ln>
                  <a:noFill/>
                </a:ln>
                <a:solidFill>
                  <a:srgbClr val="2F2F2F"/>
                </a:solidFill>
                <a:effectLst/>
                <a:uLnTx/>
                <a:uFillTx/>
                <a:latin typeface="Arial MT"/>
                <a:ea typeface="Arial MT"/>
                <a:cs typeface="Arial MT"/>
              </a:rPr>
              <a:t>data</a:t>
            </a:r>
            <a:r>
              <a:rPr kumimoji="0" lang="en-US" sz="3200" b="0" i="0" u="none" strike="noStrike" kern="1200" cap="none" spc="-20" normalizeH="0" baseline="0" noProof="0">
                <a:ln>
                  <a:noFill/>
                </a:ln>
                <a:solidFill>
                  <a:srgbClr val="2F2F2F"/>
                </a:solidFill>
                <a:effectLst/>
                <a:uLnTx/>
                <a:uFillTx/>
                <a:latin typeface="Arial MT"/>
                <a:ea typeface="Arial MT"/>
                <a:cs typeface="Arial MT"/>
              </a:rPr>
              <a:t> </a:t>
            </a:r>
            <a:r>
              <a:rPr kumimoji="0" lang="en-US" sz="3200" b="0" i="0" u="none" strike="noStrike" kern="1200" cap="none" spc="0" normalizeH="0" baseline="0" noProof="0">
                <a:ln>
                  <a:noFill/>
                </a:ln>
                <a:solidFill>
                  <a:srgbClr val="2F2F2F"/>
                </a:solidFill>
                <a:effectLst/>
                <a:uLnTx/>
                <a:uFillTx/>
                <a:latin typeface="Arial MT"/>
                <a:ea typeface="Arial MT"/>
                <a:cs typeface="Arial MT"/>
              </a:rPr>
              <a:t>measured from</a:t>
            </a:r>
            <a:r>
              <a:rPr kumimoji="0" lang="en-US" sz="3200" b="0" i="0" u="none" strike="noStrike" kern="1200" cap="none" spc="-15" normalizeH="0" baseline="0" noProof="0">
                <a:ln>
                  <a:noFill/>
                </a:ln>
                <a:solidFill>
                  <a:srgbClr val="2F2F2F"/>
                </a:solidFill>
                <a:effectLst/>
                <a:uLnTx/>
                <a:uFillTx/>
                <a:latin typeface="Arial MT"/>
                <a:ea typeface="Arial MT"/>
                <a:cs typeface="Arial MT"/>
              </a:rPr>
              <a:t> </a:t>
            </a:r>
            <a:r>
              <a:rPr kumimoji="0" lang="en-US" sz="3200" b="0" i="0" u="none" strike="noStrike" kern="1200" cap="none" spc="0" normalizeH="0" baseline="0" noProof="0">
                <a:ln>
                  <a:noFill/>
                </a:ln>
                <a:solidFill>
                  <a:srgbClr val="2F2F2F"/>
                </a:solidFill>
                <a:effectLst/>
                <a:uLnTx/>
                <a:uFillTx/>
                <a:latin typeface="Arial MT"/>
                <a:ea typeface="Arial MT"/>
                <a:cs typeface="Arial MT"/>
              </a:rPr>
              <a:t>the</a:t>
            </a:r>
            <a:r>
              <a:rPr kumimoji="0" lang="en-US" sz="3200" b="0" i="0" u="none" strike="noStrike" kern="1200" cap="none" spc="-25" normalizeH="0" baseline="0" noProof="0">
                <a:ln>
                  <a:noFill/>
                </a:ln>
                <a:solidFill>
                  <a:srgbClr val="2F2F2F"/>
                </a:solidFill>
                <a:effectLst/>
                <a:uLnTx/>
                <a:uFillTx/>
                <a:latin typeface="Arial MT"/>
                <a:ea typeface="Arial MT"/>
                <a:cs typeface="Arial MT"/>
              </a:rPr>
              <a:t> </a:t>
            </a:r>
            <a:r>
              <a:rPr kumimoji="0" lang="en-US" sz="3200" b="0" i="0" u="none" strike="noStrike" kern="1200" cap="none" spc="0" normalizeH="0" baseline="0" noProof="0">
                <a:ln>
                  <a:noFill/>
                </a:ln>
                <a:solidFill>
                  <a:srgbClr val="2F2F2F"/>
                </a:solidFill>
                <a:effectLst/>
                <a:uLnTx/>
                <a:uFillTx/>
                <a:latin typeface="Arial MT"/>
                <a:ea typeface="Arial MT"/>
                <a:cs typeface="Arial MT"/>
              </a:rPr>
              <a:t>real</a:t>
            </a:r>
            <a:r>
              <a:rPr kumimoji="0" lang="en-US" sz="3200" b="0" i="0" u="none" strike="noStrike" kern="1200" cap="none" spc="-10" normalizeH="0" baseline="0" noProof="0">
                <a:ln>
                  <a:noFill/>
                </a:ln>
                <a:solidFill>
                  <a:srgbClr val="2F2F2F"/>
                </a:solidFill>
                <a:effectLst/>
                <a:uLnTx/>
                <a:uFillTx/>
                <a:latin typeface="Arial MT"/>
                <a:ea typeface="Arial MT"/>
                <a:cs typeface="Arial MT"/>
              </a:rPr>
              <a:t> </a:t>
            </a:r>
            <a:r>
              <a:rPr kumimoji="0" lang="en-US" sz="3200" b="0" i="0" u="none" strike="noStrike" kern="1200" cap="none" spc="0" normalizeH="0" baseline="0" noProof="0">
                <a:ln>
                  <a:noFill/>
                </a:ln>
                <a:solidFill>
                  <a:srgbClr val="2F2F2F"/>
                </a:solidFill>
                <a:effectLst/>
                <a:uLnTx/>
                <a:uFillTx/>
                <a:latin typeface="Arial MT"/>
                <a:ea typeface="Arial MT"/>
                <a:cs typeface="Arial MT"/>
              </a:rPr>
              <a:t>system</a:t>
            </a:r>
            <a:r>
              <a:rPr kumimoji="0" lang="en-US" sz="3200" b="0" i="0" u="none" strike="noStrike" kern="1200" cap="none" spc="-20" normalizeH="0" baseline="0" noProof="0">
                <a:ln>
                  <a:noFill/>
                </a:ln>
                <a:solidFill>
                  <a:srgbClr val="2F2F2F"/>
                </a:solidFill>
                <a:effectLst/>
                <a:uLnTx/>
                <a:uFillTx/>
                <a:latin typeface="Arial MT"/>
                <a:ea typeface="Arial MT"/>
                <a:cs typeface="Arial MT"/>
              </a:rPr>
              <a:t> </a:t>
            </a:r>
            <a:r>
              <a:rPr kumimoji="0" lang="en-US" sz="3200" b="0" i="0" u="none" strike="noStrike" kern="1200" cap="none" spc="0" normalizeH="0" baseline="0" noProof="0">
                <a:ln>
                  <a:noFill/>
                </a:ln>
                <a:solidFill>
                  <a:srgbClr val="2F2F2F"/>
                </a:solidFill>
                <a:effectLst/>
                <a:uLnTx/>
                <a:uFillTx/>
                <a:latin typeface="Arial MT"/>
                <a:ea typeface="Arial MT"/>
                <a:cs typeface="Arial MT"/>
              </a:rPr>
              <a:t>that</a:t>
            </a:r>
            <a:r>
              <a:rPr kumimoji="0" lang="en-US" sz="3200" b="0" i="0" u="none" strike="noStrike" kern="1200" cap="none" spc="-25" normalizeH="0" baseline="0" noProof="0">
                <a:ln>
                  <a:noFill/>
                </a:ln>
                <a:solidFill>
                  <a:srgbClr val="2F2F2F"/>
                </a:solidFill>
                <a:effectLst/>
                <a:uLnTx/>
                <a:uFillTx/>
                <a:latin typeface="Arial MT"/>
                <a:ea typeface="Arial MT"/>
                <a:cs typeface="Arial MT"/>
              </a:rPr>
              <a:t> </a:t>
            </a:r>
            <a:r>
              <a:rPr kumimoji="0" lang="en-US" sz="3200" b="0" i="0" u="none" strike="noStrike" kern="1200" cap="none" spc="0" normalizeH="0" baseline="0" noProof="0">
                <a:ln>
                  <a:noFill/>
                </a:ln>
                <a:solidFill>
                  <a:srgbClr val="2F2F2F"/>
                </a:solidFill>
                <a:effectLst/>
                <a:uLnTx/>
                <a:uFillTx/>
                <a:latin typeface="Arial MT"/>
                <a:ea typeface="Arial MT"/>
                <a:cs typeface="Arial MT"/>
              </a:rPr>
              <a:t>were</a:t>
            </a:r>
            <a:r>
              <a:rPr kumimoji="0" lang="en-US" sz="3200" b="0" i="0" u="none" strike="noStrike" kern="1200" cap="none" spc="-25" normalizeH="0" baseline="0" noProof="0">
                <a:ln>
                  <a:noFill/>
                </a:ln>
                <a:solidFill>
                  <a:srgbClr val="2F2F2F"/>
                </a:solidFill>
                <a:effectLst/>
                <a:uLnTx/>
                <a:uFillTx/>
                <a:latin typeface="Arial MT"/>
                <a:ea typeface="Arial MT"/>
                <a:cs typeface="Arial MT"/>
              </a:rPr>
              <a:t> </a:t>
            </a:r>
            <a:r>
              <a:rPr kumimoji="0" lang="en-US" sz="3200" b="0" i="0" u="none" strike="noStrike" kern="1200" cap="none" spc="0" normalizeH="0" baseline="0" noProof="0">
                <a:ln>
                  <a:noFill/>
                </a:ln>
                <a:solidFill>
                  <a:srgbClr val="2F2F2F"/>
                </a:solidFill>
                <a:effectLst/>
                <a:uLnTx/>
                <a:uFillTx/>
                <a:latin typeface="Arial MT"/>
                <a:ea typeface="Arial MT"/>
                <a:cs typeface="Arial MT"/>
              </a:rPr>
              <a:t>not</a:t>
            </a:r>
            <a:r>
              <a:rPr kumimoji="0" lang="en-US" sz="3200" b="0" i="0" u="none" strike="noStrike" kern="1200" cap="none" spc="-25" normalizeH="0" baseline="0" noProof="0">
                <a:ln>
                  <a:noFill/>
                </a:ln>
                <a:solidFill>
                  <a:srgbClr val="2F2F2F"/>
                </a:solidFill>
                <a:effectLst/>
                <a:uLnTx/>
                <a:uFillTx/>
                <a:latin typeface="Arial MT"/>
                <a:ea typeface="Arial MT"/>
                <a:cs typeface="Arial MT"/>
              </a:rPr>
              <a:t> </a:t>
            </a:r>
            <a:r>
              <a:rPr kumimoji="0" lang="en-US" sz="3200" b="0" i="0" u="none" strike="noStrike" kern="1200" cap="none" spc="0" normalizeH="0" baseline="0" noProof="0">
                <a:ln>
                  <a:noFill/>
                </a:ln>
                <a:solidFill>
                  <a:srgbClr val="2F2F2F"/>
                </a:solidFill>
                <a:effectLst/>
                <a:uLnTx/>
                <a:uFillTx/>
                <a:latin typeface="Arial MT"/>
                <a:ea typeface="Arial MT"/>
                <a:cs typeface="Arial MT"/>
              </a:rPr>
              <a:t>employed</a:t>
            </a:r>
            <a:r>
              <a:rPr kumimoji="0" lang="en-US" sz="3200" b="0" i="0" u="none" strike="noStrike" kern="1200" cap="none" spc="-25" normalizeH="0" baseline="0" noProof="0">
                <a:ln>
                  <a:noFill/>
                </a:ln>
                <a:solidFill>
                  <a:srgbClr val="2F2F2F"/>
                </a:solidFill>
                <a:effectLst/>
                <a:uLnTx/>
                <a:uFillTx/>
                <a:latin typeface="Arial MT"/>
                <a:ea typeface="Arial MT"/>
                <a:cs typeface="Arial MT"/>
              </a:rPr>
              <a:t> </a:t>
            </a:r>
            <a:r>
              <a:rPr kumimoji="0" lang="en-US" sz="3200" b="0" i="0" u="none" strike="noStrike" kern="1200" cap="none" spc="0" normalizeH="0" baseline="0" noProof="0">
                <a:ln>
                  <a:noFill/>
                </a:ln>
                <a:solidFill>
                  <a:srgbClr val="2F2F2F"/>
                </a:solidFill>
                <a:effectLst/>
                <a:uLnTx/>
                <a:uFillTx/>
                <a:latin typeface="Arial MT"/>
                <a:ea typeface="Arial MT"/>
                <a:cs typeface="Arial MT"/>
              </a:rPr>
              <a:t>in</a:t>
            </a:r>
            <a:r>
              <a:rPr kumimoji="0" lang="en-US" sz="3200" b="0" i="0" u="none" strike="noStrike" kern="1200" cap="none" spc="5" normalizeH="0" baseline="0" noProof="0">
                <a:ln>
                  <a:noFill/>
                </a:ln>
                <a:solidFill>
                  <a:srgbClr val="2F2F2F"/>
                </a:solidFill>
                <a:effectLst/>
                <a:uLnTx/>
                <a:uFillTx/>
                <a:latin typeface="Arial MT"/>
                <a:ea typeface="Arial MT"/>
                <a:cs typeface="Arial MT"/>
              </a:rPr>
              <a:t> </a:t>
            </a:r>
            <a:r>
              <a:rPr kumimoji="0" lang="en-US" sz="3200" b="0" i="0" u="none" strike="noStrike" kern="1200" cap="none" spc="0" normalizeH="0" baseline="0" noProof="0">
                <a:ln>
                  <a:noFill/>
                </a:ln>
                <a:solidFill>
                  <a:srgbClr val="2F2F2F"/>
                </a:solidFill>
                <a:effectLst/>
                <a:uLnTx/>
                <a:uFillTx/>
                <a:latin typeface="Arial MT"/>
                <a:ea typeface="Arial MT"/>
                <a:cs typeface="Arial MT"/>
              </a:rPr>
              <a:t>calibrating/training</a:t>
            </a:r>
            <a:r>
              <a:rPr kumimoji="0" lang="en-US" sz="3200" b="0" i="0" u="none" strike="noStrike" kern="1200" cap="none" spc="-30" normalizeH="0" baseline="0" noProof="0">
                <a:ln>
                  <a:noFill/>
                </a:ln>
                <a:solidFill>
                  <a:srgbClr val="2F2F2F"/>
                </a:solidFill>
                <a:effectLst/>
                <a:uLnTx/>
                <a:uFillTx/>
                <a:latin typeface="Arial MT"/>
                <a:ea typeface="Arial MT"/>
                <a:cs typeface="Arial MT"/>
              </a:rPr>
              <a:t> </a:t>
            </a:r>
            <a:r>
              <a:rPr kumimoji="0" lang="en-US" sz="3200" b="0" i="0" u="none" strike="noStrike" kern="1200" cap="none" spc="0" normalizeH="0" baseline="0" noProof="0">
                <a:ln>
                  <a:noFill/>
                </a:ln>
                <a:solidFill>
                  <a:srgbClr val="2F2F2F"/>
                </a:solidFill>
                <a:effectLst/>
                <a:uLnTx/>
                <a:uFillTx/>
                <a:latin typeface="Arial MT"/>
                <a:ea typeface="Arial MT"/>
                <a:cs typeface="Arial MT"/>
              </a:rPr>
              <a:t>the</a:t>
            </a:r>
            <a:r>
              <a:rPr kumimoji="0" lang="en-US" sz="3200" b="0" i="0" u="none" strike="noStrike" kern="1200" cap="none" spc="-50" normalizeH="0" baseline="0" noProof="0">
                <a:ln>
                  <a:noFill/>
                </a:ln>
                <a:solidFill>
                  <a:srgbClr val="2F2F2F"/>
                </a:solidFill>
                <a:effectLst/>
                <a:uLnTx/>
                <a:uFillTx/>
                <a:latin typeface="Arial MT"/>
                <a:ea typeface="Arial MT"/>
                <a:cs typeface="Arial MT"/>
              </a:rPr>
              <a:t> </a:t>
            </a:r>
            <a:r>
              <a:rPr kumimoji="0" lang="en-US" sz="3200" b="0" i="0" u="none" strike="noStrike" kern="1200" cap="none" spc="0" normalizeH="0" baseline="0" noProof="0">
                <a:ln>
                  <a:noFill/>
                </a:ln>
                <a:solidFill>
                  <a:srgbClr val="2F2F2F"/>
                </a:solidFill>
                <a:effectLst/>
                <a:uLnTx/>
                <a:uFillTx/>
                <a:latin typeface="Arial MT"/>
                <a:ea typeface="Arial MT"/>
                <a:cs typeface="Arial MT"/>
              </a:rPr>
              <a:t>model.</a:t>
            </a:r>
            <a:r>
              <a:rPr kumimoji="0" lang="en-US" sz="3200" b="0" i="0" u="none" strike="noStrike" kern="1200" cap="none" spc="-30" normalizeH="0" baseline="0" noProof="0">
                <a:ln>
                  <a:noFill/>
                </a:ln>
                <a:solidFill>
                  <a:srgbClr val="2F2F2F"/>
                </a:solidFill>
                <a:effectLst/>
                <a:uLnTx/>
                <a:uFillTx/>
                <a:latin typeface="Arial MT"/>
                <a:ea typeface="Arial MT"/>
                <a:cs typeface="Arial MT"/>
              </a:rPr>
              <a:t> </a:t>
            </a:r>
          </a:p>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n-US" sz="3200" b="0" i="0" u="none" strike="noStrike" kern="1200" cap="none" spc="-30" normalizeH="0" baseline="0" noProof="0">
              <a:ln>
                <a:noFill/>
              </a:ln>
              <a:solidFill>
                <a:srgbClr val="2F2F2F"/>
              </a:solidFill>
              <a:effectLst/>
              <a:uLnTx/>
              <a:uFillTx/>
              <a:latin typeface="Arial MT"/>
              <a:ea typeface="Arial MT"/>
              <a:cs typeface="Arial MT"/>
            </a:endParaRPr>
          </a:p>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3200" b="0" i="0" u="none" strike="noStrike" kern="1200" cap="none" spc="0" normalizeH="0" baseline="0" noProof="0">
                <a:ln>
                  <a:noFill/>
                </a:ln>
                <a:solidFill>
                  <a:srgbClr val="2F2F2F"/>
                </a:solidFill>
                <a:effectLst/>
                <a:uLnTx/>
                <a:uFillTx/>
                <a:latin typeface="Arial MT"/>
                <a:ea typeface="Arial MT"/>
                <a:cs typeface="Arial MT"/>
              </a:rPr>
              <a:t>The</a:t>
            </a:r>
            <a:r>
              <a:rPr kumimoji="0" lang="en-US" sz="3200" b="0" i="0" u="none" strike="noStrike" kern="1200" cap="none" spc="-30" normalizeH="0" baseline="0" noProof="0">
                <a:ln>
                  <a:noFill/>
                </a:ln>
                <a:solidFill>
                  <a:srgbClr val="2F2F2F"/>
                </a:solidFill>
                <a:effectLst/>
                <a:uLnTx/>
                <a:uFillTx/>
                <a:latin typeface="Arial MT"/>
                <a:ea typeface="Arial MT"/>
                <a:cs typeface="Arial MT"/>
              </a:rPr>
              <a:t> </a:t>
            </a:r>
            <a:r>
              <a:rPr kumimoji="0" lang="en-US" sz="3200" b="0" i="0" u="none" strike="noStrike" kern="1200" cap="none" spc="0" normalizeH="0" baseline="0" noProof="0">
                <a:ln>
                  <a:noFill/>
                </a:ln>
                <a:solidFill>
                  <a:srgbClr val="2F2F2F"/>
                </a:solidFill>
                <a:effectLst/>
                <a:uLnTx/>
                <a:uFillTx/>
                <a:latin typeface="Arial MT"/>
                <a:ea typeface="Arial MT"/>
                <a:cs typeface="Arial MT"/>
              </a:rPr>
              <a:t>validation</a:t>
            </a:r>
            <a:r>
              <a:rPr kumimoji="0" lang="en-US" sz="3200" b="0" i="0" u="none" strike="noStrike" kern="1200" cap="none" spc="-50" normalizeH="0" baseline="0" noProof="0">
                <a:ln>
                  <a:noFill/>
                </a:ln>
                <a:solidFill>
                  <a:srgbClr val="2F2F2F"/>
                </a:solidFill>
                <a:effectLst/>
                <a:uLnTx/>
                <a:uFillTx/>
                <a:latin typeface="Arial MT"/>
                <a:ea typeface="Arial MT"/>
                <a:cs typeface="Arial MT"/>
              </a:rPr>
              <a:t> </a:t>
            </a:r>
            <a:r>
              <a:rPr kumimoji="0" lang="en-US" sz="3200" b="0" i="0" u="none" strike="noStrike" kern="1200" cap="none" spc="0" normalizeH="0" baseline="0" noProof="0">
                <a:ln>
                  <a:noFill/>
                </a:ln>
                <a:solidFill>
                  <a:srgbClr val="2F2F2F"/>
                </a:solidFill>
                <a:effectLst/>
                <a:uLnTx/>
                <a:uFillTx/>
                <a:latin typeface="Arial MT"/>
                <a:ea typeface="Arial MT"/>
                <a:cs typeface="Arial MT"/>
              </a:rPr>
              <a:t>process</a:t>
            </a:r>
            <a:r>
              <a:rPr kumimoji="0" lang="en-US" sz="3200" b="0" i="0" u="none" strike="noStrike" kern="1200" cap="none" spc="-40" normalizeH="0" baseline="0" noProof="0">
                <a:ln>
                  <a:noFill/>
                </a:ln>
                <a:solidFill>
                  <a:srgbClr val="2F2F2F"/>
                </a:solidFill>
                <a:effectLst/>
                <a:uLnTx/>
                <a:uFillTx/>
                <a:latin typeface="Arial MT"/>
                <a:ea typeface="Arial MT"/>
                <a:cs typeface="Arial MT"/>
              </a:rPr>
              <a:t> </a:t>
            </a:r>
            <a:r>
              <a:rPr kumimoji="0" lang="en-US" sz="3200" b="0" i="0" u="none" strike="noStrike" kern="1200" cap="none" spc="0" normalizeH="0" baseline="0" noProof="0">
                <a:ln>
                  <a:noFill/>
                </a:ln>
                <a:solidFill>
                  <a:srgbClr val="2F2F2F"/>
                </a:solidFill>
                <a:effectLst/>
                <a:uLnTx/>
                <a:uFillTx/>
                <a:latin typeface="Arial MT"/>
                <a:ea typeface="Arial MT"/>
                <a:cs typeface="Arial MT"/>
              </a:rPr>
              <a:t>consists</a:t>
            </a:r>
            <a:r>
              <a:rPr kumimoji="0" lang="en-US" sz="3200" b="0" i="0" u="none" strike="noStrike" kern="1200" cap="none" spc="-35" normalizeH="0" baseline="0" noProof="0">
                <a:ln>
                  <a:noFill/>
                </a:ln>
                <a:solidFill>
                  <a:srgbClr val="2F2F2F"/>
                </a:solidFill>
                <a:effectLst/>
                <a:uLnTx/>
                <a:uFillTx/>
                <a:latin typeface="Arial MT"/>
                <a:ea typeface="Arial MT"/>
                <a:cs typeface="Arial MT"/>
              </a:rPr>
              <a:t> </a:t>
            </a:r>
            <a:r>
              <a:rPr kumimoji="0" lang="en-US" sz="3200" b="0" i="0" u="none" strike="noStrike" kern="1200" cap="none" spc="0" normalizeH="0" baseline="0" noProof="0">
                <a:ln>
                  <a:noFill/>
                </a:ln>
                <a:solidFill>
                  <a:srgbClr val="2F2F2F"/>
                </a:solidFill>
                <a:effectLst/>
                <a:uLnTx/>
                <a:uFillTx/>
                <a:latin typeface="Arial MT"/>
                <a:ea typeface="Arial MT"/>
                <a:cs typeface="Arial MT"/>
              </a:rPr>
              <a:t>in</a:t>
            </a:r>
            <a:r>
              <a:rPr kumimoji="0" lang="en-US" sz="3200" b="0" i="0" u="none" strike="noStrike" kern="1200" cap="none" spc="-30" normalizeH="0" baseline="0" noProof="0">
                <a:ln>
                  <a:noFill/>
                </a:ln>
                <a:solidFill>
                  <a:srgbClr val="2F2F2F"/>
                </a:solidFill>
                <a:effectLst/>
                <a:uLnTx/>
                <a:uFillTx/>
                <a:latin typeface="Arial MT"/>
                <a:ea typeface="Arial MT"/>
                <a:cs typeface="Arial MT"/>
              </a:rPr>
              <a:t> </a:t>
            </a:r>
            <a:r>
              <a:rPr kumimoji="0" lang="en-US" sz="3200" b="0" i="0" u="none" strike="noStrike" kern="1200" cap="none" spc="0" normalizeH="0" baseline="0" noProof="0">
                <a:ln>
                  <a:noFill/>
                </a:ln>
                <a:solidFill>
                  <a:srgbClr val="2F2F2F"/>
                </a:solidFill>
                <a:effectLst/>
                <a:uLnTx/>
                <a:uFillTx/>
                <a:latin typeface="Arial MT"/>
                <a:ea typeface="Arial MT"/>
                <a:cs typeface="Arial MT"/>
              </a:rPr>
              <a:t>feeding</a:t>
            </a:r>
            <a:r>
              <a:rPr kumimoji="0" lang="en-US" sz="3200" b="0" i="0" u="none" strike="noStrike" kern="1200" cap="none" spc="-25" normalizeH="0" baseline="0" noProof="0">
                <a:ln>
                  <a:noFill/>
                </a:ln>
                <a:solidFill>
                  <a:srgbClr val="2F2F2F"/>
                </a:solidFill>
                <a:effectLst/>
                <a:uLnTx/>
                <a:uFillTx/>
                <a:latin typeface="Arial MT"/>
                <a:ea typeface="Arial MT"/>
                <a:cs typeface="Arial MT"/>
              </a:rPr>
              <a:t> </a:t>
            </a:r>
            <a:r>
              <a:rPr kumimoji="0" lang="en-US" sz="3200" b="0" i="0" u="none" strike="noStrike" kern="1200" cap="none" spc="0" normalizeH="0" baseline="0" noProof="0">
                <a:ln>
                  <a:noFill/>
                </a:ln>
                <a:solidFill>
                  <a:srgbClr val="2F2F2F"/>
                </a:solidFill>
                <a:effectLst/>
                <a:uLnTx/>
                <a:uFillTx/>
                <a:latin typeface="Arial MT"/>
                <a:ea typeface="Arial MT"/>
                <a:cs typeface="Arial MT"/>
              </a:rPr>
              <a:t>the</a:t>
            </a:r>
            <a:r>
              <a:rPr kumimoji="0" lang="en-US" sz="3200" b="0" i="0" u="none" strike="noStrike" kern="1200" cap="none" spc="-55" normalizeH="0" baseline="0" noProof="0">
                <a:ln>
                  <a:noFill/>
                </a:ln>
                <a:solidFill>
                  <a:srgbClr val="2F2F2F"/>
                </a:solidFill>
                <a:effectLst/>
                <a:uLnTx/>
                <a:uFillTx/>
                <a:latin typeface="Arial MT"/>
                <a:ea typeface="Arial MT"/>
                <a:cs typeface="Arial MT"/>
              </a:rPr>
              <a:t> </a:t>
            </a:r>
            <a:r>
              <a:rPr kumimoji="0" lang="en-US" sz="3200" b="0" i="0" u="none" strike="noStrike" kern="1200" cap="none" spc="0" normalizeH="0" baseline="0" noProof="0">
                <a:ln>
                  <a:noFill/>
                </a:ln>
                <a:solidFill>
                  <a:srgbClr val="2F2F2F"/>
                </a:solidFill>
                <a:effectLst/>
                <a:uLnTx/>
                <a:uFillTx/>
                <a:latin typeface="Arial MT"/>
                <a:ea typeface="Arial MT"/>
                <a:cs typeface="Arial MT"/>
              </a:rPr>
              <a:t>measured</a:t>
            </a:r>
            <a:r>
              <a:rPr kumimoji="0" lang="en-US" sz="3200" b="0" i="0" u="none" strike="noStrike" kern="1200" cap="none" spc="-25" normalizeH="0" baseline="0" noProof="0">
                <a:ln>
                  <a:noFill/>
                </a:ln>
                <a:solidFill>
                  <a:srgbClr val="2F2F2F"/>
                </a:solidFill>
                <a:effectLst/>
                <a:uLnTx/>
                <a:uFillTx/>
                <a:latin typeface="Arial MT"/>
                <a:ea typeface="Arial MT"/>
                <a:cs typeface="Arial MT"/>
              </a:rPr>
              <a:t> </a:t>
            </a:r>
            <a:r>
              <a:rPr kumimoji="0" lang="en-US" sz="3200" b="0" i="0" u="none" strike="noStrike" kern="1200" cap="none" spc="0" normalizeH="0" baseline="0" noProof="0">
                <a:ln>
                  <a:noFill/>
                </a:ln>
                <a:solidFill>
                  <a:srgbClr val="2F2F2F"/>
                </a:solidFill>
                <a:effectLst/>
                <a:uLnTx/>
                <a:uFillTx/>
                <a:latin typeface="Arial MT"/>
                <a:ea typeface="Arial MT"/>
                <a:cs typeface="Arial MT"/>
              </a:rPr>
              <a:t>input</a:t>
            </a:r>
            <a:r>
              <a:rPr kumimoji="0" lang="en-US" sz="3200" b="0" i="0" u="none" strike="noStrike" kern="1200" cap="none" spc="-60" normalizeH="0" baseline="0" noProof="0">
                <a:ln>
                  <a:noFill/>
                </a:ln>
                <a:solidFill>
                  <a:srgbClr val="2F2F2F"/>
                </a:solidFill>
                <a:effectLst/>
                <a:uLnTx/>
                <a:uFillTx/>
                <a:latin typeface="Arial MT"/>
                <a:ea typeface="Arial MT"/>
                <a:cs typeface="Arial MT"/>
              </a:rPr>
              <a:t> </a:t>
            </a:r>
            <a:r>
              <a:rPr kumimoji="0" lang="en-US" sz="3200" b="0" i="0" u="none" strike="noStrike" kern="1200" cap="none" spc="0" normalizeH="0" baseline="0" noProof="0">
                <a:ln>
                  <a:noFill/>
                </a:ln>
                <a:solidFill>
                  <a:srgbClr val="2F2F2F"/>
                </a:solidFill>
                <a:effectLst/>
                <a:uLnTx/>
                <a:uFillTx/>
                <a:latin typeface="Arial MT"/>
                <a:ea typeface="Arial MT"/>
                <a:cs typeface="Arial MT"/>
              </a:rPr>
              <a:t>data</a:t>
            </a:r>
            <a:r>
              <a:rPr kumimoji="0" lang="en-US" sz="3200" b="0" i="0" u="none" strike="noStrike" kern="1200" cap="none" spc="-25" normalizeH="0" baseline="0" noProof="0">
                <a:ln>
                  <a:noFill/>
                </a:ln>
                <a:solidFill>
                  <a:srgbClr val="2F2F2F"/>
                </a:solidFill>
                <a:effectLst/>
                <a:uLnTx/>
                <a:uFillTx/>
                <a:latin typeface="Arial MT"/>
                <a:ea typeface="Arial MT"/>
                <a:cs typeface="Arial MT"/>
              </a:rPr>
              <a:t> </a:t>
            </a:r>
            <a:r>
              <a:rPr kumimoji="0" lang="en-US" sz="3200" b="0" i="0" u="none" strike="noStrike" kern="1200" cap="none" spc="0" normalizeH="0" baseline="0" noProof="0">
                <a:ln>
                  <a:noFill/>
                </a:ln>
                <a:solidFill>
                  <a:srgbClr val="2F2F2F"/>
                </a:solidFill>
                <a:effectLst/>
                <a:uLnTx/>
                <a:uFillTx/>
                <a:latin typeface="Arial MT"/>
                <a:ea typeface="Arial MT"/>
                <a:cs typeface="Arial MT"/>
              </a:rPr>
              <a:t>to</a:t>
            </a:r>
            <a:r>
              <a:rPr kumimoji="0" lang="en-US" sz="3200" b="0" i="0" u="none" strike="noStrike" kern="1200" cap="none" spc="5" normalizeH="0" baseline="0" noProof="0">
                <a:ln>
                  <a:noFill/>
                </a:ln>
                <a:solidFill>
                  <a:srgbClr val="2F2F2F"/>
                </a:solidFill>
                <a:effectLst/>
                <a:uLnTx/>
                <a:uFillTx/>
                <a:latin typeface="Arial MT"/>
                <a:ea typeface="Arial MT"/>
                <a:cs typeface="Arial MT"/>
              </a:rPr>
              <a:t> </a:t>
            </a:r>
            <a:r>
              <a:rPr kumimoji="0" lang="en-US" sz="3200" b="0" i="0" u="none" strike="noStrike" kern="1200" cap="none" spc="0" normalizeH="0" baseline="0" noProof="0">
                <a:ln>
                  <a:noFill/>
                </a:ln>
                <a:solidFill>
                  <a:srgbClr val="2F2F2F"/>
                </a:solidFill>
                <a:effectLst/>
                <a:uLnTx/>
                <a:uFillTx/>
                <a:latin typeface="Arial MT"/>
                <a:ea typeface="Arial MT"/>
                <a:cs typeface="Arial MT"/>
              </a:rPr>
              <a:t>the model and comparing the obtained outputs to the real output data measured from the real</a:t>
            </a:r>
            <a:r>
              <a:rPr kumimoji="0" lang="en-US" sz="3200" b="0" i="0" u="none" strike="noStrike" kern="1200" cap="none" spc="5" normalizeH="0" baseline="0" noProof="0">
                <a:ln>
                  <a:noFill/>
                </a:ln>
                <a:solidFill>
                  <a:srgbClr val="2F2F2F"/>
                </a:solidFill>
                <a:effectLst/>
                <a:uLnTx/>
                <a:uFillTx/>
                <a:latin typeface="Arial MT"/>
                <a:ea typeface="Arial MT"/>
                <a:cs typeface="Arial MT"/>
              </a:rPr>
              <a:t> </a:t>
            </a:r>
            <a:r>
              <a:rPr kumimoji="0" lang="en-US" sz="3200" b="0" i="0" u="none" strike="noStrike" kern="1200" cap="none" spc="0" normalizeH="0" baseline="0" noProof="0">
                <a:ln>
                  <a:noFill/>
                </a:ln>
                <a:solidFill>
                  <a:srgbClr val="2F2F2F"/>
                </a:solidFill>
                <a:effectLst/>
                <a:uLnTx/>
                <a:uFillTx/>
                <a:latin typeface="Arial MT"/>
                <a:ea typeface="Arial MT"/>
                <a:cs typeface="Arial MT"/>
              </a:rPr>
              <a:t>system. </a:t>
            </a:r>
          </a:p>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n-US" sz="3200" b="0" i="0" u="none" strike="noStrike" kern="1200" cap="none" spc="0" normalizeH="0" baseline="0" noProof="0">
              <a:ln>
                <a:noFill/>
              </a:ln>
              <a:solidFill>
                <a:srgbClr val="2F2F2F"/>
              </a:solidFill>
              <a:effectLst/>
              <a:uLnTx/>
              <a:uFillTx/>
              <a:latin typeface="Arial MT"/>
              <a:ea typeface="Arial MT"/>
              <a:cs typeface="Arial MT"/>
            </a:endParaRPr>
          </a:p>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3200" b="0" i="0" u="none" strike="noStrike" kern="1200" cap="none" spc="0" normalizeH="0" baseline="0" noProof="0">
                <a:ln>
                  <a:noFill/>
                </a:ln>
                <a:solidFill>
                  <a:srgbClr val="2F2F2F"/>
                </a:solidFill>
                <a:effectLst/>
                <a:uLnTx/>
                <a:uFillTx/>
                <a:latin typeface="Arial MT"/>
                <a:ea typeface="Arial MT"/>
                <a:cs typeface="Arial MT"/>
              </a:rPr>
              <a:t>The closer the simulated and the measured output signals, the better the model accuracy.</a:t>
            </a:r>
            <a:r>
              <a:rPr kumimoji="0" lang="en-US" sz="3200" b="0" i="0" u="none" strike="noStrike" kern="1200" cap="none" spc="5" normalizeH="0" baseline="0" noProof="0">
                <a:ln>
                  <a:noFill/>
                </a:ln>
                <a:solidFill>
                  <a:srgbClr val="2F2F2F"/>
                </a:solidFill>
                <a:effectLst/>
                <a:uLnTx/>
                <a:uFillTx/>
                <a:latin typeface="Arial MT"/>
                <a:ea typeface="Arial MT"/>
                <a:cs typeface="Arial MT"/>
              </a:rPr>
              <a:t> </a:t>
            </a:r>
            <a:endParaRPr kumimoji="0" lang="sv-SE" sz="3200" b="0" i="0" u="none" strike="noStrike" kern="1200" cap="none" spc="0" normalizeH="0" baseline="0" noProof="0">
              <a:ln>
                <a:noFill/>
              </a:ln>
              <a:solidFill>
                <a:srgbClr val="2F2F2F"/>
              </a:solidFill>
              <a:effectLst/>
              <a:uLnTx/>
              <a:uFillTx/>
              <a:latin typeface="Arial"/>
              <a:ea typeface="+mn-ea"/>
              <a:cs typeface="+mn-cs"/>
            </a:endParaRPr>
          </a:p>
        </p:txBody>
      </p:sp>
    </p:spTree>
    <p:extLst>
      <p:ext uri="{BB962C8B-B14F-4D97-AF65-F5344CB8AC3E}">
        <p14:creationId xmlns:p14="http://schemas.microsoft.com/office/powerpoint/2010/main" val="64946653"/>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uppo 16">
            <a:extLst>
              <a:ext uri="{FF2B5EF4-FFF2-40B4-BE49-F238E27FC236}">
                <a16:creationId xmlns:a16="http://schemas.microsoft.com/office/drawing/2014/main" id="{7F05FA2D-BA17-4C4E-9DAE-36CC81DE9BAA}"/>
              </a:ext>
            </a:extLst>
          </p:cNvPr>
          <p:cNvGrpSpPr/>
          <p:nvPr/>
        </p:nvGrpSpPr>
        <p:grpSpPr>
          <a:xfrm>
            <a:off x="4329156" y="9695736"/>
            <a:ext cx="13958844" cy="666567"/>
            <a:chOff x="4329156" y="9649198"/>
            <a:chExt cx="13958844" cy="666567"/>
          </a:xfrm>
        </p:grpSpPr>
        <p:pic>
          <p:nvPicPr>
            <p:cNvPr id="5" name="Picture 12">
              <a:extLst>
                <a:ext uri="{FF2B5EF4-FFF2-40B4-BE49-F238E27FC236}">
                  <a16:creationId xmlns:a16="http://schemas.microsoft.com/office/drawing/2014/main" id="{00810EF5-3949-4698-A5DE-428CD380175F}"/>
                </a:ext>
              </a:extLst>
            </p:cNvPr>
            <p:cNvPicPr>
              <a:picLocks noChangeAspect="1"/>
            </p:cNvPicPr>
            <p:nvPr/>
          </p:nvPicPr>
          <p:blipFill>
            <a:blip r:embed="rId3"/>
            <a:srcRect l="134" t="91287" b="3943"/>
            <a:stretch>
              <a:fillRect/>
            </a:stretch>
          </p:blipFill>
          <p:spPr>
            <a:xfrm rot="-10800000">
              <a:off x="4329156" y="9649198"/>
              <a:ext cx="13958844" cy="666567"/>
            </a:xfrm>
            <a:prstGeom prst="rect">
              <a:avLst/>
            </a:prstGeom>
          </p:spPr>
        </p:pic>
        <p:sp>
          <p:nvSpPr>
            <p:cNvPr id="6" name="TextBox 16">
              <a:extLst>
                <a:ext uri="{FF2B5EF4-FFF2-40B4-BE49-F238E27FC236}">
                  <a16:creationId xmlns:a16="http://schemas.microsoft.com/office/drawing/2014/main" id="{EDDD1531-1BDA-4725-B6A3-364F4B7CF76A}"/>
                </a:ext>
              </a:extLst>
            </p:cNvPr>
            <p:cNvSpPr txBox="1"/>
            <p:nvPr/>
          </p:nvSpPr>
          <p:spPr>
            <a:xfrm>
              <a:off x="14400029" y="9732291"/>
              <a:ext cx="3636320" cy="448713"/>
            </a:xfrm>
            <a:prstGeom prst="rect">
              <a:avLst/>
            </a:prstGeom>
          </p:spPr>
          <p:txBody>
            <a:bodyPr wrap="square" lIns="0" tIns="0" rIns="0" bIns="0" rtlCol="0" anchor="t">
              <a:spAutoFit/>
            </a:bodyPr>
            <a:lstStyle/>
            <a:p>
              <a:pPr marL="0" marR="0" lvl="0" indent="0" algn="ctr" defTabSz="914400" rtl="0" eaLnBrk="1" fontAlgn="auto" latinLnBrk="0" hangingPunct="1">
                <a:lnSpc>
                  <a:spcPts val="3919"/>
                </a:lnSpc>
                <a:spcBef>
                  <a:spcPct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OCR A Extended" panose="02010509020102010303" pitchFamily="50" charset="0"/>
                  <a:ea typeface="+mn-ea"/>
                  <a:cs typeface="+mn-cs"/>
                </a:rPr>
                <a:t>www.retrofeed.eu</a:t>
              </a:r>
            </a:p>
          </p:txBody>
        </p:sp>
      </p:grpSp>
      <p:pic>
        <p:nvPicPr>
          <p:cNvPr id="7" name="Picture 12">
            <a:extLst>
              <a:ext uri="{FF2B5EF4-FFF2-40B4-BE49-F238E27FC236}">
                <a16:creationId xmlns:a16="http://schemas.microsoft.com/office/drawing/2014/main" id="{52C35A30-8BA0-4714-8363-E6CE748BA2C3}"/>
              </a:ext>
            </a:extLst>
          </p:cNvPr>
          <p:cNvPicPr>
            <a:picLocks noChangeAspect="1"/>
          </p:cNvPicPr>
          <p:nvPr/>
        </p:nvPicPr>
        <p:blipFill>
          <a:blip r:embed="rId4"/>
          <a:srcRect/>
          <a:stretch>
            <a:fillRect/>
          </a:stretch>
        </p:blipFill>
        <p:spPr>
          <a:xfrm>
            <a:off x="0" y="8901113"/>
            <a:ext cx="5715000" cy="1385887"/>
          </a:xfrm>
          <a:prstGeom prst="rect">
            <a:avLst/>
          </a:prstGeom>
        </p:spPr>
      </p:pic>
      <p:grpSp>
        <p:nvGrpSpPr>
          <p:cNvPr id="8" name="Gruppo 2">
            <a:extLst>
              <a:ext uri="{FF2B5EF4-FFF2-40B4-BE49-F238E27FC236}">
                <a16:creationId xmlns:a16="http://schemas.microsoft.com/office/drawing/2014/main" id="{C9C93A65-4067-4ACC-B2C9-8C15277024E4}"/>
              </a:ext>
            </a:extLst>
          </p:cNvPr>
          <p:cNvGrpSpPr/>
          <p:nvPr/>
        </p:nvGrpSpPr>
        <p:grpSpPr>
          <a:xfrm>
            <a:off x="-12" y="138554"/>
            <a:ext cx="18288002" cy="681138"/>
            <a:chOff x="-12" y="138554"/>
            <a:chExt cx="18288002" cy="681138"/>
          </a:xfrm>
        </p:grpSpPr>
        <p:grpSp>
          <p:nvGrpSpPr>
            <p:cNvPr id="9" name="Gruppo 1">
              <a:extLst>
                <a:ext uri="{FF2B5EF4-FFF2-40B4-BE49-F238E27FC236}">
                  <a16:creationId xmlns:a16="http://schemas.microsoft.com/office/drawing/2014/main" id="{A943E672-738C-4FE3-BD35-ACD7A4E4D95E}"/>
                </a:ext>
              </a:extLst>
            </p:cNvPr>
            <p:cNvGrpSpPr/>
            <p:nvPr/>
          </p:nvGrpSpPr>
          <p:grpSpPr>
            <a:xfrm>
              <a:off x="0" y="153125"/>
              <a:ext cx="17907000" cy="666567"/>
              <a:chOff x="0" y="153125"/>
              <a:chExt cx="17907000" cy="666567"/>
            </a:xfrm>
          </p:grpSpPr>
          <p:grpSp>
            <p:nvGrpSpPr>
              <p:cNvPr id="11" name="Gruppo 15">
                <a:extLst>
                  <a:ext uri="{FF2B5EF4-FFF2-40B4-BE49-F238E27FC236}">
                    <a16:creationId xmlns:a16="http://schemas.microsoft.com/office/drawing/2014/main" id="{10037738-5D9A-4755-B52F-99B1FA543ED3}"/>
                  </a:ext>
                </a:extLst>
              </p:cNvPr>
              <p:cNvGrpSpPr/>
              <p:nvPr/>
            </p:nvGrpSpPr>
            <p:grpSpPr>
              <a:xfrm>
                <a:off x="0" y="153125"/>
                <a:ext cx="13958844" cy="666567"/>
                <a:chOff x="0" y="153125"/>
                <a:chExt cx="13958844" cy="666567"/>
              </a:xfrm>
            </p:grpSpPr>
            <p:pic>
              <p:nvPicPr>
                <p:cNvPr id="13" name="Picture 10">
                  <a:extLst>
                    <a:ext uri="{FF2B5EF4-FFF2-40B4-BE49-F238E27FC236}">
                      <a16:creationId xmlns:a16="http://schemas.microsoft.com/office/drawing/2014/main" id="{30234B5E-6FF9-499F-817A-9B69F1CC9911}"/>
                    </a:ext>
                  </a:extLst>
                </p:cNvPr>
                <p:cNvPicPr>
                  <a:picLocks noChangeAspect="1"/>
                </p:cNvPicPr>
                <p:nvPr/>
              </p:nvPicPr>
              <p:blipFill>
                <a:blip r:embed="rId5"/>
                <a:srcRect l="134" t="91287" b="3943"/>
                <a:stretch>
                  <a:fillRect/>
                </a:stretch>
              </p:blipFill>
              <p:spPr>
                <a:xfrm>
                  <a:off x="0" y="153125"/>
                  <a:ext cx="13958844" cy="666567"/>
                </a:xfrm>
                <a:prstGeom prst="rect">
                  <a:avLst/>
                </a:prstGeom>
              </p:spPr>
            </p:pic>
            <p:sp>
              <p:nvSpPr>
                <p:cNvPr id="14" name="TextBox 11">
                  <a:extLst>
                    <a:ext uri="{FF2B5EF4-FFF2-40B4-BE49-F238E27FC236}">
                      <a16:creationId xmlns:a16="http://schemas.microsoft.com/office/drawing/2014/main" id="{E5F3FE84-033A-4279-AF93-ABD80EC40550}"/>
                    </a:ext>
                  </a:extLst>
                </p:cNvPr>
                <p:cNvSpPr txBox="1"/>
                <p:nvPr/>
              </p:nvSpPr>
              <p:spPr>
                <a:xfrm>
                  <a:off x="228600" y="257980"/>
                  <a:ext cx="9296400" cy="456856"/>
                </a:xfrm>
                <a:prstGeom prst="rect">
                  <a:avLst/>
                </a:prstGeom>
              </p:spPr>
              <p:txBody>
                <a:bodyPr wrap="square" lIns="0" tIns="0" rIns="0" bIns="0" rtlCol="0" anchor="t">
                  <a:spAutoFit/>
                </a:bodyPr>
                <a:lstStyle/>
                <a:p>
                  <a:pPr marL="0" marR="0" lvl="0" indent="0" algn="l" defTabSz="914400" rtl="0" eaLnBrk="1" fontAlgn="auto" latinLnBrk="0" hangingPunct="1">
                    <a:lnSpc>
                      <a:spcPts val="3919"/>
                    </a:lnSpc>
                    <a:spcBef>
                      <a:spcPct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2" name="TextBox 11">
                <a:extLst>
                  <a:ext uri="{FF2B5EF4-FFF2-40B4-BE49-F238E27FC236}">
                    <a16:creationId xmlns:a16="http://schemas.microsoft.com/office/drawing/2014/main" id="{7B4365DB-7AB3-494A-91B9-B5781D39B67B}"/>
                  </a:ext>
                </a:extLst>
              </p:cNvPr>
              <p:cNvSpPr txBox="1"/>
              <p:nvPr/>
            </p:nvSpPr>
            <p:spPr>
              <a:xfrm>
                <a:off x="12154296" y="257980"/>
                <a:ext cx="5752704" cy="456856"/>
              </a:xfrm>
              <a:prstGeom prst="rect">
                <a:avLst/>
              </a:prstGeom>
            </p:spPr>
            <p:txBody>
              <a:bodyPr wrap="square" lIns="0" tIns="0" rIns="0" bIns="0" rtlCol="0" anchor="t">
                <a:spAutoFit/>
              </a:bodyPr>
              <a:lstStyle/>
              <a:p>
                <a:pPr marL="0" marR="0" lvl="0" indent="0" algn="r" defTabSz="914400" rtl="0" eaLnBrk="1" fontAlgn="auto" latinLnBrk="0" hangingPunct="1">
                  <a:lnSpc>
                    <a:spcPts val="3919"/>
                  </a:lnSpc>
                  <a:spcBef>
                    <a:spcPct val="0"/>
                  </a:spcBef>
                  <a:spcAft>
                    <a:spcPts val="0"/>
                  </a:spcAft>
                  <a:buClrTx/>
                  <a:buSzTx/>
                  <a:buFontTx/>
                  <a:buNone/>
                  <a:tabLst/>
                  <a:defRPr/>
                </a:pPr>
                <a:endParaRPr kumimoji="0" lang="en-US" sz="2800" b="0" i="0" u="none" strike="noStrike" kern="1200" cap="none" spc="0" normalizeH="0" baseline="0" noProof="0">
                  <a:ln>
                    <a:noFill/>
                  </a:ln>
                  <a:solidFill>
                    <a:srgbClr val="2F2F2F">
                      <a:lumMod val="75000"/>
                      <a:lumOff val="25000"/>
                    </a:srgbClr>
                  </a:solidFill>
                  <a:effectLst/>
                  <a:uLnTx/>
                  <a:uFillTx/>
                  <a:latin typeface="Arial" panose="020B0604020202020204" pitchFamily="34" charset="0"/>
                  <a:ea typeface="+mn-ea"/>
                  <a:cs typeface="Arial" panose="020B0604020202020204" pitchFamily="34" charset="0"/>
                </a:endParaRPr>
              </a:p>
            </p:txBody>
          </p:sp>
        </p:grpSp>
        <p:sp>
          <p:nvSpPr>
            <p:cNvPr id="10" name="Rettangolo 13">
              <a:extLst>
                <a:ext uri="{FF2B5EF4-FFF2-40B4-BE49-F238E27FC236}">
                  <a16:creationId xmlns:a16="http://schemas.microsoft.com/office/drawing/2014/main" id="{BC76EB51-B4AB-4BAB-AAF6-1883074EEF50}"/>
                </a:ext>
              </a:extLst>
            </p:cNvPr>
            <p:cNvSpPr/>
            <p:nvPr/>
          </p:nvSpPr>
          <p:spPr>
            <a:xfrm>
              <a:off x="-12" y="138554"/>
              <a:ext cx="18288002" cy="71240"/>
            </a:xfrm>
            <a:prstGeom prst="rect">
              <a:avLst/>
            </a:prstGeom>
            <a:solidFill>
              <a:srgbClr val="99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20" name="TextBox 19">
            <a:extLst>
              <a:ext uri="{FF2B5EF4-FFF2-40B4-BE49-F238E27FC236}">
                <a16:creationId xmlns:a16="http://schemas.microsoft.com/office/drawing/2014/main" id="{B4D68CAB-2F99-49CF-9331-08151EAABA39}"/>
              </a:ext>
            </a:extLst>
          </p:cNvPr>
          <p:cNvSpPr txBox="1"/>
          <p:nvPr/>
        </p:nvSpPr>
        <p:spPr>
          <a:xfrm>
            <a:off x="2195881" y="1004417"/>
            <a:ext cx="14343529" cy="76944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a:ln>
                  <a:noFill/>
                </a:ln>
                <a:solidFill>
                  <a:srgbClr val="CC0033"/>
                </a:solidFill>
                <a:effectLst/>
                <a:uLnTx/>
                <a:uFillTx/>
                <a:latin typeface="Arial"/>
                <a:ea typeface="+mn-ea"/>
                <a:cs typeface="Arial" panose="020B0604020202020204" pitchFamily="34" charset="0"/>
              </a:rPr>
              <a:t>SOFTWARE INTEGRATION</a:t>
            </a:r>
            <a:endParaRPr kumimoji="0" lang="sv-SE" sz="4400" b="1" i="0" u="none" strike="noStrike" kern="1200" cap="none" spc="0" normalizeH="0" baseline="0" noProof="0">
              <a:ln>
                <a:noFill/>
              </a:ln>
              <a:solidFill>
                <a:srgbClr val="CC0033"/>
              </a:solidFill>
              <a:effectLst/>
              <a:uLnTx/>
              <a:uFillTx/>
              <a:latin typeface="Arial"/>
              <a:ea typeface="+mn-ea"/>
              <a:cs typeface="Arial" panose="020B0604020202020204" pitchFamily="34" charset="0"/>
            </a:endParaRPr>
          </a:p>
        </p:txBody>
      </p:sp>
      <p:pic>
        <p:nvPicPr>
          <p:cNvPr id="2" name="image14.jpeg">
            <a:extLst>
              <a:ext uri="{FF2B5EF4-FFF2-40B4-BE49-F238E27FC236}">
                <a16:creationId xmlns:a16="http://schemas.microsoft.com/office/drawing/2014/main" id="{756B9B2A-B9C3-E2F0-F43F-AF253223C698}"/>
              </a:ext>
            </a:extLst>
          </p:cNvPr>
          <p:cNvPicPr>
            <a:picLocks noChangeAspect="1"/>
          </p:cNvPicPr>
          <p:nvPr/>
        </p:nvPicPr>
        <p:blipFill>
          <a:blip r:embed="rId6" cstate="print"/>
          <a:stretch>
            <a:fillRect/>
          </a:stretch>
        </p:blipFill>
        <p:spPr>
          <a:xfrm>
            <a:off x="4144190" y="1833572"/>
            <a:ext cx="9814654" cy="6638093"/>
          </a:xfrm>
          <a:prstGeom prst="rect">
            <a:avLst/>
          </a:prstGeom>
        </p:spPr>
      </p:pic>
      <p:sp>
        <p:nvSpPr>
          <p:cNvPr id="16" name="TextBox 15">
            <a:extLst>
              <a:ext uri="{FF2B5EF4-FFF2-40B4-BE49-F238E27FC236}">
                <a16:creationId xmlns:a16="http://schemas.microsoft.com/office/drawing/2014/main" id="{C7DC4D1B-34F9-2639-75E8-2932CB47A8AA}"/>
              </a:ext>
            </a:extLst>
          </p:cNvPr>
          <p:cNvSpPr txBox="1"/>
          <p:nvPr/>
        </p:nvSpPr>
        <p:spPr>
          <a:xfrm>
            <a:off x="4616115" y="8698260"/>
            <a:ext cx="10142621"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3E3E3E"/>
                </a:solidFill>
                <a:effectLst/>
                <a:uLnTx/>
                <a:uFillTx/>
                <a:latin typeface="Arial MT"/>
                <a:ea typeface="Arial MT"/>
                <a:cs typeface="Arial MT"/>
              </a:rPr>
              <a:t>Schematics</a:t>
            </a:r>
            <a:r>
              <a:rPr kumimoji="0" lang="en-US" sz="2000" b="0" i="0" u="none" strike="noStrike" kern="1200" cap="none" spc="-30" normalizeH="0" baseline="0" noProof="0">
                <a:ln>
                  <a:noFill/>
                </a:ln>
                <a:solidFill>
                  <a:srgbClr val="3E3E3E"/>
                </a:solidFill>
                <a:effectLst/>
                <a:uLnTx/>
                <a:uFillTx/>
                <a:latin typeface="Arial MT"/>
                <a:ea typeface="Arial MT"/>
                <a:cs typeface="Arial MT"/>
              </a:rPr>
              <a:t> </a:t>
            </a:r>
            <a:r>
              <a:rPr kumimoji="0" lang="en-US" sz="2000" b="0" i="0" u="none" strike="noStrike" kern="1200" cap="none" spc="0" normalizeH="0" baseline="0" noProof="0">
                <a:ln>
                  <a:noFill/>
                </a:ln>
                <a:solidFill>
                  <a:srgbClr val="3E3E3E"/>
                </a:solidFill>
                <a:effectLst/>
                <a:uLnTx/>
                <a:uFillTx/>
                <a:latin typeface="Arial MT"/>
                <a:ea typeface="Arial MT"/>
                <a:cs typeface="Arial MT"/>
              </a:rPr>
              <a:t>of</a:t>
            </a:r>
            <a:r>
              <a:rPr kumimoji="0" lang="en-US" sz="2000" b="0" i="0" u="none" strike="noStrike" kern="1200" cap="none" spc="-20" normalizeH="0" baseline="0" noProof="0">
                <a:ln>
                  <a:noFill/>
                </a:ln>
                <a:solidFill>
                  <a:srgbClr val="3E3E3E"/>
                </a:solidFill>
                <a:effectLst/>
                <a:uLnTx/>
                <a:uFillTx/>
                <a:latin typeface="Arial MT"/>
                <a:ea typeface="Arial MT"/>
                <a:cs typeface="Arial MT"/>
              </a:rPr>
              <a:t> </a:t>
            </a:r>
            <a:r>
              <a:rPr kumimoji="0" lang="en-US" sz="2000" b="0" i="0" u="none" strike="noStrike" kern="1200" cap="none" spc="0" normalizeH="0" baseline="0" noProof="0">
                <a:ln>
                  <a:noFill/>
                </a:ln>
                <a:solidFill>
                  <a:srgbClr val="3E3E3E"/>
                </a:solidFill>
                <a:effectLst/>
                <a:uLnTx/>
                <a:uFillTx/>
                <a:latin typeface="Arial MT"/>
                <a:ea typeface="Arial MT"/>
                <a:cs typeface="Arial MT"/>
              </a:rPr>
              <a:t>the</a:t>
            </a:r>
            <a:r>
              <a:rPr kumimoji="0" lang="en-US" sz="2000" b="0" i="0" u="none" strike="noStrike" kern="1200" cap="none" spc="-50" normalizeH="0" baseline="0" noProof="0">
                <a:ln>
                  <a:noFill/>
                </a:ln>
                <a:solidFill>
                  <a:srgbClr val="3E3E3E"/>
                </a:solidFill>
                <a:effectLst/>
                <a:uLnTx/>
                <a:uFillTx/>
                <a:latin typeface="Arial MT"/>
                <a:ea typeface="Arial MT"/>
                <a:cs typeface="Arial MT"/>
              </a:rPr>
              <a:t> </a:t>
            </a:r>
            <a:r>
              <a:rPr kumimoji="0" lang="en-US" sz="2000" b="0" i="0" u="none" strike="noStrike" kern="1200" cap="none" spc="0" normalizeH="0" baseline="0" noProof="0">
                <a:ln>
                  <a:noFill/>
                </a:ln>
                <a:solidFill>
                  <a:srgbClr val="3E3E3E"/>
                </a:solidFill>
                <a:effectLst/>
                <a:uLnTx/>
                <a:uFillTx/>
                <a:latin typeface="Arial MT"/>
                <a:ea typeface="Arial MT"/>
                <a:cs typeface="Arial MT"/>
              </a:rPr>
              <a:t>integration</a:t>
            </a:r>
            <a:r>
              <a:rPr kumimoji="0" lang="en-US" sz="2000" b="0" i="0" u="none" strike="noStrike" kern="1200" cap="none" spc="-20" normalizeH="0" baseline="0" noProof="0">
                <a:ln>
                  <a:noFill/>
                </a:ln>
                <a:solidFill>
                  <a:srgbClr val="3E3E3E"/>
                </a:solidFill>
                <a:effectLst/>
                <a:uLnTx/>
                <a:uFillTx/>
                <a:latin typeface="Arial MT"/>
                <a:ea typeface="Arial MT"/>
                <a:cs typeface="Arial MT"/>
              </a:rPr>
              <a:t> </a:t>
            </a:r>
            <a:r>
              <a:rPr kumimoji="0" lang="en-US" sz="2000" b="0" i="0" u="none" strike="noStrike" kern="1200" cap="none" spc="0" normalizeH="0" baseline="0" noProof="0">
                <a:ln>
                  <a:noFill/>
                </a:ln>
                <a:solidFill>
                  <a:srgbClr val="3E3E3E"/>
                </a:solidFill>
                <a:effectLst/>
                <a:uLnTx/>
                <a:uFillTx/>
                <a:latin typeface="Arial MT"/>
                <a:ea typeface="Arial MT"/>
                <a:cs typeface="Arial MT"/>
              </a:rPr>
              <a:t>of</a:t>
            </a:r>
            <a:r>
              <a:rPr kumimoji="0" lang="en-US" sz="2000" b="0" i="0" u="none" strike="noStrike" kern="1200" cap="none" spc="-40" normalizeH="0" baseline="0" noProof="0">
                <a:ln>
                  <a:noFill/>
                </a:ln>
                <a:solidFill>
                  <a:srgbClr val="3E3E3E"/>
                </a:solidFill>
                <a:effectLst/>
                <a:uLnTx/>
                <a:uFillTx/>
                <a:latin typeface="Arial MT"/>
                <a:ea typeface="Arial MT"/>
                <a:cs typeface="Arial MT"/>
              </a:rPr>
              <a:t> </a:t>
            </a:r>
            <a:r>
              <a:rPr kumimoji="0" lang="en-US" sz="2000" b="0" i="0" u="none" strike="noStrike" kern="1200" cap="none" spc="0" normalizeH="0" baseline="0" noProof="0">
                <a:ln>
                  <a:noFill/>
                </a:ln>
                <a:solidFill>
                  <a:srgbClr val="3E3E3E"/>
                </a:solidFill>
                <a:effectLst/>
                <a:uLnTx/>
                <a:uFillTx/>
                <a:latin typeface="Arial MT"/>
                <a:ea typeface="Arial MT"/>
                <a:cs typeface="Arial MT"/>
              </a:rPr>
              <a:t>the</a:t>
            </a:r>
            <a:r>
              <a:rPr kumimoji="0" lang="en-US" sz="2000" b="0" i="0" u="none" strike="noStrike" kern="1200" cap="none" spc="-25" normalizeH="0" baseline="0" noProof="0">
                <a:ln>
                  <a:noFill/>
                </a:ln>
                <a:solidFill>
                  <a:srgbClr val="3E3E3E"/>
                </a:solidFill>
                <a:effectLst/>
                <a:uLnTx/>
                <a:uFillTx/>
                <a:latin typeface="Arial MT"/>
                <a:ea typeface="Arial MT"/>
                <a:cs typeface="Arial MT"/>
              </a:rPr>
              <a:t> </a:t>
            </a:r>
            <a:r>
              <a:rPr kumimoji="0" lang="en-US" sz="2000" b="0" i="0" u="none" strike="noStrike" kern="1200" cap="none" spc="0" normalizeH="0" baseline="0" noProof="0">
                <a:ln>
                  <a:noFill/>
                </a:ln>
                <a:solidFill>
                  <a:srgbClr val="3E3E3E"/>
                </a:solidFill>
                <a:effectLst/>
                <a:uLnTx/>
                <a:uFillTx/>
                <a:latin typeface="Arial MT"/>
                <a:ea typeface="Arial MT"/>
                <a:cs typeface="Arial MT"/>
              </a:rPr>
              <a:t>models</a:t>
            </a:r>
            <a:r>
              <a:rPr kumimoji="0" lang="en-US" sz="2000" b="0" i="0" u="none" strike="noStrike" kern="1200" cap="none" spc="-30" normalizeH="0" baseline="0" noProof="0">
                <a:ln>
                  <a:noFill/>
                </a:ln>
                <a:solidFill>
                  <a:srgbClr val="3E3E3E"/>
                </a:solidFill>
                <a:effectLst/>
                <a:uLnTx/>
                <a:uFillTx/>
                <a:latin typeface="Arial MT"/>
                <a:ea typeface="Arial MT"/>
                <a:cs typeface="Arial MT"/>
              </a:rPr>
              <a:t> </a:t>
            </a:r>
            <a:r>
              <a:rPr kumimoji="0" lang="en-US" sz="2000" b="0" i="0" u="none" strike="noStrike" kern="1200" cap="none" spc="0" normalizeH="0" baseline="0" noProof="0">
                <a:ln>
                  <a:noFill/>
                </a:ln>
                <a:solidFill>
                  <a:srgbClr val="3E3E3E"/>
                </a:solidFill>
                <a:effectLst/>
                <a:uLnTx/>
                <a:uFillTx/>
                <a:latin typeface="Arial MT"/>
                <a:ea typeface="Arial MT"/>
                <a:cs typeface="Arial MT"/>
              </a:rPr>
              <a:t>within</a:t>
            </a:r>
            <a:r>
              <a:rPr kumimoji="0" lang="en-US" sz="2000" b="0" i="0" u="none" strike="noStrike" kern="1200" cap="none" spc="-20" normalizeH="0" baseline="0" noProof="0">
                <a:ln>
                  <a:noFill/>
                </a:ln>
                <a:solidFill>
                  <a:srgbClr val="3E3E3E"/>
                </a:solidFill>
                <a:effectLst/>
                <a:uLnTx/>
                <a:uFillTx/>
                <a:latin typeface="Arial MT"/>
                <a:ea typeface="Arial MT"/>
                <a:cs typeface="Arial MT"/>
              </a:rPr>
              <a:t> </a:t>
            </a:r>
            <a:r>
              <a:rPr kumimoji="0" lang="en-US" sz="2000" b="0" i="0" u="none" strike="noStrike" kern="1200" cap="none" spc="0" normalizeH="0" baseline="0" noProof="0">
                <a:ln>
                  <a:noFill/>
                </a:ln>
                <a:solidFill>
                  <a:srgbClr val="3E3E3E"/>
                </a:solidFill>
                <a:effectLst/>
                <a:uLnTx/>
                <a:uFillTx/>
                <a:latin typeface="Arial MT"/>
                <a:ea typeface="Arial MT"/>
                <a:cs typeface="Arial MT"/>
              </a:rPr>
              <a:t>the</a:t>
            </a:r>
            <a:r>
              <a:rPr kumimoji="0" lang="en-US" sz="2000" b="0" i="0" u="none" strike="noStrike" kern="1200" cap="none" spc="-25" normalizeH="0" baseline="0" noProof="0">
                <a:ln>
                  <a:noFill/>
                </a:ln>
                <a:solidFill>
                  <a:srgbClr val="3E3E3E"/>
                </a:solidFill>
                <a:effectLst/>
                <a:uLnTx/>
                <a:uFillTx/>
                <a:latin typeface="Arial MT"/>
                <a:ea typeface="Arial MT"/>
                <a:cs typeface="Arial MT"/>
              </a:rPr>
              <a:t> </a:t>
            </a:r>
            <a:r>
              <a:rPr kumimoji="0" lang="en-US" sz="2000" b="0" i="0" u="none" strike="noStrike" kern="1200" cap="none" spc="0" normalizeH="0" baseline="0" noProof="0">
                <a:ln>
                  <a:noFill/>
                </a:ln>
                <a:solidFill>
                  <a:srgbClr val="3E3E3E"/>
                </a:solidFill>
                <a:effectLst/>
                <a:uLnTx/>
                <a:uFillTx/>
                <a:latin typeface="Arial MT"/>
                <a:ea typeface="Arial MT"/>
                <a:cs typeface="Arial MT"/>
              </a:rPr>
              <a:t>DSS</a:t>
            </a:r>
            <a:r>
              <a:rPr kumimoji="0" lang="en-US" sz="2000" b="0" i="0" u="none" strike="noStrike" kern="1200" cap="none" spc="-20" normalizeH="0" baseline="0" noProof="0">
                <a:ln>
                  <a:noFill/>
                </a:ln>
                <a:solidFill>
                  <a:srgbClr val="3E3E3E"/>
                </a:solidFill>
                <a:effectLst/>
                <a:uLnTx/>
                <a:uFillTx/>
                <a:latin typeface="Arial MT"/>
                <a:ea typeface="Arial MT"/>
                <a:cs typeface="Arial MT"/>
              </a:rPr>
              <a:t> </a:t>
            </a:r>
            <a:r>
              <a:rPr kumimoji="0" lang="en-US" sz="2000" b="0" i="0" u="none" strike="noStrike" kern="1200" cap="none" spc="0" normalizeH="0" baseline="0" noProof="0">
                <a:ln>
                  <a:noFill/>
                </a:ln>
                <a:solidFill>
                  <a:srgbClr val="3E3E3E"/>
                </a:solidFill>
                <a:effectLst/>
                <a:uLnTx/>
                <a:uFillTx/>
                <a:latin typeface="Arial MT"/>
                <a:ea typeface="Arial MT"/>
                <a:cs typeface="Arial MT"/>
              </a:rPr>
              <a:t>software</a:t>
            </a:r>
            <a:r>
              <a:rPr kumimoji="0" lang="en-US" sz="2000" b="0" i="0" u="none" strike="noStrike" kern="1200" cap="none" spc="-25" normalizeH="0" baseline="0" noProof="0">
                <a:ln>
                  <a:noFill/>
                </a:ln>
                <a:solidFill>
                  <a:srgbClr val="3E3E3E"/>
                </a:solidFill>
                <a:effectLst/>
                <a:uLnTx/>
                <a:uFillTx/>
                <a:latin typeface="Arial MT"/>
                <a:ea typeface="Arial MT"/>
                <a:cs typeface="Arial MT"/>
              </a:rPr>
              <a:t> </a:t>
            </a:r>
            <a:r>
              <a:rPr kumimoji="0" lang="en-US" sz="2000" b="0" i="0" u="none" strike="noStrike" kern="1200" cap="none" spc="0" normalizeH="0" baseline="0" noProof="0">
                <a:ln>
                  <a:noFill/>
                </a:ln>
                <a:solidFill>
                  <a:srgbClr val="3E3E3E"/>
                </a:solidFill>
                <a:effectLst/>
                <a:uLnTx/>
                <a:uFillTx/>
                <a:latin typeface="Arial MT"/>
                <a:ea typeface="Arial MT"/>
                <a:cs typeface="Arial MT"/>
              </a:rPr>
              <a:t>architecture</a:t>
            </a:r>
            <a:endParaRPr kumimoji="0" lang="sv-SE" sz="2000" b="0" i="0" u="none" strike="noStrike" kern="1200" cap="none" spc="0" normalizeH="0" baseline="0" noProof="0">
              <a:ln>
                <a:noFill/>
              </a:ln>
              <a:solidFill>
                <a:srgbClr val="2F2F2F"/>
              </a:solidFill>
              <a:effectLst/>
              <a:uLnTx/>
              <a:uFillTx/>
              <a:latin typeface="Arial"/>
              <a:ea typeface="+mn-ea"/>
              <a:cs typeface="+mn-cs"/>
            </a:endParaRPr>
          </a:p>
        </p:txBody>
      </p:sp>
    </p:spTree>
    <p:extLst>
      <p:ext uri="{BB962C8B-B14F-4D97-AF65-F5344CB8AC3E}">
        <p14:creationId xmlns:p14="http://schemas.microsoft.com/office/powerpoint/2010/main" val="12566032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Uky_aSz8ESTCXCMTQvEdg"/>
</p:tagLst>
</file>

<file path=ppt/theme/theme1.xml><?xml version="1.0" encoding="utf-8"?>
<a:theme xmlns:a="http://schemas.openxmlformats.org/drawingml/2006/main" name="Office Theme">
  <a:themeElements>
    <a:clrScheme name="RETROFEED PowerPoint Template">
      <a:dk1>
        <a:srgbClr val="2F2F2F"/>
      </a:dk1>
      <a:lt1>
        <a:srgbClr val="FFFFFF"/>
      </a:lt1>
      <a:dk2>
        <a:srgbClr val="FFFFFF"/>
      </a:dk2>
      <a:lt2>
        <a:srgbClr val="FFFFFF"/>
      </a:lt2>
      <a:accent1>
        <a:srgbClr val="CC0033"/>
      </a:accent1>
      <a:accent2>
        <a:srgbClr val="99CC99"/>
      </a:accent2>
      <a:accent3>
        <a:srgbClr val="FF6666"/>
      </a:accent3>
      <a:accent4>
        <a:srgbClr val="CCFFCC"/>
      </a:accent4>
      <a:accent5>
        <a:srgbClr val="F2F2F2"/>
      </a:accent5>
      <a:accent6>
        <a:srgbClr val="7F7F7F"/>
      </a:accent6>
      <a:hlink>
        <a:srgbClr val="C00000"/>
      </a:hlink>
      <a:folHlink>
        <a:srgbClr val="C00000"/>
      </a:folHlink>
    </a:clrScheme>
    <a:fontScheme name="RETROFEED PPT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7e9434de-5c38-47f2-be96-b1ddb2bd1157">
      <Terms xmlns="http://schemas.microsoft.com/office/infopath/2007/PartnerControls"/>
    </lcf76f155ced4ddcb4097134ff3c332f>
    <TaxCatchAll xmlns="fa4c7db5-e58b-4874-924f-c8a682c0a3c9"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0619673E5C7AF44685A6F5F00410CCC3" ma:contentTypeVersion="18" ma:contentTypeDescription="Create a new document." ma:contentTypeScope="" ma:versionID="6de2d5ef3c06f5fe9882073476fccf59">
  <xsd:schema xmlns:xsd="http://www.w3.org/2001/XMLSchema" xmlns:xs="http://www.w3.org/2001/XMLSchema" xmlns:p="http://schemas.microsoft.com/office/2006/metadata/properties" xmlns:ns2="7e9434de-5c38-47f2-be96-b1ddb2bd1157" xmlns:ns3="fa4c7db5-e58b-4874-924f-c8a682c0a3c9" targetNamespace="http://schemas.microsoft.com/office/2006/metadata/properties" ma:root="true" ma:fieldsID="bf1517337256132a7dea3506dd53f4ca" ns2:_="" ns3:_="">
    <xsd:import namespace="7e9434de-5c38-47f2-be96-b1ddb2bd1157"/>
    <xsd:import namespace="fa4c7db5-e58b-4874-924f-c8a682c0a3c9"/>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Location" minOccurs="0"/>
                <xsd:element ref="ns2:MediaServiceAutoKeyPoints" minOccurs="0"/>
                <xsd:element ref="ns2:MediaServiceKeyPoints" minOccurs="0"/>
                <xsd:element ref="ns2:MediaServiceGenerationTime" minOccurs="0"/>
                <xsd:element ref="ns2:MediaServiceEventHashCode" minOccurs="0"/>
                <xsd:element ref="ns2:MediaServiceOCR" minOccurs="0"/>
                <xsd:element ref="ns2:MediaLengthInSeconds" minOccurs="0"/>
                <xsd:element ref="ns3:SharedWithUsers" minOccurs="0"/>
                <xsd:element ref="ns3:SharedWithDetails" minOccurs="0"/>
                <xsd:element ref="ns2:lcf76f155ced4ddcb4097134ff3c332f" minOccurs="0"/>
                <xsd:element ref="ns3:TaxCatchAll"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e9434de-5c38-47f2-be96-b1ddb2bd115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Location" ma:index="12" nillable="true" ma:displayName="Location" ma:internalName="MediaServiceLocation" ma:readOnly="true">
      <xsd:simpleType>
        <xsd:restriction base="dms:Text"/>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LengthInSeconds" ma:index="18"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aaa33683-32d4-4958-932e-29f6d35ea99d" ma:termSetId="09814cd3-568e-fe90-9814-8d621ff8fb84" ma:anchorId="fba54fb3-c3e1-fe81-a776-ca4b69148c4d" ma:open="true" ma:isKeyword="false">
      <xsd:complexType>
        <xsd:sequence>
          <xsd:element ref="pc:Terms" minOccurs="0" maxOccurs="1"/>
        </xsd:sequence>
      </xsd:complexType>
    </xsd:element>
    <xsd:element name="MediaServiceSearchProperties" ma:index="24" nillable="true" ma:displayName="MediaServiceSearchProperties" ma:hidden="true" ma:internalName="MediaServiceSearchProperties" ma:readOnly="true">
      <xsd:simpleType>
        <xsd:restriction base="dms:Note"/>
      </xsd:simpleType>
    </xsd:element>
    <xsd:element name="MediaServiceObjectDetectorVersions" ma:index="25"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a4c7db5-e58b-4874-924f-c8a682c0a3c9" elementFormDefault="qualified">
    <xsd:import namespace="http://schemas.microsoft.com/office/2006/documentManagement/types"/>
    <xsd:import namespace="http://schemas.microsoft.com/office/infopath/2007/PartnerControls"/>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88c35de3-635c-4b81-bee3-ad66ba705ccf}" ma:internalName="TaxCatchAll" ma:showField="CatchAllData" ma:web="fa4c7db5-e58b-4874-924f-c8a682c0a3c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6762F06-B9DA-4726-9675-E5203C38F129}">
  <ds:schemaRefs>
    <ds:schemaRef ds:uri="7e9434de-5c38-47f2-be96-b1ddb2bd1157"/>
    <ds:schemaRef ds:uri="fa4c7db5-e58b-4874-924f-c8a682c0a3c9"/>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9307485D-B811-4F19-B7A4-D9541E8DE8D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e9434de-5c38-47f2-be96-b1ddb2bd1157"/>
    <ds:schemaRef ds:uri="fa4c7db5-e58b-4874-924f-c8a682c0a3c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C6B3CDD-A6F3-416D-9A41-5F38D37B64A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2108</TotalTime>
  <Words>43500</Words>
  <Application>Microsoft Office PowerPoint</Application>
  <PresentationFormat>Custom</PresentationFormat>
  <Paragraphs>3959</Paragraphs>
  <Slides>272</Slides>
  <Notes>244</Notes>
  <HiddenSlides>1</HiddenSlides>
  <MMClips>0</MMClips>
  <ScaleCrop>false</ScaleCrop>
  <HeadingPairs>
    <vt:vector size="4" baseType="variant">
      <vt:variant>
        <vt:lpstr>Theme</vt:lpstr>
      </vt:variant>
      <vt:variant>
        <vt:i4>1</vt:i4>
      </vt:variant>
      <vt:variant>
        <vt:lpstr>Slide Titles</vt:lpstr>
      </vt:variant>
      <vt:variant>
        <vt:i4>272</vt:i4>
      </vt:variant>
    </vt:vector>
  </HeadingPairs>
  <TitlesOfParts>
    <vt:vector size="273" baseType="lpstr">
      <vt:lpstr>Office Theme</vt:lpstr>
      <vt:lpstr>PowerPoint Presentation</vt:lpstr>
      <vt:lpstr>PowerPoint Presentation</vt:lpstr>
      <vt:lpstr>PowerPoint Presentation</vt:lpstr>
      <vt:lpstr>PowerPoint Presentation</vt:lpstr>
      <vt:lpstr>PowerPoint Presentation</vt:lpstr>
      <vt:lpstr>  Chapter 1: Drivers for Retrofitting</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Chapter 2: The RETROFEED Project - Get to know the demo-sites </vt:lpstr>
      <vt:lpstr>PowerPoint Presentation</vt:lpstr>
      <vt:lpstr>Chapter 2.1  The RETROFEED PROJECT</vt:lpstr>
      <vt:lpstr>PowerPoint Presentation</vt:lpstr>
      <vt:lpstr>PowerPoint Presentation</vt:lpstr>
      <vt:lpstr>PowerPoint Presentation</vt:lpstr>
      <vt:lpstr>PowerPoint Presentation</vt:lpstr>
      <vt:lpstr>PowerPoint Presentation</vt:lpstr>
      <vt:lpstr>Chapter 2.2  Cement production</vt:lpstr>
      <vt:lpstr>PowerPoint Presentation</vt:lpstr>
      <vt:lpstr>PowerPoint Presentation</vt:lpstr>
      <vt:lpstr>PowerPoint Presentation</vt:lpstr>
      <vt:lpstr>PowerPoint Presentation</vt:lpstr>
      <vt:lpstr>PowerPoint Presentation</vt:lpstr>
      <vt:lpstr>PowerPoint Presentation</vt:lpstr>
      <vt:lpstr>Chapter 2.3  Aluminium production</vt:lpstr>
      <vt:lpstr>PowerPoint Presentation</vt:lpstr>
      <vt:lpstr>PowerPoint Presentation</vt:lpstr>
      <vt:lpstr>PowerPoint Presentation</vt:lpstr>
      <vt:lpstr>PowerPoint Presentation</vt:lpstr>
      <vt:lpstr>PowerPoint Presentation</vt:lpstr>
      <vt:lpstr>Chapter 2.4  Fertilizer production</vt:lpstr>
      <vt:lpstr>PowerPoint Presentation</vt:lpstr>
      <vt:lpstr>PowerPoint Presentation</vt:lpstr>
      <vt:lpstr>PowerPoint Presentation</vt:lpstr>
      <vt:lpstr>PowerPoint Presentation</vt:lpstr>
      <vt:lpstr>PowerPoint Presentation</vt:lpstr>
      <vt:lpstr>PowerPoint Presentation</vt:lpstr>
      <vt:lpstr>Chapter 2.5  Steel produc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Chapter 3: Key Resource Indicators (KRI), Key Performance Attributes (KPA)  and Expected Project Impact</vt:lpstr>
      <vt:lpstr>PowerPoint Presentation</vt:lpstr>
      <vt:lpstr>Chapter 3.1  KRIs and KPA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hapter 3.2  Expected Impacts in RETROFEED demo-sites</vt:lpstr>
      <vt:lpstr>PowerPoint Presentation</vt:lpstr>
      <vt:lpstr>PowerPoint Presentation</vt:lpstr>
      <vt:lpstr>PowerPoint Presentation</vt:lpstr>
      <vt:lpstr>PowerPoint Presentation</vt:lpstr>
      <vt:lpstr>  Chapter 4: Digital Twin (DT) Development</vt:lpstr>
      <vt:lpstr>PowerPoint Presentation</vt:lpstr>
      <vt:lpstr>Chapter 4.1 Digital Readiness Level</vt:lpstr>
      <vt:lpstr>PowerPoint Presentation</vt:lpstr>
      <vt:lpstr>PowerPoint Presentation</vt:lpstr>
      <vt:lpstr>PowerPoint Presentation</vt:lpstr>
      <vt:lpstr>PowerPoint Presentation</vt:lpstr>
      <vt:lpstr>Chapter 4.2  Digital Twins in Industrial Retrofitting</vt:lpstr>
      <vt:lpstr>PowerPoint Presentation</vt:lpstr>
      <vt:lpstr>PowerPoint Presentation</vt:lpstr>
      <vt:lpstr>How to create a Digital Twi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hapter 4.3  Digital Twin for Agrochemical Sector</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tep 2:  Produce a ROM from CFD simulations</vt:lpstr>
      <vt:lpstr>PowerPoint Presentation</vt:lpstr>
      <vt:lpstr>PowerPoint Presentation</vt:lpstr>
      <vt:lpstr>PowerPoint Presentation</vt:lpstr>
      <vt:lpstr>Step 3:  Integrate Digital Twin in control environment</vt:lpstr>
      <vt:lpstr>PowerPoint Presentation</vt:lpstr>
      <vt:lpstr>PowerPoint Presentation</vt:lpstr>
      <vt:lpstr>PowerPoint Presentation</vt:lpstr>
      <vt:lpstr>  Chapter 5: Life Cycle Assessment (LCA)</vt:lpstr>
      <vt:lpstr>PowerPoint Presentation</vt:lpstr>
      <vt:lpstr>PowerPoint Presentation</vt:lpstr>
      <vt:lpstr>5.1 Life Cycle Assessment </vt:lpstr>
      <vt:lpstr>PowerPoint Presentation</vt:lpstr>
      <vt:lpstr>PowerPoint Presentation</vt:lpstr>
      <vt:lpstr>PowerPoint Presentation</vt:lpstr>
      <vt:lpstr>PowerPoint Presentation</vt:lpstr>
      <vt:lpstr>PowerPoint Presentation</vt:lpstr>
      <vt:lpstr>4 steps of LC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5.2 Environmental Life Cycle Cost (eLCC)</vt:lpstr>
      <vt:lpstr>PowerPoint Presentation</vt:lpstr>
      <vt:lpstr>PowerPoint Presentation</vt:lpstr>
      <vt:lpstr>PowerPoint Presentation</vt:lpstr>
      <vt:lpstr>5.3 Social LCA (S-LC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5.4 Example of LCA from Agrochemical Sector</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Chapter 6: Results from Retrofitting Actions</vt:lpstr>
      <vt:lpstr>Chapter 6.1  Demo-sites retrofitting actions, goals and resul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hapter 6.2  Analyzing LCA &amp; LCC Findings for Fertiberia: Demo's Perspective</vt:lpstr>
      <vt:lpstr>Recap: 4 steps of LC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hapter 6.3  Navigating Challenges: The Demo Experience</vt:lpstr>
      <vt:lpstr>Technical challenges</vt:lpstr>
      <vt:lpstr>PowerPoint Presentation</vt:lpstr>
      <vt:lpstr>PowerPoint Presentation</vt:lpstr>
      <vt:lpstr>PowerPoint Presentation</vt:lpstr>
      <vt:lpstr>PowerPoint Presentation</vt:lpstr>
      <vt:lpstr>PowerPoint Presentation</vt:lpstr>
      <vt:lpstr>Digital twin challenges</vt:lpstr>
      <vt:lpstr>PowerPoint Presentation</vt:lpstr>
      <vt:lpstr>PowerPoint Presentation</vt:lpstr>
      <vt:lpstr>PowerPoint Presentation</vt:lpstr>
      <vt:lpstr>PowerPoint Presentation</vt:lpstr>
      <vt:lpstr>PowerPoint Presentation</vt:lpstr>
      <vt:lpstr>LCA, LCC and Social LCA challenges</vt:lpstr>
      <vt:lpstr>PowerPoint Presentation</vt:lpstr>
      <vt:lpstr>PowerPoint Presentation</vt:lpstr>
      <vt:lpstr>Chapter 6.4  Future Outlook: Replicability and Legislation </vt:lpstr>
      <vt:lpstr>Retrofeed Replicability and Commercializ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Business models for retrofitting actio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ecommendations and proposed legislative improvement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TROFEED Presentation (internal)  template</dc:title>
  <dc:creator>Marianna Santavenere</dc:creator>
  <cp:lastModifiedBy>Nina Chi Johansson</cp:lastModifiedBy>
  <cp:revision>4</cp:revision>
  <dcterms:created xsi:type="dcterms:W3CDTF">2006-08-16T00:00:00Z</dcterms:created>
  <dcterms:modified xsi:type="dcterms:W3CDTF">2023-10-31T13:08:51Z</dcterms:modified>
  <dc:identifier>DAD49WI4bpI</dc:identifier>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619673E5C7AF44685A6F5F00410CCC3</vt:lpwstr>
  </property>
</Properties>
</file>